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tags/tag1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charts/chartEx1.xml" ContentType="application/vnd.ms-office.chartex+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tags/tag11.xml" ContentType="application/vnd.openxmlformats-officedocument.presentationml.tags+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tags/tag12.xml" ContentType="application/vnd.openxmlformats-officedocument.presentationml.tags+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ags/tag13.xml" ContentType="application/vnd.openxmlformats-officedocument.presentationml.tags+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drawings/drawing2.xml" ContentType="application/vnd.openxmlformats-officedocument.drawingml.chartshapes+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9.xml" ContentType="application/vnd.openxmlformats-officedocument.themeOverride+xml"/>
  <Override PartName="/ppt/drawings/drawing3.xml" ContentType="application/vnd.openxmlformats-officedocument.drawingml.chartshapes+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0.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1.xml" ContentType="application/vnd.openxmlformats-officedocument.themeOverride+xml"/>
  <Override PartName="/ppt/tags/tag14.xml" ContentType="application/vnd.openxmlformats-officedocument.presentationml.tags+xml"/>
  <Override PartName="/ppt/notesSlides/notesSlide1.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4.xml" ContentType="application/vnd.openxmlformats-officedocument.drawingml.chartshapes+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5.xml" ContentType="application/vnd.openxmlformats-officedocument.drawingml.chartshapes+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6.xml" ContentType="application/vnd.openxmlformats-officedocument.drawingml.chartshapes+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7.xml" ContentType="application/vnd.openxmlformats-officedocument.drawingml.chartshapes+xml"/>
  <Override PartName="/ppt/charts/chart19.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8.xml" ContentType="application/vnd.openxmlformats-officedocument.drawingml.chartshapes+xml"/>
  <Override PartName="/ppt/charts/chart20.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9.xml" ContentType="application/vnd.openxmlformats-officedocument.drawingml.chartshapes+xml"/>
  <Override PartName="/ppt/charts/chart21.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0.xml" ContentType="application/vnd.openxmlformats-officedocument.drawingml.chartshapes+xml"/>
  <Override PartName="/ppt/tags/tag15.xml" ContentType="application/vnd.openxmlformats-officedocument.presentationml.tags+xml"/>
  <Override PartName="/ppt/tags/tag16.xml" ContentType="application/vnd.openxmlformats-officedocument.presentationml.tags+xml"/>
  <Override PartName="/ppt/charts/chart22.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3.xml" ContentType="application/vnd.openxmlformats-officedocument.drawingml.chart+xml"/>
  <Override PartName="/ppt/theme/themeOverride12.xml" ContentType="application/vnd.openxmlformats-officedocument.themeOverride+xml"/>
  <Override PartName="/ppt/tags/tag17.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13.xml" ContentType="application/vnd.openxmlformats-officedocument.themeOverride+xml"/>
  <Override PartName="/ppt/drawings/drawing11.xml" ContentType="application/vnd.openxmlformats-officedocument.drawingml.chartshape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14.xml" ContentType="application/vnd.openxmlformats-officedocument.themeOverride+xml"/>
  <Override PartName="/ppt/tags/tag18.xml" ContentType="application/vnd.openxmlformats-officedocument.presentationml.tag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15.xml" ContentType="application/vnd.openxmlformats-officedocument.themeOverr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16.xml" ContentType="application/vnd.openxmlformats-officedocument.themeOverride+xml"/>
  <Override PartName="/ppt/drawings/drawing12.xml" ContentType="application/vnd.openxmlformats-officedocument.drawingml.chartshapes+xml"/>
  <Override PartName="/ppt/tags/tag19.xml" ContentType="application/vnd.openxmlformats-officedocument.presentationml.tags+xml"/>
  <Override PartName="/ppt/tags/tag20.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17.xml" ContentType="application/vnd.openxmlformats-officedocument.themeOverride+xml"/>
  <Override PartName="/ppt/tags/tag21.xml" ContentType="application/vnd.openxmlformats-officedocument.presentationml.tags+xml"/>
  <Override PartName="/ppt/tags/tag22.xml" ContentType="application/vnd.openxmlformats-officedocument.presentationml.tag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18.xml" ContentType="application/vnd.openxmlformats-officedocument.themeOverr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19.xml" ContentType="application/vnd.openxmlformats-officedocument.themeOverr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20.xml" ContentType="application/vnd.openxmlformats-officedocument.themeOverride+xml"/>
  <Override PartName="/ppt/tags/tag25.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21.xml" ContentType="application/vnd.openxmlformats-officedocument.themeOverride+xml"/>
  <Override PartName="/ppt/tags/tag26.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22.xml" ContentType="application/vnd.openxmlformats-officedocument.themeOverr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52" r:id="rId5"/>
    <p:sldMasterId id="2147483689" r:id="rId6"/>
    <p:sldMasterId id="2147483702" r:id="rId7"/>
    <p:sldMasterId id="2147483718" r:id="rId8"/>
  </p:sldMasterIdLst>
  <p:notesMasterIdLst>
    <p:notesMasterId r:id="rId46"/>
  </p:notesMasterIdLst>
  <p:handoutMasterIdLst>
    <p:handoutMasterId r:id="rId47"/>
  </p:handoutMasterIdLst>
  <p:sldIdLst>
    <p:sldId id="1099" r:id="rId9"/>
    <p:sldId id="358" r:id="rId10"/>
    <p:sldId id="513" r:id="rId11"/>
    <p:sldId id="412" r:id="rId12"/>
    <p:sldId id="517" r:id="rId13"/>
    <p:sldId id="410" r:id="rId14"/>
    <p:sldId id="511" r:id="rId15"/>
    <p:sldId id="509" r:id="rId16"/>
    <p:sldId id="521" r:id="rId17"/>
    <p:sldId id="440" r:id="rId18"/>
    <p:sldId id="438" r:id="rId19"/>
    <p:sldId id="374" r:id="rId20"/>
    <p:sldId id="360" r:id="rId21"/>
    <p:sldId id="1092" r:id="rId22"/>
    <p:sldId id="1091" r:id="rId23"/>
    <p:sldId id="1093" r:id="rId24"/>
    <p:sldId id="1095" r:id="rId25"/>
    <p:sldId id="1097" r:id="rId26"/>
    <p:sldId id="1096" r:id="rId27"/>
    <p:sldId id="1094" r:id="rId28"/>
    <p:sldId id="1098" r:id="rId29"/>
    <p:sldId id="361" r:id="rId30"/>
    <p:sldId id="362" r:id="rId31"/>
    <p:sldId id="363" r:id="rId32"/>
    <p:sldId id="364" r:id="rId33"/>
    <p:sldId id="365" r:id="rId34"/>
    <p:sldId id="366" r:id="rId35"/>
    <p:sldId id="367" r:id="rId36"/>
    <p:sldId id="435" r:id="rId37"/>
    <p:sldId id="485" r:id="rId38"/>
    <p:sldId id="390" r:id="rId39"/>
    <p:sldId id="391" r:id="rId40"/>
    <p:sldId id="392" r:id="rId41"/>
    <p:sldId id="339" r:id="rId42"/>
    <p:sldId id="341" r:id="rId43"/>
    <p:sldId id="342" r:id="rId44"/>
    <p:sldId id="343" r:id="rId45"/>
  </p:sldIdLst>
  <p:sldSz cx="12192000" cy="6858000"/>
  <p:notesSz cx="7315200" cy="9601200"/>
  <p:embeddedFontLst>
    <p:embeddedFont>
      <p:font typeface="Deutsche Bank Display" panose="020F0403020203030304" pitchFamily="34" charset="0"/>
      <p:regular r:id="rId48"/>
      <p:italic r:id="rId49"/>
    </p:embeddedFont>
    <p:embeddedFont>
      <p:font typeface="Deutsche Bank Text" panose="020B0503020202030204" pitchFamily="34" charset="0"/>
      <p:regular r:id="rId50"/>
      <p:italic r:id="rId51"/>
    </p:embeddedFont>
    <p:embeddedFont>
      <p:font typeface="DeutscheBank" panose="020B0503020202030204" pitchFamily="34" charset="0"/>
      <p:regular r:id="rId52"/>
      <p:bold r:id="rId53"/>
      <p:italic r:id="rId54"/>
      <p:boldItalic r:id="rId55"/>
    </p:embeddedFont>
    <p:embeddedFont>
      <p:font typeface="DeutscheBank Light" panose="020B0403020202030204" pitchFamily="34" charset="0"/>
      <p:regular r:id="rId56"/>
      <p:italic r:id="rId57"/>
    </p:embeddedFont>
    <p:embeddedFont>
      <p:font typeface="DeutscheBank Medium" panose="020B0603020202030204" pitchFamily="34" charset="0"/>
      <p:regular r:id="rId58"/>
      <p:italic r:id="rId59"/>
    </p:embeddedFont>
    <p:embeddedFont>
      <p:font typeface="Wingdings 3" panose="05040102010807070707" pitchFamily="18" charset="2"/>
      <p:regular r:id="rId60"/>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Überblick" id="{052F7165-808E-4959-972B-4EA4A9BD4E92}">
          <p14:sldIdLst>
            <p14:sldId id="1099"/>
            <p14:sldId id="358"/>
            <p14:sldId id="513"/>
            <p14:sldId id="412"/>
            <p14:sldId id="517"/>
            <p14:sldId id="410"/>
            <p14:sldId id="511"/>
            <p14:sldId id="509"/>
            <p14:sldId id="521"/>
            <p14:sldId id="440"/>
            <p14:sldId id="438"/>
            <p14:sldId id="374"/>
            <p14:sldId id="360"/>
            <p14:sldId id="1092"/>
            <p14:sldId id="1091"/>
            <p14:sldId id="1093"/>
            <p14:sldId id="1095"/>
            <p14:sldId id="1097"/>
            <p14:sldId id="1096"/>
            <p14:sldId id="1094"/>
            <p14:sldId id="1098"/>
            <p14:sldId id="361"/>
            <p14:sldId id="362"/>
            <p14:sldId id="363"/>
            <p14:sldId id="364"/>
            <p14:sldId id="365"/>
            <p14:sldId id="366"/>
            <p14:sldId id="367"/>
            <p14:sldId id="435"/>
            <p14:sldId id="485"/>
            <p14:sldId id="390"/>
            <p14:sldId id="391"/>
            <p14:sldId id="392"/>
            <p14:sldId id="339"/>
            <p14:sldId id="341"/>
            <p14:sldId id="342"/>
            <p14:sldId id="343"/>
          </p14:sldIdLst>
        </p14:section>
        <p14:section name="Appendix Charts" id="{8629B7D8-3544-44FA-A266-49DBD6FF3311}">
          <p14:sldIdLst/>
        </p14:section>
        <p14:section name="Appendix GER" id="{BE1D7CEA-5231-4906-94F8-A4A691050D99}">
          <p14:sldIdLst/>
        </p14:section>
        <p14:section name="Appendix ENG" id="{618FDD72-F8BE-4F05-AF2E-E020A4A47D6E}">
          <p14:sldIdLst/>
        </p14:section>
      </p14:sectionLst>
    </p:ext>
    <p:ext uri="{EFAFB233-063F-42B5-8137-9DF3F51BA10A}">
      <p15:sldGuideLst xmlns:p15="http://schemas.microsoft.com/office/powerpoint/2012/main">
        <p15:guide id="1" orient="horz" pos="2455" userDrawn="1">
          <p15:clr>
            <a:srgbClr val="A4A3A4"/>
          </p15:clr>
        </p15:guide>
        <p15:guide id="11" orient="horz" pos="2319" userDrawn="1">
          <p15:clr>
            <a:srgbClr val="A4A3A4"/>
          </p15:clr>
        </p15:guide>
        <p15:guide id="1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042EBD-8F28-5153-FA76-00D4540DB51F}" name="Meenakshi-C Singh" initials="MS" userId="S::meenakshi-c.singh@db.com::6cd4a966-024a-416f-85a0-002d00ee056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36286"/>
    <a:srgbClr val="D9DFE3"/>
    <a:srgbClr val="3BB8B8"/>
    <a:srgbClr val="1E2A78"/>
    <a:srgbClr val="00A3E0"/>
    <a:srgbClr val="25A62D"/>
    <a:srgbClr val="D000D0"/>
    <a:srgbClr val="E600E6"/>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90F7E3-8126-4387-B1E0-F889F714D56B}" v="1" dt="2024-11-27T08:47:25.929"/>
    <p1510:client id="{16DBC092-3389-4B6C-A18E-FBC13CCAFD57}" v="157" dt="2024-11-27T08:20:20.753"/>
    <p1510:client id="{4051D936-F4D6-43CE-97A7-CAAF8548660D}" v="399" dt="2024-11-27T08:54:57.793"/>
    <p1510:client id="{408E4445-E763-4B30-91CB-94EB85E32470}" v="728" dt="2024-11-26T17:53:19.211"/>
    <p1510:client id="{429F7C64-5D69-448C-8FD8-E29CD4267F15}" v="813" dt="2024-11-27T08:33:26.978"/>
    <p1510:client id="{4C9D07E0-7491-4F51-8BD8-739385BFAD3C}" v="233" dt="2024-11-27T08:43:35.387"/>
    <p1510:client id="{50C6A283-4615-4B7B-B02E-BB7BF1B30711}" v="809" dt="2024-11-26T17:58:45.874"/>
    <p1510:client id="{6D08F164-BA95-4C00-A13F-23E08E3320D9}" v="301" dt="2024-11-27T09:33:53.683"/>
    <p1510:client id="{8C636DDE-0D0D-4B33-B60F-65957262F23B}" v="189" dt="2024-11-26T15:05:23.691"/>
    <p1510:client id="{AA619941-D957-4DF9-B84A-4272D5D56914}" v="8452" dt="2024-11-26T17:40:39.092"/>
    <p1510:client id="{E02527C6-59AE-41D7-A076-5037AEB0BE9B}" v="14" dt="2024-11-27T09:26:41.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2" autoAdjust="0"/>
    <p:restoredTop sz="94712" autoAdjust="0"/>
  </p:normalViewPr>
  <p:slideViewPr>
    <p:cSldViewPr snapToGrid="0">
      <p:cViewPr varScale="1">
        <p:scale>
          <a:sx n="104" d="100"/>
          <a:sy n="104" d="100"/>
        </p:scale>
        <p:origin x="756" y="108"/>
      </p:cViewPr>
      <p:guideLst>
        <p:guide orient="horz" pos="2455"/>
        <p:guide orient="horz" pos="2319"/>
        <p:guide pos="3840"/>
      </p:guideLst>
    </p:cSldViewPr>
  </p:slideViewPr>
  <p:outlineViewPr>
    <p:cViewPr>
      <p:scale>
        <a:sx n="33" d="100"/>
        <a:sy n="33" d="100"/>
      </p:scale>
      <p:origin x="0" y="-2682"/>
    </p:cViewPr>
  </p:outlineViewPr>
  <p:notesTextViewPr>
    <p:cViewPr>
      <p:scale>
        <a:sx n="1" d="1"/>
        <a:sy n="1" d="1"/>
      </p:scale>
      <p:origin x="0" y="0"/>
    </p:cViewPr>
  </p:notesTextViewPr>
  <p:sorterViewPr>
    <p:cViewPr>
      <p:scale>
        <a:sx n="100" d="100"/>
        <a:sy n="100" d="100"/>
      </p:scale>
      <p:origin x="0" y="-355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font" Target="fonts/font6.fntdata"/><Relationship Id="rId58" Type="http://schemas.openxmlformats.org/officeDocument/2006/relationships/font" Target="fonts/font11.fntdata"/><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font" Target="fonts/font1.fntdata"/><Relationship Id="rId56" Type="http://schemas.openxmlformats.org/officeDocument/2006/relationships/font" Target="fonts/font9.fntdata"/><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59" Type="http://schemas.openxmlformats.org/officeDocument/2006/relationships/font" Target="fonts/font12.fntdata"/><Relationship Id="rId67" Type="http://schemas.microsoft.com/office/2018/10/relationships/authors" Targe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font" Target="fonts/font7.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font" Target="fonts/font5.fntdata"/><Relationship Id="rId60" Type="http://schemas.openxmlformats.org/officeDocument/2006/relationships/font" Target="fonts/font13.fntdata"/><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rad Aigner" userId="S::konrad.aigner@db.com::286d0961-e2f3-4d0a-83ff-aeccc5b082d4" providerId="AD" clId="Web-{4051D936-F4D6-43CE-97A7-CAAF8548660D}"/>
    <pc:docChg chg="modSld">
      <pc:chgData name="Konrad Aigner" userId="S::konrad.aigner@db.com::286d0961-e2f3-4d0a-83ff-aeccc5b082d4" providerId="AD" clId="Web-{4051D936-F4D6-43CE-97A7-CAAF8548660D}" dt="2024-11-27T08:54:57.793" v="351"/>
      <pc:docMkLst>
        <pc:docMk/>
      </pc:docMkLst>
      <pc:sldChg chg="addSp delSp modSp">
        <pc:chgData name="Konrad Aigner" userId="S::konrad.aigner@db.com::286d0961-e2f3-4d0a-83ff-aeccc5b082d4" providerId="AD" clId="Web-{4051D936-F4D6-43CE-97A7-CAAF8548660D}" dt="2024-11-27T08:54:57.793" v="351"/>
        <pc:sldMkLst>
          <pc:docMk/>
          <pc:sldMk cId="1178238393" sldId="392"/>
        </pc:sldMkLst>
        <pc:graphicFrameChg chg="add mod modGraphic">
          <ac:chgData name="Konrad Aigner" userId="S::konrad.aigner@db.com::286d0961-e2f3-4d0a-83ff-aeccc5b082d4" providerId="AD" clId="Web-{4051D936-F4D6-43CE-97A7-CAAF8548660D}" dt="2024-11-27T08:54:57.793" v="351"/>
          <ac:graphicFrameMkLst>
            <pc:docMk/>
            <pc:sldMk cId="1178238393" sldId="392"/>
            <ac:graphicFrameMk id="4" creationId="{CDD3254B-9336-E0ED-78D9-2DD76C0F6C84}"/>
          </ac:graphicFrameMkLst>
        </pc:graphicFrameChg>
        <pc:graphicFrameChg chg="add del mod modGraphic">
          <ac:chgData name="Konrad Aigner" userId="S::konrad.aigner@db.com::286d0961-e2f3-4d0a-83ff-aeccc5b082d4" providerId="AD" clId="Web-{4051D936-F4D6-43CE-97A7-CAAF8548660D}" dt="2024-11-27T08:53:08.164" v="65"/>
          <ac:graphicFrameMkLst>
            <pc:docMk/>
            <pc:sldMk cId="1178238393" sldId="392"/>
            <ac:graphicFrameMk id="9" creationId="{258FD3A4-701D-BDA2-5A44-4DE22AA7FE19}"/>
          </ac:graphicFrameMkLst>
        </pc:graphicFrameChg>
      </pc:sldChg>
    </pc:docChg>
  </pc:docChgLst>
  <pc:docChgLst>
    <pc:chgData name="Konrad Aigner" userId="286d0961-e2f3-4d0a-83ff-aeccc5b082d4" providerId="ADAL" clId="{1090F7E3-8126-4387-B1E0-F889F714D56B}"/>
    <pc:docChg chg="custSel modSld">
      <pc:chgData name="Konrad Aigner" userId="286d0961-e2f3-4d0a-83ff-aeccc5b082d4" providerId="ADAL" clId="{1090F7E3-8126-4387-B1E0-F889F714D56B}" dt="2024-11-27T08:47:25.945" v="0" actId="478"/>
      <pc:docMkLst>
        <pc:docMk/>
      </pc:docMkLst>
      <pc:sldChg chg="delSp mod">
        <pc:chgData name="Konrad Aigner" userId="286d0961-e2f3-4d0a-83ff-aeccc5b082d4" providerId="ADAL" clId="{1090F7E3-8126-4387-B1E0-F889F714D56B}" dt="2024-11-27T08:47:25.945" v="0" actId="478"/>
        <pc:sldMkLst>
          <pc:docMk/>
          <pc:sldMk cId="1178238393" sldId="392"/>
        </pc:sldMkLst>
        <pc:spChg chg="del">
          <ac:chgData name="Konrad Aigner" userId="286d0961-e2f3-4d0a-83ff-aeccc5b082d4" providerId="ADAL" clId="{1090F7E3-8126-4387-B1E0-F889F714D56B}" dt="2024-11-27T08:47:25.945" v="0" actId="478"/>
          <ac:spMkLst>
            <pc:docMk/>
            <pc:sldMk cId="1178238393" sldId="392"/>
            <ac:spMk id="2" creationId="{609BFF40-05B8-3A81-92B9-90B51F0E0460}"/>
          </ac:spMkLst>
        </pc:spChg>
      </pc:sldChg>
    </pc:docChg>
  </pc:docChgLst>
  <pc:docChgLst>
    <pc:chgData name="Ioannis Chatzikonstantinidis" userId="20a95722-900f-4345-9911-f227337b99bc" providerId="ADAL" clId="{6D08F164-BA95-4C00-A13F-23E08E3320D9}"/>
    <pc:docChg chg="undo custSel delSld modSld sldOrd modSection">
      <pc:chgData name="Ioannis Chatzikonstantinidis" userId="20a95722-900f-4345-9911-f227337b99bc" providerId="ADAL" clId="{6D08F164-BA95-4C00-A13F-23E08E3320D9}" dt="2024-11-27T09:33:53.683" v="231" actId="1076"/>
      <pc:docMkLst>
        <pc:docMk/>
      </pc:docMkLst>
      <pc:sldChg chg="del">
        <pc:chgData name="Ioannis Chatzikonstantinidis" userId="20a95722-900f-4345-9911-f227337b99bc" providerId="ADAL" clId="{6D08F164-BA95-4C00-A13F-23E08E3320D9}" dt="2024-11-27T08:57:18.593" v="15" actId="47"/>
        <pc:sldMkLst>
          <pc:docMk/>
          <pc:sldMk cId="3456588366" sldId="278"/>
        </pc:sldMkLst>
      </pc:sldChg>
      <pc:sldChg chg="delCm">
        <pc:chgData name="Ioannis Chatzikonstantinidis" userId="20a95722-900f-4345-9911-f227337b99bc" providerId="ADAL" clId="{6D08F164-BA95-4C00-A13F-23E08E3320D9}" dt="2024-11-27T08:58:04.662" v="21"/>
        <pc:sldMkLst>
          <pc:docMk/>
          <pc:sldMk cId="3855360014" sldId="343"/>
        </pc:sldMkLst>
        <pc:extLst>
          <p:ext xmlns:p="http://schemas.openxmlformats.org/presentationml/2006/main" uri="{D6D511B9-2390-475A-947B-AFAB55BFBCF1}">
            <pc226:cmChg xmlns:pc226="http://schemas.microsoft.com/office/powerpoint/2022/06/main/command" chg="del">
              <pc226:chgData name="Ioannis Chatzikonstantinidis" userId="20a95722-900f-4345-9911-f227337b99bc" providerId="ADAL" clId="{6D08F164-BA95-4C00-A13F-23E08E3320D9}" dt="2024-11-27T08:58:04.662" v="21"/>
              <pc2:cmMkLst xmlns:pc2="http://schemas.microsoft.com/office/powerpoint/2019/9/main/command">
                <pc:docMk/>
                <pc:sldMk cId="3855360014" sldId="343"/>
                <pc2:cmMk id="{C115A809-834A-4807-B77B-DDED5988D0CE}"/>
              </pc2:cmMkLst>
            </pc226:cmChg>
            <pc226:cmChg xmlns:pc226="http://schemas.microsoft.com/office/powerpoint/2022/06/main/command" chg="del">
              <pc226:chgData name="Ioannis Chatzikonstantinidis" userId="20a95722-900f-4345-9911-f227337b99bc" providerId="ADAL" clId="{6D08F164-BA95-4C00-A13F-23E08E3320D9}" dt="2024-11-27T08:58:03.405" v="20"/>
              <pc2:cmMkLst xmlns:pc2="http://schemas.microsoft.com/office/powerpoint/2019/9/main/command">
                <pc:docMk/>
                <pc:sldMk cId="3855360014" sldId="343"/>
                <pc2:cmMk id="{2470784E-40FA-4E1C-B8C3-6B1351FBEBE8}"/>
              </pc2:cmMkLst>
            </pc226:cmChg>
          </p:ext>
        </pc:extLst>
      </pc:sldChg>
      <pc:sldChg chg="delSp modSp mod">
        <pc:chgData name="Ioannis Chatzikonstantinidis" userId="20a95722-900f-4345-9911-f227337b99bc" providerId="ADAL" clId="{6D08F164-BA95-4C00-A13F-23E08E3320D9}" dt="2024-11-27T09:30:18.079" v="163" actId="478"/>
        <pc:sldMkLst>
          <pc:docMk/>
          <pc:sldMk cId="405501924" sldId="358"/>
        </pc:sldMkLst>
        <pc:spChg chg="del">
          <ac:chgData name="Ioannis Chatzikonstantinidis" userId="20a95722-900f-4345-9911-f227337b99bc" providerId="ADAL" clId="{6D08F164-BA95-4C00-A13F-23E08E3320D9}" dt="2024-11-27T09:30:18.079" v="163" actId="478"/>
          <ac:spMkLst>
            <pc:docMk/>
            <pc:sldMk cId="405501924" sldId="358"/>
            <ac:spMk id="5" creationId="{8369E9EC-6068-1CD7-1FB6-A58396820089}"/>
          </ac:spMkLst>
        </pc:spChg>
        <pc:spChg chg="mod">
          <ac:chgData name="Ioannis Chatzikonstantinidis" userId="20a95722-900f-4345-9911-f227337b99bc" providerId="ADAL" clId="{6D08F164-BA95-4C00-A13F-23E08E3320D9}" dt="2024-11-27T08:56:45.029" v="9" actId="403"/>
          <ac:spMkLst>
            <pc:docMk/>
            <pc:sldMk cId="405501924" sldId="358"/>
            <ac:spMk id="10" creationId="{8B7B4B8D-07A2-936D-998A-B70E9F2844F6}"/>
          </ac:spMkLst>
        </pc:spChg>
      </pc:sldChg>
      <pc:sldChg chg="addSp delSp modSp mod">
        <pc:chgData name="Ioannis Chatzikonstantinidis" userId="20a95722-900f-4345-9911-f227337b99bc" providerId="ADAL" clId="{6D08F164-BA95-4C00-A13F-23E08E3320D9}" dt="2024-11-27T09:30:11.521" v="161" actId="27918"/>
        <pc:sldMkLst>
          <pc:docMk/>
          <pc:sldMk cId="2803186758" sldId="361"/>
        </pc:sldMkLst>
        <pc:spChg chg="add del mod">
          <ac:chgData name="Ioannis Chatzikonstantinidis" userId="20a95722-900f-4345-9911-f227337b99bc" providerId="ADAL" clId="{6D08F164-BA95-4C00-A13F-23E08E3320D9}" dt="2024-11-27T09:23:15.496" v="105" actId="22"/>
          <ac:spMkLst>
            <pc:docMk/>
            <pc:sldMk cId="2803186758" sldId="361"/>
            <ac:spMk id="9" creationId="{B7BC5894-C52E-A2D5-FCCA-C5B472344BB8}"/>
          </ac:spMkLst>
        </pc:spChg>
        <pc:graphicFrameChg chg="add del mod">
          <ac:chgData name="Ioannis Chatzikonstantinidis" userId="20a95722-900f-4345-9911-f227337b99bc" providerId="ADAL" clId="{6D08F164-BA95-4C00-A13F-23E08E3320D9}" dt="2024-11-27T09:22:54.771" v="101" actId="478"/>
          <ac:graphicFrameMkLst>
            <pc:docMk/>
            <pc:sldMk cId="2803186758" sldId="361"/>
            <ac:graphicFrameMk id="5" creationId="{770C402E-96C1-491C-102F-8C4762292C4C}"/>
          </ac:graphicFrameMkLst>
        </pc:graphicFrameChg>
        <pc:graphicFrameChg chg="mod">
          <ac:chgData name="Ioannis Chatzikonstantinidis" userId="20a95722-900f-4345-9911-f227337b99bc" providerId="ADAL" clId="{6D08F164-BA95-4C00-A13F-23E08E3320D9}" dt="2024-11-27T09:23:45.460" v="113" actId="166"/>
          <ac:graphicFrameMkLst>
            <pc:docMk/>
            <pc:sldMk cId="2803186758" sldId="361"/>
            <ac:graphicFrameMk id="8" creationId="{A855A50F-C785-4DB2-876F-B994DE5270C7}"/>
          </ac:graphicFrameMkLst>
        </pc:graphicFrameChg>
        <pc:graphicFrameChg chg="add mod">
          <ac:chgData name="Ioannis Chatzikonstantinidis" userId="20a95722-900f-4345-9911-f227337b99bc" providerId="ADAL" clId="{6D08F164-BA95-4C00-A13F-23E08E3320D9}" dt="2024-11-27T09:23:41.056" v="112" actId="1038"/>
          <ac:graphicFrameMkLst>
            <pc:docMk/>
            <pc:sldMk cId="2803186758" sldId="361"/>
            <ac:graphicFrameMk id="10" creationId="{BC7A4FBB-03FF-0041-1C18-7AA38A60016E}"/>
          </ac:graphicFrameMkLst>
        </pc:graphicFrameChg>
        <pc:graphicFrameChg chg="del">
          <ac:chgData name="Ioannis Chatzikonstantinidis" userId="20a95722-900f-4345-9911-f227337b99bc" providerId="ADAL" clId="{6D08F164-BA95-4C00-A13F-23E08E3320D9}" dt="2024-11-27T09:18:49.684" v="87" actId="478"/>
          <ac:graphicFrameMkLst>
            <pc:docMk/>
            <pc:sldMk cId="2803186758" sldId="361"/>
            <ac:graphicFrameMk id="22" creationId="{38417E77-E839-42C4-3D1B-09E4EDED19EC}"/>
          </ac:graphicFrameMkLst>
        </pc:graphicFrameChg>
      </pc:sldChg>
      <pc:sldChg chg="del">
        <pc:chgData name="Ioannis Chatzikonstantinidis" userId="20a95722-900f-4345-9911-f227337b99bc" providerId="ADAL" clId="{6D08F164-BA95-4C00-A13F-23E08E3320D9}" dt="2024-11-27T08:57:18.593" v="15" actId="47"/>
        <pc:sldMkLst>
          <pc:docMk/>
          <pc:sldMk cId="4135999749" sldId="370"/>
        </pc:sldMkLst>
      </pc:sldChg>
      <pc:sldChg chg="del">
        <pc:chgData name="Ioannis Chatzikonstantinidis" userId="20a95722-900f-4345-9911-f227337b99bc" providerId="ADAL" clId="{6D08F164-BA95-4C00-A13F-23E08E3320D9}" dt="2024-11-27T08:57:18.593" v="15" actId="47"/>
        <pc:sldMkLst>
          <pc:docMk/>
          <pc:sldMk cId="3071709222" sldId="372"/>
        </pc:sldMkLst>
      </pc:sldChg>
      <pc:sldChg chg="del">
        <pc:chgData name="Ioannis Chatzikonstantinidis" userId="20a95722-900f-4345-9911-f227337b99bc" providerId="ADAL" clId="{6D08F164-BA95-4C00-A13F-23E08E3320D9}" dt="2024-11-27T08:57:18.593" v="15" actId="47"/>
        <pc:sldMkLst>
          <pc:docMk/>
          <pc:sldMk cId="2330639324" sldId="373"/>
        </pc:sldMkLst>
      </pc:sldChg>
      <pc:sldChg chg="modSp mod">
        <pc:chgData name="Ioannis Chatzikonstantinidis" userId="20a95722-900f-4345-9911-f227337b99bc" providerId="ADAL" clId="{6D08F164-BA95-4C00-A13F-23E08E3320D9}" dt="2024-11-27T09:32:46.061" v="222" actId="20577"/>
        <pc:sldMkLst>
          <pc:docMk/>
          <pc:sldMk cId="2694906272" sldId="374"/>
        </pc:sldMkLst>
        <pc:spChg chg="mod">
          <ac:chgData name="Ioannis Chatzikonstantinidis" userId="20a95722-900f-4345-9911-f227337b99bc" providerId="ADAL" clId="{6D08F164-BA95-4C00-A13F-23E08E3320D9}" dt="2024-11-27T09:32:46.061" v="222" actId="20577"/>
          <ac:spMkLst>
            <pc:docMk/>
            <pc:sldMk cId="2694906272" sldId="374"/>
            <ac:spMk id="16" creationId="{78CB7946-A411-0C2B-18A9-8247B1EE4A38}"/>
          </ac:spMkLst>
        </pc:spChg>
      </pc:sldChg>
      <pc:sldChg chg="del">
        <pc:chgData name="Ioannis Chatzikonstantinidis" userId="20a95722-900f-4345-9911-f227337b99bc" providerId="ADAL" clId="{6D08F164-BA95-4C00-A13F-23E08E3320D9}" dt="2024-11-27T08:57:18.593" v="15" actId="47"/>
        <pc:sldMkLst>
          <pc:docMk/>
          <pc:sldMk cId="1100033485" sldId="375"/>
        </pc:sldMkLst>
      </pc:sldChg>
      <pc:sldChg chg="del">
        <pc:chgData name="Ioannis Chatzikonstantinidis" userId="20a95722-900f-4345-9911-f227337b99bc" providerId="ADAL" clId="{6D08F164-BA95-4C00-A13F-23E08E3320D9}" dt="2024-11-27T08:57:18.593" v="15" actId="47"/>
        <pc:sldMkLst>
          <pc:docMk/>
          <pc:sldMk cId="3234379192" sldId="377"/>
        </pc:sldMkLst>
      </pc:sldChg>
      <pc:sldChg chg="del">
        <pc:chgData name="Ioannis Chatzikonstantinidis" userId="20a95722-900f-4345-9911-f227337b99bc" providerId="ADAL" clId="{6D08F164-BA95-4C00-A13F-23E08E3320D9}" dt="2024-11-27T08:57:18.593" v="15" actId="47"/>
        <pc:sldMkLst>
          <pc:docMk/>
          <pc:sldMk cId="469875527" sldId="378"/>
        </pc:sldMkLst>
      </pc:sldChg>
      <pc:sldChg chg="del">
        <pc:chgData name="Ioannis Chatzikonstantinidis" userId="20a95722-900f-4345-9911-f227337b99bc" providerId="ADAL" clId="{6D08F164-BA95-4C00-A13F-23E08E3320D9}" dt="2024-11-27T08:57:18.593" v="15" actId="47"/>
        <pc:sldMkLst>
          <pc:docMk/>
          <pc:sldMk cId="3602462445" sldId="385"/>
        </pc:sldMkLst>
      </pc:sldChg>
      <pc:sldChg chg="del">
        <pc:chgData name="Ioannis Chatzikonstantinidis" userId="20a95722-900f-4345-9911-f227337b99bc" providerId="ADAL" clId="{6D08F164-BA95-4C00-A13F-23E08E3320D9}" dt="2024-11-27T08:57:18.593" v="15" actId="47"/>
        <pc:sldMkLst>
          <pc:docMk/>
          <pc:sldMk cId="276256860" sldId="387"/>
        </pc:sldMkLst>
      </pc:sldChg>
      <pc:sldChg chg="del">
        <pc:chgData name="Ioannis Chatzikonstantinidis" userId="20a95722-900f-4345-9911-f227337b99bc" providerId="ADAL" clId="{6D08F164-BA95-4C00-A13F-23E08E3320D9}" dt="2024-11-27T08:57:18.593" v="15" actId="47"/>
        <pc:sldMkLst>
          <pc:docMk/>
          <pc:sldMk cId="768273612" sldId="389"/>
        </pc:sldMkLst>
      </pc:sldChg>
      <pc:sldChg chg="modSp mod">
        <pc:chgData name="Ioannis Chatzikonstantinidis" userId="20a95722-900f-4345-9911-f227337b99bc" providerId="ADAL" clId="{6D08F164-BA95-4C00-A13F-23E08E3320D9}" dt="2024-11-27T09:29:06.318" v="160" actId="20577"/>
        <pc:sldMkLst>
          <pc:docMk/>
          <pc:sldMk cId="692128624" sldId="390"/>
        </pc:sldMkLst>
        <pc:spChg chg="mod">
          <ac:chgData name="Ioannis Chatzikonstantinidis" userId="20a95722-900f-4345-9911-f227337b99bc" providerId="ADAL" clId="{6D08F164-BA95-4C00-A13F-23E08E3320D9}" dt="2024-11-27T09:29:06.318" v="160" actId="20577"/>
          <ac:spMkLst>
            <pc:docMk/>
            <pc:sldMk cId="692128624" sldId="390"/>
            <ac:spMk id="21" creationId="{D909C1CD-B880-6F73-BDF2-C58801F72188}"/>
          </ac:spMkLst>
        </pc:spChg>
        <pc:graphicFrameChg chg="modGraphic">
          <ac:chgData name="Ioannis Chatzikonstantinidis" userId="20a95722-900f-4345-9911-f227337b99bc" providerId="ADAL" clId="{6D08F164-BA95-4C00-A13F-23E08E3320D9}" dt="2024-11-27T09:28:42.746" v="158" actId="20577"/>
          <ac:graphicFrameMkLst>
            <pc:docMk/>
            <pc:sldMk cId="692128624" sldId="390"/>
            <ac:graphicFrameMk id="24" creationId="{945689FE-B6F9-B13C-2EE5-847C742F259B}"/>
          </ac:graphicFrameMkLst>
        </pc:graphicFrameChg>
        <pc:graphicFrameChg chg="modGraphic">
          <ac:chgData name="Ioannis Chatzikonstantinidis" userId="20a95722-900f-4345-9911-f227337b99bc" providerId="ADAL" clId="{6D08F164-BA95-4C00-A13F-23E08E3320D9}" dt="2024-11-27T09:28:49.875" v="159" actId="20577"/>
          <ac:graphicFrameMkLst>
            <pc:docMk/>
            <pc:sldMk cId="692128624" sldId="390"/>
            <ac:graphicFrameMk id="30" creationId="{CB7DC1F7-3251-E298-1D17-45B886132B6A}"/>
          </ac:graphicFrameMkLst>
        </pc:graphicFrameChg>
      </pc:sldChg>
      <pc:sldChg chg="modSp mod">
        <pc:chgData name="Ioannis Chatzikonstantinidis" userId="20a95722-900f-4345-9911-f227337b99bc" providerId="ADAL" clId="{6D08F164-BA95-4C00-A13F-23E08E3320D9}" dt="2024-11-27T09:33:53.683" v="231" actId="1076"/>
        <pc:sldMkLst>
          <pc:docMk/>
          <pc:sldMk cId="1178238393" sldId="392"/>
        </pc:sldMkLst>
        <pc:graphicFrameChg chg="mod modGraphic">
          <ac:chgData name="Ioannis Chatzikonstantinidis" userId="20a95722-900f-4345-9911-f227337b99bc" providerId="ADAL" clId="{6D08F164-BA95-4C00-A13F-23E08E3320D9}" dt="2024-11-27T09:33:53.683" v="231" actId="1076"/>
          <ac:graphicFrameMkLst>
            <pc:docMk/>
            <pc:sldMk cId="1178238393" sldId="392"/>
            <ac:graphicFrameMk id="4" creationId="{CDD3254B-9336-E0ED-78D9-2DD76C0F6C84}"/>
          </ac:graphicFrameMkLst>
        </pc:graphicFrameChg>
      </pc:sldChg>
      <pc:sldChg chg="del">
        <pc:chgData name="Ioannis Chatzikonstantinidis" userId="20a95722-900f-4345-9911-f227337b99bc" providerId="ADAL" clId="{6D08F164-BA95-4C00-A13F-23E08E3320D9}" dt="2024-11-27T08:57:18.593" v="15" actId="47"/>
        <pc:sldMkLst>
          <pc:docMk/>
          <pc:sldMk cId="388090265" sldId="393"/>
        </pc:sldMkLst>
      </pc:sldChg>
      <pc:sldChg chg="del">
        <pc:chgData name="Ioannis Chatzikonstantinidis" userId="20a95722-900f-4345-9911-f227337b99bc" providerId="ADAL" clId="{6D08F164-BA95-4C00-A13F-23E08E3320D9}" dt="2024-11-27T08:57:18.593" v="15" actId="47"/>
        <pc:sldMkLst>
          <pc:docMk/>
          <pc:sldMk cId="752143974" sldId="394"/>
        </pc:sldMkLst>
      </pc:sldChg>
      <pc:sldChg chg="del">
        <pc:chgData name="Ioannis Chatzikonstantinidis" userId="20a95722-900f-4345-9911-f227337b99bc" providerId="ADAL" clId="{6D08F164-BA95-4C00-A13F-23E08E3320D9}" dt="2024-11-27T08:57:18.593" v="15" actId="47"/>
        <pc:sldMkLst>
          <pc:docMk/>
          <pc:sldMk cId="592460281" sldId="395"/>
        </pc:sldMkLst>
      </pc:sldChg>
      <pc:sldChg chg="del">
        <pc:chgData name="Ioannis Chatzikonstantinidis" userId="20a95722-900f-4345-9911-f227337b99bc" providerId="ADAL" clId="{6D08F164-BA95-4C00-A13F-23E08E3320D9}" dt="2024-11-27T08:57:18.593" v="15" actId="47"/>
        <pc:sldMkLst>
          <pc:docMk/>
          <pc:sldMk cId="3840487878" sldId="396"/>
        </pc:sldMkLst>
      </pc:sldChg>
      <pc:sldChg chg="del">
        <pc:chgData name="Ioannis Chatzikonstantinidis" userId="20a95722-900f-4345-9911-f227337b99bc" providerId="ADAL" clId="{6D08F164-BA95-4C00-A13F-23E08E3320D9}" dt="2024-11-27T08:57:18.593" v="15" actId="47"/>
        <pc:sldMkLst>
          <pc:docMk/>
          <pc:sldMk cId="1814039291" sldId="397"/>
        </pc:sldMkLst>
      </pc:sldChg>
      <pc:sldChg chg="del">
        <pc:chgData name="Ioannis Chatzikonstantinidis" userId="20a95722-900f-4345-9911-f227337b99bc" providerId="ADAL" clId="{6D08F164-BA95-4C00-A13F-23E08E3320D9}" dt="2024-11-27T08:57:18.593" v="15" actId="47"/>
        <pc:sldMkLst>
          <pc:docMk/>
          <pc:sldMk cId="916295054" sldId="398"/>
        </pc:sldMkLst>
      </pc:sldChg>
      <pc:sldChg chg="del">
        <pc:chgData name="Ioannis Chatzikonstantinidis" userId="20a95722-900f-4345-9911-f227337b99bc" providerId="ADAL" clId="{6D08F164-BA95-4C00-A13F-23E08E3320D9}" dt="2024-11-27T08:57:18.593" v="15" actId="47"/>
        <pc:sldMkLst>
          <pc:docMk/>
          <pc:sldMk cId="3189247431" sldId="399"/>
        </pc:sldMkLst>
      </pc:sldChg>
      <pc:sldChg chg="del">
        <pc:chgData name="Ioannis Chatzikonstantinidis" userId="20a95722-900f-4345-9911-f227337b99bc" providerId="ADAL" clId="{6D08F164-BA95-4C00-A13F-23E08E3320D9}" dt="2024-11-27T08:57:18.593" v="15" actId="47"/>
        <pc:sldMkLst>
          <pc:docMk/>
          <pc:sldMk cId="2709285291" sldId="400"/>
        </pc:sldMkLst>
      </pc:sldChg>
      <pc:sldChg chg="del">
        <pc:chgData name="Ioannis Chatzikonstantinidis" userId="20a95722-900f-4345-9911-f227337b99bc" providerId="ADAL" clId="{6D08F164-BA95-4C00-A13F-23E08E3320D9}" dt="2024-11-27T08:57:18.593" v="15" actId="47"/>
        <pc:sldMkLst>
          <pc:docMk/>
          <pc:sldMk cId="135707347" sldId="401"/>
        </pc:sldMkLst>
      </pc:sldChg>
      <pc:sldChg chg="del">
        <pc:chgData name="Ioannis Chatzikonstantinidis" userId="20a95722-900f-4345-9911-f227337b99bc" providerId="ADAL" clId="{6D08F164-BA95-4C00-A13F-23E08E3320D9}" dt="2024-11-27T08:57:18.593" v="15" actId="47"/>
        <pc:sldMkLst>
          <pc:docMk/>
          <pc:sldMk cId="3966633863" sldId="402"/>
        </pc:sldMkLst>
      </pc:sldChg>
      <pc:sldChg chg="del">
        <pc:chgData name="Ioannis Chatzikonstantinidis" userId="20a95722-900f-4345-9911-f227337b99bc" providerId="ADAL" clId="{6D08F164-BA95-4C00-A13F-23E08E3320D9}" dt="2024-11-27T08:57:18.593" v="15" actId="47"/>
        <pc:sldMkLst>
          <pc:docMk/>
          <pc:sldMk cId="2681728725" sldId="403"/>
        </pc:sldMkLst>
      </pc:sldChg>
      <pc:sldChg chg="del">
        <pc:chgData name="Ioannis Chatzikonstantinidis" userId="20a95722-900f-4345-9911-f227337b99bc" providerId="ADAL" clId="{6D08F164-BA95-4C00-A13F-23E08E3320D9}" dt="2024-11-27T08:57:18.593" v="15" actId="47"/>
        <pc:sldMkLst>
          <pc:docMk/>
          <pc:sldMk cId="721720338" sldId="404"/>
        </pc:sldMkLst>
      </pc:sldChg>
      <pc:sldChg chg="del">
        <pc:chgData name="Ioannis Chatzikonstantinidis" userId="20a95722-900f-4345-9911-f227337b99bc" providerId="ADAL" clId="{6D08F164-BA95-4C00-A13F-23E08E3320D9}" dt="2024-11-27T08:57:18.593" v="15" actId="47"/>
        <pc:sldMkLst>
          <pc:docMk/>
          <pc:sldMk cId="3124421879" sldId="405"/>
        </pc:sldMkLst>
      </pc:sldChg>
      <pc:sldChg chg="del">
        <pc:chgData name="Ioannis Chatzikonstantinidis" userId="20a95722-900f-4345-9911-f227337b99bc" providerId="ADAL" clId="{6D08F164-BA95-4C00-A13F-23E08E3320D9}" dt="2024-11-27T08:57:18.593" v="15" actId="47"/>
        <pc:sldMkLst>
          <pc:docMk/>
          <pc:sldMk cId="1049977879" sldId="409"/>
        </pc:sldMkLst>
      </pc:sldChg>
      <pc:sldChg chg="modSp mod">
        <pc:chgData name="Ioannis Chatzikonstantinidis" userId="20a95722-900f-4345-9911-f227337b99bc" providerId="ADAL" clId="{6D08F164-BA95-4C00-A13F-23E08E3320D9}" dt="2024-11-27T09:30:55.200" v="197" actId="20577"/>
        <pc:sldMkLst>
          <pc:docMk/>
          <pc:sldMk cId="3176191887" sldId="410"/>
        </pc:sldMkLst>
        <pc:spChg chg="mod">
          <ac:chgData name="Ioannis Chatzikonstantinidis" userId="20a95722-900f-4345-9911-f227337b99bc" providerId="ADAL" clId="{6D08F164-BA95-4C00-A13F-23E08E3320D9}" dt="2024-11-27T09:30:55.200" v="197" actId="20577"/>
          <ac:spMkLst>
            <pc:docMk/>
            <pc:sldMk cId="3176191887" sldId="410"/>
            <ac:spMk id="10" creationId="{6FE230C0-F801-1154-BE5C-DD105E421145}"/>
          </ac:spMkLst>
        </pc:spChg>
        <pc:spChg chg="mod">
          <ac:chgData name="Ioannis Chatzikonstantinidis" userId="20a95722-900f-4345-9911-f227337b99bc" providerId="ADAL" clId="{6D08F164-BA95-4C00-A13F-23E08E3320D9}" dt="2024-11-27T09:30:44.157" v="166" actId="20577"/>
          <ac:spMkLst>
            <pc:docMk/>
            <pc:sldMk cId="3176191887" sldId="410"/>
            <ac:spMk id="14" creationId="{ADD36670-E07F-AA0E-2212-405A46FA1198}"/>
          </ac:spMkLst>
        </pc:spChg>
      </pc:sldChg>
      <pc:sldChg chg="del">
        <pc:chgData name="Ioannis Chatzikonstantinidis" userId="20a95722-900f-4345-9911-f227337b99bc" providerId="ADAL" clId="{6D08F164-BA95-4C00-A13F-23E08E3320D9}" dt="2024-11-27T08:57:18.593" v="15" actId="47"/>
        <pc:sldMkLst>
          <pc:docMk/>
          <pc:sldMk cId="1391212587" sldId="411"/>
        </pc:sldMkLst>
      </pc:sldChg>
      <pc:sldChg chg="addSp delSp modSp mod">
        <pc:chgData name="Ioannis Chatzikonstantinidis" userId="20a95722-900f-4345-9911-f227337b99bc" providerId="ADAL" clId="{6D08F164-BA95-4C00-A13F-23E08E3320D9}" dt="2024-11-27T09:25:51.138" v="151"/>
        <pc:sldMkLst>
          <pc:docMk/>
          <pc:sldMk cId="4256400832" sldId="412"/>
        </pc:sldMkLst>
        <pc:spChg chg="add mod">
          <ac:chgData name="Ioannis Chatzikonstantinidis" userId="20a95722-900f-4345-9911-f227337b99bc" providerId="ADAL" clId="{6D08F164-BA95-4C00-A13F-23E08E3320D9}" dt="2024-11-27T09:14:35.272" v="82"/>
          <ac:spMkLst>
            <pc:docMk/>
            <pc:sldMk cId="4256400832" sldId="412"/>
            <ac:spMk id="3" creationId="{D367CA1D-9FE2-D938-479C-7EF3E4E16D89}"/>
          </ac:spMkLst>
        </pc:spChg>
        <pc:spChg chg="add del mod">
          <ac:chgData name="Ioannis Chatzikonstantinidis" userId="20a95722-900f-4345-9911-f227337b99bc" providerId="ADAL" clId="{6D08F164-BA95-4C00-A13F-23E08E3320D9}" dt="2024-11-27T09:25:36.020" v="127"/>
          <ac:spMkLst>
            <pc:docMk/>
            <pc:sldMk cId="4256400832" sldId="412"/>
            <ac:spMk id="8" creationId="{7D48C7D7-601A-0B80-EB2B-DD2EB382798A}"/>
          </ac:spMkLst>
        </pc:spChg>
        <pc:spChg chg="add del mod">
          <ac:chgData name="Ioannis Chatzikonstantinidis" userId="20a95722-900f-4345-9911-f227337b99bc" providerId="ADAL" clId="{6D08F164-BA95-4C00-A13F-23E08E3320D9}" dt="2024-11-27T09:25:51.138" v="151"/>
          <ac:spMkLst>
            <pc:docMk/>
            <pc:sldMk cId="4256400832" sldId="412"/>
            <ac:spMk id="12" creationId="{DC4F3000-4FE7-7F80-C6FB-2A5D32C3EC84}"/>
          </ac:spMkLst>
        </pc:spChg>
        <pc:graphicFrameChg chg="add del mod replST delST">
          <ac:chgData name="Ioannis Chatzikonstantinidis" userId="20a95722-900f-4345-9911-f227337b99bc" providerId="ADAL" clId="{6D08F164-BA95-4C00-A13F-23E08E3320D9}" dt="2024-11-27T09:25:40.864" v="147" actId="478"/>
          <ac:graphicFrameMkLst>
            <pc:docMk/>
            <pc:sldMk cId="4256400832" sldId="412"/>
            <ac:graphicFrameMk id="9" creationId="{E676CB32-383B-44FD-ADFC-2C20DB6317B8}"/>
          </ac:graphicFrameMkLst>
        </pc:graphicFrameChg>
        <pc:graphicFrameChg chg="del mod replST">
          <ac:chgData name="Ioannis Chatzikonstantinidis" userId="20a95722-900f-4345-9911-f227337b99bc" providerId="ADAL" clId="{6D08F164-BA95-4C00-A13F-23E08E3320D9}" dt="2024-11-27T09:25:30.714" v="125" actId="478"/>
          <ac:graphicFrameMkLst>
            <pc:docMk/>
            <pc:sldMk cId="4256400832" sldId="412"/>
            <ac:graphicFrameMk id="10" creationId="{E676CB32-383B-44FD-ADFC-2C20DB6317B8}"/>
          </ac:graphicFrameMkLst>
        </pc:graphicFrameChg>
        <pc:graphicFrameChg chg="add del mod">
          <ac:chgData name="Ioannis Chatzikonstantinidis" userId="20a95722-900f-4345-9911-f227337b99bc" providerId="ADAL" clId="{6D08F164-BA95-4C00-A13F-23E08E3320D9}" dt="2024-11-27T09:25:49.357" v="150" actId="478"/>
          <ac:graphicFrameMkLst>
            <pc:docMk/>
            <pc:sldMk cId="4256400832" sldId="412"/>
            <ac:graphicFrameMk id="13" creationId="{E676CB32-383B-44FD-ADFC-2C20DB6317B8}"/>
          </ac:graphicFrameMkLst>
        </pc:graphicFrameChg>
        <pc:graphicFrameChg chg="add mod">
          <ac:chgData name="Ioannis Chatzikonstantinidis" userId="20a95722-900f-4345-9911-f227337b99bc" providerId="ADAL" clId="{6D08F164-BA95-4C00-A13F-23E08E3320D9}" dt="2024-11-27T09:25:51.138" v="151"/>
          <ac:graphicFrameMkLst>
            <pc:docMk/>
            <pc:sldMk cId="4256400832" sldId="412"/>
            <ac:graphicFrameMk id="14" creationId="{0ADC3A22-D648-E7BC-44D2-AD3E4F78E434}"/>
          </ac:graphicFrameMkLst>
        </pc:graphicFrameChg>
      </pc:sldChg>
      <pc:sldChg chg="del">
        <pc:chgData name="Ioannis Chatzikonstantinidis" userId="20a95722-900f-4345-9911-f227337b99bc" providerId="ADAL" clId="{6D08F164-BA95-4C00-A13F-23E08E3320D9}" dt="2024-11-27T08:57:18.593" v="15" actId="47"/>
        <pc:sldMkLst>
          <pc:docMk/>
          <pc:sldMk cId="3133888931" sldId="413"/>
        </pc:sldMkLst>
      </pc:sldChg>
      <pc:sldChg chg="del">
        <pc:chgData name="Ioannis Chatzikonstantinidis" userId="20a95722-900f-4345-9911-f227337b99bc" providerId="ADAL" clId="{6D08F164-BA95-4C00-A13F-23E08E3320D9}" dt="2024-11-27T08:57:18.593" v="15" actId="47"/>
        <pc:sldMkLst>
          <pc:docMk/>
          <pc:sldMk cId="2842778894" sldId="415"/>
        </pc:sldMkLst>
      </pc:sldChg>
      <pc:sldChg chg="del">
        <pc:chgData name="Ioannis Chatzikonstantinidis" userId="20a95722-900f-4345-9911-f227337b99bc" providerId="ADAL" clId="{6D08F164-BA95-4C00-A13F-23E08E3320D9}" dt="2024-11-27T08:57:18.593" v="15" actId="47"/>
        <pc:sldMkLst>
          <pc:docMk/>
          <pc:sldMk cId="4075189838" sldId="416"/>
        </pc:sldMkLst>
      </pc:sldChg>
      <pc:sldChg chg="del">
        <pc:chgData name="Ioannis Chatzikonstantinidis" userId="20a95722-900f-4345-9911-f227337b99bc" providerId="ADAL" clId="{6D08F164-BA95-4C00-A13F-23E08E3320D9}" dt="2024-11-27T08:57:18.593" v="15" actId="47"/>
        <pc:sldMkLst>
          <pc:docMk/>
          <pc:sldMk cId="1095712235" sldId="417"/>
        </pc:sldMkLst>
      </pc:sldChg>
      <pc:sldChg chg="del">
        <pc:chgData name="Ioannis Chatzikonstantinidis" userId="20a95722-900f-4345-9911-f227337b99bc" providerId="ADAL" clId="{6D08F164-BA95-4C00-A13F-23E08E3320D9}" dt="2024-11-27T08:57:18.593" v="15" actId="47"/>
        <pc:sldMkLst>
          <pc:docMk/>
          <pc:sldMk cId="70187919" sldId="418"/>
        </pc:sldMkLst>
      </pc:sldChg>
      <pc:sldChg chg="del">
        <pc:chgData name="Ioannis Chatzikonstantinidis" userId="20a95722-900f-4345-9911-f227337b99bc" providerId="ADAL" clId="{6D08F164-BA95-4C00-A13F-23E08E3320D9}" dt="2024-11-27T08:57:18.593" v="15" actId="47"/>
        <pc:sldMkLst>
          <pc:docMk/>
          <pc:sldMk cId="2709580610" sldId="420"/>
        </pc:sldMkLst>
      </pc:sldChg>
      <pc:sldChg chg="del">
        <pc:chgData name="Ioannis Chatzikonstantinidis" userId="20a95722-900f-4345-9911-f227337b99bc" providerId="ADAL" clId="{6D08F164-BA95-4C00-A13F-23E08E3320D9}" dt="2024-11-27T08:57:18.593" v="15" actId="47"/>
        <pc:sldMkLst>
          <pc:docMk/>
          <pc:sldMk cId="899064287" sldId="425"/>
        </pc:sldMkLst>
      </pc:sldChg>
      <pc:sldChg chg="del">
        <pc:chgData name="Ioannis Chatzikonstantinidis" userId="20a95722-900f-4345-9911-f227337b99bc" providerId="ADAL" clId="{6D08F164-BA95-4C00-A13F-23E08E3320D9}" dt="2024-11-27T08:57:18.593" v="15" actId="47"/>
        <pc:sldMkLst>
          <pc:docMk/>
          <pc:sldMk cId="2475815565" sldId="433"/>
        </pc:sldMkLst>
      </pc:sldChg>
      <pc:sldChg chg="addSp modSp mod">
        <pc:chgData name="Ioannis Chatzikonstantinidis" userId="20a95722-900f-4345-9911-f227337b99bc" providerId="ADAL" clId="{6D08F164-BA95-4C00-A13F-23E08E3320D9}" dt="2024-11-27T09:33:12.326" v="225"/>
        <pc:sldMkLst>
          <pc:docMk/>
          <pc:sldMk cId="1897872233" sldId="435"/>
        </pc:sldMkLst>
        <pc:graphicFrameChg chg="mod">
          <ac:chgData name="Ioannis Chatzikonstantinidis" userId="20a95722-900f-4345-9911-f227337b99bc" providerId="ADAL" clId="{6D08F164-BA95-4C00-A13F-23E08E3320D9}" dt="2024-11-27T09:33:12.326" v="225"/>
          <ac:graphicFrameMkLst>
            <pc:docMk/>
            <pc:sldMk cId="1897872233" sldId="435"/>
            <ac:graphicFrameMk id="11" creationId="{62A20212-4A47-5710-9E83-11F7EC167B4E}"/>
          </ac:graphicFrameMkLst>
        </pc:graphicFrameChg>
        <pc:picChg chg="add mod">
          <ac:chgData name="Ioannis Chatzikonstantinidis" userId="20a95722-900f-4345-9911-f227337b99bc" providerId="ADAL" clId="{6D08F164-BA95-4C00-A13F-23E08E3320D9}" dt="2024-11-27T09:28:20.646" v="157" actId="1036"/>
          <ac:picMkLst>
            <pc:docMk/>
            <pc:sldMk cId="1897872233" sldId="435"/>
            <ac:picMk id="8" creationId="{71E34C99-788D-5FA4-2A22-63855468FD5B}"/>
          </ac:picMkLst>
        </pc:picChg>
      </pc:sldChg>
      <pc:sldChg chg="del">
        <pc:chgData name="Ioannis Chatzikonstantinidis" userId="20a95722-900f-4345-9911-f227337b99bc" providerId="ADAL" clId="{6D08F164-BA95-4C00-A13F-23E08E3320D9}" dt="2024-11-27T08:57:18.593" v="15" actId="47"/>
        <pc:sldMkLst>
          <pc:docMk/>
          <pc:sldMk cId="2598821459" sldId="437"/>
        </pc:sldMkLst>
      </pc:sldChg>
      <pc:sldChg chg="del">
        <pc:chgData name="Ioannis Chatzikonstantinidis" userId="20a95722-900f-4345-9911-f227337b99bc" providerId="ADAL" clId="{6D08F164-BA95-4C00-A13F-23E08E3320D9}" dt="2024-11-27T08:57:18.593" v="15" actId="47"/>
        <pc:sldMkLst>
          <pc:docMk/>
          <pc:sldMk cId="1344006960" sldId="441"/>
        </pc:sldMkLst>
      </pc:sldChg>
      <pc:sldChg chg="del">
        <pc:chgData name="Ioannis Chatzikonstantinidis" userId="20a95722-900f-4345-9911-f227337b99bc" providerId="ADAL" clId="{6D08F164-BA95-4C00-A13F-23E08E3320D9}" dt="2024-11-27T08:57:18.593" v="15" actId="47"/>
        <pc:sldMkLst>
          <pc:docMk/>
          <pc:sldMk cId="181738043" sldId="442"/>
        </pc:sldMkLst>
      </pc:sldChg>
      <pc:sldChg chg="del">
        <pc:chgData name="Ioannis Chatzikonstantinidis" userId="20a95722-900f-4345-9911-f227337b99bc" providerId="ADAL" clId="{6D08F164-BA95-4C00-A13F-23E08E3320D9}" dt="2024-11-27T08:57:18.593" v="15" actId="47"/>
        <pc:sldMkLst>
          <pc:docMk/>
          <pc:sldMk cId="3584022736" sldId="443"/>
        </pc:sldMkLst>
      </pc:sldChg>
      <pc:sldChg chg="del">
        <pc:chgData name="Ioannis Chatzikonstantinidis" userId="20a95722-900f-4345-9911-f227337b99bc" providerId="ADAL" clId="{6D08F164-BA95-4C00-A13F-23E08E3320D9}" dt="2024-11-27T08:57:18.593" v="15" actId="47"/>
        <pc:sldMkLst>
          <pc:docMk/>
          <pc:sldMk cId="2068225989" sldId="444"/>
        </pc:sldMkLst>
      </pc:sldChg>
      <pc:sldChg chg="del">
        <pc:chgData name="Ioannis Chatzikonstantinidis" userId="20a95722-900f-4345-9911-f227337b99bc" providerId="ADAL" clId="{6D08F164-BA95-4C00-A13F-23E08E3320D9}" dt="2024-11-27T08:57:18.593" v="15" actId="47"/>
        <pc:sldMkLst>
          <pc:docMk/>
          <pc:sldMk cId="726990075" sldId="445"/>
        </pc:sldMkLst>
      </pc:sldChg>
      <pc:sldChg chg="del">
        <pc:chgData name="Ioannis Chatzikonstantinidis" userId="20a95722-900f-4345-9911-f227337b99bc" providerId="ADAL" clId="{6D08F164-BA95-4C00-A13F-23E08E3320D9}" dt="2024-11-27T08:57:18.593" v="15" actId="47"/>
        <pc:sldMkLst>
          <pc:docMk/>
          <pc:sldMk cId="2650484949" sldId="446"/>
        </pc:sldMkLst>
      </pc:sldChg>
      <pc:sldChg chg="del">
        <pc:chgData name="Ioannis Chatzikonstantinidis" userId="20a95722-900f-4345-9911-f227337b99bc" providerId="ADAL" clId="{6D08F164-BA95-4C00-A13F-23E08E3320D9}" dt="2024-11-27T08:57:18.593" v="15" actId="47"/>
        <pc:sldMkLst>
          <pc:docMk/>
          <pc:sldMk cId="2270215306" sldId="447"/>
        </pc:sldMkLst>
      </pc:sldChg>
      <pc:sldChg chg="del">
        <pc:chgData name="Ioannis Chatzikonstantinidis" userId="20a95722-900f-4345-9911-f227337b99bc" providerId="ADAL" clId="{6D08F164-BA95-4C00-A13F-23E08E3320D9}" dt="2024-11-27T08:57:18.593" v="15" actId="47"/>
        <pc:sldMkLst>
          <pc:docMk/>
          <pc:sldMk cId="1427249261" sldId="448"/>
        </pc:sldMkLst>
      </pc:sldChg>
      <pc:sldChg chg="del">
        <pc:chgData name="Ioannis Chatzikonstantinidis" userId="20a95722-900f-4345-9911-f227337b99bc" providerId="ADAL" clId="{6D08F164-BA95-4C00-A13F-23E08E3320D9}" dt="2024-11-27T08:57:18.593" v="15" actId="47"/>
        <pc:sldMkLst>
          <pc:docMk/>
          <pc:sldMk cId="3630876636" sldId="449"/>
        </pc:sldMkLst>
      </pc:sldChg>
      <pc:sldChg chg="del">
        <pc:chgData name="Ioannis Chatzikonstantinidis" userId="20a95722-900f-4345-9911-f227337b99bc" providerId="ADAL" clId="{6D08F164-BA95-4C00-A13F-23E08E3320D9}" dt="2024-11-27T08:57:18.593" v="15" actId="47"/>
        <pc:sldMkLst>
          <pc:docMk/>
          <pc:sldMk cId="4208890819" sldId="450"/>
        </pc:sldMkLst>
      </pc:sldChg>
      <pc:sldChg chg="del">
        <pc:chgData name="Ioannis Chatzikonstantinidis" userId="20a95722-900f-4345-9911-f227337b99bc" providerId="ADAL" clId="{6D08F164-BA95-4C00-A13F-23E08E3320D9}" dt="2024-11-27T08:57:18.593" v="15" actId="47"/>
        <pc:sldMkLst>
          <pc:docMk/>
          <pc:sldMk cId="2713075998" sldId="451"/>
        </pc:sldMkLst>
      </pc:sldChg>
      <pc:sldChg chg="del">
        <pc:chgData name="Ioannis Chatzikonstantinidis" userId="20a95722-900f-4345-9911-f227337b99bc" providerId="ADAL" clId="{6D08F164-BA95-4C00-A13F-23E08E3320D9}" dt="2024-11-27T08:57:18.593" v="15" actId="47"/>
        <pc:sldMkLst>
          <pc:docMk/>
          <pc:sldMk cId="3888537902" sldId="452"/>
        </pc:sldMkLst>
      </pc:sldChg>
      <pc:sldChg chg="del">
        <pc:chgData name="Ioannis Chatzikonstantinidis" userId="20a95722-900f-4345-9911-f227337b99bc" providerId="ADAL" clId="{6D08F164-BA95-4C00-A13F-23E08E3320D9}" dt="2024-11-27T08:57:18.593" v="15" actId="47"/>
        <pc:sldMkLst>
          <pc:docMk/>
          <pc:sldMk cId="2148502837" sldId="453"/>
        </pc:sldMkLst>
      </pc:sldChg>
      <pc:sldChg chg="del">
        <pc:chgData name="Ioannis Chatzikonstantinidis" userId="20a95722-900f-4345-9911-f227337b99bc" providerId="ADAL" clId="{6D08F164-BA95-4C00-A13F-23E08E3320D9}" dt="2024-11-27T08:57:18.593" v="15" actId="47"/>
        <pc:sldMkLst>
          <pc:docMk/>
          <pc:sldMk cId="2862019169" sldId="454"/>
        </pc:sldMkLst>
      </pc:sldChg>
      <pc:sldChg chg="del">
        <pc:chgData name="Ioannis Chatzikonstantinidis" userId="20a95722-900f-4345-9911-f227337b99bc" providerId="ADAL" clId="{6D08F164-BA95-4C00-A13F-23E08E3320D9}" dt="2024-11-27T08:57:18.593" v="15" actId="47"/>
        <pc:sldMkLst>
          <pc:docMk/>
          <pc:sldMk cId="4103128376" sldId="455"/>
        </pc:sldMkLst>
      </pc:sldChg>
      <pc:sldChg chg="del">
        <pc:chgData name="Ioannis Chatzikonstantinidis" userId="20a95722-900f-4345-9911-f227337b99bc" providerId="ADAL" clId="{6D08F164-BA95-4C00-A13F-23E08E3320D9}" dt="2024-11-27T08:57:18.593" v="15" actId="47"/>
        <pc:sldMkLst>
          <pc:docMk/>
          <pc:sldMk cId="2256593268" sldId="456"/>
        </pc:sldMkLst>
      </pc:sldChg>
      <pc:sldChg chg="del">
        <pc:chgData name="Ioannis Chatzikonstantinidis" userId="20a95722-900f-4345-9911-f227337b99bc" providerId="ADAL" clId="{6D08F164-BA95-4C00-A13F-23E08E3320D9}" dt="2024-11-27T08:57:18.593" v="15" actId="47"/>
        <pc:sldMkLst>
          <pc:docMk/>
          <pc:sldMk cId="3497473814" sldId="457"/>
        </pc:sldMkLst>
      </pc:sldChg>
      <pc:sldChg chg="del">
        <pc:chgData name="Ioannis Chatzikonstantinidis" userId="20a95722-900f-4345-9911-f227337b99bc" providerId="ADAL" clId="{6D08F164-BA95-4C00-A13F-23E08E3320D9}" dt="2024-11-27T08:57:18.593" v="15" actId="47"/>
        <pc:sldMkLst>
          <pc:docMk/>
          <pc:sldMk cId="4127503836" sldId="458"/>
        </pc:sldMkLst>
      </pc:sldChg>
      <pc:sldChg chg="del">
        <pc:chgData name="Ioannis Chatzikonstantinidis" userId="20a95722-900f-4345-9911-f227337b99bc" providerId="ADAL" clId="{6D08F164-BA95-4C00-A13F-23E08E3320D9}" dt="2024-11-27T08:57:18.593" v="15" actId="47"/>
        <pc:sldMkLst>
          <pc:docMk/>
          <pc:sldMk cId="1139731515" sldId="459"/>
        </pc:sldMkLst>
      </pc:sldChg>
      <pc:sldChg chg="del">
        <pc:chgData name="Ioannis Chatzikonstantinidis" userId="20a95722-900f-4345-9911-f227337b99bc" providerId="ADAL" clId="{6D08F164-BA95-4C00-A13F-23E08E3320D9}" dt="2024-11-27T08:57:18.593" v="15" actId="47"/>
        <pc:sldMkLst>
          <pc:docMk/>
          <pc:sldMk cId="1577068609" sldId="460"/>
        </pc:sldMkLst>
      </pc:sldChg>
      <pc:sldChg chg="del">
        <pc:chgData name="Ioannis Chatzikonstantinidis" userId="20a95722-900f-4345-9911-f227337b99bc" providerId="ADAL" clId="{6D08F164-BA95-4C00-A13F-23E08E3320D9}" dt="2024-11-27T08:57:18.593" v="15" actId="47"/>
        <pc:sldMkLst>
          <pc:docMk/>
          <pc:sldMk cId="2222453516" sldId="461"/>
        </pc:sldMkLst>
      </pc:sldChg>
      <pc:sldChg chg="del">
        <pc:chgData name="Ioannis Chatzikonstantinidis" userId="20a95722-900f-4345-9911-f227337b99bc" providerId="ADAL" clId="{6D08F164-BA95-4C00-A13F-23E08E3320D9}" dt="2024-11-27T08:57:18.593" v="15" actId="47"/>
        <pc:sldMkLst>
          <pc:docMk/>
          <pc:sldMk cId="4026411035" sldId="462"/>
        </pc:sldMkLst>
      </pc:sldChg>
      <pc:sldChg chg="del">
        <pc:chgData name="Ioannis Chatzikonstantinidis" userId="20a95722-900f-4345-9911-f227337b99bc" providerId="ADAL" clId="{6D08F164-BA95-4C00-A13F-23E08E3320D9}" dt="2024-11-27T08:57:18.593" v="15" actId="47"/>
        <pc:sldMkLst>
          <pc:docMk/>
          <pc:sldMk cId="1791336778" sldId="463"/>
        </pc:sldMkLst>
      </pc:sldChg>
      <pc:sldChg chg="del">
        <pc:chgData name="Ioannis Chatzikonstantinidis" userId="20a95722-900f-4345-9911-f227337b99bc" providerId="ADAL" clId="{6D08F164-BA95-4C00-A13F-23E08E3320D9}" dt="2024-11-27T08:57:18.593" v="15" actId="47"/>
        <pc:sldMkLst>
          <pc:docMk/>
          <pc:sldMk cId="1468089078" sldId="464"/>
        </pc:sldMkLst>
      </pc:sldChg>
      <pc:sldChg chg="del">
        <pc:chgData name="Ioannis Chatzikonstantinidis" userId="20a95722-900f-4345-9911-f227337b99bc" providerId="ADAL" clId="{6D08F164-BA95-4C00-A13F-23E08E3320D9}" dt="2024-11-27T08:57:18.593" v="15" actId="47"/>
        <pc:sldMkLst>
          <pc:docMk/>
          <pc:sldMk cId="671052051" sldId="465"/>
        </pc:sldMkLst>
      </pc:sldChg>
      <pc:sldChg chg="del">
        <pc:chgData name="Ioannis Chatzikonstantinidis" userId="20a95722-900f-4345-9911-f227337b99bc" providerId="ADAL" clId="{6D08F164-BA95-4C00-A13F-23E08E3320D9}" dt="2024-11-27T08:57:18.593" v="15" actId="47"/>
        <pc:sldMkLst>
          <pc:docMk/>
          <pc:sldMk cId="1476118484" sldId="466"/>
        </pc:sldMkLst>
      </pc:sldChg>
      <pc:sldChg chg="del">
        <pc:chgData name="Ioannis Chatzikonstantinidis" userId="20a95722-900f-4345-9911-f227337b99bc" providerId="ADAL" clId="{6D08F164-BA95-4C00-A13F-23E08E3320D9}" dt="2024-11-27T08:57:18.593" v="15" actId="47"/>
        <pc:sldMkLst>
          <pc:docMk/>
          <pc:sldMk cId="248711014" sldId="467"/>
        </pc:sldMkLst>
      </pc:sldChg>
      <pc:sldChg chg="del">
        <pc:chgData name="Ioannis Chatzikonstantinidis" userId="20a95722-900f-4345-9911-f227337b99bc" providerId="ADAL" clId="{6D08F164-BA95-4C00-A13F-23E08E3320D9}" dt="2024-11-27T08:57:18.593" v="15" actId="47"/>
        <pc:sldMkLst>
          <pc:docMk/>
          <pc:sldMk cId="520666944" sldId="468"/>
        </pc:sldMkLst>
      </pc:sldChg>
      <pc:sldChg chg="del">
        <pc:chgData name="Ioannis Chatzikonstantinidis" userId="20a95722-900f-4345-9911-f227337b99bc" providerId="ADAL" clId="{6D08F164-BA95-4C00-A13F-23E08E3320D9}" dt="2024-11-27T08:57:18.593" v="15" actId="47"/>
        <pc:sldMkLst>
          <pc:docMk/>
          <pc:sldMk cId="2817773995" sldId="469"/>
        </pc:sldMkLst>
      </pc:sldChg>
      <pc:sldChg chg="del">
        <pc:chgData name="Ioannis Chatzikonstantinidis" userId="20a95722-900f-4345-9911-f227337b99bc" providerId="ADAL" clId="{6D08F164-BA95-4C00-A13F-23E08E3320D9}" dt="2024-11-27T08:57:18.593" v="15" actId="47"/>
        <pc:sldMkLst>
          <pc:docMk/>
          <pc:sldMk cId="600129404" sldId="470"/>
        </pc:sldMkLst>
      </pc:sldChg>
      <pc:sldChg chg="del">
        <pc:chgData name="Ioannis Chatzikonstantinidis" userId="20a95722-900f-4345-9911-f227337b99bc" providerId="ADAL" clId="{6D08F164-BA95-4C00-A13F-23E08E3320D9}" dt="2024-11-27T08:57:18.593" v="15" actId="47"/>
        <pc:sldMkLst>
          <pc:docMk/>
          <pc:sldMk cId="2398324069" sldId="471"/>
        </pc:sldMkLst>
      </pc:sldChg>
      <pc:sldChg chg="del">
        <pc:chgData name="Ioannis Chatzikonstantinidis" userId="20a95722-900f-4345-9911-f227337b99bc" providerId="ADAL" clId="{6D08F164-BA95-4C00-A13F-23E08E3320D9}" dt="2024-11-27T08:57:18.593" v="15" actId="47"/>
        <pc:sldMkLst>
          <pc:docMk/>
          <pc:sldMk cId="3556698229" sldId="472"/>
        </pc:sldMkLst>
      </pc:sldChg>
      <pc:sldChg chg="del">
        <pc:chgData name="Ioannis Chatzikonstantinidis" userId="20a95722-900f-4345-9911-f227337b99bc" providerId="ADAL" clId="{6D08F164-BA95-4C00-A13F-23E08E3320D9}" dt="2024-11-27T08:57:18.593" v="15" actId="47"/>
        <pc:sldMkLst>
          <pc:docMk/>
          <pc:sldMk cId="4251775956" sldId="474"/>
        </pc:sldMkLst>
      </pc:sldChg>
      <pc:sldChg chg="del">
        <pc:chgData name="Ioannis Chatzikonstantinidis" userId="20a95722-900f-4345-9911-f227337b99bc" providerId="ADAL" clId="{6D08F164-BA95-4C00-A13F-23E08E3320D9}" dt="2024-11-27T08:57:18.593" v="15" actId="47"/>
        <pc:sldMkLst>
          <pc:docMk/>
          <pc:sldMk cId="2497698453" sldId="475"/>
        </pc:sldMkLst>
      </pc:sldChg>
      <pc:sldChg chg="del">
        <pc:chgData name="Ioannis Chatzikonstantinidis" userId="20a95722-900f-4345-9911-f227337b99bc" providerId="ADAL" clId="{6D08F164-BA95-4C00-A13F-23E08E3320D9}" dt="2024-11-27T08:57:18.593" v="15" actId="47"/>
        <pc:sldMkLst>
          <pc:docMk/>
          <pc:sldMk cId="946533022" sldId="476"/>
        </pc:sldMkLst>
      </pc:sldChg>
      <pc:sldChg chg="del">
        <pc:chgData name="Ioannis Chatzikonstantinidis" userId="20a95722-900f-4345-9911-f227337b99bc" providerId="ADAL" clId="{6D08F164-BA95-4C00-A13F-23E08E3320D9}" dt="2024-11-27T08:57:18.593" v="15" actId="47"/>
        <pc:sldMkLst>
          <pc:docMk/>
          <pc:sldMk cId="3539260366" sldId="477"/>
        </pc:sldMkLst>
      </pc:sldChg>
      <pc:sldChg chg="del">
        <pc:chgData name="Ioannis Chatzikonstantinidis" userId="20a95722-900f-4345-9911-f227337b99bc" providerId="ADAL" clId="{6D08F164-BA95-4C00-A13F-23E08E3320D9}" dt="2024-11-27T08:57:18.593" v="15" actId="47"/>
        <pc:sldMkLst>
          <pc:docMk/>
          <pc:sldMk cId="1222363924" sldId="478"/>
        </pc:sldMkLst>
      </pc:sldChg>
      <pc:sldChg chg="del">
        <pc:chgData name="Ioannis Chatzikonstantinidis" userId="20a95722-900f-4345-9911-f227337b99bc" providerId="ADAL" clId="{6D08F164-BA95-4C00-A13F-23E08E3320D9}" dt="2024-11-27T08:57:18.593" v="15" actId="47"/>
        <pc:sldMkLst>
          <pc:docMk/>
          <pc:sldMk cId="3462100393" sldId="479"/>
        </pc:sldMkLst>
      </pc:sldChg>
      <pc:sldChg chg="del">
        <pc:chgData name="Ioannis Chatzikonstantinidis" userId="20a95722-900f-4345-9911-f227337b99bc" providerId="ADAL" clId="{6D08F164-BA95-4C00-A13F-23E08E3320D9}" dt="2024-11-27T08:57:18.593" v="15" actId="47"/>
        <pc:sldMkLst>
          <pc:docMk/>
          <pc:sldMk cId="4043045421" sldId="480"/>
        </pc:sldMkLst>
      </pc:sldChg>
      <pc:sldChg chg="del">
        <pc:chgData name="Ioannis Chatzikonstantinidis" userId="20a95722-900f-4345-9911-f227337b99bc" providerId="ADAL" clId="{6D08F164-BA95-4C00-A13F-23E08E3320D9}" dt="2024-11-27T08:57:18.593" v="15" actId="47"/>
        <pc:sldMkLst>
          <pc:docMk/>
          <pc:sldMk cId="3885906834" sldId="481"/>
        </pc:sldMkLst>
      </pc:sldChg>
      <pc:sldChg chg="del">
        <pc:chgData name="Ioannis Chatzikonstantinidis" userId="20a95722-900f-4345-9911-f227337b99bc" providerId="ADAL" clId="{6D08F164-BA95-4C00-A13F-23E08E3320D9}" dt="2024-11-27T08:57:18.593" v="15" actId="47"/>
        <pc:sldMkLst>
          <pc:docMk/>
          <pc:sldMk cId="3753664165" sldId="482"/>
        </pc:sldMkLst>
      </pc:sldChg>
      <pc:sldChg chg="del">
        <pc:chgData name="Ioannis Chatzikonstantinidis" userId="20a95722-900f-4345-9911-f227337b99bc" providerId="ADAL" clId="{6D08F164-BA95-4C00-A13F-23E08E3320D9}" dt="2024-11-27T08:57:18.593" v="15" actId="47"/>
        <pc:sldMkLst>
          <pc:docMk/>
          <pc:sldMk cId="2321366848" sldId="483"/>
        </pc:sldMkLst>
      </pc:sldChg>
      <pc:sldChg chg="del">
        <pc:chgData name="Ioannis Chatzikonstantinidis" userId="20a95722-900f-4345-9911-f227337b99bc" providerId="ADAL" clId="{6D08F164-BA95-4C00-A13F-23E08E3320D9}" dt="2024-11-27T08:57:18.593" v="15" actId="47"/>
        <pc:sldMkLst>
          <pc:docMk/>
          <pc:sldMk cId="2429685564" sldId="484"/>
        </pc:sldMkLst>
      </pc:sldChg>
      <pc:sldChg chg="del">
        <pc:chgData name="Ioannis Chatzikonstantinidis" userId="20a95722-900f-4345-9911-f227337b99bc" providerId="ADAL" clId="{6D08F164-BA95-4C00-A13F-23E08E3320D9}" dt="2024-11-27T08:57:18.593" v="15" actId="47"/>
        <pc:sldMkLst>
          <pc:docMk/>
          <pc:sldMk cId="1559440480" sldId="487"/>
        </pc:sldMkLst>
      </pc:sldChg>
      <pc:sldChg chg="del">
        <pc:chgData name="Ioannis Chatzikonstantinidis" userId="20a95722-900f-4345-9911-f227337b99bc" providerId="ADAL" clId="{6D08F164-BA95-4C00-A13F-23E08E3320D9}" dt="2024-11-27T08:57:18.593" v="15" actId="47"/>
        <pc:sldMkLst>
          <pc:docMk/>
          <pc:sldMk cId="526581250" sldId="488"/>
        </pc:sldMkLst>
      </pc:sldChg>
      <pc:sldChg chg="del">
        <pc:chgData name="Ioannis Chatzikonstantinidis" userId="20a95722-900f-4345-9911-f227337b99bc" providerId="ADAL" clId="{6D08F164-BA95-4C00-A13F-23E08E3320D9}" dt="2024-11-27T08:57:18.593" v="15" actId="47"/>
        <pc:sldMkLst>
          <pc:docMk/>
          <pc:sldMk cId="510101820" sldId="489"/>
        </pc:sldMkLst>
      </pc:sldChg>
      <pc:sldChg chg="del">
        <pc:chgData name="Ioannis Chatzikonstantinidis" userId="20a95722-900f-4345-9911-f227337b99bc" providerId="ADAL" clId="{6D08F164-BA95-4C00-A13F-23E08E3320D9}" dt="2024-11-27T08:57:18.593" v="15" actId="47"/>
        <pc:sldMkLst>
          <pc:docMk/>
          <pc:sldMk cId="3680753841" sldId="490"/>
        </pc:sldMkLst>
      </pc:sldChg>
      <pc:sldChg chg="del">
        <pc:chgData name="Ioannis Chatzikonstantinidis" userId="20a95722-900f-4345-9911-f227337b99bc" providerId="ADAL" clId="{6D08F164-BA95-4C00-A13F-23E08E3320D9}" dt="2024-11-27T08:57:18.593" v="15" actId="47"/>
        <pc:sldMkLst>
          <pc:docMk/>
          <pc:sldMk cId="3015095879" sldId="491"/>
        </pc:sldMkLst>
      </pc:sldChg>
      <pc:sldChg chg="del">
        <pc:chgData name="Ioannis Chatzikonstantinidis" userId="20a95722-900f-4345-9911-f227337b99bc" providerId="ADAL" clId="{6D08F164-BA95-4C00-A13F-23E08E3320D9}" dt="2024-11-27T08:57:18.593" v="15" actId="47"/>
        <pc:sldMkLst>
          <pc:docMk/>
          <pc:sldMk cId="3673956236" sldId="492"/>
        </pc:sldMkLst>
      </pc:sldChg>
      <pc:sldChg chg="del">
        <pc:chgData name="Ioannis Chatzikonstantinidis" userId="20a95722-900f-4345-9911-f227337b99bc" providerId="ADAL" clId="{6D08F164-BA95-4C00-A13F-23E08E3320D9}" dt="2024-11-27T08:57:18.593" v="15" actId="47"/>
        <pc:sldMkLst>
          <pc:docMk/>
          <pc:sldMk cId="4255441480" sldId="493"/>
        </pc:sldMkLst>
      </pc:sldChg>
      <pc:sldChg chg="del">
        <pc:chgData name="Ioannis Chatzikonstantinidis" userId="20a95722-900f-4345-9911-f227337b99bc" providerId="ADAL" clId="{6D08F164-BA95-4C00-A13F-23E08E3320D9}" dt="2024-11-27T08:57:18.593" v="15" actId="47"/>
        <pc:sldMkLst>
          <pc:docMk/>
          <pc:sldMk cId="4026221227" sldId="494"/>
        </pc:sldMkLst>
      </pc:sldChg>
      <pc:sldChg chg="del">
        <pc:chgData name="Ioannis Chatzikonstantinidis" userId="20a95722-900f-4345-9911-f227337b99bc" providerId="ADAL" clId="{6D08F164-BA95-4C00-A13F-23E08E3320D9}" dt="2024-11-27T08:57:18.593" v="15" actId="47"/>
        <pc:sldMkLst>
          <pc:docMk/>
          <pc:sldMk cId="3872378383" sldId="495"/>
        </pc:sldMkLst>
      </pc:sldChg>
      <pc:sldChg chg="del">
        <pc:chgData name="Ioannis Chatzikonstantinidis" userId="20a95722-900f-4345-9911-f227337b99bc" providerId="ADAL" clId="{6D08F164-BA95-4C00-A13F-23E08E3320D9}" dt="2024-11-27T08:57:18.593" v="15" actId="47"/>
        <pc:sldMkLst>
          <pc:docMk/>
          <pc:sldMk cId="3972660427" sldId="496"/>
        </pc:sldMkLst>
      </pc:sldChg>
      <pc:sldChg chg="del">
        <pc:chgData name="Ioannis Chatzikonstantinidis" userId="20a95722-900f-4345-9911-f227337b99bc" providerId="ADAL" clId="{6D08F164-BA95-4C00-A13F-23E08E3320D9}" dt="2024-11-27T08:57:18.593" v="15" actId="47"/>
        <pc:sldMkLst>
          <pc:docMk/>
          <pc:sldMk cId="728436843" sldId="497"/>
        </pc:sldMkLst>
      </pc:sldChg>
      <pc:sldChg chg="del">
        <pc:chgData name="Ioannis Chatzikonstantinidis" userId="20a95722-900f-4345-9911-f227337b99bc" providerId="ADAL" clId="{6D08F164-BA95-4C00-A13F-23E08E3320D9}" dt="2024-11-27T08:57:18.593" v="15" actId="47"/>
        <pc:sldMkLst>
          <pc:docMk/>
          <pc:sldMk cId="124125127" sldId="498"/>
        </pc:sldMkLst>
      </pc:sldChg>
      <pc:sldChg chg="del">
        <pc:chgData name="Ioannis Chatzikonstantinidis" userId="20a95722-900f-4345-9911-f227337b99bc" providerId="ADAL" clId="{6D08F164-BA95-4C00-A13F-23E08E3320D9}" dt="2024-11-27T08:57:18.593" v="15" actId="47"/>
        <pc:sldMkLst>
          <pc:docMk/>
          <pc:sldMk cId="1792393460" sldId="499"/>
        </pc:sldMkLst>
      </pc:sldChg>
      <pc:sldChg chg="del">
        <pc:chgData name="Ioannis Chatzikonstantinidis" userId="20a95722-900f-4345-9911-f227337b99bc" providerId="ADAL" clId="{6D08F164-BA95-4C00-A13F-23E08E3320D9}" dt="2024-11-27T08:57:18.593" v="15" actId="47"/>
        <pc:sldMkLst>
          <pc:docMk/>
          <pc:sldMk cId="14070017" sldId="500"/>
        </pc:sldMkLst>
      </pc:sldChg>
      <pc:sldChg chg="del">
        <pc:chgData name="Ioannis Chatzikonstantinidis" userId="20a95722-900f-4345-9911-f227337b99bc" providerId="ADAL" clId="{6D08F164-BA95-4C00-A13F-23E08E3320D9}" dt="2024-11-27T08:57:18.593" v="15" actId="47"/>
        <pc:sldMkLst>
          <pc:docMk/>
          <pc:sldMk cId="3591009243" sldId="501"/>
        </pc:sldMkLst>
      </pc:sldChg>
      <pc:sldChg chg="del">
        <pc:chgData name="Ioannis Chatzikonstantinidis" userId="20a95722-900f-4345-9911-f227337b99bc" providerId="ADAL" clId="{6D08F164-BA95-4C00-A13F-23E08E3320D9}" dt="2024-11-27T08:57:18.593" v="15" actId="47"/>
        <pc:sldMkLst>
          <pc:docMk/>
          <pc:sldMk cId="2084349778" sldId="502"/>
        </pc:sldMkLst>
      </pc:sldChg>
      <pc:sldChg chg="del">
        <pc:chgData name="Ioannis Chatzikonstantinidis" userId="20a95722-900f-4345-9911-f227337b99bc" providerId="ADAL" clId="{6D08F164-BA95-4C00-A13F-23E08E3320D9}" dt="2024-11-27T08:57:18.593" v="15" actId="47"/>
        <pc:sldMkLst>
          <pc:docMk/>
          <pc:sldMk cId="1514557270" sldId="503"/>
        </pc:sldMkLst>
      </pc:sldChg>
      <pc:sldChg chg="del">
        <pc:chgData name="Ioannis Chatzikonstantinidis" userId="20a95722-900f-4345-9911-f227337b99bc" providerId="ADAL" clId="{6D08F164-BA95-4C00-A13F-23E08E3320D9}" dt="2024-11-27T08:57:18.593" v="15" actId="47"/>
        <pc:sldMkLst>
          <pc:docMk/>
          <pc:sldMk cId="2005031241" sldId="504"/>
        </pc:sldMkLst>
      </pc:sldChg>
      <pc:sldChg chg="del">
        <pc:chgData name="Ioannis Chatzikonstantinidis" userId="20a95722-900f-4345-9911-f227337b99bc" providerId="ADAL" clId="{6D08F164-BA95-4C00-A13F-23E08E3320D9}" dt="2024-11-27T08:57:18.593" v="15" actId="47"/>
        <pc:sldMkLst>
          <pc:docMk/>
          <pc:sldMk cId="3459740643" sldId="505"/>
        </pc:sldMkLst>
      </pc:sldChg>
      <pc:sldChg chg="del">
        <pc:chgData name="Ioannis Chatzikonstantinidis" userId="20a95722-900f-4345-9911-f227337b99bc" providerId="ADAL" clId="{6D08F164-BA95-4C00-A13F-23E08E3320D9}" dt="2024-11-27T08:57:18.593" v="15" actId="47"/>
        <pc:sldMkLst>
          <pc:docMk/>
          <pc:sldMk cId="2112605716" sldId="506"/>
        </pc:sldMkLst>
      </pc:sldChg>
      <pc:sldChg chg="del">
        <pc:chgData name="Ioannis Chatzikonstantinidis" userId="20a95722-900f-4345-9911-f227337b99bc" providerId="ADAL" clId="{6D08F164-BA95-4C00-A13F-23E08E3320D9}" dt="2024-11-27T08:57:18.593" v="15" actId="47"/>
        <pc:sldMkLst>
          <pc:docMk/>
          <pc:sldMk cId="4259894605" sldId="507"/>
        </pc:sldMkLst>
      </pc:sldChg>
      <pc:sldChg chg="modSp mod">
        <pc:chgData name="Ioannis Chatzikonstantinidis" userId="20a95722-900f-4345-9911-f227337b99bc" providerId="ADAL" clId="{6D08F164-BA95-4C00-A13F-23E08E3320D9}" dt="2024-11-27T09:32:21.763" v="219" actId="20577"/>
        <pc:sldMkLst>
          <pc:docMk/>
          <pc:sldMk cId="3448994608" sldId="509"/>
        </pc:sldMkLst>
        <pc:spChg chg="mod">
          <ac:chgData name="Ioannis Chatzikonstantinidis" userId="20a95722-900f-4345-9911-f227337b99bc" providerId="ADAL" clId="{6D08F164-BA95-4C00-A13F-23E08E3320D9}" dt="2024-11-27T09:32:21.763" v="219" actId="20577"/>
          <ac:spMkLst>
            <pc:docMk/>
            <pc:sldMk cId="3448994608" sldId="509"/>
            <ac:spMk id="8" creationId="{33185970-7747-4769-0CC0-0E64F2EA501E}"/>
          </ac:spMkLst>
        </pc:spChg>
      </pc:sldChg>
      <pc:sldChg chg="del">
        <pc:chgData name="Ioannis Chatzikonstantinidis" userId="20a95722-900f-4345-9911-f227337b99bc" providerId="ADAL" clId="{6D08F164-BA95-4C00-A13F-23E08E3320D9}" dt="2024-11-27T08:57:18.593" v="15" actId="47"/>
        <pc:sldMkLst>
          <pc:docMk/>
          <pc:sldMk cId="1767537624" sldId="510"/>
        </pc:sldMkLst>
      </pc:sldChg>
      <pc:sldChg chg="modSp mod">
        <pc:chgData name="Ioannis Chatzikonstantinidis" userId="20a95722-900f-4345-9911-f227337b99bc" providerId="ADAL" clId="{6D08F164-BA95-4C00-A13F-23E08E3320D9}" dt="2024-11-27T09:31:49.900" v="208" actId="255"/>
        <pc:sldMkLst>
          <pc:docMk/>
          <pc:sldMk cId="390526042" sldId="511"/>
        </pc:sldMkLst>
        <pc:graphicFrameChg chg="mod modGraphic">
          <ac:chgData name="Ioannis Chatzikonstantinidis" userId="20a95722-900f-4345-9911-f227337b99bc" providerId="ADAL" clId="{6D08F164-BA95-4C00-A13F-23E08E3320D9}" dt="2024-11-27T09:31:49.900" v="208" actId="255"/>
          <ac:graphicFrameMkLst>
            <pc:docMk/>
            <pc:sldMk cId="390526042" sldId="511"/>
            <ac:graphicFrameMk id="13" creationId="{42070012-BD13-37F3-7C74-4EF14A486801}"/>
          </ac:graphicFrameMkLst>
        </pc:graphicFrameChg>
      </pc:sldChg>
      <pc:sldChg chg="del">
        <pc:chgData name="Ioannis Chatzikonstantinidis" userId="20a95722-900f-4345-9911-f227337b99bc" providerId="ADAL" clId="{6D08F164-BA95-4C00-A13F-23E08E3320D9}" dt="2024-11-27T08:57:18.593" v="15" actId="47"/>
        <pc:sldMkLst>
          <pc:docMk/>
          <pc:sldMk cId="891836161" sldId="512"/>
        </pc:sldMkLst>
      </pc:sldChg>
      <pc:sldChg chg="del">
        <pc:chgData name="Ioannis Chatzikonstantinidis" userId="20a95722-900f-4345-9911-f227337b99bc" providerId="ADAL" clId="{6D08F164-BA95-4C00-A13F-23E08E3320D9}" dt="2024-11-27T08:57:18.593" v="15" actId="47"/>
        <pc:sldMkLst>
          <pc:docMk/>
          <pc:sldMk cId="3949909236" sldId="514"/>
        </pc:sldMkLst>
      </pc:sldChg>
      <pc:sldChg chg="del">
        <pc:chgData name="Ioannis Chatzikonstantinidis" userId="20a95722-900f-4345-9911-f227337b99bc" providerId="ADAL" clId="{6D08F164-BA95-4C00-A13F-23E08E3320D9}" dt="2024-11-27T08:57:18.593" v="15" actId="47"/>
        <pc:sldMkLst>
          <pc:docMk/>
          <pc:sldMk cId="1071569065" sldId="515"/>
        </pc:sldMkLst>
      </pc:sldChg>
      <pc:sldChg chg="del">
        <pc:chgData name="Ioannis Chatzikonstantinidis" userId="20a95722-900f-4345-9911-f227337b99bc" providerId="ADAL" clId="{6D08F164-BA95-4C00-A13F-23E08E3320D9}" dt="2024-11-27T08:57:18.593" v="15" actId="47"/>
        <pc:sldMkLst>
          <pc:docMk/>
          <pc:sldMk cId="1816064111" sldId="516"/>
        </pc:sldMkLst>
      </pc:sldChg>
      <pc:sldChg chg="del">
        <pc:chgData name="Ioannis Chatzikonstantinidis" userId="20a95722-900f-4345-9911-f227337b99bc" providerId="ADAL" clId="{6D08F164-BA95-4C00-A13F-23E08E3320D9}" dt="2024-11-27T08:57:18.593" v="15" actId="47"/>
        <pc:sldMkLst>
          <pc:docMk/>
          <pc:sldMk cId="1420685512" sldId="518"/>
        </pc:sldMkLst>
      </pc:sldChg>
      <pc:sldChg chg="del">
        <pc:chgData name="Ioannis Chatzikonstantinidis" userId="20a95722-900f-4345-9911-f227337b99bc" providerId="ADAL" clId="{6D08F164-BA95-4C00-A13F-23E08E3320D9}" dt="2024-11-27T08:57:18.593" v="15" actId="47"/>
        <pc:sldMkLst>
          <pc:docMk/>
          <pc:sldMk cId="2663902063" sldId="519"/>
        </pc:sldMkLst>
      </pc:sldChg>
      <pc:sldChg chg="del">
        <pc:chgData name="Ioannis Chatzikonstantinidis" userId="20a95722-900f-4345-9911-f227337b99bc" providerId="ADAL" clId="{6D08F164-BA95-4C00-A13F-23E08E3320D9}" dt="2024-11-27T08:57:18.593" v="15" actId="47"/>
        <pc:sldMkLst>
          <pc:docMk/>
          <pc:sldMk cId="1590710282" sldId="520"/>
        </pc:sldMkLst>
      </pc:sldChg>
      <pc:sldChg chg="del">
        <pc:chgData name="Ioannis Chatzikonstantinidis" userId="20a95722-900f-4345-9911-f227337b99bc" providerId="ADAL" clId="{6D08F164-BA95-4C00-A13F-23E08E3320D9}" dt="2024-11-27T08:57:18.593" v="15" actId="47"/>
        <pc:sldMkLst>
          <pc:docMk/>
          <pc:sldMk cId="600277723" sldId="522"/>
        </pc:sldMkLst>
      </pc:sldChg>
      <pc:sldChg chg="delSp modSp mod">
        <pc:chgData name="Ioannis Chatzikonstantinidis" userId="20a95722-900f-4345-9911-f227337b99bc" providerId="ADAL" clId="{6D08F164-BA95-4C00-A13F-23E08E3320D9}" dt="2024-11-27T09:30:14.452" v="162" actId="478"/>
        <pc:sldMkLst>
          <pc:docMk/>
          <pc:sldMk cId="377166524" sldId="1098"/>
        </pc:sldMkLst>
        <pc:spChg chg="del">
          <ac:chgData name="Ioannis Chatzikonstantinidis" userId="20a95722-900f-4345-9911-f227337b99bc" providerId="ADAL" clId="{6D08F164-BA95-4C00-A13F-23E08E3320D9}" dt="2024-11-27T09:30:14.452" v="162" actId="478"/>
          <ac:spMkLst>
            <pc:docMk/>
            <pc:sldMk cId="377166524" sldId="1098"/>
            <ac:spMk id="5" creationId="{8369E9EC-6068-1CD7-1FB6-A58396820089}"/>
          </ac:spMkLst>
        </pc:spChg>
        <pc:spChg chg="mod">
          <ac:chgData name="Ioannis Chatzikonstantinidis" userId="20a95722-900f-4345-9911-f227337b99bc" providerId="ADAL" clId="{6D08F164-BA95-4C00-A13F-23E08E3320D9}" dt="2024-11-27T08:56:59.058" v="14" actId="403"/>
          <ac:spMkLst>
            <pc:docMk/>
            <pc:sldMk cId="377166524" sldId="1098"/>
            <ac:spMk id="10" creationId="{8B7B4B8D-07A2-936D-998A-B70E9F2844F6}"/>
          </ac:spMkLst>
        </pc:spChg>
      </pc:sldChg>
      <pc:sldChg chg="delSp modSp mod ord">
        <pc:chgData name="Ioannis Chatzikonstantinidis" userId="20a95722-900f-4345-9911-f227337b99bc" providerId="ADAL" clId="{6D08F164-BA95-4C00-A13F-23E08E3320D9}" dt="2024-11-27T09:30:19.788" v="164" actId="478"/>
        <pc:sldMkLst>
          <pc:docMk/>
          <pc:sldMk cId="3826073239" sldId="1099"/>
        </pc:sldMkLst>
        <pc:spChg chg="del">
          <ac:chgData name="Ioannis Chatzikonstantinidis" userId="20a95722-900f-4345-9911-f227337b99bc" providerId="ADAL" clId="{6D08F164-BA95-4C00-A13F-23E08E3320D9}" dt="2024-11-27T09:30:19.788" v="164" actId="478"/>
          <ac:spMkLst>
            <pc:docMk/>
            <pc:sldMk cId="3826073239" sldId="1099"/>
            <ac:spMk id="5" creationId="{8369E9EC-6068-1CD7-1FB6-A58396820089}"/>
          </ac:spMkLst>
        </pc:spChg>
        <pc:spChg chg="mod">
          <ac:chgData name="Ioannis Chatzikonstantinidis" userId="20a95722-900f-4345-9911-f227337b99bc" providerId="ADAL" clId="{6D08F164-BA95-4C00-A13F-23E08E3320D9}" dt="2024-11-27T09:13:19.599" v="75" actId="20577"/>
          <ac:spMkLst>
            <pc:docMk/>
            <pc:sldMk cId="3826073239" sldId="1099"/>
            <ac:spMk id="8" creationId="{D2FE573C-EB3E-70D5-A2C7-30F99F256DF1}"/>
          </ac:spMkLst>
        </pc:spChg>
        <pc:spChg chg="del mod">
          <ac:chgData name="Ioannis Chatzikonstantinidis" userId="20a95722-900f-4345-9911-f227337b99bc" providerId="ADAL" clId="{6D08F164-BA95-4C00-A13F-23E08E3320D9}" dt="2024-11-27T08:56:36.577" v="4" actId="478"/>
          <ac:spMkLst>
            <pc:docMk/>
            <pc:sldMk cId="3826073239" sldId="1099"/>
            <ac:spMk id="11" creationId="{0B5A06A7-AC01-FA7A-F3FB-BEB717BD5F68}"/>
          </ac:spMkLst>
        </pc:spChg>
      </pc:sldChg>
      <pc:sldMasterChg chg="delSldLayout">
        <pc:chgData name="Ioannis Chatzikonstantinidis" userId="20a95722-900f-4345-9911-f227337b99bc" providerId="ADAL" clId="{6D08F164-BA95-4C00-A13F-23E08E3320D9}" dt="2024-11-27T08:57:18.593" v="15" actId="47"/>
        <pc:sldMasterMkLst>
          <pc:docMk/>
          <pc:sldMasterMk cId="2502069921" sldId="2147483652"/>
        </pc:sldMasterMkLst>
        <pc:sldLayoutChg chg="del">
          <pc:chgData name="Ioannis Chatzikonstantinidis" userId="20a95722-900f-4345-9911-f227337b99bc" providerId="ADAL" clId="{6D08F164-BA95-4C00-A13F-23E08E3320D9}" dt="2024-11-27T08:57:18.593" v="15" actId="47"/>
          <pc:sldLayoutMkLst>
            <pc:docMk/>
            <pc:sldMasterMk cId="2502069921" sldId="2147483652"/>
            <pc:sldLayoutMk cId="2466376076" sldId="2147483716"/>
          </pc:sldLayoutMkLst>
        </pc:sldLayoutChg>
      </pc:sldMasterChg>
    </pc:docChg>
  </pc:docChgLst>
  <pc:docChgLst>
    <pc:chgData name="Heval-A Ag" userId="1e795042-761e-4203-9811-78e5107e2eec" providerId="ADAL" clId="{E02527C6-59AE-41D7-A076-5037AEB0BE9B}"/>
    <pc:docChg chg="modSld">
      <pc:chgData name="Heval-A Ag" userId="1e795042-761e-4203-9811-78e5107e2eec" providerId="ADAL" clId="{E02527C6-59AE-41D7-A076-5037AEB0BE9B}" dt="2024-11-27T09:26:00.943" v="1"/>
      <pc:docMkLst>
        <pc:docMk/>
      </pc:docMkLst>
      <pc:sldChg chg="modSp mod">
        <pc:chgData name="Heval-A Ag" userId="1e795042-761e-4203-9811-78e5107e2eec" providerId="ADAL" clId="{E02527C6-59AE-41D7-A076-5037AEB0BE9B}" dt="2024-11-27T09:26:00.943" v="1"/>
        <pc:sldMkLst>
          <pc:docMk/>
          <pc:sldMk cId="4256400832" sldId="412"/>
        </pc:sldMkLst>
        <pc:graphicFrameChg chg="mod">
          <ac:chgData name="Heval-A Ag" userId="1e795042-761e-4203-9811-78e5107e2eec" providerId="ADAL" clId="{E02527C6-59AE-41D7-A076-5037AEB0BE9B}" dt="2024-11-27T09:26:00.943" v="1"/>
          <ac:graphicFrameMkLst>
            <pc:docMk/>
            <pc:sldMk cId="4256400832" sldId="412"/>
            <ac:graphicFrameMk id="14" creationId="{0ADC3A22-D648-E7BC-44D2-AD3E4F78E434}"/>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EQ%20-%20S&amp;P%20500%20price%20vs.%2010Y%20UST-%20Datastream%20-%20automated.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2.xml"/><Relationship Id="rId4" Type="http://schemas.openxmlformats.org/officeDocument/2006/relationships/oleObject" Target="file:///\\dbg.ads.db.com\atosdfs\DATA\groups\F13-PWM\R69-CIO-Office-Global\CIO%20Publications%20&amp;%20Presentations\Charts\Investment%20Strategy%20-%20Chartbook\Macro%20-%20Ultra-Rich%20Families%20to%20Hold%20$9.5%20Trillion%20by%202030,%20Deloitte%20Says%20-%20Manual.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2.xml"/><Relationship Id="rId1" Type="http://schemas.microsoft.com/office/2011/relationships/chartStyle" Target="style12.xml"/><Relationship Id="rId5" Type="http://schemas.openxmlformats.org/officeDocument/2006/relationships/chartUserShapes" Target="../drawings/drawing3.xml"/><Relationship Id="rId4" Type="http://schemas.openxmlformats.org/officeDocument/2006/relationships/oleObject" Target="file:///\\dbg.ads.db.com\atosdfs\DATA\groups\F13-PWM\R69-CIO-Office-Global\CIO%20Publications%20&amp;%20Presentations\Charts\Investment%20Strategy%20-%20Chartbook\AI\McKinsey%20The%20Next%20Big%20Arenas%20of%20Competition%20Graphs.xlsx" TargetMode="External"/></Relationships>
</file>

<file path=ppt/charts/_rels/chart12.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Equities%20-%20EPS%20MSCI%20World%20ex%20US%20IT%20vs%20MSCI%20US%20IT%20-%20Datastream%20-%20automated.xlsx" TargetMode="External"/><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file:///\\dbg.ads.db.com\atosdfs\DATA\groups\F13-PWM\R69-CIO-Office-Global\CIO%20Publications%20&amp;%20Presentations\Charts\Investment%20Strategy%20-%20Chartbook\EQ%20-%20Financials%20EPS%20ECB%20deposit%20rate%20-%20Datastream.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dbg.ads.db.com\atosdfs\DATA\groups\F13-PWM\R69-CIO-Office-Global\CIO%20Publications%20&amp;%20Presentations\Charts\Investment%20Strategy%20-%20Chartbook\EQ%20-%20U.S.%20S&amp;P%20banks%20vs%20Europe%20SToxx%20banks%20-%20datastream%20-%20automated.xlsx" TargetMode="External"/></Relationships>
</file>

<file path=ppt/charts/_rels/chart15.xml.rels><?xml version="1.0" encoding="UTF-8" standalone="yes"?>
<Relationships xmlns="http://schemas.openxmlformats.org/package/2006/relationships"><Relationship Id="rId3" Type="http://schemas.openxmlformats.org/officeDocument/2006/relationships/oleObject" Target="file:///C:\Users\winkrob\AppData\Local\Microsoft\Windows\INetCache\Content.Outlook\KPSW6VDF\11_21_2024_Charts_DE_GDP_Profile__Trend.xlsx" TargetMode="Externa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4.xml"/></Relationships>
</file>

<file path=ppt/charts/_rels/chart16.xml.rels><?xml version="1.0" encoding="UTF-8" standalone="yes"?>
<Relationships xmlns="http://schemas.openxmlformats.org/package/2006/relationships"><Relationship Id="rId3" Type="http://schemas.openxmlformats.org/officeDocument/2006/relationships/oleObject" Target="file:///\\dbg.ads.db.com\fra-dbr\DBResearch\ReWRITE3_GA\Ausblick%20Deutschland\2024.11_Jahresausblick_2025_26\11_21_2024_Charts_DE_GDP_Profile_Components_etc_update.xlsx" TargetMode="Externa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5.xml"/></Relationships>
</file>

<file path=ppt/charts/_rels/chart17.xml.rels><?xml version="1.0" encoding="UTF-8" standalone="yes"?>
<Relationships xmlns="http://schemas.openxmlformats.org/package/2006/relationships"><Relationship Id="rId3" Type="http://schemas.openxmlformats.org/officeDocument/2006/relationships/oleObject" Target="file:///\\dbg.ads.db.com\fra-dbr\DBResearch\ReWRITE3_GA\Ausblick%20Deutschland\2024.11_Jahresausblick_2025_26\why%20so%20gloomy.xlsx" TargetMode="Externa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6.xml"/></Relationships>
</file>

<file path=ppt/charts/_rels/chart18.xml.rels><?xml version="1.0" encoding="UTF-8" standalone="yes"?>
<Relationships xmlns="http://schemas.openxmlformats.org/package/2006/relationships"><Relationship Id="rId3" Type="http://schemas.openxmlformats.org/officeDocument/2006/relationships/oleObject" Target="file:///\\dbg.ads.db.com\fra-dbr\DBResearch\Macro%20Trends\Staff\Robin\Analyse\investment.xlsx" TargetMode="Externa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7.xml"/></Relationships>
</file>

<file path=ppt/charts/_rels/chart19.xml.rels><?xml version="1.0" encoding="UTF-8" standalone="yes"?>
<Relationships xmlns="http://schemas.openxmlformats.org/package/2006/relationships"><Relationship Id="rId3" Type="http://schemas.openxmlformats.org/officeDocument/2006/relationships/oleObject" Target="file:///\\dbg.ads.db.com\lon-gm-g\fx\fxresearch\Robin\3_EUR\Germany\uncertainty%20index.xlsx" TargetMode="Externa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20.xml.rels><?xml version="1.0" encoding="UTF-8" standalone="yes"?>
<Relationships xmlns="http://schemas.openxmlformats.org/package/2006/relationships"><Relationship Id="rId3" Type="http://schemas.openxmlformats.org/officeDocument/2006/relationships/oleObject" Target="file:///\\dbg.ads.db.com\lon-gm-g\fx\fxresearch\Robin\1_Global\german%20competitiveness%20vs%20exports.xlsx" TargetMode="Externa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9.xml"/></Relationships>
</file>

<file path=ppt/charts/_rels/chart21.xml.rels><?xml version="1.0" encoding="UTF-8" standalone="yes"?>
<Relationships xmlns="http://schemas.openxmlformats.org/package/2006/relationships"><Relationship Id="rId3" Type="http://schemas.openxmlformats.org/officeDocument/2006/relationships/oleObject" Target="file:///\\dbg.ads.db.com\fra-dbr\DBResearch\ReWRITE3_GA\Ausblick%20Deutschland\2024.11_Jahresausblick_2025_26\Inflation_Charts%20for%20Outlook_2025.xlsx" TargetMode="Externa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0.xml"/></Relationships>
</file>

<file path=ppt/charts/_rels/chart22.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FI%20-%20US%2010%20Yr%20vs%20US%202%20Yr%201year-%20Datastream%20-%20Automated.xlsx" TargetMode="External"/><Relationship Id="rId2" Type="http://schemas.microsoft.com/office/2011/relationships/chartColorStyle" Target="colors23.xml"/><Relationship Id="rId1" Type="http://schemas.microsoft.com/office/2011/relationships/chartStyle" Target="style23.xml"/></Relationships>
</file>

<file path=ppt/charts/_rels/chart23.xml.rels><?xml version="1.0" encoding="UTF-8" standalone="yes"?>
<Relationships xmlns="http://schemas.openxmlformats.org/package/2006/relationships"><Relationship Id="rId2" Type="http://schemas.openxmlformats.org/officeDocument/2006/relationships/oleObject" Target="file:///\\dbg.ads.db.com\atosdfs\DATA\groups\F13-PWM\R69-CIO-Office-Global\Strategy%20group\Presentations\markets_ppt\202402\Charts\FI%20-%20EUR%20Corp%20Bond%20Sector%20distribution,%20yield%20and%20earnings%20growth%20-%20Datastream%20-%20automated.xlsx" TargetMode="External"/><Relationship Id="rId1" Type="http://schemas.openxmlformats.org/officeDocument/2006/relationships/themeOverride" Target="../theme/themeOverride12.xml"/></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24.xml"/><Relationship Id="rId1" Type="http://schemas.microsoft.com/office/2011/relationships/chartStyle" Target="style24.xml"/><Relationship Id="rId5" Type="http://schemas.openxmlformats.org/officeDocument/2006/relationships/chartUserShapes" Target="../drawings/drawing11.xml"/><Relationship Id="rId4" Type="http://schemas.openxmlformats.org/officeDocument/2006/relationships/oleObject" Target="file:///\\dbg.ads.db.com\atosdfs\DATA\groups\F13-PWM\R69-CIO-Office-Global\CIO%20Publications%20&amp;%20Presentations\Charts\Investment%20Strategy%20-%20Chartbook\Macro%20-%20CESI%20vs%20EURUSD-%20Datastream%20-%20automated.xlsx" TargetMode="Externa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oleObject" Target="file:///\\dbg.ads.db.com\atosdfs\DATA\groups\F13-PWM\R69-CIO-Office-Global\CIO%20Publications%20&amp;%20Presentations\Charts\Investment%20Strategy%20-%20Chartbook\Macro%20-%20USD%20trade%20weighted%20vs%20EUR%20-%20Datastream%20-%20automated.xlsx" TargetMode="Externa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oleObject" Target="file:///\\dbg.ads.db.com\atosdfs\DATA\groups\F13-PWM\R69-CIO-Office-Global\CIO%20Publications%20&amp;%20Presentations\Charts\Investment%20Strategy%20-%20Chartbook\EQ%20-%20S&amp;P%20500%20shiller%20eps,%20earnings,%20corporate%20tax%20rate%20-%20Multiple%20sources%20-%20manual.xlsx"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27.xml"/><Relationship Id="rId1" Type="http://schemas.microsoft.com/office/2011/relationships/chartStyle" Target="style27.xml"/><Relationship Id="rId5" Type="http://schemas.openxmlformats.org/officeDocument/2006/relationships/chartUserShapes" Target="../drawings/drawing12.xml"/><Relationship Id="rId4" Type="http://schemas.openxmlformats.org/officeDocument/2006/relationships/oleObject" Target="file:///\\dbg.ads.db.com\atosdfs\DATA\groups\F13-PWM\R69-CIO-Office-Global\CIO%20Publications%20&amp;%20Presentations\Charts\Investment%20Strategy%20-%20Chartbook\EQ%20-%20S&amp;P%20historical%20bull%20markets%20-%20BB%20and%20Datastream%20%20-%20partially%20automated.xlsx" TargetMode="External"/></Relationships>
</file>

<file path=ppt/charts/_rels/chart28.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EQ%20-%20S&amp;P%20500%20SECTOR%20-%20Datastream%20-%20automated.xlsx"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EQ%20-%20S&amp;P%20500%20SECTOR%20-%20Datastream%20-%20automated.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dbg.ads.db.com\atosdfs\DATA\groups\F13-PWM\R69-CIO-Office-Global\CIO%20Publications%20&amp;%20Presentations\Charts\Investment%20Strategy%20-%20Chartbook\AI\Macro%20-%20GDP%20growth%20developed%20and%20developing%20economies,%20IMF%20forecast%20-%20Datastream%20-%20automated%20.xlsx" TargetMode="External"/></Relationships>
</file>

<file path=ppt/charts/_rels/chart30.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oleObject" Target="file:///\\dbg.ads.db.com\atosdfs\DATA\groups\F13-PWM\R69-CIO-Office-Global\CIO%20Publications%20&amp;%20Presentations\Charts\Investment%20Strategy%20-%20Chartbook\EQ%20-%20Small%20caps%20vs.%20mega%20caps%20-%20Datastream%20-%20automated.xlsx" TargetMode="Externa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oleObject" Target="file:///\\dbg.ads.db.com\atosdfs\DATA\groups\F13-PWM\R69-CIO-Office-Global\CIO%20Publications%20&amp;%20Presentations\Charts\Investment%20Strategy%20-%20Chartbook\EQ%20-%20DAX%20vs%20Germany%20industrial%20production%20-%20Datastream%20-%20automated.xlsx" TargetMode="External"/></Relationships>
</file>

<file path=ppt/charts/_rels/chart32.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EQ%20-%20Industrial%20production%20EZ%20STOXX%20Industrials%20EPS%20Auto%20production%20-%20Datastream.xlsx"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oleObject" Target="file:///\\dbg.ads.db.com\atosdfs\DATA\groups\F13-PWM\R69-CIO-Office-Global\CIO%20Publications%20&amp;%20Presentations\Charts\Investment%20Strategy%20-%20Chartbook\Macro%20-%20World%20electricity%20generation%20renewables%20vs%20oil%20-%20datastream%20-%20automated.xlsx" TargetMode="Externa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oleObject" Target="file:///\\dbg.ads.db.com\atosdfs\DATA\groups\F13-PWM\R69-CIO-Office-Global\CIO%20Publications%20&amp;%20Presentations\Charts\Investment%20Strategy%20-%20Chartbook\COM%20-%20World%20oil%20supply%20and%20demand%20EIA%20-%20Datastream%20-%20automated.xlsx" TargetMode="External"/></Relationships>
</file>

<file path=ppt/charts/_rels/chart35.xml.rels><?xml version="1.0" encoding="UTF-8" standalone="yes"?>
<Relationships xmlns="http://schemas.openxmlformats.org/package/2006/relationships"><Relationship Id="rId3" Type="http://schemas.openxmlformats.org/officeDocument/2006/relationships/oleObject" Target="file:///\\dbg.ads.db.com\atosdfs\DATA\groups\F13-PWM\R69-CIO-Office-Global\Strategy%20group\Presentations\markets_ppt\202405\Charts\Macro%20-%20public%20investment%20needs%20Germany%20-%20IW%20K&#246;ln%20-%20manual.xlsx"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oleObject" Target="file:///\\dbg.ads.db.com\atosdfs\DATA\groups\F13-PWM\R69-CIO-Office-Global\CIO%20Publications%20&amp;%20Presentations\Charts\Investment%20Strategy%20-%20Chartbook\Alternatives%20-%20Dow%20Jones%20inflrastructure%20vs%20Stoxx%20600%20-%20Datastream%20-%20automated.xlsx"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oleObject" Target="file:///\\dbg.ads.db.com\atosdfs\DATA\groups\F13-PWM\R69-CIO-Office-Global\CIO%20Publications%20&amp;%20Presentations\Charts\Investment%20Strategy%20-%20Chartbook\COM%20-%20Gold%20vs%20real%20yield%20-%20Datastream%20-%20automated.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dbg.ads.db.com\atosdfs\DATA\groups\F13-PWM\R69-CIO-Office-Global\CIO%20Publications%20&amp;%20Presentations\Charts\Investment%20Strategy%20-%20Chartbook\Macro%20-%20Total%20employment%20different%20countries%20-%20Datastream%20%20-%20automated.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dbg.ads.db.com\atosdfs\DATA\groups\F13-PWM\R69-CIO-Office-Global\CIO%20Publications%20&amp;%20Presentations\Charts\Investment%20Strategy%20-%20Chartbook\Macro%20-%20Capital%20stock%20%20cobb%20douglas%20-%20Datastream%20-%20partially%20automated.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dbg.ads.db.com\atosdfs\DATA\groups\F13-PWM\R69-CIO-Office-Global\CIO%20Publications%20&amp;%20Presentations\Charts\Investment%20Strategy%20-%20Chartbook\Macro%20-%20GDP%20per%20hours%20worked%20-%20OECD%20-%20manual%20.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dbg.ads.db.com\atosdfs\DATA\groups\F13-PWM\R69-CIO-Office-Global\CIO%20Publications%20&amp;%20Presentations\Charts\Investment%20Strategy%20-%20Chartbook\EQ%20-%20MSCI%20World%20earnings%20sales%20performance%20-%20Datastream.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EQ%20-%20MSCI%20World%20healthcare%20-%20Datastream%20-%20automated.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file:///\\dbg.ads.db.com\atosdfs\DATA\groups\F13-PWM\R69-CIO-Office-Global\CIO%20Publications%20&amp;%20Presentations\Charts\Investment%20Strategy%20-%20Chartbook\AI\AI%20Index%20Graphs.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dbg.ads.db.com\atosdfs\DATA\groups\F13-PWM\R69-CIO-Office-Global\CIO%20Publications%20&amp;%20Presentations\Charts\Investment%20Strategy%20-%20Chartbook\EQ%20-%20MSCI%20ACWI%20sector%20exposure.xlsx" TargetMode="External"/><Relationship Id="rId4"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870957578034108E-2"/>
          <c:y val="0.10699566288446827"/>
          <c:w val="0.85941624410018647"/>
          <c:h val="0.73348104978557882"/>
        </c:manualLayout>
      </c:layout>
      <c:lineChart>
        <c:grouping val="standard"/>
        <c:varyColors val="0"/>
        <c:ser>
          <c:idx val="0"/>
          <c:order val="0"/>
          <c:tx>
            <c:strRef>
              <c:f>Sheet1!$P$5</c:f>
              <c:strCache>
                <c:ptCount val="1"/>
                <c:pt idx="0">
                  <c:v>S&amp;P 500</c:v>
                </c:pt>
              </c:strCache>
            </c:strRef>
          </c:tx>
          <c:spPr>
            <a:ln w="28575" cap="rnd">
              <a:solidFill>
                <a:schemeClr val="accent1"/>
              </a:solidFill>
              <a:round/>
            </a:ln>
            <a:effectLst/>
          </c:spPr>
          <c:marker>
            <c:symbol val="none"/>
          </c:marker>
          <c:cat>
            <c:numRef>
              <c:f>Sheet1!$O$7:$O$1286</c:f>
              <c:numCache>
                <c:formatCode>m/d/yyyy</c:formatCode>
                <c:ptCount val="1280"/>
                <c:pt idx="0">
                  <c:v>45622</c:v>
                </c:pt>
                <c:pt idx="1">
                  <c:v>45621</c:v>
                </c:pt>
                <c:pt idx="2">
                  <c:v>45618</c:v>
                </c:pt>
                <c:pt idx="3">
                  <c:v>45617</c:v>
                </c:pt>
                <c:pt idx="4">
                  <c:v>45616</c:v>
                </c:pt>
                <c:pt idx="5">
                  <c:v>45615</c:v>
                </c:pt>
                <c:pt idx="6">
                  <c:v>45614</c:v>
                </c:pt>
                <c:pt idx="7">
                  <c:v>45611</c:v>
                </c:pt>
                <c:pt idx="8">
                  <c:v>45610</c:v>
                </c:pt>
                <c:pt idx="9">
                  <c:v>45609</c:v>
                </c:pt>
                <c:pt idx="10">
                  <c:v>45608</c:v>
                </c:pt>
                <c:pt idx="11">
                  <c:v>45607</c:v>
                </c:pt>
                <c:pt idx="12">
                  <c:v>45604</c:v>
                </c:pt>
                <c:pt idx="13">
                  <c:v>45603</c:v>
                </c:pt>
                <c:pt idx="14">
                  <c:v>45602</c:v>
                </c:pt>
                <c:pt idx="15">
                  <c:v>45601</c:v>
                </c:pt>
                <c:pt idx="16">
                  <c:v>45600</c:v>
                </c:pt>
                <c:pt idx="17">
                  <c:v>45597</c:v>
                </c:pt>
                <c:pt idx="18">
                  <c:v>45596</c:v>
                </c:pt>
                <c:pt idx="19">
                  <c:v>45595</c:v>
                </c:pt>
                <c:pt idx="20">
                  <c:v>45594</c:v>
                </c:pt>
                <c:pt idx="21">
                  <c:v>45593</c:v>
                </c:pt>
                <c:pt idx="22">
                  <c:v>45590</c:v>
                </c:pt>
                <c:pt idx="23">
                  <c:v>45589</c:v>
                </c:pt>
                <c:pt idx="24">
                  <c:v>45588</c:v>
                </c:pt>
                <c:pt idx="25">
                  <c:v>45587</c:v>
                </c:pt>
                <c:pt idx="26">
                  <c:v>45586</c:v>
                </c:pt>
                <c:pt idx="27">
                  <c:v>45583</c:v>
                </c:pt>
                <c:pt idx="28">
                  <c:v>45582</c:v>
                </c:pt>
                <c:pt idx="29">
                  <c:v>45581</c:v>
                </c:pt>
                <c:pt idx="30">
                  <c:v>45580</c:v>
                </c:pt>
                <c:pt idx="31">
                  <c:v>45579</c:v>
                </c:pt>
                <c:pt idx="32">
                  <c:v>45576</c:v>
                </c:pt>
                <c:pt idx="33">
                  <c:v>45575</c:v>
                </c:pt>
                <c:pt idx="34">
                  <c:v>45574</c:v>
                </c:pt>
                <c:pt idx="35">
                  <c:v>45573</c:v>
                </c:pt>
                <c:pt idx="36">
                  <c:v>45572</c:v>
                </c:pt>
                <c:pt idx="37">
                  <c:v>45569</c:v>
                </c:pt>
                <c:pt idx="38">
                  <c:v>45568</c:v>
                </c:pt>
                <c:pt idx="39">
                  <c:v>45567</c:v>
                </c:pt>
                <c:pt idx="40">
                  <c:v>45566</c:v>
                </c:pt>
                <c:pt idx="41">
                  <c:v>45565</c:v>
                </c:pt>
                <c:pt idx="42">
                  <c:v>45562</c:v>
                </c:pt>
                <c:pt idx="43">
                  <c:v>45561</c:v>
                </c:pt>
                <c:pt idx="44">
                  <c:v>45560</c:v>
                </c:pt>
                <c:pt idx="45">
                  <c:v>45559</c:v>
                </c:pt>
                <c:pt idx="46">
                  <c:v>45558</c:v>
                </c:pt>
                <c:pt idx="47">
                  <c:v>45555</c:v>
                </c:pt>
                <c:pt idx="48">
                  <c:v>45554</c:v>
                </c:pt>
                <c:pt idx="49">
                  <c:v>45553</c:v>
                </c:pt>
                <c:pt idx="50">
                  <c:v>45552</c:v>
                </c:pt>
                <c:pt idx="51">
                  <c:v>45551</c:v>
                </c:pt>
                <c:pt idx="52">
                  <c:v>45548</c:v>
                </c:pt>
                <c:pt idx="53">
                  <c:v>45547</c:v>
                </c:pt>
                <c:pt idx="54">
                  <c:v>45546</c:v>
                </c:pt>
                <c:pt idx="55">
                  <c:v>45545</c:v>
                </c:pt>
                <c:pt idx="56">
                  <c:v>45544</c:v>
                </c:pt>
                <c:pt idx="57">
                  <c:v>45541</c:v>
                </c:pt>
                <c:pt idx="58">
                  <c:v>45540</c:v>
                </c:pt>
                <c:pt idx="59">
                  <c:v>45539</c:v>
                </c:pt>
                <c:pt idx="60">
                  <c:v>45538</c:v>
                </c:pt>
                <c:pt idx="61">
                  <c:v>45537</c:v>
                </c:pt>
                <c:pt idx="62">
                  <c:v>45534</c:v>
                </c:pt>
                <c:pt idx="63">
                  <c:v>45533</c:v>
                </c:pt>
                <c:pt idx="64">
                  <c:v>45532</c:v>
                </c:pt>
                <c:pt idx="65">
                  <c:v>45531</c:v>
                </c:pt>
                <c:pt idx="66">
                  <c:v>45530</c:v>
                </c:pt>
                <c:pt idx="67">
                  <c:v>45527</c:v>
                </c:pt>
                <c:pt idx="68">
                  <c:v>45526</c:v>
                </c:pt>
                <c:pt idx="69">
                  <c:v>45525</c:v>
                </c:pt>
                <c:pt idx="70">
                  <c:v>45524</c:v>
                </c:pt>
                <c:pt idx="71">
                  <c:v>45523</c:v>
                </c:pt>
                <c:pt idx="72">
                  <c:v>45520</c:v>
                </c:pt>
                <c:pt idx="73">
                  <c:v>45519</c:v>
                </c:pt>
                <c:pt idx="74">
                  <c:v>45518</c:v>
                </c:pt>
                <c:pt idx="75">
                  <c:v>45517</c:v>
                </c:pt>
                <c:pt idx="76">
                  <c:v>45516</c:v>
                </c:pt>
                <c:pt idx="77">
                  <c:v>45513</c:v>
                </c:pt>
                <c:pt idx="78">
                  <c:v>45512</c:v>
                </c:pt>
                <c:pt idx="79">
                  <c:v>45511</c:v>
                </c:pt>
                <c:pt idx="80">
                  <c:v>45510</c:v>
                </c:pt>
                <c:pt idx="81">
                  <c:v>45509</c:v>
                </c:pt>
                <c:pt idx="82">
                  <c:v>45506</c:v>
                </c:pt>
                <c:pt idx="83">
                  <c:v>45505</c:v>
                </c:pt>
                <c:pt idx="84">
                  <c:v>45504</c:v>
                </c:pt>
                <c:pt idx="85">
                  <c:v>45503</c:v>
                </c:pt>
                <c:pt idx="86">
                  <c:v>45502</c:v>
                </c:pt>
                <c:pt idx="87">
                  <c:v>45499</c:v>
                </c:pt>
                <c:pt idx="88">
                  <c:v>45498</c:v>
                </c:pt>
                <c:pt idx="89">
                  <c:v>45497</c:v>
                </c:pt>
                <c:pt idx="90">
                  <c:v>45496</c:v>
                </c:pt>
                <c:pt idx="91">
                  <c:v>45495</c:v>
                </c:pt>
                <c:pt idx="92">
                  <c:v>45492</c:v>
                </c:pt>
                <c:pt idx="93">
                  <c:v>45491</c:v>
                </c:pt>
                <c:pt idx="94">
                  <c:v>45490</c:v>
                </c:pt>
                <c:pt idx="95">
                  <c:v>45489</c:v>
                </c:pt>
                <c:pt idx="96">
                  <c:v>45488</c:v>
                </c:pt>
                <c:pt idx="97">
                  <c:v>45485</c:v>
                </c:pt>
                <c:pt idx="98">
                  <c:v>45484</c:v>
                </c:pt>
                <c:pt idx="99">
                  <c:v>45483</c:v>
                </c:pt>
                <c:pt idx="100">
                  <c:v>45482</c:v>
                </c:pt>
                <c:pt idx="101">
                  <c:v>45481</c:v>
                </c:pt>
                <c:pt idx="102">
                  <c:v>45478</c:v>
                </c:pt>
                <c:pt idx="103">
                  <c:v>45477</c:v>
                </c:pt>
                <c:pt idx="104">
                  <c:v>45476</c:v>
                </c:pt>
                <c:pt idx="105">
                  <c:v>45475</c:v>
                </c:pt>
                <c:pt idx="106">
                  <c:v>45474</c:v>
                </c:pt>
                <c:pt idx="107">
                  <c:v>45471</c:v>
                </c:pt>
                <c:pt idx="108">
                  <c:v>45470</c:v>
                </c:pt>
                <c:pt idx="109">
                  <c:v>45469</c:v>
                </c:pt>
                <c:pt idx="110">
                  <c:v>45468</c:v>
                </c:pt>
                <c:pt idx="111">
                  <c:v>45467</c:v>
                </c:pt>
                <c:pt idx="112">
                  <c:v>45464</c:v>
                </c:pt>
                <c:pt idx="113">
                  <c:v>45463</c:v>
                </c:pt>
                <c:pt idx="114">
                  <c:v>45462</c:v>
                </c:pt>
                <c:pt idx="115">
                  <c:v>45461</c:v>
                </c:pt>
                <c:pt idx="116">
                  <c:v>45460</c:v>
                </c:pt>
                <c:pt idx="117">
                  <c:v>45457</c:v>
                </c:pt>
                <c:pt idx="118">
                  <c:v>45456</c:v>
                </c:pt>
                <c:pt idx="119">
                  <c:v>45455</c:v>
                </c:pt>
                <c:pt idx="120">
                  <c:v>45454</c:v>
                </c:pt>
                <c:pt idx="121">
                  <c:v>45453</c:v>
                </c:pt>
                <c:pt idx="122">
                  <c:v>45450</c:v>
                </c:pt>
                <c:pt idx="123">
                  <c:v>45449</c:v>
                </c:pt>
                <c:pt idx="124">
                  <c:v>45448</c:v>
                </c:pt>
                <c:pt idx="125">
                  <c:v>45447</c:v>
                </c:pt>
                <c:pt idx="126">
                  <c:v>45446</c:v>
                </c:pt>
                <c:pt idx="127">
                  <c:v>45443</c:v>
                </c:pt>
                <c:pt idx="128">
                  <c:v>45442</c:v>
                </c:pt>
                <c:pt idx="129">
                  <c:v>45441</c:v>
                </c:pt>
                <c:pt idx="130">
                  <c:v>45440</c:v>
                </c:pt>
                <c:pt idx="131">
                  <c:v>45439</c:v>
                </c:pt>
                <c:pt idx="132">
                  <c:v>45436</c:v>
                </c:pt>
                <c:pt idx="133">
                  <c:v>45435</c:v>
                </c:pt>
                <c:pt idx="134">
                  <c:v>45434</c:v>
                </c:pt>
                <c:pt idx="135">
                  <c:v>45433</c:v>
                </c:pt>
                <c:pt idx="136">
                  <c:v>45432</c:v>
                </c:pt>
                <c:pt idx="137">
                  <c:v>45429</c:v>
                </c:pt>
                <c:pt idx="138">
                  <c:v>45428</c:v>
                </c:pt>
                <c:pt idx="139">
                  <c:v>45427</c:v>
                </c:pt>
                <c:pt idx="140">
                  <c:v>45426</c:v>
                </c:pt>
                <c:pt idx="141">
                  <c:v>45425</c:v>
                </c:pt>
                <c:pt idx="142">
                  <c:v>45422</c:v>
                </c:pt>
                <c:pt idx="143">
                  <c:v>45421</c:v>
                </c:pt>
                <c:pt idx="144">
                  <c:v>45420</c:v>
                </c:pt>
                <c:pt idx="145">
                  <c:v>45419</c:v>
                </c:pt>
                <c:pt idx="146">
                  <c:v>45418</c:v>
                </c:pt>
                <c:pt idx="147">
                  <c:v>45415</c:v>
                </c:pt>
                <c:pt idx="148">
                  <c:v>45414</c:v>
                </c:pt>
                <c:pt idx="149">
                  <c:v>45413</c:v>
                </c:pt>
                <c:pt idx="150">
                  <c:v>45412</c:v>
                </c:pt>
                <c:pt idx="151">
                  <c:v>45411</c:v>
                </c:pt>
                <c:pt idx="152">
                  <c:v>45408</c:v>
                </c:pt>
                <c:pt idx="153">
                  <c:v>45407</c:v>
                </c:pt>
                <c:pt idx="154">
                  <c:v>45406</c:v>
                </c:pt>
                <c:pt idx="155">
                  <c:v>45405</c:v>
                </c:pt>
                <c:pt idx="156">
                  <c:v>45404</c:v>
                </c:pt>
                <c:pt idx="157">
                  <c:v>45401</c:v>
                </c:pt>
                <c:pt idx="158">
                  <c:v>45400</c:v>
                </c:pt>
                <c:pt idx="159">
                  <c:v>45399</c:v>
                </c:pt>
                <c:pt idx="160">
                  <c:v>45398</c:v>
                </c:pt>
                <c:pt idx="161">
                  <c:v>45397</c:v>
                </c:pt>
                <c:pt idx="162">
                  <c:v>45394</c:v>
                </c:pt>
                <c:pt idx="163">
                  <c:v>45393</c:v>
                </c:pt>
                <c:pt idx="164">
                  <c:v>45392</c:v>
                </c:pt>
                <c:pt idx="165">
                  <c:v>45391</c:v>
                </c:pt>
                <c:pt idx="166">
                  <c:v>45390</c:v>
                </c:pt>
                <c:pt idx="167">
                  <c:v>45387</c:v>
                </c:pt>
                <c:pt idx="168">
                  <c:v>45386</c:v>
                </c:pt>
                <c:pt idx="169">
                  <c:v>45385</c:v>
                </c:pt>
                <c:pt idx="170">
                  <c:v>45384</c:v>
                </c:pt>
                <c:pt idx="171">
                  <c:v>45383</c:v>
                </c:pt>
                <c:pt idx="172">
                  <c:v>45380</c:v>
                </c:pt>
                <c:pt idx="173">
                  <c:v>45379</c:v>
                </c:pt>
                <c:pt idx="174">
                  <c:v>45378</c:v>
                </c:pt>
                <c:pt idx="175">
                  <c:v>45377</c:v>
                </c:pt>
                <c:pt idx="176">
                  <c:v>45376</c:v>
                </c:pt>
                <c:pt idx="177">
                  <c:v>45373</c:v>
                </c:pt>
                <c:pt idx="178">
                  <c:v>45372</c:v>
                </c:pt>
                <c:pt idx="179">
                  <c:v>45371</c:v>
                </c:pt>
                <c:pt idx="180">
                  <c:v>45370</c:v>
                </c:pt>
                <c:pt idx="181">
                  <c:v>45369</c:v>
                </c:pt>
                <c:pt idx="182">
                  <c:v>45366</c:v>
                </c:pt>
                <c:pt idx="183">
                  <c:v>45365</c:v>
                </c:pt>
                <c:pt idx="184">
                  <c:v>45364</c:v>
                </c:pt>
                <c:pt idx="185">
                  <c:v>45363</c:v>
                </c:pt>
                <c:pt idx="186">
                  <c:v>45362</c:v>
                </c:pt>
                <c:pt idx="187">
                  <c:v>45359</c:v>
                </c:pt>
                <c:pt idx="188">
                  <c:v>45358</c:v>
                </c:pt>
                <c:pt idx="189">
                  <c:v>45357</c:v>
                </c:pt>
                <c:pt idx="190">
                  <c:v>45356</c:v>
                </c:pt>
                <c:pt idx="191">
                  <c:v>45355</c:v>
                </c:pt>
                <c:pt idx="192">
                  <c:v>45352</c:v>
                </c:pt>
                <c:pt idx="193">
                  <c:v>45351</c:v>
                </c:pt>
                <c:pt idx="194">
                  <c:v>45350</c:v>
                </c:pt>
                <c:pt idx="195">
                  <c:v>45349</c:v>
                </c:pt>
                <c:pt idx="196">
                  <c:v>45348</c:v>
                </c:pt>
                <c:pt idx="197">
                  <c:v>45345</c:v>
                </c:pt>
                <c:pt idx="198">
                  <c:v>45344</c:v>
                </c:pt>
                <c:pt idx="199">
                  <c:v>45343</c:v>
                </c:pt>
                <c:pt idx="200">
                  <c:v>45342</c:v>
                </c:pt>
                <c:pt idx="201">
                  <c:v>45341</c:v>
                </c:pt>
                <c:pt idx="202">
                  <c:v>45338</c:v>
                </c:pt>
                <c:pt idx="203">
                  <c:v>45337</c:v>
                </c:pt>
                <c:pt idx="204">
                  <c:v>45336</c:v>
                </c:pt>
                <c:pt idx="205">
                  <c:v>45335</c:v>
                </c:pt>
                <c:pt idx="206">
                  <c:v>45334</c:v>
                </c:pt>
                <c:pt idx="207">
                  <c:v>45331</c:v>
                </c:pt>
                <c:pt idx="208">
                  <c:v>45330</c:v>
                </c:pt>
                <c:pt idx="209">
                  <c:v>45329</c:v>
                </c:pt>
                <c:pt idx="210">
                  <c:v>45328</c:v>
                </c:pt>
                <c:pt idx="211">
                  <c:v>45327</c:v>
                </c:pt>
                <c:pt idx="212">
                  <c:v>45324</c:v>
                </c:pt>
                <c:pt idx="213">
                  <c:v>45323</c:v>
                </c:pt>
                <c:pt idx="214">
                  <c:v>45322</c:v>
                </c:pt>
                <c:pt idx="215">
                  <c:v>45321</c:v>
                </c:pt>
                <c:pt idx="216">
                  <c:v>45320</c:v>
                </c:pt>
                <c:pt idx="217">
                  <c:v>45317</c:v>
                </c:pt>
                <c:pt idx="218">
                  <c:v>45316</c:v>
                </c:pt>
                <c:pt idx="219">
                  <c:v>45315</c:v>
                </c:pt>
                <c:pt idx="220">
                  <c:v>45314</c:v>
                </c:pt>
                <c:pt idx="221">
                  <c:v>45313</c:v>
                </c:pt>
                <c:pt idx="222">
                  <c:v>45310</c:v>
                </c:pt>
                <c:pt idx="223">
                  <c:v>45309</c:v>
                </c:pt>
                <c:pt idx="224">
                  <c:v>45308</c:v>
                </c:pt>
                <c:pt idx="225">
                  <c:v>45307</c:v>
                </c:pt>
                <c:pt idx="226">
                  <c:v>45306</c:v>
                </c:pt>
                <c:pt idx="227">
                  <c:v>45303</c:v>
                </c:pt>
                <c:pt idx="228">
                  <c:v>45302</c:v>
                </c:pt>
                <c:pt idx="229">
                  <c:v>45301</c:v>
                </c:pt>
                <c:pt idx="230">
                  <c:v>45300</c:v>
                </c:pt>
                <c:pt idx="231">
                  <c:v>45299</c:v>
                </c:pt>
                <c:pt idx="232">
                  <c:v>45296</c:v>
                </c:pt>
                <c:pt idx="233">
                  <c:v>45295</c:v>
                </c:pt>
                <c:pt idx="234">
                  <c:v>45294</c:v>
                </c:pt>
                <c:pt idx="235">
                  <c:v>45293</c:v>
                </c:pt>
                <c:pt idx="236">
                  <c:v>45292</c:v>
                </c:pt>
                <c:pt idx="237">
                  <c:v>45289</c:v>
                </c:pt>
                <c:pt idx="238">
                  <c:v>45288</c:v>
                </c:pt>
                <c:pt idx="239">
                  <c:v>45287</c:v>
                </c:pt>
                <c:pt idx="240">
                  <c:v>45286</c:v>
                </c:pt>
                <c:pt idx="241">
                  <c:v>45285</c:v>
                </c:pt>
                <c:pt idx="242">
                  <c:v>45282</c:v>
                </c:pt>
                <c:pt idx="243">
                  <c:v>45281</c:v>
                </c:pt>
                <c:pt idx="244">
                  <c:v>45280</c:v>
                </c:pt>
                <c:pt idx="245">
                  <c:v>45279</c:v>
                </c:pt>
                <c:pt idx="246">
                  <c:v>45278</c:v>
                </c:pt>
                <c:pt idx="247">
                  <c:v>45275</c:v>
                </c:pt>
                <c:pt idx="248">
                  <c:v>45274</c:v>
                </c:pt>
                <c:pt idx="249">
                  <c:v>45273</c:v>
                </c:pt>
                <c:pt idx="250">
                  <c:v>45272</c:v>
                </c:pt>
                <c:pt idx="251">
                  <c:v>45271</c:v>
                </c:pt>
                <c:pt idx="252">
                  <c:v>45268</c:v>
                </c:pt>
                <c:pt idx="253">
                  <c:v>45267</c:v>
                </c:pt>
                <c:pt idx="254">
                  <c:v>45266</c:v>
                </c:pt>
                <c:pt idx="255">
                  <c:v>45265</c:v>
                </c:pt>
                <c:pt idx="256">
                  <c:v>45264</c:v>
                </c:pt>
                <c:pt idx="257">
                  <c:v>45261</c:v>
                </c:pt>
                <c:pt idx="258">
                  <c:v>45260</c:v>
                </c:pt>
                <c:pt idx="259">
                  <c:v>45259</c:v>
                </c:pt>
                <c:pt idx="260">
                  <c:v>45258</c:v>
                </c:pt>
                <c:pt idx="261">
                  <c:v>45257</c:v>
                </c:pt>
                <c:pt idx="262">
                  <c:v>45254</c:v>
                </c:pt>
                <c:pt idx="263">
                  <c:v>45253</c:v>
                </c:pt>
                <c:pt idx="264">
                  <c:v>45252</c:v>
                </c:pt>
                <c:pt idx="265">
                  <c:v>45251</c:v>
                </c:pt>
                <c:pt idx="266">
                  <c:v>45250</c:v>
                </c:pt>
                <c:pt idx="267">
                  <c:v>45247</c:v>
                </c:pt>
                <c:pt idx="268">
                  <c:v>45246</c:v>
                </c:pt>
                <c:pt idx="269">
                  <c:v>45245</c:v>
                </c:pt>
                <c:pt idx="270">
                  <c:v>45244</c:v>
                </c:pt>
                <c:pt idx="271">
                  <c:v>45243</c:v>
                </c:pt>
                <c:pt idx="272">
                  <c:v>45240</c:v>
                </c:pt>
                <c:pt idx="273">
                  <c:v>45239</c:v>
                </c:pt>
                <c:pt idx="274">
                  <c:v>45238</c:v>
                </c:pt>
                <c:pt idx="275">
                  <c:v>45237</c:v>
                </c:pt>
                <c:pt idx="276">
                  <c:v>45236</c:v>
                </c:pt>
                <c:pt idx="277">
                  <c:v>45233</c:v>
                </c:pt>
                <c:pt idx="278">
                  <c:v>45232</c:v>
                </c:pt>
                <c:pt idx="279">
                  <c:v>45231</c:v>
                </c:pt>
                <c:pt idx="280">
                  <c:v>45230</c:v>
                </c:pt>
                <c:pt idx="281">
                  <c:v>45229</c:v>
                </c:pt>
                <c:pt idx="282">
                  <c:v>45226</c:v>
                </c:pt>
                <c:pt idx="283">
                  <c:v>45225</c:v>
                </c:pt>
                <c:pt idx="284">
                  <c:v>45224</c:v>
                </c:pt>
                <c:pt idx="285">
                  <c:v>45223</c:v>
                </c:pt>
                <c:pt idx="286">
                  <c:v>45222</c:v>
                </c:pt>
                <c:pt idx="287">
                  <c:v>45219</c:v>
                </c:pt>
                <c:pt idx="288">
                  <c:v>45218</c:v>
                </c:pt>
                <c:pt idx="289">
                  <c:v>45217</c:v>
                </c:pt>
                <c:pt idx="290">
                  <c:v>45216</c:v>
                </c:pt>
                <c:pt idx="291">
                  <c:v>45215</c:v>
                </c:pt>
                <c:pt idx="292">
                  <c:v>45212</c:v>
                </c:pt>
                <c:pt idx="293">
                  <c:v>45211</c:v>
                </c:pt>
                <c:pt idx="294">
                  <c:v>45210</c:v>
                </c:pt>
                <c:pt idx="295">
                  <c:v>45209</c:v>
                </c:pt>
                <c:pt idx="296">
                  <c:v>45208</c:v>
                </c:pt>
                <c:pt idx="297">
                  <c:v>45205</c:v>
                </c:pt>
                <c:pt idx="298">
                  <c:v>45204</c:v>
                </c:pt>
                <c:pt idx="299">
                  <c:v>45203</c:v>
                </c:pt>
                <c:pt idx="300">
                  <c:v>45202</c:v>
                </c:pt>
                <c:pt idx="301">
                  <c:v>45201</c:v>
                </c:pt>
                <c:pt idx="302">
                  <c:v>45198</c:v>
                </c:pt>
                <c:pt idx="303">
                  <c:v>45197</c:v>
                </c:pt>
                <c:pt idx="304">
                  <c:v>45196</c:v>
                </c:pt>
                <c:pt idx="305">
                  <c:v>45195</c:v>
                </c:pt>
                <c:pt idx="306">
                  <c:v>45194</c:v>
                </c:pt>
                <c:pt idx="307">
                  <c:v>45191</c:v>
                </c:pt>
                <c:pt idx="308">
                  <c:v>45190</c:v>
                </c:pt>
                <c:pt idx="309">
                  <c:v>45189</c:v>
                </c:pt>
                <c:pt idx="310">
                  <c:v>45188</c:v>
                </c:pt>
                <c:pt idx="311">
                  <c:v>45187</c:v>
                </c:pt>
                <c:pt idx="312">
                  <c:v>45184</c:v>
                </c:pt>
                <c:pt idx="313">
                  <c:v>45183</c:v>
                </c:pt>
                <c:pt idx="314">
                  <c:v>45182</c:v>
                </c:pt>
                <c:pt idx="315">
                  <c:v>45181</c:v>
                </c:pt>
                <c:pt idx="316">
                  <c:v>45180</c:v>
                </c:pt>
                <c:pt idx="317">
                  <c:v>45177</c:v>
                </c:pt>
                <c:pt idx="318">
                  <c:v>45176</c:v>
                </c:pt>
                <c:pt idx="319">
                  <c:v>45175</c:v>
                </c:pt>
                <c:pt idx="320">
                  <c:v>45174</c:v>
                </c:pt>
                <c:pt idx="321">
                  <c:v>45173</c:v>
                </c:pt>
                <c:pt idx="322">
                  <c:v>45170</c:v>
                </c:pt>
                <c:pt idx="323">
                  <c:v>45169</c:v>
                </c:pt>
                <c:pt idx="324">
                  <c:v>45168</c:v>
                </c:pt>
                <c:pt idx="325">
                  <c:v>45167</c:v>
                </c:pt>
                <c:pt idx="326">
                  <c:v>45166</c:v>
                </c:pt>
                <c:pt idx="327">
                  <c:v>45163</c:v>
                </c:pt>
                <c:pt idx="328">
                  <c:v>45162</c:v>
                </c:pt>
                <c:pt idx="329">
                  <c:v>45161</c:v>
                </c:pt>
                <c:pt idx="330">
                  <c:v>45160</c:v>
                </c:pt>
                <c:pt idx="331">
                  <c:v>45159</c:v>
                </c:pt>
                <c:pt idx="332">
                  <c:v>45156</c:v>
                </c:pt>
                <c:pt idx="333">
                  <c:v>45155</c:v>
                </c:pt>
                <c:pt idx="334">
                  <c:v>45154</c:v>
                </c:pt>
                <c:pt idx="335">
                  <c:v>45153</c:v>
                </c:pt>
                <c:pt idx="336">
                  <c:v>45152</c:v>
                </c:pt>
                <c:pt idx="337">
                  <c:v>45149</c:v>
                </c:pt>
                <c:pt idx="338">
                  <c:v>45148</c:v>
                </c:pt>
                <c:pt idx="339">
                  <c:v>45147</c:v>
                </c:pt>
                <c:pt idx="340">
                  <c:v>45146</c:v>
                </c:pt>
                <c:pt idx="341">
                  <c:v>45145</c:v>
                </c:pt>
                <c:pt idx="342">
                  <c:v>45142</c:v>
                </c:pt>
                <c:pt idx="343">
                  <c:v>45141</c:v>
                </c:pt>
                <c:pt idx="344">
                  <c:v>45140</c:v>
                </c:pt>
                <c:pt idx="345">
                  <c:v>45139</c:v>
                </c:pt>
                <c:pt idx="346">
                  <c:v>45138</c:v>
                </c:pt>
                <c:pt idx="347">
                  <c:v>45135</c:v>
                </c:pt>
                <c:pt idx="348">
                  <c:v>45134</c:v>
                </c:pt>
                <c:pt idx="349">
                  <c:v>45133</c:v>
                </c:pt>
                <c:pt idx="350">
                  <c:v>45132</c:v>
                </c:pt>
                <c:pt idx="351">
                  <c:v>45131</c:v>
                </c:pt>
                <c:pt idx="352">
                  <c:v>45128</c:v>
                </c:pt>
                <c:pt idx="353">
                  <c:v>45127</c:v>
                </c:pt>
                <c:pt idx="354">
                  <c:v>45126</c:v>
                </c:pt>
                <c:pt idx="355">
                  <c:v>45125</c:v>
                </c:pt>
                <c:pt idx="356">
                  <c:v>45124</c:v>
                </c:pt>
                <c:pt idx="357">
                  <c:v>45121</c:v>
                </c:pt>
                <c:pt idx="358">
                  <c:v>45120</c:v>
                </c:pt>
                <c:pt idx="359">
                  <c:v>45119</c:v>
                </c:pt>
                <c:pt idx="360">
                  <c:v>45118</c:v>
                </c:pt>
                <c:pt idx="361">
                  <c:v>45117</c:v>
                </c:pt>
                <c:pt idx="362">
                  <c:v>45114</c:v>
                </c:pt>
                <c:pt idx="363">
                  <c:v>45113</c:v>
                </c:pt>
                <c:pt idx="364">
                  <c:v>45112</c:v>
                </c:pt>
                <c:pt idx="365">
                  <c:v>45111</c:v>
                </c:pt>
                <c:pt idx="366">
                  <c:v>45110</c:v>
                </c:pt>
                <c:pt idx="367">
                  <c:v>45107</c:v>
                </c:pt>
                <c:pt idx="368">
                  <c:v>45106</c:v>
                </c:pt>
                <c:pt idx="369">
                  <c:v>45105</c:v>
                </c:pt>
                <c:pt idx="370">
                  <c:v>45104</c:v>
                </c:pt>
                <c:pt idx="371">
                  <c:v>45103</c:v>
                </c:pt>
                <c:pt idx="372">
                  <c:v>45100</c:v>
                </c:pt>
                <c:pt idx="373">
                  <c:v>45099</c:v>
                </c:pt>
                <c:pt idx="374">
                  <c:v>45098</c:v>
                </c:pt>
                <c:pt idx="375">
                  <c:v>45097</c:v>
                </c:pt>
                <c:pt idx="376">
                  <c:v>45096</c:v>
                </c:pt>
                <c:pt idx="377">
                  <c:v>45093</c:v>
                </c:pt>
                <c:pt idx="378">
                  <c:v>45092</c:v>
                </c:pt>
                <c:pt idx="379">
                  <c:v>45091</c:v>
                </c:pt>
                <c:pt idx="380">
                  <c:v>45090</c:v>
                </c:pt>
                <c:pt idx="381">
                  <c:v>45089</c:v>
                </c:pt>
                <c:pt idx="382">
                  <c:v>45086</c:v>
                </c:pt>
                <c:pt idx="383">
                  <c:v>45085</c:v>
                </c:pt>
                <c:pt idx="384">
                  <c:v>45084</c:v>
                </c:pt>
                <c:pt idx="385">
                  <c:v>45083</c:v>
                </c:pt>
                <c:pt idx="386">
                  <c:v>45082</c:v>
                </c:pt>
                <c:pt idx="387">
                  <c:v>45079</c:v>
                </c:pt>
                <c:pt idx="388">
                  <c:v>45078</c:v>
                </c:pt>
                <c:pt idx="389">
                  <c:v>45077</c:v>
                </c:pt>
                <c:pt idx="390">
                  <c:v>45076</c:v>
                </c:pt>
                <c:pt idx="391">
                  <c:v>45075</c:v>
                </c:pt>
                <c:pt idx="392">
                  <c:v>45072</c:v>
                </c:pt>
                <c:pt idx="393">
                  <c:v>45071</c:v>
                </c:pt>
                <c:pt idx="394">
                  <c:v>45070</c:v>
                </c:pt>
                <c:pt idx="395">
                  <c:v>45069</c:v>
                </c:pt>
                <c:pt idx="396">
                  <c:v>45068</c:v>
                </c:pt>
                <c:pt idx="397">
                  <c:v>45065</c:v>
                </c:pt>
                <c:pt idx="398">
                  <c:v>45064</c:v>
                </c:pt>
                <c:pt idx="399">
                  <c:v>45063</c:v>
                </c:pt>
                <c:pt idx="400">
                  <c:v>45062</c:v>
                </c:pt>
                <c:pt idx="401">
                  <c:v>45061</c:v>
                </c:pt>
                <c:pt idx="402">
                  <c:v>45058</c:v>
                </c:pt>
                <c:pt idx="403">
                  <c:v>45057</c:v>
                </c:pt>
                <c:pt idx="404">
                  <c:v>45056</c:v>
                </c:pt>
                <c:pt idx="405">
                  <c:v>45055</c:v>
                </c:pt>
                <c:pt idx="406">
                  <c:v>45054</c:v>
                </c:pt>
                <c:pt idx="407">
                  <c:v>45051</c:v>
                </c:pt>
                <c:pt idx="408">
                  <c:v>45050</c:v>
                </c:pt>
                <c:pt idx="409">
                  <c:v>45049</c:v>
                </c:pt>
                <c:pt idx="410">
                  <c:v>45048</c:v>
                </c:pt>
                <c:pt idx="411">
                  <c:v>45047</c:v>
                </c:pt>
                <c:pt idx="412">
                  <c:v>45044</c:v>
                </c:pt>
                <c:pt idx="413">
                  <c:v>45043</c:v>
                </c:pt>
                <c:pt idx="414">
                  <c:v>45042</c:v>
                </c:pt>
                <c:pt idx="415">
                  <c:v>45041</c:v>
                </c:pt>
                <c:pt idx="416">
                  <c:v>45040</c:v>
                </c:pt>
                <c:pt idx="417">
                  <c:v>45037</c:v>
                </c:pt>
                <c:pt idx="418">
                  <c:v>45036</c:v>
                </c:pt>
                <c:pt idx="419">
                  <c:v>45035</c:v>
                </c:pt>
                <c:pt idx="420">
                  <c:v>45034</c:v>
                </c:pt>
                <c:pt idx="421">
                  <c:v>45033</c:v>
                </c:pt>
                <c:pt idx="422">
                  <c:v>45030</c:v>
                </c:pt>
                <c:pt idx="423">
                  <c:v>45029</c:v>
                </c:pt>
                <c:pt idx="424">
                  <c:v>45028</c:v>
                </c:pt>
                <c:pt idx="425">
                  <c:v>45027</c:v>
                </c:pt>
                <c:pt idx="426">
                  <c:v>45026</c:v>
                </c:pt>
                <c:pt idx="427">
                  <c:v>45023</c:v>
                </c:pt>
                <c:pt idx="428">
                  <c:v>45022</c:v>
                </c:pt>
                <c:pt idx="429">
                  <c:v>45021</c:v>
                </c:pt>
                <c:pt idx="430">
                  <c:v>45020</c:v>
                </c:pt>
                <c:pt idx="431">
                  <c:v>45019</c:v>
                </c:pt>
                <c:pt idx="432">
                  <c:v>45016</c:v>
                </c:pt>
                <c:pt idx="433">
                  <c:v>45015</c:v>
                </c:pt>
                <c:pt idx="434">
                  <c:v>45014</c:v>
                </c:pt>
                <c:pt idx="435">
                  <c:v>45013</c:v>
                </c:pt>
                <c:pt idx="436">
                  <c:v>45012</c:v>
                </c:pt>
                <c:pt idx="437">
                  <c:v>45009</c:v>
                </c:pt>
                <c:pt idx="438">
                  <c:v>45008</c:v>
                </c:pt>
                <c:pt idx="439">
                  <c:v>45007</c:v>
                </c:pt>
                <c:pt idx="440">
                  <c:v>45006</c:v>
                </c:pt>
                <c:pt idx="441">
                  <c:v>45005</c:v>
                </c:pt>
                <c:pt idx="442">
                  <c:v>45002</c:v>
                </c:pt>
                <c:pt idx="443">
                  <c:v>45001</c:v>
                </c:pt>
                <c:pt idx="444">
                  <c:v>45000</c:v>
                </c:pt>
                <c:pt idx="445">
                  <c:v>44999</c:v>
                </c:pt>
                <c:pt idx="446">
                  <c:v>44998</c:v>
                </c:pt>
                <c:pt idx="447">
                  <c:v>44995</c:v>
                </c:pt>
                <c:pt idx="448">
                  <c:v>44994</c:v>
                </c:pt>
                <c:pt idx="449">
                  <c:v>44993</c:v>
                </c:pt>
                <c:pt idx="450">
                  <c:v>44992</c:v>
                </c:pt>
                <c:pt idx="451">
                  <c:v>44991</c:v>
                </c:pt>
                <c:pt idx="452">
                  <c:v>44988</c:v>
                </c:pt>
                <c:pt idx="453">
                  <c:v>44987</c:v>
                </c:pt>
                <c:pt idx="454">
                  <c:v>44986</c:v>
                </c:pt>
                <c:pt idx="455">
                  <c:v>44985</c:v>
                </c:pt>
                <c:pt idx="456">
                  <c:v>44984</c:v>
                </c:pt>
                <c:pt idx="457">
                  <c:v>44981</c:v>
                </c:pt>
                <c:pt idx="458">
                  <c:v>44980</c:v>
                </c:pt>
                <c:pt idx="459">
                  <c:v>44979</c:v>
                </c:pt>
                <c:pt idx="460">
                  <c:v>44978</c:v>
                </c:pt>
                <c:pt idx="461">
                  <c:v>44977</c:v>
                </c:pt>
                <c:pt idx="462">
                  <c:v>44974</c:v>
                </c:pt>
                <c:pt idx="463">
                  <c:v>44973</c:v>
                </c:pt>
                <c:pt idx="464">
                  <c:v>44972</c:v>
                </c:pt>
                <c:pt idx="465">
                  <c:v>44971</c:v>
                </c:pt>
                <c:pt idx="466">
                  <c:v>44970</c:v>
                </c:pt>
                <c:pt idx="467">
                  <c:v>44967</c:v>
                </c:pt>
                <c:pt idx="468">
                  <c:v>44966</c:v>
                </c:pt>
                <c:pt idx="469">
                  <c:v>44965</c:v>
                </c:pt>
                <c:pt idx="470">
                  <c:v>44964</c:v>
                </c:pt>
                <c:pt idx="471">
                  <c:v>44963</c:v>
                </c:pt>
                <c:pt idx="472">
                  <c:v>44960</c:v>
                </c:pt>
                <c:pt idx="473">
                  <c:v>44959</c:v>
                </c:pt>
                <c:pt idx="474">
                  <c:v>44958</c:v>
                </c:pt>
                <c:pt idx="475">
                  <c:v>44957</c:v>
                </c:pt>
                <c:pt idx="476">
                  <c:v>44956</c:v>
                </c:pt>
                <c:pt idx="477">
                  <c:v>44953</c:v>
                </c:pt>
                <c:pt idx="478">
                  <c:v>44952</c:v>
                </c:pt>
                <c:pt idx="479">
                  <c:v>44951</c:v>
                </c:pt>
                <c:pt idx="480">
                  <c:v>44950</c:v>
                </c:pt>
                <c:pt idx="481">
                  <c:v>44949</c:v>
                </c:pt>
                <c:pt idx="482">
                  <c:v>44946</c:v>
                </c:pt>
                <c:pt idx="483">
                  <c:v>44945</c:v>
                </c:pt>
                <c:pt idx="484">
                  <c:v>44944</c:v>
                </c:pt>
                <c:pt idx="485">
                  <c:v>44943</c:v>
                </c:pt>
                <c:pt idx="486">
                  <c:v>44942</c:v>
                </c:pt>
                <c:pt idx="487">
                  <c:v>44939</c:v>
                </c:pt>
                <c:pt idx="488">
                  <c:v>44938</c:v>
                </c:pt>
                <c:pt idx="489">
                  <c:v>44937</c:v>
                </c:pt>
                <c:pt idx="490">
                  <c:v>44936</c:v>
                </c:pt>
                <c:pt idx="491">
                  <c:v>44935</c:v>
                </c:pt>
                <c:pt idx="492">
                  <c:v>44932</c:v>
                </c:pt>
                <c:pt idx="493">
                  <c:v>44931</c:v>
                </c:pt>
                <c:pt idx="494">
                  <c:v>44930</c:v>
                </c:pt>
                <c:pt idx="495">
                  <c:v>44929</c:v>
                </c:pt>
                <c:pt idx="496">
                  <c:v>44928</c:v>
                </c:pt>
                <c:pt idx="497">
                  <c:v>44925</c:v>
                </c:pt>
                <c:pt idx="498">
                  <c:v>44924</c:v>
                </c:pt>
                <c:pt idx="499">
                  <c:v>44923</c:v>
                </c:pt>
                <c:pt idx="500">
                  <c:v>44922</c:v>
                </c:pt>
                <c:pt idx="501">
                  <c:v>44921</c:v>
                </c:pt>
                <c:pt idx="502">
                  <c:v>44918</c:v>
                </c:pt>
                <c:pt idx="503">
                  <c:v>44917</c:v>
                </c:pt>
                <c:pt idx="504">
                  <c:v>44916</c:v>
                </c:pt>
                <c:pt idx="505">
                  <c:v>44915</c:v>
                </c:pt>
                <c:pt idx="506">
                  <c:v>44914</c:v>
                </c:pt>
                <c:pt idx="507">
                  <c:v>44911</c:v>
                </c:pt>
                <c:pt idx="508">
                  <c:v>44910</c:v>
                </c:pt>
                <c:pt idx="509">
                  <c:v>44909</c:v>
                </c:pt>
                <c:pt idx="510">
                  <c:v>44908</c:v>
                </c:pt>
                <c:pt idx="511">
                  <c:v>44907</c:v>
                </c:pt>
                <c:pt idx="512">
                  <c:v>44904</c:v>
                </c:pt>
                <c:pt idx="513">
                  <c:v>44903</c:v>
                </c:pt>
                <c:pt idx="514">
                  <c:v>44902</c:v>
                </c:pt>
                <c:pt idx="515">
                  <c:v>44901</c:v>
                </c:pt>
                <c:pt idx="516">
                  <c:v>44900</c:v>
                </c:pt>
                <c:pt idx="517">
                  <c:v>44897</c:v>
                </c:pt>
                <c:pt idx="518">
                  <c:v>44896</c:v>
                </c:pt>
                <c:pt idx="519">
                  <c:v>44895</c:v>
                </c:pt>
                <c:pt idx="520">
                  <c:v>44894</c:v>
                </c:pt>
                <c:pt idx="521">
                  <c:v>44893</c:v>
                </c:pt>
                <c:pt idx="522">
                  <c:v>44890</c:v>
                </c:pt>
                <c:pt idx="523">
                  <c:v>44889</c:v>
                </c:pt>
                <c:pt idx="524">
                  <c:v>44888</c:v>
                </c:pt>
                <c:pt idx="525">
                  <c:v>44887</c:v>
                </c:pt>
                <c:pt idx="526">
                  <c:v>44886</c:v>
                </c:pt>
                <c:pt idx="527">
                  <c:v>44883</c:v>
                </c:pt>
                <c:pt idx="528">
                  <c:v>44882</c:v>
                </c:pt>
                <c:pt idx="529">
                  <c:v>44881</c:v>
                </c:pt>
                <c:pt idx="530">
                  <c:v>44880</c:v>
                </c:pt>
                <c:pt idx="531">
                  <c:v>44879</c:v>
                </c:pt>
                <c:pt idx="532">
                  <c:v>44876</c:v>
                </c:pt>
                <c:pt idx="533">
                  <c:v>44875</c:v>
                </c:pt>
                <c:pt idx="534">
                  <c:v>44874</c:v>
                </c:pt>
                <c:pt idx="535">
                  <c:v>44873</c:v>
                </c:pt>
                <c:pt idx="536">
                  <c:v>44872</c:v>
                </c:pt>
                <c:pt idx="537">
                  <c:v>44869</c:v>
                </c:pt>
                <c:pt idx="538">
                  <c:v>44868</c:v>
                </c:pt>
                <c:pt idx="539">
                  <c:v>44867</c:v>
                </c:pt>
                <c:pt idx="540">
                  <c:v>44866</c:v>
                </c:pt>
                <c:pt idx="541">
                  <c:v>44865</c:v>
                </c:pt>
                <c:pt idx="542">
                  <c:v>44862</c:v>
                </c:pt>
                <c:pt idx="543">
                  <c:v>44861</c:v>
                </c:pt>
                <c:pt idx="544">
                  <c:v>44860</c:v>
                </c:pt>
                <c:pt idx="545">
                  <c:v>44859</c:v>
                </c:pt>
                <c:pt idx="546">
                  <c:v>44858</c:v>
                </c:pt>
                <c:pt idx="547">
                  <c:v>44855</c:v>
                </c:pt>
                <c:pt idx="548">
                  <c:v>44854</c:v>
                </c:pt>
                <c:pt idx="549">
                  <c:v>44853</c:v>
                </c:pt>
                <c:pt idx="550">
                  <c:v>44852</c:v>
                </c:pt>
                <c:pt idx="551">
                  <c:v>44851</c:v>
                </c:pt>
                <c:pt idx="552">
                  <c:v>44848</c:v>
                </c:pt>
                <c:pt idx="553">
                  <c:v>44847</c:v>
                </c:pt>
                <c:pt idx="554">
                  <c:v>44846</c:v>
                </c:pt>
                <c:pt idx="555">
                  <c:v>44845</c:v>
                </c:pt>
                <c:pt idx="556">
                  <c:v>44844</c:v>
                </c:pt>
                <c:pt idx="557">
                  <c:v>44841</c:v>
                </c:pt>
                <c:pt idx="558">
                  <c:v>44840</c:v>
                </c:pt>
                <c:pt idx="559">
                  <c:v>44839</c:v>
                </c:pt>
                <c:pt idx="560">
                  <c:v>44838</c:v>
                </c:pt>
                <c:pt idx="561">
                  <c:v>44837</c:v>
                </c:pt>
                <c:pt idx="562">
                  <c:v>44834</c:v>
                </c:pt>
                <c:pt idx="563">
                  <c:v>44833</c:v>
                </c:pt>
                <c:pt idx="564">
                  <c:v>44832</c:v>
                </c:pt>
                <c:pt idx="565">
                  <c:v>44831</c:v>
                </c:pt>
                <c:pt idx="566">
                  <c:v>44830</c:v>
                </c:pt>
                <c:pt idx="567">
                  <c:v>44827</c:v>
                </c:pt>
                <c:pt idx="568">
                  <c:v>44826</c:v>
                </c:pt>
                <c:pt idx="569">
                  <c:v>44825</c:v>
                </c:pt>
                <c:pt idx="570">
                  <c:v>44824</c:v>
                </c:pt>
                <c:pt idx="571">
                  <c:v>44823</c:v>
                </c:pt>
                <c:pt idx="572">
                  <c:v>44820</c:v>
                </c:pt>
                <c:pt idx="573">
                  <c:v>44819</c:v>
                </c:pt>
                <c:pt idx="574">
                  <c:v>44818</c:v>
                </c:pt>
                <c:pt idx="575">
                  <c:v>44817</c:v>
                </c:pt>
                <c:pt idx="576">
                  <c:v>44816</c:v>
                </c:pt>
                <c:pt idx="577">
                  <c:v>44813</c:v>
                </c:pt>
                <c:pt idx="578">
                  <c:v>44812</c:v>
                </c:pt>
                <c:pt idx="579">
                  <c:v>44811</c:v>
                </c:pt>
                <c:pt idx="580">
                  <c:v>44810</c:v>
                </c:pt>
                <c:pt idx="581">
                  <c:v>44809</c:v>
                </c:pt>
                <c:pt idx="582">
                  <c:v>44806</c:v>
                </c:pt>
                <c:pt idx="583">
                  <c:v>44805</c:v>
                </c:pt>
                <c:pt idx="584">
                  <c:v>44804</c:v>
                </c:pt>
                <c:pt idx="585">
                  <c:v>44803</c:v>
                </c:pt>
                <c:pt idx="586">
                  <c:v>44802</c:v>
                </c:pt>
                <c:pt idx="587">
                  <c:v>44799</c:v>
                </c:pt>
                <c:pt idx="588">
                  <c:v>44798</c:v>
                </c:pt>
                <c:pt idx="589">
                  <c:v>44797</c:v>
                </c:pt>
                <c:pt idx="590">
                  <c:v>44796</c:v>
                </c:pt>
                <c:pt idx="591">
                  <c:v>44795</c:v>
                </c:pt>
                <c:pt idx="592">
                  <c:v>44792</c:v>
                </c:pt>
                <c:pt idx="593">
                  <c:v>44791</c:v>
                </c:pt>
                <c:pt idx="594">
                  <c:v>44790</c:v>
                </c:pt>
                <c:pt idx="595">
                  <c:v>44789</c:v>
                </c:pt>
                <c:pt idx="596">
                  <c:v>44788</c:v>
                </c:pt>
                <c:pt idx="597">
                  <c:v>44785</c:v>
                </c:pt>
                <c:pt idx="598">
                  <c:v>44784</c:v>
                </c:pt>
                <c:pt idx="599">
                  <c:v>44783</c:v>
                </c:pt>
                <c:pt idx="600">
                  <c:v>44782</c:v>
                </c:pt>
                <c:pt idx="601">
                  <c:v>44781</c:v>
                </c:pt>
                <c:pt idx="602">
                  <c:v>44778</c:v>
                </c:pt>
                <c:pt idx="603">
                  <c:v>44777</c:v>
                </c:pt>
                <c:pt idx="604">
                  <c:v>44776</c:v>
                </c:pt>
                <c:pt idx="605">
                  <c:v>44775</c:v>
                </c:pt>
                <c:pt idx="606">
                  <c:v>44774</c:v>
                </c:pt>
                <c:pt idx="607">
                  <c:v>44771</c:v>
                </c:pt>
                <c:pt idx="608">
                  <c:v>44770</c:v>
                </c:pt>
                <c:pt idx="609">
                  <c:v>44769</c:v>
                </c:pt>
                <c:pt idx="610">
                  <c:v>44768</c:v>
                </c:pt>
                <c:pt idx="611">
                  <c:v>44767</c:v>
                </c:pt>
                <c:pt idx="612">
                  <c:v>44764</c:v>
                </c:pt>
                <c:pt idx="613">
                  <c:v>44763</c:v>
                </c:pt>
                <c:pt idx="614">
                  <c:v>44762</c:v>
                </c:pt>
                <c:pt idx="615">
                  <c:v>44761</c:v>
                </c:pt>
                <c:pt idx="616">
                  <c:v>44760</c:v>
                </c:pt>
                <c:pt idx="617">
                  <c:v>44757</c:v>
                </c:pt>
                <c:pt idx="618">
                  <c:v>44756</c:v>
                </c:pt>
                <c:pt idx="619">
                  <c:v>44755</c:v>
                </c:pt>
                <c:pt idx="620">
                  <c:v>44754</c:v>
                </c:pt>
                <c:pt idx="621">
                  <c:v>44753</c:v>
                </c:pt>
                <c:pt idx="622">
                  <c:v>44750</c:v>
                </c:pt>
                <c:pt idx="623">
                  <c:v>44749</c:v>
                </c:pt>
                <c:pt idx="624">
                  <c:v>44748</c:v>
                </c:pt>
                <c:pt idx="625">
                  <c:v>44747</c:v>
                </c:pt>
                <c:pt idx="626">
                  <c:v>44746</c:v>
                </c:pt>
                <c:pt idx="627">
                  <c:v>44743</c:v>
                </c:pt>
                <c:pt idx="628">
                  <c:v>44742</c:v>
                </c:pt>
                <c:pt idx="629">
                  <c:v>44741</c:v>
                </c:pt>
                <c:pt idx="630">
                  <c:v>44740</c:v>
                </c:pt>
                <c:pt idx="631">
                  <c:v>44739</c:v>
                </c:pt>
                <c:pt idx="632">
                  <c:v>44736</c:v>
                </c:pt>
                <c:pt idx="633">
                  <c:v>44735</c:v>
                </c:pt>
                <c:pt idx="634">
                  <c:v>44734</c:v>
                </c:pt>
                <c:pt idx="635">
                  <c:v>44733</c:v>
                </c:pt>
                <c:pt idx="636">
                  <c:v>44732</c:v>
                </c:pt>
                <c:pt idx="637">
                  <c:v>44729</c:v>
                </c:pt>
                <c:pt idx="638">
                  <c:v>44728</c:v>
                </c:pt>
                <c:pt idx="639">
                  <c:v>44727</c:v>
                </c:pt>
                <c:pt idx="640">
                  <c:v>44726</c:v>
                </c:pt>
                <c:pt idx="641">
                  <c:v>44725</c:v>
                </c:pt>
                <c:pt idx="642">
                  <c:v>44722</c:v>
                </c:pt>
                <c:pt idx="643">
                  <c:v>44721</c:v>
                </c:pt>
                <c:pt idx="644">
                  <c:v>44720</c:v>
                </c:pt>
                <c:pt idx="645">
                  <c:v>44719</c:v>
                </c:pt>
                <c:pt idx="646">
                  <c:v>44718</c:v>
                </c:pt>
                <c:pt idx="647">
                  <c:v>44715</c:v>
                </c:pt>
                <c:pt idx="648">
                  <c:v>44714</c:v>
                </c:pt>
                <c:pt idx="649">
                  <c:v>44713</c:v>
                </c:pt>
                <c:pt idx="650">
                  <c:v>44712</c:v>
                </c:pt>
                <c:pt idx="651">
                  <c:v>44711</c:v>
                </c:pt>
                <c:pt idx="652">
                  <c:v>44708</c:v>
                </c:pt>
                <c:pt idx="653">
                  <c:v>44707</c:v>
                </c:pt>
                <c:pt idx="654">
                  <c:v>44706</c:v>
                </c:pt>
                <c:pt idx="655">
                  <c:v>44705</c:v>
                </c:pt>
                <c:pt idx="656">
                  <c:v>44704</c:v>
                </c:pt>
                <c:pt idx="657">
                  <c:v>44701</c:v>
                </c:pt>
                <c:pt idx="658">
                  <c:v>44700</c:v>
                </c:pt>
                <c:pt idx="659">
                  <c:v>44699</c:v>
                </c:pt>
                <c:pt idx="660">
                  <c:v>44698</c:v>
                </c:pt>
                <c:pt idx="661">
                  <c:v>44697</c:v>
                </c:pt>
                <c:pt idx="662">
                  <c:v>44694</c:v>
                </c:pt>
                <c:pt idx="663">
                  <c:v>44693</c:v>
                </c:pt>
                <c:pt idx="664">
                  <c:v>44692</c:v>
                </c:pt>
                <c:pt idx="665">
                  <c:v>44691</c:v>
                </c:pt>
                <c:pt idx="666">
                  <c:v>44690</c:v>
                </c:pt>
                <c:pt idx="667">
                  <c:v>44687</c:v>
                </c:pt>
                <c:pt idx="668">
                  <c:v>44686</c:v>
                </c:pt>
                <c:pt idx="669">
                  <c:v>44685</c:v>
                </c:pt>
                <c:pt idx="670">
                  <c:v>44684</c:v>
                </c:pt>
                <c:pt idx="671">
                  <c:v>44683</c:v>
                </c:pt>
                <c:pt idx="672">
                  <c:v>44680</c:v>
                </c:pt>
                <c:pt idx="673">
                  <c:v>44679</c:v>
                </c:pt>
                <c:pt idx="674">
                  <c:v>44678</c:v>
                </c:pt>
                <c:pt idx="675">
                  <c:v>44677</c:v>
                </c:pt>
                <c:pt idx="676">
                  <c:v>44676</c:v>
                </c:pt>
                <c:pt idx="677">
                  <c:v>44673</c:v>
                </c:pt>
                <c:pt idx="678">
                  <c:v>44672</c:v>
                </c:pt>
                <c:pt idx="679">
                  <c:v>44671</c:v>
                </c:pt>
                <c:pt idx="680">
                  <c:v>44670</c:v>
                </c:pt>
                <c:pt idx="681">
                  <c:v>44669</c:v>
                </c:pt>
                <c:pt idx="682">
                  <c:v>44666</c:v>
                </c:pt>
                <c:pt idx="683">
                  <c:v>44665</c:v>
                </c:pt>
                <c:pt idx="684">
                  <c:v>44664</c:v>
                </c:pt>
                <c:pt idx="685">
                  <c:v>44663</c:v>
                </c:pt>
                <c:pt idx="686">
                  <c:v>44662</c:v>
                </c:pt>
                <c:pt idx="687">
                  <c:v>44659</c:v>
                </c:pt>
                <c:pt idx="688">
                  <c:v>44658</c:v>
                </c:pt>
                <c:pt idx="689">
                  <c:v>44657</c:v>
                </c:pt>
                <c:pt idx="690">
                  <c:v>44656</c:v>
                </c:pt>
                <c:pt idx="691">
                  <c:v>44655</c:v>
                </c:pt>
                <c:pt idx="692">
                  <c:v>44652</c:v>
                </c:pt>
                <c:pt idx="693">
                  <c:v>44651</c:v>
                </c:pt>
                <c:pt idx="694">
                  <c:v>44650</c:v>
                </c:pt>
                <c:pt idx="695">
                  <c:v>44649</c:v>
                </c:pt>
                <c:pt idx="696">
                  <c:v>44648</c:v>
                </c:pt>
                <c:pt idx="697">
                  <c:v>44645</c:v>
                </c:pt>
                <c:pt idx="698">
                  <c:v>44644</c:v>
                </c:pt>
                <c:pt idx="699">
                  <c:v>44643</c:v>
                </c:pt>
                <c:pt idx="700">
                  <c:v>44642</c:v>
                </c:pt>
                <c:pt idx="701">
                  <c:v>44641</c:v>
                </c:pt>
                <c:pt idx="702">
                  <c:v>44638</c:v>
                </c:pt>
                <c:pt idx="703">
                  <c:v>44637</c:v>
                </c:pt>
                <c:pt idx="704">
                  <c:v>44636</c:v>
                </c:pt>
                <c:pt idx="705">
                  <c:v>44635</c:v>
                </c:pt>
                <c:pt idx="706">
                  <c:v>44634</c:v>
                </c:pt>
                <c:pt idx="707">
                  <c:v>44631</c:v>
                </c:pt>
                <c:pt idx="708">
                  <c:v>44630</c:v>
                </c:pt>
                <c:pt idx="709">
                  <c:v>44629</c:v>
                </c:pt>
                <c:pt idx="710">
                  <c:v>44628</c:v>
                </c:pt>
                <c:pt idx="711">
                  <c:v>44627</c:v>
                </c:pt>
                <c:pt idx="712">
                  <c:v>44624</c:v>
                </c:pt>
                <c:pt idx="713">
                  <c:v>44623</c:v>
                </c:pt>
                <c:pt idx="714">
                  <c:v>44622</c:v>
                </c:pt>
                <c:pt idx="715">
                  <c:v>44621</c:v>
                </c:pt>
                <c:pt idx="716">
                  <c:v>44620</c:v>
                </c:pt>
                <c:pt idx="717">
                  <c:v>44617</c:v>
                </c:pt>
                <c:pt idx="718">
                  <c:v>44616</c:v>
                </c:pt>
                <c:pt idx="719">
                  <c:v>44615</c:v>
                </c:pt>
                <c:pt idx="720">
                  <c:v>44614</c:v>
                </c:pt>
                <c:pt idx="721">
                  <c:v>44613</c:v>
                </c:pt>
                <c:pt idx="722">
                  <c:v>44610</c:v>
                </c:pt>
                <c:pt idx="723">
                  <c:v>44609</c:v>
                </c:pt>
                <c:pt idx="724">
                  <c:v>44608</c:v>
                </c:pt>
                <c:pt idx="725">
                  <c:v>44607</c:v>
                </c:pt>
                <c:pt idx="726">
                  <c:v>44606</c:v>
                </c:pt>
                <c:pt idx="727">
                  <c:v>44603</c:v>
                </c:pt>
                <c:pt idx="728">
                  <c:v>44602</c:v>
                </c:pt>
                <c:pt idx="729">
                  <c:v>44601</c:v>
                </c:pt>
                <c:pt idx="730">
                  <c:v>44600</c:v>
                </c:pt>
                <c:pt idx="731">
                  <c:v>44599</c:v>
                </c:pt>
                <c:pt idx="732">
                  <c:v>44596</c:v>
                </c:pt>
                <c:pt idx="733">
                  <c:v>44595</c:v>
                </c:pt>
                <c:pt idx="734">
                  <c:v>44594</c:v>
                </c:pt>
                <c:pt idx="735">
                  <c:v>44593</c:v>
                </c:pt>
                <c:pt idx="736">
                  <c:v>44592</c:v>
                </c:pt>
                <c:pt idx="737">
                  <c:v>44589</c:v>
                </c:pt>
                <c:pt idx="738">
                  <c:v>44588</c:v>
                </c:pt>
                <c:pt idx="739">
                  <c:v>44587</c:v>
                </c:pt>
                <c:pt idx="740">
                  <c:v>44586</c:v>
                </c:pt>
                <c:pt idx="741">
                  <c:v>44585</c:v>
                </c:pt>
                <c:pt idx="742">
                  <c:v>44582</c:v>
                </c:pt>
                <c:pt idx="743">
                  <c:v>44581</c:v>
                </c:pt>
                <c:pt idx="744">
                  <c:v>44580</c:v>
                </c:pt>
                <c:pt idx="745">
                  <c:v>44579</c:v>
                </c:pt>
                <c:pt idx="746">
                  <c:v>44578</c:v>
                </c:pt>
                <c:pt idx="747">
                  <c:v>44575</c:v>
                </c:pt>
                <c:pt idx="748">
                  <c:v>44574</c:v>
                </c:pt>
                <c:pt idx="749">
                  <c:v>44573</c:v>
                </c:pt>
                <c:pt idx="750">
                  <c:v>44572</c:v>
                </c:pt>
                <c:pt idx="751">
                  <c:v>44571</c:v>
                </c:pt>
                <c:pt idx="752">
                  <c:v>44568</c:v>
                </c:pt>
                <c:pt idx="753">
                  <c:v>44567</c:v>
                </c:pt>
                <c:pt idx="754">
                  <c:v>44566</c:v>
                </c:pt>
                <c:pt idx="755">
                  <c:v>44565</c:v>
                </c:pt>
                <c:pt idx="756">
                  <c:v>44564</c:v>
                </c:pt>
                <c:pt idx="757">
                  <c:v>44561</c:v>
                </c:pt>
                <c:pt idx="758">
                  <c:v>44560</c:v>
                </c:pt>
                <c:pt idx="759">
                  <c:v>44559</c:v>
                </c:pt>
                <c:pt idx="760">
                  <c:v>44558</c:v>
                </c:pt>
                <c:pt idx="761">
                  <c:v>44557</c:v>
                </c:pt>
                <c:pt idx="762">
                  <c:v>44554</c:v>
                </c:pt>
                <c:pt idx="763">
                  <c:v>44553</c:v>
                </c:pt>
                <c:pt idx="764">
                  <c:v>44552</c:v>
                </c:pt>
                <c:pt idx="765">
                  <c:v>44551</c:v>
                </c:pt>
                <c:pt idx="766">
                  <c:v>44550</c:v>
                </c:pt>
                <c:pt idx="767">
                  <c:v>44547</c:v>
                </c:pt>
                <c:pt idx="768">
                  <c:v>44546</c:v>
                </c:pt>
                <c:pt idx="769">
                  <c:v>44545</c:v>
                </c:pt>
                <c:pt idx="770">
                  <c:v>44544</c:v>
                </c:pt>
                <c:pt idx="771">
                  <c:v>44543</c:v>
                </c:pt>
                <c:pt idx="772">
                  <c:v>44540</c:v>
                </c:pt>
                <c:pt idx="773">
                  <c:v>44539</c:v>
                </c:pt>
                <c:pt idx="774">
                  <c:v>44538</c:v>
                </c:pt>
                <c:pt idx="775">
                  <c:v>44537</c:v>
                </c:pt>
                <c:pt idx="776">
                  <c:v>44536</c:v>
                </c:pt>
                <c:pt idx="777">
                  <c:v>44533</c:v>
                </c:pt>
                <c:pt idx="778">
                  <c:v>44532</c:v>
                </c:pt>
                <c:pt idx="779">
                  <c:v>44531</c:v>
                </c:pt>
                <c:pt idx="780">
                  <c:v>44530</c:v>
                </c:pt>
                <c:pt idx="781">
                  <c:v>44529</c:v>
                </c:pt>
                <c:pt idx="782">
                  <c:v>44526</c:v>
                </c:pt>
                <c:pt idx="783">
                  <c:v>44525</c:v>
                </c:pt>
                <c:pt idx="784">
                  <c:v>44524</c:v>
                </c:pt>
                <c:pt idx="785">
                  <c:v>44523</c:v>
                </c:pt>
                <c:pt idx="786">
                  <c:v>44522</c:v>
                </c:pt>
                <c:pt idx="787">
                  <c:v>44519</c:v>
                </c:pt>
                <c:pt idx="788">
                  <c:v>44518</c:v>
                </c:pt>
                <c:pt idx="789">
                  <c:v>44517</c:v>
                </c:pt>
                <c:pt idx="790">
                  <c:v>44516</c:v>
                </c:pt>
                <c:pt idx="791">
                  <c:v>44515</c:v>
                </c:pt>
                <c:pt idx="792">
                  <c:v>44512</c:v>
                </c:pt>
                <c:pt idx="793">
                  <c:v>44511</c:v>
                </c:pt>
                <c:pt idx="794">
                  <c:v>44510</c:v>
                </c:pt>
                <c:pt idx="795">
                  <c:v>44509</c:v>
                </c:pt>
                <c:pt idx="796">
                  <c:v>44508</c:v>
                </c:pt>
                <c:pt idx="797">
                  <c:v>44505</c:v>
                </c:pt>
                <c:pt idx="798">
                  <c:v>44504</c:v>
                </c:pt>
                <c:pt idx="799">
                  <c:v>44503</c:v>
                </c:pt>
                <c:pt idx="800">
                  <c:v>44502</c:v>
                </c:pt>
                <c:pt idx="801">
                  <c:v>44501</c:v>
                </c:pt>
                <c:pt idx="802">
                  <c:v>44498</c:v>
                </c:pt>
                <c:pt idx="803">
                  <c:v>44497</c:v>
                </c:pt>
                <c:pt idx="804">
                  <c:v>44496</c:v>
                </c:pt>
                <c:pt idx="805">
                  <c:v>44495</c:v>
                </c:pt>
                <c:pt idx="806">
                  <c:v>44494</c:v>
                </c:pt>
                <c:pt idx="807">
                  <c:v>44491</c:v>
                </c:pt>
                <c:pt idx="808">
                  <c:v>44490</c:v>
                </c:pt>
                <c:pt idx="809">
                  <c:v>44489</c:v>
                </c:pt>
                <c:pt idx="810">
                  <c:v>44488</c:v>
                </c:pt>
                <c:pt idx="811">
                  <c:v>44487</c:v>
                </c:pt>
                <c:pt idx="812">
                  <c:v>44484</c:v>
                </c:pt>
                <c:pt idx="813">
                  <c:v>44483</c:v>
                </c:pt>
                <c:pt idx="814">
                  <c:v>44482</c:v>
                </c:pt>
                <c:pt idx="815">
                  <c:v>44481</c:v>
                </c:pt>
                <c:pt idx="816">
                  <c:v>44480</c:v>
                </c:pt>
                <c:pt idx="817">
                  <c:v>44477</c:v>
                </c:pt>
                <c:pt idx="818">
                  <c:v>44476</c:v>
                </c:pt>
                <c:pt idx="819">
                  <c:v>44475</c:v>
                </c:pt>
                <c:pt idx="820">
                  <c:v>44474</c:v>
                </c:pt>
                <c:pt idx="821">
                  <c:v>44473</c:v>
                </c:pt>
                <c:pt idx="822">
                  <c:v>44470</c:v>
                </c:pt>
                <c:pt idx="823">
                  <c:v>44469</c:v>
                </c:pt>
                <c:pt idx="824">
                  <c:v>44468</c:v>
                </c:pt>
                <c:pt idx="825">
                  <c:v>44467</c:v>
                </c:pt>
                <c:pt idx="826">
                  <c:v>44466</c:v>
                </c:pt>
                <c:pt idx="827">
                  <c:v>44463</c:v>
                </c:pt>
                <c:pt idx="828">
                  <c:v>44462</c:v>
                </c:pt>
                <c:pt idx="829">
                  <c:v>44461</c:v>
                </c:pt>
                <c:pt idx="830">
                  <c:v>44460</c:v>
                </c:pt>
                <c:pt idx="831">
                  <c:v>44459</c:v>
                </c:pt>
                <c:pt idx="832">
                  <c:v>44456</c:v>
                </c:pt>
                <c:pt idx="833">
                  <c:v>44455</c:v>
                </c:pt>
                <c:pt idx="834">
                  <c:v>44454</c:v>
                </c:pt>
                <c:pt idx="835">
                  <c:v>44453</c:v>
                </c:pt>
                <c:pt idx="836">
                  <c:v>44452</c:v>
                </c:pt>
                <c:pt idx="837">
                  <c:v>44449</c:v>
                </c:pt>
                <c:pt idx="838">
                  <c:v>44448</c:v>
                </c:pt>
                <c:pt idx="839">
                  <c:v>44447</c:v>
                </c:pt>
                <c:pt idx="840">
                  <c:v>44446</c:v>
                </c:pt>
                <c:pt idx="841">
                  <c:v>44445</c:v>
                </c:pt>
                <c:pt idx="842">
                  <c:v>44442</c:v>
                </c:pt>
                <c:pt idx="843">
                  <c:v>44441</c:v>
                </c:pt>
                <c:pt idx="844">
                  <c:v>44440</c:v>
                </c:pt>
                <c:pt idx="845">
                  <c:v>44439</c:v>
                </c:pt>
                <c:pt idx="846">
                  <c:v>44438</c:v>
                </c:pt>
                <c:pt idx="847">
                  <c:v>44435</c:v>
                </c:pt>
                <c:pt idx="848">
                  <c:v>44434</c:v>
                </c:pt>
                <c:pt idx="849">
                  <c:v>44433</c:v>
                </c:pt>
                <c:pt idx="850">
                  <c:v>44432</c:v>
                </c:pt>
                <c:pt idx="851">
                  <c:v>44431</c:v>
                </c:pt>
                <c:pt idx="852">
                  <c:v>44428</c:v>
                </c:pt>
                <c:pt idx="853">
                  <c:v>44427</c:v>
                </c:pt>
                <c:pt idx="854">
                  <c:v>44426</c:v>
                </c:pt>
                <c:pt idx="855">
                  <c:v>44425</c:v>
                </c:pt>
                <c:pt idx="856">
                  <c:v>44424</c:v>
                </c:pt>
                <c:pt idx="857">
                  <c:v>44421</c:v>
                </c:pt>
                <c:pt idx="858">
                  <c:v>44420</c:v>
                </c:pt>
                <c:pt idx="859">
                  <c:v>44419</c:v>
                </c:pt>
                <c:pt idx="860">
                  <c:v>44418</c:v>
                </c:pt>
                <c:pt idx="861">
                  <c:v>44417</c:v>
                </c:pt>
                <c:pt idx="862">
                  <c:v>44414</c:v>
                </c:pt>
                <c:pt idx="863">
                  <c:v>44413</c:v>
                </c:pt>
                <c:pt idx="864">
                  <c:v>44412</c:v>
                </c:pt>
                <c:pt idx="865">
                  <c:v>44411</c:v>
                </c:pt>
                <c:pt idx="866">
                  <c:v>44410</c:v>
                </c:pt>
                <c:pt idx="867">
                  <c:v>44407</c:v>
                </c:pt>
                <c:pt idx="868">
                  <c:v>44406</c:v>
                </c:pt>
                <c:pt idx="869">
                  <c:v>44405</c:v>
                </c:pt>
                <c:pt idx="870">
                  <c:v>44404</c:v>
                </c:pt>
                <c:pt idx="871">
                  <c:v>44403</c:v>
                </c:pt>
                <c:pt idx="872">
                  <c:v>44400</c:v>
                </c:pt>
                <c:pt idx="873">
                  <c:v>44399</c:v>
                </c:pt>
                <c:pt idx="874">
                  <c:v>44398</c:v>
                </c:pt>
                <c:pt idx="875">
                  <c:v>44397</c:v>
                </c:pt>
                <c:pt idx="876">
                  <c:v>44396</c:v>
                </c:pt>
                <c:pt idx="877">
                  <c:v>44393</c:v>
                </c:pt>
                <c:pt idx="878">
                  <c:v>44392</c:v>
                </c:pt>
                <c:pt idx="879">
                  <c:v>44391</c:v>
                </c:pt>
                <c:pt idx="880">
                  <c:v>44390</c:v>
                </c:pt>
                <c:pt idx="881">
                  <c:v>44389</c:v>
                </c:pt>
                <c:pt idx="882">
                  <c:v>44386</c:v>
                </c:pt>
                <c:pt idx="883">
                  <c:v>44385</c:v>
                </c:pt>
                <c:pt idx="884">
                  <c:v>44384</c:v>
                </c:pt>
                <c:pt idx="885">
                  <c:v>44383</c:v>
                </c:pt>
                <c:pt idx="886">
                  <c:v>44382</c:v>
                </c:pt>
                <c:pt idx="887">
                  <c:v>44379</c:v>
                </c:pt>
                <c:pt idx="888">
                  <c:v>44378</c:v>
                </c:pt>
                <c:pt idx="889">
                  <c:v>44377</c:v>
                </c:pt>
                <c:pt idx="890">
                  <c:v>44376</c:v>
                </c:pt>
                <c:pt idx="891">
                  <c:v>44375</c:v>
                </c:pt>
                <c:pt idx="892">
                  <c:v>44372</c:v>
                </c:pt>
                <c:pt idx="893">
                  <c:v>44371</c:v>
                </c:pt>
                <c:pt idx="894">
                  <c:v>44370</c:v>
                </c:pt>
                <c:pt idx="895">
                  <c:v>44369</c:v>
                </c:pt>
                <c:pt idx="896">
                  <c:v>44368</c:v>
                </c:pt>
                <c:pt idx="897">
                  <c:v>44365</c:v>
                </c:pt>
                <c:pt idx="898">
                  <c:v>44364</c:v>
                </c:pt>
                <c:pt idx="899">
                  <c:v>44363</c:v>
                </c:pt>
                <c:pt idx="900">
                  <c:v>44362</c:v>
                </c:pt>
                <c:pt idx="901">
                  <c:v>44361</c:v>
                </c:pt>
                <c:pt idx="902">
                  <c:v>44358</c:v>
                </c:pt>
                <c:pt idx="903">
                  <c:v>44357</c:v>
                </c:pt>
                <c:pt idx="904">
                  <c:v>44356</c:v>
                </c:pt>
                <c:pt idx="905">
                  <c:v>44355</c:v>
                </c:pt>
                <c:pt idx="906">
                  <c:v>44354</c:v>
                </c:pt>
                <c:pt idx="907">
                  <c:v>44351</c:v>
                </c:pt>
                <c:pt idx="908">
                  <c:v>44350</c:v>
                </c:pt>
                <c:pt idx="909">
                  <c:v>44349</c:v>
                </c:pt>
                <c:pt idx="910">
                  <c:v>44348</c:v>
                </c:pt>
                <c:pt idx="911">
                  <c:v>44347</c:v>
                </c:pt>
                <c:pt idx="912">
                  <c:v>44344</c:v>
                </c:pt>
                <c:pt idx="913">
                  <c:v>44343</c:v>
                </c:pt>
                <c:pt idx="914">
                  <c:v>44342</c:v>
                </c:pt>
                <c:pt idx="915">
                  <c:v>44341</c:v>
                </c:pt>
                <c:pt idx="916">
                  <c:v>44340</c:v>
                </c:pt>
                <c:pt idx="917">
                  <c:v>44337</c:v>
                </c:pt>
                <c:pt idx="918">
                  <c:v>44336</c:v>
                </c:pt>
                <c:pt idx="919">
                  <c:v>44335</c:v>
                </c:pt>
                <c:pt idx="920">
                  <c:v>44334</c:v>
                </c:pt>
                <c:pt idx="921">
                  <c:v>44333</c:v>
                </c:pt>
                <c:pt idx="922">
                  <c:v>44330</c:v>
                </c:pt>
                <c:pt idx="923">
                  <c:v>44329</c:v>
                </c:pt>
                <c:pt idx="924">
                  <c:v>44328</c:v>
                </c:pt>
                <c:pt idx="925">
                  <c:v>44327</c:v>
                </c:pt>
                <c:pt idx="926">
                  <c:v>44326</c:v>
                </c:pt>
                <c:pt idx="927">
                  <c:v>44323</c:v>
                </c:pt>
                <c:pt idx="928">
                  <c:v>44322</c:v>
                </c:pt>
                <c:pt idx="929">
                  <c:v>44321</c:v>
                </c:pt>
                <c:pt idx="930">
                  <c:v>44320</c:v>
                </c:pt>
                <c:pt idx="931">
                  <c:v>44319</c:v>
                </c:pt>
                <c:pt idx="932">
                  <c:v>44316</c:v>
                </c:pt>
                <c:pt idx="933">
                  <c:v>44315</c:v>
                </c:pt>
                <c:pt idx="934">
                  <c:v>44314</c:v>
                </c:pt>
                <c:pt idx="935">
                  <c:v>44313</c:v>
                </c:pt>
                <c:pt idx="936">
                  <c:v>44312</c:v>
                </c:pt>
                <c:pt idx="937">
                  <c:v>44309</c:v>
                </c:pt>
                <c:pt idx="938">
                  <c:v>44308</c:v>
                </c:pt>
                <c:pt idx="939">
                  <c:v>44307</c:v>
                </c:pt>
                <c:pt idx="940">
                  <c:v>44306</c:v>
                </c:pt>
                <c:pt idx="941">
                  <c:v>44305</c:v>
                </c:pt>
                <c:pt idx="942">
                  <c:v>44302</c:v>
                </c:pt>
                <c:pt idx="943">
                  <c:v>44301</c:v>
                </c:pt>
                <c:pt idx="944">
                  <c:v>44300</c:v>
                </c:pt>
                <c:pt idx="945">
                  <c:v>44299</c:v>
                </c:pt>
                <c:pt idx="946">
                  <c:v>44298</c:v>
                </c:pt>
                <c:pt idx="947">
                  <c:v>44295</c:v>
                </c:pt>
                <c:pt idx="948">
                  <c:v>44294</c:v>
                </c:pt>
                <c:pt idx="949">
                  <c:v>44293</c:v>
                </c:pt>
                <c:pt idx="950">
                  <c:v>44292</c:v>
                </c:pt>
                <c:pt idx="951">
                  <c:v>44291</c:v>
                </c:pt>
                <c:pt idx="952">
                  <c:v>44288</c:v>
                </c:pt>
                <c:pt idx="953">
                  <c:v>44287</c:v>
                </c:pt>
                <c:pt idx="954">
                  <c:v>44286</c:v>
                </c:pt>
                <c:pt idx="955">
                  <c:v>44285</c:v>
                </c:pt>
                <c:pt idx="956">
                  <c:v>44284</c:v>
                </c:pt>
                <c:pt idx="957">
                  <c:v>44281</c:v>
                </c:pt>
                <c:pt idx="958">
                  <c:v>44280</c:v>
                </c:pt>
                <c:pt idx="959">
                  <c:v>44279</c:v>
                </c:pt>
                <c:pt idx="960">
                  <c:v>44278</c:v>
                </c:pt>
                <c:pt idx="961">
                  <c:v>44277</c:v>
                </c:pt>
                <c:pt idx="962">
                  <c:v>44274</c:v>
                </c:pt>
                <c:pt idx="963">
                  <c:v>44273</c:v>
                </c:pt>
                <c:pt idx="964">
                  <c:v>44272</c:v>
                </c:pt>
                <c:pt idx="965">
                  <c:v>44271</c:v>
                </c:pt>
                <c:pt idx="966">
                  <c:v>44270</c:v>
                </c:pt>
                <c:pt idx="967">
                  <c:v>44267</c:v>
                </c:pt>
                <c:pt idx="968">
                  <c:v>44266</c:v>
                </c:pt>
                <c:pt idx="969">
                  <c:v>44265</c:v>
                </c:pt>
                <c:pt idx="970">
                  <c:v>44264</c:v>
                </c:pt>
                <c:pt idx="971">
                  <c:v>44263</c:v>
                </c:pt>
                <c:pt idx="972">
                  <c:v>44260</c:v>
                </c:pt>
                <c:pt idx="973">
                  <c:v>44259</c:v>
                </c:pt>
                <c:pt idx="974">
                  <c:v>44258</c:v>
                </c:pt>
                <c:pt idx="975">
                  <c:v>44257</c:v>
                </c:pt>
                <c:pt idx="976">
                  <c:v>44256</c:v>
                </c:pt>
                <c:pt idx="977">
                  <c:v>44253</c:v>
                </c:pt>
                <c:pt idx="978">
                  <c:v>44252</c:v>
                </c:pt>
                <c:pt idx="979">
                  <c:v>44251</c:v>
                </c:pt>
                <c:pt idx="980">
                  <c:v>44250</c:v>
                </c:pt>
                <c:pt idx="981">
                  <c:v>44249</c:v>
                </c:pt>
                <c:pt idx="982">
                  <c:v>44246</c:v>
                </c:pt>
                <c:pt idx="983">
                  <c:v>44245</c:v>
                </c:pt>
                <c:pt idx="984">
                  <c:v>44244</c:v>
                </c:pt>
                <c:pt idx="985">
                  <c:v>44243</c:v>
                </c:pt>
                <c:pt idx="986">
                  <c:v>44242</c:v>
                </c:pt>
                <c:pt idx="987">
                  <c:v>44239</c:v>
                </c:pt>
                <c:pt idx="988">
                  <c:v>44238</c:v>
                </c:pt>
                <c:pt idx="989">
                  <c:v>44237</c:v>
                </c:pt>
                <c:pt idx="990">
                  <c:v>44236</c:v>
                </c:pt>
                <c:pt idx="991">
                  <c:v>44235</c:v>
                </c:pt>
                <c:pt idx="992">
                  <c:v>44232</c:v>
                </c:pt>
                <c:pt idx="993">
                  <c:v>44231</c:v>
                </c:pt>
                <c:pt idx="994">
                  <c:v>44230</c:v>
                </c:pt>
                <c:pt idx="995">
                  <c:v>44229</c:v>
                </c:pt>
                <c:pt idx="996">
                  <c:v>44228</c:v>
                </c:pt>
                <c:pt idx="997">
                  <c:v>44225</c:v>
                </c:pt>
                <c:pt idx="998">
                  <c:v>44224</c:v>
                </c:pt>
                <c:pt idx="999">
                  <c:v>44223</c:v>
                </c:pt>
                <c:pt idx="1000">
                  <c:v>44222</c:v>
                </c:pt>
                <c:pt idx="1001">
                  <c:v>44221</c:v>
                </c:pt>
                <c:pt idx="1002">
                  <c:v>44218</c:v>
                </c:pt>
                <c:pt idx="1003">
                  <c:v>44217</c:v>
                </c:pt>
                <c:pt idx="1004">
                  <c:v>44216</c:v>
                </c:pt>
                <c:pt idx="1005">
                  <c:v>44215</c:v>
                </c:pt>
                <c:pt idx="1006">
                  <c:v>44214</c:v>
                </c:pt>
                <c:pt idx="1007">
                  <c:v>44211</c:v>
                </c:pt>
                <c:pt idx="1008">
                  <c:v>44210</c:v>
                </c:pt>
                <c:pt idx="1009">
                  <c:v>44209</c:v>
                </c:pt>
                <c:pt idx="1010">
                  <c:v>44208</c:v>
                </c:pt>
                <c:pt idx="1011">
                  <c:v>44207</c:v>
                </c:pt>
                <c:pt idx="1012">
                  <c:v>44204</c:v>
                </c:pt>
                <c:pt idx="1013">
                  <c:v>44203</c:v>
                </c:pt>
                <c:pt idx="1014">
                  <c:v>44202</c:v>
                </c:pt>
                <c:pt idx="1015">
                  <c:v>44201</c:v>
                </c:pt>
                <c:pt idx="1016">
                  <c:v>44200</c:v>
                </c:pt>
                <c:pt idx="1017">
                  <c:v>44197</c:v>
                </c:pt>
                <c:pt idx="1018">
                  <c:v>44196</c:v>
                </c:pt>
                <c:pt idx="1019">
                  <c:v>44195</c:v>
                </c:pt>
                <c:pt idx="1020">
                  <c:v>44194</c:v>
                </c:pt>
                <c:pt idx="1021">
                  <c:v>44193</c:v>
                </c:pt>
                <c:pt idx="1022">
                  <c:v>44190</c:v>
                </c:pt>
                <c:pt idx="1023">
                  <c:v>44189</c:v>
                </c:pt>
                <c:pt idx="1024">
                  <c:v>44188</c:v>
                </c:pt>
                <c:pt idx="1025">
                  <c:v>44187</c:v>
                </c:pt>
                <c:pt idx="1026">
                  <c:v>44186</c:v>
                </c:pt>
                <c:pt idx="1027">
                  <c:v>44183</c:v>
                </c:pt>
                <c:pt idx="1028">
                  <c:v>44182</c:v>
                </c:pt>
                <c:pt idx="1029">
                  <c:v>44181</c:v>
                </c:pt>
                <c:pt idx="1030">
                  <c:v>44180</c:v>
                </c:pt>
                <c:pt idx="1031">
                  <c:v>44179</c:v>
                </c:pt>
                <c:pt idx="1032">
                  <c:v>44176</c:v>
                </c:pt>
                <c:pt idx="1033">
                  <c:v>44175</c:v>
                </c:pt>
                <c:pt idx="1034">
                  <c:v>44174</c:v>
                </c:pt>
                <c:pt idx="1035">
                  <c:v>44173</c:v>
                </c:pt>
                <c:pt idx="1036">
                  <c:v>44172</c:v>
                </c:pt>
                <c:pt idx="1037">
                  <c:v>44169</c:v>
                </c:pt>
                <c:pt idx="1038">
                  <c:v>44168</c:v>
                </c:pt>
                <c:pt idx="1039">
                  <c:v>44167</c:v>
                </c:pt>
                <c:pt idx="1040">
                  <c:v>44166</c:v>
                </c:pt>
                <c:pt idx="1041">
                  <c:v>44165</c:v>
                </c:pt>
                <c:pt idx="1042">
                  <c:v>44162</c:v>
                </c:pt>
                <c:pt idx="1043">
                  <c:v>44161</c:v>
                </c:pt>
                <c:pt idx="1044">
                  <c:v>44160</c:v>
                </c:pt>
                <c:pt idx="1045">
                  <c:v>44159</c:v>
                </c:pt>
                <c:pt idx="1046">
                  <c:v>44158</c:v>
                </c:pt>
                <c:pt idx="1047">
                  <c:v>44155</c:v>
                </c:pt>
                <c:pt idx="1048">
                  <c:v>44154</c:v>
                </c:pt>
                <c:pt idx="1049">
                  <c:v>44153</c:v>
                </c:pt>
                <c:pt idx="1050">
                  <c:v>44152</c:v>
                </c:pt>
                <c:pt idx="1051">
                  <c:v>44151</c:v>
                </c:pt>
                <c:pt idx="1052">
                  <c:v>44148</c:v>
                </c:pt>
                <c:pt idx="1053">
                  <c:v>44147</c:v>
                </c:pt>
                <c:pt idx="1054">
                  <c:v>44146</c:v>
                </c:pt>
                <c:pt idx="1055">
                  <c:v>44145</c:v>
                </c:pt>
                <c:pt idx="1056">
                  <c:v>44144</c:v>
                </c:pt>
                <c:pt idx="1057">
                  <c:v>44141</c:v>
                </c:pt>
                <c:pt idx="1058">
                  <c:v>44140</c:v>
                </c:pt>
                <c:pt idx="1059">
                  <c:v>44139</c:v>
                </c:pt>
                <c:pt idx="1060">
                  <c:v>44138</c:v>
                </c:pt>
                <c:pt idx="1061">
                  <c:v>44137</c:v>
                </c:pt>
                <c:pt idx="1062">
                  <c:v>44134</c:v>
                </c:pt>
                <c:pt idx="1063">
                  <c:v>44133</c:v>
                </c:pt>
                <c:pt idx="1064">
                  <c:v>44132</c:v>
                </c:pt>
                <c:pt idx="1065">
                  <c:v>44131</c:v>
                </c:pt>
                <c:pt idx="1066">
                  <c:v>44130</c:v>
                </c:pt>
                <c:pt idx="1067">
                  <c:v>44127</c:v>
                </c:pt>
                <c:pt idx="1068">
                  <c:v>44126</c:v>
                </c:pt>
                <c:pt idx="1069">
                  <c:v>44125</c:v>
                </c:pt>
                <c:pt idx="1070">
                  <c:v>44124</c:v>
                </c:pt>
                <c:pt idx="1071">
                  <c:v>44123</c:v>
                </c:pt>
                <c:pt idx="1072">
                  <c:v>44120</c:v>
                </c:pt>
                <c:pt idx="1073">
                  <c:v>44119</c:v>
                </c:pt>
                <c:pt idx="1074">
                  <c:v>44118</c:v>
                </c:pt>
                <c:pt idx="1075">
                  <c:v>44117</c:v>
                </c:pt>
                <c:pt idx="1076">
                  <c:v>44116</c:v>
                </c:pt>
                <c:pt idx="1077">
                  <c:v>44113</c:v>
                </c:pt>
                <c:pt idx="1078">
                  <c:v>44112</c:v>
                </c:pt>
                <c:pt idx="1079">
                  <c:v>44111</c:v>
                </c:pt>
                <c:pt idx="1080">
                  <c:v>44110</c:v>
                </c:pt>
                <c:pt idx="1081">
                  <c:v>44109</c:v>
                </c:pt>
                <c:pt idx="1082">
                  <c:v>44106</c:v>
                </c:pt>
                <c:pt idx="1083">
                  <c:v>44105</c:v>
                </c:pt>
                <c:pt idx="1084">
                  <c:v>44104</c:v>
                </c:pt>
                <c:pt idx="1085">
                  <c:v>44103</c:v>
                </c:pt>
                <c:pt idx="1086">
                  <c:v>44102</c:v>
                </c:pt>
                <c:pt idx="1087">
                  <c:v>44099</c:v>
                </c:pt>
                <c:pt idx="1088">
                  <c:v>44098</c:v>
                </c:pt>
                <c:pt idx="1089">
                  <c:v>44097</c:v>
                </c:pt>
                <c:pt idx="1090">
                  <c:v>44096</c:v>
                </c:pt>
                <c:pt idx="1091">
                  <c:v>44095</c:v>
                </c:pt>
                <c:pt idx="1092">
                  <c:v>44092</c:v>
                </c:pt>
                <c:pt idx="1093">
                  <c:v>44091</c:v>
                </c:pt>
                <c:pt idx="1094">
                  <c:v>44090</c:v>
                </c:pt>
                <c:pt idx="1095">
                  <c:v>44089</c:v>
                </c:pt>
                <c:pt idx="1096">
                  <c:v>44088</c:v>
                </c:pt>
                <c:pt idx="1097">
                  <c:v>44085</c:v>
                </c:pt>
                <c:pt idx="1098">
                  <c:v>44084</c:v>
                </c:pt>
                <c:pt idx="1099">
                  <c:v>44083</c:v>
                </c:pt>
                <c:pt idx="1100">
                  <c:v>44082</c:v>
                </c:pt>
                <c:pt idx="1101">
                  <c:v>44081</c:v>
                </c:pt>
                <c:pt idx="1102">
                  <c:v>44078</c:v>
                </c:pt>
                <c:pt idx="1103">
                  <c:v>44077</c:v>
                </c:pt>
                <c:pt idx="1104">
                  <c:v>44076</c:v>
                </c:pt>
                <c:pt idx="1105">
                  <c:v>44075</c:v>
                </c:pt>
                <c:pt idx="1106">
                  <c:v>44074</c:v>
                </c:pt>
                <c:pt idx="1107">
                  <c:v>44071</c:v>
                </c:pt>
                <c:pt idx="1108">
                  <c:v>44070</c:v>
                </c:pt>
                <c:pt idx="1109">
                  <c:v>44069</c:v>
                </c:pt>
                <c:pt idx="1110">
                  <c:v>44068</c:v>
                </c:pt>
                <c:pt idx="1111">
                  <c:v>44067</c:v>
                </c:pt>
                <c:pt idx="1112">
                  <c:v>44064</c:v>
                </c:pt>
                <c:pt idx="1113">
                  <c:v>44063</c:v>
                </c:pt>
                <c:pt idx="1114">
                  <c:v>44062</c:v>
                </c:pt>
                <c:pt idx="1115">
                  <c:v>44061</c:v>
                </c:pt>
                <c:pt idx="1116">
                  <c:v>44060</c:v>
                </c:pt>
                <c:pt idx="1117">
                  <c:v>44057</c:v>
                </c:pt>
                <c:pt idx="1118">
                  <c:v>44056</c:v>
                </c:pt>
                <c:pt idx="1119">
                  <c:v>44055</c:v>
                </c:pt>
                <c:pt idx="1120">
                  <c:v>44054</c:v>
                </c:pt>
                <c:pt idx="1121">
                  <c:v>44053</c:v>
                </c:pt>
                <c:pt idx="1122">
                  <c:v>44050</c:v>
                </c:pt>
                <c:pt idx="1123">
                  <c:v>44049</c:v>
                </c:pt>
                <c:pt idx="1124">
                  <c:v>44048</c:v>
                </c:pt>
                <c:pt idx="1125">
                  <c:v>44047</c:v>
                </c:pt>
                <c:pt idx="1126">
                  <c:v>44046</c:v>
                </c:pt>
                <c:pt idx="1127">
                  <c:v>44043</c:v>
                </c:pt>
                <c:pt idx="1128">
                  <c:v>44042</c:v>
                </c:pt>
                <c:pt idx="1129">
                  <c:v>44041</c:v>
                </c:pt>
                <c:pt idx="1130">
                  <c:v>44040</c:v>
                </c:pt>
                <c:pt idx="1131">
                  <c:v>44039</c:v>
                </c:pt>
                <c:pt idx="1132">
                  <c:v>44036</c:v>
                </c:pt>
                <c:pt idx="1133">
                  <c:v>44035</c:v>
                </c:pt>
                <c:pt idx="1134">
                  <c:v>44034</c:v>
                </c:pt>
                <c:pt idx="1135">
                  <c:v>44033</c:v>
                </c:pt>
                <c:pt idx="1136">
                  <c:v>44032</c:v>
                </c:pt>
                <c:pt idx="1137">
                  <c:v>44029</c:v>
                </c:pt>
                <c:pt idx="1138">
                  <c:v>44028</c:v>
                </c:pt>
                <c:pt idx="1139">
                  <c:v>44027</c:v>
                </c:pt>
                <c:pt idx="1140">
                  <c:v>44026</c:v>
                </c:pt>
                <c:pt idx="1141">
                  <c:v>44025</c:v>
                </c:pt>
                <c:pt idx="1142">
                  <c:v>44022</c:v>
                </c:pt>
                <c:pt idx="1143">
                  <c:v>44021</c:v>
                </c:pt>
                <c:pt idx="1144">
                  <c:v>44020</c:v>
                </c:pt>
                <c:pt idx="1145">
                  <c:v>44019</c:v>
                </c:pt>
                <c:pt idx="1146">
                  <c:v>44018</c:v>
                </c:pt>
                <c:pt idx="1147">
                  <c:v>44015</c:v>
                </c:pt>
                <c:pt idx="1148">
                  <c:v>44014</c:v>
                </c:pt>
                <c:pt idx="1149">
                  <c:v>44013</c:v>
                </c:pt>
                <c:pt idx="1150">
                  <c:v>44012</c:v>
                </c:pt>
                <c:pt idx="1151">
                  <c:v>44011</c:v>
                </c:pt>
                <c:pt idx="1152">
                  <c:v>44008</c:v>
                </c:pt>
                <c:pt idx="1153">
                  <c:v>44007</c:v>
                </c:pt>
                <c:pt idx="1154">
                  <c:v>44006</c:v>
                </c:pt>
                <c:pt idx="1155">
                  <c:v>44005</c:v>
                </c:pt>
                <c:pt idx="1156">
                  <c:v>44004</c:v>
                </c:pt>
                <c:pt idx="1157">
                  <c:v>44001</c:v>
                </c:pt>
                <c:pt idx="1158">
                  <c:v>44000</c:v>
                </c:pt>
                <c:pt idx="1159">
                  <c:v>43999</c:v>
                </c:pt>
                <c:pt idx="1160">
                  <c:v>43998</c:v>
                </c:pt>
                <c:pt idx="1161">
                  <c:v>43997</c:v>
                </c:pt>
                <c:pt idx="1162">
                  <c:v>43994</c:v>
                </c:pt>
                <c:pt idx="1163">
                  <c:v>43993</c:v>
                </c:pt>
                <c:pt idx="1164">
                  <c:v>43992</c:v>
                </c:pt>
                <c:pt idx="1165">
                  <c:v>43991</c:v>
                </c:pt>
                <c:pt idx="1166">
                  <c:v>43990</c:v>
                </c:pt>
                <c:pt idx="1167">
                  <c:v>43987</c:v>
                </c:pt>
                <c:pt idx="1168">
                  <c:v>43986</c:v>
                </c:pt>
                <c:pt idx="1169">
                  <c:v>43985</c:v>
                </c:pt>
                <c:pt idx="1170">
                  <c:v>43984</c:v>
                </c:pt>
                <c:pt idx="1171">
                  <c:v>43983</c:v>
                </c:pt>
                <c:pt idx="1172">
                  <c:v>43980</c:v>
                </c:pt>
                <c:pt idx="1173">
                  <c:v>43979</c:v>
                </c:pt>
                <c:pt idx="1174">
                  <c:v>43978</c:v>
                </c:pt>
                <c:pt idx="1175">
                  <c:v>43977</c:v>
                </c:pt>
                <c:pt idx="1176">
                  <c:v>43976</c:v>
                </c:pt>
                <c:pt idx="1177">
                  <c:v>43973</c:v>
                </c:pt>
                <c:pt idx="1178">
                  <c:v>43972</c:v>
                </c:pt>
                <c:pt idx="1179">
                  <c:v>43971</c:v>
                </c:pt>
                <c:pt idx="1180">
                  <c:v>43970</c:v>
                </c:pt>
                <c:pt idx="1181">
                  <c:v>43969</c:v>
                </c:pt>
                <c:pt idx="1182">
                  <c:v>43966</c:v>
                </c:pt>
                <c:pt idx="1183">
                  <c:v>43965</c:v>
                </c:pt>
                <c:pt idx="1184">
                  <c:v>43964</c:v>
                </c:pt>
                <c:pt idx="1185">
                  <c:v>43963</c:v>
                </c:pt>
                <c:pt idx="1186">
                  <c:v>43962</c:v>
                </c:pt>
                <c:pt idx="1187">
                  <c:v>43959</c:v>
                </c:pt>
                <c:pt idx="1188">
                  <c:v>43958</c:v>
                </c:pt>
                <c:pt idx="1189">
                  <c:v>43957</c:v>
                </c:pt>
                <c:pt idx="1190">
                  <c:v>43956</c:v>
                </c:pt>
                <c:pt idx="1191">
                  <c:v>43955</c:v>
                </c:pt>
                <c:pt idx="1192">
                  <c:v>43952</c:v>
                </c:pt>
                <c:pt idx="1193">
                  <c:v>43951</c:v>
                </c:pt>
                <c:pt idx="1194">
                  <c:v>43950</c:v>
                </c:pt>
                <c:pt idx="1195">
                  <c:v>43949</c:v>
                </c:pt>
                <c:pt idx="1196">
                  <c:v>43948</c:v>
                </c:pt>
                <c:pt idx="1197">
                  <c:v>43945</c:v>
                </c:pt>
                <c:pt idx="1198">
                  <c:v>43944</c:v>
                </c:pt>
                <c:pt idx="1199">
                  <c:v>43943</c:v>
                </c:pt>
                <c:pt idx="1200">
                  <c:v>43942</c:v>
                </c:pt>
                <c:pt idx="1201">
                  <c:v>43941</c:v>
                </c:pt>
                <c:pt idx="1202">
                  <c:v>43938</c:v>
                </c:pt>
                <c:pt idx="1203">
                  <c:v>43937</c:v>
                </c:pt>
                <c:pt idx="1204">
                  <c:v>43936</c:v>
                </c:pt>
                <c:pt idx="1205">
                  <c:v>43935</c:v>
                </c:pt>
                <c:pt idx="1206">
                  <c:v>43934</c:v>
                </c:pt>
                <c:pt idx="1207">
                  <c:v>43931</c:v>
                </c:pt>
                <c:pt idx="1208">
                  <c:v>43930</c:v>
                </c:pt>
                <c:pt idx="1209">
                  <c:v>43929</c:v>
                </c:pt>
                <c:pt idx="1210">
                  <c:v>43928</c:v>
                </c:pt>
                <c:pt idx="1211">
                  <c:v>43927</c:v>
                </c:pt>
                <c:pt idx="1212">
                  <c:v>43924</c:v>
                </c:pt>
                <c:pt idx="1213">
                  <c:v>43923</c:v>
                </c:pt>
                <c:pt idx="1214">
                  <c:v>43922</c:v>
                </c:pt>
                <c:pt idx="1215">
                  <c:v>43921</c:v>
                </c:pt>
                <c:pt idx="1216">
                  <c:v>43920</c:v>
                </c:pt>
                <c:pt idx="1217">
                  <c:v>43917</c:v>
                </c:pt>
                <c:pt idx="1218">
                  <c:v>43916</c:v>
                </c:pt>
                <c:pt idx="1219">
                  <c:v>43915</c:v>
                </c:pt>
                <c:pt idx="1220">
                  <c:v>43914</c:v>
                </c:pt>
                <c:pt idx="1221">
                  <c:v>43913</c:v>
                </c:pt>
                <c:pt idx="1222">
                  <c:v>43910</c:v>
                </c:pt>
                <c:pt idx="1223">
                  <c:v>43909</c:v>
                </c:pt>
                <c:pt idx="1224">
                  <c:v>43908</c:v>
                </c:pt>
                <c:pt idx="1225">
                  <c:v>43907</c:v>
                </c:pt>
                <c:pt idx="1226">
                  <c:v>43906</c:v>
                </c:pt>
                <c:pt idx="1227">
                  <c:v>43903</c:v>
                </c:pt>
                <c:pt idx="1228">
                  <c:v>43902</c:v>
                </c:pt>
                <c:pt idx="1229">
                  <c:v>43901</c:v>
                </c:pt>
                <c:pt idx="1230">
                  <c:v>43900</c:v>
                </c:pt>
                <c:pt idx="1231">
                  <c:v>43899</c:v>
                </c:pt>
                <c:pt idx="1232">
                  <c:v>43896</c:v>
                </c:pt>
                <c:pt idx="1233">
                  <c:v>43895</c:v>
                </c:pt>
                <c:pt idx="1234">
                  <c:v>43894</c:v>
                </c:pt>
                <c:pt idx="1235">
                  <c:v>43893</c:v>
                </c:pt>
                <c:pt idx="1236">
                  <c:v>43892</c:v>
                </c:pt>
                <c:pt idx="1237">
                  <c:v>43889</c:v>
                </c:pt>
                <c:pt idx="1238">
                  <c:v>43888</c:v>
                </c:pt>
                <c:pt idx="1239">
                  <c:v>43887</c:v>
                </c:pt>
                <c:pt idx="1240">
                  <c:v>43886</c:v>
                </c:pt>
                <c:pt idx="1241">
                  <c:v>43885</c:v>
                </c:pt>
                <c:pt idx="1242">
                  <c:v>43882</c:v>
                </c:pt>
                <c:pt idx="1243">
                  <c:v>43881</c:v>
                </c:pt>
                <c:pt idx="1244">
                  <c:v>43880</c:v>
                </c:pt>
                <c:pt idx="1245">
                  <c:v>43879</c:v>
                </c:pt>
                <c:pt idx="1246">
                  <c:v>43878</c:v>
                </c:pt>
                <c:pt idx="1247">
                  <c:v>43875</c:v>
                </c:pt>
                <c:pt idx="1248">
                  <c:v>43874</c:v>
                </c:pt>
                <c:pt idx="1249">
                  <c:v>43873</c:v>
                </c:pt>
                <c:pt idx="1250">
                  <c:v>43872</c:v>
                </c:pt>
                <c:pt idx="1251">
                  <c:v>43871</c:v>
                </c:pt>
                <c:pt idx="1252">
                  <c:v>43868</c:v>
                </c:pt>
                <c:pt idx="1253">
                  <c:v>43867</c:v>
                </c:pt>
                <c:pt idx="1254">
                  <c:v>43866</c:v>
                </c:pt>
                <c:pt idx="1255">
                  <c:v>43865</c:v>
                </c:pt>
                <c:pt idx="1256">
                  <c:v>43864</c:v>
                </c:pt>
                <c:pt idx="1257">
                  <c:v>43861</c:v>
                </c:pt>
                <c:pt idx="1258">
                  <c:v>43860</c:v>
                </c:pt>
                <c:pt idx="1259">
                  <c:v>43859</c:v>
                </c:pt>
                <c:pt idx="1260">
                  <c:v>43858</c:v>
                </c:pt>
                <c:pt idx="1261">
                  <c:v>43857</c:v>
                </c:pt>
                <c:pt idx="1262">
                  <c:v>43854</c:v>
                </c:pt>
                <c:pt idx="1263">
                  <c:v>43853</c:v>
                </c:pt>
                <c:pt idx="1264">
                  <c:v>43852</c:v>
                </c:pt>
                <c:pt idx="1265">
                  <c:v>43851</c:v>
                </c:pt>
                <c:pt idx="1266">
                  <c:v>43850</c:v>
                </c:pt>
                <c:pt idx="1267">
                  <c:v>43847</c:v>
                </c:pt>
                <c:pt idx="1268">
                  <c:v>43846</c:v>
                </c:pt>
                <c:pt idx="1269">
                  <c:v>43845</c:v>
                </c:pt>
                <c:pt idx="1270">
                  <c:v>43844</c:v>
                </c:pt>
                <c:pt idx="1271">
                  <c:v>43843</c:v>
                </c:pt>
                <c:pt idx="1272">
                  <c:v>43840</c:v>
                </c:pt>
                <c:pt idx="1273">
                  <c:v>43839</c:v>
                </c:pt>
                <c:pt idx="1274">
                  <c:v>43838</c:v>
                </c:pt>
                <c:pt idx="1275">
                  <c:v>43837</c:v>
                </c:pt>
                <c:pt idx="1276">
                  <c:v>43836</c:v>
                </c:pt>
                <c:pt idx="1277">
                  <c:v>43833</c:v>
                </c:pt>
                <c:pt idx="1278">
                  <c:v>43832</c:v>
                </c:pt>
                <c:pt idx="1279">
                  <c:v>43831</c:v>
                </c:pt>
              </c:numCache>
            </c:numRef>
          </c:cat>
          <c:val>
            <c:numRef>
              <c:f>Sheet1!$P$7:$P$1286</c:f>
              <c:numCache>
                <c:formatCode>General</c:formatCode>
                <c:ptCount val="1280"/>
                <c:pt idx="0">
                  <c:v>5987.37</c:v>
                </c:pt>
                <c:pt idx="1">
                  <c:v>5987.37</c:v>
                </c:pt>
                <c:pt idx="2">
                  <c:v>5969.34</c:v>
                </c:pt>
                <c:pt idx="3">
                  <c:v>5948.71</c:v>
                </c:pt>
                <c:pt idx="4">
                  <c:v>5917.11</c:v>
                </c:pt>
                <c:pt idx="5">
                  <c:v>5916.98</c:v>
                </c:pt>
                <c:pt idx="6">
                  <c:v>5893.62</c:v>
                </c:pt>
                <c:pt idx="7">
                  <c:v>5870.62</c:v>
                </c:pt>
                <c:pt idx="8">
                  <c:v>5949.17</c:v>
                </c:pt>
                <c:pt idx="9">
                  <c:v>5985.38</c:v>
                </c:pt>
                <c:pt idx="10">
                  <c:v>5983.99</c:v>
                </c:pt>
                <c:pt idx="11">
                  <c:v>6001.35</c:v>
                </c:pt>
                <c:pt idx="12">
                  <c:v>5995.54</c:v>
                </c:pt>
                <c:pt idx="13">
                  <c:v>5973.1</c:v>
                </c:pt>
                <c:pt idx="14">
                  <c:v>5929.04</c:v>
                </c:pt>
                <c:pt idx="15">
                  <c:v>5782.76</c:v>
                </c:pt>
                <c:pt idx="16">
                  <c:v>5712.69</c:v>
                </c:pt>
                <c:pt idx="17">
                  <c:v>5728.8</c:v>
                </c:pt>
                <c:pt idx="18">
                  <c:v>5705.45</c:v>
                </c:pt>
                <c:pt idx="19">
                  <c:v>5813.67</c:v>
                </c:pt>
                <c:pt idx="20">
                  <c:v>5832.92</c:v>
                </c:pt>
                <c:pt idx="21">
                  <c:v>5823.52</c:v>
                </c:pt>
                <c:pt idx="22">
                  <c:v>5808.12</c:v>
                </c:pt>
                <c:pt idx="23">
                  <c:v>5809.86</c:v>
                </c:pt>
                <c:pt idx="24">
                  <c:v>5797.42</c:v>
                </c:pt>
                <c:pt idx="25">
                  <c:v>5851.2</c:v>
                </c:pt>
                <c:pt idx="26">
                  <c:v>5853.98</c:v>
                </c:pt>
                <c:pt idx="27">
                  <c:v>5864.67</c:v>
                </c:pt>
                <c:pt idx="28">
                  <c:v>5841.47</c:v>
                </c:pt>
                <c:pt idx="29">
                  <c:v>5842.47</c:v>
                </c:pt>
                <c:pt idx="30">
                  <c:v>5815.26</c:v>
                </c:pt>
                <c:pt idx="31">
                  <c:v>5859.85</c:v>
                </c:pt>
                <c:pt idx="32">
                  <c:v>5815.03</c:v>
                </c:pt>
                <c:pt idx="33">
                  <c:v>5780.05</c:v>
                </c:pt>
                <c:pt idx="34">
                  <c:v>5792.04</c:v>
                </c:pt>
                <c:pt idx="35">
                  <c:v>5751.13</c:v>
                </c:pt>
                <c:pt idx="36">
                  <c:v>5695.94</c:v>
                </c:pt>
                <c:pt idx="37">
                  <c:v>5751.07</c:v>
                </c:pt>
                <c:pt idx="38">
                  <c:v>5699.94</c:v>
                </c:pt>
                <c:pt idx="39">
                  <c:v>5709.54</c:v>
                </c:pt>
                <c:pt idx="40">
                  <c:v>5708.75</c:v>
                </c:pt>
                <c:pt idx="41">
                  <c:v>5762.48</c:v>
                </c:pt>
                <c:pt idx="42">
                  <c:v>5738.17</c:v>
                </c:pt>
                <c:pt idx="43">
                  <c:v>5745.37</c:v>
                </c:pt>
                <c:pt idx="44">
                  <c:v>5722.26</c:v>
                </c:pt>
                <c:pt idx="45">
                  <c:v>5732.93</c:v>
                </c:pt>
                <c:pt idx="46">
                  <c:v>5718.57</c:v>
                </c:pt>
                <c:pt idx="47">
                  <c:v>5702.55</c:v>
                </c:pt>
                <c:pt idx="48">
                  <c:v>5713.64</c:v>
                </c:pt>
                <c:pt idx="49">
                  <c:v>5618.26</c:v>
                </c:pt>
                <c:pt idx="50">
                  <c:v>5634.58</c:v>
                </c:pt>
                <c:pt idx="51">
                  <c:v>5633.09</c:v>
                </c:pt>
                <c:pt idx="52">
                  <c:v>5626.02</c:v>
                </c:pt>
                <c:pt idx="53">
                  <c:v>5595.76</c:v>
                </c:pt>
                <c:pt idx="54">
                  <c:v>5554.13</c:v>
                </c:pt>
                <c:pt idx="55">
                  <c:v>5495.52</c:v>
                </c:pt>
                <c:pt idx="56">
                  <c:v>5471.05</c:v>
                </c:pt>
                <c:pt idx="57">
                  <c:v>5408.42</c:v>
                </c:pt>
                <c:pt idx="58">
                  <c:v>5503.41</c:v>
                </c:pt>
                <c:pt idx="59">
                  <c:v>5520.07</c:v>
                </c:pt>
                <c:pt idx="60">
                  <c:v>5528.93</c:v>
                </c:pt>
                <c:pt idx="61">
                  <c:v>5648.4</c:v>
                </c:pt>
                <c:pt idx="62">
                  <c:v>5648.4</c:v>
                </c:pt>
                <c:pt idx="63">
                  <c:v>5591.96</c:v>
                </c:pt>
                <c:pt idx="64">
                  <c:v>5592.18</c:v>
                </c:pt>
                <c:pt idx="65">
                  <c:v>5625.8</c:v>
                </c:pt>
                <c:pt idx="66">
                  <c:v>5616.84</c:v>
                </c:pt>
                <c:pt idx="67">
                  <c:v>5634.61</c:v>
                </c:pt>
                <c:pt idx="68">
                  <c:v>5570.64</c:v>
                </c:pt>
                <c:pt idx="69">
                  <c:v>5620.85</c:v>
                </c:pt>
                <c:pt idx="70">
                  <c:v>5597.12</c:v>
                </c:pt>
                <c:pt idx="71">
                  <c:v>5608.25</c:v>
                </c:pt>
                <c:pt idx="72">
                  <c:v>5554.25</c:v>
                </c:pt>
                <c:pt idx="73">
                  <c:v>5543.22</c:v>
                </c:pt>
                <c:pt idx="74">
                  <c:v>5455.21</c:v>
                </c:pt>
                <c:pt idx="75">
                  <c:v>5434.43</c:v>
                </c:pt>
                <c:pt idx="76">
                  <c:v>5344.39</c:v>
                </c:pt>
                <c:pt idx="77">
                  <c:v>5344.16</c:v>
                </c:pt>
                <c:pt idx="78">
                  <c:v>5319.31</c:v>
                </c:pt>
                <c:pt idx="79">
                  <c:v>5199.5</c:v>
                </c:pt>
                <c:pt idx="80">
                  <c:v>5240.03</c:v>
                </c:pt>
                <c:pt idx="81">
                  <c:v>5186.33</c:v>
                </c:pt>
                <c:pt idx="82">
                  <c:v>5346.56</c:v>
                </c:pt>
                <c:pt idx="83">
                  <c:v>5446.68</c:v>
                </c:pt>
                <c:pt idx="84">
                  <c:v>5522.3</c:v>
                </c:pt>
                <c:pt idx="85">
                  <c:v>5436.44</c:v>
                </c:pt>
                <c:pt idx="86">
                  <c:v>5463.54</c:v>
                </c:pt>
                <c:pt idx="87">
                  <c:v>5459.1</c:v>
                </c:pt>
                <c:pt idx="88">
                  <c:v>5399.22</c:v>
                </c:pt>
                <c:pt idx="89">
                  <c:v>5427.13</c:v>
                </c:pt>
                <c:pt idx="90">
                  <c:v>5555.74</c:v>
                </c:pt>
                <c:pt idx="91">
                  <c:v>5564.41</c:v>
                </c:pt>
                <c:pt idx="92">
                  <c:v>5505</c:v>
                </c:pt>
                <c:pt idx="93">
                  <c:v>5544.59</c:v>
                </c:pt>
                <c:pt idx="94">
                  <c:v>5588.27</c:v>
                </c:pt>
                <c:pt idx="95">
                  <c:v>5667.2</c:v>
                </c:pt>
                <c:pt idx="96">
                  <c:v>5631.22</c:v>
                </c:pt>
                <c:pt idx="97">
                  <c:v>5615.35</c:v>
                </c:pt>
                <c:pt idx="98">
                  <c:v>5584.54</c:v>
                </c:pt>
                <c:pt idx="99">
                  <c:v>5633.91</c:v>
                </c:pt>
                <c:pt idx="100">
                  <c:v>5576.98</c:v>
                </c:pt>
                <c:pt idx="101">
                  <c:v>5572.85</c:v>
                </c:pt>
                <c:pt idx="102">
                  <c:v>5567.19</c:v>
                </c:pt>
                <c:pt idx="103">
                  <c:v>5537.02</c:v>
                </c:pt>
                <c:pt idx="104">
                  <c:v>5537.02</c:v>
                </c:pt>
                <c:pt idx="105">
                  <c:v>5509.01</c:v>
                </c:pt>
                <c:pt idx="106">
                  <c:v>5475.09</c:v>
                </c:pt>
                <c:pt idx="107">
                  <c:v>5460.48</c:v>
                </c:pt>
                <c:pt idx="108">
                  <c:v>5482.87</c:v>
                </c:pt>
                <c:pt idx="109">
                  <c:v>5477.9</c:v>
                </c:pt>
                <c:pt idx="110">
                  <c:v>5469.3</c:v>
                </c:pt>
                <c:pt idx="111">
                  <c:v>5447.87</c:v>
                </c:pt>
                <c:pt idx="112">
                  <c:v>5464.62</c:v>
                </c:pt>
                <c:pt idx="113">
                  <c:v>5473.17</c:v>
                </c:pt>
                <c:pt idx="114">
                  <c:v>5487.03</c:v>
                </c:pt>
                <c:pt idx="115">
                  <c:v>5487.03</c:v>
                </c:pt>
                <c:pt idx="116">
                  <c:v>5473.23</c:v>
                </c:pt>
                <c:pt idx="117">
                  <c:v>5431.6</c:v>
                </c:pt>
                <c:pt idx="118">
                  <c:v>5433.74</c:v>
                </c:pt>
                <c:pt idx="119">
                  <c:v>5421.03</c:v>
                </c:pt>
                <c:pt idx="120">
                  <c:v>5375.32</c:v>
                </c:pt>
                <c:pt idx="121">
                  <c:v>5360.79</c:v>
                </c:pt>
                <c:pt idx="122">
                  <c:v>5346.99</c:v>
                </c:pt>
                <c:pt idx="123">
                  <c:v>5352.96</c:v>
                </c:pt>
                <c:pt idx="124">
                  <c:v>5354.03</c:v>
                </c:pt>
                <c:pt idx="125">
                  <c:v>5291.34</c:v>
                </c:pt>
                <c:pt idx="126">
                  <c:v>5283.4</c:v>
                </c:pt>
                <c:pt idx="127">
                  <c:v>5277.51</c:v>
                </c:pt>
                <c:pt idx="128">
                  <c:v>5235.4799999999996</c:v>
                </c:pt>
                <c:pt idx="129">
                  <c:v>5266.95</c:v>
                </c:pt>
                <c:pt idx="130">
                  <c:v>5306.04</c:v>
                </c:pt>
                <c:pt idx="131">
                  <c:v>5304.72</c:v>
                </c:pt>
                <c:pt idx="132">
                  <c:v>5304.72</c:v>
                </c:pt>
                <c:pt idx="133">
                  <c:v>5267.84</c:v>
                </c:pt>
                <c:pt idx="134">
                  <c:v>5307.01</c:v>
                </c:pt>
                <c:pt idx="135">
                  <c:v>5321.41</c:v>
                </c:pt>
                <c:pt idx="136">
                  <c:v>5308.13</c:v>
                </c:pt>
                <c:pt idx="137">
                  <c:v>5303.27</c:v>
                </c:pt>
                <c:pt idx="138">
                  <c:v>5297.1</c:v>
                </c:pt>
                <c:pt idx="139">
                  <c:v>5308.15</c:v>
                </c:pt>
                <c:pt idx="140">
                  <c:v>5246.68</c:v>
                </c:pt>
                <c:pt idx="141">
                  <c:v>5221.42</c:v>
                </c:pt>
                <c:pt idx="142">
                  <c:v>5222.68</c:v>
                </c:pt>
                <c:pt idx="143">
                  <c:v>5214.08</c:v>
                </c:pt>
                <c:pt idx="144">
                  <c:v>5187.67</c:v>
                </c:pt>
                <c:pt idx="145">
                  <c:v>5187.7</c:v>
                </c:pt>
                <c:pt idx="146">
                  <c:v>5180.74</c:v>
                </c:pt>
                <c:pt idx="147">
                  <c:v>5127.79</c:v>
                </c:pt>
                <c:pt idx="148">
                  <c:v>5064.2</c:v>
                </c:pt>
                <c:pt idx="149">
                  <c:v>5018.3900000000003</c:v>
                </c:pt>
                <c:pt idx="150">
                  <c:v>5035.6899999999996</c:v>
                </c:pt>
                <c:pt idx="151">
                  <c:v>5116.17</c:v>
                </c:pt>
                <c:pt idx="152">
                  <c:v>5099.96</c:v>
                </c:pt>
                <c:pt idx="153">
                  <c:v>5048.42</c:v>
                </c:pt>
                <c:pt idx="154">
                  <c:v>5071.63</c:v>
                </c:pt>
                <c:pt idx="155">
                  <c:v>5070.55</c:v>
                </c:pt>
                <c:pt idx="156">
                  <c:v>5010.6000000000004</c:v>
                </c:pt>
                <c:pt idx="157">
                  <c:v>4967.2299999999996</c:v>
                </c:pt>
                <c:pt idx="158">
                  <c:v>5011.12</c:v>
                </c:pt>
                <c:pt idx="159">
                  <c:v>5022.21</c:v>
                </c:pt>
                <c:pt idx="160">
                  <c:v>5051.41</c:v>
                </c:pt>
                <c:pt idx="161">
                  <c:v>5061.82</c:v>
                </c:pt>
                <c:pt idx="162">
                  <c:v>5123.41</c:v>
                </c:pt>
                <c:pt idx="163">
                  <c:v>5199.0600000000004</c:v>
                </c:pt>
                <c:pt idx="164">
                  <c:v>5160.6400000000003</c:v>
                </c:pt>
                <c:pt idx="165">
                  <c:v>5209.91</c:v>
                </c:pt>
                <c:pt idx="166">
                  <c:v>5202.3900000000003</c:v>
                </c:pt>
                <c:pt idx="167">
                  <c:v>5204.34</c:v>
                </c:pt>
                <c:pt idx="168">
                  <c:v>5147.21</c:v>
                </c:pt>
                <c:pt idx="169">
                  <c:v>5211.49</c:v>
                </c:pt>
                <c:pt idx="170">
                  <c:v>5205.8100000000004</c:v>
                </c:pt>
                <c:pt idx="171">
                  <c:v>5243.77</c:v>
                </c:pt>
                <c:pt idx="172">
                  <c:v>5254.35</c:v>
                </c:pt>
                <c:pt idx="173">
                  <c:v>5254.35</c:v>
                </c:pt>
                <c:pt idx="174">
                  <c:v>5248.49</c:v>
                </c:pt>
                <c:pt idx="175">
                  <c:v>5203.58</c:v>
                </c:pt>
                <c:pt idx="176">
                  <c:v>5218.1899999999996</c:v>
                </c:pt>
                <c:pt idx="177">
                  <c:v>5234.18</c:v>
                </c:pt>
                <c:pt idx="178">
                  <c:v>5241.53</c:v>
                </c:pt>
                <c:pt idx="179">
                  <c:v>5224.62</c:v>
                </c:pt>
                <c:pt idx="180">
                  <c:v>5178.51</c:v>
                </c:pt>
                <c:pt idx="181">
                  <c:v>5149.42</c:v>
                </c:pt>
                <c:pt idx="182">
                  <c:v>5117.09</c:v>
                </c:pt>
                <c:pt idx="183">
                  <c:v>5150.4799999999996</c:v>
                </c:pt>
                <c:pt idx="184">
                  <c:v>5165.3100000000004</c:v>
                </c:pt>
                <c:pt idx="185">
                  <c:v>5175.2700000000004</c:v>
                </c:pt>
                <c:pt idx="186">
                  <c:v>5117.9399999999996</c:v>
                </c:pt>
                <c:pt idx="187">
                  <c:v>5123.6899999999996</c:v>
                </c:pt>
                <c:pt idx="188">
                  <c:v>5157.3599999999997</c:v>
                </c:pt>
                <c:pt idx="189">
                  <c:v>5104.76</c:v>
                </c:pt>
                <c:pt idx="190">
                  <c:v>5078.6499999999996</c:v>
                </c:pt>
                <c:pt idx="191">
                  <c:v>5130.95</c:v>
                </c:pt>
                <c:pt idx="192">
                  <c:v>5137.08</c:v>
                </c:pt>
                <c:pt idx="193">
                  <c:v>5096.2700000000004</c:v>
                </c:pt>
                <c:pt idx="194">
                  <c:v>5069.76</c:v>
                </c:pt>
                <c:pt idx="195">
                  <c:v>5078.18</c:v>
                </c:pt>
                <c:pt idx="196">
                  <c:v>5069.53</c:v>
                </c:pt>
                <c:pt idx="197">
                  <c:v>5088.8</c:v>
                </c:pt>
                <c:pt idx="198">
                  <c:v>5087.03</c:v>
                </c:pt>
                <c:pt idx="199">
                  <c:v>4981.8</c:v>
                </c:pt>
                <c:pt idx="200">
                  <c:v>4975.51</c:v>
                </c:pt>
                <c:pt idx="201">
                  <c:v>5005.57</c:v>
                </c:pt>
                <c:pt idx="202">
                  <c:v>5005.57</c:v>
                </c:pt>
                <c:pt idx="203">
                  <c:v>5029.7299999999996</c:v>
                </c:pt>
                <c:pt idx="204">
                  <c:v>5000.62</c:v>
                </c:pt>
                <c:pt idx="205">
                  <c:v>4953.17</c:v>
                </c:pt>
                <c:pt idx="206">
                  <c:v>5021.84</c:v>
                </c:pt>
                <c:pt idx="207">
                  <c:v>5026.6099999999997</c:v>
                </c:pt>
                <c:pt idx="208">
                  <c:v>4997.91</c:v>
                </c:pt>
                <c:pt idx="209">
                  <c:v>4995.0600000000004</c:v>
                </c:pt>
                <c:pt idx="210">
                  <c:v>4954.2299999999996</c:v>
                </c:pt>
                <c:pt idx="211">
                  <c:v>4942.8100000000004</c:v>
                </c:pt>
                <c:pt idx="212">
                  <c:v>4958.6099999999997</c:v>
                </c:pt>
                <c:pt idx="213">
                  <c:v>4906.1899999999996</c:v>
                </c:pt>
                <c:pt idx="214">
                  <c:v>4845.6499999999996</c:v>
                </c:pt>
                <c:pt idx="215">
                  <c:v>4924.97</c:v>
                </c:pt>
                <c:pt idx="216">
                  <c:v>4927.93</c:v>
                </c:pt>
                <c:pt idx="217">
                  <c:v>4890.97</c:v>
                </c:pt>
                <c:pt idx="218">
                  <c:v>4894.16</c:v>
                </c:pt>
                <c:pt idx="219">
                  <c:v>4868.55</c:v>
                </c:pt>
                <c:pt idx="220">
                  <c:v>4864.6000000000004</c:v>
                </c:pt>
                <c:pt idx="221">
                  <c:v>4850.43</c:v>
                </c:pt>
                <c:pt idx="222">
                  <c:v>4839.8100000000004</c:v>
                </c:pt>
                <c:pt idx="223">
                  <c:v>4780.9399999999996</c:v>
                </c:pt>
                <c:pt idx="224">
                  <c:v>4739.21</c:v>
                </c:pt>
                <c:pt idx="225">
                  <c:v>4765.9799999999996</c:v>
                </c:pt>
                <c:pt idx="226">
                  <c:v>4783.83</c:v>
                </c:pt>
                <c:pt idx="227">
                  <c:v>4783.83</c:v>
                </c:pt>
                <c:pt idx="228">
                  <c:v>4780.24</c:v>
                </c:pt>
                <c:pt idx="229">
                  <c:v>4783.45</c:v>
                </c:pt>
                <c:pt idx="230">
                  <c:v>4756.5</c:v>
                </c:pt>
                <c:pt idx="231">
                  <c:v>4763.54</c:v>
                </c:pt>
                <c:pt idx="232">
                  <c:v>4697.24</c:v>
                </c:pt>
                <c:pt idx="233">
                  <c:v>4688.68</c:v>
                </c:pt>
                <c:pt idx="234">
                  <c:v>4704.8100000000004</c:v>
                </c:pt>
                <c:pt idx="235">
                  <c:v>4742.83</c:v>
                </c:pt>
                <c:pt idx="236">
                  <c:v>4769.83</c:v>
                </c:pt>
                <c:pt idx="237">
                  <c:v>4769.83</c:v>
                </c:pt>
                <c:pt idx="238">
                  <c:v>4783.3500000000004</c:v>
                </c:pt>
                <c:pt idx="239">
                  <c:v>4781.58</c:v>
                </c:pt>
                <c:pt idx="240">
                  <c:v>4774.75</c:v>
                </c:pt>
                <c:pt idx="241">
                  <c:v>4754.63</c:v>
                </c:pt>
                <c:pt idx="242">
                  <c:v>4754.63</c:v>
                </c:pt>
                <c:pt idx="243">
                  <c:v>4746.75</c:v>
                </c:pt>
                <c:pt idx="244">
                  <c:v>4698.3500000000004</c:v>
                </c:pt>
                <c:pt idx="245">
                  <c:v>4768.37</c:v>
                </c:pt>
                <c:pt idx="246">
                  <c:v>4740.5600000000004</c:v>
                </c:pt>
                <c:pt idx="247">
                  <c:v>4719.1899999999996</c:v>
                </c:pt>
                <c:pt idx="248">
                  <c:v>4719.55</c:v>
                </c:pt>
                <c:pt idx="249">
                  <c:v>4707.09</c:v>
                </c:pt>
                <c:pt idx="250">
                  <c:v>4643.7</c:v>
                </c:pt>
                <c:pt idx="251">
                  <c:v>4622.4399999999996</c:v>
                </c:pt>
                <c:pt idx="252">
                  <c:v>4604.37</c:v>
                </c:pt>
                <c:pt idx="253">
                  <c:v>4585.59</c:v>
                </c:pt>
                <c:pt idx="254">
                  <c:v>4549.34</c:v>
                </c:pt>
                <c:pt idx="255">
                  <c:v>4567.18</c:v>
                </c:pt>
                <c:pt idx="256">
                  <c:v>4569.78</c:v>
                </c:pt>
                <c:pt idx="257">
                  <c:v>4594.63</c:v>
                </c:pt>
                <c:pt idx="258">
                  <c:v>4567.8</c:v>
                </c:pt>
                <c:pt idx="259">
                  <c:v>4550.58</c:v>
                </c:pt>
                <c:pt idx="260">
                  <c:v>4554.8900000000003</c:v>
                </c:pt>
                <c:pt idx="261">
                  <c:v>4550.43</c:v>
                </c:pt>
                <c:pt idx="262">
                  <c:v>4559.34</c:v>
                </c:pt>
                <c:pt idx="263">
                  <c:v>4556.62</c:v>
                </c:pt>
                <c:pt idx="264">
                  <c:v>4556.62</c:v>
                </c:pt>
                <c:pt idx="265">
                  <c:v>4538.1899999999996</c:v>
                </c:pt>
                <c:pt idx="266">
                  <c:v>4547.38</c:v>
                </c:pt>
                <c:pt idx="267">
                  <c:v>4514.0200000000004</c:v>
                </c:pt>
                <c:pt idx="268">
                  <c:v>4508.24</c:v>
                </c:pt>
                <c:pt idx="269">
                  <c:v>4502.88</c:v>
                </c:pt>
                <c:pt idx="270">
                  <c:v>4495.7</c:v>
                </c:pt>
                <c:pt idx="271">
                  <c:v>4411.55</c:v>
                </c:pt>
                <c:pt idx="272">
                  <c:v>4415.24</c:v>
                </c:pt>
                <c:pt idx="273">
                  <c:v>4347.3500000000004</c:v>
                </c:pt>
                <c:pt idx="274">
                  <c:v>4382.78</c:v>
                </c:pt>
                <c:pt idx="275">
                  <c:v>4378.38</c:v>
                </c:pt>
                <c:pt idx="276">
                  <c:v>4365.9799999999996</c:v>
                </c:pt>
                <c:pt idx="277">
                  <c:v>4358.34</c:v>
                </c:pt>
                <c:pt idx="278">
                  <c:v>4317.78</c:v>
                </c:pt>
                <c:pt idx="279">
                  <c:v>4237.8599999999997</c:v>
                </c:pt>
                <c:pt idx="280">
                  <c:v>4193.8</c:v>
                </c:pt>
                <c:pt idx="281">
                  <c:v>4166.82</c:v>
                </c:pt>
                <c:pt idx="282">
                  <c:v>4117.37</c:v>
                </c:pt>
                <c:pt idx="283">
                  <c:v>4137.2299999999996</c:v>
                </c:pt>
                <c:pt idx="284">
                  <c:v>4186.7700000000004</c:v>
                </c:pt>
                <c:pt idx="285">
                  <c:v>4247.68</c:v>
                </c:pt>
                <c:pt idx="286">
                  <c:v>4217.04</c:v>
                </c:pt>
                <c:pt idx="287">
                  <c:v>4224.16</c:v>
                </c:pt>
                <c:pt idx="288">
                  <c:v>4278</c:v>
                </c:pt>
                <c:pt idx="289">
                  <c:v>4314.6000000000004</c:v>
                </c:pt>
                <c:pt idx="290">
                  <c:v>4373.2</c:v>
                </c:pt>
                <c:pt idx="291">
                  <c:v>4373.63</c:v>
                </c:pt>
                <c:pt idx="292">
                  <c:v>4327.78</c:v>
                </c:pt>
                <c:pt idx="293">
                  <c:v>4349.6099999999997</c:v>
                </c:pt>
                <c:pt idx="294">
                  <c:v>4376.95</c:v>
                </c:pt>
                <c:pt idx="295">
                  <c:v>4358.24</c:v>
                </c:pt>
                <c:pt idx="296">
                  <c:v>4335.66</c:v>
                </c:pt>
                <c:pt idx="297">
                  <c:v>4308.5</c:v>
                </c:pt>
                <c:pt idx="298">
                  <c:v>4258.1899999999996</c:v>
                </c:pt>
                <c:pt idx="299">
                  <c:v>4263.75</c:v>
                </c:pt>
                <c:pt idx="300">
                  <c:v>4229.45</c:v>
                </c:pt>
                <c:pt idx="301">
                  <c:v>4288.3900000000003</c:v>
                </c:pt>
                <c:pt idx="302">
                  <c:v>4288.05</c:v>
                </c:pt>
                <c:pt idx="303">
                  <c:v>4299.7</c:v>
                </c:pt>
                <c:pt idx="304">
                  <c:v>4274.51</c:v>
                </c:pt>
                <c:pt idx="305">
                  <c:v>4273.53</c:v>
                </c:pt>
                <c:pt idx="306">
                  <c:v>4337.4399999999996</c:v>
                </c:pt>
                <c:pt idx="307">
                  <c:v>4320.0600000000004</c:v>
                </c:pt>
                <c:pt idx="308">
                  <c:v>4330</c:v>
                </c:pt>
                <c:pt idx="309">
                  <c:v>4402.2</c:v>
                </c:pt>
                <c:pt idx="310">
                  <c:v>4443.95</c:v>
                </c:pt>
                <c:pt idx="311">
                  <c:v>4453.53</c:v>
                </c:pt>
                <c:pt idx="312">
                  <c:v>4450.32</c:v>
                </c:pt>
                <c:pt idx="313">
                  <c:v>4505.1000000000004</c:v>
                </c:pt>
                <c:pt idx="314">
                  <c:v>4467.4399999999996</c:v>
                </c:pt>
                <c:pt idx="315">
                  <c:v>4461.8999999999996</c:v>
                </c:pt>
                <c:pt idx="316">
                  <c:v>4487.46</c:v>
                </c:pt>
                <c:pt idx="317">
                  <c:v>4457.49</c:v>
                </c:pt>
                <c:pt idx="318">
                  <c:v>4451.1400000000003</c:v>
                </c:pt>
                <c:pt idx="319">
                  <c:v>4465.4799999999996</c:v>
                </c:pt>
                <c:pt idx="320">
                  <c:v>4496.83</c:v>
                </c:pt>
                <c:pt idx="321">
                  <c:v>4515.7700000000004</c:v>
                </c:pt>
                <c:pt idx="322">
                  <c:v>4515.7700000000004</c:v>
                </c:pt>
                <c:pt idx="323">
                  <c:v>4507.66</c:v>
                </c:pt>
                <c:pt idx="324">
                  <c:v>4514.87</c:v>
                </c:pt>
                <c:pt idx="325">
                  <c:v>4497.63</c:v>
                </c:pt>
                <c:pt idx="326">
                  <c:v>4433.3100000000004</c:v>
                </c:pt>
                <c:pt idx="327">
                  <c:v>4405.71</c:v>
                </c:pt>
                <c:pt idx="328">
                  <c:v>4376.3100000000004</c:v>
                </c:pt>
                <c:pt idx="329">
                  <c:v>4436.01</c:v>
                </c:pt>
                <c:pt idx="330">
                  <c:v>4387.55</c:v>
                </c:pt>
                <c:pt idx="331">
                  <c:v>4399.7700000000004</c:v>
                </c:pt>
                <c:pt idx="332">
                  <c:v>4369.71</c:v>
                </c:pt>
                <c:pt idx="333">
                  <c:v>4370.3599999999997</c:v>
                </c:pt>
                <c:pt idx="334">
                  <c:v>4404.33</c:v>
                </c:pt>
                <c:pt idx="335">
                  <c:v>4437.8599999999997</c:v>
                </c:pt>
                <c:pt idx="336">
                  <c:v>4489.72</c:v>
                </c:pt>
                <c:pt idx="337">
                  <c:v>4464.05</c:v>
                </c:pt>
                <c:pt idx="338">
                  <c:v>4468.83</c:v>
                </c:pt>
                <c:pt idx="339">
                  <c:v>4467.71</c:v>
                </c:pt>
                <c:pt idx="340">
                  <c:v>4499.38</c:v>
                </c:pt>
                <c:pt idx="341">
                  <c:v>4518.4399999999996</c:v>
                </c:pt>
                <c:pt idx="342">
                  <c:v>4478.03</c:v>
                </c:pt>
                <c:pt idx="343">
                  <c:v>4501.8900000000003</c:v>
                </c:pt>
                <c:pt idx="344">
                  <c:v>4513.3900000000003</c:v>
                </c:pt>
                <c:pt idx="345">
                  <c:v>4576.7299999999996</c:v>
                </c:pt>
                <c:pt idx="346">
                  <c:v>4588.96</c:v>
                </c:pt>
                <c:pt idx="347">
                  <c:v>4582.2299999999996</c:v>
                </c:pt>
                <c:pt idx="348">
                  <c:v>4537.41</c:v>
                </c:pt>
                <c:pt idx="349">
                  <c:v>4566.75</c:v>
                </c:pt>
                <c:pt idx="350">
                  <c:v>4567.46</c:v>
                </c:pt>
                <c:pt idx="351">
                  <c:v>4554.6400000000003</c:v>
                </c:pt>
                <c:pt idx="352">
                  <c:v>4536.34</c:v>
                </c:pt>
                <c:pt idx="353">
                  <c:v>4534.87</c:v>
                </c:pt>
                <c:pt idx="354">
                  <c:v>4565.72</c:v>
                </c:pt>
                <c:pt idx="355">
                  <c:v>4554.9799999999996</c:v>
                </c:pt>
                <c:pt idx="356">
                  <c:v>4522.79</c:v>
                </c:pt>
                <c:pt idx="357">
                  <c:v>4505.42</c:v>
                </c:pt>
                <c:pt idx="358">
                  <c:v>4510.04</c:v>
                </c:pt>
                <c:pt idx="359">
                  <c:v>4472.16</c:v>
                </c:pt>
                <c:pt idx="360">
                  <c:v>4439.26</c:v>
                </c:pt>
                <c:pt idx="361">
                  <c:v>4409.53</c:v>
                </c:pt>
                <c:pt idx="362">
                  <c:v>4398.95</c:v>
                </c:pt>
                <c:pt idx="363">
                  <c:v>4411.59</c:v>
                </c:pt>
                <c:pt idx="364">
                  <c:v>4446.82</c:v>
                </c:pt>
                <c:pt idx="365">
                  <c:v>4455.59</c:v>
                </c:pt>
                <c:pt idx="366">
                  <c:v>4455.59</c:v>
                </c:pt>
                <c:pt idx="367">
                  <c:v>4450.38</c:v>
                </c:pt>
                <c:pt idx="368">
                  <c:v>4396.4399999999996</c:v>
                </c:pt>
                <c:pt idx="369">
                  <c:v>4376.8599999999997</c:v>
                </c:pt>
                <c:pt idx="370">
                  <c:v>4378.41</c:v>
                </c:pt>
                <c:pt idx="371">
                  <c:v>4328.82</c:v>
                </c:pt>
                <c:pt idx="372">
                  <c:v>4348.33</c:v>
                </c:pt>
                <c:pt idx="373">
                  <c:v>4381.8900000000003</c:v>
                </c:pt>
                <c:pt idx="374">
                  <c:v>4365.6899999999996</c:v>
                </c:pt>
                <c:pt idx="375">
                  <c:v>4388.71</c:v>
                </c:pt>
                <c:pt idx="376">
                  <c:v>4409.59</c:v>
                </c:pt>
                <c:pt idx="377">
                  <c:v>4409.59</c:v>
                </c:pt>
                <c:pt idx="378">
                  <c:v>4425.84</c:v>
                </c:pt>
                <c:pt idx="379">
                  <c:v>4372.59</c:v>
                </c:pt>
                <c:pt idx="380">
                  <c:v>4369.01</c:v>
                </c:pt>
                <c:pt idx="381">
                  <c:v>4338.93</c:v>
                </c:pt>
                <c:pt idx="382">
                  <c:v>4298.8599999999997</c:v>
                </c:pt>
                <c:pt idx="383">
                  <c:v>4293.93</c:v>
                </c:pt>
                <c:pt idx="384">
                  <c:v>4267.5200000000004</c:v>
                </c:pt>
                <c:pt idx="385">
                  <c:v>4283.8500000000004</c:v>
                </c:pt>
                <c:pt idx="386">
                  <c:v>4273.79</c:v>
                </c:pt>
                <c:pt idx="387">
                  <c:v>4282.37</c:v>
                </c:pt>
                <c:pt idx="388">
                  <c:v>4221.0200000000004</c:v>
                </c:pt>
                <c:pt idx="389">
                  <c:v>4179.83</c:v>
                </c:pt>
                <c:pt idx="390">
                  <c:v>4205.5200000000004</c:v>
                </c:pt>
                <c:pt idx="391">
                  <c:v>4205.45</c:v>
                </c:pt>
                <c:pt idx="392">
                  <c:v>4205.45</c:v>
                </c:pt>
                <c:pt idx="393">
                  <c:v>4151.28</c:v>
                </c:pt>
                <c:pt idx="394">
                  <c:v>4115.24</c:v>
                </c:pt>
                <c:pt idx="395">
                  <c:v>4145.58</c:v>
                </c:pt>
                <c:pt idx="396">
                  <c:v>4192.63</c:v>
                </c:pt>
                <c:pt idx="397">
                  <c:v>4191.9799999999996</c:v>
                </c:pt>
                <c:pt idx="398">
                  <c:v>4198.05</c:v>
                </c:pt>
                <c:pt idx="399">
                  <c:v>4158.7700000000004</c:v>
                </c:pt>
                <c:pt idx="400">
                  <c:v>4109.8999999999996</c:v>
                </c:pt>
                <c:pt idx="401">
                  <c:v>4136.28</c:v>
                </c:pt>
                <c:pt idx="402">
                  <c:v>4124.08</c:v>
                </c:pt>
                <c:pt idx="403">
                  <c:v>4130.62</c:v>
                </c:pt>
                <c:pt idx="404">
                  <c:v>4137.6400000000003</c:v>
                </c:pt>
                <c:pt idx="405">
                  <c:v>4119.17</c:v>
                </c:pt>
                <c:pt idx="406">
                  <c:v>4138.12</c:v>
                </c:pt>
                <c:pt idx="407">
                  <c:v>4136.25</c:v>
                </c:pt>
                <c:pt idx="408">
                  <c:v>4061.22</c:v>
                </c:pt>
                <c:pt idx="409">
                  <c:v>4090.75</c:v>
                </c:pt>
                <c:pt idx="410">
                  <c:v>4119.58</c:v>
                </c:pt>
                <c:pt idx="411">
                  <c:v>4167.87</c:v>
                </c:pt>
                <c:pt idx="412">
                  <c:v>4169.4799999999996</c:v>
                </c:pt>
                <c:pt idx="413">
                  <c:v>4135.3500000000004</c:v>
                </c:pt>
                <c:pt idx="414">
                  <c:v>4055.99</c:v>
                </c:pt>
                <c:pt idx="415">
                  <c:v>4071.63</c:v>
                </c:pt>
                <c:pt idx="416">
                  <c:v>4137.04</c:v>
                </c:pt>
                <c:pt idx="417">
                  <c:v>4133.5200000000004</c:v>
                </c:pt>
                <c:pt idx="418">
                  <c:v>4129.79</c:v>
                </c:pt>
                <c:pt idx="419">
                  <c:v>4154.5200000000004</c:v>
                </c:pt>
                <c:pt idx="420">
                  <c:v>4154.87</c:v>
                </c:pt>
                <c:pt idx="421">
                  <c:v>4151.32</c:v>
                </c:pt>
                <c:pt idx="422">
                  <c:v>4137.6400000000003</c:v>
                </c:pt>
                <c:pt idx="423">
                  <c:v>4146.22</c:v>
                </c:pt>
                <c:pt idx="424">
                  <c:v>4091.95</c:v>
                </c:pt>
                <c:pt idx="425">
                  <c:v>4108.9399999999996</c:v>
                </c:pt>
                <c:pt idx="426">
                  <c:v>4109.1099999999997</c:v>
                </c:pt>
                <c:pt idx="427">
                  <c:v>4105.0200000000004</c:v>
                </c:pt>
                <c:pt idx="428">
                  <c:v>4105.0200000000004</c:v>
                </c:pt>
                <c:pt idx="429">
                  <c:v>4090.38</c:v>
                </c:pt>
                <c:pt idx="430">
                  <c:v>4100.6000000000004</c:v>
                </c:pt>
                <c:pt idx="431">
                  <c:v>4124.51</c:v>
                </c:pt>
                <c:pt idx="432">
                  <c:v>4109.3100000000004</c:v>
                </c:pt>
                <c:pt idx="433">
                  <c:v>4050.83</c:v>
                </c:pt>
                <c:pt idx="434">
                  <c:v>4027.81</c:v>
                </c:pt>
                <c:pt idx="435">
                  <c:v>3971.27</c:v>
                </c:pt>
                <c:pt idx="436">
                  <c:v>3977.53</c:v>
                </c:pt>
                <c:pt idx="437">
                  <c:v>3970.99</c:v>
                </c:pt>
                <c:pt idx="438">
                  <c:v>3948.72</c:v>
                </c:pt>
                <c:pt idx="439">
                  <c:v>3936.97</c:v>
                </c:pt>
                <c:pt idx="440">
                  <c:v>4002.87</c:v>
                </c:pt>
                <c:pt idx="441">
                  <c:v>3951.57</c:v>
                </c:pt>
                <c:pt idx="442">
                  <c:v>3916.64</c:v>
                </c:pt>
                <c:pt idx="443">
                  <c:v>3960.28</c:v>
                </c:pt>
                <c:pt idx="444">
                  <c:v>3891.93</c:v>
                </c:pt>
                <c:pt idx="445">
                  <c:v>3919.29</c:v>
                </c:pt>
                <c:pt idx="446">
                  <c:v>3855.76</c:v>
                </c:pt>
                <c:pt idx="447">
                  <c:v>3861.59</c:v>
                </c:pt>
                <c:pt idx="448">
                  <c:v>3918.32</c:v>
                </c:pt>
                <c:pt idx="449">
                  <c:v>3992.01</c:v>
                </c:pt>
                <c:pt idx="450">
                  <c:v>3986.37</c:v>
                </c:pt>
                <c:pt idx="451">
                  <c:v>4048.42</c:v>
                </c:pt>
                <c:pt idx="452">
                  <c:v>4045.64</c:v>
                </c:pt>
                <c:pt idx="453">
                  <c:v>3981.35</c:v>
                </c:pt>
                <c:pt idx="454">
                  <c:v>3951.39</c:v>
                </c:pt>
                <c:pt idx="455">
                  <c:v>3970.15</c:v>
                </c:pt>
                <c:pt idx="456">
                  <c:v>3982.24</c:v>
                </c:pt>
                <c:pt idx="457">
                  <c:v>3970.04</c:v>
                </c:pt>
                <c:pt idx="458">
                  <c:v>4012.32</c:v>
                </c:pt>
                <c:pt idx="459">
                  <c:v>3991.05</c:v>
                </c:pt>
                <c:pt idx="460">
                  <c:v>3997.34</c:v>
                </c:pt>
                <c:pt idx="461">
                  <c:v>4079.09</c:v>
                </c:pt>
                <c:pt idx="462">
                  <c:v>4079.09</c:v>
                </c:pt>
                <c:pt idx="463">
                  <c:v>4090.41</c:v>
                </c:pt>
                <c:pt idx="464">
                  <c:v>4147.6000000000004</c:v>
                </c:pt>
                <c:pt idx="465">
                  <c:v>4136.13</c:v>
                </c:pt>
                <c:pt idx="466">
                  <c:v>4137.29</c:v>
                </c:pt>
                <c:pt idx="467">
                  <c:v>4090.46</c:v>
                </c:pt>
                <c:pt idx="468">
                  <c:v>4081.5</c:v>
                </c:pt>
                <c:pt idx="469">
                  <c:v>4117.8599999999997</c:v>
                </c:pt>
                <c:pt idx="470">
                  <c:v>4164</c:v>
                </c:pt>
                <c:pt idx="471">
                  <c:v>4111.08</c:v>
                </c:pt>
                <c:pt idx="472">
                  <c:v>4136.4799999999996</c:v>
                </c:pt>
                <c:pt idx="473">
                  <c:v>4179.76</c:v>
                </c:pt>
                <c:pt idx="474">
                  <c:v>4119.21</c:v>
                </c:pt>
                <c:pt idx="475">
                  <c:v>4076.6</c:v>
                </c:pt>
                <c:pt idx="476">
                  <c:v>4017.77</c:v>
                </c:pt>
                <c:pt idx="477">
                  <c:v>4070.56</c:v>
                </c:pt>
                <c:pt idx="478">
                  <c:v>4060.43</c:v>
                </c:pt>
                <c:pt idx="479">
                  <c:v>4016.22</c:v>
                </c:pt>
                <c:pt idx="480">
                  <c:v>4016.95</c:v>
                </c:pt>
                <c:pt idx="481">
                  <c:v>4019.81</c:v>
                </c:pt>
                <c:pt idx="482">
                  <c:v>3972.61</c:v>
                </c:pt>
                <c:pt idx="483">
                  <c:v>3898.85</c:v>
                </c:pt>
                <c:pt idx="484">
                  <c:v>3928.86</c:v>
                </c:pt>
                <c:pt idx="485">
                  <c:v>3990.97</c:v>
                </c:pt>
                <c:pt idx="486">
                  <c:v>3999.09</c:v>
                </c:pt>
                <c:pt idx="487">
                  <c:v>3999.09</c:v>
                </c:pt>
                <c:pt idx="488">
                  <c:v>3983.17</c:v>
                </c:pt>
                <c:pt idx="489">
                  <c:v>3969.61</c:v>
                </c:pt>
                <c:pt idx="490">
                  <c:v>3919.25</c:v>
                </c:pt>
                <c:pt idx="491">
                  <c:v>3892.09</c:v>
                </c:pt>
                <c:pt idx="492">
                  <c:v>3895.08</c:v>
                </c:pt>
                <c:pt idx="493">
                  <c:v>3808.1</c:v>
                </c:pt>
                <c:pt idx="494">
                  <c:v>3852.97</c:v>
                </c:pt>
                <c:pt idx="495">
                  <c:v>3824.14</c:v>
                </c:pt>
                <c:pt idx="496">
                  <c:v>3839.5</c:v>
                </c:pt>
                <c:pt idx="497">
                  <c:v>3839.5</c:v>
                </c:pt>
                <c:pt idx="498">
                  <c:v>3849.28</c:v>
                </c:pt>
                <c:pt idx="499">
                  <c:v>3783.22</c:v>
                </c:pt>
                <c:pt idx="500">
                  <c:v>3829.25</c:v>
                </c:pt>
                <c:pt idx="501">
                  <c:v>3844.82</c:v>
                </c:pt>
                <c:pt idx="502">
                  <c:v>3844.82</c:v>
                </c:pt>
                <c:pt idx="503">
                  <c:v>3822.39</c:v>
                </c:pt>
                <c:pt idx="504">
                  <c:v>3878.44</c:v>
                </c:pt>
                <c:pt idx="505">
                  <c:v>3821.62</c:v>
                </c:pt>
                <c:pt idx="506">
                  <c:v>3817.66</c:v>
                </c:pt>
                <c:pt idx="507">
                  <c:v>3852.36</c:v>
                </c:pt>
                <c:pt idx="508">
                  <c:v>3895.75</c:v>
                </c:pt>
                <c:pt idx="509">
                  <c:v>3995.32</c:v>
                </c:pt>
                <c:pt idx="510">
                  <c:v>4019.65</c:v>
                </c:pt>
                <c:pt idx="511">
                  <c:v>3990.56</c:v>
                </c:pt>
                <c:pt idx="512">
                  <c:v>3934.38</c:v>
                </c:pt>
                <c:pt idx="513">
                  <c:v>3963.51</c:v>
                </c:pt>
                <c:pt idx="514">
                  <c:v>3933.92</c:v>
                </c:pt>
                <c:pt idx="515">
                  <c:v>3941.26</c:v>
                </c:pt>
                <c:pt idx="516">
                  <c:v>3998.84</c:v>
                </c:pt>
                <c:pt idx="517">
                  <c:v>4071.7</c:v>
                </c:pt>
                <c:pt idx="518">
                  <c:v>4076.57</c:v>
                </c:pt>
                <c:pt idx="519">
                  <c:v>4080.11</c:v>
                </c:pt>
                <c:pt idx="520">
                  <c:v>3957.63</c:v>
                </c:pt>
                <c:pt idx="521">
                  <c:v>3963.94</c:v>
                </c:pt>
                <c:pt idx="522">
                  <c:v>4026.12</c:v>
                </c:pt>
                <c:pt idx="523">
                  <c:v>4027.26</c:v>
                </c:pt>
                <c:pt idx="524">
                  <c:v>4027.26</c:v>
                </c:pt>
                <c:pt idx="525">
                  <c:v>4003.58</c:v>
                </c:pt>
                <c:pt idx="526">
                  <c:v>3949.94</c:v>
                </c:pt>
                <c:pt idx="527">
                  <c:v>3965.34</c:v>
                </c:pt>
                <c:pt idx="528">
                  <c:v>3946.56</c:v>
                </c:pt>
                <c:pt idx="529">
                  <c:v>3958.79</c:v>
                </c:pt>
                <c:pt idx="530">
                  <c:v>3991.73</c:v>
                </c:pt>
                <c:pt idx="531">
                  <c:v>3957.25</c:v>
                </c:pt>
                <c:pt idx="532">
                  <c:v>3992.93</c:v>
                </c:pt>
                <c:pt idx="533">
                  <c:v>3956.37</c:v>
                </c:pt>
                <c:pt idx="534">
                  <c:v>3748.57</c:v>
                </c:pt>
                <c:pt idx="535">
                  <c:v>3828.11</c:v>
                </c:pt>
                <c:pt idx="536">
                  <c:v>3806.8</c:v>
                </c:pt>
                <c:pt idx="537">
                  <c:v>3770.55</c:v>
                </c:pt>
                <c:pt idx="538">
                  <c:v>3719.89</c:v>
                </c:pt>
                <c:pt idx="539">
                  <c:v>3759.69</c:v>
                </c:pt>
                <c:pt idx="540">
                  <c:v>3856.1</c:v>
                </c:pt>
                <c:pt idx="541">
                  <c:v>3871.98</c:v>
                </c:pt>
                <c:pt idx="542">
                  <c:v>3901.06</c:v>
                </c:pt>
                <c:pt idx="543">
                  <c:v>3807.3</c:v>
                </c:pt>
                <c:pt idx="544">
                  <c:v>3830.6</c:v>
                </c:pt>
                <c:pt idx="545">
                  <c:v>3859.11</c:v>
                </c:pt>
                <c:pt idx="546">
                  <c:v>3797.34</c:v>
                </c:pt>
                <c:pt idx="547">
                  <c:v>3752.75</c:v>
                </c:pt>
                <c:pt idx="548">
                  <c:v>3665.78</c:v>
                </c:pt>
                <c:pt idx="549">
                  <c:v>3695.16</c:v>
                </c:pt>
                <c:pt idx="550">
                  <c:v>3719.98</c:v>
                </c:pt>
                <c:pt idx="551">
                  <c:v>3677.95</c:v>
                </c:pt>
                <c:pt idx="552">
                  <c:v>3583.07</c:v>
                </c:pt>
                <c:pt idx="553">
                  <c:v>3669.91</c:v>
                </c:pt>
                <c:pt idx="554">
                  <c:v>3577.03</c:v>
                </c:pt>
                <c:pt idx="555">
                  <c:v>3588.84</c:v>
                </c:pt>
                <c:pt idx="556">
                  <c:v>3612.39</c:v>
                </c:pt>
                <c:pt idx="557">
                  <c:v>3639.66</c:v>
                </c:pt>
                <c:pt idx="558">
                  <c:v>3744.52</c:v>
                </c:pt>
                <c:pt idx="559">
                  <c:v>3783.28</c:v>
                </c:pt>
                <c:pt idx="560">
                  <c:v>3790.93</c:v>
                </c:pt>
                <c:pt idx="561">
                  <c:v>3678.43</c:v>
                </c:pt>
                <c:pt idx="562">
                  <c:v>3585.62</c:v>
                </c:pt>
                <c:pt idx="563">
                  <c:v>3640.47</c:v>
                </c:pt>
                <c:pt idx="564">
                  <c:v>3719.04</c:v>
                </c:pt>
                <c:pt idx="565">
                  <c:v>3647.29</c:v>
                </c:pt>
                <c:pt idx="566">
                  <c:v>3655.04</c:v>
                </c:pt>
                <c:pt idx="567">
                  <c:v>3693.23</c:v>
                </c:pt>
                <c:pt idx="568">
                  <c:v>3757.99</c:v>
                </c:pt>
                <c:pt idx="569">
                  <c:v>3789.93</c:v>
                </c:pt>
                <c:pt idx="570">
                  <c:v>3855.93</c:v>
                </c:pt>
                <c:pt idx="571">
                  <c:v>3899.89</c:v>
                </c:pt>
                <c:pt idx="572">
                  <c:v>3873.33</c:v>
                </c:pt>
                <c:pt idx="573">
                  <c:v>3901.35</c:v>
                </c:pt>
                <c:pt idx="574">
                  <c:v>3946.01</c:v>
                </c:pt>
                <c:pt idx="575">
                  <c:v>3932.69</c:v>
                </c:pt>
                <c:pt idx="576">
                  <c:v>4110.41</c:v>
                </c:pt>
                <c:pt idx="577">
                  <c:v>4067.36</c:v>
                </c:pt>
                <c:pt idx="578">
                  <c:v>4006.18</c:v>
                </c:pt>
                <c:pt idx="579">
                  <c:v>3979.87</c:v>
                </c:pt>
                <c:pt idx="580">
                  <c:v>3908.19</c:v>
                </c:pt>
                <c:pt idx="581">
                  <c:v>3924.26</c:v>
                </c:pt>
                <c:pt idx="582">
                  <c:v>3924.26</c:v>
                </c:pt>
                <c:pt idx="583">
                  <c:v>3966.85</c:v>
                </c:pt>
                <c:pt idx="584">
                  <c:v>3955</c:v>
                </c:pt>
                <c:pt idx="585">
                  <c:v>3986.16</c:v>
                </c:pt>
                <c:pt idx="586">
                  <c:v>4030.61</c:v>
                </c:pt>
                <c:pt idx="587">
                  <c:v>4057.66</c:v>
                </c:pt>
                <c:pt idx="588">
                  <c:v>4199.12</c:v>
                </c:pt>
                <c:pt idx="589">
                  <c:v>4140.7700000000004</c:v>
                </c:pt>
                <c:pt idx="590">
                  <c:v>4128.7299999999996</c:v>
                </c:pt>
                <c:pt idx="591">
                  <c:v>4137.99</c:v>
                </c:pt>
                <c:pt idx="592">
                  <c:v>4228.4799999999996</c:v>
                </c:pt>
                <c:pt idx="593">
                  <c:v>4283.74</c:v>
                </c:pt>
                <c:pt idx="594">
                  <c:v>4274.04</c:v>
                </c:pt>
                <c:pt idx="595">
                  <c:v>4305.2</c:v>
                </c:pt>
                <c:pt idx="596">
                  <c:v>4297.1400000000003</c:v>
                </c:pt>
                <c:pt idx="597">
                  <c:v>4280.1499999999996</c:v>
                </c:pt>
                <c:pt idx="598">
                  <c:v>4207.2700000000004</c:v>
                </c:pt>
                <c:pt idx="599">
                  <c:v>4210.24</c:v>
                </c:pt>
                <c:pt idx="600">
                  <c:v>4122.47</c:v>
                </c:pt>
                <c:pt idx="601">
                  <c:v>4140.0600000000004</c:v>
                </c:pt>
                <c:pt idx="602">
                  <c:v>4145.1899999999996</c:v>
                </c:pt>
                <c:pt idx="603">
                  <c:v>4151.9399999999996</c:v>
                </c:pt>
                <c:pt idx="604">
                  <c:v>4155.17</c:v>
                </c:pt>
                <c:pt idx="605">
                  <c:v>4091.19</c:v>
                </c:pt>
                <c:pt idx="606">
                  <c:v>4118.63</c:v>
                </c:pt>
                <c:pt idx="607">
                  <c:v>4130.29</c:v>
                </c:pt>
                <c:pt idx="608">
                  <c:v>4072.43</c:v>
                </c:pt>
                <c:pt idx="609">
                  <c:v>4023.61</c:v>
                </c:pt>
                <c:pt idx="610">
                  <c:v>3921.05</c:v>
                </c:pt>
                <c:pt idx="611">
                  <c:v>3966.84</c:v>
                </c:pt>
                <c:pt idx="612">
                  <c:v>3961.63</c:v>
                </c:pt>
                <c:pt idx="613">
                  <c:v>3998.95</c:v>
                </c:pt>
                <c:pt idx="614">
                  <c:v>3959.9</c:v>
                </c:pt>
                <c:pt idx="615">
                  <c:v>3936.69</c:v>
                </c:pt>
                <c:pt idx="616">
                  <c:v>3830.85</c:v>
                </c:pt>
                <c:pt idx="617">
                  <c:v>3863.16</c:v>
                </c:pt>
                <c:pt idx="618">
                  <c:v>3790.38</c:v>
                </c:pt>
                <c:pt idx="619">
                  <c:v>3801.78</c:v>
                </c:pt>
                <c:pt idx="620">
                  <c:v>3818.8</c:v>
                </c:pt>
                <c:pt idx="621">
                  <c:v>3854.43</c:v>
                </c:pt>
                <c:pt idx="622">
                  <c:v>3899.38</c:v>
                </c:pt>
                <c:pt idx="623">
                  <c:v>3902.62</c:v>
                </c:pt>
                <c:pt idx="624">
                  <c:v>3845.08</c:v>
                </c:pt>
                <c:pt idx="625">
                  <c:v>3831.39</c:v>
                </c:pt>
                <c:pt idx="626">
                  <c:v>3825.33</c:v>
                </c:pt>
                <c:pt idx="627">
                  <c:v>3825.33</c:v>
                </c:pt>
                <c:pt idx="628">
                  <c:v>3785.38</c:v>
                </c:pt>
                <c:pt idx="629">
                  <c:v>3818.83</c:v>
                </c:pt>
                <c:pt idx="630">
                  <c:v>3821.55</c:v>
                </c:pt>
                <c:pt idx="631">
                  <c:v>3900.11</c:v>
                </c:pt>
                <c:pt idx="632">
                  <c:v>3911.74</c:v>
                </c:pt>
                <c:pt idx="633">
                  <c:v>3795.73</c:v>
                </c:pt>
                <c:pt idx="634">
                  <c:v>3759.89</c:v>
                </c:pt>
                <c:pt idx="635">
                  <c:v>3764.79</c:v>
                </c:pt>
                <c:pt idx="636">
                  <c:v>3674.84</c:v>
                </c:pt>
                <c:pt idx="637">
                  <c:v>3674.84</c:v>
                </c:pt>
                <c:pt idx="638">
                  <c:v>3666.77</c:v>
                </c:pt>
                <c:pt idx="639">
                  <c:v>3789.99</c:v>
                </c:pt>
                <c:pt idx="640">
                  <c:v>3735.48</c:v>
                </c:pt>
                <c:pt idx="641">
                  <c:v>3749.63</c:v>
                </c:pt>
                <c:pt idx="642">
                  <c:v>3900.86</c:v>
                </c:pt>
                <c:pt idx="643">
                  <c:v>4017.82</c:v>
                </c:pt>
                <c:pt idx="644">
                  <c:v>4115.7700000000004</c:v>
                </c:pt>
                <c:pt idx="645">
                  <c:v>4160.68</c:v>
                </c:pt>
                <c:pt idx="646">
                  <c:v>4121.43</c:v>
                </c:pt>
                <c:pt idx="647">
                  <c:v>4108.54</c:v>
                </c:pt>
                <c:pt idx="648">
                  <c:v>4176.82</c:v>
                </c:pt>
                <c:pt idx="649">
                  <c:v>4101.2299999999996</c:v>
                </c:pt>
                <c:pt idx="650">
                  <c:v>4132.1499999999996</c:v>
                </c:pt>
                <c:pt idx="651">
                  <c:v>4158.24</c:v>
                </c:pt>
                <c:pt idx="652">
                  <c:v>4158.24</c:v>
                </c:pt>
                <c:pt idx="653">
                  <c:v>4057.84</c:v>
                </c:pt>
                <c:pt idx="654">
                  <c:v>3978.73</c:v>
                </c:pt>
                <c:pt idx="655">
                  <c:v>3941.48</c:v>
                </c:pt>
                <c:pt idx="656">
                  <c:v>3973.75</c:v>
                </c:pt>
                <c:pt idx="657">
                  <c:v>3901.36</c:v>
                </c:pt>
                <c:pt idx="658">
                  <c:v>3900.79</c:v>
                </c:pt>
                <c:pt idx="659">
                  <c:v>3923.68</c:v>
                </c:pt>
                <c:pt idx="660">
                  <c:v>4088.85</c:v>
                </c:pt>
                <c:pt idx="661">
                  <c:v>4008.01</c:v>
                </c:pt>
                <c:pt idx="662">
                  <c:v>4023.89</c:v>
                </c:pt>
                <c:pt idx="663">
                  <c:v>3930.08</c:v>
                </c:pt>
                <c:pt idx="664">
                  <c:v>3935.18</c:v>
                </c:pt>
                <c:pt idx="665">
                  <c:v>4001.05</c:v>
                </c:pt>
                <c:pt idx="666">
                  <c:v>3991.24</c:v>
                </c:pt>
                <c:pt idx="667">
                  <c:v>4123.34</c:v>
                </c:pt>
                <c:pt idx="668">
                  <c:v>4146.87</c:v>
                </c:pt>
                <c:pt idx="669">
                  <c:v>4300.17</c:v>
                </c:pt>
                <c:pt idx="670">
                  <c:v>4175.4799999999996</c:v>
                </c:pt>
                <c:pt idx="671">
                  <c:v>4155.38</c:v>
                </c:pt>
                <c:pt idx="672">
                  <c:v>4131.93</c:v>
                </c:pt>
                <c:pt idx="673">
                  <c:v>4287.5</c:v>
                </c:pt>
                <c:pt idx="674">
                  <c:v>4183.96</c:v>
                </c:pt>
                <c:pt idx="675">
                  <c:v>4175.2</c:v>
                </c:pt>
                <c:pt idx="676">
                  <c:v>4296.12</c:v>
                </c:pt>
                <c:pt idx="677">
                  <c:v>4271.78</c:v>
                </c:pt>
                <c:pt idx="678">
                  <c:v>4393.66</c:v>
                </c:pt>
                <c:pt idx="679">
                  <c:v>4459.45</c:v>
                </c:pt>
                <c:pt idx="680">
                  <c:v>4462.21</c:v>
                </c:pt>
                <c:pt idx="681">
                  <c:v>4391.6899999999996</c:v>
                </c:pt>
                <c:pt idx="682">
                  <c:v>4392.59</c:v>
                </c:pt>
                <c:pt idx="683">
                  <c:v>4392.59</c:v>
                </c:pt>
                <c:pt idx="684">
                  <c:v>4446.59</c:v>
                </c:pt>
                <c:pt idx="685">
                  <c:v>4397.45</c:v>
                </c:pt>
                <c:pt idx="686">
                  <c:v>4412.53</c:v>
                </c:pt>
                <c:pt idx="687">
                  <c:v>4488.28</c:v>
                </c:pt>
                <c:pt idx="688">
                  <c:v>4500.21</c:v>
                </c:pt>
                <c:pt idx="689">
                  <c:v>4481.1499999999996</c:v>
                </c:pt>
                <c:pt idx="690">
                  <c:v>4525.12</c:v>
                </c:pt>
                <c:pt idx="691">
                  <c:v>4582.6400000000003</c:v>
                </c:pt>
                <c:pt idx="692">
                  <c:v>4545.8599999999997</c:v>
                </c:pt>
                <c:pt idx="693">
                  <c:v>4530.41</c:v>
                </c:pt>
                <c:pt idx="694">
                  <c:v>4602.45</c:v>
                </c:pt>
                <c:pt idx="695">
                  <c:v>4631.6000000000004</c:v>
                </c:pt>
                <c:pt idx="696">
                  <c:v>4575.5200000000004</c:v>
                </c:pt>
                <c:pt idx="697">
                  <c:v>4543.0600000000004</c:v>
                </c:pt>
                <c:pt idx="698">
                  <c:v>4520.16</c:v>
                </c:pt>
                <c:pt idx="699">
                  <c:v>4456.24</c:v>
                </c:pt>
                <c:pt idx="700">
                  <c:v>4511.6099999999997</c:v>
                </c:pt>
                <c:pt idx="701">
                  <c:v>4461.18</c:v>
                </c:pt>
                <c:pt idx="702">
                  <c:v>4463.12</c:v>
                </c:pt>
                <c:pt idx="703">
                  <c:v>4411.67</c:v>
                </c:pt>
                <c:pt idx="704">
                  <c:v>4357.8599999999997</c:v>
                </c:pt>
                <c:pt idx="705">
                  <c:v>4262.45</c:v>
                </c:pt>
                <c:pt idx="706">
                  <c:v>4173.1099999999997</c:v>
                </c:pt>
                <c:pt idx="707">
                  <c:v>4204.3100000000004</c:v>
                </c:pt>
                <c:pt idx="708">
                  <c:v>4259.5200000000004</c:v>
                </c:pt>
                <c:pt idx="709">
                  <c:v>4277.88</c:v>
                </c:pt>
                <c:pt idx="710">
                  <c:v>4170.7</c:v>
                </c:pt>
                <c:pt idx="711">
                  <c:v>4201.09</c:v>
                </c:pt>
                <c:pt idx="712">
                  <c:v>4328.87</c:v>
                </c:pt>
                <c:pt idx="713">
                  <c:v>4363.49</c:v>
                </c:pt>
                <c:pt idx="714">
                  <c:v>4386.54</c:v>
                </c:pt>
                <c:pt idx="715">
                  <c:v>4306.26</c:v>
                </c:pt>
                <c:pt idx="716">
                  <c:v>4373.9399999999996</c:v>
                </c:pt>
                <c:pt idx="717">
                  <c:v>4384.6499999999996</c:v>
                </c:pt>
                <c:pt idx="718">
                  <c:v>4288.7</c:v>
                </c:pt>
                <c:pt idx="719">
                  <c:v>4225.5</c:v>
                </c:pt>
                <c:pt idx="720">
                  <c:v>4304.76</c:v>
                </c:pt>
                <c:pt idx="721">
                  <c:v>4348.87</c:v>
                </c:pt>
                <c:pt idx="722">
                  <c:v>4348.87</c:v>
                </c:pt>
                <c:pt idx="723">
                  <c:v>4380.26</c:v>
                </c:pt>
                <c:pt idx="724">
                  <c:v>4475.01</c:v>
                </c:pt>
                <c:pt idx="725">
                  <c:v>4471.07</c:v>
                </c:pt>
                <c:pt idx="726">
                  <c:v>4401.67</c:v>
                </c:pt>
                <c:pt idx="727">
                  <c:v>4418.6400000000003</c:v>
                </c:pt>
                <c:pt idx="728">
                  <c:v>4504.08</c:v>
                </c:pt>
                <c:pt idx="729">
                  <c:v>4587.18</c:v>
                </c:pt>
                <c:pt idx="730">
                  <c:v>4521.54</c:v>
                </c:pt>
                <c:pt idx="731">
                  <c:v>4483.87</c:v>
                </c:pt>
                <c:pt idx="732">
                  <c:v>4500.53</c:v>
                </c:pt>
                <c:pt idx="733">
                  <c:v>4477.4399999999996</c:v>
                </c:pt>
                <c:pt idx="734">
                  <c:v>4589.38</c:v>
                </c:pt>
                <c:pt idx="735">
                  <c:v>4546.54</c:v>
                </c:pt>
                <c:pt idx="736">
                  <c:v>4515.55</c:v>
                </c:pt>
                <c:pt idx="737">
                  <c:v>4431.8500000000004</c:v>
                </c:pt>
                <c:pt idx="738">
                  <c:v>4326.51</c:v>
                </c:pt>
                <c:pt idx="739">
                  <c:v>4349.93</c:v>
                </c:pt>
                <c:pt idx="740">
                  <c:v>4356.45</c:v>
                </c:pt>
                <c:pt idx="741">
                  <c:v>4410.13</c:v>
                </c:pt>
                <c:pt idx="742">
                  <c:v>4397.9399999999996</c:v>
                </c:pt>
                <c:pt idx="743">
                  <c:v>4482.7299999999996</c:v>
                </c:pt>
                <c:pt idx="744">
                  <c:v>4532.76</c:v>
                </c:pt>
                <c:pt idx="745">
                  <c:v>4577.1099999999997</c:v>
                </c:pt>
                <c:pt idx="746">
                  <c:v>4662.8500000000004</c:v>
                </c:pt>
                <c:pt idx="747">
                  <c:v>4662.8500000000004</c:v>
                </c:pt>
                <c:pt idx="748">
                  <c:v>4659.03</c:v>
                </c:pt>
                <c:pt idx="749">
                  <c:v>4726.3500000000004</c:v>
                </c:pt>
                <c:pt idx="750">
                  <c:v>4713.07</c:v>
                </c:pt>
                <c:pt idx="751">
                  <c:v>4670.29</c:v>
                </c:pt>
                <c:pt idx="752">
                  <c:v>4677.03</c:v>
                </c:pt>
                <c:pt idx="753">
                  <c:v>4696.05</c:v>
                </c:pt>
                <c:pt idx="754">
                  <c:v>4700.58</c:v>
                </c:pt>
                <c:pt idx="755">
                  <c:v>4793.54</c:v>
                </c:pt>
                <c:pt idx="756">
                  <c:v>4796.5600000000004</c:v>
                </c:pt>
                <c:pt idx="757">
                  <c:v>4766.18</c:v>
                </c:pt>
                <c:pt idx="758">
                  <c:v>4778.7299999999996</c:v>
                </c:pt>
                <c:pt idx="759">
                  <c:v>4793.0600000000004</c:v>
                </c:pt>
                <c:pt idx="760">
                  <c:v>4786.3500000000004</c:v>
                </c:pt>
                <c:pt idx="761">
                  <c:v>4791.1899999999996</c:v>
                </c:pt>
                <c:pt idx="762">
                  <c:v>4725.79</c:v>
                </c:pt>
                <c:pt idx="763">
                  <c:v>4725.79</c:v>
                </c:pt>
                <c:pt idx="764">
                  <c:v>4696.5600000000004</c:v>
                </c:pt>
                <c:pt idx="765">
                  <c:v>4649.2299999999996</c:v>
                </c:pt>
                <c:pt idx="766">
                  <c:v>4568.0200000000004</c:v>
                </c:pt>
                <c:pt idx="767">
                  <c:v>4620.6400000000003</c:v>
                </c:pt>
                <c:pt idx="768">
                  <c:v>4668.67</c:v>
                </c:pt>
                <c:pt idx="769">
                  <c:v>4709.8500000000004</c:v>
                </c:pt>
                <c:pt idx="770">
                  <c:v>4634.09</c:v>
                </c:pt>
                <c:pt idx="771">
                  <c:v>4668.97</c:v>
                </c:pt>
                <c:pt idx="772">
                  <c:v>4712.0200000000004</c:v>
                </c:pt>
                <c:pt idx="773">
                  <c:v>4667.45</c:v>
                </c:pt>
                <c:pt idx="774">
                  <c:v>4701.21</c:v>
                </c:pt>
                <c:pt idx="775">
                  <c:v>4686.75</c:v>
                </c:pt>
                <c:pt idx="776">
                  <c:v>4591.67</c:v>
                </c:pt>
                <c:pt idx="777">
                  <c:v>4538.43</c:v>
                </c:pt>
                <c:pt idx="778">
                  <c:v>4577.1000000000004</c:v>
                </c:pt>
                <c:pt idx="779">
                  <c:v>4513.04</c:v>
                </c:pt>
                <c:pt idx="780">
                  <c:v>4567</c:v>
                </c:pt>
                <c:pt idx="781">
                  <c:v>4655.2700000000004</c:v>
                </c:pt>
                <c:pt idx="782">
                  <c:v>4594.62</c:v>
                </c:pt>
                <c:pt idx="783">
                  <c:v>4701.46</c:v>
                </c:pt>
                <c:pt idx="784">
                  <c:v>4701.46</c:v>
                </c:pt>
                <c:pt idx="785">
                  <c:v>4690.7</c:v>
                </c:pt>
                <c:pt idx="786">
                  <c:v>4682.9399999999996</c:v>
                </c:pt>
                <c:pt idx="787">
                  <c:v>4697.96</c:v>
                </c:pt>
                <c:pt idx="788">
                  <c:v>4704.54</c:v>
                </c:pt>
                <c:pt idx="789">
                  <c:v>4688.67</c:v>
                </c:pt>
                <c:pt idx="790">
                  <c:v>4700.8999999999996</c:v>
                </c:pt>
                <c:pt idx="791">
                  <c:v>4682.8</c:v>
                </c:pt>
                <c:pt idx="792">
                  <c:v>4682.8500000000004</c:v>
                </c:pt>
                <c:pt idx="793">
                  <c:v>4649.2700000000004</c:v>
                </c:pt>
                <c:pt idx="794">
                  <c:v>4646.71</c:v>
                </c:pt>
                <c:pt idx="795">
                  <c:v>4685.25</c:v>
                </c:pt>
                <c:pt idx="796">
                  <c:v>4701.7</c:v>
                </c:pt>
                <c:pt idx="797">
                  <c:v>4697.53</c:v>
                </c:pt>
                <c:pt idx="798">
                  <c:v>4680.0600000000004</c:v>
                </c:pt>
                <c:pt idx="799">
                  <c:v>4660.57</c:v>
                </c:pt>
                <c:pt idx="800">
                  <c:v>4630.6499999999996</c:v>
                </c:pt>
                <c:pt idx="801">
                  <c:v>4613.67</c:v>
                </c:pt>
                <c:pt idx="802">
                  <c:v>4605.38</c:v>
                </c:pt>
                <c:pt idx="803">
                  <c:v>4596.42</c:v>
                </c:pt>
                <c:pt idx="804">
                  <c:v>4551.68</c:v>
                </c:pt>
                <c:pt idx="805">
                  <c:v>4574.79</c:v>
                </c:pt>
                <c:pt idx="806">
                  <c:v>4566.4799999999996</c:v>
                </c:pt>
                <c:pt idx="807">
                  <c:v>4544.8999999999996</c:v>
                </c:pt>
                <c:pt idx="808">
                  <c:v>4549.78</c:v>
                </c:pt>
                <c:pt idx="809">
                  <c:v>4536.1899999999996</c:v>
                </c:pt>
                <c:pt idx="810">
                  <c:v>4519.63</c:v>
                </c:pt>
                <c:pt idx="811">
                  <c:v>4486.46</c:v>
                </c:pt>
                <c:pt idx="812">
                  <c:v>4471.37</c:v>
                </c:pt>
                <c:pt idx="813">
                  <c:v>4438.26</c:v>
                </c:pt>
                <c:pt idx="814">
                  <c:v>4363.8</c:v>
                </c:pt>
                <c:pt idx="815">
                  <c:v>4350.6499999999996</c:v>
                </c:pt>
                <c:pt idx="816">
                  <c:v>4361.1899999999996</c:v>
                </c:pt>
                <c:pt idx="817">
                  <c:v>4391.34</c:v>
                </c:pt>
                <c:pt idx="818">
                  <c:v>4399.76</c:v>
                </c:pt>
                <c:pt idx="819">
                  <c:v>4363.55</c:v>
                </c:pt>
                <c:pt idx="820">
                  <c:v>4345.72</c:v>
                </c:pt>
                <c:pt idx="821">
                  <c:v>4300.46</c:v>
                </c:pt>
                <c:pt idx="822">
                  <c:v>4357.04</c:v>
                </c:pt>
                <c:pt idx="823">
                  <c:v>4307.54</c:v>
                </c:pt>
                <c:pt idx="824">
                  <c:v>4359.46</c:v>
                </c:pt>
                <c:pt idx="825">
                  <c:v>4352.63</c:v>
                </c:pt>
                <c:pt idx="826">
                  <c:v>4443.1099999999997</c:v>
                </c:pt>
                <c:pt idx="827">
                  <c:v>4455.4799999999996</c:v>
                </c:pt>
                <c:pt idx="828">
                  <c:v>4448.9799999999996</c:v>
                </c:pt>
                <c:pt idx="829">
                  <c:v>4395.6400000000003</c:v>
                </c:pt>
                <c:pt idx="830">
                  <c:v>4354.1899999999996</c:v>
                </c:pt>
                <c:pt idx="831">
                  <c:v>4357.7299999999996</c:v>
                </c:pt>
                <c:pt idx="832">
                  <c:v>4432.99</c:v>
                </c:pt>
                <c:pt idx="833">
                  <c:v>4473.75</c:v>
                </c:pt>
                <c:pt idx="834">
                  <c:v>4480.7</c:v>
                </c:pt>
                <c:pt idx="835">
                  <c:v>4443.05</c:v>
                </c:pt>
                <c:pt idx="836">
                  <c:v>4468.7299999999996</c:v>
                </c:pt>
                <c:pt idx="837">
                  <c:v>4458.58</c:v>
                </c:pt>
                <c:pt idx="838">
                  <c:v>4493.28</c:v>
                </c:pt>
                <c:pt idx="839">
                  <c:v>4514.07</c:v>
                </c:pt>
                <c:pt idx="840">
                  <c:v>4520.03</c:v>
                </c:pt>
                <c:pt idx="841">
                  <c:v>4535.43</c:v>
                </c:pt>
                <c:pt idx="842">
                  <c:v>4535.43</c:v>
                </c:pt>
                <c:pt idx="843">
                  <c:v>4536.95</c:v>
                </c:pt>
                <c:pt idx="844">
                  <c:v>4524.09</c:v>
                </c:pt>
                <c:pt idx="845">
                  <c:v>4522.68</c:v>
                </c:pt>
                <c:pt idx="846">
                  <c:v>4528.79</c:v>
                </c:pt>
                <c:pt idx="847">
                  <c:v>4509.37</c:v>
                </c:pt>
                <c:pt idx="848">
                  <c:v>4470</c:v>
                </c:pt>
                <c:pt idx="849">
                  <c:v>4496.1899999999996</c:v>
                </c:pt>
                <c:pt idx="850">
                  <c:v>4486.2299999999996</c:v>
                </c:pt>
                <c:pt idx="851">
                  <c:v>4479.53</c:v>
                </c:pt>
                <c:pt idx="852">
                  <c:v>4441.67</c:v>
                </c:pt>
                <c:pt idx="853">
                  <c:v>4405.8</c:v>
                </c:pt>
                <c:pt idx="854">
                  <c:v>4400.2700000000004</c:v>
                </c:pt>
                <c:pt idx="855">
                  <c:v>4448.08</c:v>
                </c:pt>
                <c:pt idx="856">
                  <c:v>4479.71</c:v>
                </c:pt>
                <c:pt idx="857">
                  <c:v>4468</c:v>
                </c:pt>
                <c:pt idx="858">
                  <c:v>4460.83</c:v>
                </c:pt>
                <c:pt idx="859">
                  <c:v>4447.7</c:v>
                </c:pt>
                <c:pt idx="860">
                  <c:v>4436.75</c:v>
                </c:pt>
                <c:pt idx="861">
                  <c:v>4432.3500000000004</c:v>
                </c:pt>
                <c:pt idx="862">
                  <c:v>4436.5200000000004</c:v>
                </c:pt>
                <c:pt idx="863">
                  <c:v>4429.1000000000004</c:v>
                </c:pt>
                <c:pt idx="864">
                  <c:v>4402.66</c:v>
                </c:pt>
                <c:pt idx="865">
                  <c:v>4423.1499999999996</c:v>
                </c:pt>
                <c:pt idx="866">
                  <c:v>4387.16</c:v>
                </c:pt>
                <c:pt idx="867">
                  <c:v>4395.26</c:v>
                </c:pt>
                <c:pt idx="868">
                  <c:v>4419.1499999999996</c:v>
                </c:pt>
                <c:pt idx="869">
                  <c:v>4400.6400000000003</c:v>
                </c:pt>
                <c:pt idx="870">
                  <c:v>4401.46</c:v>
                </c:pt>
                <c:pt idx="871">
                  <c:v>4422.3</c:v>
                </c:pt>
                <c:pt idx="872">
                  <c:v>4411.79</c:v>
                </c:pt>
                <c:pt idx="873">
                  <c:v>4367.4799999999996</c:v>
                </c:pt>
                <c:pt idx="874">
                  <c:v>4358.6899999999996</c:v>
                </c:pt>
                <c:pt idx="875">
                  <c:v>4323.0600000000004</c:v>
                </c:pt>
                <c:pt idx="876">
                  <c:v>4258.49</c:v>
                </c:pt>
                <c:pt idx="877">
                  <c:v>4327.16</c:v>
                </c:pt>
                <c:pt idx="878">
                  <c:v>4360.03</c:v>
                </c:pt>
                <c:pt idx="879">
                  <c:v>4374.3</c:v>
                </c:pt>
                <c:pt idx="880">
                  <c:v>4369.21</c:v>
                </c:pt>
                <c:pt idx="881">
                  <c:v>4384.63</c:v>
                </c:pt>
                <c:pt idx="882">
                  <c:v>4369.55</c:v>
                </c:pt>
                <c:pt idx="883">
                  <c:v>4320.82</c:v>
                </c:pt>
                <c:pt idx="884">
                  <c:v>4358.13</c:v>
                </c:pt>
                <c:pt idx="885">
                  <c:v>4343.54</c:v>
                </c:pt>
                <c:pt idx="886">
                  <c:v>4352.34</c:v>
                </c:pt>
                <c:pt idx="887">
                  <c:v>4352.34</c:v>
                </c:pt>
                <c:pt idx="888">
                  <c:v>4319.9399999999996</c:v>
                </c:pt>
                <c:pt idx="889">
                  <c:v>4297.5</c:v>
                </c:pt>
                <c:pt idx="890">
                  <c:v>4291.8</c:v>
                </c:pt>
                <c:pt idx="891">
                  <c:v>4290.6099999999997</c:v>
                </c:pt>
                <c:pt idx="892">
                  <c:v>4280.7</c:v>
                </c:pt>
                <c:pt idx="893">
                  <c:v>4266.49</c:v>
                </c:pt>
                <c:pt idx="894">
                  <c:v>4241.84</c:v>
                </c:pt>
                <c:pt idx="895">
                  <c:v>4246.4399999999996</c:v>
                </c:pt>
                <c:pt idx="896">
                  <c:v>4224.79</c:v>
                </c:pt>
                <c:pt idx="897">
                  <c:v>4166.45</c:v>
                </c:pt>
                <c:pt idx="898">
                  <c:v>4221.8599999999997</c:v>
                </c:pt>
                <c:pt idx="899">
                  <c:v>4223.7</c:v>
                </c:pt>
                <c:pt idx="900">
                  <c:v>4246.59</c:v>
                </c:pt>
                <c:pt idx="901">
                  <c:v>4255.1499999999996</c:v>
                </c:pt>
                <c:pt idx="902">
                  <c:v>4247.4399999999996</c:v>
                </c:pt>
                <c:pt idx="903">
                  <c:v>4239.18</c:v>
                </c:pt>
                <c:pt idx="904">
                  <c:v>4219.55</c:v>
                </c:pt>
                <c:pt idx="905">
                  <c:v>4227.26</c:v>
                </c:pt>
                <c:pt idx="906">
                  <c:v>4226.5200000000004</c:v>
                </c:pt>
                <c:pt idx="907">
                  <c:v>4229.8900000000003</c:v>
                </c:pt>
                <c:pt idx="908">
                  <c:v>4192.8500000000004</c:v>
                </c:pt>
                <c:pt idx="909">
                  <c:v>4208.12</c:v>
                </c:pt>
                <c:pt idx="910">
                  <c:v>4202.04</c:v>
                </c:pt>
                <c:pt idx="911">
                  <c:v>4204.1099999999997</c:v>
                </c:pt>
                <c:pt idx="912">
                  <c:v>4204.1099999999997</c:v>
                </c:pt>
                <c:pt idx="913">
                  <c:v>4200.88</c:v>
                </c:pt>
                <c:pt idx="914">
                  <c:v>4195.99</c:v>
                </c:pt>
                <c:pt idx="915">
                  <c:v>4188.13</c:v>
                </c:pt>
                <c:pt idx="916">
                  <c:v>4197.05</c:v>
                </c:pt>
                <c:pt idx="917">
                  <c:v>4155.8599999999997</c:v>
                </c:pt>
                <c:pt idx="918">
                  <c:v>4159.12</c:v>
                </c:pt>
                <c:pt idx="919">
                  <c:v>4115.68</c:v>
                </c:pt>
                <c:pt idx="920">
                  <c:v>4127.83</c:v>
                </c:pt>
                <c:pt idx="921">
                  <c:v>4163.29</c:v>
                </c:pt>
                <c:pt idx="922">
                  <c:v>4173.8500000000004</c:v>
                </c:pt>
                <c:pt idx="923">
                  <c:v>4112.5</c:v>
                </c:pt>
                <c:pt idx="924">
                  <c:v>4063.04</c:v>
                </c:pt>
                <c:pt idx="925">
                  <c:v>4152.1000000000004</c:v>
                </c:pt>
                <c:pt idx="926">
                  <c:v>4188.43</c:v>
                </c:pt>
                <c:pt idx="927">
                  <c:v>4232.6000000000004</c:v>
                </c:pt>
                <c:pt idx="928">
                  <c:v>4201.62</c:v>
                </c:pt>
                <c:pt idx="929">
                  <c:v>4167.59</c:v>
                </c:pt>
                <c:pt idx="930">
                  <c:v>4164.66</c:v>
                </c:pt>
                <c:pt idx="931">
                  <c:v>4192.66</c:v>
                </c:pt>
                <c:pt idx="932">
                  <c:v>4181.17</c:v>
                </c:pt>
                <c:pt idx="933">
                  <c:v>4211.47</c:v>
                </c:pt>
                <c:pt idx="934">
                  <c:v>4183.18</c:v>
                </c:pt>
                <c:pt idx="935">
                  <c:v>4186.72</c:v>
                </c:pt>
                <c:pt idx="936">
                  <c:v>4187.62</c:v>
                </c:pt>
                <c:pt idx="937">
                  <c:v>4180.17</c:v>
                </c:pt>
                <c:pt idx="938">
                  <c:v>4134.9799999999996</c:v>
                </c:pt>
                <c:pt idx="939">
                  <c:v>4173.42</c:v>
                </c:pt>
                <c:pt idx="940">
                  <c:v>4134.9399999999996</c:v>
                </c:pt>
                <c:pt idx="941">
                  <c:v>4163.26</c:v>
                </c:pt>
                <c:pt idx="942">
                  <c:v>4185.47</c:v>
                </c:pt>
                <c:pt idx="943">
                  <c:v>4170.42</c:v>
                </c:pt>
                <c:pt idx="944">
                  <c:v>4124.66</c:v>
                </c:pt>
                <c:pt idx="945">
                  <c:v>4141.59</c:v>
                </c:pt>
                <c:pt idx="946">
                  <c:v>4127.99</c:v>
                </c:pt>
                <c:pt idx="947">
                  <c:v>4128.8</c:v>
                </c:pt>
                <c:pt idx="948">
                  <c:v>4097.17</c:v>
                </c:pt>
                <c:pt idx="949">
                  <c:v>4079.95</c:v>
                </c:pt>
                <c:pt idx="950">
                  <c:v>4073.94</c:v>
                </c:pt>
                <c:pt idx="951">
                  <c:v>4077.91</c:v>
                </c:pt>
                <c:pt idx="952">
                  <c:v>4019.87</c:v>
                </c:pt>
                <c:pt idx="953">
                  <c:v>4019.87</c:v>
                </c:pt>
                <c:pt idx="954">
                  <c:v>3972.89</c:v>
                </c:pt>
                <c:pt idx="955">
                  <c:v>3958.55</c:v>
                </c:pt>
                <c:pt idx="956">
                  <c:v>3971.09</c:v>
                </c:pt>
                <c:pt idx="957">
                  <c:v>3974.54</c:v>
                </c:pt>
                <c:pt idx="958">
                  <c:v>3909.52</c:v>
                </c:pt>
                <c:pt idx="959">
                  <c:v>3889.14</c:v>
                </c:pt>
                <c:pt idx="960">
                  <c:v>3910.52</c:v>
                </c:pt>
                <c:pt idx="961">
                  <c:v>3940.59</c:v>
                </c:pt>
                <c:pt idx="962">
                  <c:v>3913.1</c:v>
                </c:pt>
                <c:pt idx="963">
                  <c:v>3915.46</c:v>
                </c:pt>
                <c:pt idx="964">
                  <c:v>3974.12</c:v>
                </c:pt>
                <c:pt idx="965">
                  <c:v>3962.71</c:v>
                </c:pt>
                <c:pt idx="966">
                  <c:v>3968.94</c:v>
                </c:pt>
                <c:pt idx="967">
                  <c:v>3943.34</c:v>
                </c:pt>
                <c:pt idx="968">
                  <c:v>3939.34</c:v>
                </c:pt>
                <c:pt idx="969">
                  <c:v>3898.81</c:v>
                </c:pt>
                <c:pt idx="970">
                  <c:v>3875.44</c:v>
                </c:pt>
                <c:pt idx="971">
                  <c:v>3821.35</c:v>
                </c:pt>
                <c:pt idx="972">
                  <c:v>3841.94</c:v>
                </c:pt>
                <c:pt idx="973">
                  <c:v>3768.47</c:v>
                </c:pt>
                <c:pt idx="974">
                  <c:v>3819.72</c:v>
                </c:pt>
                <c:pt idx="975">
                  <c:v>3870.29</c:v>
                </c:pt>
                <c:pt idx="976">
                  <c:v>3901.82</c:v>
                </c:pt>
                <c:pt idx="977">
                  <c:v>3811.15</c:v>
                </c:pt>
                <c:pt idx="978">
                  <c:v>3829.34</c:v>
                </c:pt>
                <c:pt idx="979">
                  <c:v>3925.43</c:v>
                </c:pt>
                <c:pt idx="980">
                  <c:v>3881.37</c:v>
                </c:pt>
                <c:pt idx="981">
                  <c:v>3876.5</c:v>
                </c:pt>
                <c:pt idx="982">
                  <c:v>3906.71</c:v>
                </c:pt>
                <c:pt idx="983">
                  <c:v>3913.97</c:v>
                </c:pt>
                <c:pt idx="984">
                  <c:v>3931.33</c:v>
                </c:pt>
                <c:pt idx="985">
                  <c:v>3932.59</c:v>
                </c:pt>
                <c:pt idx="986">
                  <c:v>3934.83</c:v>
                </c:pt>
                <c:pt idx="987">
                  <c:v>3934.83</c:v>
                </c:pt>
                <c:pt idx="988">
                  <c:v>3916.38</c:v>
                </c:pt>
                <c:pt idx="989">
                  <c:v>3909.88</c:v>
                </c:pt>
                <c:pt idx="990">
                  <c:v>3911.23</c:v>
                </c:pt>
                <c:pt idx="991">
                  <c:v>3915.59</c:v>
                </c:pt>
                <c:pt idx="992">
                  <c:v>3886.83</c:v>
                </c:pt>
                <c:pt idx="993">
                  <c:v>3871.74</c:v>
                </c:pt>
                <c:pt idx="994">
                  <c:v>3830.17</c:v>
                </c:pt>
                <c:pt idx="995">
                  <c:v>3826.31</c:v>
                </c:pt>
                <c:pt idx="996">
                  <c:v>3773.86</c:v>
                </c:pt>
                <c:pt idx="997">
                  <c:v>3714.24</c:v>
                </c:pt>
                <c:pt idx="998">
                  <c:v>3787.38</c:v>
                </c:pt>
                <c:pt idx="999">
                  <c:v>3750.77</c:v>
                </c:pt>
                <c:pt idx="1000">
                  <c:v>3849.62</c:v>
                </c:pt>
                <c:pt idx="1001">
                  <c:v>3855.36</c:v>
                </c:pt>
                <c:pt idx="1002">
                  <c:v>3841.47</c:v>
                </c:pt>
                <c:pt idx="1003">
                  <c:v>3853.07</c:v>
                </c:pt>
                <c:pt idx="1004">
                  <c:v>3851.85</c:v>
                </c:pt>
                <c:pt idx="1005">
                  <c:v>3798.91</c:v>
                </c:pt>
                <c:pt idx="1006">
                  <c:v>3768.25</c:v>
                </c:pt>
                <c:pt idx="1007">
                  <c:v>3768.25</c:v>
                </c:pt>
                <c:pt idx="1008">
                  <c:v>3795.54</c:v>
                </c:pt>
                <c:pt idx="1009">
                  <c:v>3809.84</c:v>
                </c:pt>
                <c:pt idx="1010">
                  <c:v>3801.19</c:v>
                </c:pt>
                <c:pt idx="1011">
                  <c:v>3799.61</c:v>
                </c:pt>
                <c:pt idx="1012">
                  <c:v>3824.68</c:v>
                </c:pt>
                <c:pt idx="1013">
                  <c:v>3803.79</c:v>
                </c:pt>
                <c:pt idx="1014">
                  <c:v>3748.14</c:v>
                </c:pt>
                <c:pt idx="1015">
                  <c:v>3726.86</c:v>
                </c:pt>
                <c:pt idx="1016">
                  <c:v>3700.65</c:v>
                </c:pt>
                <c:pt idx="1017">
                  <c:v>3756.07</c:v>
                </c:pt>
                <c:pt idx="1018">
                  <c:v>3756.07</c:v>
                </c:pt>
                <c:pt idx="1019">
                  <c:v>3732.04</c:v>
                </c:pt>
                <c:pt idx="1020">
                  <c:v>3727.04</c:v>
                </c:pt>
                <c:pt idx="1021">
                  <c:v>3735.36</c:v>
                </c:pt>
                <c:pt idx="1022">
                  <c:v>3703.06</c:v>
                </c:pt>
                <c:pt idx="1023">
                  <c:v>3703.06</c:v>
                </c:pt>
                <c:pt idx="1024">
                  <c:v>3690.01</c:v>
                </c:pt>
                <c:pt idx="1025">
                  <c:v>3687.26</c:v>
                </c:pt>
                <c:pt idx="1026">
                  <c:v>3694.92</c:v>
                </c:pt>
                <c:pt idx="1027">
                  <c:v>3709.41</c:v>
                </c:pt>
                <c:pt idx="1028">
                  <c:v>3722.48</c:v>
                </c:pt>
                <c:pt idx="1029">
                  <c:v>3701.17</c:v>
                </c:pt>
                <c:pt idx="1030">
                  <c:v>3694.62</c:v>
                </c:pt>
                <c:pt idx="1031">
                  <c:v>3647.49</c:v>
                </c:pt>
                <c:pt idx="1032">
                  <c:v>3663.46</c:v>
                </c:pt>
                <c:pt idx="1033">
                  <c:v>3668.1</c:v>
                </c:pt>
                <c:pt idx="1034">
                  <c:v>3672.82</c:v>
                </c:pt>
                <c:pt idx="1035">
                  <c:v>3702.25</c:v>
                </c:pt>
                <c:pt idx="1036">
                  <c:v>3691.96</c:v>
                </c:pt>
                <c:pt idx="1037">
                  <c:v>3699.12</c:v>
                </c:pt>
                <c:pt idx="1038">
                  <c:v>3666.72</c:v>
                </c:pt>
                <c:pt idx="1039">
                  <c:v>3669.01</c:v>
                </c:pt>
                <c:pt idx="1040">
                  <c:v>3662.45</c:v>
                </c:pt>
                <c:pt idx="1041">
                  <c:v>3621.63</c:v>
                </c:pt>
                <c:pt idx="1042">
                  <c:v>3638.35</c:v>
                </c:pt>
                <c:pt idx="1043">
                  <c:v>3629.65</c:v>
                </c:pt>
                <c:pt idx="1044">
                  <c:v>3629.65</c:v>
                </c:pt>
                <c:pt idx="1045">
                  <c:v>3635.41</c:v>
                </c:pt>
                <c:pt idx="1046">
                  <c:v>3577.59</c:v>
                </c:pt>
                <c:pt idx="1047">
                  <c:v>3557.54</c:v>
                </c:pt>
                <c:pt idx="1048">
                  <c:v>3581.87</c:v>
                </c:pt>
                <c:pt idx="1049">
                  <c:v>3567.79</c:v>
                </c:pt>
                <c:pt idx="1050">
                  <c:v>3609.53</c:v>
                </c:pt>
                <c:pt idx="1051">
                  <c:v>3626.91</c:v>
                </c:pt>
                <c:pt idx="1052">
                  <c:v>3585.15</c:v>
                </c:pt>
                <c:pt idx="1053">
                  <c:v>3537.01</c:v>
                </c:pt>
                <c:pt idx="1054">
                  <c:v>3572.66</c:v>
                </c:pt>
                <c:pt idx="1055">
                  <c:v>3545.53</c:v>
                </c:pt>
                <c:pt idx="1056">
                  <c:v>3550.5</c:v>
                </c:pt>
                <c:pt idx="1057">
                  <c:v>3509.44</c:v>
                </c:pt>
                <c:pt idx="1058">
                  <c:v>3510.45</c:v>
                </c:pt>
                <c:pt idx="1059">
                  <c:v>3443.44</c:v>
                </c:pt>
                <c:pt idx="1060">
                  <c:v>3369.16</c:v>
                </c:pt>
                <c:pt idx="1061">
                  <c:v>3310.24</c:v>
                </c:pt>
                <c:pt idx="1062">
                  <c:v>3269.96</c:v>
                </c:pt>
                <c:pt idx="1063">
                  <c:v>3310.11</c:v>
                </c:pt>
                <c:pt idx="1064">
                  <c:v>3271.03</c:v>
                </c:pt>
                <c:pt idx="1065">
                  <c:v>3390.68</c:v>
                </c:pt>
                <c:pt idx="1066">
                  <c:v>3400.97</c:v>
                </c:pt>
                <c:pt idx="1067">
                  <c:v>3465.39</c:v>
                </c:pt>
                <c:pt idx="1068">
                  <c:v>3453.49</c:v>
                </c:pt>
                <c:pt idx="1069">
                  <c:v>3435.56</c:v>
                </c:pt>
                <c:pt idx="1070">
                  <c:v>3443.12</c:v>
                </c:pt>
                <c:pt idx="1071">
                  <c:v>3426.92</c:v>
                </c:pt>
                <c:pt idx="1072">
                  <c:v>3483.81</c:v>
                </c:pt>
                <c:pt idx="1073">
                  <c:v>3483.34</c:v>
                </c:pt>
                <c:pt idx="1074">
                  <c:v>3488.67</c:v>
                </c:pt>
                <c:pt idx="1075">
                  <c:v>3511.93</c:v>
                </c:pt>
                <c:pt idx="1076">
                  <c:v>3534.22</c:v>
                </c:pt>
                <c:pt idx="1077">
                  <c:v>3477.13</c:v>
                </c:pt>
                <c:pt idx="1078">
                  <c:v>3446.83</c:v>
                </c:pt>
                <c:pt idx="1079">
                  <c:v>3419.45</c:v>
                </c:pt>
                <c:pt idx="1080">
                  <c:v>3360.95</c:v>
                </c:pt>
                <c:pt idx="1081">
                  <c:v>3408.63</c:v>
                </c:pt>
                <c:pt idx="1082">
                  <c:v>3348.44</c:v>
                </c:pt>
                <c:pt idx="1083">
                  <c:v>3380.8</c:v>
                </c:pt>
                <c:pt idx="1084">
                  <c:v>3363</c:v>
                </c:pt>
                <c:pt idx="1085">
                  <c:v>3335.47</c:v>
                </c:pt>
                <c:pt idx="1086">
                  <c:v>3351.6</c:v>
                </c:pt>
                <c:pt idx="1087">
                  <c:v>3298.46</c:v>
                </c:pt>
                <c:pt idx="1088">
                  <c:v>3246.59</c:v>
                </c:pt>
                <c:pt idx="1089">
                  <c:v>3236.92</c:v>
                </c:pt>
                <c:pt idx="1090">
                  <c:v>3315.57</c:v>
                </c:pt>
                <c:pt idx="1091">
                  <c:v>3281.06</c:v>
                </c:pt>
                <c:pt idx="1092">
                  <c:v>3319.47</c:v>
                </c:pt>
                <c:pt idx="1093">
                  <c:v>3357.01</c:v>
                </c:pt>
                <c:pt idx="1094">
                  <c:v>3385.49</c:v>
                </c:pt>
                <c:pt idx="1095">
                  <c:v>3401.2</c:v>
                </c:pt>
                <c:pt idx="1096">
                  <c:v>3383.54</c:v>
                </c:pt>
                <c:pt idx="1097">
                  <c:v>3340.97</c:v>
                </c:pt>
                <c:pt idx="1098">
                  <c:v>3339.19</c:v>
                </c:pt>
                <c:pt idx="1099">
                  <c:v>3398.96</c:v>
                </c:pt>
                <c:pt idx="1100">
                  <c:v>3331.84</c:v>
                </c:pt>
                <c:pt idx="1101">
                  <c:v>3426.96</c:v>
                </c:pt>
                <c:pt idx="1102">
                  <c:v>3426.96</c:v>
                </c:pt>
                <c:pt idx="1103">
                  <c:v>3455.06</c:v>
                </c:pt>
                <c:pt idx="1104">
                  <c:v>3580.84</c:v>
                </c:pt>
                <c:pt idx="1105">
                  <c:v>3526.65</c:v>
                </c:pt>
                <c:pt idx="1106">
                  <c:v>3500.31</c:v>
                </c:pt>
                <c:pt idx="1107">
                  <c:v>3508.01</c:v>
                </c:pt>
                <c:pt idx="1108">
                  <c:v>3484.55</c:v>
                </c:pt>
                <c:pt idx="1109">
                  <c:v>3478.73</c:v>
                </c:pt>
                <c:pt idx="1110">
                  <c:v>3443.62</c:v>
                </c:pt>
                <c:pt idx="1111">
                  <c:v>3431.28</c:v>
                </c:pt>
                <c:pt idx="1112">
                  <c:v>3397.16</c:v>
                </c:pt>
                <c:pt idx="1113">
                  <c:v>3385.51</c:v>
                </c:pt>
                <c:pt idx="1114">
                  <c:v>3374.85</c:v>
                </c:pt>
                <c:pt idx="1115">
                  <c:v>3389.78</c:v>
                </c:pt>
                <c:pt idx="1116">
                  <c:v>3381.99</c:v>
                </c:pt>
                <c:pt idx="1117">
                  <c:v>3372.85</c:v>
                </c:pt>
                <c:pt idx="1118">
                  <c:v>3373.43</c:v>
                </c:pt>
                <c:pt idx="1119">
                  <c:v>3380.35</c:v>
                </c:pt>
                <c:pt idx="1120">
                  <c:v>3333.69</c:v>
                </c:pt>
                <c:pt idx="1121">
                  <c:v>3360.47</c:v>
                </c:pt>
                <c:pt idx="1122">
                  <c:v>3351.28</c:v>
                </c:pt>
                <c:pt idx="1123">
                  <c:v>3349.16</c:v>
                </c:pt>
                <c:pt idx="1124">
                  <c:v>3327.77</c:v>
                </c:pt>
                <c:pt idx="1125">
                  <c:v>3306.51</c:v>
                </c:pt>
                <c:pt idx="1126">
                  <c:v>3294.61</c:v>
                </c:pt>
                <c:pt idx="1127">
                  <c:v>3271.12</c:v>
                </c:pt>
                <c:pt idx="1128">
                  <c:v>3246.22</c:v>
                </c:pt>
                <c:pt idx="1129">
                  <c:v>3258.44</c:v>
                </c:pt>
                <c:pt idx="1130">
                  <c:v>3218.44</c:v>
                </c:pt>
                <c:pt idx="1131">
                  <c:v>3239.41</c:v>
                </c:pt>
                <c:pt idx="1132">
                  <c:v>3215.63</c:v>
                </c:pt>
                <c:pt idx="1133">
                  <c:v>3235.66</c:v>
                </c:pt>
                <c:pt idx="1134">
                  <c:v>3276.02</c:v>
                </c:pt>
                <c:pt idx="1135">
                  <c:v>3257.3</c:v>
                </c:pt>
                <c:pt idx="1136">
                  <c:v>3251.84</c:v>
                </c:pt>
                <c:pt idx="1137">
                  <c:v>3224.73</c:v>
                </c:pt>
                <c:pt idx="1138">
                  <c:v>3215.57</c:v>
                </c:pt>
                <c:pt idx="1139">
                  <c:v>3226.56</c:v>
                </c:pt>
                <c:pt idx="1140">
                  <c:v>3197.52</c:v>
                </c:pt>
                <c:pt idx="1141">
                  <c:v>3155.22</c:v>
                </c:pt>
                <c:pt idx="1142">
                  <c:v>3185.04</c:v>
                </c:pt>
                <c:pt idx="1143">
                  <c:v>3152.05</c:v>
                </c:pt>
                <c:pt idx="1144">
                  <c:v>3169.94</c:v>
                </c:pt>
                <c:pt idx="1145">
                  <c:v>3145.32</c:v>
                </c:pt>
                <c:pt idx="1146">
                  <c:v>3179.72</c:v>
                </c:pt>
                <c:pt idx="1147">
                  <c:v>3130.01</c:v>
                </c:pt>
                <c:pt idx="1148">
                  <c:v>3130.01</c:v>
                </c:pt>
                <c:pt idx="1149">
                  <c:v>3115.86</c:v>
                </c:pt>
                <c:pt idx="1150">
                  <c:v>3100.29</c:v>
                </c:pt>
                <c:pt idx="1151">
                  <c:v>3053.24</c:v>
                </c:pt>
                <c:pt idx="1152">
                  <c:v>3009.05</c:v>
                </c:pt>
                <c:pt idx="1153">
                  <c:v>3083.76</c:v>
                </c:pt>
                <c:pt idx="1154">
                  <c:v>3050.33</c:v>
                </c:pt>
                <c:pt idx="1155">
                  <c:v>3131.29</c:v>
                </c:pt>
                <c:pt idx="1156">
                  <c:v>3117.86</c:v>
                </c:pt>
                <c:pt idx="1157">
                  <c:v>3097.74</c:v>
                </c:pt>
                <c:pt idx="1158">
                  <c:v>3115.34</c:v>
                </c:pt>
                <c:pt idx="1159">
                  <c:v>3113.49</c:v>
                </c:pt>
                <c:pt idx="1160">
                  <c:v>3124.74</c:v>
                </c:pt>
                <c:pt idx="1161">
                  <c:v>3066.59</c:v>
                </c:pt>
                <c:pt idx="1162">
                  <c:v>3041.31</c:v>
                </c:pt>
                <c:pt idx="1163">
                  <c:v>3002.1</c:v>
                </c:pt>
                <c:pt idx="1164">
                  <c:v>3190.14</c:v>
                </c:pt>
                <c:pt idx="1165">
                  <c:v>3207.18</c:v>
                </c:pt>
                <c:pt idx="1166">
                  <c:v>3232.39</c:v>
                </c:pt>
                <c:pt idx="1167">
                  <c:v>3193.93</c:v>
                </c:pt>
                <c:pt idx="1168">
                  <c:v>3112.35</c:v>
                </c:pt>
                <c:pt idx="1169">
                  <c:v>3122.87</c:v>
                </c:pt>
                <c:pt idx="1170">
                  <c:v>3080.82</c:v>
                </c:pt>
                <c:pt idx="1171">
                  <c:v>3055.73</c:v>
                </c:pt>
                <c:pt idx="1172">
                  <c:v>3044.31</c:v>
                </c:pt>
                <c:pt idx="1173">
                  <c:v>3029.73</c:v>
                </c:pt>
                <c:pt idx="1174">
                  <c:v>3036.13</c:v>
                </c:pt>
                <c:pt idx="1175">
                  <c:v>2991.77</c:v>
                </c:pt>
                <c:pt idx="1176">
                  <c:v>2955.45</c:v>
                </c:pt>
                <c:pt idx="1177">
                  <c:v>2955.45</c:v>
                </c:pt>
                <c:pt idx="1178">
                  <c:v>2948.51</c:v>
                </c:pt>
                <c:pt idx="1179">
                  <c:v>2971.61</c:v>
                </c:pt>
                <c:pt idx="1180">
                  <c:v>2922.94</c:v>
                </c:pt>
                <c:pt idx="1181">
                  <c:v>2953.91</c:v>
                </c:pt>
                <c:pt idx="1182">
                  <c:v>2863.7</c:v>
                </c:pt>
                <c:pt idx="1183">
                  <c:v>2852.5</c:v>
                </c:pt>
                <c:pt idx="1184">
                  <c:v>2820</c:v>
                </c:pt>
                <c:pt idx="1185">
                  <c:v>2870.12</c:v>
                </c:pt>
                <c:pt idx="1186">
                  <c:v>2930.32</c:v>
                </c:pt>
                <c:pt idx="1187">
                  <c:v>2929.8</c:v>
                </c:pt>
                <c:pt idx="1188">
                  <c:v>2881.19</c:v>
                </c:pt>
                <c:pt idx="1189">
                  <c:v>2848.42</c:v>
                </c:pt>
                <c:pt idx="1190">
                  <c:v>2868.44</c:v>
                </c:pt>
                <c:pt idx="1191">
                  <c:v>2842.74</c:v>
                </c:pt>
                <c:pt idx="1192">
                  <c:v>2830.71</c:v>
                </c:pt>
                <c:pt idx="1193">
                  <c:v>2912.43</c:v>
                </c:pt>
                <c:pt idx="1194">
                  <c:v>2939.51</c:v>
                </c:pt>
                <c:pt idx="1195">
                  <c:v>2863.39</c:v>
                </c:pt>
                <c:pt idx="1196">
                  <c:v>2878.48</c:v>
                </c:pt>
                <c:pt idx="1197">
                  <c:v>2836.74</c:v>
                </c:pt>
                <c:pt idx="1198">
                  <c:v>2797.8</c:v>
                </c:pt>
                <c:pt idx="1199">
                  <c:v>2799.31</c:v>
                </c:pt>
                <c:pt idx="1200">
                  <c:v>2736.56</c:v>
                </c:pt>
                <c:pt idx="1201">
                  <c:v>2823.16</c:v>
                </c:pt>
                <c:pt idx="1202">
                  <c:v>2874.56</c:v>
                </c:pt>
                <c:pt idx="1203">
                  <c:v>2799.55</c:v>
                </c:pt>
                <c:pt idx="1204">
                  <c:v>2783.36</c:v>
                </c:pt>
                <c:pt idx="1205">
                  <c:v>2846.06</c:v>
                </c:pt>
                <c:pt idx="1206">
                  <c:v>2761.63</c:v>
                </c:pt>
                <c:pt idx="1207">
                  <c:v>2789.82</c:v>
                </c:pt>
                <c:pt idx="1208">
                  <c:v>2789.82</c:v>
                </c:pt>
                <c:pt idx="1209">
                  <c:v>2749.98</c:v>
                </c:pt>
                <c:pt idx="1210">
                  <c:v>2659.41</c:v>
                </c:pt>
                <c:pt idx="1211">
                  <c:v>2663.68</c:v>
                </c:pt>
                <c:pt idx="1212">
                  <c:v>2488.65</c:v>
                </c:pt>
                <c:pt idx="1213">
                  <c:v>2526.9</c:v>
                </c:pt>
                <c:pt idx="1214">
                  <c:v>2470.5</c:v>
                </c:pt>
                <c:pt idx="1215">
                  <c:v>2584.59</c:v>
                </c:pt>
                <c:pt idx="1216">
                  <c:v>2626.65</c:v>
                </c:pt>
                <c:pt idx="1217">
                  <c:v>2541.4699999999998</c:v>
                </c:pt>
                <c:pt idx="1218">
                  <c:v>2630.07</c:v>
                </c:pt>
                <c:pt idx="1219">
                  <c:v>2475.56</c:v>
                </c:pt>
                <c:pt idx="1220">
                  <c:v>2447.33</c:v>
                </c:pt>
                <c:pt idx="1221">
                  <c:v>2237.4</c:v>
                </c:pt>
                <c:pt idx="1222">
                  <c:v>2304.92</c:v>
                </c:pt>
                <c:pt idx="1223">
                  <c:v>2409.39</c:v>
                </c:pt>
                <c:pt idx="1224">
                  <c:v>2398.1</c:v>
                </c:pt>
                <c:pt idx="1225">
                  <c:v>2529.19</c:v>
                </c:pt>
                <c:pt idx="1226">
                  <c:v>2386.13</c:v>
                </c:pt>
                <c:pt idx="1227">
                  <c:v>2711.02</c:v>
                </c:pt>
                <c:pt idx="1228">
                  <c:v>2480.64</c:v>
                </c:pt>
                <c:pt idx="1229">
                  <c:v>2741.38</c:v>
                </c:pt>
                <c:pt idx="1230">
                  <c:v>2882.23</c:v>
                </c:pt>
                <c:pt idx="1231">
                  <c:v>2746.56</c:v>
                </c:pt>
                <c:pt idx="1232">
                  <c:v>2972.37</c:v>
                </c:pt>
                <c:pt idx="1233">
                  <c:v>3023.94</c:v>
                </c:pt>
                <c:pt idx="1234">
                  <c:v>3130.12</c:v>
                </c:pt>
                <c:pt idx="1235">
                  <c:v>3003.37</c:v>
                </c:pt>
                <c:pt idx="1236">
                  <c:v>3090.23</c:v>
                </c:pt>
                <c:pt idx="1237">
                  <c:v>2954.22</c:v>
                </c:pt>
                <c:pt idx="1238">
                  <c:v>2978.76</c:v>
                </c:pt>
                <c:pt idx="1239">
                  <c:v>3116.39</c:v>
                </c:pt>
                <c:pt idx="1240">
                  <c:v>3128.21</c:v>
                </c:pt>
                <c:pt idx="1241">
                  <c:v>3225.89</c:v>
                </c:pt>
                <c:pt idx="1242">
                  <c:v>3337.75</c:v>
                </c:pt>
                <c:pt idx="1243">
                  <c:v>3373.23</c:v>
                </c:pt>
                <c:pt idx="1244">
                  <c:v>3386.15</c:v>
                </c:pt>
                <c:pt idx="1245">
                  <c:v>3370.29</c:v>
                </c:pt>
                <c:pt idx="1246">
                  <c:v>3380.16</c:v>
                </c:pt>
                <c:pt idx="1247">
                  <c:v>3380.16</c:v>
                </c:pt>
                <c:pt idx="1248">
                  <c:v>3373.94</c:v>
                </c:pt>
                <c:pt idx="1249">
                  <c:v>3379.45</c:v>
                </c:pt>
                <c:pt idx="1250">
                  <c:v>3357.75</c:v>
                </c:pt>
                <c:pt idx="1251">
                  <c:v>3352.09</c:v>
                </c:pt>
                <c:pt idx="1252">
                  <c:v>3327.71</c:v>
                </c:pt>
                <c:pt idx="1253">
                  <c:v>3345.78</c:v>
                </c:pt>
                <c:pt idx="1254">
                  <c:v>3334.69</c:v>
                </c:pt>
                <c:pt idx="1255">
                  <c:v>3297.59</c:v>
                </c:pt>
                <c:pt idx="1256">
                  <c:v>3248.92</c:v>
                </c:pt>
                <c:pt idx="1257">
                  <c:v>3225.52</c:v>
                </c:pt>
                <c:pt idx="1258">
                  <c:v>3283.66</c:v>
                </c:pt>
                <c:pt idx="1259">
                  <c:v>3273.4</c:v>
                </c:pt>
                <c:pt idx="1260">
                  <c:v>3276.24</c:v>
                </c:pt>
                <c:pt idx="1261">
                  <c:v>3243.63</c:v>
                </c:pt>
                <c:pt idx="1262">
                  <c:v>3295.47</c:v>
                </c:pt>
                <c:pt idx="1263">
                  <c:v>3325.54</c:v>
                </c:pt>
                <c:pt idx="1264">
                  <c:v>3321.75</c:v>
                </c:pt>
                <c:pt idx="1265">
                  <c:v>3320.79</c:v>
                </c:pt>
                <c:pt idx="1266">
                  <c:v>3329.62</c:v>
                </c:pt>
                <c:pt idx="1267">
                  <c:v>3329.62</c:v>
                </c:pt>
                <c:pt idx="1268">
                  <c:v>3316.81</c:v>
                </c:pt>
                <c:pt idx="1269">
                  <c:v>3289.29</c:v>
                </c:pt>
                <c:pt idx="1270">
                  <c:v>3283.15</c:v>
                </c:pt>
                <c:pt idx="1271">
                  <c:v>3288.13</c:v>
                </c:pt>
                <c:pt idx="1272">
                  <c:v>3265.35</c:v>
                </c:pt>
                <c:pt idx="1273">
                  <c:v>3274.7</c:v>
                </c:pt>
                <c:pt idx="1274">
                  <c:v>3253.05</c:v>
                </c:pt>
                <c:pt idx="1275">
                  <c:v>3237.18</c:v>
                </c:pt>
                <c:pt idx="1276">
                  <c:v>3246.28</c:v>
                </c:pt>
                <c:pt idx="1277">
                  <c:v>3234.85</c:v>
                </c:pt>
                <c:pt idx="1278">
                  <c:v>3257.85</c:v>
                </c:pt>
                <c:pt idx="1279">
                  <c:v>3230.78</c:v>
                </c:pt>
              </c:numCache>
            </c:numRef>
          </c:val>
          <c:smooth val="0"/>
          <c:extLst>
            <c:ext xmlns:c16="http://schemas.microsoft.com/office/drawing/2014/chart" uri="{C3380CC4-5D6E-409C-BE32-E72D297353CC}">
              <c16:uniqueId val="{00000000-1832-49E7-9D43-7DC0B5494510}"/>
            </c:ext>
          </c:extLst>
        </c:ser>
        <c:dLbls>
          <c:showLegendKey val="0"/>
          <c:showVal val="0"/>
          <c:showCatName val="0"/>
          <c:showSerName val="0"/>
          <c:showPercent val="0"/>
          <c:showBubbleSize val="0"/>
        </c:dLbls>
        <c:marker val="1"/>
        <c:smooth val="0"/>
        <c:axId val="1035848223"/>
        <c:axId val="1035844863"/>
      </c:lineChart>
      <c:lineChart>
        <c:grouping val="standard"/>
        <c:varyColors val="0"/>
        <c:ser>
          <c:idx val="1"/>
          <c:order val="1"/>
          <c:tx>
            <c:strRef>
              <c:f>Sheet1!$Q$5</c:f>
              <c:strCache>
                <c:ptCount val="1"/>
                <c:pt idx="0">
                  <c:v>Rendite 10J US-Staatsanleihen</c:v>
                </c:pt>
              </c:strCache>
            </c:strRef>
          </c:tx>
          <c:spPr>
            <a:ln w="28575" cap="rnd">
              <a:solidFill>
                <a:schemeClr val="accent2"/>
              </a:solidFill>
              <a:round/>
            </a:ln>
            <a:effectLst/>
          </c:spPr>
          <c:marker>
            <c:symbol val="none"/>
          </c:marker>
          <c:cat>
            <c:numRef>
              <c:f>Sheet1!$O$7:$O$1286</c:f>
              <c:numCache>
                <c:formatCode>m/d/yyyy</c:formatCode>
                <c:ptCount val="1280"/>
                <c:pt idx="0">
                  <c:v>45622</c:v>
                </c:pt>
                <c:pt idx="1">
                  <c:v>45621</c:v>
                </c:pt>
                <c:pt idx="2">
                  <c:v>45618</c:v>
                </c:pt>
                <c:pt idx="3">
                  <c:v>45617</c:v>
                </c:pt>
                <c:pt idx="4">
                  <c:v>45616</c:v>
                </c:pt>
                <c:pt idx="5">
                  <c:v>45615</c:v>
                </c:pt>
                <c:pt idx="6">
                  <c:v>45614</c:v>
                </c:pt>
                <c:pt idx="7">
                  <c:v>45611</c:v>
                </c:pt>
                <c:pt idx="8">
                  <c:v>45610</c:v>
                </c:pt>
                <c:pt idx="9">
                  <c:v>45609</c:v>
                </c:pt>
                <c:pt idx="10">
                  <c:v>45608</c:v>
                </c:pt>
                <c:pt idx="11">
                  <c:v>45607</c:v>
                </c:pt>
                <c:pt idx="12">
                  <c:v>45604</c:v>
                </c:pt>
                <c:pt idx="13">
                  <c:v>45603</c:v>
                </c:pt>
                <c:pt idx="14">
                  <c:v>45602</c:v>
                </c:pt>
                <c:pt idx="15">
                  <c:v>45601</c:v>
                </c:pt>
                <c:pt idx="16">
                  <c:v>45600</c:v>
                </c:pt>
                <c:pt idx="17">
                  <c:v>45597</c:v>
                </c:pt>
                <c:pt idx="18">
                  <c:v>45596</c:v>
                </c:pt>
                <c:pt idx="19">
                  <c:v>45595</c:v>
                </c:pt>
                <c:pt idx="20">
                  <c:v>45594</c:v>
                </c:pt>
                <c:pt idx="21">
                  <c:v>45593</c:v>
                </c:pt>
                <c:pt idx="22">
                  <c:v>45590</c:v>
                </c:pt>
                <c:pt idx="23">
                  <c:v>45589</c:v>
                </c:pt>
                <c:pt idx="24">
                  <c:v>45588</c:v>
                </c:pt>
                <c:pt idx="25">
                  <c:v>45587</c:v>
                </c:pt>
                <c:pt idx="26">
                  <c:v>45586</c:v>
                </c:pt>
                <c:pt idx="27">
                  <c:v>45583</c:v>
                </c:pt>
                <c:pt idx="28">
                  <c:v>45582</c:v>
                </c:pt>
                <c:pt idx="29">
                  <c:v>45581</c:v>
                </c:pt>
                <c:pt idx="30">
                  <c:v>45580</c:v>
                </c:pt>
                <c:pt idx="31">
                  <c:v>45579</c:v>
                </c:pt>
                <c:pt idx="32">
                  <c:v>45576</c:v>
                </c:pt>
                <c:pt idx="33">
                  <c:v>45575</c:v>
                </c:pt>
                <c:pt idx="34">
                  <c:v>45574</c:v>
                </c:pt>
                <c:pt idx="35">
                  <c:v>45573</c:v>
                </c:pt>
                <c:pt idx="36">
                  <c:v>45572</c:v>
                </c:pt>
                <c:pt idx="37">
                  <c:v>45569</c:v>
                </c:pt>
                <c:pt idx="38">
                  <c:v>45568</c:v>
                </c:pt>
                <c:pt idx="39">
                  <c:v>45567</c:v>
                </c:pt>
                <c:pt idx="40">
                  <c:v>45566</c:v>
                </c:pt>
                <c:pt idx="41">
                  <c:v>45565</c:v>
                </c:pt>
                <c:pt idx="42">
                  <c:v>45562</c:v>
                </c:pt>
                <c:pt idx="43">
                  <c:v>45561</c:v>
                </c:pt>
                <c:pt idx="44">
                  <c:v>45560</c:v>
                </c:pt>
                <c:pt idx="45">
                  <c:v>45559</c:v>
                </c:pt>
                <c:pt idx="46">
                  <c:v>45558</c:v>
                </c:pt>
                <c:pt idx="47">
                  <c:v>45555</c:v>
                </c:pt>
                <c:pt idx="48">
                  <c:v>45554</c:v>
                </c:pt>
                <c:pt idx="49">
                  <c:v>45553</c:v>
                </c:pt>
                <c:pt idx="50">
                  <c:v>45552</c:v>
                </c:pt>
                <c:pt idx="51">
                  <c:v>45551</c:v>
                </c:pt>
                <c:pt idx="52">
                  <c:v>45548</c:v>
                </c:pt>
                <c:pt idx="53">
                  <c:v>45547</c:v>
                </c:pt>
                <c:pt idx="54">
                  <c:v>45546</c:v>
                </c:pt>
                <c:pt idx="55">
                  <c:v>45545</c:v>
                </c:pt>
                <c:pt idx="56">
                  <c:v>45544</c:v>
                </c:pt>
                <c:pt idx="57">
                  <c:v>45541</c:v>
                </c:pt>
                <c:pt idx="58">
                  <c:v>45540</c:v>
                </c:pt>
                <c:pt idx="59">
                  <c:v>45539</c:v>
                </c:pt>
                <c:pt idx="60">
                  <c:v>45538</c:v>
                </c:pt>
                <c:pt idx="61">
                  <c:v>45537</c:v>
                </c:pt>
                <c:pt idx="62">
                  <c:v>45534</c:v>
                </c:pt>
                <c:pt idx="63">
                  <c:v>45533</c:v>
                </c:pt>
                <c:pt idx="64">
                  <c:v>45532</c:v>
                </c:pt>
                <c:pt idx="65">
                  <c:v>45531</c:v>
                </c:pt>
                <c:pt idx="66">
                  <c:v>45530</c:v>
                </c:pt>
                <c:pt idx="67">
                  <c:v>45527</c:v>
                </c:pt>
                <c:pt idx="68">
                  <c:v>45526</c:v>
                </c:pt>
                <c:pt idx="69">
                  <c:v>45525</c:v>
                </c:pt>
                <c:pt idx="70">
                  <c:v>45524</c:v>
                </c:pt>
                <c:pt idx="71">
                  <c:v>45523</c:v>
                </c:pt>
                <c:pt idx="72">
                  <c:v>45520</c:v>
                </c:pt>
                <c:pt idx="73">
                  <c:v>45519</c:v>
                </c:pt>
                <c:pt idx="74">
                  <c:v>45518</c:v>
                </c:pt>
                <c:pt idx="75">
                  <c:v>45517</c:v>
                </c:pt>
                <c:pt idx="76">
                  <c:v>45516</c:v>
                </c:pt>
                <c:pt idx="77">
                  <c:v>45513</c:v>
                </c:pt>
                <c:pt idx="78">
                  <c:v>45512</c:v>
                </c:pt>
                <c:pt idx="79">
                  <c:v>45511</c:v>
                </c:pt>
                <c:pt idx="80">
                  <c:v>45510</c:v>
                </c:pt>
                <c:pt idx="81">
                  <c:v>45509</c:v>
                </c:pt>
                <c:pt idx="82">
                  <c:v>45506</c:v>
                </c:pt>
                <c:pt idx="83">
                  <c:v>45505</c:v>
                </c:pt>
                <c:pt idx="84">
                  <c:v>45504</c:v>
                </c:pt>
                <c:pt idx="85">
                  <c:v>45503</c:v>
                </c:pt>
                <c:pt idx="86">
                  <c:v>45502</c:v>
                </c:pt>
                <c:pt idx="87">
                  <c:v>45499</c:v>
                </c:pt>
                <c:pt idx="88">
                  <c:v>45498</c:v>
                </c:pt>
                <c:pt idx="89">
                  <c:v>45497</c:v>
                </c:pt>
                <c:pt idx="90">
                  <c:v>45496</c:v>
                </c:pt>
                <c:pt idx="91">
                  <c:v>45495</c:v>
                </c:pt>
                <c:pt idx="92">
                  <c:v>45492</c:v>
                </c:pt>
                <c:pt idx="93">
                  <c:v>45491</c:v>
                </c:pt>
                <c:pt idx="94">
                  <c:v>45490</c:v>
                </c:pt>
                <c:pt idx="95">
                  <c:v>45489</c:v>
                </c:pt>
                <c:pt idx="96">
                  <c:v>45488</c:v>
                </c:pt>
                <c:pt idx="97">
                  <c:v>45485</c:v>
                </c:pt>
                <c:pt idx="98">
                  <c:v>45484</c:v>
                </c:pt>
                <c:pt idx="99">
                  <c:v>45483</c:v>
                </c:pt>
                <c:pt idx="100">
                  <c:v>45482</c:v>
                </c:pt>
                <c:pt idx="101">
                  <c:v>45481</c:v>
                </c:pt>
                <c:pt idx="102">
                  <c:v>45478</c:v>
                </c:pt>
                <c:pt idx="103">
                  <c:v>45477</c:v>
                </c:pt>
                <c:pt idx="104">
                  <c:v>45476</c:v>
                </c:pt>
                <c:pt idx="105">
                  <c:v>45475</c:v>
                </c:pt>
                <c:pt idx="106">
                  <c:v>45474</c:v>
                </c:pt>
                <c:pt idx="107">
                  <c:v>45471</c:v>
                </c:pt>
                <c:pt idx="108">
                  <c:v>45470</c:v>
                </c:pt>
                <c:pt idx="109">
                  <c:v>45469</c:v>
                </c:pt>
                <c:pt idx="110">
                  <c:v>45468</c:v>
                </c:pt>
                <c:pt idx="111">
                  <c:v>45467</c:v>
                </c:pt>
                <c:pt idx="112">
                  <c:v>45464</c:v>
                </c:pt>
                <c:pt idx="113">
                  <c:v>45463</c:v>
                </c:pt>
                <c:pt idx="114">
                  <c:v>45462</c:v>
                </c:pt>
                <c:pt idx="115">
                  <c:v>45461</c:v>
                </c:pt>
                <c:pt idx="116">
                  <c:v>45460</c:v>
                </c:pt>
                <c:pt idx="117">
                  <c:v>45457</c:v>
                </c:pt>
                <c:pt idx="118">
                  <c:v>45456</c:v>
                </c:pt>
                <c:pt idx="119">
                  <c:v>45455</c:v>
                </c:pt>
                <c:pt idx="120">
                  <c:v>45454</c:v>
                </c:pt>
                <c:pt idx="121">
                  <c:v>45453</c:v>
                </c:pt>
                <c:pt idx="122">
                  <c:v>45450</c:v>
                </c:pt>
                <c:pt idx="123">
                  <c:v>45449</c:v>
                </c:pt>
                <c:pt idx="124">
                  <c:v>45448</c:v>
                </c:pt>
                <c:pt idx="125">
                  <c:v>45447</c:v>
                </c:pt>
                <c:pt idx="126">
                  <c:v>45446</c:v>
                </c:pt>
                <c:pt idx="127">
                  <c:v>45443</c:v>
                </c:pt>
                <c:pt idx="128">
                  <c:v>45442</c:v>
                </c:pt>
                <c:pt idx="129">
                  <c:v>45441</c:v>
                </c:pt>
                <c:pt idx="130">
                  <c:v>45440</c:v>
                </c:pt>
                <c:pt idx="131">
                  <c:v>45439</c:v>
                </c:pt>
                <c:pt idx="132">
                  <c:v>45436</c:v>
                </c:pt>
                <c:pt idx="133">
                  <c:v>45435</c:v>
                </c:pt>
                <c:pt idx="134">
                  <c:v>45434</c:v>
                </c:pt>
                <c:pt idx="135">
                  <c:v>45433</c:v>
                </c:pt>
                <c:pt idx="136">
                  <c:v>45432</c:v>
                </c:pt>
                <c:pt idx="137">
                  <c:v>45429</c:v>
                </c:pt>
                <c:pt idx="138">
                  <c:v>45428</c:v>
                </c:pt>
                <c:pt idx="139">
                  <c:v>45427</c:v>
                </c:pt>
                <c:pt idx="140">
                  <c:v>45426</c:v>
                </c:pt>
                <c:pt idx="141">
                  <c:v>45425</c:v>
                </c:pt>
                <c:pt idx="142">
                  <c:v>45422</c:v>
                </c:pt>
                <c:pt idx="143">
                  <c:v>45421</c:v>
                </c:pt>
                <c:pt idx="144">
                  <c:v>45420</c:v>
                </c:pt>
                <c:pt idx="145">
                  <c:v>45419</c:v>
                </c:pt>
                <c:pt idx="146">
                  <c:v>45418</c:v>
                </c:pt>
                <c:pt idx="147">
                  <c:v>45415</c:v>
                </c:pt>
                <c:pt idx="148">
                  <c:v>45414</c:v>
                </c:pt>
                <c:pt idx="149">
                  <c:v>45413</c:v>
                </c:pt>
                <c:pt idx="150">
                  <c:v>45412</c:v>
                </c:pt>
                <c:pt idx="151">
                  <c:v>45411</c:v>
                </c:pt>
                <c:pt idx="152">
                  <c:v>45408</c:v>
                </c:pt>
                <c:pt idx="153">
                  <c:v>45407</c:v>
                </c:pt>
                <c:pt idx="154">
                  <c:v>45406</c:v>
                </c:pt>
                <c:pt idx="155">
                  <c:v>45405</c:v>
                </c:pt>
                <c:pt idx="156">
                  <c:v>45404</c:v>
                </c:pt>
                <c:pt idx="157">
                  <c:v>45401</c:v>
                </c:pt>
                <c:pt idx="158">
                  <c:v>45400</c:v>
                </c:pt>
                <c:pt idx="159">
                  <c:v>45399</c:v>
                </c:pt>
                <c:pt idx="160">
                  <c:v>45398</c:v>
                </c:pt>
                <c:pt idx="161">
                  <c:v>45397</c:v>
                </c:pt>
                <c:pt idx="162">
                  <c:v>45394</c:v>
                </c:pt>
                <c:pt idx="163">
                  <c:v>45393</c:v>
                </c:pt>
                <c:pt idx="164">
                  <c:v>45392</c:v>
                </c:pt>
                <c:pt idx="165">
                  <c:v>45391</c:v>
                </c:pt>
                <c:pt idx="166">
                  <c:v>45390</c:v>
                </c:pt>
                <c:pt idx="167">
                  <c:v>45387</c:v>
                </c:pt>
                <c:pt idx="168">
                  <c:v>45386</c:v>
                </c:pt>
                <c:pt idx="169">
                  <c:v>45385</c:v>
                </c:pt>
                <c:pt idx="170">
                  <c:v>45384</c:v>
                </c:pt>
                <c:pt idx="171">
                  <c:v>45383</c:v>
                </c:pt>
                <c:pt idx="172">
                  <c:v>45380</c:v>
                </c:pt>
                <c:pt idx="173">
                  <c:v>45379</c:v>
                </c:pt>
                <c:pt idx="174">
                  <c:v>45378</c:v>
                </c:pt>
                <c:pt idx="175">
                  <c:v>45377</c:v>
                </c:pt>
                <c:pt idx="176">
                  <c:v>45376</c:v>
                </c:pt>
                <c:pt idx="177">
                  <c:v>45373</c:v>
                </c:pt>
                <c:pt idx="178">
                  <c:v>45372</c:v>
                </c:pt>
                <c:pt idx="179">
                  <c:v>45371</c:v>
                </c:pt>
                <c:pt idx="180">
                  <c:v>45370</c:v>
                </c:pt>
                <c:pt idx="181">
                  <c:v>45369</c:v>
                </c:pt>
                <c:pt idx="182">
                  <c:v>45366</c:v>
                </c:pt>
                <c:pt idx="183">
                  <c:v>45365</c:v>
                </c:pt>
                <c:pt idx="184">
                  <c:v>45364</c:v>
                </c:pt>
                <c:pt idx="185">
                  <c:v>45363</c:v>
                </c:pt>
                <c:pt idx="186">
                  <c:v>45362</c:v>
                </c:pt>
                <c:pt idx="187">
                  <c:v>45359</c:v>
                </c:pt>
                <c:pt idx="188">
                  <c:v>45358</c:v>
                </c:pt>
                <c:pt idx="189">
                  <c:v>45357</c:v>
                </c:pt>
                <c:pt idx="190">
                  <c:v>45356</c:v>
                </c:pt>
                <c:pt idx="191">
                  <c:v>45355</c:v>
                </c:pt>
                <c:pt idx="192">
                  <c:v>45352</c:v>
                </c:pt>
                <c:pt idx="193">
                  <c:v>45351</c:v>
                </c:pt>
                <c:pt idx="194">
                  <c:v>45350</c:v>
                </c:pt>
                <c:pt idx="195">
                  <c:v>45349</c:v>
                </c:pt>
                <c:pt idx="196">
                  <c:v>45348</c:v>
                </c:pt>
                <c:pt idx="197">
                  <c:v>45345</c:v>
                </c:pt>
                <c:pt idx="198">
                  <c:v>45344</c:v>
                </c:pt>
                <c:pt idx="199">
                  <c:v>45343</c:v>
                </c:pt>
                <c:pt idx="200">
                  <c:v>45342</c:v>
                </c:pt>
                <c:pt idx="201">
                  <c:v>45341</c:v>
                </c:pt>
                <c:pt idx="202">
                  <c:v>45338</c:v>
                </c:pt>
                <c:pt idx="203">
                  <c:v>45337</c:v>
                </c:pt>
                <c:pt idx="204">
                  <c:v>45336</c:v>
                </c:pt>
                <c:pt idx="205">
                  <c:v>45335</c:v>
                </c:pt>
                <c:pt idx="206">
                  <c:v>45334</c:v>
                </c:pt>
                <c:pt idx="207">
                  <c:v>45331</c:v>
                </c:pt>
                <c:pt idx="208">
                  <c:v>45330</c:v>
                </c:pt>
                <c:pt idx="209">
                  <c:v>45329</c:v>
                </c:pt>
                <c:pt idx="210">
                  <c:v>45328</c:v>
                </c:pt>
                <c:pt idx="211">
                  <c:v>45327</c:v>
                </c:pt>
                <c:pt idx="212">
                  <c:v>45324</c:v>
                </c:pt>
                <c:pt idx="213">
                  <c:v>45323</c:v>
                </c:pt>
                <c:pt idx="214">
                  <c:v>45322</c:v>
                </c:pt>
                <c:pt idx="215">
                  <c:v>45321</c:v>
                </c:pt>
                <c:pt idx="216">
                  <c:v>45320</c:v>
                </c:pt>
                <c:pt idx="217">
                  <c:v>45317</c:v>
                </c:pt>
                <c:pt idx="218">
                  <c:v>45316</c:v>
                </c:pt>
                <c:pt idx="219">
                  <c:v>45315</c:v>
                </c:pt>
                <c:pt idx="220">
                  <c:v>45314</c:v>
                </c:pt>
                <c:pt idx="221">
                  <c:v>45313</c:v>
                </c:pt>
                <c:pt idx="222">
                  <c:v>45310</c:v>
                </c:pt>
                <c:pt idx="223">
                  <c:v>45309</c:v>
                </c:pt>
                <c:pt idx="224">
                  <c:v>45308</c:v>
                </c:pt>
                <c:pt idx="225">
                  <c:v>45307</c:v>
                </c:pt>
                <c:pt idx="226">
                  <c:v>45306</c:v>
                </c:pt>
                <c:pt idx="227">
                  <c:v>45303</c:v>
                </c:pt>
                <c:pt idx="228">
                  <c:v>45302</c:v>
                </c:pt>
                <c:pt idx="229">
                  <c:v>45301</c:v>
                </c:pt>
                <c:pt idx="230">
                  <c:v>45300</c:v>
                </c:pt>
                <c:pt idx="231">
                  <c:v>45299</c:v>
                </c:pt>
                <c:pt idx="232">
                  <c:v>45296</c:v>
                </c:pt>
                <c:pt idx="233">
                  <c:v>45295</c:v>
                </c:pt>
                <c:pt idx="234">
                  <c:v>45294</c:v>
                </c:pt>
                <c:pt idx="235">
                  <c:v>45293</c:v>
                </c:pt>
                <c:pt idx="236">
                  <c:v>45292</c:v>
                </c:pt>
                <c:pt idx="237">
                  <c:v>45289</c:v>
                </c:pt>
                <c:pt idx="238">
                  <c:v>45288</c:v>
                </c:pt>
                <c:pt idx="239">
                  <c:v>45287</c:v>
                </c:pt>
                <c:pt idx="240">
                  <c:v>45286</c:v>
                </c:pt>
                <c:pt idx="241">
                  <c:v>45285</c:v>
                </c:pt>
                <c:pt idx="242">
                  <c:v>45282</c:v>
                </c:pt>
                <c:pt idx="243">
                  <c:v>45281</c:v>
                </c:pt>
                <c:pt idx="244">
                  <c:v>45280</c:v>
                </c:pt>
                <c:pt idx="245">
                  <c:v>45279</c:v>
                </c:pt>
                <c:pt idx="246">
                  <c:v>45278</c:v>
                </c:pt>
                <c:pt idx="247">
                  <c:v>45275</c:v>
                </c:pt>
                <c:pt idx="248">
                  <c:v>45274</c:v>
                </c:pt>
                <c:pt idx="249">
                  <c:v>45273</c:v>
                </c:pt>
                <c:pt idx="250">
                  <c:v>45272</c:v>
                </c:pt>
                <c:pt idx="251">
                  <c:v>45271</c:v>
                </c:pt>
                <c:pt idx="252">
                  <c:v>45268</c:v>
                </c:pt>
                <c:pt idx="253">
                  <c:v>45267</c:v>
                </c:pt>
                <c:pt idx="254">
                  <c:v>45266</c:v>
                </c:pt>
                <c:pt idx="255">
                  <c:v>45265</c:v>
                </c:pt>
                <c:pt idx="256">
                  <c:v>45264</c:v>
                </c:pt>
                <c:pt idx="257">
                  <c:v>45261</c:v>
                </c:pt>
                <c:pt idx="258">
                  <c:v>45260</c:v>
                </c:pt>
                <c:pt idx="259">
                  <c:v>45259</c:v>
                </c:pt>
                <c:pt idx="260">
                  <c:v>45258</c:v>
                </c:pt>
                <c:pt idx="261">
                  <c:v>45257</c:v>
                </c:pt>
                <c:pt idx="262">
                  <c:v>45254</c:v>
                </c:pt>
                <c:pt idx="263">
                  <c:v>45253</c:v>
                </c:pt>
                <c:pt idx="264">
                  <c:v>45252</c:v>
                </c:pt>
                <c:pt idx="265">
                  <c:v>45251</c:v>
                </c:pt>
                <c:pt idx="266">
                  <c:v>45250</c:v>
                </c:pt>
                <c:pt idx="267">
                  <c:v>45247</c:v>
                </c:pt>
                <c:pt idx="268">
                  <c:v>45246</c:v>
                </c:pt>
                <c:pt idx="269">
                  <c:v>45245</c:v>
                </c:pt>
                <c:pt idx="270">
                  <c:v>45244</c:v>
                </c:pt>
                <c:pt idx="271">
                  <c:v>45243</c:v>
                </c:pt>
                <c:pt idx="272">
                  <c:v>45240</c:v>
                </c:pt>
                <c:pt idx="273">
                  <c:v>45239</c:v>
                </c:pt>
                <c:pt idx="274">
                  <c:v>45238</c:v>
                </c:pt>
                <c:pt idx="275">
                  <c:v>45237</c:v>
                </c:pt>
                <c:pt idx="276">
                  <c:v>45236</c:v>
                </c:pt>
                <c:pt idx="277">
                  <c:v>45233</c:v>
                </c:pt>
                <c:pt idx="278">
                  <c:v>45232</c:v>
                </c:pt>
                <c:pt idx="279">
                  <c:v>45231</c:v>
                </c:pt>
                <c:pt idx="280">
                  <c:v>45230</c:v>
                </c:pt>
                <c:pt idx="281">
                  <c:v>45229</c:v>
                </c:pt>
                <c:pt idx="282">
                  <c:v>45226</c:v>
                </c:pt>
                <c:pt idx="283">
                  <c:v>45225</c:v>
                </c:pt>
                <c:pt idx="284">
                  <c:v>45224</c:v>
                </c:pt>
                <c:pt idx="285">
                  <c:v>45223</c:v>
                </c:pt>
                <c:pt idx="286">
                  <c:v>45222</c:v>
                </c:pt>
                <c:pt idx="287">
                  <c:v>45219</c:v>
                </c:pt>
                <c:pt idx="288">
                  <c:v>45218</c:v>
                </c:pt>
                <c:pt idx="289">
                  <c:v>45217</c:v>
                </c:pt>
                <c:pt idx="290">
                  <c:v>45216</c:v>
                </c:pt>
                <c:pt idx="291">
                  <c:v>45215</c:v>
                </c:pt>
                <c:pt idx="292">
                  <c:v>45212</c:v>
                </c:pt>
                <c:pt idx="293">
                  <c:v>45211</c:v>
                </c:pt>
                <c:pt idx="294">
                  <c:v>45210</c:v>
                </c:pt>
                <c:pt idx="295">
                  <c:v>45209</c:v>
                </c:pt>
                <c:pt idx="296">
                  <c:v>45208</c:v>
                </c:pt>
                <c:pt idx="297">
                  <c:v>45205</c:v>
                </c:pt>
                <c:pt idx="298">
                  <c:v>45204</c:v>
                </c:pt>
                <c:pt idx="299">
                  <c:v>45203</c:v>
                </c:pt>
                <c:pt idx="300">
                  <c:v>45202</c:v>
                </c:pt>
                <c:pt idx="301">
                  <c:v>45201</c:v>
                </c:pt>
                <c:pt idx="302">
                  <c:v>45198</c:v>
                </c:pt>
                <c:pt idx="303">
                  <c:v>45197</c:v>
                </c:pt>
                <c:pt idx="304">
                  <c:v>45196</c:v>
                </c:pt>
                <c:pt idx="305">
                  <c:v>45195</c:v>
                </c:pt>
                <c:pt idx="306">
                  <c:v>45194</c:v>
                </c:pt>
                <c:pt idx="307">
                  <c:v>45191</c:v>
                </c:pt>
                <c:pt idx="308">
                  <c:v>45190</c:v>
                </c:pt>
                <c:pt idx="309">
                  <c:v>45189</c:v>
                </c:pt>
                <c:pt idx="310">
                  <c:v>45188</c:v>
                </c:pt>
                <c:pt idx="311">
                  <c:v>45187</c:v>
                </c:pt>
                <c:pt idx="312">
                  <c:v>45184</c:v>
                </c:pt>
                <c:pt idx="313">
                  <c:v>45183</c:v>
                </c:pt>
                <c:pt idx="314">
                  <c:v>45182</c:v>
                </c:pt>
                <c:pt idx="315">
                  <c:v>45181</c:v>
                </c:pt>
                <c:pt idx="316">
                  <c:v>45180</c:v>
                </c:pt>
                <c:pt idx="317">
                  <c:v>45177</c:v>
                </c:pt>
                <c:pt idx="318">
                  <c:v>45176</c:v>
                </c:pt>
                <c:pt idx="319">
                  <c:v>45175</c:v>
                </c:pt>
                <c:pt idx="320">
                  <c:v>45174</c:v>
                </c:pt>
                <c:pt idx="321">
                  <c:v>45173</c:v>
                </c:pt>
                <c:pt idx="322">
                  <c:v>45170</c:v>
                </c:pt>
                <c:pt idx="323">
                  <c:v>45169</c:v>
                </c:pt>
                <c:pt idx="324">
                  <c:v>45168</c:v>
                </c:pt>
                <c:pt idx="325">
                  <c:v>45167</c:v>
                </c:pt>
                <c:pt idx="326">
                  <c:v>45166</c:v>
                </c:pt>
                <c:pt idx="327">
                  <c:v>45163</c:v>
                </c:pt>
                <c:pt idx="328">
                  <c:v>45162</c:v>
                </c:pt>
                <c:pt idx="329">
                  <c:v>45161</c:v>
                </c:pt>
                <c:pt idx="330">
                  <c:v>45160</c:v>
                </c:pt>
                <c:pt idx="331">
                  <c:v>45159</c:v>
                </c:pt>
                <c:pt idx="332">
                  <c:v>45156</c:v>
                </c:pt>
                <c:pt idx="333">
                  <c:v>45155</c:v>
                </c:pt>
                <c:pt idx="334">
                  <c:v>45154</c:v>
                </c:pt>
                <c:pt idx="335">
                  <c:v>45153</c:v>
                </c:pt>
                <c:pt idx="336">
                  <c:v>45152</c:v>
                </c:pt>
                <c:pt idx="337">
                  <c:v>45149</c:v>
                </c:pt>
                <c:pt idx="338">
                  <c:v>45148</c:v>
                </c:pt>
                <c:pt idx="339">
                  <c:v>45147</c:v>
                </c:pt>
                <c:pt idx="340">
                  <c:v>45146</c:v>
                </c:pt>
                <c:pt idx="341">
                  <c:v>45145</c:v>
                </c:pt>
                <c:pt idx="342">
                  <c:v>45142</c:v>
                </c:pt>
                <c:pt idx="343">
                  <c:v>45141</c:v>
                </c:pt>
                <c:pt idx="344">
                  <c:v>45140</c:v>
                </c:pt>
                <c:pt idx="345">
                  <c:v>45139</c:v>
                </c:pt>
                <c:pt idx="346">
                  <c:v>45138</c:v>
                </c:pt>
                <c:pt idx="347">
                  <c:v>45135</c:v>
                </c:pt>
                <c:pt idx="348">
                  <c:v>45134</c:v>
                </c:pt>
                <c:pt idx="349">
                  <c:v>45133</c:v>
                </c:pt>
                <c:pt idx="350">
                  <c:v>45132</c:v>
                </c:pt>
                <c:pt idx="351">
                  <c:v>45131</c:v>
                </c:pt>
                <c:pt idx="352">
                  <c:v>45128</c:v>
                </c:pt>
                <c:pt idx="353">
                  <c:v>45127</c:v>
                </c:pt>
                <c:pt idx="354">
                  <c:v>45126</c:v>
                </c:pt>
                <c:pt idx="355">
                  <c:v>45125</c:v>
                </c:pt>
                <c:pt idx="356">
                  <c:v>45124</c:v>
                </c:pt>
                <c:pt idx="357">
                  <c:v>45121</c:v>
                </c:pt>
                <c:pt idx="358">
                  <c:v>45120</c:v>
                </c:pt>
                <c:pt idx="359">
                  <c:v>45119</c:v>
                </c:pt>
                <c:pt idx="360">
                  <c:v>45118</c:v>
                </c:pt>
                <c:pt idx="361">
                  <c:v>45117</c:v>
                </c:pt>
                <c:pt idx="362">
                  <c:v>45114</c:v>
                </c:pt>
                <c:pt idx="363">
                  <c:v>45113</c:v>
                </c:pt>
                <c:pt idx="364">
                  <c:v>45112</c:v>
                </c:pt>
                <c:pt idx="365">
                  <c:v>45111</c:v>
                </c:pt>
                <c:pt idx="366">
                  <c:v>45110</c:v>
                </c:pt>
                <c:pt idx="367">
                  <c:v>45107</c:v>
                </c:pt>
                <c:pt idx="368">
                  <c:v>45106</c:v>
                </c:pt>
                <c:pt idx="369">
                  <c:v>45105</c:v>
                </c:pt>
                <c:pt idx="370">
                  <c:v>45104</c:v>
                </c:pt>
                <c:pt idx="371">
                  <c:v>45103</c:v>
                </c:pt>
                <c:pt idx="372">
                  <c:v>45100</c:v>
                </c:pt>
                <c:pt idx="373">
                  <c:v>45099</c:v>
                </c:pt>
                <c:pt idx="374">
                  <c:v>45098</c:v>
                </c:pt>
                <c:pt idx="375">
                  <c:v>45097</c:v>
                </c:pt>
                <c:pt idx="376">
                  <c:v>45096</c:v>
                </c:pt>
                <c:pt idx="377">
                  <c:v>45093</c:v>
                </c:pt>
                <c:pt idx="378">
                  <c:v>45092</c:v>
                </c:pt>
                <c:pt idx="379">
                  <c:v>45091</c:v>
                </c:pt>
                <c:pt idx="380">
                  <c:v>45090</c:v>
                </c:pt>
                <c:pt idx="381">
                  <c:v>45089</c:v>
                </c:pt>
                <c:pt idx="382">
                  <c:v>45086</c:v>
                </c:pt>
                <c:pt idx="383">
                  <c:v>45085</c:v>
                </c:pt>
                <c:pt idx="384">
                  <c:v>45084</c:v>
                </c:pt>
                <c:pt idx="385">
                  <c:v>45083</c:v>
                </c:pt>
                <c:pt idx="386">
                  <c:v>45082</c:v>
                </c:pt>
                <c:pt idx="387">
                  <c:v>45079</c:v>
                </c:pt>
                <c:pt idx="388">
                  <c:v>45078</c:v>
                </c:pt>
                <c:pt idx="389">
                  <c:v>45077</c:v>
                </c:pt>
                <c:pt idx="390">
                  <c:v>45076</c:v>
                </c:pt>
                <c:pt idx="391">
                  <c:v>45075</c:v>
                </c:pt>
                <c:pt idx="392">
                  <c:v>45072</c:v>
                </c:pt>
                <c:pt idx="393">
                  <c:v>45071</c:v>
                </c:pt>
                <c:pt idx="394">
                  <c:v>45070</c:v>
                </c:pt>
                <c:pt idx="395">
                  <c:v>45069</c:v>
                </c:pt>
                <c:pt idx="396">
                  <c:v>45068</c:v>
                </c:pt>
                <c:pt idx="397">
                  <c:v>45065</c:v>
                </c:pt>
                <c:pt idx="398">
                  <c:v>45064</c:v>
                </c:pt>
                <c:pt idx="399">
                  <c:v>45063</c:v>
                </c:pt>
                <c:pt idx="400">
                  <c:v>45062</c:v>
                </c:pt>
                <c:pt idx="401">
                  <c:v>45061</c:v>
                </c:pt>
                <c:pt idx="402">
                  <c:v>45058</c:v>
                </c:pt>
                <c:pt idx="403">
                  <c:v>45057</c:v>
                </c:pt>
                <c:pt idx="404">
                  <c:v>45056</c:v>
                </c:pt>
                <c:pt idx="405">
                  <c:v>45055</c:v>
                </c:pt>
                <c:pt idx="406">
                  <c:v>45054</c:v>
                </c:pt>
                <c:pt idx="407">
                  <c:v>45051</c:v>
                </c:pt>
                <c:pt idx="408">
                  <c:v>45050</c:v>
                </c:pt>
                <c:pt idx="409">
                  <c:v>45049</c:v>
                </c:pt>
                <c:pt idx="410">
                  <c:v>45048</c:v>
                </c:pt>
                <c:pt idx="411">
                  <c:v>45047</c:v>
                </c:pt>
                <c:pt idx="412">
                  <c:v>45044</c:v>
                </c:pt>
                <c:pt idx="413">
                  <c:v>45043</c:v>
                </c:pt>
                <c:pt idx="414">
                  <c:v>45042</c:v>
                </c:pt>
                <c:pt idx="415">
                  <c:v>45041</c:v>
                </c:pt>
                <c:pt idx="416">
                  <c:v>45040</c:v>
                </c:pt>
                <c:pt idx="417">
                  <c:v>45037</c:v>
                </c:pt>
                <c:pt idx="418">
                  <c:v>45036</c:v>
                </c:pt>
                <c:pt idx="419">
                  <c:v>45035</c:v>
                </c:pt>
                <c:pt idx="420">
                  <c:v>45034</c:v>
                </c:pt>
                <c:pt idx="421">
                  <c:v>45033</c:v>
                </c:pt>
                <c:pt idx="422">
                  <c:v>45030</c:v>
                </c:pt>
                <c:pt idx="423">
                  <c:v>45029</c:v>
                </c:pt>
                <c:pt idx="424">
                  <c:v>45028</c:v>
                </c:pt>
                <c:pt idx="425">
                  <c:v>45027</c:v>
                </c:pt>
                <c:pt idx="426">
                  <c:v>45026</c:v>
                </c:pt>
                <c:pt idx="427">
                  <c:v>45023</c:v>
                </c:pt>
                <c:pt idx="428">
                  <c:v>45022</c:v>
                </c:pt>
                <c:pt idx="429">
                  <c:v>45021</c:v>
                </c:pt>
                <c:pt idx="430">
                  <c:v>45020</c:v>
                </c:pt>
                <c:pt idx="431">
                  <c:v>45019</c:v>
                </c:pt>
                <c:pt idx="432">
                  <c:v>45016</c:v>
                </c:pt>
                <c:pt idx="433">
                  <c:v>45015</c:v>
                </c:pt>
                <c:pt idx="434">
                  <c:v>45014</c:v>
                </c:pt>
                <c:pt idx="435">
                  <c:v>45013</c:v>
                </c:pt>
                <c:pt idx="436">
                  <c:v>45012</c:v>
                </c:pt>
                <c:pt idx="437">
                  <c:v>45009</c:v>
                </c:pt>
                <c:pt idx="438">
                  <c:v>45008</c:v>
                </c:pt>
                <c:pt idx="439">
                  <c:v>45007</c:v>
                </c:pt>
                <c:pt idx="440">
                  <c:v>45006</c:v>
                </c:pt>
                <c:pt idx="441">
                  <c:v>45005</c:v>
                </c:pt>
                <c:pt idx="442">
                  <c:v>45002</c:v>
                </c:pt>
                <c:pt idx="443">
                  <c:v>45001</c:v>
                </c:pt>
                <c:pt idx="444">
                  <c:v>45000</c:v>
                </c:pt>
                <c:pt idx="445">
                  <c:v>44999</c:v>
                </c:pt>
                <c:pt idx="446">
                  <c:v>44998</c:v>
                </c:pt>
                <c:pt idx="447">
                  <c:v>44995</c:v>
                </c:pt>
                <c:pt idx="448">
                  <c:v>44994</c:v>
                </c:pt>
                <c:pt idx="449">
                  <c:v>44993</c:v>
                </c:pt>
                <c:pt idx="450">
                  <c:v>44992</c:v>
                </c:pt>
                <c:pt idx="451">
                  <c:v>44991</c:v>
                </c:pt>
                <c:pt idx="452">
                  <c:v>44988</c:v>
                </c:pt>
                <c:pt idx="453">
                  <c:v>44987</c:v>
                </c:pt>
                <c:pt idx="454">
                  <c:v>44986</c:v>
                </c:pt>
                <c:pt idx="455">
                  <c:v>44985</c:v>
                </c:pt>
                <c:pt idx="456">
                  <c:v>44984</c:v>
                </c:pt>
                <c:pt idx="457">
                  <c:v>44981</c:v>
                </c:pt>
                <c:pt idx="458">
                  <c:v>44980</c:v>
                </c:pt>
                <c:pt idx="459">
                  <c:v>44979</c:v>
                </c:pt>
                <c:pt idx="460">
                  <c:v>44978</c:v>
                </c:pt>
                <c:pt idx="461">
                  <c:v>44977</c:v>
                </c:pt>
                <c:pt idx="462">
                  <c:v>44974</c:v>
                </c:pt>
                <c:pt idx="463">
                  <c:v>44973</c:v>
                </c:pt>
                <c:pt idx="464">
                  <c:v>44972</c:v>
                </c:pt>
                <c:pt idx="465">
                  <c:v>44971</c:v>
                </c:pt>
                <c:pt idx="466">
                  <c:v>44970</c:v>
                </c:pt>
                <c:pt idx="467">
                  <c:v>44967</c:v>
                </c:pt>
                <c:pt idx="468">
                  <c:v>44966</c:v>
                </c:pt>
                <c:pt idx="469">
                  <c:v>44965</c:v>
                </c:pt>
                <c:pt idx="470">
                  <c:v>44964</c:v>
                </c:pt>
                <c:pt idx="471">
                  <c:v>44963</c:v>
                </c:pt>
                <c:pt idx="472">
                  <c:v>44960</c:v>
                </c:pt>
                <c:pt idx="473">
                  <c:v>44959</c:v>
                </c:pt>
                <c:pt idx="474">
                  <c:v>44958</c:v>
                </c:pt>
                <c:pt idx="475">
                  <c:v>44957</c:v>
                </c:pt>
                <c:pt idx="476">
                  <c:v>44956</c:v>
                </c:pt>
                <c:pt idx="477">
                  <c:v>44953</c:v>
                </c:pt>
                <c:pt idx="478">
                  <c:v>44952</c:v>
                </c:pt>
                <c:pt idx="479">
                  <c:v>44951</c:v>
                </c:pt>
                <c:pt idx="480">
                  <c:v>44950</c:v>
                </c:pt>
                <c:pt idx="481">
                  <c:v>44949</c:v>
                </c:pt>
                <c:pt idx="482">
                  <c:v>44946</c:v>
                </c:pt>
                <c:pt idx="483">
                  <c:v>44945</c:v>
                </c:pt>
                <c:pt idx="484">
                  <c:v>44944</c:v>
                </c:pt>
                <c:pt idx="485">
                  <c:v>44943</c:v>
                </c:pt>
                <c:pt idx="486">
                  <c:v>44942</c:v>
                </c:pt>
                <c:pt idx="487">
                  <c:v>44939</c:v>
                </c:pt>
                <c:pt idx="488">
                  <c:v>44938</c:v>
                </c:pt>
                <c:pt idx="489">
                  <c:v>44937</c:v>
                </c:pt>
                <c:pt idx="490">
                  <c:v>44936</c:v>
                </c:pt>
                <c:pt idx="491">
                  <c:v>44935</c:v>
                </c:pt>
                <c:pt idx="492">
                  <c:v>44932</c:v>
                </c:pt>
                <c:pt idx="493">
                  <c:v>44931</c:v>
                </c:pt>
                <c:pt idx="494">
                  <c:v>44930</c:v>
                </c:pt>
                <c:pt idx="495">
                  <c:v>44929</c:v>
                </c:pt>
                <c:pt idx="496">
                  <c:v>44928</c:v>
                </c:pt>
                <c:pt idx="497">
                  <c:v>44925</c:v>
                </c:pt>
                <c:pt idx="498">
                  <c:v>44924</c:v>
                </c:pt>
                <c:pt idx="499">
                  <c:v>44923</c:v>
                </c:pt>
                <c:pt idx="500">
                  <c:v>44922</c:v>
                </c:pt>
                <c:pt idx="501">
                  <c:v>44921</c:v>
                </c:pt>
                <c:pt idx="502">
                  <c:v>44918</c:v>
                </c:pt>
                <c:pt idx="503">
                  <c:v>44917</c:v>
                </c:pt>
                <c:pt idx="504">
                  <c:v>44916</c:v>
                </c:pt>
                <c:pt idx="505">
                  <c:v>44915</c:v>
                </c:pt>
                <c:pt idx="506">
                  <c:v>44914</c:v>
                </c:pt>
                <c:pt idx="507">
                  <c:v>44911</c:v>
                </c:pt>
                <c:pt idx="508">
                  <c:v>44910</c:v>
                </c:pt>
                <c:pt idx="509">
                  <c:v>44909</c:v>
                </c:pt>
                <c:pt idx="510">
                  <c:v>44908</c:v>
                </c:pt>
                <c:pt idx="511">
                  <c:v>44907</c:v>
                </c:pt>
                <c:pt idx="512">
                  <c:v>44904</c:v>
                </c:pt>
                <c:pt idx="513">
                  <c:v>44903</c:v>
                </c:pt>
                <c:pt idx="514">
                  <c:v>44902</c:v>
                </c:pt>
                <c:pt idx="515">
                  <c:v>44901</c:v>
                </c:pt>
                <c:pt idx="516">
                  <c:v>44900</c:v>
                </c:pt>
                <c:pt idx="517">
                  <c:v>44897</c:v>
                </c:pt>
                <c:pt idx="518">
                  <c:v>44896</c:v>
                </c:pt>
                <c:pt idx="519">
                  <c:v>44895</c:v>
                </c:pt>
                <c:pt idx="520">
                  <c:v>44894</c:v>
                </c:pt>
                <c:pt idx="521">
                  <c:v>44893</c:v>
                </c:pt>
                <c:pt idx="522">
                  <c:v>44890</c:v>
                </c:pt>
                <c:pt idx="523">
                  <c:v>44889</c:v>
                </c:pt>
                <c:pt idx="524">
                  <c:v>44888</c:v>
                </c:pt>
                <c:pt idx="525">
                  <c:v>44887</c:v>
                </c:pt>
                <c:pt idx="526">
                  <c:v>44886</c:v>
                </c:pt>
                <c:pt idx="527">
                  <c:v>44883</c:v>
                </c:pt>
                <c:pt idx="528">
                  <c:v>44882</c:v>
                </c:pt>
                <c:pt idx="529">
                  <c:v>44881</c:v>
                </c:pt>
                <c:pt idx="530">
                  <c:v>44880</c:v>
                </c:pt>
                <c:pt idx="531">
                  <c:v>44879</c:v>
                </c:pt>
                <c:pt idx="532">
                  <c:v>44876</c:v>
                </c:pt>
                <c:pt idx="533">
                  <c:v>44875</c:v>
                </c:pt>
                <c:pt idx="534">
                  <c:v>44874</c:v>
                </c:pt>
                <c:pt idx="535">
                  <c:v>44873</c:v>
                </c:pt>
                <c:pt idx="536">
                  <c:v>44872</c:v>
                </c:pt>
                <c:pt idx="537">
                  <c:v>44869</c:v>
                </c:pt>
                <c:pt idx="538">
                  <c:v>44868</c:v>
                </c:pt>
                <c:pt idx="539">
                  <c:v>44867</c:v>
                </c:pt>
                <c:pt idx="540">
                  <c:v>44866</c:v>
                </c:pt>
                <c:pt idx="541">
                  <c:v>44865</c:v>
                </c:pt>
                <c:pt idx="542">
                  <c:v>44862</c:v>
                </c:pt>
                <c:pt idx="543">
                  <c:v>44861</c:v>
                </c:pt>
                <c:pt idx="544">
                  <c:v>44860</c:v>
                </c:pt>
                <c:pt idx="545">
                  <c:v>44859</c:v>
                </c:pt>
                <c:pt idx="546">
                  <c:v>44858</c:v>
                </c:pt>
                <c:pt idx="547">
                  <c:v>44855</c:v>
                </c:pt>
                <c:pt idx="548">
                  <c:v>44854</c:v>
                </c:pt>
                <c:pt idx="549">
                  <c:v>44853</c:v>
                </c:pt>
                <c:pt idx="550">
                  <c:v>44852</c:v>
                </c:pt>
                <c:pt idx="551">
                  <c:v>44851</c:v>
                </c:pt>
                <c:pt idx="552">
                  <c:v>44848</c:v>
                </c:pt>
                <c:pt idx="553">
                  <c:v>44847</c:v>
                </c:pt>
                <c:pt idx="554">
                  <c:v>44846</c:v>
                </c:pt>
                <c:pt idx="555">
                  <c:v>44845</c:v>
                </c:pt>
                <c:pt idx="556">
                  <c:v>44844</c:v>
                </c:pt>
                <c:pt idx="557">
                  <c:v>44841</c:v>
                </c:pt>
                <c:pt idx="558">
                  <c:v>44840</c:v>
                </c:pt>
                <c:pt idx="559">
                  <c:v>44839</c:v>
                </c:pt>
                <c:pt idx="560">
                  <c:v>44838</c:v>
                </c:pt>
                <c:pt idx="561">
                  <c:v>44837</c:v>
                </c:pt>
                <c:pt idx="562">
                  <c:v>44834</c:v>
                </c:pt>
                <c:pt idx="563">
                  <c:v>44833</c:v>
                </c:pt>
                <c:pt idx="564">
                  <c:v>44832</c:v>
                </c:pt>
                <c:pt idx="565">
                  <c:v>44831</c:v>
                </c:pt>
                <c:pt idx="566">
                  <c:v>44830</c:v>
                </c:pt>
                <c:pt idx="567">
                  <c:v>44827</c:v>
                </c:pt>
                <c:pt idx="568">
                  <c:v>44826</c:v>
                </c:pt>
                <c:pt idx="569">
                  <c:v>44825</c:v>
                </c:pt>
                <c:pt idx="570">
                  <c:v>44824</c:v>
                </c:pt>
                <c:pt idx="571">
                  <c:v>44823</c:v>
                </c:pt>
                <c:pt idx="572">
                  <c:v>44820</c:v>
                </c:pt>
                <c:pt idx="573">
                  <c:v>44819</c:v>
                </c:pt>
                <c:pt idx="574">
                  <c:v>44818</c:v>
                </c:pt>
                <c:pt idx="575">
                  <c:v>44817</c:v>
                </c:pt>
                <c:pt idx="576">
                  <c:v>44816</c:v>
                </c:pt>
                <c:pt idx="577">
                  <c:v>44813</c:v>
                </c:pt>
                <c:pt idx="578">
                  <c:v>44812</c:v>
                </c:pt>
                <c:pt idx="579">
                  <c:v>44811</c:v>
                </c:pt>
                <c:pt idx="580">
                  <c:v>44810</c:v>
                </c:pt>
                <c:pt idx="581">
                  <c:v>44809</c:v>
                </c:pt>
                <c:pt idx="582">
                  <c:v>44806</c:v>
                </c:pt>
                <c:pt idx="583">
                  <c:v>44805</c:v>
                </c:pt>
                <c:pt idx="584">
                  <c:v>44804</c:v>
                </c:pt>
                <c:pt idx="585">
                  <c:v>44803</c:v>
                </c:pt>
                <c:pt idx="586">
                  <c:v>44802</c:v>
                </c:pt>
                <c:pt idx="587">
                  <c:v>44799</c:v>
                </c:pt>
                <c:pt idx="588">
                  <c:v>44798</c:v>
                </c:pt>
                <c:pt idx="589">
                  <c:v>44797</c:v>
                </c:pt>
                <c:pt idx="590">
                  <c:v>44796</c:v>
                </c:pt>
                <c:pt idx="591">
                  <c:v>44795</c:v>
                </c:pt>
                <c:pt idx="592">
                  <c:v>44792</c:v>
                </c:pt>
                <c:pt idx="593">
                  <c:v>44791</c:v>
                </c:pt>
                <c:pt idx="594">
                  <c:v>44790</c:v>
                </c:pt>
                <c:pt idx="595">
                  <c:v>44789</c:v>
                </c:pt>
                <c:pt idx="596">
                  <c:v>44788</c:v>
                </c:pt>
                <c:pt idx="597">
                  <c:v>44785</c:v>
                </c:pt>
                <c:pt idx="598">
                  <c:v>44784</c:v>
                </c:pt>
                <c:pt idx="599">
                  <c:v>44783</c:v>
                </c:pt>
                <c:pt idx="600">
                  <c:v>44782</c:v>
                </c:pt>
                <c:pt idx="601">
                  <c:v>44781</c:v>
                </c:pt>
                <c:pt idx="602">
                  <c:v>44778</c:v>
                </c:pt>
                <c:pt idx="603">
                  <c:v>44777</c:v>
                </c:pt>
                <c:pt idx="604">
                  <c:v>44776</c:v>
                </c:pt>
                <c:pt idx="605">
                  <c:v>44775</c:v>
                </c:pt>
                <c:pt idx="606">
                  <c:v>44774</c:v>
                </c:pt>
                <c:pt idx="607">
                  <c:v>44771</c:v>
                </c:pt>
                <c:pt idx="608">
                  <c:v>44770</c:v>
                </c:pt>
                <c:pt idx="609">
                  <c:v>44769</c:v>
                </c:pt>
                <c:pt idx="610">
                  <c:v>44768</c:v>
                </c:pt>
                <c:pt idx="611">
                  <c:v>44767</c:v>
                </c:pt>
                <c:pt idx="612">
                  <c:v>44764</c:v>
                </c:pt>
                <c:pt idx="613">
                  <c:v>44763</c:v>
                </c:pt>
                <c:pt idx="614">
                  <c:v>44762</c:v>
                </c:pt>
                <c:pt idx="615">
                  <c:v>44761</c:v>
                </c:pt>
                <c:pt idx="616">
                  <c:v>44760</c:v>
                </c:pt>
                <c:pt idx="617">
                  <c:v>44757</c:v>
                </c:pt>
                <c:pt idx="618">
                  <c:v>44756</c:v>
                </c:pt>
                <c:pt idx="619">
                  <c:v>44755</c:v>
                </c:pt>
                <c:pt idx="620">
                  <c:v>44754</c:v>
                </c:pt>
                <c:pt idx="621">
                  <c:v>44753</c:v>
                </c:pt>
                <c:pt idx="622">
                  <c:v>44750</c:v>
                </c:pt>
                <c:pt idx="623">
                  <c:v>44749</c:v>
                </c:pt>
                <c:pt idx="624">
                  <c:v>44748</c:v>
                </c:pt>
                <c:pt idx="625">
                  <c:v>44747</c:v>
                </c:pt>
                <c:pt idx="626">
                  <c:v>44746</c:v>
                </c:pt>
                <c:pt idx="627">
                  <c:v>44743</c:v>
                </c:pt>
                <c:pt idx="628">
                  <c:v>44742</c:v>
                </c:pt>
                <c:pt idx="629">
                  <c:v>44741</c:v>
                </c:pt>
                <c:pt idx="630">
                  <c:v>44740</c:v>
                </c:pt>
                <c:pt idx="631">
                  <c:v>44739</c:v>
                </c:pt>
                <c:pt idx="632">
                  <c:v>44736</c:v>
                </c:pt>
                <c:pt idx="633">
                  <c:v>44735</c:v>
                </c:pt>
                <c:pt idx="634">
                  <c:v>44734</c:v>
                </c:pt>
                <c:pt idx="635">
                  <c:v>44733</c:v>
                </c:pt>
                <c:pt idx="636">
                  <c:v>44732</c:v>
                </c:pt>
                <c:pt idx="637">
                  <c:v>44729</c:v>
                </c:pt>
                <c:pt idx="638">
                  <c:v>44728</c:v>
                </c:pt>
                <c:pt idx="639">
                  <c:v>44727</c:v>
                </c:pt>
                <c:pt idx="640">
                  <c:v>44726</c:v>
                </c:pt>
                <c:pt idx="641">
                  <c:v>44725</c:v>
                </c:pt>
                <c:pt idx="642">
                  <c:v>44722</c:v>
                </c:pt>
                <c:pt idx="643">
                  <c:v>44721</c:v>
                </c:pt>
                <c:pt idx="644">
                  <c:v>44720</c:v>
                </c:pt>
                <c:pt idx="645">
                  <c:v>44719</c:v>
                </c:pt>
                <c:pt idx="646">
                  <c:v>44718</c:v>
                </c:pt>
                <c:pt idx="647">
                  <c:v>44715</c:v>
                </c:pt>
                <c:pt idx="648">
                  <c:v>44714</c:v>
                </c:pt>
                <c:pt idx="649">
                  <c:v>44713</c:v>
                </c:pt>
                <c:pt idx="650">
                  <c:v>44712</c:v>
                </c:pt>
                <c:pt idx="651">
                  <c:v>44711</c:v>
                </c:pt>
                <c:pt idx="652">
                  <c:v>44708</c:v>
                </c:pt>
                <c:pt idx="653">
                  <c:v>44707</c:v>
                </c:pt>
                <c:pt idx="654">
                  <c:v>44706</c:v>
                </c:pt>
                <c:pt idx="655">
                  <c:v>44705</c:v>
                </c:pt>
                <c:pt idx="656">
                  <c:v>44704</c:v>
                </c:pt>
                <c:pt idx="657">
                  <c:v>44701</c:v>
                </c:pt>
                <c:pt idx="658">
                  <c:v>44700</c:v>
                </c:pt>
                <c:pt idx="659">
                  <c:v>44699</c:v>
                </c:pt>
                <c:pt idx="660">
                  <c:v>44698</c:v>
                </c:pt>
                <c:pt idx="661">
                  <c:v>44697</c:v>
                </c:pt>
                <c:pt idx="662">
                  <c:v>44694</c:v>
                </c:pt>
                <c:pt idx="663">
                  <c:v>44693</c:v>
                </c:pt>
                <c:pt idx="664">
                  <c:v>44692</c:v>
                </c:pt>
                <c:pt idx="665">
                  <c:v>44691</c:v>
                </c:pt>
                <c:pt idx="666">
                  <c:v>44690</c:v>
                </c:pt>
                <c:pt idx="667">
                  <c:v>44687</c:v>
                </c:pt>
                <c:pt idx="668">
                  <c:v>44686</c:v>
                </c:pt>
                <c:pt idx="669">
                  <c:v>44685</c:v>
                </c:pt>
                <c:pt idx="670">
                  <c:v>44684</c:v>
                </c:pt>
                <c:pt idx="671">
                  <c:v>44683</c:v>
                </c:pt>
                <c:pt idx="672">
                  <c:v>44680</c:v>
                </c:pt>
                <c:pt idx="673">
                  <c:v>44679</c:v>
                </c:pt>
                <c:pt idx="674">
                  <c:v>44678</c:v>
                </c:pt>
                <c:pt idx="675">
                  <c:v>44677</c:v>
                </c:pt>
                <c:pt idx="676">
                  <c:v>44676</c:v>
                </c:pt>
                <c:pt idx="677">
                  <c:v>44673</c:v>
                </c:pt>
                <c:pt idx="678">
                  <c:v>44672</c:v>
                </c:pt>
                <c:pt idx="679">
                  <c:v>44671</c:v>
                </c:pt>
                <c:pt idx="680">
                  <c:v>44670</c:v>
                </c:pt>
                <c:pt idx="681">
                  <c:v>44669</c:v>
                </c:pt>
                <c:pt idx="682">
                  <c:v>44666</c:v>
                </c:pt>
                <c:pt idx="683">
                  <c:v>44665</c:v>
                </c:pt>
                <c:pt idx="684">
                  <c:v>44664</c:v>
                </c:pt>
                <c:pt idx="685">
                  <c:v>44663</c:v>
                </c:pt>
                <c:pt idx="686">
                  <c:v>44662</c:v>
                </c:pt>
                <c:pt idx="687">
                  <c:v>44659</c:v>
                </c:pt>
                <c:pt idx="688">
                  <c:v>44658</c:v>
                </c:pt>
                <c:pt idx="689">
                  <c:v>44657</c:v>
                </c:pt>
                <c:pt idx="690">
                  <c:v>44656</c:v>
                </c:pt>
                <c:pt idx="691">
                  <c:v>44655</c:v>
                </c:pt>
                <c:pt idx="692">
                  <c:v>44652</c:v>
                </c:pt>
                <c:pt idx="693">
                  <c:v>44651</c:v>
                </c:pt>
                <c:pt idx="694">
                  <c:v>44650</c:v>
                </c:pt>
                <c:pt idx="695">
                  <c:v>44649</c:v>
                </c:pt>
                <c:pt idx="696">
                  <c:v>44648</c:v>
                </c:pt>
                <c:pt idx="697">
                  <c:v>44645</c:v>
                </c:pt>
                <c:pt idx="698">
                  <c:v>44644</c:v>
                </c:pt>
                <c:pt idx="699">
                  <c:v>44643</c:v>
                </c:pt>
                <c:pt idx="700">
                  <c:v>44642</c:v>
                </c:pt>
                <c:pt idx="701">
                  <c:v>44641</c:v>
                </c:pt>
                <c:pt idx="702">
                  <c:v>44638</c:v>
                </c:pt>
                <c:pt idx="703">
                  <c:v>44637</c:v>
                </c:pt>
                <c:pt idx="704">
                  <c:v>44636</c:v>
                </c:pt>
                <c:pt idx="705">
                  <c:v>44635</c:v>
                </c:pt>
                <c:pt idx="706">
                  <c:v>44634</c:v>
                </c:pt>
                <c:pt idx="707">
                  <c:v>44631</c:v>
                </c:pt>
                <c:pt idx="708">
                  <c:v>44630</c:v>
                </c:pt>
                <c:pt idx="709">
                  <c:v>44629</c:v>
                </c:pt>
                <c:pt idx="710">
                  <c:v>44628</c:v>
                </c:pt>
                <c:pt idx="711">
                  <c:v>44627</c:v>
                </c:pt>
                <c:pt idx="712">
                  <c:v>44624</c:v>
                </c:pt>
                <c:pt idx="713">
                  <c:v>44623</c:v>
                </c:pt>
                <c:pt idx="714">
                  <c:v>44622</c:v>
                </c:pt>
                <c:pt idx="715">
                  <c:v>44621</c:v>
                </c:pt>
                <c:pt idx="716">
                  <c:v>44620</c:v>
                </c:pt>
                <c:pt idx="717">
                  <c:v>44617</c:v>
                </c:pt>
                <c:pt idx="718">
                  <c:v>44616</c:v>
                </c:pt>
                <c:pt idx="719">
                  <c:v>44615</c:v>
                </c:pt>
                <c:pt idx="720">
                  <c:v>44614</c:v>
                </c:pt>
                <c:pt idx="721">
                  <c:v>44613</c:v>
                </c:pt>
                <c:pt idx="722">
                  <c:v>44610</c:v>
                </c:pt>
                <c:pt idx="723">
                  <c:v>44609</c:v>
                </c:pt>
                <c:pt idx="724">
                  <c:v>44608</c:v>
                </c:pt>
                <c:pt idx="725">
                  <c:v>44607</c:v>
                </c:pt>
                <c:pt idx="726">
                  <c:v>44606</c:v>
                </c:pt>
                <c:pt idx="727">
                  <c:v>44603</c:v>
                </c:pt>
                <c:pt idx="728">
                  <c:v>44602</c:v>
                </c:pt>
                <c:pt idx="729">
                  <c:v>44601</c:v>
                </c:pt>
                <c:pt idx="730">
                  <c:v>44600</c:v>
                </c:pt>
                <c:pt idx="731">
                  <c:v>44599</c:v>
                </c:pt>
                <c:pt idx="732">
                  <c:v>44596</c:v>
                </c:pt>
                <c:pt idx="733">
                  <c:v>44595</c:v>
                </c:pt>
                <c:pt idx="734">
                  <c:v>44594</c:v>
                </c:pt>
                <c:pt idx="735">
                  <c:v>44593</c:v>
                </c:pt>
                <c:pt idx="736">
                  <c:v>44592</c:v>
                </c:pt>
                <c:pt idx="737">
                  <c:v>44589</c:v>
                </c:pt>
                <c:pt idx="738">
                  <c:v>44588</c:v>
                </c:pt>
                <c:pt idx="739">
                  <c:v>44587</c:v>
                </c:pt>
                <c:pt idx="740">
                  <c:v>44586</c:v>
                </c:pt>
                <c:pt idx="741">
                  <c:v>44585</c:v>
                </c:pt>
                <c:pt idx="742">
                  <c:v>44582</c:v>
                </c:pt>
                <c:pt idx="743">
                  <c:v>44581</c:v>
                </c:pt>
                <c:pt idx="744">
                  <c:v>44580</c:v>
                </c:pt>
                <c:pt idx="745">
                  <c:v>44579</c:v>
                </c:pt>
                <c:pt idx="746">
                  <c:v>44578</c:v>
                </c:pt>
                <c:pt idx="747">
                  <c:v>44575</c:v>
                </c:pt>
                <c:pt idx="748">
                  <c:v>44574</c:v>
                </c:pt>
                <c:pt idx="749">
                  <c:v>44573</c:v>
                </c:pt>
                <c:pt idx="750">
                  <c:v>44572</c:v>
                </c:pt>
                <c:pt idx="751">
                  <c:v>44571</c:v>
                </c:pt>
                <c:pt idx="752">
                  <c:v>44568</c:v>
                </c:pt>
                <c:pt idx="753">
                  <c:v>44567</c:v>
                </c:pt>
                <c:pt idx="754">
                  <c:v>44566</c:v>
                </c:pt>
                <c:pt idx="755">
                  <c:v>44565</c:v>
                </c:pt>
                <c:pt idx="756">
                  <c:v>44564</c:v>
                </c:pt>
                <c:pt idx="757">
                  <c:v>44561</c:v>
                </c:pt>
                <c:pt idx="758">
                  <c:v>44560</c:v>
                </c:pt>
                <c:pt idx="759">
                  <c:v>44559</c:v>
                </c:pt>
                <c:pt idx="760">
                  <c:v>44558</c:v>
                </c:pt>
                <c:pt idx="761">
                  <c:v>44557</c:v>
                </c:pt>
                <c:pt idx="762">
                  <c:v>44554</c:v>
                </c:pt>
                <c:pt idx="763">
                  <c:v>44553</c:v>
                </c:pt>
                <c:pt idx="764">
                  <c:v>44552</c:v>
                </c:pt>
                <c:pt idx="765">
                  <c:v>44551</c:v>
                </c:pt>
                <c:pt idx="766">
                  <c:v>44550</c:v>
                </c:pt>
                <c:pt idx="767">
                  <c:v>44547</c:v>
                </c:pt>
                <c:pt idx="768">
                  <c:v>44546</c:v>
                </c:pt>
                <c:pt idx="769">
                  <c:v>44545</c:v>
                </c:pt>
                <c:pt idx="770">
                  <c:v>44544</c:v>
                </c:pt>
                <c:pt idx="771">
                  <c:v>44543</c:v>
                </c:pt>
                <c:pt idx="772">
                  <c:v>44540</c:v>
                </c:pt>
                <c:pt idx="773">
                  <c:v>44539</c:v>
                </c:pt>
                <c:pt idx="774">
                  <c:v>44538</c:v>
                </c:pt>
                <c:pt idx="775">
                  <c:v>44537</c:v>
                </c:pt>
                <c:pt idx="776">
                  <c:v>44536</c:v>
                </c:pt>
                <c:pt idx="777">
                  <c:v>44533</c:v>
                </c:pt>
                <c:pt idx="778">
                  <c:v>44532</c:v>
                </c:pt>
                <c:pt idx="779">
                  <c:v>44531</c:v>
                </c:pt>
                <c:pt idx="780">
                  <c:v>44530</c:v>
                </c:pt>
                <c:pt idx="781">
                  <c:v>44529</c:v>
                </c:pt>
                <c:pt idx="782">
                  <c:v>44526</c:v>
                </c:pt>
                <c:pt idx="783">
                  <c:v>44525</c:v>
                </c:pt>
                <c:pt idx="784">
                  <c:v>44524</c:v>
                </c:pt>
                <c:pt idx="785">
                  <c:v>44523</c:v>
                </c:pt>
                <c:pt idx="786">
                  <c:v>44522</c:v>
                </c:pt>
                <c:pt idx="787">
                  <c:v>44519</c:v>
                </c:pt>
                <c:pt idx="788">
                  <c:v>44518</c:v>
                </c:pt>
                <c:pt idx="789">
                  <c:v>44517</c:v>
                </c:pt>
                <c:pt idx="790">
                  <c:v>44516</c:v>
                </c:pt>
                <c:pt idx="791">
                  <c:v>44515</c:v>
                </c:pt>
                <c:pt idx="792">
                  <c:v>44512</c:v>
                </c:pt>
                <c:pt idx="793">
                  <c:v>44511</c:v>
                </c:pt>
                <c:pt idx="794">
                  <c:v>44510</c:v>
                </c:pt>
                <c:pt idx="795">
                  <c:v>44509</c:v>
                </c:pt>
                <c:pt idx="796">
                  <c:v>44508</c:v>
                </c:pt>
                <c:pt idx="797">
                  <c:v>44505</c:v>
                </c:pt>
                <c:pt idx="798">
                  <c:v>44504</c:v>
                </c:pt>
                <c:pt idx="799">
                  <c:v>44503</c:v>
                </c:pt>
                <c:pt idx="800">
                  <c:v>44502</c:v>
                </c:pt>
                <c:pt idx="801">
                  <c:v>44501</c:v>
                </c:pt>
                <c:pt idx="802">
                  <c:v>44498</c:v>
                </c:pt>
                <c:pt idx="803">
                  <c:v>44497</c:v>
                </c:pt>
                <c:pt idx="804">
                  <c:v>44496</c:v>
                </c:pt>
                <c:pt idx="805">
                  <c:v>44495</c:v>
                </c:pt>
                <c:pt idx="806">
                  <c:v>44494</c:v>
                </c:pt>
                <c:pt idx="807">
                  <c:v>44491</c:v>
                </c:pt>
                <c:pt idx="808">
                  <c:v>44490</c:v>
                </c:pt>
                <c:pt idx="809">
                  <c:v>44489</c:v>
                </c:pt>
                <c:pt idx="810">
                  <c:v>44488</c:v>
                </c:pt>
                <c:pt idx="811">
                  <c:v>44487</c:v>
                </c:pt>
                <c:pt idx="812">
                  <c:v>44484</c:v>
                </c:pt>
                <c:pt idx="813">
                  <c:v>44483</c:v>
                </c:pt>
                <c:pt idx="814">
                  <c:v>44482</c:v>
                </c:pt>
                <c:pt idx="815">
                  <c:v>44481</c:v>
                </c:pt>
                <c:pt idx="816">
                  <c:v>44480</c:v>
                </c:pt>
                <c:pt idx="817">
                  <c:v>44477</c:v>
                </c:pt>
                <c:pt idx="818">
                  <c:v>44476</c:v>
                </c:pt>
                <c:pt idx="819">
                  <c:v>44475</c:v>
                </c:pt>
                <c:pt idx="820">
                  <c:v>44474</c:v>
                </c:pt>
                <c:pt idx="821">
                  <c:v>44473</c:v>
                </c:pt>
                <c:pt idx="822">
                  <c:v>44470</c:v>
                </c:pt>
                <c:pt idx="823">
                  <c:v>44469</c:v>
                </c:pt>
                <c:pt idx="824">
                  <c:v>44468</c:v>
                </c:pt>
                <c:pt idx="825">
                  <c:v>44467</c:v>
                </c:pt>
                <c:pt idx="826">
                  <c:v>44466</c:v>
                </c:pt>
                <c:pt idx="827">
                  <c:v>44463</c:v>
                </c:pt>
                <c:pt idx="828">
                  <c:v>44462</c:v>
                </c:pt>
                <c:pt idx="829">
                  <c:v>44461</c:v>
                </c:pt>
                <c:pt idx="830">
                  <c:v>44460</c:v>
                </c:pt>
                <c:pt idx="831">
                  <c:v>44459</c:v>
                </c:pt>
                <c:pt idx="832">
                  <c:v>44456</c:v>
                </c:pt>
                <c:pt idx="833">
                  <c:v>44455</c:v>
                </c:pt>
                <c:pt idx="834">
                  <c:v>44454</c:v>
                </c:pt>
                <c:pt idx="835">
                  <c:v>44453</c:v>
                </c:pt>
                <c:pt idx="836">
                  <c:v>44452</c:v>
                </c:pt>
                <c:pt idx="837">
                  <c:v>44449</c:v>
                </c:pt>
                <c:pt idx="838">
                  <c:v>44448</c:v>
                </c:pt>
                <c:pt idx="839">
                  <c:v>44447</c:v>
                </c:pt>
                <c:pt idx="840">
                  <c:v>44446</c:v>
                </c:pt>
                <c:pt idx="841">
                  <c:v>44445</c:v>
                </c:pt>
                <c:pt idx="842">
                  <c:v>44442</c:v>
                </c:pt>
                <c:pt idx="843">
                  <c:v>44441</c:v>
                </c:pt>
                <c:pt idx="844">
                  <c:v>44440</c:v>
                </c:pt>
                <c:pt idx="845">
                  <c:v>44439</c:v>
                </c:pt>
                <c:pt idx="846">
                  <c:v>44438</c:v>
                </c:pt>
                <c:pt idx="847">
                  <c:v>44435</c:v>
                </c:pt>
                <c:pt idx="848">
                  <c:v>44434</c:v>
                </c:pt>
                <c:pt idx="849">
                  <c:v>44433</c:v>
                </c:pt>
                <c:pt idx="850">
                  <c:v>44432</c:v>
                </c:pt>
                <c:pt idx="851">
                  <c:v>44431</c:v>
                </c:pt>
                <c:pt idx="852">
                  <c:v>44428</c:v>
                </c:pt>
                <c:pt idx="853">
                  <c:v>44427</c:v>
                </c:pt>
                <c:pt idx="854">
                  <c:v>44426</c:v>
                </c:pt>
                <c:pt idx="855">
                  <c:v>44425</c:v>
                </c:pt>
                <c:pt idx="856">
                  <c:v>44424</c:v>
                </c:pt>
                <c:pt idx="857">
                  <c:v>44421</c:v>
                </c:pt>
                <c:pt idx="858">
                  <c:v>44420</c:v>
                </c:pt>
                <c:pt idx="859">
                  <c:v>44419</c:v>
                </c:pt>
                <c:pt idx="860">
                  <c:v>44418</c:v>
                </c:pt>
                <c:pt idx="861">
                  <c:v>44417</c:v>
                </c:pt>
                <c:pt idx="862">
                  <c:v>44414</c:v>
                </c:pt>
                <c:pt idx="863">
                  <c:v>44413</c:v>
                </c:pt>
                <c:pt idx="864">
                  <c:v>44412</c:v>
                </c:pt>
                <c:pt idx="865">
                  <c:v>44411</c:v>
                </c:pt>
                <c:pt idx="866">
                  <c:v>44410</c:v>
                </c:pt>
                <c:pt idx="867">
                  <c:v>44407</c:v>
                </c:pt>
                <c:pt idx="868">
                  <c:v>44406</c:v>
                </c:pt>
                <c:pt idx="869">
                  <c:v>44405</c:v>
                </c:pt>
                <c:pt idx="870">
                  <c:v>44404</c:v>
                </c:pt>
                <c:pt idx="871">
                  <c:v>44403</c:v>
                </c:pt>
                <c:pt idx="872">
                  <c:v>44400</c:v>
                </c:pt>
                <c:pt idx="873">
                  <c:v>44399</c:v>
                </c:pt>
                <c:pt idx="874">
                  <c:v>44398</c:v>
                </c:pt>
                <c:pt idx="875">
                  <c:v>44397</c:v>
                </c:pt>
                <c:pt idx="876">
                  <c:v>44396</c:v>
                </c:pt>
                <c:pt idx="877">
                  <c:v>44393</c:v>
                </c:pt>
                <c:pt idx="878">
                  <c:v>44392</c:v>
                </c:pt>
                <c:pt idx="879">
                  <c:v>44391</c:v>
                </c:pt>
                <c:pt idx="880">
                  <c:v>44390</c:v>
                </c:pt>
                <c:pt idx="881">
                  <c:v>44389</c:v>
                </c:pt>
                <c:pt idx="882">
                  <c:v>44386</c:v>
                </c:pt>
                <c:pt idx="883">
                  <c:v>44385</c:v>
                </c:pt>
                <c:pt idx="884">
                  <c:v>44384</c:v>
                </c:pt>
                <c:pt idx="885">
                  <c:v>44383</c:v>
                </c:pt>
                <c:pt idx="886">
                  <c:v>44382</c:v>
                </c:pt>
                <c:pt idx="887">
                  <c:v>44379</c:v>
                </c:pt>
                <c:pt idx="888">
                  <c:v>44378</c:v>
                </c:pt>
                <c:pt idx="889">
                  <c:v>44377</c:v>
                </c:pt>
                <c:pt idx="890">
                  <c:v>44376</c:v>
                </c:pt>
                <c:pt idx="891">
                  <c:v>44375</c:v>
                </c:pt>
                <c:pt idx="892">
                  <c:v>44372</c:v>
                </c:pt>
                <c:pt idx="893">
                  <c:v>44371</c:v>
                </c:pt>
                <c:pt idx="894">
                  <c:v>44370</c:v>
                </c:pt>
                <c:pt idx="895">
                  <c:v>44369</c:v>
                </c:pt>
                <c:pt idx="896">
                  <c:v>44368</c:v>
                </c:pt>
                <c:pt idx="897">
                  <c:v>44365</c:v>
                </c:pt>
                <c:pt idx="898">
                  <c:v>44364</c:v>
                </c:pt>
                <c:pt idx="899">
                  <c:v>44363</c:v>
                </c:pt>
                <c:pt idx="900">
                  <c:v>44362</c:v>
                </c:pt>
                <c:pt idx="901">
                  <c:v>44361</c:v>
                </c:pt>
                <c:pt idx="902">
                  <c:v>44358</c:v>
                </c:pt>
                <c:pt idx="903">
                  <c:v>44357</c:v>
                </c:pt>
                <c:pt idx="904">
                  <c:v>44356</c:v>
                </c:pt>
                <c:pt idx="905">
                  <c:v>44355</c:v>
                </c:pt>
                <c:pt idx="906">
                  <c:v>44354</c:v>
                </c:pt>
                <c:pt idx="907">
                  <c:v>44351</c:v>
                </c:pt>
                <c:pt idx="908">
                  <c:v>44350</c:v>
                </c:pt>
                <c:pt idx="909">
                  <c:v>44349</c:v>
                </c:pt>
                <c:pt idx="910">
                  <c:v>44348</c:v>
                </c:pt>
                <c:pt idx="911">
                  <c:v>44347</c:v>
                </c:pt>
                <c:pt idx="912">
                  <c:v>44344</c:v>
                </c:pt>
                <c:pt idx="913">
                  <c:v>44343</c:v>
                </c:pt>
                <c:pt idx="914">
                  <c:v>44342</c:v>
                </c:pt>
                <c:pt idx="915">
                  <c:v>44341</c:v>
                </c:pt>
                <c:pt idx="916">
                  <c:v>44340</c:v>
                </c:pt>
                <c:pt idx="917">
                  <c:v>44337</c:v>
                </c:pt>
                <c:pt idx="918">
                  <c:v>44336</c:v>
                </c:pt>
                <c:pt idx="919">
                  <c:v>44335</c:v>
                </c:pt>
                <c:pt idx="920">
                  <c:v>44334</c:v>
                </c:pt>
                <c:pt idx="921">
                  <c:v>44333</c:v>
                </c:pt>
                <c:pt idx="922">
                  <c:v>44330</c:v>
                </c:pt>
                <c:pt idx="923">
                  <c:v>44329</c:v>
                </c:pt>
                <c:pt idx="924">
                  <c:v>44328</c:v>
                </c:pt>
                <c:pt idx="925">
                  <c:v>44327</c:v>
                </c:pt>
                <c:pt idx="926">
                  <c:v>44326</c:v>
                </c:pt>
                <c:pt idx="927">
                  <c:v>44323</c:v>
                </c:pt>
                <c:pt idx="928">
                  <c:v>44322</c:v>
                </c:pt>
                <c:pt idx="929">
                  <c:v>44321</c:v>
                </c:pt>
                <c:pt idx="930">
                  <c:v>44320</c:v>
                </c:pt>
                <c:pt idx="931">
                  <c:v>44319</c:v>
                </c:pt>
                <c:pt idx="932">
                  <c:v>44316</c:v>
                </c:pt>
                <c:pt idx="933">
                  <c:v>44315</c:v>
                </c:pt>
                <c:pt idx="934">
                  <c:v>44314</c:v>
                </c:pt>
                <c:pt idx="935">
                  <c:v>44313</c:v>
                </c:pt>
                <c:pt idx="936">
                  <c:v>44312</c:v>
                </c:pt>
                <c:pt idx="937">
                  <c:v>44309</c:v>
                </c:pt>
                <c:pt idx="938">
                  <c:v>44308</c:v>
                </c:pt>
                <c:pt idx="939">
                  <c:v>44307</c:v>
                </c:pt>
                <c:pt idx="940">
                  <c:v>44306</c:v>
                </c:pt>
                <c:pt idx="941">
                  <c:v>44305</c:v>
                </c:pt>
                <c:pt idx="942">
                  <c:v>44302</c:v>
                </c:pt>
                <c:pt idx="943">
                  <c:v>44301</c:v>
                </c:pt>
                <c:pt idx="944">
                  <c:v>44300</c:v>
                </c:pt>
                <c:pt idx="945">
                  <c:v>44299</c:v>
                </c:pt>
                <c:pt idx="946">
                  <c:v>44298</c:v>
                </c:pt>
                <c:pt idx="947">
                  <c:v>44295</c:v>
                </c:pt>
                <c:pt idx="948">
                  <c:v>44294</c:v>
                </c:pt>
                <c:pt idx="949">
                  <c:v>44293</c:v>
                </c:pt>
                <c:pt idx="950">
                  <c:v>44292</c:v>
                </c:pt>
                <c:pt idx="951">
                  <c:v>44291</c:v>
                </c:pt>
                <c:pt idx="952">
                  <c:v>44288</c:v>
                </c:pt>
                <c:pt idx="953">
                  <c:v>44287</c:v>
                </c:pt>
                <c:pt idx="954">
                  <c:v>44286</c:v>
                </c:pt>
                <c:pt idx="955">
                  <c:v>44285</c:v>
                </c:pt>
                <c:pt idx="956">
                  <c:v>44284</c:v>
                </c:pt>
                <c:pt idx="957">
                  <c:v>44281</c:v>
                </c:pt>
                <c:pt idx="958">
                  <c:v>44280</c:v>
                </c:pt>
                <c:pt idx="959">
                  <c:v>44279</c:v>
                </c:pt>
                <c:pt idx="960">
                  <c:v>44278</c:v>
                </c:pt>
                <c:pt idx="961">
                  <c:v>44277</c:v>
                </c:pt>
                <c:pt idx="962">
                  <c:v>44274</c:v>
                </c:pt>
                <c:pt idx="963">
                  <c:v>44273</c:v>
                </c:pt>
                <c:pt idx="964">
                  <c:v>44272</c:v>
                </c:pt>
                <c:pt idx="965">
                  <c:v>44271</c:v>
                </c:pt>
                <c:pt idx="966">
                  <c:v>44270</c:v>
                </c:pt>
                <c:pt idx="967">
                  <c:v>44267</c:v>
                </c:pt>
                <c:pt idx="968">
                  <c:v>44266</c:v>
                </c:pt>
                <c:pt idx="969">
                  <c:v>44265</c:v>
                </c:pt>
                <c:pt idx="970">
                  <c:v>44264</c:v>
                </c:pt>
                <c:pt idx="971">
                  <c:v>44263</c:v>
                </c:pt>
                <c:pt idx="972">
                  <c:v>44260</c:v>
                </c:pt>
                <c:pt idx="973">
                  <c:v>44259</c:v>
                </c:pt>
                <c:pt idx="974">
                  <c:v>44258</c:v>
                </c:pt>
                <c:pt idx="975">
                  <c:v>44257</c:v>
                </c:pt>
                <c:pt idx="976">
                  <c:v>44256</c:v>
                </c:pt>
                <c:pt idx="977">
                  <c:v>44253</c:v>
                </c:pt>
                <c:pt idx="978">
                  <c:v>44252</c:v>
                </c:pt>
                <c:pt idx="979">
                  <c:v>44251</c:v>
                </c:pt>
                <c:pt idx="980">
                  <c:v>44250</c:v>
                </c:pt>
                <c:pt idx="981">
                  <c:v>44249</c:v>
                </c:pt>
                <c:pt idx="982">
                  <c:v>44246</c:v>
                </c:pt>
                <c:pt idx="983">
                  <c:v>44245</c:v>
                </c:pt>
                <c:pt idx="984">
                  <c:v>44244</c:v>
                </c:pt>
                <c:pt idx="985">
                  <c:v>44243</c:v>
                </c:pt>
                <c:pt idx="986">
                  <c:v>44242</c:v>
                </c:pt>
                <c:pt idx="987">
                  <c:v>44239</c:v>
                </c:pt>
                <c:pt idx="988">
                  <c:v>44238</c:v>
                </c:pt>
                <c:pt idx="989">
                  <c:v>44237</c:v>
                </c:pt>
                <c:pt idx="990">
                  <c:v>44236</c:v>
                </c:pt>
                <c:pt idx="991">
                  <c:v>44235</c:v>
                </c:pt>
                <c:pt idx="992">
                  <c:v>44232</c:v>
                </c:pt>
                <c:pt idx="993">
                  <c:v>44231</c:v>
                </c:pt>
                <c:pt idx="994">
                  <c:v>44230</c:v>
                </c:pt>
                <c:pt idx="995">
                  <c:v>44229</c:v>
                </c:pt>
                <c:pt idx="996">
                  <c:v>44228</c:v>
                </c:pt>
                <c:pt idx="997">
                  <c:v>44225</c:v>
                </c:pt>
                <c:pt idx="998">
                  <c:v>44224</c:v>
                </c:pt>
                <c:pt idx="999">
                  <c:v>44223</c:v>
                </c:pt>
                <c:pt idx="1000">
                  <c:v>44222</c:v>
                </c:pt>
                <c:pt idx="1001">
                  <c:v>44221</c:v>
                </c:pt>
                <c:pt idx="1002">
                  <c:v>44218</c:v>
                </c:pt>
                <c:pt idx="1003">
                  <c:v>44217</c:v>
                </c:pt>
                <c:pt idx="1004">
                  <c:v>44216</c:v>
                </c:pt>
                <c:pt idx="1005">
                  <c:v>44215</c:v>
                </c:pt>
                <c:pt idx="1006">
                  <c:v>44214</c:v>
                </c:pt>
                <c:pt idx="1007">
                  <c:v>44211</c:v>
                </c:pt>
                <c:pt idx="1008">
                  <c:v>44210</c:v>
                </c:pt>
                <c:pt idx="1009">
                  <c:v>44209</c:v>
                </c:pt>
                <c:pt idx="1010">
                  <c:v>44208</c:v>
                </c:pt>
                <c:pt idx="1011">
                  <c:v>44207</c:v>
                </c:pt>
                <c:pt idx="1012">
                  <c:v>44204</c:v>
                </c:pt>
                <c:pt idx="1013">
                  <c:v>44203</c:v>
                </c:pt>
                <c:pt idx="1014">
                  <c:v>44202</c:v>
                </c:pt>
                <c:pt idx="1015">
                  <c:v>44201</c:v>
                </c:pt>
                <c:pt idx="1016">
                  <c:v>44200</c:v>
                </c:pt>
                <c:pt idx="1017">
                  <c:v>44197</c:v>
                </c:pt>
                <c:pt idx="1018">
                  <c:v>44196</c:v>
                </c:pt>
                <c:pt idx="1019">
                  <c:v>44195</c:v>
                </c:pt>
                <c:pt idx="1020">
                  <c:v>44194</c:v>
                </c:pt>
                <c:pt idx="1021">
                  <c:v>44193</c:v>
                </c:pt>
                <c:pt idx="1022">
                  <c:v>44190</c:v>
                </c:pt>
                <c:pt idx="1023">
                  <c:v>44189</c:v>
                </c:pt>
                <c:pt idx="1024">
                  <c:v>44188</c:v>
                </c:pt>
                <c:pt idx="1025">
                  <c:v>44187</c:v>
                </c:pt>
                <c:pt idx="1026">
                  <c:v>44186</c:v>
                </c:pt>
                <c:pt idx="1027">
                  <c:v>44183</c:v>
                </c:pt>
                <c:pt idx="1028">
                  <c:v>44182</c:v>
                </c:pt>
                <c:pt idx="1029">
                  <c:v>44181</c:v>
                </c:pt>
                <c:pt idx="1030">
                  <c:v>44180</c:v>
                </c:pt>
                <c:pt idx="1031">
                  <c:v>44179</c:v>
                </c:pt>
                <c:pt idx="1032">
                  <c:v>44176</c:v>
                </c:pt>
                <c:pt idx="1033">
                  <c:v>44175</c:v>
                </c:pt>
                <c:pt idx="1034">
                  <c:v>44174</c:v>
                </c:pt>
                <c:pt idx="1035">
                  <c:v>44173</c:v>
                </c:pt>
                <c:pt idx="1036">
                  <c:v>44172</c:v>
                </c:pt>
                <c:pt idx="1037">
                  <c:v>44169</c:v>
                </c:pt>
                <c:pt idx="1038">
                  <c:v>44168</c:v>
                </c:pt>
                <c:pt idx="1039">
                  <c:v>44167</c:v>
                </c:pt>
                <c:pt idx="1040">
                  <c:v>44166</c:v>
                </c:pt>
                <c:pt idx="1041">
                  <c:v>44165</c:v>
                </c:pt>
                <c:pt idx="1042">
                  <c:v>44162</c:v>
                </c:pt>
                <c:pt idx="1043">
                  <c:v>44161</c:v>
                </c:pt>
                <c:pt idx="1044">
                  <c:v>44160</c:v>
                </c:pt>
                <c:pt idx="1045">
                  <c:v>44159</c:v>
                </c:pt>
                <c:pt idx="1046">
                  <c:v>44158</c:v>
                </c:pt>
                <c:pt idx="1047">
                  <c:v>44155</c:v>
                </c:pt>
                <c:pt idx="1048">
                  <c:v>44154</c:v>
                </c:pt>
                <c:pt idx="1049">
                  <c:v>44153</c:v>
                </c:pt>
                <c:pt idx="1050">
                  <c:v>44152</c:v>
                </c:pt>
                <c:pt idx="1051">
                  <c:v>44151</c:v>
                </c:pt>
                <c:pt idx="1052">
                  <c:v>44148</c:v>
                </c:pt>
                <c:pt idx="1053">
                  <c:v>44147</c:v>
                </c:pt>
                <c:pt idx="1054">
                  <c:v>44146</c:v>
                </c:pt>
                <c:pt idx="1055">
                  <c:v>44145</c:v>
                </c:pt>
                <c:pt idx="1056">
                  <c:v>44144</c:v>
                </c:pt>
                <c:pt idx="1057">
                  <c:v>44141</c:v>
                </c:pt>
                <c:pt idx="1058">
                  <c:v>44140</c:v>
                </c:pt>
                <c:pt idx="1059">
                  <c:v>44139</c:v>
                </c:pt>
                <c:pt idx="1060">
                  <c:v>44138</c:v>
                </c:pt>
                <c:pt idx="1061">
                  <c:v>44137</c:v>
                </c:pt>
                <c:pt idx="1062">
                  <c:v>44134</c:v>
                </c:pt>
                <c:pt idx="1063">
                  <c:v>44133</c:v>
                </c:pt>
                <c:pt idx="1064">
                  <c:v>44132</c:v>
                </c:pt>
                <c:pt idx="1065">
                  <c:v>44131</c:v>
                </c:pt>
                <c:pt idx="1066">
                  <c:v>44130</c:v>
                </c:pt>
                <c:pt idx="1067">
                  <c:v>44127</c:v>
                </c:pt>
                <c:pt idx="1068">
                  <c:v>44126</c:v>
                </c:pt>
                <c:pt idx="1069">
                  <c:v>44125</c:v>
                </c:pt>
                <c:pt idx="1070">
                  <c:v>44124</c:v>
                </c:pt>
                <c:pt idx="1071">
                  <c:v>44123</c:v>
                </c:pt>
                <c:pt idx="1072">
                  <c:v>44120</c:v>
                </c:pt>
                <c:pt idx="1073">
                  <c:v>44119</c:v>
                </c:pt>
                <c:pt idx="1074">
                  <c:v>44118</c:v>
                </c:pt>
                <c:pt idx="1075">
                  <c:v>44117</c:v>
                </c:pt>
                <c:pt idx="1076">
                  <c:v>44116</c:v>
                </c:pt>
                <c:pt idx="1077">
                  <c:v>44113</c:v>
                </c:pt>
                <c:pt idx="1078">
                  <c:v>44112</c:v>
                </c:pt>
                <c:pt idx="1079">
                  <c:v>44111</c:v>
                </c:pt>
                <c:pt idx="1080">
                  <c:v>44110</c:v>
                </c:pt>
                <c:pt idx="1081">
                  <c:v>44109</c:v>
                </c:pt>
                <c:pt idx="1082">
                  <c:v>44106</c:v>
                </c:pt>
                <c:pt idx="1083">
                  <c:v>44105</c:v>
                </c:pt>
                <c:pt idx="1084">
                  <c:v>44104</c:v>
                </c:pt>
                <c:pt idx="1085">
                  <c:v>44103</c:v>
                </c:pt>
                <c:pt idx="1086">
                  <c:v>44102</c:v>
                </c:pt>
                <c:pt idx="1087">
                  <c:v>44099</c:v>
                </c:pt>
                <c:pt idx="1088">
                  <c:v>44098</c:v>
                </c:pt>
                <c:pt idx="1089">
                  <c:v>44097</c:v>
                </c:pt>
                <c:pt idx="1090">
                  <c:v>44096</c:v>
                </c:pt>
                <c:pt idx="1091">
                  <c:v>44095</c:v>
                </c:pt>
                <c:pt idx="1092">
                  <c:v>44092</c:v>
                </c:pt>
                <c:pt idx="1093">
                  <c:v>44091</c:v>
                </c:pt>
                <c:pt idx="1094">
                  <c:v>44090</c:v>
                </c:pt>
                <c:pt idx="1095">
                  <c:v>44089</c:v>
                </c:pt>
                <c:pt idx="1096">
                  <c:v>44088</c:v>
                </c:pt>
                <c:pt idx="1097">
                  <c:v>44085</c:v>
                </c:pt>
                <c:pt idx="1098">
                  <c:v>44084</c:v>
                </c:pt>
                <c:pt idx="1099">
                  <c:v>44083</c:v>
                </c:pt>
                <c:pt idx="1100">
                  <c:v>44082</c:v>
                </c:pt>
                <c:pt idx="1101">
                  <c:v>44081</c:v>
                </c:pt>
                <c:pt idx="1102">
                  <c:v>44078</c:v>
                </c:pt>
                <c:pt idx="1103">
                  <c:v>44077</c:v>
                </c:pt>
                <c:pt idx="1104">
                  <c:v>44076</c:v>
                </c:pt>
                <c:pt idx="1105">
                  <c:v>44075</c:v>
                </c:pt>
                <c:pt idx="1106">
                  <c:v>44074</c:v>
                </c:pt>
                <c:pt idx="1107">
                  <c:v>44071</c:v>
                </c:pt>
                <c:pt idx="1108">
                  <c:v>44070</c:v>
                </c:pt>
                <c:pt idx="1109">
                  <c:v>44069</c:v>
                </c:pt>
                <c:pt idx="1110">
                  <c:v>44068</c:v>
                </c:pt>
                <c:pt idx="1111">
                  <c:v>44067</c:v>
                </c:pt>
                <c:pt idx="1112">
                  <c:v>44064</c:v>
                </c:pt>
                <c:pt idx="1113">
                  <c:v>44063</c:v>
                </c:pt>
                <c:pt idx="1114">
                  <c:v>44062</c:v>
                </c:pt>
                <c:pt idx="1115">
                  <c:v>44061</c:v>
                </c:pt>
                <c:pt idx="1116">
                  <c:v>44060</c:v>
                </c:pt>
                <c:pt idx="1117">
                  <c:v>44057</c:v>
                </c:pt>
                <c:pt idx="1118">
                  <c:v>44056</c:v>
                </c:pt>
                <c:pt idx="1119">
                  <c:v>44055</c:v>
                </c:pt>
                <c:pt idx="1120">
                  <c:v>44054</c:v>
                </c:pt>
                <c:pt idx="1121">
                  <c:v>44053</c:v>
                </c:pt>
                <c:pt idx="1122">
                  <c:v>44050</c:v>
                </c:pt>
                <c:pt idx="1123">
                  <c:v>44049</c:v>
                </c:pt>
                <c:pt idx="1124">
                  <c:v>44048</c:v>
                </c:pt>
                <c:pt idx="1125">
                  <c:v>44047</c:v>
                </c:pt>
                <c:pt idx="1126">
                  <c:v>44046</c:v>
                </c:pt>
                <c:pt idx="1127">
                  <c:v>44043</c:v>
                </c:pt>
                <c:pt idx="1128">
                  <c:v>44042</c:v>
                </c:pt>
                <c:pt idx="1129">
                  <c:v>44041</c:v>
                </c:pt>
                <c:pt idx="1130">
                  <c:v>44040</c:v>
                </c:pt>
                <c:pt idx="1131">
                  <c:v>44039</c:v>
                </c:pt>
                <c:pt idx="1132">
                  <c:v>44036</c:v>
                </c:pt>
                <c:pt idx="1133">
                  <c:v>44035</c:v>
                </c:pt>
                <c:pt idx="1134">
                  <c:v>44034</c:v>
                </c:pt>
                <c:pt idx="1135">
                  <c:v>44033</c:v>
                </c:pt>
                <c:pt idx="1136">
                  <c:v>44032</c:v>
                </c:pt>
                <c:pt idx="1137">
                  <c:v>44029</c:v>
                </c:pt>
                <c:pt idx="1138">
                  <c:v>44028</c:v>
                </c:pt>
                <c:pt idx="1139">
                  <c:v>44027</c:v>
                </c:pt>
                <c:pt idx="1140">
                  <c:v>44026</c:v>
                </c:pt>
                <c:pt idx="1141">
                  <c:v>44025</c:v>
                </c:pt>
                <c:pt idx="1142">
                  <c:v>44022</c:v>
                </c:pt>
                <c:pt idx="1143">
                  <c:v>44021</c:v>
                </c:pt>
                <c:pt idx="1144">
                  <c:v>44020</c:v>
                </c:pt>
                <c:pt idx="1145">
                  <c:v>44019</c:v>
                </c:pt>
                <c:pt idx="1146">
                  <c:v>44018</c:v>
                </c:pt>
                <c:pt idx="1147">
                  <c:v>44015</c:v>
                </c:pt>
                <c:pt idx="1148">
                  <c:v>44014</c:v>
                </c:pt>
                <c:pt idx="1149">
                  <c:v>44013</c:v>
                </c:pt>
                <c:pt idx="1150">
                  <c:v>44012</c:v>
                </c:pt>
                <c:pt idx="1151">
                  <c:v>44011</c:v>
                </c:pt>
                <c:pt idx="1152">
                  <c:v>44008</c:v>
                </c:pt>
                <c:pt idx="1153">
                  <c:v>44007</c:v>
                </c:pt>
                <c:pt idx="1154">
                  <c:v>44006</c:v>
                </c:pt>
                <c:pt idx="1155">
                  <c:v>44005</c:v>
                </c:pt>
                <c:pt idx="1156">
                  <c:v>44004</c:v>
                </c:pt>
                <c:pt idx="1157">
                  <c:v>44001</c:v>
                </c:pt>
                <c:pt idx="1158">
                  <c:v>44000</c:v>
                </c:pt>
                <c:pt idx="1159">
                  <c:v>43999</c:v>
                </c:pt>
                <c:pt idx="1160">
                  <c:v>43998</c:v>
                </c:pt>
                <c:pt idx="1161">
                  <c:v>43997</c:v>
                </c:pt>
                <c:pt idx="1162">
                  <c:v>43994</c:v>
                </c:pt>
                <c:pt idx="1163">
                  <c:v>43993</c:v>
                </c:pt>
                <c:pt idx="1164">
                  <c:v>43992</c:v>
                </c:pt>
                <c:pt idx="1165">
                  <c:v>43991</c:v>
                </c:pt>
                <c:pt idx="1166">
                  <c:v>43990</c:v>
                </c:pt>
                <c:pt idx="1167">
                  <c:v>43987</c:v>
                </c:pt>
                <c:pt idx="1168">
                  <c:v>43986</c:v>
                </c:pt>
                <c:pt idx="1169">
                  <c:v>43985</c:v>
                </c:pt>
                <c:pt idx="1170">
                  <c:v>43984</c:v>
                </c:pt>
                <c:pt idx="1171">
                  <c:v>43983</c:v>
                </c:pt>
                <c:pt idx="1172">
                  <c:v>43980</c:v>
                </c:pt>
                <c:pt idx="1173">
                  <c:v>43979</c:v>
                </c:pt>
                <c:pt idx="1174">
                  <c:v>43978</c:v>
                </c:pt>
                <c:pt idx="1175">
                  <c:v>43977</c:v>
                </c:pt>
                <c:pt idx="1176">
                  <c:v>43976</c:v>
                </c:pt>
                <c:pt idx="1177">
                  <c:v>43973</c:v>
                </c:pt>
                <c:pt idx="1178">
                  <c:v>43972</c:v>
                </c:pt>
                <c:pt idx="1179">
                  <c:v>43971</c:v>
                </c:pt>
                <c:pt idx="1180">
                  <c:v>43970</c:v>
                </c:pt>
                <c:pt idx="1181">
                  <c:v>43969</c:v>
                </c:pt>
                <c:pt idx="1182">
                  <c:v>43966</c:v>
                </c:pt>
                <c:pt idx="1183">
                  <c:v>43965</c:v>
                </c:pt>
                <c:pt idx="1184">
                  <c:v>43964</c:v>
                </c:pt>
                <c:pt idx="1185">
                  <c:v>43963</c:v>
                </c:pt>
                <c:pt idx="1186">
                  <c:v>43962</c:v>
                </c:pt>
                <c:pt idx="1187">
                  <c:v>43959</c:v>
                </c:pt>
                <c:pt idx="1188">
                  <c:v>43958</c:v>
                </c:pt>
                <c:pt idx="1189">
                  <c:v>43957</c:v>
                </c:pt>
                <c:pt idx="1190">
                  <c:v>43956</c:v>
                </c:pt>
                <c:pt idx="1191">
                  <c:v>43955</c:v>
                </c:pt>
                <c:pt idx="1192">
                  <c:v>43952</c:v>
                </c:pt>
                <c:pt idx="1193">
                  <c:v>43951</c:v>
                </c:pt>
                <c:pt idx="1194">
                  <c:v>43950</c:v>
                </c:pt>
                <c:pt idx="1195">
                  <c:v>43949</c:v>
                </c:pt>
                <c:pt idx="1196">
                  <c:v>43948</c:v>
                </c:pt>
                <c:pt idx="1197">
                  <c:v>43945</c:v>
                </c:pt>
                <c:pt idx="1198">
                  <c:v>43944</c:v>
                </c:pt>
                <c:pt idx="1199">
                  <c:v>43943</c:v>
                </c:pt>
                <c:pt idx="1200">
                  <c:v>43942</c:v>
                </c:pt>
                <c:pt idx="1201">
                  <c:v>43941</c:v>
                </c:pt>
                <c:pt idx="1202">
                  <c:v>43938</c:v>
                </c:pt>
                <c:pt idx="1203">
                  <c:v>43937</c:v>
                </c:pt>
                <c:pt idx="1204">
                  <c:v>43936</c:v>
                </c:pt>
                <c:pt idx="1205">
                  <c:v>43935</c:v>
                </c:pt>
                <c:pt idx="1206">
                  <c:v>43934</c:v>
                </c:pt>
                <c:pt idx="1207">
                  <c:v>43931</c:v>
                </c:pt>
                <c:pt idx="1208">
                  <c:v>43930</c:v>
                </c:pt>
                <c:pt idx="1209">
                  <c:v>43929</c:v>
                </c:pt>
                <c:pt idx="1210">
                  <c:v>43928</c:v>
                </c:pt>
                <c:pt idx="1211">
                  <c:v>43927</c:v>
                </c:pt>
                <c:pt idx="1212">
                  <c:v>43924</c:v>
                </c:pt>
                <c:pt idx="1213">
                  <c:v>43923</c:v>
                </c:pt>
                <c:pt idx="1214">
                  <c:v>43922</c:v>
                </c:pt>
                <c:pt idx="1215">
                  <c:v>43921</c:v>
                </c:pt>
                <c:pt idx="1216">
                  <c:v>43920</c:v>
                </c:pt>
                <c:pt idx="1217">
                  <c:v>43917</c:v>
                </c:pt>
                <c:pt idx="1218">
                  <c:v>43916</c:v>
                </c:pt>
                <c:pt idx="1219">
                  <c:v>43915</c:v>
                </c:pt>
                <c:pt idx="1220">
                  <c:v>43914</c:v>
                </c:pt>
                <c:pt idx="1221">
                  <c:v>43913</c:v>
                </c:pt>
                <c:pt idx="1222">
                  <c:v>43910</c:v>
                </c:pt>
                <c:pt idx="1223">
                  <c:v>43909</c:v>
                </c:pt>
                <c:pt idx="1224">
                  <c:v>43908</c:v>
                </c:pt>
                <c:pt idx="1225">
                  <c:v>43907</c:v>
                </c:pt>
                <c:pt idx="1226">
                  <c:v>43906</c:v>
                </c:pt>
                <c:pt idx="1227">
                  <c:v>43903</c:v>
                </c:pt>
                <c:pt idx="1228">
                  <c:v>43902</c:v>
                </c:pt>
                <c:pt idx="1229">
                  <c:v>43901</c:v>
                </c:pt>
                <c:pt idx="1230">
                  <c:v>43900</c:v>
                </c:pt>
                <c:pt idx="1231">
                  <c:v>43899</c:v>
                </c:pt>
                <c:pt idx="1232">
                  <c:v>43896</c:v>
                </c:pt>
                <c:pt idx="1233">
                  <c:v>43895</c:v>
                </c:pt>
                <c:pt idx="1234">
                  <c:v>43894</c:v>
                </c:pt>
                <c:pt idx="1235">
                  <c:v>43893</c:v>
                </c:pt>
                <c:pt idx="1236">
                  <c:v>43892</c:v>
                </c:pt>
                <c:pt idx="1237">
                  <c:v>43889</c:v>
                </c:pt>
                <c:pt idx="1238">
                  <c:v>43888</c:v>
                </c:pt>
                <c:pt idx="1239">
                  <c:v>43887</c:v>
                </c:pt>
                <c:pt idx="1240">
                  <c:v>43886</c:v>
                </c:pt>
                <c:pt idx="1241">
                  <c:v>43885</c:v>
                </c:pt>
                <c:pt idx="1242">
                  <c:v>43882</c:v>
                </c:pt>
                <c:pt idx="1243">
                  <c:v>43881</c:v>
                </c:pt>
                <c:pt idx="1244">
                  <c:v>43880</c:v>
                </c:pt>
                <c:pt idx="1245">
                  <c:v>43879</c:v>
                </c:pt>
                <c:pt idx="1246">
                  <c:v>43878</c:v>
                </c:pt>
                <c:pt idx="1247">
                  <c:v>43875</c:v>
                </c:pt>
                <c:pt idx="1248">
                  <c:v>43874</c:v>
                </c:pt>
                <c:pt idx="1249">
                  <c:v>43873</c:v>
                </c:pt>
                <c:pt idx="1250">
                  <c:v>43872</c:v>
                </c:pt>
                <c:pt idx="1251">
                  <c:v>43871</c:v>
                </c:pt>
                <c:pt idx="1252">
                  <c:v>43868</c:v>
                </c:pt>
                <c:pt idx="1253">
                  <c:v>43867</c:v>
                </c:pt>
                <c:pt idx="1254">
                  <c:v>43866</c:v>
                </c:pt>
                <c:pt idx="1255">
                  <c:v>43865</c:v>
                </c:pt>
                <c:pt idx="1256">
                  <c:v>43864</c:v>
                </c:pt>
                <c:pt idx="1257">
                  <c:v>43861</c:v>
                </c:pt>
                <c:pt idx="1258">
                  <c:v>43860</c:v>
                </c:pt>
                <c:pt idx="1259">
                  <c:v>43859</c:v>
                </c:pt>
                <c:pt idx="1260">
                  <c:v>43858</c:v>
                </c:pt>
                <c:pt idx="1261">
                  <c:v>43857</c:v>
                </c:pt>
                <c:pt idx="1262">
                  <c:v>43854</c:v>
                </c:pt>
                <c:pt idx="1263">
                  <c:v>43853</c:v>
                </c:pt>
                <c:pt idx="1264">
                  <c:v>43852</c:v>
                </c:pt>
                <c:pt idx="1265">
                  <c:v>43851</c:v>
                </c:pt>
                <c:pt idx="1266">
                  <c:v>43850</c:v>
                </c:pt>
                <c:pt idx="1267">
                  <c:v>43847</c:v>
                </c:pt>
                <c:pt idx="1268">
                  <c:v>43846</c:v>
                </c:pt>
                <c:pt idx="1269">
                  <c:v>43845</c:v>
                </c:pt>
                <c:pt idx="1270">
                  <c:v>43844</c:v>
                </c:pt>
                <c:pt idx="1271">
                  <c:v>43843</c:v>
                </c:pt>
                <c:pt idx="1272">
                  <c:v>43840</c:v>
                </c:pt>
                <c:pt idx="1273">
                  <c:v>43839</c:v>
                </c:pt>
                <c:pt idx="1274">
                  <c:v>43838</c:v>
                </c:pt>
                <c:pt idx="1275">
                  <c:v>43837</c:v>
                </c:pt>
                <c:pt idx="1276">
                  <c:v>43836</c:v>
                </c:pt>
                <c:pt idx="1277">
                  <c:v>43833</c:v>
                </c:pt>
                <c:pt idx="1278">
                  <c:v>43832</c:v>
                </c:pt>
                <c:pt idx="1279">
                  <c:v>43831</c:v>
                </c:pt>
              </c:numCache>
            </c:numRef>
          </c:cat>
          <c:val>
            <c:numRef>
              <c:f>Sheet1!$Q$7:$Q$1286</c:f>
              <c:numCache>
                <c:formatCode>General</c:formatCode>
                <c:ptCount val="1280"/>
                <c:pt idx="0">
                  <c:v>4.2649999999999997</c:v>
                </c:pt>
                <c:pt idx="1">
                  <c:v>4.2649999999999997</c:v>
                </c:pt>
                <c:pt idx="2">
                  <c:v>4.4160000000000004</c:v>
                </c:pt>
                <c:pt idx="3">
                  <c:v>4.4219999999999997</c:v>
                </c:pt>
                <c:pt idx="4">
                  <c:v>4.4119999999999999</c:v>
                </c:pt>
                <c:pt idx="5">
                  <c:v>4.3879999999999999</c:v>
                </c:pt>
                <c:pt idx="6">
                  <c:v>4.4160000000000004</c:v>
                </c:pt>
                <c:pt idx="7">
                  <c:v>4.4409999999999998</c:v>
                </c:pt>
                <c:pt idx="8">
                  <c:v>4.4409999999999998</c:v>
                </c:pt>
                <c:pt idx="9">
                  <c:v>4.4450000000000003</c:v>
                </c:pt>
                <c:pt idx="10">
                  <c:v>4.431</c:v>
                </c:pt>
                <c:pt idx="11">
                  <c:v>4.298</c:v>
                </c:pt>
                <c:pt idx="12">
                  <c:v>4.298</c:v>
                </c:pt>
                <c:pt idx="13">
                  <c:v>4.3319999999999999</c:v>
                </c:pt>
                <c:pt idx="14">
                  <c:v>4.4409999999999998</c:v>
                </c:pt>
                <c:pt idx="15">
                  <c:v>4.2889999999999997</c:v>
                </c:pt>
                <c:pt idx="16">
                  <c:v>4.2969999999999997</c:v>
                </c:pt>
                <c:pt idx="17">
                  <c:v>4.3739999999999997</c:v>
                </c:pt>
                <c:pt idx="18">
                  <c:v>4.282</c:v>
                </c:pt>
                <c:pt idx="19">
                  <c:v>4.28</c:v>
                </c:pt>
                <c:pt idx="20">
                  <c:v>4.2679999999999998</c:v>
                </c:pt>
                <c:pt idx="21">
                  <c:v>4.2720000000000002</c:v>
                </c:pt>
                <c:pt idx="22">
                  <c:v>4.24</c:v>
                </c:pt>
                <c:pt idx="23">
                  <c:v>4.2060000000000004</c:v>
                </c:pt>
                <c:pt idx="24">
                  <c:v>4.234</c:v>
                </c:pt>
                <c:pt idx="25">
                  <c:v>4.202</c:v>
                </c:pt>
                <c:pt idx="26">
                  <c:v>4.1879999999999997</c:v>
                </c:pt>
                <c:pt idx="27">
                  <c:v>4.0789999999999997</c:v>
                </c:pt>
                <c:pt idx="28">
                  <c:v>4.0910000000000002</c:v>
                </c:pt>
                <c:pt idx="29">
                  <c:v>4.0140000000000002</c:v>
                </c:pt>
                <c:pt idx="30">
                  <c:v>4.0339999999999998</c:v>
                </c:pt>
                <c:pt idx="31">
                  <c:v>4.0830000000000002</c:v>
                </c:pt>
                <c:pt idx="32">
                  <c:v>4.0830000000000002</c:v>
                </c:pt>
                <c:pt idx="33">
                  <c:v>4.0750000000000002</c:v>
                </c:pt>
                <c:pt idx="34">
                  <c:v>4.0670000000000002</c:v>
                </c:pt>
                <c:pt idx="35">
                  <c:v>4.0179999999999998</c:v>
                </c:pt>
                <c:pt idx="36">
                  <c:v>4.0259999999999998</c:v>
                </c:pt>
                <c:pt idx="37">
                  <c:v>3.9769999999999999</c:v>
                </c:pt>
                <c:pt idx="38">
                  <c:v>3.85</c:v>
                </c:pt>
                <c:pt idx="39">
                  <c:v>3.7810000000000001</c:v>
                </c:pt>
                <c:pt idx="40">
                  <c:v>3.7389999999999999</c:v>
                </c:pt>
                <c:pt idx="41">
                  <c:v>3.79</c:v>
                </c:pt>
                <c:pt idx="42">
                  <c:v>3.7490000000000001</c:v>
                </c:pt>
                <c:pt idx="43">
                  <c:v>3.794</c:v>
                </c:pt>
                <c:pt idx="44">
                  <c:v>3.7869999999999999</c:v>
                </c:pt>
                <c:pt idx="45">
                  <c:v>3.7360000000000002</c:v>
                </c:pt>
                <c:pt idx="46">
                  <c:v>3.7469999999999999</c:v>
                </c:pt>
                <c:pt idx="47">
                  <c:v>3.734</c:v>
                </c:pt>
                <c:pt idx="48">
                  <c:v>3.7229999999999999</c:v>
                </c:pt>
                <c:pt idx="49">
                  <c:v>3.7109999999999999</c:v>
                </c:pt>
                <c:pt idx="50">
                  <c:v>3.6440000000000001</c:v>
                </c:pt>
                <c:pt idx="51">
                  <c:v>3.621</c:v>
                </c:pt>
                <c:pt idx="52">
                  <c:v>3.6589999999999998</c:v>
                </c:pt>
                <c:pt idx="53">
                  <c:v>3.681</c:v>
                </c:pt>
                <c:pt idx="54">
                  <c:v>3.657</c:v>
                </c:pt>
                <c:pt idx="55">
                  <c:v>3.6459999999999999</c:v>
                </c:pt>
                <c:pt idx="56">
                  <c:v>3.7</c:v>
                </c:pt>
                <c:pt idx="57">
                  <c:v>3.7160000000000002</c:v>
                </c:pt>
                <c:pt idx="58">
                  <c:v>3.7290000000000001</c:v>
                </c:pt>
                <c:pt idx="59">
                  <c:v>3.7610000000000001</c:v>
                </c:pt>
                <c:pt idx="60">
                  <c:v>3.835</c:v>
                </c:pt>
                <c:pt idx="61">
                  <c:v>3.919</c:v>
                </c:pt>
                <c:pt idx="62">
                  <c:v>3.919</c:v>
                </c:pt>
                <c:pt idx="63">
                  <c:v>3.8690000000000002</c:v>
                </c:pt>
                <c:pt idx="64">
                  <c:v>3.8410000000000002</c:v>
                </c:pt>
                <c:pt idx="65">
                  <c:v>3.831</c:v>
                </c:pt>
                <c:pt idx="66">
                  <c:v>3.82</c:v>
                </c:pt>
                <c:pt idx="67">
                  <c:v>3.8050000000000002</c:v>
                </c:pt>
                <c:pt idx="68">
                  <c:v>3.8580000000000001</c:v>
                </c:pt>
                <c:pt idx="69">
                  <c:v>3.7930000000000001</c:v>
                </c:pt>
                <c:pt idx="70">
                  <c:v>3.8140000000000001</c:v>
                </c:pt>
                <c:pt idx="71">
                  <c:v>3.867</c:v>
                </c:pt>
                <c:pt idx="72">
                  <c:v>3.89</c:v>
                </c:pt>
                <c:pt idx="73">
                  <c:v>3.915</c:v>
                </c:pt>
                <c:pt idx="74">
                  <c:v>3.8330000000000002</c:v>
                </c:pt>
                <c:pt idx="75">
                  <c:v>3.85</c:v>
                </c:pt>
                <c:pt idx="76">
                  <c:v>3.9049999999999998</c:v>
                </c:pt>
                <c:pt idx="77">
                  <c:v>3.94</c:v>
                </c:pt>
                <c:pt idx="78">
                  <c:v>3.9929999999999999</c:v>
                </c:pt>
                <c:pt idx="79">
                  <c:v>3.9009999999999998</c:v>
                </c:pt>
                <c:pt idx="80">
                  <c:v>3.9009999999999998</c:v>
                </c:pt>
                <c:pt idx="81">
                  <c:v>3.7789999999999999</c:v>
                </c:pt>
                <c:pt idx="82">
                  <c:v>3.7959999999999998</c:v>
                </c:pt>
                <c:pt idx="83">
                  <c:v>3.9889999999999999</c:v>
                </c:pt>
                <c:pt idx="84">
                  <c:v>4.0549999999999997</c:v>
                </c:pt>
                <c:pt idx="85">
                  <c:v>4.1449999999999996</c:v>
                </c:pt>
                <c:pt idx="86">
                  <c:v>4.1710000000000003</c:v>
                </c:pt>
                <c:pt idx="87">
                  <c:v>4.1959999999999997</c:v>
                </c:pt>
                <c:pt idx="88">
                  <c:v>4.2519999999999998</c:v>
                </c:pt>
                <c:pt idx="89">
                  <c:v>4.2880000000000003</c:v>
                </c:pt>
                <c:pt idx="90">
                  <c:v>4.2510000000000003</c:v>
                </c:pt>
                <c:pt idx="91">
                  <c:v>4.2539999999999996</c:v>
                </c:pt>
                <c:pt idx="92">
                  <c:v>4.2389999999999999</c:v>
                </c:pt>
                <c:pt idx="93">
                  <c:v>4.1980000000000004</c:v>
                </c:pt>
                <c:pt idx="94">
                  <c:v>4.1520000000000001</c:v>
                </c:pt>
                <c:pt idx="95">
                  <c:v>4.1630000000000003</c:v>
                </c:pt>
                <c:pt idx="96">
                  <c:v>4.226</c:v>
                </c:pt>
                <c:pt idx="97">
                  <c:v>4.1769999999999996</c:v>
                </c:pt>
                <c:pt idx="98">
                  <c:v>4.202</c:v>
                </c:pt>
                <c:pt idx="99">
                  <c:v>4.2839999999999998</c:v>
                </c:pt>
                <c:pt idx="100">
                  <c:v>4.2960000000000003</c:v>
                </c:pt>
                <c:pt idx="101">
                  <c:v>4.2759999999999998</c:v>
                </c:pt>
                <c:pt idx="102">
                  <c:v>4.2779999999999996</c:v>
                </c:pt>
                <c:pt idx="103">
                  <c:v>4.3470000000000004</c:v>
                </c:pt>
                <c:pt idx="104">
                  <c:v>4.3470000000000004</c:v>
                </c:pt>
                <c:pt idx="105">
                  <c:v>4.4320000000000004</c:v>
                </c:pt>
                <c:pt idx="106">
                  <c:v>4.4770000000000003</c:v>
                </c:pt>
                <c:pt idx="107">
                  <c:v>4.3710000000000004</c:v>
                </c:pt>
                <c:pt idx="108">
                  <c:v>4.29</c:v>
                </c:pt>
                <c:pt idx="109">
                  <c:v>4.3159999999999998</c:v>
                </c:pt>
                <c:pt idx="110">
                  <c:v>4.2300000000000004</c:v>
                </c:pt>
                <c:pt idx="111">
                  <c:v>4.242</c:v>
                </c:pt>
                <c:pt idx="112">
                  <c:v>4.2539999999999996</c:v>
                </c:pt>
                <c:pt idx="113">
                  <c:v>4.2539999999999996</c:v>
                </c:pt>
                <c:pt idx="114">
                  <c:v>4.2149999999999999</c:v>
                </c:pt>
                <c:pt idx="115">
                  <c:v>4.2149999999999999</c:v>
                </c:pt>
                <c:pt idx="116">
                  <c:v>4.2750000000000004</c:v>
                </c:pt>
                <c:pt idx="117">
                  <c:v>4.2089999999999996</c:v>
                </c:pt>
                <c:pt idx="118">
                  <c:v>4.2380000000000004</c:v>
                </c:pt>
                <c:pt idx="119">
                  <c:v>4.33</c:v>
                </c:pt>
                <c:pt idx="120">
                  <c:v>4.3979999999999997</c:v>
                </c:pt>
                <c:pt idx="121">
                  <c:v>4.4669999999999996</c:v>
                </c:pt>
                <c:pt idx="122">
                  <c:v>4.4320000000000004</c:v>
                </c:pt>
                <c:pt idx="123">
                  <c:v>4.2869999999999999</c:v>
                </c:pt>
                <c:pt idx="124">
                  <c:v>4.2809999999999997</c:v>
                </c:pt>
                <c:pt idx="125">
                  <c:v>4.3280000000000003</c:v>
                </c:pt>
                <c:pt idx="126">
                  <c:v>4.4020000000000001</c:v>
                </c:pt>
                <c:pt idx="127">
                  <c:v>4.4870000000000001</c:v>
                </c:pt>
                <c:pt idx="128">
                  <c:v>4.548</c:v>
                </c:pt>
                <c:pt idx="129">
                  <c:v>4.6139999999999999</c:v>
                </c:pt>
                <c:pt idx="130">
                  <c:v>4.5419999999999998</c:v>
                </c:pt>
                <c:pt idx="131">
                  <c:v>4.4669999999999996</c:v>
                </c:pt>
                <c:pt idx="132">
                  <c:v>4.4669999999999996</c:v>
                </c:pt>
                <c:pt idx="133">
                  <c:v>4.4770000000000003</c:v>
                </c:pt>
                <c:pt idx="134">
                  <c:v>4.4260000000000002</c:v>
                </c:pt>
                <c:pt idx="135">
                  <c:v>4.4119999999999999</c:v>
                </c:pt>
                <c:pt idx="136">
                  <c:v>4.4429999999999996</c:v>
                </c:pt>
                <c:pt idx="137">
                  <c:v>4.4219999999999997</c:v>
                </c:pt>
                <c:pt idx="138">
                  <c:v>4.3789999999999996</c:v>
                </c:pt>
                <c:pt idx="139">
                  <c:v>4.3520000000000003</c:v>
                </c:pt>
                <c:pt idx="140">
                  <c:v>4.4489999999999998</c:v>
                </c:pt>
                <c:pt idx="141">
                  <c:v>4.4870000000000001</c:v>
                </c:pt>
                <c:pt idx="142">
                  <c:v>4.5</c:v>
                </c:pt>
                <c:pt idx="143">
                  <c:v>4.4569999999999999</c:v>
                </c:pt>
                <c:pt idx="144">
                  <c:v>4.4960000000000004</c:v>
                </c:pt>
                <c:pt idx="145">
                  <c:v>4.4569999999999999</c:v>
                </c:pt>
                <c:pt idx="146">
                  <c:v>4.4889999999999999</c:v>
                </c:pt>
                <c:pt idx="147">
                  <c:v>4.5019999999999998</c:v>
                </c:pt>
                <c:pt idx="148">
                  <c:v>4.577</c:v>
                </c:pt>
                <c:pt idx="149">
                  <c:v>4.63</c:v>
                </c:pt>
                <c:pt idx="150">
                  <c:v>4.68</c:v>
                </c:pt>
                <c:pt idx="151">
                  <c:v>4.6180000000000003</c:v>
                </c:pt>
                <c:pt idx="152">
                  <c:v>4.6689999999999996</c:v>
                </c:pt>
                <c:pt idx="153">
                  <c:v>4.702</c:v>
                </c:pt>
                <c:pt idx="154">
                  <c:v>4.6420000000000003</c:v>
                </c:pt>
                <c:pt idx="155">
                  <c:v>4.6020000000000003</c:v>
                </c:pt>
                <c:pt idx="156">
                  <c:v>4.617</c:v>
                </c:pt>
                <c:pt idx="157">
                  <c:v>4.6150000000000002</c:v>
                </c:pt>
                <c:pt idx="158">
                  <c:v>4.6340000000000003</c:v>
                </c:pt>
                <c:pt idx="159">
                  <c:v>4.585</c:v>
                </c:pt>
                <c:pt idx="160">
                  <c:v>4.6630000000000003</c:v>
                </c:pt>
                <c:pt idx="161">
                  <c:v>4.6159999999999997</c:v>
                </c:pt>
                <c:pt idx="162">
                  <c:v>4.5199999999999996</c:v>
                </c:pt>
                <c:pt idx="163">
                  <c:v>4.5720000000000001</c:v>
                </c:pt>
                <c:pt idx="164">
                  <c:v>4.5460000000000003</c:v>
                </c:pt>
                <c:pt idx="165">
                  <c:v>4.3659999999999997</c:v>
                </c:pt>
                <c:pt idx="166">
                  <c:v>4.4219999999999997</c:v>
                </c:pt>
                <c:pt idx="167">
                  <c:v>4.3959999999999999</c:v>
                </c:pt>
                <c:pt idx="168">
                  <c:v>4.3029999999999999</c:v>
                </c:pt>
                <c:pt idx="169">
                  <c:v>4.3470000000000004</c:v>
                </c:pt>
                <c:pt idx="170">
                  <c:v>4.3550000000000004</c:v>
                </c:pt>
                <c:pt idx="171">
                  <c:v>4.3250000000000002</c:v>
                </c:pt>
                <c:pt idx="172">
                  <c:v>4.2060000000000004</c:v>
                </c:pt>
                <c:pt idx="173">
                  <c:v>4.2060000000000004</c:v>
                </c:pt>
                <c:pt idx="174">
                  <c:v>4.1879999999999997</c:v>
                </c:pt>
                <c:pt idx="175">
                  <c:v>4.234</c:v>
                </c:pt>
                <c:pt idx="176">
                  <c:v>4.2510000000000003</c:v>
                </c:pt>
                <c:pt idx="177">
                  <c:v>4.2140000000000004</c:v>
                </c:pt>
                <c:pt idx="178">
                  <c:v>4.2750000000000004</c:v>
                </c:pt>
                <c:pt idx="179">
                  <c:v>4.2770000000000001</c:v>
                </c:pt>
                <c:pt idx="180">
                  <c:v>4.3019999999999996</c:v>
                </c:pt>
                <c:pt idx="181">
                  <c:v>4.3339999999999996</c:v>
                </c:pt>
                <c:pt idx="182">
                  <c:v>4.3140000000000001</c:v>
                </c:pt>
                <c:pt idx="183">
                  <c:v>4.2960000000000003</c:v>
                </c:pt>
                <c:pt idx="184">
                  <c:v>4.1920000000000002</c:v>
                </c:pt>
                <c:pt idx="185">
                  <c:v>4.157</c:v>
                </c:pt>
                <c:pt idx="186">
                  <c:v>4.0999999999999996</c:v>
                </c:pt>
                <c:pt idx="187">
                  <c:v>4.085</c:v>
                </c:pt>
                <c:pt idx="188">
                  <c:v>4.0919999999999996</c:v>
                </c:pt>
                <c:pt idx="189">
                  <c:v>4.1059999999999999</c:v>
                </c:pt>
                <c:pt idx="190">
                  <c:v>4.1349999999999998</c:v>
                </c:pt>
                <c:pt idx="191">
                  <c:v>4.2169999999999996</c:v>
                </c:pt>
                <c:pt idx="192">
                  <c:v>4.1859999999999999</c:v>
                </c:pt>
                <c:pt idx="193">
                  <c:v>4.2439999999999998</c:v>
                </c:pt>
                <c:pt idx="194">
                  <c:v>4.266</c:v>
                </c:pt>
                <c:pt idx="195">
                  <c:v>4.3090000000000002</c:v>
                </c:pt>
                <c:pt idx="196">
                  <c:v>4.2560000000000002</c:v>
                </c:pt>
                <c:pt idx="197">
                  <c:v>4.2560000000000002</c:v>
                </c:pt>
                <c:pt idx="198">
                  <c:v>4.3209999999999997</c:v>
                </c:pt>
                <c:pt idx="199">
                  <c:v>4.3209999999999997</c:v>
                </c:pt>
                <c:pt idx="200">
                  <c:v>4.2709999999999999</c:v>
                </c:pt>
                <c:pt idx="201">
                  <c:v>4.2930000000000001</c:v>
                </c:pt>
                <c:pt idx="202">
                  <c:v>4.2930000000000001</c:v>
                </c:pt>
                <c:pt idx="203">
                  <c:v>4.234</c:v>
                </c:pt>
                <c:pt idx="204">
                  <c:v>4.2649999999999997</c:v>
                </c:pt>
                <c:pt idx="205">
                  <c:v>4.3179999999999996</c:v>
                </c:pt>
                <c:pt idx="206">
                  <c:v>4.17</c:v>
                </c:pt>
                <c:pt idx="207">
                  <c:v>4.1769999999999996</c:v>
                </c:pt>
                <c:pt idx="208">
                  <c:v>4.1559999999999997</c:v>
                </c:pt>
                <c:pt idx="209">
                  <c:v>4.1150000000000002</c:v>
                </c:pt>
                <c:pt idx="210">
                  <c:v>4.0919999999999996</c:v>
                </c:pt>
                <c:pt idx="211">
                  <c:v>4.1619999999999999</c:v>
                </c:pt>
                <c:pt idx="212">
                  <c:v>4.0279999999999996</c:v>
                </c:pt>
                <c:pt idx="213">
                  <c:v>3.8580000000000001</c:v>
                </c:pt>
                <c:pt idx="214">
                  <c:v>3.948</c:v>
                </c:pt>
                <c:pt idx="215">
                  <c:v>4.0490000000000004</c:v>
                </c:pt>
                <c:pt idx="216">
                  <c:v>4.0720000000000001</c:v>
                </c:pt>
                <c:pt idx="217">
                  <c:v>4.149</c:v>
                </c:pt>
                <c:pt idx="218">
                  <c:v>4.1260000000000003</c:v>
                </c:pt>
                <c:pt idx="219">
                  <c:v>4.1760000000000002</c:v>
                </c:pt>
                <c:pt idx="220">
                  <c:v>4.1360000000000001</c:v>
                </c:pt>
                <c:pt idx="221">
                  <c:v>4.0990000000000002</c:v>
                </c:pt>
                <c:pt idx="222">
                  <c:v>4.1379999999999999</c:v>
                </c:pt>
                <c:pt idx="223">
                  <c:v>4.1420000000000003</c:v>
                </c:pt>
                <c:pt idx="224">
                  <c:v>4.0999999999999996</c:v>
                </c:pt>
                <c:pt idx="225">
                  <c:v>4.0640000000000001</c:v>
                </c:pt>
                <c:pt idx="226">
                  <c:v>3.952</c:v>
                </c:pt>
                <c:pt idx="227">
                  <c:v>3.952</c:v>
                </c:pt>
                <c:pt idx="228">
                  <c:v>3.9809999999999999</c:v>
                </c:pt>
                <c:pt idx="229">
                  <c:v>4.0419999999999998</c:v>
                </c:pt>
                <c:pt idx="230">
                  <c:v>4.0149999999999997</c:v>
                </c:pt>
                <c:pt idx="231">
                  <c:v>4.008</c:v>
                </c:pt>
                <c:pt idx="232">
                  <c:v>4.048</c:v>
                </c:pt>
                <c:pt idx="233">
                  <c:v>3.9929999999999999</c:v>
                </c:pt>
                <c:pt idx="234">
                  <c:v>3.903</c:v>
                </c:pt>
                <c:pt idx="235">
                  <c:v>3.9369999999999998</c:v>
                </c:pt>
                <c:pt idx="236">
                  <c:v>3.8660000000000001</c:v>
                </c:pt>
                <c:pt idx="237">
                  <c:v>3.8660000000000001</c:v>
                </c:pt>
                <c:pt idx="238">
                  <c:v>3.8439999999999999</c:v>
                </c:pt>
                <c:pt idx="239">
                  <c:v>3.7890000000000001</c:v>
                </c:pt>
                <c:pt idx="240">
                  <c:v>3.8929999999999998</c:v>
                </c:pt>
                <c:pt idx="241">
                  <c:v>3.9009999999999998</c:v>
                </c:pt>
                <c:pt idx="242">
                  <c:v>3.9009999999999998</c:v>
                </c:pt>
                <c:pt idx="243">
                  <c:v>3.8860000000000001</c:v>
                </c:pt>
                <c:pt idx="244">
                  <c:v>3.8570000000000002</c:v>
                </c:pt>
                <c:pt idx="245">
                  <c:v>3.9220000000000002</c:v>
                </c:pt>
                <c:pt idx="246">
                  <c:v>3.948</c:v>
                </c:pt>
                <c:pt idx="247">
                  <c:v>3.915</c:v>
                </c:pt>
                <c:pt idx="248">
                  <c:v>3.9079999999999999</c:v>
                </c:pt>
                <c:pt idx="249">
                  <c:v>4.024</c:v>
                </c:pt>
                <c:pt idx="250">
                  <c:v>4.2060000000000004</c:v>
                </c:pt>
                <c:pt idx="251">
                  <c:v>4.2350000000000003</c:v>
                </c:pt>
                <c:pt idx="252">
                  <c:v>4.2309999999999999</c:v>
                </c:pt>
                <c:pt idx="253">
                  <c:v>4.1509999999999998</c:v>
                </c:pt>
                <c:pt idx="254">
                  <c:v>4.1189999999999998</c:v>
                </c:pt>
                <c:pt idx="255">
                  <c:v>4.1740000000000004</c:v>
                </c:pt>
                <c:pt idx="256">
                  <c:v>4.2699999999999996</c:v>
                </c:pt>
                <c:pt idx="257">
                  <c:v>4.22</c:v>
                </c:pt>
                <c:pt idx="258">
                  <c:v>4.34</c:v>
                </c:pt>
                <c:pt idx="259">
                  <c:v>4.2649999999999997</c:v>
                </c:pt>
                <c:pt idx="260">
                  <c:v>4.3360000000000003</c:v>
                </c:pt>
                <c:pt idx="261">
                  <c:v>4.383</c:v>
                </c:pt>
                <c:pt idx="262">
                  <c:v>4.484</c:v>
                </c:pt>
                <c:pt idx="263">
                  <c:v>4.4119999999999999</c:v>
                </c:pt>
                <c:pt idx="264">
                  <c:v>4.4119999999999999</c:v>
                </c:pt>
                <c:pt idx="265">
                  <c:v>4.4080000000000004</c:v>
                </c:pt>
                <c:pt idx="266">
                  <c:v>4.42</c:v>
                </c:pt>
                <c:pt idx="267">
                  <c:v>4.4409999999999998</c:v>
                </c:pt>
                <c:pt idx="268">
                  <c:v>4.4530000000000003</c:v>
                </c:pt>
                <c:pt idx="269">
                  <c:v>4.5449999999999999</c:v>
                </c:pt>
                <c:pt idx="270">
                  <c:v>4.4450000000000003</c:v>
                </c:pt>
                <c:pt idx="271">
                  <c:v>4.6280000000000001</c:v>
                </c:pt>
                <c:pt idx="272">
                  <c:v>4.62</c:v>
                </c:pt>
                <c:pt idx="273">
                  <c:v>4.6379999999999999</c:v>
                </c:pt>
                <c:pt idx="274">
                  <c:v>4.5129999999999999</c:v>
                </c:pt>
                <c:pt idx="275">
                  <c:v>4.5750000000000002</c:v>
                </c:pt>
                <c:pt idx="276">
                  <c:v>4.6509999999999998</c:v>
                </c:pt>
                <c:pt idx="277">
                  <c:v>4.5739999999999998</c:v>
                </c:pt>
                <c:pt idx="278">
                  <c:v>4.6689999999999996</c:v>
                </c:pt>
                <c:pt idx="279">
                  <c:v>4.7610000000000001</c:v>
                </c:pt>
                <c:pt idx="280">
                  <c:v>4.9089999999999998</c:v>
                </c:pt>
                <c:pt idx="281">
                  <c:v>4.8789999999999996</c:v>
                </c:pt>
                <c:pt idx="282">
                  <c:v>4.8319999999999999</c:v>
                </c:pt>
                <c:pt idx="283">
                  <c:v>4.8419999999999996</c:v>
                </c:pt>
                <c:pt idx="284">
                  <c:v>4.9400000000000004</c:v>
                </c:pt>
                <c:pt idx="285">
                  <c:v>4.819</c:v>
                </c:pt>
                <c:pt idx="286">
                  <c:v>4.8520000000000003</c:v>
                </c:pt>
                <c:pt idx="287">
                  <c:v>4.9139999999999997</c:v>
                </c:pt>
                <c:pt idx="288">
                  <c:v>4.9829999999999997</c:v>
                </c:pt>
                <c:pt idx="289">
                  <c:v>4.9020000000000001</c:v>
                </c:pt>
                <c:pt idx="290">
                  <c:v>4.8339999999999996</c:v>
                </c:pt>
                <c:pt idx="291">
                  <c:v>4.7060000000000004</c:v>
                </c:pt>
                <c:pt idx="292">
                  <c:v>4.6210000000000004</c:v>
                </c:pt>
                <c:pt idx="293">
                  <c:v>4.7069999999999999</c:v>
                </c:pt>
                <c:pt idx="294">
                  <c:v>4.5709999999999997</c:v>
                </c:pt>
                <c:pt idx="295">
                  <c:v>4.6529999999999996</c:v>
                </c:pt>
                <c:pt idx="296">
                  <c:v>4.7969999999999997</c:v>
                </c:pt>
                <c:pt idx="297">
                  <c:v>4.7969999999999997</c:v>
                </c:pt>
                <c:pt idx="298">
                  <c:v>4.7140000000000004</c:v>
                </c:pt>
                <c:pt idx="299">
                  <c:v>4.7270000000000003</c:v>
                </c:pt>
                <c:pt idx="300">
                  <c:v>4.806</c:v>
                </c:pt>
                <c:pt idx="301">
                  <c:v>4.6870000000000003</c:v>
                </c:pt>
                <c:pt idx="302">
                  <c:v>4.5730000000000004</c:v>
                </c:pt>
                <c:pt idx="303">
                  <c:v>4.5750000000000002</c:v>
                </c:pt>
                <c:pt idx="304">
                  <c:v>4.6070000000000002</c:v>
                </c:pt>
                <c:pt idx="305">
                  <c:v>4.55</c:v>
                </c:pt>
                <c:pt idx="306">
                  <c:v>4.5439999999999996</c:v>
                </c:pt>
                <c:pt idx="307">
                  <c:v>4.43</c:v>
                </c:pt>
                <c:pt idx="308">
                  <c:v>4.4859999999999998</c:v>
                </c:pt>
                <c:pt idx="309">
                  <c:v>4.3710000000000004</c:v>
                </c:pt>
                <c:pt idx="310">
                  <c:v>4.3650000000000002</c:v>
                </c:pt>
                <c:pt idx="311">
                  <c:v>4.3170000000000002</c:v>
                </c:pt>
                <c:pt idx="312">
                  <c:v>4.3319999999999999</c:v>
                </c:pt>
                <c:pt idx="313">
                  <c:v>4.29</c:v>
                </c:pt>
                <c:pt idx="314">
                  <c:v>4.2519999999999998</c:v>
                </c:pt>
                <c:pt idx="315">
                  <c:v>4.266</c:v>
                </c:pt>
                <c:pt idx="316">
                  <c:v>4.2880000000000003</c:v>
                </c:pt>
                <c:pt idx="317">
                  <c:v>4.258</c:v>
                </c:pt>
                <c:pt idx="318">
                  <c:v>4.2619999999999996</c:v>
                </c:pt>
                <c:pt idx="319">
                  <c:v>4.298</c:v>
                </c:pt>
                <c:pt idx="320">
                  <c:v>4.266</c:v>
                </c:pt>
                <c:pt idx="321">
                  <c:v>4.1870000000000003</c:v>
                </c:pt>
                <c:pt idx="322">
                  <c:v>4.1870000000000003</c:v>
                </c:pt>
                <c:pt idx="323">
                  <c:v>4.0960000000000001</c:v>
                </c:pt>
                <c:pt idx="324">
                  <c:v>4.1159999999999997</c:v>
                </c:pt>
                <c:pt idx="325">
                  <c:v>4.1120000000000001</c:v>
                </c:pt>
                <c:pt idx="326">
                  <c:v>4.202</c:v>
                </c:pt>
                <c:pt idx="327">
                  <c:v>4.2329999999999997</c:v>
                </c:pt>
                <c:pt idx="328">
                  <c:v>4.2350000000000003</c:v>
                </c:pt>
                <c:pt idx="329">
                  <c:v>4.1840000000000002</c:v>
                </c:pt>
                <c:pt idx="330">
                  <c:v>4.33</c:v>
                </c:pt>
                <c:pt idx="331">
                  <c:v>4.3380000000000001</c:v>
                </c:pt>
                <c:pt idx="332">
                  <c:v>4.2510000000000003</c:v>
                </c:pt>
                <c:pt idx="333">
                  <c:v>4.29</c:v>
                </c:pt>
                <c:pt idx="334">
                  <c:v>4.2720000000000002</c:v>
                </c:pt>
                <c:pt idx="335">
                  <c:v>4.2149999999999999</c:v>
                </c:pt>
                <c:pt idx="336">
                  <c:v>4.1870000000000003</c:v>
                </c:pt>
                <c:pt idx="337">
                  <c:v>4.17</c:v>
                </c:pt>
                <c:pt idx="338">
                  <c:v>4.1059999999999999</c:v>
                </c:pt>
                <c:pt idx="339">
                  <c:v>4.0060000000000002</c:v>
                </c:pt>
                <c:pt idx="340">
                  <c:v>4.0199999999999996</c:v>
                </c:pt>
                <c:pt idx="341">
                  <c:v>4.0880000000000001</c:v>
                </c:pt>
                <c:pt idx="342">
                  <c:v>4.048</c:v>
                </c:pt>
                <c:pt idx="343">
                  <c:v>4.1870000000000003</c:v>
                </c:pt>
                <c:pt idx="344">
                  <c:v>4.069</c:v>
                </c:pt>
                <c:pt idx="345">
                  <c:v>4.0369999999999999</c:v>
                </c:pt>
                <c:pt idx="346">
                  <c:v>3.9489999999999998</c:v>
                </c:pt>
                <c:pt idx="347">
                  <c:v>3.9590000000000001</c:v>
                </c:pt>
                <c:pt idx="348">
                  <c:v>4.0019999999999998</c:v>
                </c:pt>
                <c:pt idx="349">
                  <c:v>3.8570000000000002</c:v>
                </c:pt>
                <c:pt idx="350">
                  <c:v>3.8940000000000001</c:v>
                </c:pt>
                <c:pt idx="351">
                  <c:v>3.871</c:v>
                </c:pt>
                <c:pt idx="352">
                  <c:v>3.839</c:v>
                </c:pt>
                <c:pt idx="353">
                  <c:v>3.8460000000000001</c:v>
                </c:pt>
                <c:pt idx="354">
                  <c:v>3.742</c:v>
                </c:pt>
                <c:pt idx="355">
                  <c:v>3.7930000000000001</c:v>
                </c:pt>
                <c:pt idx="356">
                  <c:v>3.8069999999999999</c:v>
                </c:pt>
                <c:pt idx="357">
                  <c:v>3.8239999999999998</c:v>
                </c:pt>
                <c:pt idx="358">
                  <c:v>3.7629999999999999</c:v>
                </c:pt>
                <c:pt idx="359">
                  <c:v>3.8650000000000002</c:v>
                </c:pt>
                <c:pt idx="360">
                  <c:v>3.9820000000000002</c:v>
                </c:pt>
                <c:pt idx="361">
                  <c:v>4</c:v>
                </c:pt>
                <c:pt idx="362">
                  <c:v>4.0620000000000003</c:v>
                </c:pt>
                <c:pt idx="363">
                  <c:v>4.0410000000000004</c:v>
                </c:pt>
                <c:pt idx="364">
                  <c:v>3.93</c:v>
                </c:pt>
                <c:pt idx="365">
                  <c:v>3.8580000000000001</c:v>
                </c:pt>
                <c:pt idx="366">
                  <c:v>3.8580000000000001</c:v>
                </c:pt>
                <c:pt idx="367">
                  <c:v>3.8090000000000002</c:v>
                </c:pt>
                <c:pt idx="368">
                  <c:v>3.8439999999999999</c:v>
                </c:pt>
                <c:pt idx="369">
                  <c:v>3.71</c:v>
                </c:pt>
                <c:pt idx="370">
                  <c:v>3.758</c:v>
                </c:pt>
                <c:pt idx="371">
                  <c:v>3.7130000000000001</c:v>
                </c:pt>
                <c:pt idx="372">
                  <c:v>3.742</c:v>
                </c:pt>
                <c:pt idx="373">
                  <c:v>3.7970000000000002</c:v>
                </c:pt>
                <c:pt idx="374">
                  <c:v>3.7210000000000001</c:v>
                </c:pt>
                <c:pt idx="375">
                  <c:v>3.73</c:v>
                </c:pt>
                <c:pt idx="376">
                  <c:v>3.7669999999999999</c:v>
                </c:pt>
                <c:pt idx="377">
                  <c:v>3.7669999999999999</c:v>
                </c:pt>
                <c:pt idx="378">
                  <c:v>3.7170000000000001</c:v>
                </c:pt>
                <c:pt idx="379">
                  <c:v>3.8079999999999998</c:v>
                </c:pt>
                <c:pt idx="380">
                  <c:v>3.827</c:v>
                </c:pt>
                <c:pt idx="381">
                  <c:v>3.7360000000000002</c:v>
                </c:pt>
                <c:pt idx="382">
                  <c:v>3.7509999999999999</c:v>
                </c:pt>
                <c:pt idx="383">
                  <c:v>3.714</c:v>
                </c:pt>
                <c:pt idx="384">
                  <c:v>3.7930000000000001</c:v>
                </c:pt>
                <c:pt idx="385">
                  <c:v>3.7</c:v>
                </c:pt>
                <c:pt idx="386">
                  <c:v>3.7</c:v>
                </c:pt>
                <c:pt idx="387">
                  <c:v>3.6949999999999998</c:v>
                </c:pt>
                <c:pt idx="388">
                  <c:v>3.605</c:v>
                </c:pt>
                <c:pt idx="389">
                  <c:v>3.633</c:v>
                </c:pt>
                <c:pt idx="390">
                  <c:v>3.6829999999999998</c:v>
                </c:pt>
                <c:pt idx="391">
                  <c:v>3.7959999999999998</c:v>
                </c:pt>
                <c:pt idx="392">
                  <c:v>3.7959999999999998</c:v>
                </c:pt>
                <c:pt idx="393">
                  <c:v>3.8149999999999999</c:v>
                </c:pt>
                <c:pt idx="394">
                  <c:v>3.7360000000000002</c:v>
                </c:pt>
                <c:pt idx="395">
                  <c:v>3.7229999999999999</c:v>
                </c:pt>
                <c:pt idx="396">
                  <c:v>3.7229999999999999</c:v>
                </c:pt>
                <c:pt idx="397">
                  <c:v>3.653</c:v>
                </c:pt>
                <c:pt idx="398">
                  <c:v>3.653</c:v>
                </c:pt>
                <c:pt idx="399">
                  <c:v>3.5750000000000002</c:v>
                </c:pt>
                <c:pt idx="400">
                  <c:v>3.536</c:v>
                </c:pt>
                <c:pt idx="401">
                  <c:v>3.4980000000000002</c:v>
                </c:pt>
                <c:pt idx="402">
                  <c:v>3.4609999999999999</c:v>
                </c:pt>
                <c:pt idx="403">
                  <c:v>3.3860000000000001</c:v>
                </c:pt>
                <c:pt idx="404">
                  <c:v>3.4409999999999998</c:v>
                </c:pt>
                <c:pt idx="405">
                  <c:v>3.53</c:v>
                </c:pt>
                <c:pt idx="406">
                  <c:v>3.5150000000000001</c:v>
                </c:pt>
                <c:pt idx="407">
                  <c:v>3.4350000000000001</c:v>
                </c:pt>
                <c:pt idx="408">
                  <c:v>3.3690000000000002</c:v>
                </c:pt>
                <c:pt idx="409">
                  <c:v>3.3519999999999999</c:v>
                </c:pt>
                <c:pt idx="410">
                  <c:v>3.4260000000000002</c:v>
                </c:pt>
                <c:pt idx="411">
                  <c:v>3.593</c:v>
                </c:pt>
                <c:pt idx="412">
                  <c:v>3.4279999999999999</c:v>
                </c:pt>
                <c:pt idx="413">
                  <c:v>3.5259999999999998</c:v>
                </c:pt>
                <c:pt idx="414">
                  <c:v>3.4409999999999998</c:v>
                </c:pt>
                <c:pt idx="415">
                  <c:v>3.383</c:v>
                </c:pt>
                <c:pt idx="416">
                  <c:v>3.5089999999999999</c:v>
                </c:pt>
                <c:pt idx="417">
                  <c:v>3.5720000000000001</c:v>
                </c:pt>
                <c:pt idx="418">
                  <c:v>3.5379999999999998</c:v>
                </c:pt>
                <c:pt idx="419">
                  <c:v>3.6</c:v>
                </c:pt>
                <c:pt idx="420">
                  <c:v>3.577</c:v>
                </c:pt>
                <c:pt idx="421">
                  <c:v>3.597</c:v>
                </c:pt>
                <c:pt idx="422">
                  <c:v>3.5150000000000001</c:v>
                </c:pt>
                <c:pt idx="423">
                  <c:v>3.4489999999999998</c:v>
                </c:pt>
                <c:pt idx="424">
                  <c:v>3.4060000000000001</c:v>
                </c:pt>
                <c:pt idx="425">
                  <c:v>3.4279999999999999</c:v>
                </c:pt>
                <c:pt idx="426">
                  <c:v>3.4209999999999998</c:v>
                </c:pt>
                <c:pt idx="427">
                  <c:v>3.2989999999999999</c:v>
                </c:pt>
                <c:pt idx="428">
                  <c:v>3.2989999999999999</c:v>
                </c:pt>
                <c:pt idx="429">
                  <c:v>3.302</c:v>
                </c:pt>
                <c:pt idx="430">
                  <c:v>3.35</c:v>
                </c:pt>
                <c:pt idx="431">
                  <c:v>3.423</c:v>
                </c:pt>
                <c:pt idx="432">
                  <c:v>3.4809999999999999</c:v>
                </c:pt>
                <c:pt idx="433">
                  <c:v>3.5510000000000002</c:v>
                </c:pt>
                <c:pt idx="434">
                  <c:v>3.5659999999999998</c:v>
                </c:pt>
                <c:pt idx="435">
                  <c:v>3.5680000000000001</c:v>
                </c:pt>
                <c:pt idx="436">
                  <c:v>3.528</c:v>
                </c:pt>
                <c:pt idx="437">
                  <c:v>3.3780000000000001</c:v>
                </c:pt>
                <c:pt idx="438">
                  <c:v>3.4039999999999999</c:v>
                </c:pt>
                <c:pt idx="439">
                  <c:v>3.5</c:v>
                </c:pt>
                <c:pt idx="440">
                  <c:v>3.6059999999999999</c:v>
                </c:pt>
                <c:pt idx="441">
                  <c:v>3.4769999999999999</c:v>
                </c:pt>
                <c:pt idx="442">
                  <c:v>3.3969999999999998</c:v>
                </c:pt>
                <c:pt idx="443">
                  <c:v>3.5830000000000002</c:v>
                </c:pt>
                <c:pt idx="444">
                  <c:v>3.4940000000000002</c:v>
                </c:pt>
                <c:pt idx="445">
                  <c:v>3.6360000000000001</c:v>
                </c:pt>
                <c:pt idx="446">
                  <c:v>3.5150000000000001</c:v>
                </c:pt>
                <c:pt idx="447">
                  <c:v>3.6949999999999998</c:v>
                </c:pt>
                <c:pt idx="448">
                  <c:v>3.923</c:v>
                </c:pt>
                <c:pt idx="449">
                  <c:v>3.976</c:v>
                </c:pt>
                <c:pt idx="450">
                  <c:v>3.9750000000000001</c:v>
                </c:pt>
                <c:pt idx="451">
                  <c:v>3.9830000000000001</c:v>
                </c:pt>
                <c:pt idx="452">
                  <c:v>3.9630000000000001</c:v>
                </c:pt>
                <c:pt idx="453">
                  <c:v>4.0730000000000004</c:v>
                </c:pt>
                <c:pt idx="454">
                  <c:v>3.996</c:v>
                </c:pt>
                <c:pt idx="455">
                  <c:v>3.9140000000000001</c:v>
                </c:pt>
                <c:pt idx="456">
                  <c:v>3.9220000000000002</c:v>
                </c:pt>
                <c:pt idx="457">
                  <c:v>3.9489999999999998</c:v>
                </c:pt>
                <c:pt idx="458">
                  <c:v>3.8809999999999998</c:v>
                </c:pt>
                <c:pt idx="459">
                  <c:v>3.923</c:v>
                </c:pt>
                <c:pt idx="460">
                  <c:v>3.9529999999999998</c:v>
                </c:pt>
                <c:pt idx="461">
                  <c:v>3.8279999999999998</c:v>
                </c:pt>
                <c:pt idx="462">
                  <c:v>3.8279999999999998</c:v>
                </c:pt>
                <c:pt idx="463">
                  <c:v>3.843</c:v>
                </c:pt>
                <c:pt idx="464">
                  <c:v>3.8069999999999999</c:v>
                </c:pt>
                <c:pt idx="465">
                  <c:v>3.7610000000000001</c:v>
                </c:pt>
                <c:pt idx="466">
                  <c:v>3.7189999999999999</c:v>
                </c:pt>
                <c:pt idx="467">
                  <c:v>3.7429999999999999</c:v>
                </c:pt>
                <c:pt idx="468">
                  <c:v>3.6829999999999998</c:v>
                </c:pt>
                <c:pt idx="469">
                  <c:v>3.653</c:v>
                </c:pt>
                <c:pt idx="470">
                  <c:v>3.6739999999999999</c:v>
                </c:pt>
                <c:pt idx="471">
                  <c:v>3.6320000000000001</c:v>
                </c:pt>
                <c:pt idx="472">
                  <c:v>3.532</c:v>
                </c:pt>
                <c:pt idx="473">
                  <c:v>3.3980000000000001</c:v>
                </c:pt>
                <c:pt idx="474">
                  <c:v>3.3980000000000001</c:v>
                </c:pt>
                <c:pt idx="475">
                  <c:v>3.5289999999999999</c:v>
                </c:pt>
                <c:pt idx="476">
                  <c:v>3.5510000000000002</c:v>
                </c:pt>
                <c:pt idx="477">
                  <c:v>3.5179999999999998</c:v>
                </c:pt>
                <c:pt idx="478">
                  <c:v>3.4910000000000001</c:v>
                </c:pt>
                <c:pt idx="479">
                  <c:v>3.4620000000000002</c:v>
                </c:pt>
                <c:pt idx="480">
                  <c:v>3.4670000000000001</c:v>
                </c:pt>
                <c:pt idx="481">
                  <c:v>3.5230000000000001</c:v>
                </c:pt>
                <c:pt idx="482">
                  <c:v>3.484</c:v>
                </c:pt>
                <c:pt idx="483">
                  <c:v>3.399</c:v>
                </c:pt>
                <c:pt idx="484">
                  <c:v>3.375</c:v>
                </c:pt>
                <c:pt idx="485">
                  <c:v>3.5350000000000001</c:v>
                </c:pt>
                <c:pt idx="486">
                  <c:v>3.5110000000000001</c:v>
                </c:pt>
                <c:pt idx="487">
                  <c:v>3.5110000000000001</c:v>
                </c:pt>
                <c:pt idx="488">
                  <c:v>3.4470000000000001</c:v>
                </c:pt>
                <c:pt idx="489">
                  <c:v>3.556</c:v>
                </c:pt>
                <c:pt idx="490">
                  <c:v>3.6190000000000002</c:v>
                </c:pt>
                <c:pt idx="491">
                  <c:v>3.5169999999999999</c:v>
                </c:pt>
                <c:pt idx="492">
                  <c:v>3.5710000000000002</c:v>
                </c:pt>
                <c:pt idx="493">
                  <c:v>3.722</c:v>
                </c:pt>
                <c:pt idx="494">
                  <c:v>3.7090000000000001</c:v>
                </c:pt>
                <c:pt idx="495">
                  <c:v>3.7919999999999998</c:v>
                </c:pt>
                <c:pt idx="496">
                  <c:v>3.831</c:v>
                </c:pt>
                <c:pt idx="497">
                  <c:v>3.831</c:v>
                </c:pt>
                <c:pt idx="498">
                  <c:v>3.835</c:v>
                </c:pt>
                <c:pt idx="499">
                  <c:v>3.8860000000000001</c:v>
                </c:pt>
                <c:pt idx="500">
                  <c:v>3.8580000000000001</c:v>
                </c:pt>
                <c:pt idx="501">
                  <c:v>3.7469999999999999</c:v>
                </c:pt>
                <c:pt idx="502">
                  <c:v>3.7469999999999999</c:v>
                </c:pt>
                <c:pt idx="503">
                  <c:v>3.6709999999999998</c:v>
                </c:pt>
                <c:pt idx="504">
                  <c:v>3.6840000000000002</c:v>
                </c:pt>
                <c:pt idx="505">
                  <c:v>3.6840000000000002</c:v>
                </c:pt>
                <c:pt idx="506">
                  <c:v>3.5830000000000002</c:v>
                </c:pt>
                <c:pt idx="507">
                  <c:v>3.4820000000000002</c:v>
                </c:pt>
                <c:pt idx="508">
                  <c:v>3.45</c:v>
                </c:pt>
                <c:pt idx="509">
                  <c:v>3.5030000000000001</c:v>
                </c:pt>
                <c:pt idx="510">
                  <c:v>3.5030000000000001</c:v>
                </c:pt>
                <c:pt idx="511">
                  <c:v>3.6110000000000002</c:v>
                </c:pt>
                <c:pt idx="512">
                  <c:v>3.5670000000000002</c:v>
                </c:pt>
                <c:pt idx="513">
                  <c:v>3.4929999999999999</c:v>
                </c:pt>
                <c:pt idx="514">
                  <c:v>3.4079999999999999</c:v>
                </c:pt>
                <c:pt idx="515">
                  <c:v>3.5129999999999999</c:v>
                </c:pt>
                <c:pt idx="516">
                  <c:v>3.5990000000000002</c:v>
                </c:pt>
                <c:pt idx="517">
                  <c:v>3.5030000000000001</c:v>
                </c:pt>
                <c:pt idx="518">
                  <c:v>3.5270000000000001</c:v>
                </c:pt>
                <c:pt idx="519">
                  <c:v>3.7010000000000001</c:v>
                </c:pt>
                <c:pt idx="520">
                  <c:v>3.7480000000000002</c:v>
                </c:pt>
                <c:pt idx="521">
                  <c:v>3.702</c:v>
                </c:pt>
                <c:pt idx="522">
                  <c:v>3.702</c:v>
                </c:pt>
                <c:pt idx="523">
                  <c:v>3.7090000000000001</c:v>
                </c:pt>
                <c:pt idx="524">
                  <c:v>3.7090000000000001</c:v>
                </c:pt>
                <c:pt idx="525">
                  <c:v>3.758</c:v>
                </c:pt>
                <c:pt idx="526">
                  <c:v>3.827</c:v>
                </c:pt>
                <c:pt idx="527">
                  <c:v>3.8180000000000001</c:v>
                </c:pt>
                <c:pt idx="528">
                  <c:v>3.7730000000000001</c:v>
                </c:pt>
                <c:pt idx="529">
                  <c:v>3.694</c:v>
                </c:pt>
                <c:pt idx="530">
                  <c:v>3.7989999999999999</c:v>
                </c:pt>
                <c:pt idx="531">
                  <c:v>3.867</c:v>
                </c:pt>
                <c:pt idx="532">
                  <c:v>3.8290000000000002</c:v>
                </c:pt>
                <c:pt idx="533">
                  <c:v>3.8290000000000002</c:v>
                </c:pt>
                <c:pt idx="534">
                  <c:v>4.1509999999999998</c:v>
                </c:pt>
                <c:pt idx="535">
                  <c:v>4.1280000000000001</c:v>
                </c:pt>
                <c:pt idx="536">
                  <c:v>4.2140000000000004</c:v>
                </c:pt>
                <c:pt idx="537">
                  <c:v>4.1580000000000004</c:v>
                </c:pt>
                <c:pt idx="538">
                  <c:v>4.1239999999999997</c:v>
                </c:pt>
                <c:pt idx="539">
                  <c:v>4.0609999999999999</c:v>
                </c:pt>
                <c:pt idx="540">
                  <c:v>4.0519999999999996</c:v>
                </c:pt>
                <c:pt idx="541">
                  <c:v>4.077</c:v>
                </c:pt>
                <c:pt idx="542">
                  <c:v>4.01</c:v>
                </c:pt>
                <c:pt idx="543">
                  <c:v>3.9390000000000001</c:v>
                </c:pt>
                <c:pt idx="544">
                  <c:v>4.0149999999999997</c:v>
                </c:pt>
                <c:pt idx="545">
                  <c:v>4.1100000000000003</c:v>
                </c:pt>
                <c:pt idx="546">
                  <c:v>4.2320000000000002</c:v>
                </c:pt>
                <c:pt idx="547">
                  <c:v>4.2119999999999997</c:v>
                </c:pt>
                <c:pt idx="548">
                  <c:v>4.226</c:v>
                </c:pt>
                <c:pt idx="549">
                  <c:v>4.1289999999999996</c:v>
                </c:pt>
                <c:pt idx="550">
                  <c:v>3.9980000000000002</c:v>
                </c:pt>
                <c:pt idx="551">
                  <c:v>4.0149999999999997</c:v>
                </c:pt>
                <c:pt idx="552">
                  <c:v>4.0060000000000002</c:v>
                </c:pt>
                <c:pt idx="553">
                  <c:v>3.9540000000000002</c:v>
                </c:pt>
                <c:pt idx="554">
                  <c:v>3.9020000000000001</c:v>
                </c:pt>
                <c:pt idx="555">
                  <c:v>3.9390000000000001</c:v>
                </c:pt>
                <c:pt idx="556">
                  <c:v>3.8849999999999998</c:v>
                </c:pt>
                <c:pt idx="557">
                  <c:v>3.8849999999999998</c:v>
                </c:pt>
                <c:pt idx="558">
                  <c:v>3.8239999999999998</c:v>
                </c:pt>
                <c:pt idx="559">
                  <c:v>3.7589999999999999</c:v>
                </c:pt>
                <c:pt idx="560">
                  <c:v>3.617</c:v>
                </c:pt>
                <c:pt idx="561">
                  <c:v>3.6509999999999998</c:v>
                </c:pt>
                <c:pt idx="562">
                  <c:v>3.8039999999999998</c:v>
                </c:pt>
                <c:pt idx="563">
                  <c:v>3.7469999999999999</c:v>
                </c:pt>
                <c:pt idx="564">
                  <c:v>3.7069999999999999</c:v>
                </c:pt>
                <c:pt idx="565">
                  <c:v>3.9630000000000001</c:v>
                </c:pt>
                <c:pt idx="566">
                  <c:v>3.88</c:v>
                </c:pt>
                <c:pt idx="567">
                  <c:v>3.6970000000000001</c:v>
                </c:pt>
                <c:pt idx="568">
                  <c:v>3.7080000000000002</c:v>
                </c:pt>
                <c:pt idx="569">
                  <c:v>3.512</c:v>
                </c:pt>
                <c:pt idx="570">
                  <c:v>3.573</c:v>
                </c:pt>
                <c:pt idx="571">
                  <c:v>3.4889999999999999</c:v>
                </c:pt>
                <c:pt idx="572">
                  <c:v>3.4470000000000001</c:v>
                </c:pt>
                <c:pt idx="573">
                  <c:v>3.4590000000000001</c:v>
                </c:pt>
                <c:pt idx="574">
                  <c:v>3.4119999999999999</c:v>
                </c:pt>
                <c:pt idx="575">
                  <c:v>3.423</c:v>
                </c:pt>
                <c:pt idx="576">
                  <c:v>3.3620000000000001</c:v>
                </c:pt>
                <c:pt idx="577">
                  <c:v>3.3210000000000002</c:v>
                </c:pt>
                <c:pt idx="578">
                  <c:v>3.2919999999999998</c:v>
                </c:pt>
                <c:pt idx="579">
                  <c:v>3.2650000000000001</c:v>
                </c:pt>
                <c:pt idx="580">
                  <c:v>3.34</c:v>
                </c:pt>
                <c:pt idx="581">
                  <c:v>3.1909999999999998</c:v>
                </c:pt>
                <c:pt idx="582">
                  <c:v>3.1909999999999998</c:v>
                </c:pt>
                <c:pt idx="583">
                  <c:v>3.2650000000000001</c:v>
                </c:pt>
                <c:pt idx="584">
                  <c:v>3.1320000000000001</c:v>
                </c:pt>
                <c:pt idx="585">
                  <c:v>3.11</c:v>
                </c:pt>
                <c:pt idx="586">
                  <c:v>3.11</c:v>
                </c:pt>
                <c:pt idx="587">
                  <c:v>3.0350000000000001</c:v>
                </c:pt>
                <c:pt idx="588">
                  <c:v>3.024</c:v>
                </c:pt>
                <c:pt idx="589">
                  <c:v>3.1059999999999999</c:v>
                </c:pt>
                <c:pt idx="590">
                  <c:v>3.0539999999999998</c:v>
                </c:pt>
                <c:pt idx="591">
                  <c:v>3.0350000000000001</c:v>
                </c:pt>
                <c:pt idx="592">
                  <c:v>2.9889999999999999</c:v>
                </c:pt>
                <c:pt idx="593">
                  <c:v>2.88</c:v>
                </c:pt>
                <c:pt idx="594">
                  <c:v>2.895</c:v>
                </c:pt>
                <c:pt idx="595">
                  <c:v>2.8239999999999998</c:v>
                </c:pt>
                <c:pt idx="596">
                  <c:v>2.7909999999999999</c:v>
                </c:pt>
                <c:pt idx="597">
                  <c:v>2.8490000000000002</c:v>
                </c:pt>
                <c:pt idx="598">
                  <c:v>2.8879999999999999</c:v>
                </c:pt>
                <c:pt idx="599">
                  <c:v>2.786</c:v>
                </c:pt>
                <c:pt idx="600">
                  <c:v>2.7970000000000002</c:v>
                </c:pt>
                <c:pt idx="601">
                  <c:v>2.7629999999999999</c:v>
                </c:pt>
                <c:pt idx="602">
                  <c:v>2.84</c:v>
                </c:pt>
                <c:pt idx="603">
                  <c:v>2.6760000000000002</c:v>
                </c:pt>
                <c:pt idx="604">
                  <c:v>2.7480000000000002</c:v>
                </c:pt>
                <c:pt idx="605">
                  <c:v>2.7410000000000001</c:v>
                </c:pt>
                <c:pt idx="606">
                  <c:v>2.605</c:v>
                </c:pt>
                <c:pt idx="607">
                  <c:v>2.6419999999999999</c:v>
                </c:pt>
                <c:pt idx="608">
                  <c:v>2.681</c:v>
                </c:pt>
                <c:pt idx="609">
                  <c:v>2.7320000000000002</c:v>
                </c:pt>
                <c:pt idx="610">
                  <c:v>2.7869999999999999</c:v>
                </c:pt>
                <c:pt idx="611">
                  <c:v>2.82</c:v>
                </c:pt>
                <c:pt idx="612">
                  <c:v>2.7810000000000001</c:v>
                </c:pt>
                <c:pt idx="613">
                  <c:v>2.9079999999999999</c:v>
                </c:pt>
                <c:pt idx="614">
                  <c:v>3.036</c:v>
                </c:pt>
                <c:pt idx="615">
                  <c:v>3.0190000000000001</c:v>
                </c:pt>
                <c:pt idx="616">
                  <c:v>2.96</c:v>
                </c:pt>
                <c:pt idx="617">
                  <c:v>2.93</c:v>
                </c:pt>
                <c:pt idx="618">
                  <c:v>2.9590000000000001</c:v>
                </c:pt>
                <c:pt idx="619">
                  <c:v>2.9060000000000001</c:v>
                </c:pt>
                <c:pt idx="620">
                  <c:v>2.9580000000000002</c:v>
                </c:pt>
                <c:pt idx="621">
                  <c:v>2.9910000000000001</c:v>
                </c:pt>
                <c:pt idx="622">
                  <c:v>3.101</c:v>
                </c:pt>
                <c:pt idx="623">
                  <c:v>3.008</c:v>
                </c:pt>
                <c:pt idx="624">
                  <c:v>2.911</c:v>
                </c:pt>
                <c:pt idx="625">
                  <c:v>2.8109999999999999</c:v>
                </c:pt>
                <c:pt idx="626">
                  <c:v>2.9039999999999999</c:v>
                </c:pt>
                <c:pt idx="627">
                  <c:v>2.9039999999999999</c:v>
                </c:pt>
                <c:pt idx="628">
                  <c:v>2.9740000000000002</c:v>
                </c:pt>
                <c:pt idx="629">
                  <c:v>3.093</c:v>
                </c:pt>
                <c:pt idx="630">
                  <c:v>3.2069999999999999</c:v>
                </c:pt>
                <c:pt idx="631">
                  <c:v>3.194</c:v>
                </c:pt>
                <c:pt idx="632">
                  <c:v>3.1240000000000001</c:v>
                </c:pt>
                <c:pt idx="633">
                  <c:v>3.07</c:v>
                </c:pt>
                <c:pt idx="634">
                  <c:v>3.1560000000000001</c:v>
                </c:pt>
                <c:pt idx="635">
                  <c:v>3.3050000000000002</c:v>
                </c:pt>
                <c:pt idx="636">
                  <c:v>3.2389999999999999</c:v>
                </c:pt>
                <c:pt idx="637">
                  <c:v>3.2389999999999999</c:v>
                </c:pt>
                <c:pt idx="638">
                  <c:v>3.3050000000000002</c:v>
                </c:pt>
                <c:pt idx="639">
                  <c:v>3.395</c:v>
                </c:pt>
                <c:pt idx="640">
                  <c:v>3.4830000000000001</c:v>
                </c:pt>
                <c:pt idx="641">
                  <c:v>3.371</c:v>
                </c:pt>
                <c:pt idx="642">
                  <c:v>3.157</c:v>
                </c:pt>
                <c:pt idx="643">
                  <c:v>3.0419999999999998</c:v>
                </c:pt>
                <c:pt idx="644">
                  <c:v>3.0289999999999999</c:v>
                </c:pt>
                <c:pt idx="645">
                  <c:v>2.97</c:v>
                </c:pt>
                <c:pt idx="646">
                  <c:v>3.0379999999999998</c:v>
                </c:pt>
                <c:pt idx="647">
                  <c:v>2.9550000000000001</c:v>
                </c:pt>
                <c:pt idx="648">
                  <c:v>2.915</c:v>
                </c:pt>
                <c:pt idx="649">
                  <c:v>2.931</c:v>
                </c:pt>
                <c:pt idx="650">
                  <c:v>2.8439999999999999</c:v>
                </c:pt>
                <c:pt idx="651">
                  <c:v>2.7490000000000001</c:v>
                </c:pt>
                <c:pt idx="652">
                  <c:v>2.7490000000000001</c:v>
                </c:pt>
                <c:pt idx="653">
                  <c:v>2.758</c:v>
                </c:pt>
                <c:pt idx="654">
                  <c:v>2.7469999999999999</c:v>
                </c:pt>
                <c:pt idx="655">
                  <c:v>2.76</c:v>
                </c:pt>
                <c:pt idx="656">
                  <c:v>2.859</c:v>
                </c:pt>
                <c:pt idx="657">
                  <c:v>2.7869999999999999</c:v>
                </c:pt>
                <c:pt idx="658">
                  <c:v>2.855</c:v>
                </c:pt>
                <c:pt idx="659">
                  <c:v>2.8839999999999999</c:v>
                </c:pt>
                <c:pt idx="660">
                  <c:v>2.97</c:v>
                </c:pt>
                <c:pt idx="661">
                  <c:v>2.879</c:v>
                </c:pt>
                <c:pt idx="662">
                  <c:v>2.9329999999999998</c:v>
                </c:pt>
                <c:pt idx="663">
                  <c:v>2.8170000000000002</c:v>
                </c:pt>
                <c:pt idx="664">
                  <c:v>2.919</c:v>
                </c:pt>
                <c:pt idx="665">
                  <c:v>2.9929999999999999</c:v>
                </c:pt>
                <c:pt idx="666">
                  <c:v>3.0790000000000002</c:v>
                </c:pt>
                <c:pt idx="667">
                  <c:v>3.1240000000000001</c:v>
                </c:pt>
                <c:pt idx="668">
                  <c:v>3.0680000000000001</c:v>
                </c:pt>
                <c:pt idx="669">
                  <c:v>2.915</c:v>
                </c:pt>
                <c:pt idx="670">
                  <c:v>2.9580000000000002</c:v>
                </c:pt>
                <c:pt idx="671">
                  <c:v>2.996</c:v>
                </c:pt>
                <c:pt idx="672">
                  <c:v>2.8849999999999998</c:v>
                </c:pt>
                <c:pt idx="673">
                  <c:v>2.863</c:v>
                </c:pt>
                <c:pt idx="674">
                  <c:v>2.8180000000000001</c:v>
                </c:pt>
                <c:pt idx="675">
                  <c:v>2.7719999999999998</c:v>
                </c:pt>
                <c:pt idx="676">
                  <c:v>2.827</c:v>
                </c:pt>
                <c:pt idx="677">
                  <c:v>2.9060000000000001</c:v>
                </c:pt>
                <c:pt idx="678">
                  <c:v>2.9169999999999998</c:v>
                </c:pt>
                <c:pt idx="679">
                  <c:v>2.8359999999999999</c:v>
                </c:pt>
                <c:pt idx="680">
                  <c:v>2.915</c:v>
                </c:pt>
                <c:pt idx="681">
                  <c:v>2.8620000000000001</c:v>
                </c:pt>
                <c:pt idx="682">
                  <c:v>2.8079999999999998</c:v>
                </c:pt>
                <c:pt idx="683">
                  <c:v>2.8079999999999998</c:v>
                </c:pt>
                <c:pt idx="684">
                  <c:v>2.6890000000000001</c:v>
                </c:pt>
                <c:pt idx="685">
                  <c:v>2.7269999999999999</c:v>
                </c:pt>
                <c:pt idx="686">
                  <c:v>2.782</c:v>
                </c:pt>
                <c:pt idx="687">
                  <c:v>2.7149999999999999</c:v>
                </c:pt>
                <c:pt idx="688">
                  <c:v>2.6539999999999999</c:v>
                </c:pt>
                <c:pt idx="689">
                  <c:v>2.609</c:v>
                </c:pt>
                <c:pt idx="690">
                  <c:v>2.5539999999999998</c:v>
                </c:pt>
                <c:pt idx="691">
                  <c:v>2.4119999999999999</c:v>
                </c:pt>
                <c:pt idx="692">
                  <c:v>2.375</c:v>
                </c:pt>
                <c:pt idx="693">
                  <c:v>2.3250000000000002</c:v>
                </c:pt>
                <c:pt idx="694">
                  <c:v>2.3580000000000001</c:v>
                </c:pt>
                <c:pt idx="695">
                  <c:v>2.4</c:v>
                </c:pt>
                <c:pt idx="696">
                  <c:v>2.4769999999999999</c:v>
                </c:pt>
                <c:pt idx="697">
                  <c:v>2.4929999999999999</c:v>
                </c:pt>
                <c:pt idx="698">
                  <c:v>2.3410000000000002</c:v>
                </c:pt>
                <c:pt idx="699">
                  <c:v>2.3210000000000002</c:v>
                </c:pt>
                <c:pt idx="700">
                  <c:v>2.3769999999999998</c:v>
                </c:pt>
                <c:pt idx="701">
                  <c:v>2.3170000000000002</c:v>
                </c:pt>
                <c:pt idx="702">
                  <c:v>2.1480000000000001</c:v>
                </c:pt>
                <c:pt idx="703">
                  <c:v>2.1920000000000002</c:v>
                </c:pt>
                <c:pt idx="704">
                  <c:v>2.1869999999999998</c:v>
                </c:pt>
                <c:pt idx="705">
                  <c:v>2.16</c:v>
                </c:pt>
                <c:pt idx="706">
                  <c:v>2.14</c:v>
                </c:pt>
                <c:pt idx="707">
                  <c:v>2.0059999999999998</c:v>
                </c:pt>
                <c:pt idx="708">
                  <c:v>2.0089999999999999</c:v>
                </c:pt>
                <c:pt idx="709">
                  <c:v>1.948</c:v>
                </c:pt>
                <c:pt idx="710">
                  <c:v>1.871</c:v>
                </c:pt>
                <c:pt idx="711">
                  <c:v>1.7490000000000001</c:v>
                </c:pt>
                <c:pt idx="712">
                  <c:v>1.722</c:v>
                </c:pt>
                <c:pt idx="713">
                  <c:v>1.8440000000000001</c:v>
                </c:pt>
                <c:pt idx="714">
                  <c:v>1.865</c:v>
                </c:pt>
                <c:pt idx="715">
                  <c:v>1.7110000000000001</c:v>
                </c:pt>
                <c:pt idx="716">
                  <c:v>1.839</c:v>
                </c:pt>
                <c:pt idx="717">
                  <c:v>1.984</c:v>
                </c:pt>
                <c:pt idx="718">
                  <c:v>1.972</c:v>
                </c:pt>
                <c:pt idx="719">
                  <c:v>1.9770000000000001</c:v>
                </c:pt>
                <c:pt idx="720">
                  <c:v>1.948</c:v>
                </c:pt>
                <c:pt idx="721">
                  <c:v>1.93</c:v>
                </c:pt>
                <c:pt idx="722">
                  <c:v>1.93</c:v>
                </c:pt>
                <c:pt idx="723">
                  <c:v>1.974</c:v>
                </c:pt>
                <c:pt idx="724">
                  <c:v>2.0449999999999999</c:v>
                </c:pt>
                <c:pt idx="725">
                  <c:v>2.0449999999999999</c:v>
                </c:pt>
                <c:pt idx="726">
                  <c:v>1.996</c:v>
                </c:pt>
                <c:pt idx="727">
                  <c:v>1.9510000000000001</c:v>
                </c:pt>
                <c:pt idx="728">
                  <c:v>2.0289999999999999</c:v>
                </c:pt>
                <c:pt idx="729">
                  <c:v>1.929</c:v>
                </c:pt>
                <c:pt idx="730">
                  <c:v>1.956</c:v>
                </c:pt>
                <c:pt idx="731">
                  <c:v>1.9159999999999999</c:v>
                </c:pt>
                <c:pt idx="732">
                  <c:v>1.9319999999999999</c:v>
                </c:pt>
                <c:pt idx="733">
                  <c:v>1.827</c:v>
                </c:pt>
                <c:pt idx="734">
                  <c:v>1.766</c:v>
                </c:pt>
                <c:pt idx="735">
                  <c:v>1.8</c:v>
                </c:pt>
                <c:pt idx="736">
                  <c:v>1.782</c:v>
                </c:pt>
                <c:pt idx="737">
                  <c:v>1.78</c:v>
                </c:pt>
                <c:pt idx="738">
                  <c:v>1.8080000000000001</c:v>
                </c:pt>
                <c:pt idx="739">
                  <c:v>1.8460000000000001</c:v>
                </c:pt>
                <c:pt idx="740">
                  <c:v>1.7849999999999999</c:v>
                </c:pt>
                <c:pt idx="741">
                  <c:v>1.7350000000000001</c:v>
                </c:pt>
                <c:pt idx="742">
                  <c:v>1.7470000000000001</c:v>
                </c:pt>
                <c:pt idx="743">
                  <c:v>1.8340000000000001</c:v>
                </c:pt>
                <c:pt idx="744">
                  <c:v>1.827</c:v>
                </c:pt>
                <c:pt idx="745">
                  <c:v>1.8680000000000001</c:v>
                </c:pt>
                <c:pt idx="746">
                  <c:v>1.772</c:v>
                </c:pt>
                <c:pt idx="747">
                  <c:v>1.772</c:v>
                </c:pt>
                <c:pt idx="748">
                  <c:v>1.7090000000000001</c:v>
                </c:pt>
                <c:pt idx="749">
                  <c:v>1.7250000000000001</c:v>
                </c:pt>
                <c:pt idx="750">
                  <c:v>1.746</c:v>
                </c:pt>
                <c:pt idx="751">
                  <c:v>1.78</c:v>
                </c:pt>
                <c:pt idx="752">
                  <c:v>1.7689999999999999</c:v>
                </c:pt>
                <c:pt idx="753">
                  <c:v>1.7330000000000001</c:v>
                </c:pt>
                <c:pt idx="754">
                  <c:v>1.7030000000000001</c:v>
                </c:pt>
                <c:pt idx="755">
                  <c:v>1.6659999999999999</c:v>
                </c:pt>
                <c:pt idx="756">
                  <c:v>1.63</c:v>
                </c:pt>
                <c:pt idx="757">
                  <c:v>1.498</c:v>
                </c:pt>
                <c:pt idx="758">
                  <c:v>1.5149999999999999</c:v>
                </c:pt>
                <c:pt idx="759">
                  <c:v>1.5429999999999999</c:v>
                </c:pt>
                <c:pt idx="760">
                  <c:v>1.4810000000000001</c:v>
                </c:pt>
                <c:pt idx="761">
                  <c:v>1.4810000000000001</c:v>
                </c:pt>
                <c:pt idx="762">
                  <c:v>1.4930000000000001</c:v>
                </c:pt>
                <c:pt idx="763">
                  <c:v>1.4930000000000001</c:v>
                </c:pt>
                <c:pt idx="764">
                  <c:v>1.458</c:v>
                </c:pt>
                <c:pt idx="765">
                  <c:v>1.4870000000000001</c:v>
                </c:pt>
                <c:pt idx="766">
                  <c:v>1.419</c:v>
                </c:pt>
                <c:pt idx="767">
                  <c:v>1.4019999999999999</c:v>
                </c:pt>
                <c:pt idx="768">
                  <c:v>1.4219999999999999</c:v>
                </c:pt>
                <c:pt idx="769">
                  <c:v>1.462</c:v>
                </c:pt>
                <c:pt idx="770">
                  <c:v>1.4390000000000001</c:v>
                </c:pt>
                <c:pt idx="771">
                  <c:v>1.4239999999999999</c:v>
                </c:pt>
                <c:pt idx="772">
                  <c:v>1.4890000000000001</c:v>
                </c:pt>
                <c:pt idx="773">
                  <c:v>1.4870000000000001</c:v>
                </c:pt>
                <c:pt idx="774">
                  <c:v>1.5089999999999999</c:v>
                </c:pt>
                <c:pt idx="775">
                  <c:v>1.48</c:v>
                </c:pt>
                <c:pt idx="776">
                  <c:v>1.4339999999999999</c:v>
                </c:pt>
                <c:pt idx="777">
                  <c:v>1.341</c:v>
                </c:pt>
                <c:pt idx="778">
                  <c:v>1.4490000000000001</c:v>
                </c:pt>
                <c:pt idx="779">
                  <c:v>1.4339999999999999</c:v>
                </c:pt>
                <c:pt idx="780">
                  <c:v>1.4410000000000001</c:v>
                </c:pt>
                <c:pt idx="781">
                  <c:v>1.5289999999999999</c:v>
                </c:pt>
                <c:pt idx="782">
                  <c:v>1.4850000000000001</c:v>
                </c:pt>
                <c:pt idx="783">
                  <c:v>1.6439999999999999</c:v>
                </c:pt>
                <c:pt idx="784">
                  <c:v>1.6439999999999999</c:v>
                </c:pt>
                <c:pt idx="785">
                  <c:v>1.665</c:v>
                </c:pt>
                <c:pt idx="786">
                  <c:v>1.625</c:v>
                </c:pt>
                <c:pt idx="787">
                  <c:v>1.536</c:v>
                </c:pt>
                <c:pt idx="788">
                  <c:v>1.587</c:v>
                </c:pt>
                <c:pt idx="789">
                  <c:v>1.6040000000000001</c:v>
                </c:pt>
                <c:pt idx="790">
                  <c:v>1.6339999999999999</c:v>
                </c:pt>
                <c:pt idx="791">
                  <c:v>1.621</c:v>
                </c:pt>
                <c:pt idx="792">
                  <c:v>1.5840000000000001</c:v>
                </c:pt>
                <c:pt idx="793">
                  <c:v>1.5580000000000001</c:v>
                </c:pt>
                <c:pt idx="794">
                  <c:v>1.5580000000000001</c:v>
                </c:pt>
                <c:pt idx="795">
                  <c:v>1.4319999999999999</c:v>
                </c:pt>
                <c:pt idx="796">
                  <c:v>1.4970000000000001</c:v>
                </c:pt>
                <c:pt idx="797">
                  <c:v>1.4530000000000001</c:v>
                </c:pt>
                <c:pt idx="798">
                  <c:v>1.524</c:v>
                </c:pt>
                <c:pt idx="799">
                  <c:v>1.579</c:v>
                </c:pt>
                <c:pt idx="800">
                  <c:v>1.5469999999999999</c:v>
                </c:pt>
                <c:pt idx="801">
                  <c:v>1.573</c:v>
                </c:pt>
                <c:pt idx="802">
                  <c:v>1.556</c:v>
                </c:pt>
                <c:pt idx="803">
                  <c:v>1.569</c:v>
                </c:pt>
                <c:pt idx="804">
                  <c:v>1.5289999999999999</c:v>
                </c:pt>
                <c:pt idx="805">
                  <c:v>1.6180000000000001</c:v>
                </c:pt>
                <c:pt idx="806">
                  <c:v>1.635</c:v>
                </c:pt>
                <c:pt idx="807">
                  <c:v>1.655</c:v>
                </c:pt>
                <c:pt idx="808">
                  <c:v>1.675</c:v>
                </c:pt>
                <c:pt idx="809">
                  <c:v>1.635</c:v>
                </c:pt>
                <c:pt idx="810">
                  <c:v>1.6339999999999999</c:v>
                </c:pt>
                <c:pt idx="811">
                  <c:v>1.5840000000000001</c:v>
                </c:pt>
                <c:pt idx="812">
                  <c:v>1.5760000000000001</c:v>
                </c:pt>
                <c:pt idx="813">
                  <c:v>1.5189999999999999</c:v>
                </c:pt>
                <c:pt idx="814">
                  <c:v>1.5489999999999999</c:v>
                </c:pt>
                <c:pt idx="815">
                  <c:v>1.58</c:v>
                </c:pt>
                <c:pt idx="816">
                  <c:v>1.605</c:v>
                </c:pt>
                <c:pt idx="817">
                  <c:v>1.605</c:v>
                </c:pt>
                <c:pt idx="818">
                  <c:v>1.571</c:v>
                </c:pt>
                <c:pt idx="819">
                  <c:v>1.524</c:v>
                </c:pt>
                <c:pt idx="820">
                  <c:v>1.5309999999999999</c:v>
                </c:pt>
                <c:pt idx="821">
                  <c:v>1.4810000000000001</c:v>
                </c:pt>
                <c:pt idx="822">
                  <c:v>1.4670000000000001</c:v>
                </c:pt>
                <c:pt idx="823">
                  <c:v>1.5269999999999999</c:v>
                </c:pt>
                <c:pt idx="824">
                  <c:v>1.5389999999999999</c:v>
                </c:pt>
                <c:pt idx="825">
                  <c:v>1.536</c:v>
                </c:pt>
                <c:pt idx="826">
                  <c:v>1.484</c:v>
                </c:pt>
                <c:pt idx="827">
                  <c:v>1.4610000000000001</c:v>
                </c:pt>
                <c:pt idx="828">
                  <c:v>1.41</c:v>
                </c:pt>
                <c:pt idx="829">
                  <c:v>1.331</c:v>
                </c:pt>
                <c:pt idx="830">
                  <c:v>1.3240000000000001</c:v>
                </c:pt>
                <c:pt idx="831">
                  <c:v>1.3089999999999999</c:v>
                </c:pt>
                <c:pt idx="832">
                  <c:v>1.37</c:v>
                </c:pt>
                <c:pt idx="833">
                  <c:v>1.331</c:v>
                </c:pt>
                <c:pt idx="834">
                  <c:v>1.304</c:v>
                </c:pt>
                <c:pt idx="835">
                  <c:v>1.2789999999999999</c:v>
                </c:pt>
                <c:pt idx="836">
                  <c:v>1.3240000000000001</c:v>
                </c:pt>
                <c:pt idx="837">
                  <c:v>1.341</c:v>
                </c:pt>
                <c:pt idx="838">
                  <c:v>1.3</c:v>
                </c:pt>
                <c:pt idx="839">
                  <c:v>1.3340000000000001</c:v>
                </c:pt>
                <c:pt idx="840">
                  <c:v>1.371</c:v>
                </c:pt>
                <c:pt idx="841">
                  <c:v>1.3220000000000001</c:v>
                </c:pt>
                <c:pt idx="842">
                  <c:v>1.3220000000000001</c:v>
                </c:pt>
                <c:pt idx="843">
                  <c:v>1.294</c:v>
                </c:pt>
                <c:pt idx="844">
                  <c:v>1.302</c:v>
                </c:pt>
                <c:pt idx="845">
                  <c:v>1.302</c:v>
                </c:pt>
                <c:pt idx="846">
                  <c:v>1.284</c:v>
                </c:pt>
                <c:pt idx="847">
                  <c:v>1.3120000000000001</c:v>
                </c:pt>
                <c:pt idx="848">
                  <c:v>1.3440000000000001</c:v>
                </c:pt>
                <c:pt idx="849">
                  <c:v>1.3440000000000001</c:v>
                </c:pt>
                <c:pt idx="850">
                  <c:v>1.29</c:v>
                </c:pt>
                <c:pt idx="851">
                  <c:v>1.2549999999999999</c:v>
                </c:pt>
                <c:pt idx="852">
                  <c:v>1.26</c:v>
                </c:pt>
                <c:pt idx="853">
                  <c:v>1.242</c:v>
                </c:pt>
                <c:pt idx="854">
                  <c:v>1.2729999999999999</c:v>
                </c:pt>
                <c:pt idx="855">
                  <c:v>1.258</c:v>
                </c:pt>
                <c:pt idx="856">
                  <c:v>1.2569999999999999</c:v>
                </c:pt>
                <c:pt idx="857">
                  <c:v>1.2969999999999999</c:v>
                </c:pt>
                <c:pt idx="858">
                  <c:v>1.367</c:v>
                </c:pt>
                <c:pt idx="859">
                  <c:v>1.339</c:v>
                </c:pt>
                <c:pt idx="860">
                  <c:v>1.3420000000000001</c:v>
                </c:pt>
                <c:pt idx="861">
                  <c:v>1.3169999999999999</c:v>
                </c:pt>
                <c:pt idx="862">
                  <c:v>1.288</c:v>
                </c:pt>
                <c:pt idx="863">
                  <c:v>1.2170000000000001</c:v>
                </c:pt>
                <c:pt idx="864">
                  <c:v>1.1839999999999999</c:v>
                </c:pt>
                <c:pt idx="865">
                  <c:v>1.1739999999999999</c:v>
                </c:pt>
                <c:pt idx="866">
                  <c:v>1.1719999999999999</c:v>
                </c:pt>
                <c:pt idx="867">
                  <c:v>1.2390000000000001</c:v>
                </c:pt>
                <c:pt idx="868">
                  <c:v>1.2689999999999999</c:v>
                </c:pt>
                <c:pt idx="869">
                  <c:v>1.2629999999999999</c:v>
                </c:pt>
                <c:pt idx="870">
                  <c:v>1.234</c:v>
                </c:pt>
                <c:pt idx="871">
                  <c:v>1.276</c:v>
                </c:pt>
                <c:pt idx="872">
                  <c:v>1.2849999999999999</c:v>
                </c:pt>
                <c:pt idx="873">
                  <c:v>1.2669999999999999</c:v>
                </c:pt>
                <c:pt idx="874">
                  <c:v>1.282</c:v>
                </c:pt>
                <c:pt idx="875">
                  <c:v>1.2090000000000001</c:v>
                </c:pt>
                <c:pt idx="876">
                  <c:v>1.181</c:v>
                </c:pt>
                <c:pt idx="877">
                  <c:v>1.2989999999999999</c:v>
                </c:pt>
                <c:pt idx="878">
                  <c:v>1.2969999999999999</c:v>
                </c:pt>
                <c:pt idx="879">
                  <c:v>1.3560000000000001</c:v>
                </c:pt>
                <c:pt idx="880">
                  <c:v>1.415</c:v>
                </c:pt>
                <c:pt idx="881">
                  <c:v>1.363</c:v>
                </c:pt>
                <c:pt idx="882">
                  <c:v>1.3560000000000001</c:v>
                </c:pt>
                <c:pt idx="883">
                  <c:v>1.288</c:v>
                </c:pt>
                <c:pt idx="884">
                  <c:v>1.321</c:v>
                </c:pt>
                <c:pt idx="885">
                  <c:v>1.37</c:v>
                </c:pt>
                <c:pt idx="886">
                  <c:v>1.4319999999999999</c:v>
                </c:pt>
                <c:pt idx="887">
                  <c:v>1.4319999999999999</c:v>
                </c:pt>
                <c:pt idx="888">
                  <c:v>1.48</c:v>
                </c:pt>
                <c:pt idx="889">
                  <c:v>1.444</c:v>
                </c:pt>
                <c:pt idx="890">
                  <c:v>1.48</c:v>
                </c:pt>
                <c:pt idx="891">
                  <c:v>1.478</c:v>
                </c:pt>
                <c:pt idx="892">
                  <c:v>1.536</c:v>
                </c:pt>
                <c:pt idx="893">
                  <c:v>1.4870000000000001</c:v>
                </c:pt>
                <c:pt idx="894">
                  <c:v>1.4870000000000001</c:v>
                </c:pt>
                <c:pt idx="895">
                  <c:v>1.472</c:v>
                </c:pt>
                <c:pt idx="896">
                  <c:v>1.4850000000000001</c:v>
                </c:pt>
                <c:pt idx="897">
                  <c:v>1.45</c:v>
                </c:pt>
                <c:pt idx="898">
                  <c:v>1.5109999999999999</c:v>
                </c:pt>
                <c:pt idx="899">
                  <c:v>1.569</c:v>
                </c:pt>
                <c:pt idx="900">
                  <c:v>1.4990000000000001</c:v>
                </c:pt>
                <c:pt idx="901">
                  <c:v>1.5009999999999999</c:v>
                </c:pt>
                <c:pt idx="902">
                  <c:v>1.462</c:v>
                </c:pt>
                <c:pt idx="903">
                  <c:v>1.4590000000000001</c:v>
                </c:pt>
                <c:pt idx="904">
                  <c:v>1.4890000000000001</c:v>
                </c:pt>
                <c:pt idx="905">
                  <c:v>1.528</c:v>
                </c:pt>
                <c:pt idx="906">
                  <c:v>1.57</c:v>
                </c:pt>
                <c:pt idx="907">
                  <c:v>1.56</c:v>
                </c:pt>
                <c:pt idx="908">
                  <c:v>1.627</c:v>
                </c:pt>
                <c:pt idx="909">
                  <c:v>1.591</c:v>
                </c:pt>
                <c:pt idx="910">
                  <c:v>1.615</c:v>
                </c:pt>
                <c:pt idx="911">
                  <c:v>1.593</c:v>
                </c:pt>
                <c:pt idx="912">
                  <c:v>1.593</c:v>
                </c:pt>
                <c:pt idx="913">
                  <c:v>1.61</c:v>
                </c:pt>
                <c:pt idx="914">
                  <c:v>1.5740000000000001</c:v>
                </c:pt>
                <c:pt idx="915">
                  <c:v>1.5640000000000001</c:v>
                </c:pt>
                <c:pt idx="916">
                  <c:v>1.6080000000000001</c:v>
                </c:pt>
                <c:pt idx="917">
                  <c:v>1.6319999999999999</c:v>
                </c:pt>
                <c:pt idx="918">
                  <c:v>1.6339999999999999</c:v>
                </c:pt>
                <c:pt idx="919">
                  <c:v>1.6830000000000001</c:v>
                </c:pt>
                <c:pt idx="920">
                  <c:v>1.6419999999999999</c:v>
                </c:pt>
                <c:pt idx="921">
                  <c:v>1.64</c:v>
                </c:pt>
                <c:pt idx="922">
                  <c:v>1.635</c:v>
                </c:pt>
                <c:pt idx="923">
                  <c:v>1.6679999999999999</c:v>
                </c:pt>
                <c:pt idx="924">
                  <c:v>1.6950000000000001</c:v>
                </c:pt>
                <c:pt idx="925">
                  <c:v>1.6240000000000001</c:v>
                </c:pt>
                <c:pt idx="926">
                  <c:v>1.6020000000000001</c:v>
                </c:pt>
                <c:pt idx="927">
                  <c:v>1.579</c:v>
                </c:pt>
                <c:pt idx="928">
                  <c:v>1.5609999999999999</c:v>
                </c:pt>
                <c:pt idx="929">
                  <c:v>1.5840000000000001</c:v>
                </c:pt>
                <c:pt idx="930">
                  <c:v>1.5920000000000001</c:v>
                </c:pt>
                <c:pt idx="931">
                  <c:v>1.6060000000000001</c:v>
                </c:pt>
                <c:pt idx="932">
                  <c:v>1.631</c:v>
                </c:pt>
                <c:pt idx="933">
                  <c:v>1.64</c:v>
                </c:pt>
                <c:pt idx="934">
                  <c:v>1.62</c:v>
                </c:pt>
                <c:pt idx="935">
                  <c:v>1.6220000000000001</c:v>
                </c:pt>
                <c:pt idx="936">
                  <c:v>1.57</c:v>
                </c:pt>
                <c:pt idx="937">
                  <c:v>1.5669999999999999</c:v>
                </c:pt>
                <c:pt idx="938">
                  <c:v>1.556</c:v>
                </c:pt>
                <c:pt idx="939">
                  <c:v>1.5640000000000001</c:v>
                </c:pt>
                <c:pt idx="940">
                  <c:v>1.5620000000000001</c:v>
                </c:pt>
                <c:pt idx="941">
                  <c:v>1.599</c:v>
                </c:pt>
                <c:pt idx="942">
                  <c:v>1.573</c:v>
                </c:pt>
                <c:pt idx="943">
                  <c:v>1.53</c:v>
                </c:pt>
                <c:pt idx="944">
                  <c:v>1.6359999999999999</c:v>
                </c:pt>
                <c:pt idx="945">
                  <c:v>1.623</c:v>
                </c:pt>
                <c:pt idx="946">
                  <c:v>1.6759999999999999</c:v>
                </c:pt>
                <c:pt idx="947">
                  <c:v>1.6659999999999999</c:v>
                </c:pt>
                <c:pt idx="948">
                  <c:v>1.6319999999999999</c:v>
                </c:pt>
                <c:pt idx="949">
                  <c:v>1.6539999999999999</c:v>
                </c:pt>
                <c:pt idx="950">
                  <c:v>1.6559999999999999</c:v>
                </c:pt>
                <c:pt idx="951">
                  <c:v>1.72</c:v>
                </c:pt>
                <c:pt idx="952">
                  <c:v>1.679</c:v>
                </c:pt>
                <c:pt idx="953">
                  <c:v>1.679</c:v>
                </c:pt>
                <c:pt idx="954">
                  <c:v>1.746</c:v>
                </c:pt>
                <c:pt idx="955">
                  <c:v>1.726</c:v>
                </c:pt>
                <c:pt idx="956">
                  <c:v>1.7210000000000001</c:v>
                </c:pt>
                <c:pt idx="957">
                  <c:v>1.66</c:v>
                </c:pt>
                <c:pt idx="958">
                  <c:v>1.6140000000000001</c:v>
                </c:pt>
                <c:pt idx="959">
                  <c:v>1.6140000000000001</c:v>
                </c:pt>
                <c:pt idx="960">
                  <c:v>1.6379999999999999</c:v>
                </c:pt>
                <c:pt idx="961">
                  <c:v>1.6819999999999999</c:v>
                </c:pt>
                <c:pt idx="962">
                  <c:v>1.732</c:v>
                </c:pt>
                <c:pt idx="963">
                  <c:v>1.7290000000000001</c:v>
                </c:pt>
                <c:pt idx="964">
                  <c:v>1.641</c:v>
                </c:pt>
                <c:pt idx="965">
                  <c:v>1.623</c:v>
                </c:pt>
                <c:pt idx="966">
                  <c:v>1.607</c:v>
                </c:pt>
                <c:pt idx="967">
                  <c:v>1.635</c:v>
                </c:pt>
                <c:pt idx="968">
                  <c:v>1.5269999999999999</c:v>
                </c:pt>
                <c:pt idx="969">
                  <c:v>1.52</c:v>
                </c:pt>
                <c:pt idx="970">
                  <c:v>1.544</c:v>
                </c:pt>
                <c:pt idx="971">
                  <c:v>1.5940000000000001</c:v>
                </c:pt>
                <c:pt idx="972">
                  <c:v>1.554</c:v>
                </c:pt>
                <c:pt idx="973">
                  <c:v>1.55</c:v>
                </c:pt>
                <c:pt idx="974">
                  <c:v>1.47</c:v>
                </c:pt>
                <c:pt idx="975">
                  <c:v>1.415</c:v>
                </c:pt>
                <c:pt idx="976">
                  <c:v>1.446</c:v>
                </c:pt>
                <c:pt idx="977">
                  <c:v>1.456</c:v>
                </c:pt>
                <c:pt idx="978">
                  <c:v>1.5149999999999999</c:v>
                </c:pt>
                <c:pt idx="979">
                  <c:v>1.389</c:v>
                </c:pt>
                <c:pt idx="980">
                  <c:v>1.3640000000000001</c:v>
                </c:pt>
                <c:pt idx="981">
                  <c:v>1.369</c:v>
                </c:pt>
                <c:pt idx="982">
                  <c:v>1.345</c:v>
                </c:pt>
                <c:pt idx="983">
                  <c:v>1.2869999999999999</c:v>
                </c:pt>
                <c:pt idx="984">
                  <c:v>1.2989999999999999</c:v>
                </c:pt>
                <c:pt idx="985">
                  <c:v>1.2989999999999999</c:v>
                </c:pt>
                <c:pt idx="986">
                  <c:v>1.2</c:v>
                </c:pt>
                <c:pt idx="987">
                  <c:v>1.2</c:v>
                </c:pt>
                <c:pt idx="988">
                  <c:v>1.1579999999999999</c:v>
                </c:pt>
                <c:pt idx="989">
                  <c:v>1.133</c:v>
                </c:pt>
                <c:pt idx="990">
                  <c:v>1.157</c:v>
                </c:pt>
                <c:pt idx="991">
                  <c:v>1.1599999999999999</c:v>
                </c:pt>
                <c:pt idx="992">
                  <c:v>1.17</c:v>
                </c:pt>
                <c:pt idx="993">
                  <c:v>1.139</c:v>
                </c:pt>
                <c:pt idx="994">
                  <c:v>1.131</c:v>
                </c:pt>
                <c:pt idx="995">
                  <c:v>1.107</c:v>
                </c:pt>
                <c:pt idx="996">
                  <c:v>1.077</c:v>
                </c:pt>
                <c:pt idx="997">
                  <c:v>1.0940000000000001</c:v>
                </c:pt>
                <c:pt idx="998">
                  <c:v>1.0549999999999999</c:v>
                </c:pt>
                <c:pt idx="999">
                  <c:v>1.014</c:v>
                </c:pt>
                <c:pt idx="1000">
                  <c:v>1.04</c:v>
                </c:pt>
                <c:pt idx="1001">
                  <c:v>1.04</c:v>
                </c:pt>
                <c:pt idx="1002">
                  <c:v>1.091</c:v>
                </c:pt>
                <c:pt idx="1003">
                  <c:v>1.107</c:v>
                </c:pt>
                <c:pt idx="1004">
                  <c:v>1.0900000000000001</c:v>
                </c:pt>
                <c:pt idx="1005">
                  <c:v>1.0920000000000001</c:v>
                </c:pt>
                <c:pt idx="1006">
                  <c:v>1.097</c:v>
                </c:pt>
                <c:pt idx="1007">
                  <c:v>1.097</c:v>
                </c:pt>
                <c:pt idx="1008">
                  <c:v>1.129</c:v>
                </c:pt>
                <c:pt idx="1009">
                  <c:v>1.0880000000000001</c:v>
                </c:pt>
                <c:pt idx="1010">
                  <c:v>1.1379999999999999</c:v>
                </c:pt>
                <c:pt idx="1011">
                  <c:v>1.1339999999999999</c:v>
                </c:pt>
                <c:pt idx="1012">
                  <c:v>1.107</c:v>
                </c:pt>
                <c:pt idx="1013">
                  <c:v>1.071</c:v>
                </c:pt>
                <c:pt idx="1014">
                  <c:v>1.042</c:v>
                </c:pt>
                <c:pt idx="1015">
                  <c:v>0.95499999999999996</c:v>
                </c:pt>
                <c:pt idx="1016">
                  <c:v>0.91700000000000004</c:v>
                </c:pt>
                <c:pt idx="1017">
                  <c:v>0.91200000000000003</c:v>
                </c:pt>
                <c:pt idx="1018">
                  <c:v>0.91200000000000003</c:v>
                </c:pt>
                <c:pt idx="1019">
                  <c:v>0.92600000000000005</c:v>
                </c:pt>
                <c:pt idx="1020">
                  <c:v>0.93500000000000005</c:v>
                </c:pt>
                <c:pt idx="1021">
                  <c:v>0.93300000000000005</c:v>
                </c:pt>
                <c:pt idx="1022">
                  <c:v>0.93</c:v>
                </c:pt>
                <c:pt idx="1023">
                  <c:v>0.93</c:v>
                </c:pt>
                <c:pt idx="1024">
                  <c:v>0.95499999999999996</c:v>
                </c:pt>
                <c:pt idx="1025">
                  <c:v>0.91800000000000004</c:v>
                </c:pt>
                <c:pt idx="1026">
                  <c:v>0.94099999999999995</c:v>
                </c:pt>
                <c:pt idx="1027">
                  <c:v>0.94799999999999995</c:v>
                </c:pt>
                <c:pt idx="1028">
                  <c:v>0.93</c:v>
                </c:pt>
                <c:pt idx="1029">
                  <c:v>0.92</c:v>
                </c:pt>
                <c:pt idx="1030">
                  <c:v>0.92100000000000004</c:v>
                </c:pt>
                <c:pt idx="1031">
                  <c:v>0.89100000000000001</c:v>
                </c:pt>
                <c:pt idx="1032">
                  <c:v>0.89100000000000001</c:v>
                </c:pt>
                <c:pt idx="1033">
                  <c:v>0.90800000000000003</c:v>
                </c:pt>
                <c:pt idx="1034">
                  <c:v>0.94099999999999995</c:v>
                </c:pt>
                <c:pt idx="1035">
                  <c:v>0.91300000000000003</c:v>
                </c:pt>
                <c:pt idx="1036">
                  <c:v>0.92800000000000005</c:v>
                </c:pt>
                <c:pt idx="1037">
                  <c:v>0.96899999999999997</c:v>
                </c:pt>
                <c:pt idx="1038">
                  <c:v>0.92100000000000004</c:v>
                </c:pt>
                <c:pt idx="1039">
                  <c:v>0.94599999999999995</c:v>
                </c:pt>
                <c:pt idx="1040">
                  <c:v>0.93400000000000005</c:v>
                </c:pt>
                <c:pt idx="1041">
                  <c:v>0.84199999999999997</c:v>
                </c:pt>
                <c:pt idx="1042">
                  <c:v>0.84199999999999997</c:v>
                </c:pt>
                <c:pt idx="1043">
                  <c:v>0.878</c:v>
                </c:pt>
                <c:pt idx="1044">
                  <c:v>0.878</c:v>
                </c:pt>
                <c:pt idx="1045">
                  <c:v>0.88200000000000001</c:v>
                </c:pt>
                <c:pt idx="1046">
                  <c:v>0.85899999999999999</c:v>
                </c:pt>
                <c:pt idx="1047">
                  <c:v>0.82899999999999996</c:v>
                </c:pt>
                <c:pt idx="1048">
                  <c:v>0.85499999999999998</c:v>
                </c:pt>
                <c:pt idx="1049">
                  <c:v>0.88200000000000001</c:v>
                </c:pt>
                <c:pt idx="1050">
                  <c:v>0.872</c:v>
                </c:pt>
                <c:pt idx="1051">
                  <c:v>0.90600000000000003</c:v>
                </c:pt>
                <c:pt idx="1052">
                  <c:v>0.89300000000000002</c:v>
                </c:pt>
                <c:pt idx="1053">
                  <c:v>0.88600000000000001</c:v>
                </c:pt>
                <c:pt idx="1054">
                  <c:v>0.97199999999999998</c:v>
                </c:pt>
                <c:pt idx="1055">
                  <c:v>0.97199999999999998</c:v>
                </c:pt>
                <c:pt idx="1056">
                  <c:v>0.95799999999999996</c:v>
                </c:pt>
                <c:pt idx="1057">
                  <c:v>0.82</c:v>
                </c:pt>
                <c:pt idx="1058">
                  <c:v>0.77800000000000002</c:v>
                </c:pt>
                <c:pt idx="1059">
                  <c:v>0.76800000000000002</c:v>
                </c:pt>
                <c:pt idx="1060">
                  <c:v>0.88100000000000001</c:v>
                </c:pt>
                <c:pt idx="1061">
                  <c:v>0.84799999999999998</c:v>
                </c:pt>
                <c:pt idx="1062">
                  <c:v>0.85899999999999999</c:v>
                </c:pt>
                <c:pt idx="1063">
                  <c:v>0.83599999999999997</c:v>
                </c:pt>
                <c:pt idx="1064">
                  <c:v>0.78100000000000003</c:v>
                </c:pt>
                <c:pt idx="1065">
                  <c:v>0.77800000000000002</c:v>
                </c:pt>
                <c:pt idx="1066">
                  <c:v>0.80300000000000005</c:v>
                </c:pt>
                <c:pt idx="1067">
                  <c:v>0.84099999999999997</c:v>
                </c:pt>
                <c:pt idx="1068">
                  <c:v>0.84799999999999998</c:v>
                </c:pt>
                <c:pt idx="1069">
                  <c:v>0.81599999999999995</c:v>
                </c:pt>
                <c:pt idx="1070">
                  <c:v>0.79700000000000004</c:v>
                </c:pt>
                <c:pt idx="1071">
                  <c:v>0.76200000000000001</c:v>
                </c:pt>
                <c:pt idx="1072">
                  <c:v>0.74399999999999999</c:v>
                </c:pt>
                <c:pt idx="1073">
                  <c:v>0.73399999999999999</c:v>
                </c:pt>
                <c:pt idx="1074">
                  <c:v>0.72199999999999998</c:v>
                </c:pt>
                <c:pt idx="1075">
                  <c:v>0.72699999999999998</c:v>
                </c:pt>
                <c:pt idx="1076">
                  <c:v>0.77500000000000002</c:v>
                </c:pt>
                <c:pt idx="1077">
                  <c:v>0.77500000000000002</c:v>
                </c:pt>
                <c:pt idx="1078">
                  <c:v>0.76700000000000002</c:v>
                </c:pt>
                <c:pt idx="1079">
                  <c:v>0.78500000000000003</c:v>
                </c:pt>
                <c:pt idx="1080">
                  <c:v>0.74</c:v>
                </c:pt>
                <c:pt idx="1081">
                  <c:v>0.76200000000000001</c:v>
                </c:pt>
                <c:pt idx="1082">
                  <c:v>0.69399999999999995</c:v>
                </c:pt>
                <c:pt idx="1083">
                  <c:v>0.67700000000000005</c:v>
                </c:pt>
                <c:pt idx="1084">
                  <c:v>0.67700000000000005</c:v>
                </c:pt>
                <c:pt idx="1085">
                  <c:v>0.64500000000000002</c:v>
                </c:pt>
                <c:pt idx="1086">
                  <c:v>0.66300000000000003</c:v>
                </c:pt>
                <c:pt idx="1087">
                  <c:v>0.65900000000000003</c:v>
                </c:pt>
                <c:pt idx="1088">
                  <c:v>0.66400000000000003</c:v>
                </c:pt>
                <c:pt idx="1089">
                  <c:v>0.67600000000000005</c:v>
                </c:pt>
                <c:pt idx="1090">
                  <c:v>0.66400000000000003</c:v>
                </c:pt>
                <c:pt idx="1091">
                  <c:v>0.67100000000000004</c:v>
                </c:pt>
                <c:pt idx="1092">
                  <c:v>0.69399999999999995</c:v>
                </c:pt>
                <c:pt idx="1093">
                  <c:v>0.68200000000000005</c:v>
                </c:pt>
                <c:pt idx="1094">
                  <c:v>0.68700000000000006</c:v>
                </c:pt>
                <c:pt idx="1095">
                  <c:v>0.67900000000000005</c:v>
                </c:pt>
                <c:pt idx="1096">
                  <c:v>0.66900000000000004</c:v>
                </c:pt>
                <c:pt idx="1097">
                  <c:v>0.66700000000000004</c:v>
                </c:pt>
                <c:pt idx="1098">
                  <c:v>0.68400000000000005</c:v>
                </c:pt>
                <c:pt idx="1099">
                  <c:v>0.70299999999999996</c:v>
                </c:pt>
                <c:pt idx="1100">
                  <c:v>0.68400000000000005</c:v>
                </c:pt>
                <c:pt idx="1101">
                  <c:v>0.72299999999999998</c:v>
                </c:pt>
                <c:pt idx="1102">
                  <c:v>0.72299999999999998</c:v>
                </c:pt>
                <c:pt idx="1103">
                  <c:v>0.622</c:v>
                </c:pt>
                <c:pt idx="1104">
                  <c:v>0.65100000000000002</c:v>
                </c:pt>
                <c:pt idx="1105">
                  <c:v>0.67100000000000004</c:v>
                </c:pt>
                <c:pt idx="1106">
                  <c:v>0.69299999999999995</c:v>
                </c:pt>
                <c:pt idx="1107">
                  <c:v>0.72899999999999998</c:v>
                </c:pt>
                <c:pt idx="1108">
                  <c:v>0.746</c:v>
                </c:pt>
                <c:pt idx="1109">
                  <c:v>0.68700000000000006</c:v>
                </c:pt>
                <c:pt idx="1110">
                  <c:v>0.68200000000000005</c:v>
                </c:pt>
                <c:pt idx="1111">
                  <c:v>0.64600000000000002</c:v>
                </c:pt>
                <c:pt idx="1112">
                  <c:v>0.64</c:v>
                </c:pt>
                <c:pt idx="1113">
                  <c:v>0.64400000000000002</c:v>
                </c:pt>
                <c:pt idx="1114">
                  <c:v>0.67500000000000004</c:v>
                </c:pt>
                <c:pt idx="1115">
                  <c:v>0.66900000000000004</c:v>
                </c:pt>
                <c:pt idx="1116">
                  <c:v>0.68300000000000005</c:v>
                </c:pt>
                <c:pt idx="1117">
                  <c:v>0.70899999999999996</c:v>
                </c:pt>
                <c:pt idx="1118">
                  <c:v>0.71599999999999997</c:v>
                </c:pt>
                <c:pt idx="1119">
                  <c:v>0.67</c:v>
                </c:pt>
                <c:pt idx="1120">
                  <c:v>0.65800000000000003</c:v>
                </c:pt>
                <c:pt idx="1121">
                  <c:v>0.57399999999999995</c:v>
                </c:pt>
                <c:pt idx="1122">
                  <c:v>0.56200000000000006</c:v>
                </c:pt>
                <c:pt idx="1123">
                  <c:v>0.53600000000000003</c:v>
                </c:pt>
                <c:pt idx="1124">
                  <c:v>0.54300000000000004</c:v>
                </c:pt>
                <c:pt idx="1125">
                  <c:v>0.51300000000000001</c:v>
                </c:pt>
                <c:pt idx="1126">
                  <c:v>0.56299999999999994</c:v>
                </c:pt>
                <c:pt idx="1127">
                  <c:v>0.53600000000000003</c:v>
                </c:pt>
                <c:pt idx="1128">
                  <c:v>0.54100000000000004</c:v>
                </c:pt>
                <c:pt idx="1129">
                  <c:v>0.58099999999999996</c:v>
                </c:pt>
                <c:pt idx="1130">
                  <c:v>0.58099999999999996</c:v>
                </c:pt>
                <c:pt idx="1131">
                  <c:v>0.60899999999999999</c:v>
                </c:pt>
                <c:pt idx="1132">
                  <c:v>0.58899999999999997</c:v>
                </c:pt>
                <c:pt idx="1133">
                  <c:v>0.58199999999999996</c:v>
                </c:pt>
                <c:pt idx="1134">
                  <c:v>0.59499999999999997</c:v>
                </c:pt>
                <c:pt idx="1135">
                  <c:v>0.60699999999999998</c:v>
                </c:pt>
                <c:pt idx="1136">
                  <c:v>0.62</c:v>
                </c:pt>
                <c:pt idx="1137">
                  <c:v>0.628</c:v>
                </c:pt>
                <c:pt idx="1138">
                  <c:v>0.61199999999999999</c:v>
                </c:pt>
                <c:pt idx="1139">
                  <c:v>0.63</c:v>
                </c:pt>
                <c:pt idx="1140">
                  <c:v>0.61399999999999999</c:v>
                </c:pt>
                <c:pt idx="1141">
                  <c:v>0.64</c:v>
                </c:pt>
                <c:pt idx="1142">
                  <c:v>0.63300000000000001</c:v>
                </c:pt>
                <c:pt idx="1143">
                  <c:v>0.60499999999999998</c:v>
                </c:pt>
                <c:pt idx="1144">
                  <c:v>0.65300000000000002</c:v>
                </c:pt>
                <c:pt idx="1145">
                  <c:v>0.64800000000000002</c:v>
                </c:pt>
                <c:pt idx="1146">
                  <c:v>0.68400000000000005</c:v>
                </c:pt>
                <c:pt idx="1147">
                  <c:v>0.67100000000000004</c:v>
                </c:pt>
                <c:pt idx="1148">
                  <c:v>0.67100000000000004</c:v>
                </c:pt>
                <c:pt idx="1149">
                  <c:v>0.68200000000000005</c:v>
                </c:pt>
                <c:pt idx="1150">
                  <c:v>0.65300000000000002</c:v>
                </c:pt>
                <c:pt idx="1151">
                  <c:v>0.63600000000000001</c:v>
                </c:pt>
                <c:pt idx="1152">
                  <c:v>0.63800000000000001</c:v>
                </c:pt>
                <c:pt idx="1153">
                  <c:v>0.67400000000000004</c:v>
                </c:pt>
                <c:pt idx="1154">
                  <c:v>0.68400000000000005</c:v>
                </c:pt>
                <c:pt idx="1155">
                  <c:v>0.70899999999999996</c:v>
                </c:pt>
                <c:pt idx="1156">
                  <c:v>0.70399999999999996</c:v>
                </c:pt>
                <c:pt idx="1157">
                  <c:v>0.69899999999999995</c:v>
                </c:pt>
                <c:pt idx="1158">
                  <c:v>0.69399999999999995</c:v>
                </c:pt>
                <c:pt idx="1159">
                  <c:v>0.73299999999999998</c:v>
                </c:pt>
                <c:pt idx="1160">
                  <c:v>0.754</c:v>
                </c:pt>
                <c:pt idx="1161">
                  <c:v>0.70199999999999996</c:v>
                </c:pt>
                <c:pt idx="1162">
                  <c:v>0.69899999999999995</c:v>
                </c:pt>
                <c:pt idx="1163">
                  <c:v>0.65300000000000002</c:v>
                </c:pt>
                <c:pt idx="1164">
                  <c:v>0.748</c:v>
                </c:pt>
                <c:pt idx="1165">
                  <c:v>0.82899999999999996</c:v>
                </c:pt>
                <c:pt idx="1166">
                  <c:v>0.88400000000000001</c:v>
                </c:pt>
                <c:pt idx="1167">
                  <c:v>0.90500000000000003</c:v>
                </c:pt>
                <c:pt idx="1168">
                  <c:v>0.82</c:v>
                </c:pt>
                <c:pt idx="1169">
                  <c:v>0.76100000000000001</c:v>
                </c:pt>
                <c:pt idx="1170">
                  <c:v>0.68</c:v>
                </c:pt>
                <c:pt idx="1171">
                  <c:v>0.66200000000000003</c:v>
                </c:pt>
                <c:pt idx="1172">
                  <c:v>0.64400000000000002</c:v>
                </c:pt>
                <c:pt idx="1173">
                  <c:v>0.70499999999999996</c:v>
                </c:pt>
                <c:pt idx="1174">
                  <c:v>0.67700000000000005</c:v>
                </c:pt>
                <c:pt idx="1175">
                  <c:v>0.69799999999999995</c:v>
                </c:pt>
                <c:pt idx="1176">
                  <c:v>0.65900000000000003</c:v>
                </c:pt>
                <c:pt idx="1177">
                  <c:v>0.65900000000000003</c:v>
                </c:pt>
                <c:pt idx="1178">
                  <c:v>0.67700000000000005</c:v>
                </c:pt>
                <c:pt idx="1179">
                  <c:v>0.67900000000000005</c:v>
                </c:pt>
                <c:pt idx="1180">
                  <c:v>0.71099999999999997</c:v>
                </c:pt>
                <c:pt idx="1181">
                  <c:v>0.74199999999999999</c:v>
                </c:pt>
                <c:pt idx="1182">
                  <c:v>0.64</c:v>
                </c:pt>
                <c:pt idx="1183">
                  <c:v>0.61899999999999999</c:v>
                </c:pt>
                <c:pt idx="1184">
                  <c:v>0.65100000000000002</c:v>
                </c:pt>
                <c:pt idx="1185">
                  <c:v>0.67900000000000005</c:v>
                </c:pt>
                <c:pt idx="1186">
                  <c:v>0.72599999999999998</c:v>
                </c:pt>
                <c:pt idx="1187">
                  <c:v>0.68100000000000005</c:v>
                </c:pt>
                <c:pt idx="1188">
                  <c:v>0.63100000000000001</c:v>
                </c:pt>
                <c:pt idx="1189">
                  <c:v>0.71299999999999997</c:v>
                </c:pt>
                <c:pt idx="1190">
                  <c:v>0.65700000000000003</c:v>
                </c:pt>
                <c:pt idx="1191">
                  <c:v>0.63700000000000001</c:v>
                </c:pt>
                <c:pt idx="1192">
                  <c:v>0.64</c:v>
                </c:pt>
                <c:pt idx="1193">
                  <c:v>0.625</c:v>
                </c:pt>
                <c:pt idx="1194">
                  <c:v>0.627</c:v>
                </c:pt>
                <c:pt idx="1195">
                  <c:v>0.61</c:v>
                </c:pt>
                <c:pt idx="1196">
                  <c:v>0.65400000000000003</c:v>
                </c:pt>
                <c:pt idx="1197">
                  <c:v>0.59599999999999997</c:v>
                </c:pt>
                <c:pt idx="1198">
                  <c:v>0.61099999999999999</c:v>
                </c:pt>
                <c:pt idx="1199">
                  <c:v>0.61899999999999999</c:v>
                </c:pt>
                <c:pt idx="1200">
                  <c:v>0.57099999999999995</c:v>
                </c:pt>
                <c:pt idx="1201">
                  <c:v>0.626</c:v>
                </c:pt>
                <c:pt idx="1202">
                  <c:v>0.65600000000000003</c:v>
                </c:pt>
                <c:pt idx="1203">
                  <c:v>0.61099999999999999</c:v>
                </c:pt>
                <c:pt idx="1204">
                  <c:v>0.64100000000000001</c:v>
                </c:pt>
                <c:pt idx="1205">
                  <c:v>0.75</c:v>
                </c:pt>
                <c:pt idx="1206">
                  <c:v>0.749</c:v>
                </c:pt>
                <c:pt idx="1207">
                  <c:v>0.72199999999999998</c:v>
                </c:pt>
                <c:pt idx="1208">
                  <c:v>0.72199999999999998</c:v>
                </c:pt>
                <c:pt idx="1209">
                  <c:v>0.76400000000000001</c:v>
                </c:pt>
                <c:pt idx="1210">
                  <c:v>0.73399999999999999</c:v>
                </c:pt>
                <c:pt idx="1211">
                  <c:v>0.67800000000000005</c:v>
                </c:pt>
                <c:pt idx="1212">
                  <c:v>0.58899999999999997</c:v>
                </c:pt>
                <c:pt idx="1213">
                  <c:v>0.627</c:v>
                </c:pt>
                <c:pt idx="1214">
                  <c:v>0.63500000000000001</c:v>
                </c:pt>
                <c:pt idx="1215">
                  <c:v>0.69899999999999995</c:v>
                </c:pt>
                <c:pt idx="1216">
                  <c:v>0.67100000000000004</c:v>
                </c:pt>
                <c:pt idx="1217">
                  <c:v>0.74399999999999999</c:v>
                </c:pt>
                <c:pt idx="1218">
                  <c:v>0.80800000000000005</c:v>
                </c:pt>
                <c:pt idx="1219">
                  <c:v>0.85599999999999998</c:v>
                </c:pt>
                <c:pt idx="1220">
                  <c:v>0.81799999999999995</c:v>
                </c:pt>
                <c:pt idx="1221">
                  <c:v>0.76700000000000002</c:v>
                </c:pt>
                <c:pt idx="1222">
                  <c:v>0.93799999999999994</c:v>
                </c:pt>
                <c:pt idx="1223">
                  <c:v>1.129</c:v>
                </c:pt>
                <c:pt idx="1224">
                  <c:v>1.258</c:v>
                </c:pt>
                <c:pt idx="1225">
                  <c:v>0.996</c:v>
                </c:pt>
                <c:pt idx="1226">
                  <c:v>0.72799999999999998</c:v>
                </c:pt>
                <c:pt idx="1227">
                  <c:v>0.95399999999999996</c:v>
                </c:pt>
                <c:pt idx="1228">
                  <c:v>0.85199999999999998</c:v>
                </c:pt>
                <c:pt idx="1229">
                  <c:v>0.82199999999999995</c:v>
                </c:pt>
                <c:pt idx="1230">
                  <c:v>0.752</c:v>
                </c:pt>
                <c:pt idx="1231">
                  <c:v>0.498</c:v>
                </c:pt>
                <c:pt idx="1232">
                  <c:v>0.70699999999999996</c:v>
                </c:pt>
                <c:pt idx="1233">
                  <c:v>0.92500000000000004</c:v>
                </c:pt>
                <c:pt idx="1234">
                  <c:v>0.99199999999999999</c:v>
                </c:pt>
                <c:pt idx="1235">
                  <c:v>1.0169999999999999</c:v>
                </c:pt>
                <c:pt idx="1236">
                  <c:v>1.0880000000000001</c:v>
                </c:pt>
                <c:pt idx="1237">
                  <c:v>1.1259999999999999</c:v>
                </c:pt>
                <c:pt idx="1238">
                  <c:v>1.2989999999999999</c:v>
                </c:pt>
                <c:pt idx="1239">
                  <c:v>1.31</c:v>
                </c:pt>
                <c:pt idx="1240">
                  <c:v>1.33</c:v>
                </c:pt>
                <c:pt idx="1241">
                  <c:v>1.377</c:v>
                </c:pt>
                <c:pt idx="1242">
                  <c:v>1.47</c:v>
                </c:pt>
                <c:pt idx="1243">
                  <c:v>1.5249999999999999</c:v>
                </c:pt>
                <c:pt idx="1244">
                  <c:v>1.57</c:v>
                </c:pt>
                <c:pt idx="1245">
                  <c:v>1.556</c:v>
                </c:pt>
                <c:pt idx="1246">
                  <c:v>1.5880000000000001</c:v>
                </c:pt>
                <c:pt idx="1247">
                  <c:v>1.5880000000000001</c:v>
                </c:pt>
                <c:pt idx="1248">
                  <c:v>1.617</c:v>
                </c:pt>
                <c:pt idx="1249">
                  <c:v>1.63</c:v>
                </c:pt>
                <c:pt idx="1250">
                  <c:v>1.59</c:v>
                </c:pt>
                <c:pt idx="1251">
                  <c:v>1.5469999999999999</c:v>
                </c:pt>
                <c:pt idx="1252">
                  <c:v>1.577</c:v>
                </c:pt>
                <c:pt idx="1253">
                  <c:v>1.6439999999999999</c:v>
                </c:pt>
                <c:pt idx="1254">
                  <c:v>1.649</c:v>
                </c:pt>
                <c:pt idx="1255">
                  <c:v>1.601</c:v>
                </c:pt>
                <c:pt idx="1256">
                  <c:v>1.52</c:v>
                </c:pt>
                <c:pt idx="1257">
                  <c:v>1.5189999999999999</c:v>
                </c:pt>
                <c:pt idx="1258">
                  <c:v>1.5549999999999999</c:v>
                </c:pt>
                <c:pt idx="1259">
                  <c:v>1.5940000000000001</c:v>
                </c:pt>
                <c:pt idx="1260">
                  <c:v>1.641</c:v>
                </c:pt>
                <c:pt idx="1261">
                  <c:v>1.605</c:v>
                </c:pt>
                <c:pt idx="1262">
                  <c:v>1.68</c:v>
                </c:pt>
                <c:pt idx="1263">
                  <c:v>1.7390000000000001</c:v>
                </c:pt>
                <c:pt idx="1264">
                  <c:v>1.7709999999999999</c:v>
                </c:pt>
                <c:pt idx="1265">
                  <c:v>1.7689999999999999</c:v>
                </c:pt>
                <c:pt idx="1266">
                  <c:v>1.835</c:v>
                </c:pt>
                <c:pt idx="1267">
                  <c:v>1.835</c:v>
                </c:pt>
                <c:pt idx="1268">
                  <c:v>1.8089999999999999</c:v>
                </c:pt>
                <c:pt idx="1269">
                  <c:v>1.788</c:v>
                </c:pt>
                <c:pt idx="1270">
                  <c:v>1.8180000000000001</c:v>
                </c:pt>
                <c:pt idx="1271">
                  <c:v>1.8480000000000001</c:v>
                </c:pt>
                <c:pt idx="1272">
                  <c:v>1.827</c:v>
                </c:pt>
                <c:pt idx="1273">
                  <c:v>1.8580000000000001</c:v>
                </c:pt>
                <c:pt idx="1274">
                  <c:v>1.8740000000000001</c:v>
                </c:pt>
                <c:pt idx="1275">
                  <c:v>1.825</c:v>
                </c:pt>
                <c:pt idx="1276">
                  <c:v>1.8109999999999999</c:v>
                </c:pt>
                <c:pt idx="1277">
                  <c:v>1.788</c:v>
                </c:pt>
                <c:pt idx="1278">
                  <c:v>1.8819999999999999</c:v>
                </c:pt>
                <c:pt idx="1279">
                  <c:v>1.91</c:v>
                </c:pt>
              </c:numCache>
            </c:numRef>
          </c:val>
          <c:smooth val="0"/>
          <c:extLst>
            <c:ext xmlns:c16="http://schemas.microsoft.com/office/drawing/2014/chart" uri="{C3380CC4-5D6E-409C-BE32-E72D297353CC}">
              <c16:uniqueId val="{00000001-1832-49E7-9D43-7DC0B5494510}"/>
            </c:ext>
          </c:extLst>
        </c:ser>
        <c:dLbls>
          <c:showLegendKey val="0"/>
          <c:showVal val="0"/>
          <c:showCatName val="0"/>
          <c:showSerName val="0"/>
          <c:showPercent val="0"/>
          <c:showBubbleSize val="0"/>
        </c:dLbls>
        <c:marker val="1"/>
        <c:smooth val="0"/>
        <c:axId val="1035846303"/>
        <c:axId val="1035855423"/>
      </c:lineChart>
      <c:dateAx>
        <c:axId val="1035848223"/>
        <c:scaling>
          <c:orientation val="minMax"/>
        </c:scaling>
        <c:delete val="0"/>
        <c:axPos val="b"/>
        <c:numFmt formatCode="yyyy" sourceLinked="0"/>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035844863"/>
        <c:crosses val="autoZero"/>
        <c:auto val="1"/>
        <c:lblOffset val="100"/>
        <c:baseTimeUnit val="days"/>
        <c:majorUnit val="12"/>
        <c:majorTimeUnit val="months"/>
      </c:dateAx>
      <c:valAx>
        <c:axId val="1035844863"/>
        <c:scaling>
          <c:orientation val="minMax"/>
          <c:min val="20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035848223"/>
        <c:crosses val="autoZero"/>
        <c:crossBetween val="between"/>
      </c:valAx>
      <c:valAx>
        <c:axId val="1035855423"/>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035846303"/>
        <c:crosses val="max"/>
        <c:crossBetween val="between"/>
      </c:valAx>
      <c:dateAx>
        <c:axId val="1035846303"/>
        <c:scaling>
          <c:orientation val="minMax"/>
        </c:scaling>
        <c:delete val="1"/>
        <c:axPos val="b"/>
        <c:numFmt formatCode="m/d/yyyy" sourceLinked="1"/>
        <c:majorTickMark val="out"/>
        <c:minorTickMark val="none"/>
        <c:tickLblPos val="nextTo"/>
        <c:crossAx val="1035855423"/>
        <c:crosses val="autoZero"/>
        <c:auto val="1"/>
        <c:lblOffset val="100"/>
        <c:baseTimeUnit val="days"/>
      </c:dateAx>
      <c:spPr>
        <a:noFill/>
        <a:ln>
          <a:noFill/>
        </a:ln>
        <a:effectLst/>
      </c:spPr>
    </c:plotArea>
    <c:legend>
      <c:legendPos val="b"/>
      <c:layout>
        <c:manualLayout>
          <c:xMode val="edge"/>
          <c:yMode val="edge"/>
          <c:x val="0.23351581052368453"/>
          <c:y val="0.86166999792282506"/>
          <c:w val="0.55280949256342959"/>
          <c:h val="6.69359029962192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72943330537291"/>
          <c:y val="7.2417465388711397E-2"/>
          <c:w val="0.72737974763463842"/>
          <c:h val="0.66300139682409021"/>
        </c:manualLayout>
      </c:layout>
      <c:barChart>
        <c:barDir val="col"/>
        <c:grouping val="clustered"/>
        <c:varyColors val="0"/>
        <c:ser>
          <c:idx val="0"/>
          <c:order val="0"/>
          <c:tx>
            <c:strRef>
              <c:f>Sheet1!$M$8</c:f>
              <c:strCache>
                <c:ptCount val="1"/>
                <c:pt idx="0">
                  <c:v>2019 (links)</c:v>
                </c:pt>
              </c:strCache>
            </c:strRef>
          </c:tx>
          <c:spPr>
            <a:solidFill>
              <a:schemeClr val="accent1"/>
            </a:solidFill>
            <a:ln>
              <a:noFill/>
            </a:ln>
            <a:effectLst/>
          </c:spPr>
          <c:invertIfNegative val="0"/>
          <c:cat>
            <c:strRef>
              <c:f>Sheet1!$K$10:$K$13</c:f>
              <c:strCache>
                <c:ptCount val="4"/>
                <c:pt idx="0">
                  <c:v>Nordamerika</c:v>
                </c:pt>
                <c:pt idx="1">
                  <c:v>Europa</c:v>
                </c:pt>
                <c:pt idx="2">
                  <c:v>Asien-Pazifik</c:v>
                </c:pt>
                <c:pt idx="3">
                  <c:v>Rest der Welt</c:v>
                </c:pt>
              </c:strCache>
            </c:strRef>
          </c:cat>
          <c:val>
            <c:numRef>
              <c:f>Sheet1!$M$10:$M$13</c:f>
              <c:numCache>
                <c:formatCode>General</c:formatCode>
                <c:ptCount val="4"/>
                <c:pt idx="0">
                  <c:v>1.19</c:v>
                </c:pt>
                <c:pt idx="1">
                  <c:v>1.1000000000000001</c:v>
                </c:pt>
                <c:pt idx="2">
                  <c:v>0.4</c:v>
                </c:pt>
                <c:pt idx="3">
                  <c:v>0.60999999999999988</c:v>
                </c:pt>
              </c:numCache>
            </c:numRef>
          </c:val>
          <c:extLst>
            <c:ext xmlns:c16="http://schemas.microsoft.com/office/drawing/2014/chart" uri="{C3380CC4-5D6E-409C-BE32-E72D297353CC}">
              <c16:uniqueId val="{00000000-594F-470C-BC02-9730A21D0FDE}"/>
            </c:ext>
          </c:extLst>
        </c:ser>
        <c:ser>
          <c:idx val="1"/>
          <c:order val="1"/>
          <c:tx>
            <c:strRef>
              <c:f>Sheet1!$N$8</c:f>
              <c:strCache>
                <c:ptCount val="1"/>
                <c:pt idx="0">
                  <c:v>2024P (links)</c:v>
                </c:pt>
              </c:strCache>
            </c:strRef>
          </c:tx>
          <c:spPr>
            <a:solidFill>
              <a:schemeClr val="accent2"/>
            </a:solidFill>
            <a:ln>
              <a:noFill/>
            </a:ln>
            <a:effectLst/>
          </c:spPr>
          <c:invertIfNegative val="0"/>
          <c:cat>
            <c:strRef>
              <c:f>Sheet1!$K$10:$K$13</c:f>
              <c:strCache>
                <c:ptCount val="4"/>
                <c:pt idx="0">
                  <c:v>Nordamerika</c:v>
                </c:pt>
                <c:pt idx="1">
                  <c:v>Europa</c:v>
                </c:pt>
                <c:pt idx="2">
                  <c:v>Asien-Pazifik</c:v>
                </c:pt>
                <c:pt idx="3">
                  <c:v>Rest der Welt</c:v>
                </c:pt>
              </c:strCache>
            </c:strRef>
          </c:cat>
          <c:val>
            <c:numRef>
              <c:f>Sheet1!$N$10:$N$13</c:f>
              <c:numCache>
                <c:formatCode>General</c:formatCode>
                <c:ptCount val="4"/>
                <c:pt idx="0">
                  <c:v>2.4</c:v>
                </c:pt>
                <c:pt idx="1">
                  <c:v>1.7</c:v>
                </c:pt>
                <c:pt idx="2">
                  <c:v>1</c:v>
                </c:pt>
                <c:pt idx="3">
                  <c:v>0.40000000000000036</c:v>
                </c:pt>
              </c:numCache>
            </c:numRef>
          </c:val>
          <c:extLst>
            <c:ext xmlns:c16="http://schemas.microsoft.com/office/drawing/2014/chart" uri="{C3380CC4-5D6E-409C-BE32-E72D297353CC}">
              <c16:uniqueId val="{00000001-594F-470C-BC02-9730A21D0FDE}"/>
            </c:ext>
          </c:extLst>
        </c:ser>
        <c:ser>
          <c:idx val="2"/>
          <c:order val="2"/>
          <c:tx>
            <c:strRef>
              <c:f>Sheet1!$O$8</c:f>
              <c:strCache>
                <c:ptCount val="1"/>
                <c:pt idx="0">
                  <c:v>2030P (links)</c:v>
                </c:pt>
              </c:strCache>
            </c:strRef>
          </c:tx>
          <c:spPr>
            <a:solidFill>
              <a:schemeClr val="accent3"/>
            </a:solidFill>
            <a:ln>
              <a:noFill/>
            </a:ln>
            <a:effectLst/>
          </c:spPr>
          <c:invertIfNegative val="0"/>
          <c:cat>
            <c:strRef>
              <c:f>Sheet1!$K$10:$K$13</c:f>
              <c:strCache>
                <c:ptCount val="4"/>
                <c:pt idx="0">
                  <c:v>Nordamerika</c:v>
                </c:pt>
                <c:pt idx="1">
                  <c:v>Europa</c:v>
                </c:pt>
                <c:pt idx="2">
                  <c:v>Asien-Pazifik</c:v>
                </c:pt>
                <c:pt idx="3">
                  <c:v>Rest der Welt</c:v>
                </c:pt>
              </c:strCache>
            </c:strRef>
          </c:cat>
          <c:val>
            <c:numRef>
              <c:f>Sheet1!$O$10:$O$13</c:f>
              <c:numCache>
                <c:formatCode>General</c:formatCode>
                <c:ptCount val="4"/>
                <c:pt idx="0">
                  <c:v>4</c:v>
                </c:pt>
                <c:pt idx="1">
                  <c:v>2.8</c:v>
                </c:pt>
                <c:pt idx="2">
                  <c:v>2</c:v>
                </c:pt>
                <c:pt idx="3">
                  <c:v>0.69999999999999929</c:v>
                </c:pt>
              </c:numCache>
            </c:numRef>
          </c:val>
          <c:extLst>
            <c:ext xmlns:c16="http://schemas.microsoft.com/office/drawing/2014/chart" uri="{C3380CC4-5D6E-409C-BE32-E72D297353CC}">
              <c16:uniqueId val="{00000002-594F-470C-BC02-9730A21D0FDE}"/>
            </c:ext>
          </c:extLst>
        </c:ser>
        <c:dLbls>
          <c:showLegendKey val="0"/>
          <c:showVal val="0"/>
          <c:showCatName val="0"/>
          <c:showSerName val="0"/>
          <c:showPercent val="0"/>
          <c:showBubbleSize val="0"/>
        </c:dLbls>
        <c:gapWidth val="219"/>
        <c:overlap val="-27"/>
        <c:axId val="1868210255"/>
        <c:axId val="1868218415"/>
      </c:barChart>
      <c:scatterChart>
        <c:scatterStyle val="lineMarker"/>
        <c:varyColors val="0"/>
        <c:ser>
          <c:idx val="3"/>
          <c:order val="3"/>
          <c:tx>
            <c:strRef>
              <c:f>Sheet1!$P$8</c:f>
              <c:strCache>
                <c:ptCount val="1"/>
                <c:pt idx="0">
                  <c:v>Jährliche Wachstumsrate 
24-30P (rechts)</c:v>
                </c:pt>
              </c:strCache>
            </c:strRef>
          </c:tx>
          <c:spPr>
            <a:ln w="25400" cap="rnd">
              <a:no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strRef>
              <c:f>Sheet1!$L$10:$L$13</c:f>
              <c:strCache>
                <c:ptCount val="4"/>
                <c:pt idx="0">
                  <c:v>North America</c:v>
                </c:pt>
                <c:pt idx="1">
                  <c:v>Europe</c:v>
                </c:pt>
                <c:pt idx="2">
                  <c:v>Asia Pacific</c:v>
                </c:pt>
                <c:pt idx="3">
                  <c:v>RoW</c:v>
                </c:pt>
              </c:strCache>
            </c:strRef>
          </c:xVal>
          <c:yVal>
            <c:numRef>
              <c:f>Sheet1!$P$10:$P$13</c:f>
              <c:numCache>
                <c:formatCode>0%</c:formatCode>
                <c:ptCount val="4"/>
                <c:pt idx="0">
                  <c:v>8.8866888787002996E-2</c:v>
                </c:pt>
                <c:pt idx="1">
                  <c:v>8.6721313945718359E-2</c:v>
                </c:pt>
                <c:pt idx="2">
                  <c:v>0.12246204830937302</c:v>
                </c:pt>
                <c:pt idx="3">
                  <c:v>9.775731930496101E-2</c:v>
                </c:pt>
              </c:numCache>
            </c:numRef>
          </c:yVal>
          <c:smooth val="0"/>
          <c:extLst>
            <c:ext xmlns:c16="http://schemas.microsoft.com/office/drawing/2014/chart" uri="{C3380CC4-5D6E-409C-BE32-E72D297353CC}">
              <c16:uniqueId val="{00000005-594F-470C-BC02-9730A21D0FDE}"/>
            </c:ext>
          </c:extLst>
        </c:ser>
        <c:dLbls>
          <c:showLegendKey val="0"/>
          <c:showVal val="0"/>
          <c:showCatName val="0"/>
          <c:showSerName val="0"/>
          <c:showPercent val="0"/>
          <c:showBubbleSize val="0"/>
        </c:dLbls>
        <c:axId val="1868211695"/>
        <c:axId val="1868203535"/>
      </c:scatterChart>
      <c:catAx>
        <c:axId val="18682102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868218415"/>
        <c:crosses val="autoZero"/>
        <c:auto val="1"/>
        <c:lblAlgn val="ctr"/>
        <c:lblOffset val="100"/>
        <c:noMultiLvlLbl val="0"/>
      </c:catAx>
      <c:valAx>
        <c:axId val="1868218415"/>
        <c:scaling>
          <c:orientation val="minMax"/>
          <c:min val="0.2"/>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868210255"/>
        <c:crosses val="autoZero"/>
        <c:crossBetween val="between"/>
        <c:majorUnit val="1"/>
      </c:valAx>
      <c:valAx>
        <c:axId val="1868203535"/>
        <c:scaling>
          <c:orientation val="minMax"/>
          <c:min val="2.0000000000000004E-2"/>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868211695"/>
        <c:crosses val="max"/>
        <c:crossBetween val="midCat"/>
      </c:valAx>
      <c:valAx>
        <c:axId val="1868211695"/>
        <c:scaling>
          <c:orientation val="minMax"/>
        </c:scaling>
        <c:delete val="1"/>
        <c:axPos val="b"/>
        <c:numFmt formatCode="General" sourceLinked="1"/>
        <c:majorTickMark val="none"/>
        <c:minorTickMark val="none"/>
        <c:tickLblPos val="nextTo"/>
        <c:crossAx val="1868203535"/>
        <c:crosses val="autoZero"/>
        <c:crossBetween val="midCat"/>
      </c:valAx>
      <c:spPr>
        <a:noFill/>
        <a:ln>
          <a:noFill/>
        </a:ln>
        <a:effectLst/>
      </c:spPr>
    </c:plotArea>
    <c:legend>
      <c:legendPos val="b"/>
      <c:layout>
        <c:manualLayout>
          <c:xMode val="edge"/>
          <c:yMode val="edge"/>
          <c:x val="4.9999909805088796E-2"/>
          <c:y val="0.87135391612367163"/>
          <c:w val="0.9"/>
          <c:h val="0.1286460838763283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000"/>
      </a:pPr>
      <a:endParaRPr lang="en-US"/>
    </a:p>
  </c:txPr>
  <c:externalData r:id="rId4">
    <c:autoUpdate val="0"/>
  </c:externalData>
  <c:userShapes r:id="rId5"/>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de-DE" sz="1000" noProof="0" dirty="0"/>
              <a:t>Umsatz in </a:t>
            </a:r>
            <a:r>
              <a:rPr lang="de-DE" sz="1000" noProof="0" dirty="0" err="1"/>
              <a:t>Mrd</a:t>
            </a:r>
            <a:r>
              <a:rPr lang="de-DE" sz="1000" noProof="0" dirty="0"/>
              <a:t> USD</a:t>
            </a:r>
          </a:p>
        </c:rich>
      </c:tx>
      <c:overlay val="0"/>
      <c:spPr>
        <a:noFill/>
        <a:ln>
          <a:noFill/>
        </a:ln>
        <a:effectLst/>
      </c:spPr>
      <c:txPr>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title>
    <c:autoTitleDeleted val="0"/>
    <c:plotArea>
      <c:layout>
        <c:manualLayout>
          <c:layoutTarget val="inner"/>
          <c:xMode val="edge"/>
          <c:yMode val="edge"/>
          <c:x val="8.02900668344292E-2"/>
          <c:y val="2.629913643858733E-2"/>
          <c:w val="0.91970993316557081"/>
          <c:h val="0.4729883032060071"/>
        </c:manualLayout>
      </c:layout>
      <c:barChart>
        <c:barDir val="col"/>
        <c:grouping val="stacked"/>
        <c:varyColors val="0"/>
        <c:ser>
          <c:idx val="1"/>
          <c:order val="1"/>
          <c:tx>
            <c:strRef>
              <c:f>Tabelle1!$D$2</c:f>
              <c:strCache>
                <c:ptCount val="1"/>
                <c:pt idx="0">
                  <c:v>Niedrige Projektion 2040</c:v>
                </c:pt>
              </c:strCache>
            </c:strRef>
          </c:tx>
          <c:spPr>
            <a:solidFill>
              <a:schemeClr val="accent2"/>
            </a:solidFill>
            <a:ln>
              <a:noFill/>
            </a:ln>
            <a:effectLst/>
          </c:spPr>
          <c:invertIfNegative val="0"/>
          <c:cat>
            <c:strRef>
              <c:f>Tabelle1!$B$4:$B$21</c:f>
              <c:strCache>
                <c:ptCount val="18"/>
                <c:pt idx="0">
                  <c:v>E-commerce</c:v>
                </c:pt>
                <c:pt idx="1">
                  <c:v>AI software 
and services</c:v>
                </c:pt>
                <c:pt idx="2">
                  <c:v>Cloud services</c:v>
                </c:pt>
                <c:pt idx="3">
                  <c:v>Electric vehicles</c:v>
                </c:pt>
                <c:pt idx="4">
                  <c:v>Digital advertisements</c:v>
                </c:pt>
                <c:pt idx="5">
                  <c:v>Semiconductors</c:v>
                </c:pt>
                <c:pt idx="6">
                  <c:v>Shared 
autonomous vehicles</c:v>
                </c:pt>
                <c:pt idx="7">
                  <c:v>Space</c:v>
                </c:pt>
                <c:pt idx="8">
                  <c:v>Cybersecurity</c:v>
                </c:pt>
                <c:pt idx="9">
                  <c:v>Batteries</c:v>
                </c:pt>
                <c:pt idx="10">
                  <c:v>Modular construction</c:v>
                </c:pt>
                <c:pt idx="11">
                  <c:v>Streaming video</c:v>
                </c:pt>
                <c:pt idx="12">
                  <c:v>Video games</c:v>
                </c:pt>
                <c:pt idx="13">
                  <c:v>Robotics</c:v>
                </c:pt>
                <c:pt idx="14">
                  <c:v>Industrial and 
consumer biotech</c:v>
                </c:pt>
                <c:pt idx="15">
                  <c:v>Future air mobility</c:v>
                </c:pt>
                <c:pt idx="16">
                  <c:v>Drugs for obesity 
and related conditions</c:v>
                </c:pt>
                <c:pt idx="17">
                  <c:v>Nuclear fission 
power plants</c:v>
                </c:pt>
              </c:strCache>
            </c:strRef>
          </c:cat>
          <c:val>
            <c:numRef>
              <c:f>Tabelle1!$D$4:$D$21</c:f>
              <c:numCache>
                <c:formatCode>General</c:formatCode>
                <c:ptCount val="18"/>
                <c:pt idx="0">
                  <c:v>14000</c:v>
                </c:pt>
                <c:pt idx="1">
                  <c:v>1500</c:v>
                </c:pt>
                <c:pt idx="2">
                  <c:v>1600</c:v>
                </c:pt>
                <c:pt idx="3">
                  <c:v>2500</c:v>
                </c:pt>
                <c:pt idx="4">
                  <c:v>2100</c:v>
                </c:pt>
                <c:pt idx="5">
                  <c:v>1700</c:v>
                </c:pt>
                <c:pt idx="6">
                  <c:v>610</c:v>
                </c:pt>
                <c:pt idx="7">
                  <c:v>960</c:v>
                </c:pt>
                <c:pt idx="8">
                  <c:v>590</c:v>
                </c:pt>
                <c:pt idx="9">
                  <c:v>810</c:v>
                </c:pt>
                <c:pt idx="10">
                  <c:v>540</c:v>
                </c:pt>
                <c:pt idx="11">
                  <c:v>510</c:v>
                </c:pt>
                <c:pt idx="12">
                  <c:v>550</c:v>
                </c:pt>
                <c:pt idx="13">
                  <c:v>190</c:v>
                </c:pt>
                <c:pt idx="14">
                  <c:v>340</c:v>
                </c:pt>
                <c:pt idx="15">
                  <c:v>75</c:v>
                </c:pt>
                <c:pt idx="16">
                  <c:v>120</c:v>
                </c:pt>
                <c:pt idx="17">
                  <c:v>65</c:v>
                </c:pt>
              </c:numCache>
            </c:numRef>
          </c:val>
          <c:extLst>
            <c:ext xmlns:c16="http://schemas.microsoft.com/office/drawing/2014/chart" uri="{C3380CC4-5D6E-409C-BE32-E72D297353CC}">
              <c16:uniqueId val="{00000000-D600-49D3-A50C-77E4E2727688}"/>
            </c:ext>
          </c:extLst>
        </c:ser>
        <c:ser>
          <c:idx val="2"/>
          <c:order val="2"/>
          <c:tx>
            <c:strRef>
              <c:f>Tabelle1!$E$2</c:f>
              <c:strCache>
                <c:ptCount val="1"/>
                <c:pt idx="0">
                  <c:v>Hohe Projektion 2040</c:v>
                </c:pt>
              </c:strCache>
            </c:strRef>
          </c:tx>
          <c:spPr>
            <a:solidFill>
              <a:schemeClr val="accent3"/>
            </a:solidFill>
            <a:ln>
              <a:noFill/>
            </a:ln>
            <a:effectLst/>
          </c:spPr>
          <c:invertIfNegative val="0"/>
          <c:cat>
            <c:strRef>
              <c:f>Tabelle1!$B$4:$B$21</c:f>
              <c:strCache>
                <c:ptCount val="18"/>
                <c:pt idx="0">
                  <c:v>E-commerce</c:v>
                </c:pt>
                <c:pt idx="1">
                  <c:v>AI software 
and services</c:v>
                </c:pt>
                <c:pt idx="2">
                  <c:v>Cloud services</c:v>
                </c:pt>
                <c:pt idx="3">
                  <c:v>Electric vehicles</c:v>
                </c:pt>
                <c:pt idx="4">
                  <c:v>Digital advertisements</c:v>
                </c:pt>
                <c:pt idx="5">
                  <c:v>Semiconductors</c:v>
                </c:pt>
                <c:pt idx="6">
                  <c:v>Shared 
autonomous vehicles</c:v>
                </c:pt>
                <c:pt idx="7">
                  <c:v>Space</c:v>
                </c:pt>
                <c:pt idx="8">
                  <c:v>Cybersecurity</c:v>
                </c:pt>
                <c:pt idx="9">
                  <c:v>Batteries</c:v>
                </c:pt>
                <c:pt idx="10">
                  <c:v>Modular construction</c:v>
                </c:pt>
                <c:pt idx="11">
                  <c:v>Streaming video</c:v>
                </c:pt>
                <c:pt idx="12">
                  <c:v>Video games</c:v>
                </c:pt>
                <c:pt idx="13">
                  <c:v>Robotics</c:v>
                </c:pt>
                <c:pt idx="14">
                  <c:v>Industrial and 
consumer biotech</c:v>
                </c:pt>
                <c:pt idx="15">
                  <c:v>Future air mobility</c:v>
                </c:pt>
                <c:pt idx="16">
                  <c:v>Drugs for obesity 
and related conditions</c:v>
                </c:pt>
                <c:pt idx="17">
                  <c:v>Nuclear fission 
power plants</c:v>
                </c:pt>
              </c:strCache>
            </c:strRef>
          </c:cat>
          <c:val>
            <c:numRef>
              <c:f>Tabelle1!$E$4:$E$21</c:f>
              <c:numCache>
                <c:formatCode>General</c:formatCode>
                <c:ptCount val="18"/>
                <c:pt idx="0">
                  <c:v>6000</c:v>
                </c:pt>
                <c:pt idx="1">
                  <c:v>3100</c:v>
                </c:pt>
                <c:pt idx="2">
                  <c:v>1800</c:v>
                </c:pt>
                <c:pt idx="3">
                  <c:v>700</c:v>
                </c:pt>
                <c:pt idx="4">
                  <c:v>800</c:v>
                </c:pt>
                <c:pt idx="5">
                  <c:v>700</c:v>
                </c:pt>
                <c:pt idx="6">
                  <c:v>1690</c:v>
                </c:pt>
                <c:pt idx="7">
                  <c:v>640</c:v>
                </c:pt>
                <c:pt idx="8">
                  <c:v>610</c:v>
                </c:pt>
                <c:pt idx="9">
                  <c:v>290</c:v>
                </c:pt>
                <c:pt idx="10">
                  <c:v>560</c:v>
                </c:pt>
                <c:pt idx="11">
                  <c:v>490</c:v>
                </c:pt>
                <c:pt idx="12">
                  <c:v>360</c:v>
                </c:pt>
                <c:pt idx="13">
                  <c:v>720</c:v>
                </c:pt>
                <c:pt idx="14">
                  <c:v>560</c:v>
                </c:pt>
                <c:pt idx="15">
                  <c:v>265</c:v>
                </c:pt>
                <c:pt idx="16">
                  <c:v>160</c:v>
                </c:pt>
                <c:pt idx="17">
                  <c:v>85</c:v>
                </c:pt>
              </c:numCache>
            </c:numRef>
          </c:val>
          <c:extLst>
            <c:ext xmlns:c16="http://schemas.microsoft.com/office/drawing/2014/chart" uri="{C3380CC4-5D6E-409C-BE32-E72D297353CC}">
              <c16:uniqueId val="{00000001-D600-49D3-A50C-77E4E2727688}"/>
            </c:ext>
          </c:extLst>
        </c:ser>
        <c:dLbls>
          <c:showLegendKey val="0"/>
          <c:showVal val="0"/>
          <c:showCatName val="0"/>
          <c:showSerName val="0"/>
          <c:showPercent val="0"/>
          <c:showBubbleSize val="0"/>
        </c:dLbls>
        <c:gapWidth val="150"/>
        <c:overlap val="100"/>
        <c:axId val="408101727"/>
        <c:axId val="408104607"/>
      </c:barChart>
      <c:lineChart>
        <c:grouping val="stacked"/>
        <c:varyColors val="0"/>
        <c:ser>
          <c:idx val="0"/>
          <c:order val="0"/>
          <c:tx>
            <c:strRef>
              <c:f>Tabelle1!$C$2</c:f>
              <c:strCache>
                <c:ptCount val="1"/>
                <c:pt idx="0">
                  <c:v>2022</c:v>
                </c:pt>
              </c:strCache>
            </c:strRef>
          </c:tx>
          <c:spPr>
            <a:ln w="28575" cap="rnd">
              <a:noFill/>
              <a:round/>
            </a:ln>
            <a:effectLst/>
          </c:spPr>
          <c:marker>
            <c:symbol val="circle"/>
            <c:size val="5"/>
            <c:spPr>
              <a:solidFill>
                <a:schemeClr val="accent1"/>
              </a:solidFill>
              <a:ln w="9525">
                <a:solidFill>
                  <a:schemeClr val="accent1"/>
                </a:solidFill>
              </a:ln>
              <a:effectLst/>
            </c:spPr>
          </c:marker>
          <c:cat>
            <c:strRef>
              <c:f>Tabelle1!$A$4:$A$21</c:f>
              <c:strCache>
                <c:ptCount val="18"/>
                <c:pt idx="0">
                  <c:v>E-Commerce</c:v>
                </c:pt>
                <c:pt idx="1">
                  <c:v>KI Software 
und Services</c:v>
                </c:pt>
                <c:pt idx="2">
                  <c:v>Cloud Services</c:v>
                </c:pt>
                <c:pt idx="3">
                  <c:v>Elektrofahrzeuge</c:v>
                </c:pt>
                <c:pt idx="4">
                  <c:v>Digitale Anzeigen</c:v>
                </c:pt>
                <c:pt idx="5">
                  <c:v>Halbleiter</c:v>
                </c:pt>
                <c:pt idx="6">
                  <c:v>Gemeinsam genutzte
autonome Fahrzeuge</c:v>
                </c:pt>
                <c:pt idx="7">
                  <c:v>Weltraum</c:v>
                </c:pt>
                <c:pt idx="8">
                  <c:v>Cybersicherheit</c:v>
                </c:pt>
                <c:pt idx="9">
                  <c:v>Batterien</c:v>
                </c:pt>
                <c:pt idx="10">
                  <c:v>Modularbauweise</c:v>
                </c:pt>
                <c:pt idx="11">
                  <c:v>Video Streaming</c:v>
                </c:pt>
                <c:pt idx="12">
                  <c:v>Videospiele</c:v>
                </c:pt>
                <c:pt idx="13">
                  <c:v>Robotik</c:v>
                </c:pt>
                <c:pt idx="14">
                  <c:v>Biotechnologie</c:v>
                </c:pt>
                <c:pt idx="15">
                  <c:v>Zukünftige Luftfahrt</c:v>
                </c:pt>
                <c:pt idx="16">
                  <c:v>Medikamente für 
Adipositas und ähnliches</c:v>
                </c:pt>
                <c:pt idx="17">
                  <c:v>Kernspaltung</c:v>
                </c:pt>
              </c:strCache>
            </c:strRef>
          </c:cat>
          <c:val>
            <c:numRef>
              <c:f>Tabelle1!$C$4:$C$21</c:f>
              <c:numCache>
                <c:formatCode>General</c:formatCode>
                <c:ptCount val="18"/>
                <c:pt idx="0">
                  <c:v>4000</c:v>
                </c:pt>
                <c:pt idx="1">
                  <c:v>85</c:v>
                </c:pt>
                <c:pt idx="2">
                  <c:v>220</c:v>
                </c:pt>
                <c:pt idx="3">
                  <c:v>450</c:v>
                </c:pt>
                <c:pt idx="4">
                  <c:v>520</c:v>
                </c:pt>
                <c:pt idx="5">
                  <c:v>630</c:v>
                </c:pt>
                <c:pt idx="6">
                  <c:v>0</c:v>
                </c:pt>
                <c:pt idx="7">
                  <c:v>300</c:v>
                </c:pt>
                <c:pt idx="8">
                  <c:v>160</c:v>
                </c:pt>
                <c:pt idx="9">
                  <c:v>98</c:v>
                </c:pt>
                <c:pt idx="10">
                  <c:v>180</c:v>
                </c:pt>
                <c:pt idx="11">
                  <c:v>160</c:v>
                </c:pt>
                <c:pt idx="12">
                  <c:v>230</c:v>
                </c:pt>
                <c:pt idx="13">
                  <c:v>21</c:v>
                </c:pt>
                <c:pt idx="14">
                  <c:v>140</c:v>
                </c:pt>
                <c:pt idx="15">
                  <c:v>0</c:v>
                </c:pt>
                <c:pt idx="16">
                  <c:v>24</c:v>
                </c:pt>
                <c:pt idx="17">
                  <c:v>18</c:v>
                </c:pt>
              </c:numCache>
            </c:numRef>
          </c:val>
          <c:smooth val="0"/>
          <c:extLst>
            <c:ext xmlns:c16="http://schemas.microsoft.com/office/drawing/2014/chart" uri="{C3380CC4-5D6E-409C-BE32-E72D297353CC}">
              <c16:uniqueId val="{00000002-D600-49D3-A50C-77E4E2727688}"/>
            </c:ext>
          </c:extLst>
        </c:ser>
        <c:dLbls>
          <c:showLegendKey val="0"/>
          <c:showVal val="0"/>
          <c:showCatName val="0"/>
          <c:showSerName val="0"/>
          <c:showPercent val="0"/>
          <c:showBubbleSize val="0"/>
        </c:dLbls>
        <c:marker val="1"/>
        <c:smooth val="0"/>
        <c:axId val="1973465760"/>
        <c:axId val="1973464928"/>
      </c:lineChart>
      <c:catAx>
        <c:axId val="1973465760"/>
        <c:scaling>
          <c:orientation val="minMax"/>
        </c:scaling>
        <c:delete val="0"/>
        <c:axPos val="b"/>
        <c:numFmt formatCode="[$-409]mmm\-yy;@" sourceLinked="0"/>
        <c:majorTickMark val="out"/>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973464928"/>
        <c:crosses val="autoZero"/>
        <c:auto val="1"/>
        <c:lblAlgn val="ctr"/>
        <c:lblOffset val="100"/>
        <c:noMultiLvlLbl val="0"/>
      </c:catAx>
      <c:valAx>
        <c:axId val="1973464928"/>
        <c:scaling>
          <c:orientation val="minMax"/>
          <c:max val="50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973465760"/>
        <c:crosses val="autoZero"/>
        <c:crossBetween val="between"/>
      </c:valAx>
      <c:valAx>
        <c:axId val="408104607"/>
        <c:scaling>
          <c:orientation val="minMax"/>
        </c:scaling>
        <c:delete val="1"/>
        <c:axPos val="r"/>
        <c:numFmt formatCode="General" sourceLinked="1"/>
        <c:majorTickMark val="out"/>
        <c:minorTickMark val="none"/>
        <c:tickLblPos val="nextTo"/>
        <c:crossAx val="408101727"/>
        <c:crosses val="max"/>
        <c:crossBetween val="between"/>
      </c:valAx>
      <c:catAx>
        <c:axId val="408101727"/>
        <c:scaling>
          <c:orientation val="minMax"/>
        </c:scaling>
        <c:delete val="1"/>
        <c:axPos val="b"/>
        <c:numFmt formatCode="General" sourceLinked="1"/>
        <c:majorTickMark val="out"/>
        <c:minorTickMark val="none"/>
        <c:tickLblPos val="nextTo"/>
        <c:crossAx val="4081046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extLst/>
  </c:chart>
  <c:spPr>
    <a:solidFill>
      <a:schemeClr val="bg1"/>
    </a:solidFill>
    <a:ln w="9525" cap="flat" cmpd="sng" algn="ctr">
      <a:noFill/>
      <a:round/>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userShapes r:id="rId5"/>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de-DE" sz="1000" baseline="0" noProof="0"/>
              <a:t>Gewinne der jeweils letzten 12 Monate (19.01.1995 = 100)</a:t>
            </a:r>
            <a:endParaRPr lang="de-DE" sz="1000" noProof="0"/>
          </a:p>
        </c:rich>
      </c:tx>
      <c:overlay val="1"/>
      <c:spPr>
        <a:noFill/>
        <a:ln>
          <a:noFill/>
        </a:ln>
        <a:effectLst/>
      </c:spPr>
      <c:txPr>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title>
    <c:autoTitleDeleted val="0"/>
    <c:plotArea>
      <c:layout/>
      <c:lineChart>
        <c:grouping val="standard"/>
        <c:varyColors val="0"/>
        <c:ser>
          <c:idx val="2"/>
          <c:order val="2"/>
          <c:tx>
            <c:strRef>
              <c:f>Sheet1!$G$1</c:f>
              <c:strCache>
                <c:ptCount val="1"/>
                <c:pt idx="0">
                  <c:v>MSCI USA IT</c:v>
                </c:pt>
              </c:strCache>
            </c:strRef>
          </c:tx>
          <c:spPr>
            <a:ln w="28575" cap="rnd">
              <a:solidFill>
                <a:schemeClr val="accent1"/>
              </a:solidFill>
              <a:round/>
            </a:ln>
            <a:effectLst/>
          </c:spPr>
          <c:marker>
            <c:symbol val="none"/>
          </c:marker>
          <c:cat>
            <c:numRef>
              <c:f>Sheet1!$D$3:$D$7790</c:f>
              <c:numCache>
                <c:formatCode>m/d/yyyy</c:formatCode>
                <c:ptCount val="7788"/>
                <c:pt idx="0">
                  <c:v>34718</c:v>
                </c:pt>
                <c:pt idx="1">
                  <c:v>34719</c:v>
                </c:pt>
                <c:pt idx="2">
                  <c:v>34722</c:v>
                </c:pt>
                <c:pt idx="3">
                  <c:v>34723</c:v>
                </c:pt>
                <c:pt idx="4">
                  <c:v>34724</c:v>
                </c:pt>
                <c:pt idx="5">
                  <c:v>34725</c:v>
                </c:pt>
                <c:pt idx="6">
                  <c:v>34726</c:v>
                </c:pt>
                <c:pt idx="7">
                  <c:v>34729</c:v>
                </c:pt>
                <c:pt idx="8">
                  <c:v>34730</c:v>
                </c:pt>
                <c:pt idx="9">
                  <c:v>34731</c:v>
                </c:pt>
                <c:pt idx="10">
                  <c:v>34732</c:v>
                </c:pt>
                <c:pt idx="11">
                  <c:v>34733</c:v>
                </c:pt>
                <c:pt idx="12">
                  <c:v>34736</c:v>
                </c:pt>
                <c:pt idx="13">
                  <c:v>34737</c:v>
                </c:pt>
                <c:pt idx="14">
                  <c:v>34738</c:v>
                </c:pt>
                <c:pt idx="15">
                  <c:v>34739</c:v>
                </c:pt>
                <c:pt idx="16">
                  <c:v>34740</c:v>
                </c:pt>
                <c:pt idx="17">
                  <c:v>34743</c:v>
                </c:pt>
                <c:pt idx="18">
                  <c:v>34744</c:v>
                </c:pt>
                <c:pt idx="19">
                  <c:v>34745</c:v>
                </c:pt>
                <c:pt idx="20">
                  <c:v>34746</c:v>
                </c:pt>
                <c:pt idx="21">
                  <c:v>34747</c:v>
                </c:pt>
                <c:pt idx="22">
                  <c:v>34750</c:v>
                </c:pt>
                <c:pt idx="23">
                  <c:v>34751</c:v>
                </c:pt>
                <c:pt idx="24">
                  <c:v>34752</c:v>
                </c:pt>
                <c:pt idx="25">
                  <c:v>34753</c:v>
                </c:pt>
                <c:pt idx="26">
                  <c:v>34754</c:v>
                </c:pt>
                <c:pt idx="27">
                  <c:v>34757</c:v>
                </c:pt>
                <c:pt idx="28">
                  <c:v>34758</c:v>
                </c:pt>
                <c:pt idx="29">
                  <c:v>34759</c:v>
                </c:pt>
                <c:pt idx="30">
                  <c:v>34760</c:v>
                </c:pt>
                <c:pt idx="31">
                  <c:v>34761</c:v>
                </c:pt>
                <c:pt idx="32">
                  <c:v>34764</c:v>
                </c:pt>
                <c:pt idx="33">
                  <c:v>34765</c:v>
                </c:pt>
                <c:pt idx="34">
                  <c:v>34766</c:v>
                </c:pt>
                <c:pt idx="35">
                  <c:v>34767</c:v>
                </c:pt>
                <c:pt idx="36">
                  <c:v>34768</c:v>
                </c:pt>
                <c:pt idx="37">
                  <c:v>34771</c:v>
                </c:pt>
                <c:pt idx="38">
                  <c:v>34772</c:v>
                </c:pt>
                <c:pt idx="39">
                  <c:v>34773</c:v>
                </c:pt>
                <c:pt idx="40">
                  <c:v>34774</c:v>
                </c:pt>
                <c:pt idx="41">
                  <c:v>34775</c:v>
                </c:pt>
                <c:pt idx="42">
                  <c:v>34778</c:v>
                </c:pt>
                <c:pt idx="43">
                  <c:v>34779</c:v>
                </c:pt>
                <c:pt idx="44">
                  <c:v>34780</c:v>
                </c:pt>
                <c:pt idx="45">
                  <c:v>34781</c:v>
                </c:pt>
                <c:pt idx="46">
                  <c:v>34782</c:v>
                </c:pt>
                <c:pt idx="47">
                  <c:v>34785</c:v>
                </c:pt>
                <c:pt idx="48">
                  <c:v>34786</c:v>
                </c:pt>
                <c:pt idx="49">
                  <c:v>34787</c:v>
                </c:pt>
                <c:pt idx="50">
                  <c:v>34788</c:v>
                </c:pt>
                <c:pt idx="51">
                  <c:v>34789</c:v>
                </c:pt>
                <c:pt idx="52">
                  <c:v>34792</c:v>
                </c:pt>
                <c:pt idx="53">
                  <c:v>34793</c:v>
                </c:pt>
                <c:pt idx="54">
                  <c:v>34794</c:v>
                </c:pt>
                <c:pt idx="55">
                  <c:v>34795</c:v>
                </c:pt>
                <c:pt idx="56">
                  <c:v>34796</c:v>
                </c:pt>
                <c:pt idx="57">
                  <c:v>34799</c:v>
                </c:pt>
                <c:pt idx="58">
                  <c:v>34800</c:v>
                </c:pt>
                <c:pt idx="59">
                  <c:v>34801</c:v>
                </c:pt>
                <c:pt idx="60">
                  <c:v>34802</c:v>
                </c:pt>
                <c:pt idx="61">
                  <c:v>34803</c:v>
                </c:pt>
                <c:pt idx="62">
                  <c:v>34806</c:v>
                </c:pt>
                <c:pt idx="63">
                  <c:v>34807</c:v>
                </c:pt>
                <c:pt idx="64">
                  <c:v>34808</c:v>
                </c:pt>
                <c:pt idx="65">
                  <c:v>34809</c:v>
                </c:pt>
                <c:pt idx="66">
                  <c:v>34810</c:v>
                </c:pt>
                <c:pt idx="67">
                  <c:v>34813</c:v>
                </c:pt>
                <c:pt idx="68">
                  <c:v>34814</c:v>
                </c:pt>
                <c:pt idx="69">
                  <c:v>34815</c:v>
                </c:pt>
                <c:pt idx="70">
                  <c:v>34816</c:v>
                </c:pt>
                <c:pt idx="71">
                  <c:v>34817</c:v>
                </c:pt>
                <c:pt idx="72">
                  <c:v>34820</c:v>
                </c:pt>
                <c:pt idx="73">
                  <c:v>34821</c:v>
                </c:pt>
                <c:pt idx="74">
                  <c:v>34822</c:v>
                </c:pt>
                <c:pt idx="75">
                  <c:v>34823</c:v>
                </c:pt>
                <c:pt idx="76">
                  <c:v>34824</c:v>
                </c:pt>
                <c:pt idx="77">
                  <c:v>34827</c:v>
                </c:pt>
                <c:pt idx="78">
                  <c:v>34828</c:v>
                </c:pt>
                <c:pt idx="79">
                  <c:v>34829</c:v>
                </c:pt>
                <c:pt idx="80">
                  <c:v>34830</c:v>
                </c:pt>
                <c:pt idx="81">
                  <c:v>34831</c:v>
                </c:pt>
                <c:pt idx="82">
                  <c:v>34834</c:v>
                </c:pt>
                <c:pt idx="83">
                  <c:v>34835</c:v>
                </c:pt>
                <c:pt idx="84">
                  <c:v>34836</c:v>
                </c:pt>
                <c:pt idx="85">
                  <c:v>34837</c:v>
                </c:pt>
                <c:pt idx="86">
                  <c:v>34838</c:v>
                </c:pt>
                <c:pt idx="87">
                  <c:v>34841</c:v>
                </c:pt>
                <c:pt idx="88">
                  <c:v>34842</c:v>
                </c:pt>
                <c:pt idx="89">
                  <c:v>34843</c:v>
                </c:pt>
                <c:pt idx="90">
                  <c:v>34844</c:v>
                </c:pt>
                <c:pt idx="91">
                  <c:v>34845</c:v>
                </c:pt>
                <c:pt idx="92">
                  <c:v>34848</c:v>
                </c:pt>
                <c:pt idx="93">
                  <c:v>34849</c:v>
                </c:pt>
                <c:pt idx="94">
                  <c:v>34850</c:v>
                </c:pt>
                <c:pt idx="95">
                  <c:v>34851</c:v>
                </c:pt>
                <c:pt idx="96">
                  <c:v>34852</c:v>
                </c:pt>
                <c:pt idx="97">
                  <c:v>34855</c:v>
                </c:pt>
                <c:pt idx="98">
                  <c:v>34856</c:v>
                </c:pt>
                <c:pt idx="99">
                  <c:v>34857</c:v>
                </c:pt>
                <c:pt idx="100">
                  <c:v>34858</c:v>
                </c:pt>
                <c:pt idx="101">
                  <c:v>34859</c:v>
                </c:pt>
                <c:pt idx="102">
                  <c:v>34862</c:v>
                </c:pt>
                <c:pt idx="103">
                  <c:v>34863</c:v>
                </c:pt>
                <c:pt idx="104">
                  <c:v>34864</c:v>
                </c:pt>
                <c:pt idx="105">
                  <c:v>34865</c:v>
                </c:pt>
                <c:pt idx="106">
                  <c:v>34866</c:v>
                </c:pt>
                <c:pt idx="107">
                  <c:v>34869</c:v>
                </c:pt>
                <c:pt idx="108">
                  <c:v>34870</c:v>
                </c:pt>
                <c:pt idx="109">
                  <c:v>34871</c:v>
                </c:pt>
                <c:pt idx="110">
                  <c:v>34872</c:v>
                </c:pt>
                <c:pt idx="111">
                  <c:v>34873</c:v>
                </c:pt>
                <c:pt idx="112">
                  <c:v>34876</c:v>
                </c:pt>
                <c:pt idx="113">
                  <c:v>34877</c:v>
                </c:pt>
                <c:pt idx="114">
                  <c:v>34878</c:v>
                </c:pt>
                <c:pt idx="115">
                  <c:v>34879</c:v>
                </c:pt>
                <c:pt idx="116">
                  <c:v>34880</c:v>
                </c:pt>
                <c:pt idx="117">
                  <c:v>34883</c:v>
                </c:pt>
                <c:pt idx="118">
                  <c:v>34884</c:v>
                </c:pt>
                <c:pt idx="119">
                  <c:v>34885</c:v>
                </c:pt>
                <c:pt idx="120">
                  <c:v>34886</c:v>
                </c:pt>
                <c:pt idx="121">
                  <c:v>34887</c:v>
                </c:pt>
                <c:pt idx="122">
                  <c:v>34890</c:v>
                </c:pt>
                <c:pt idx="123">
                  <c:v>34891</c:v>
                </c:pt>
                <c:pt idx="124">
                  <c:v>34892</c:v>
                </c:pt>
                <c:pt idx="125">
                  <c:v>34893</c:v>
                </c:pt>
                <c:pt idx="126">
                  <c:v>34894</c:v>
                </c:pt>
                <c:pt idx="127">
                  <c:v>34897</c:v>
                </c:pt>
                <c:pt idx="128">
                  <c:v>34898</c:v>
                </c:pt>
                <c:pt idx="129">
                  <c:v>34899</c:v>
                </c:pt>
                <c:pt idx="130">
                  <c:v>34900</c:v>
                </c:pt>
                <c:pt idx="131">
                  <c:v>34901</c:v>
                </c:pt>
                <c:pt idx="132">
                  <c:v>34904</c:v>
                </c:pt>
                <c:pt idx="133">
                  <c:v>34905</c:v>
                </c:pt>
                <c:pt idx="134">
                  <c:v>34906</c:v>
                </c:pt>
                <c:pt idx="135">
                  <c:v>34907</c:v>
                </c:pt>
                <c:pt idx="136">
                  <c:v>34908</c:v>
                </c:pt>
                <c:pt idx="137">
                  <c:v>34911</c:v>
                </c:pt>
                <c:pt idx="138">
                  <c:v>34912</c:v>
                </c:pt>
                <c:pt idx="139">
                  <c:v>34913</c:v>
                </c:pt>
                <c:pt idx="140">
                  <c:v>34914</c:v>
                </c:pt>
                <c:pt idx="141">
                  <c:v>34915</c:v>
                </c:pt>
                <c:pt idx="142">
                  <c:v>34918</c:v>
                </c:pt>
                <c:pt idx="143">
                  <c:v>34919</c:v>
                </c:pt>
                <c:pt idx="144">
                  <c:v>34920</c:v>
                </c:pt>
                <c:pt idx="145">
                  <c:v>34921</c:v>
                </c:pt>
                <c:pt idx="146">
                  <c:v>34922</c:v>
                </c:pt>
                <c:pt idx="147">
                  <c:v>34925</c:v>
                </c:pt>
                <c:pt idx="148">
                  <c:v>34926</c:v>
                </c:pt>
                <c:pt idx="149">
                  <c:v>34927</c:v>
                </c:pt>
                <c:pt idx="150">
                  <c:v>34928</c:v>
                </c:pt>
                <c:pt idx="151">
                  <c:v>34929</c:v>
                </c:pt>
                <c:pt idx="152">
                  <c:v>34932</c:v>
                </c:pt>
                <c:pt idx="153">
                  <c:v>34933</c:v>
                </c:pt>
                <c:pt idx="154">
                  <c:v>34934</c:v>
                </c:pt>
                <c:pt idx="155">
                  <c:v>34935</c:v>
                </c:pt>
                <c:pt idx="156">
                  <c:v>34936</c:v>
                </c:pt>
                <c:pt idx="157">
                  <c:v>34939</c:v>
                </c:pt>
                <c:pt idx="158">
                  <c:v>34940</c:v>
                </c:pt>
                <c:pt idx="159">
                  <c:v>34941</c:v>
                </c:pt>
                <c:pt idx="160">
                  <c:v>34942</c:v>
                </c:pt>
                <c:pt idx="161">
                  <c:v>34943</c:v>
                </c:pt>
                <c:pt idx="162">
                  <c:v>34946</c:v>
                </c:pt>
                <c:pt idx="163">
                  <c:v>34947</c:v>
                </c:pt>
                <c:pt idx="164">
                  <c:v>34948</c:v>
                </c:pt>
                <c:pt idx="165">
                  <c:v>34949</c:v>
                </c:pt>
                <c:pt idx="166">
                  <c:v>34950</c:v>
                </c:pt>
                <c:pt idx="167">
                  <c:v>34953</c:v>
                </c:pt>
                <c:pt idx="168">
                  <c:v>34954</c:v>
                </c:pt>
                <c:pt idx="169">
                  <c:v>34955</c:v>
                </c:pt>
                <c:pt idx="170">
                  <c:v>34956</c:v>
                </c:pt>
                <c:pt idx="171">
                  <c:v>34957</c:v>
                </c:pt>
                <c:pt idx="172">
                  <c:v>34960</c:v>
                </c:pt>
                <c:pt idx="173">
                  <c:v>34961</c:v>
                </c:pt>
                <c:pt idx="174">
                  <c:v>34962</c:v>
                </c:pt>
                <c:pt idx="175">
                  <c:v>34963</c:v>
                </c:pt>
                <c:pt idx="176">
                  <c:v>34964</c:v>
                </c:pt>
                <c:pt idx="177">
                  <c:v>34967</c:v>
                </c:pt>
                <c:pt idx="178">
                  <c:v>34968</c:v>
                </c:pt>
                <c:pt idx="179">
                  <c:v>34969</c:v>
                </c:pt>
                <c:pt idx="180">
                  <c:v>34970</c:v>
                </c:pt>
                <c:pt idx="181">
                  <c:v>34971</c:v>
                </c:pt>
                <c:pt idx="182">
                  <c:v>34974</c:v>
                </c:pt>
                <c:pt idx="183">
                  <c:v>34975</c:v>
                </c:pt>
                <c:pt idx="184">
                  <c:v>34976</c:v>
                </c:pt>
                <c:pt idx="185">
                  <c:v>34977</c:v>
                </c:pt>
                <c:pt idx="186">
                  <c:v>34978</c:v>
                </c:pt>
                <c:pt idx="187">
                  <c:v>34981</c:v>
                </c:pt>
                <c:pt idx="188">
                  <c:v>34982</c:v>
                </c:pt>
                <c:pt idx="189">
                  <c:v>34983</c:v>
                </c:pt>
                <c:pt idx="190">
                  <c:v>34984</c:v>
                </c:pt>
                <c:pt idx="191">
                  <c:v>34985</c:v>
                </c:pt>
                <c:pt idx="192">
                  <c:v>34988</c:v>
                </c:pt>
                <c:pt idx="193">
                  <c:v>34989</c:v>
                </c:pt>
                <c:pt idx="194">
                  <c:v>34990</c:v>
                </c:pt>
                <c:pt idx="195">
                  <c:v>34991</c:v>
                </c:pt>
                <c:pt idx="196">
                  <c:v>34992</c:v>
                </c:pt>
                <c:pt idx="197">
                  <c:v>34995</c:v>
                </c:pt>
                <c:pt idx="198">
                  <c:v>34996</c:v>
                </c:pt>
                <c:pt idx="199">
                  <c:v>34997</c:v>
                </c:pt>
                <c:pt idx="200">
                  <c:v>34998</c:v>
                </c:pt>
                <c:pt idx="201">
                  <c:v>34999</c:v>
                </c:pt>
                <c:pt idx="202">
                  <c:v>35002</c:v>
                </c:pt>
                <c:pt idx="203">
                  <c:v>35003</c:v>
                </c:pt>
                <c:pt idx="204">
                  <c:v>35004</c:v>
                </c:pt>
                <c:pt idx="205">
                  <c:v>35005</c:v>
                </c:pt>
                <c:pt idx="206">
                  <c:v>35006</c:v>
                </c:pt>
                <c:pt idx="207">
                  <c:v>35009</c:v>
                </c:pt>
                <c:pt idx="208">
                  <c:v>35010</c:v>
                </c:pt>
                <c:pt idx="209">
                  <c:v>35011</c:v>
                </c:pt>
                <c:pt idx="210">
                  <c:v>35012</c:v>
                </c:pt>
                <c:pt idx="211">
                  <c:v>35013</c:v>
                </c:pt>
                <c:pt idx="212">
                  <c:v>35016</c:v>
                </c:pt>
                <c:pt idx="213">
                  <c:v>35017</c:v>
                </c:pt>
                <c:pt idx="214">
                  <c:v>35018</c:v>
                </c:pt>
                <c:pt idx="215">
                  <c:v>35019</c:v>
                </c:pt>
                <c:pt idx="216">
                  <c:v>35020</c:v>
                </c:pt>
                <c:pt idx="217">
                  <c:v>35023</c:v>
                </c:pt>
                <c:pt idx="218">
                  <c:v>35024</c:v>
                </c:pt>
                <c:pt idx="219">
                  <c:v>35025</c:v>
                </c:pt>
                <c:pt idx="220">
                  <c:v>35026</c:v>
                </c:pt>
                <c:pt idx="221">
                  <c:v>35027</c:v>
                </c:pt>
                <c:pt idx="222">
                  <c:v>35030</c:v>
                </c:pt>
                <c:pt idx="223">
                  <c:v>35031</c:v>
                </c:pt>
                <c:pt idx="224">
                  <c:v>35032</c:v>
                </c:pt>
                <c:pt idx="225">
                  <c:v>35033</c:v>
                </c:pt>
                <c:pt idx="226">
                  <c:v>35034</c:v>
                </c:pt>
                <c:pt idx="227">
                  <c:v>35037</c:v>
                </c:pt>
                <c:pt idx="228">
                  <c:v>35038</c:v>
                </c:pt>
                <c:pt idx="229">
                  <c:v>35039</c:v>
                </c:pt>
                <c:pt idx="230">
                  <c:v>35040</c:v>
                </c:pt>
                <c:pt idx="231">
                  <c:v>35041</c:v>
                </c:pt>
                <c:pt idx="232">
                  <c:v>35044</c:v>
                </c:pt>
                <c:pt idx="233">
                  <c:v>35045</c:v>
                </c:pt>
                <c:pt idx="234">
                  <c:v>35046</c:v>
                </c:pt>
                <c:pt idx="235">
                  <c:v>35047</c:v>
                </c:pt>
                <c:pt idx="236">
                  <c:v>35048</c:v>
                </c:pt>
                <c:pt idx="237">
                  <c:v>35051</c:v>
                </c:pt>
                <c:pt idx="238">
                  <c:v>35052</c:v>
                </c:pt>
                <c:pt idx="239">
                  <c:v>35053</c:v>
                </c:pt>
                <c:pt idx="240">
                  <c:v>35054</c:v>
                </c:pt>
                <c:pt idx="241">
                  <c:v>35055</c:v>
                </c:pt>
                <c:pt idx="242">
                  <c:v>35058</c:v>
                </c:pt>
                <c:pt idx="243">
                  <c:v>35059</c:v>
                </c:pt>
                <c:pt idx="244">
                  <c:v>35060</c:v>
                </c:pt>
                <c:pt idx="245">
                  <c:v>35061</c:v>
                </c:pt>
                <c:pt idx="246">
                  <c:v>35062</c:v>
                </c:pt>
                <c:pt idx="247">
                  <c:v>35065</c:v>
                </c:pt>
                <c:pt idx="248">
                  <c:v>35066</c:v>
                </c:pt>
                <c:pt idx="249">
                  <c:v>35067</c:v>
                </c:pt>
                <c:pt idx="250">
                  <c:v>35068</c:v>
                </c:pt>
                <c:pt idx="251">
                  <c:v>35069</c:v>
                </c:pt>
                <c:pt idx="252">
                  <c:v>35072</c:v>
                </c:pt>
                <c:pt idx="253">
                  <c:v>35073</c:v>
                </c:pt>
                <c:pt idx="254">
                  <c:v>35074</c:v>
                </c:pt>
                <c:pt idx="255">
                  <c:v>35075</c:v>
                </c:pt>
                <c:pt idx="256">
                  <c:v>35076</c:v>
                </c:pt>
                <c:pt idx="257">
                  <c:v>35079</c:v>
                </c:pt>
                <c:pt idx="258">
                  <c:v>35080</c:v>
                </c:pt>
                <c:pt idx="259">
                  <c:v>35081</c:v>
                </c:pt>
                <c:pt idx="260">
                  <c:v>35082</c:v>
                </c:pt>
                <c:pt idx="261">
                  <c:v>35083</c:v>
                </c:pt>
                <c:pt idx="262">
                  <c:v>35086</c:v>
                </c:pt>
                <c:pt idx="263">
                  <c:v>35087</c:v>
                </c:pt>
                <c:pt idx="264">
                  <c:v>35088</c:v>
                </c:pt>
                <c:pt idx="265">
                  <c:v>35089</c:v>
                </c:pt>
                <c:pt idx="266">
                  <c:v>35090</c:v>
                </c:pt>
                <c:pt idx="267">
                  <c:v>35093</c:v>
                </c:pt>
                <c:pt idx="268">
                  <c:v>35094</c:v>
                </c:pt>
                <c:pt idx="269">
                  <c:v>35095</c:v>
                </c:pt>
                <c:pt idx="270">
                  <c:v>35096</c:v>
                </c:pt>
                <c:pt idx="271">
                  <c:v>35097</c:v>
                </c:pt>
                <c:pt idx="272">
                  <c:v>35100</c:v>
                </c:pt>
                <c:pt idx="273">
                  <c:v>35101</c:v>
                </c:pt>
                <c:pt idx="274">
                  <c:v>35102</c:v>
                </c:pt>
                <c:pt idx="275">
                  <c:v>35103</c:v>
                </c:pt>
                <c:pt idx="276">
                  <c:v>35104</c:v>
                </c:pt>
                <c:pt idx="277">
                  <c:v>35107</c:v>
                </c:pt>
                <c:pt idx="278">
                  <c:v>35108</c:v>
                </c:pt>
                <c:pt idx="279">
                  <c:v>35109</c:v>
                </c:pt>
                <c:pt idx="280">
                  <c:v>35110</c:v>
                </c:pt>
                <c:pt idx="281">
                  <c:v>35111</c:v>
                </c:pt>
                <c:pt idx="282">
                  <c:v>35114</c:v>
                </c:pt>
                <c:pt idx="283">
                  <c:v>35115</c:v>
                </c:pt>
                <c:pt idx="284">
                  <c:v>35116</c:v>
                </c:pt>
                <c:pt idx="285">
                  <c:v>35117</c:v>
                </c:pt>
                <c:pt idx="286">
                  <c:v>35118</c:v>
                </c:pt>
                <c:pt idx="287">
                  <c:v>35121</c:v>
                </c:pt>
                <c:pt idx="288">
                  <c:v>35122</c:v>
                </c:pt>
                <c:pt idx="289">
                  <c:v>35123</c:v>
                </c:pt>
                <c:pt idx="290">
                  <c:v>35124</c:v>
                </c:pt>
                <c:pt idx="291">
                  <c:v>35125</c:v>
                </c:pt>
                <c:pt idx="292">
                  <c:v>35128</c:v>
                </c:pt>
                <c:pt idx="293">
                  <c:v>35129</c:v>
                </c:pt>
                <c:pt idx="294">
                  <c:v>35130</c:v>
                </c:pt>
                <c:pt idx="295">
                  <c:v>35131</c:v>
                </c:pt>
                <c:pt idx="296">
                  <c:v>35132</c:v>
                </c:pt>
                <c:pt idx="297">
                  <c:v>35135</c:v>
                </c:pt>
                <c:pt idx="298">
                  <c:v>35136</c:v>
                </c:pt>
                <c:pt idx="299">
                  <c:v>35137</c:v>
                </c:pt>
                <c:pt idx="300">
                  <c:v>35138</c:v>
                </c:pt>
                <c:pt idx="301">
                  <c:v>35139</c:v>
                </c:pt>
                <c:pt idx="302">
                  <c:v>35142</c:v>
                </c:pt>
                <c:pt idx="303">
                  <c:v>35143</c:v>
                </c:pt>
                <c:pt idx="304">
                  <c:v>35144</c:v>
                </c:pt>
                <c:pt idx="305">
                  <c:v>35145</c:v>
                </c:pt>
                <c:pt idx="306">
                  <c:v>35146</c:v>
                </c:pt>
                <c:pt idx="307">
                  <c:v>35149</c:v>
                </c:pt>
                <c:pt idx="308">
                  <c:v>35150</c:v>
                </c:pt>
                <c:pt idx="309">
                  <c:v>35151</c:v>
                </c:pt>
                <c:pt idx="310">
                  <c:v>35152</c:v>
                </c:pt>
                <c:pt idx="311">
                  <c:v>35153</c:v>
                </c:pt>
                <c:pt idx="312">
                  <c:v>35156</c:v>
                </c:pt>
                <c:pt idx="313">
                  <c:v>35157</c:v>
                </c:pt>
                <c:pt idx="314">
                  <c:v>35158</c:v>
                </c:pt>
                <c:pt idx="315">
                  <c:v>35159</c:v>
                </c:pt>
                <c:pt idx="316">
                  <c:v>35160</c:v>
                </c:pt>
                <c:pt idx="317">
                  <c:v>35163</c:v>
                </c:pt>
                <c:pt idx="318">
                  <c:v>35164</c:v>
                </c:pt>
                <c:pt idx="319">
                  <c:v>35165</c:v>
                </c:pt>
                <c:pt idx="320">
                  <c:v>35166</c:v>
                </c:pt>
                <c:pt idx="321">
                  <c:v>35167</c:v>
                </c:pt>
                <c:pt idx="322">
                  <c:v>35170</c:v>
                </c:pt>
                <c:pt idx="323">
                  <c:v>35171</c:v>
                </c:pt>
                <c:pt idx="324">
                  <c:v>35172</c:v>
                </c:pt>
                <c:pt idx="325">
                  <c:v>35173</c:v>
                </c:pt>
                <c:pt idx="326">
                  <c:v>35174</c:v>
                </c:pt>
                <c:pt idx="327">
                  <c:v>35177</c:v>
                </c:pt>
                <c:pt idx="328">
                  <c:v>35178</c:v>
                </c:pt>
                <c:pt idx="329">
                  <c:v>35179</c:v>
                </c:pt>
                <c:pt idx="330">
                  <c:v>35180</c:v>
                </c:pt>
                <c:pt idx="331">
                  <c:v>35181</c:v>
                </c:pt>
                <c:pt idx="332">
                  <c:v>35184</c:v>
                </c:pt>
                <c:pt idx="333">
                  <c:v>35185</c:v>
                </c:pt>
                <c:pt idx="334">
                  <c:v>35186</c:v>
                </c:pt>
                <c:pt idx="335">
                  <c:v>35187</c:v>
                </c:pt>
                <c:pt idx="336">
                  <c:v>35188</c:v>
                </c:pt>
                <c:pt idx="337">
                  <c:v>35191</c:v>
                </c:pt>
                <c:pt idx="338">
                  <c:v>35192</c:v>
                </c:pt>
                <c:pt idx="339">
                  <c:v>35193</c:v>
                </c:pt>
                <c:pt idx="340">
                  <c:v>35194</c:v>
                </c:pt>
                <c:pt idx="341">
                  <c:v>35195</c:v>
                </c:pt>
                <c:pt idx="342">
                  <c:v>35198</c:v>
                </c:pt>
                <c:pt idx="343">
                  <c:v>35199</c:v>
                </c:pt>
                <c:pt idx="344">
                  <c:v>35200</c:v>
                </c:pt>
                <c:pt idx="345">
                  <c:v>35201</c:v>
                </c:pt>
                <c:pt idx="346">
                  <c:v>35202</c:v>
                </c:pt>
                <c:pt idx="347">
                  <c:v>35205</c:v>
                </c:pt>
                <c:pt idx="348">
                  <c:v>35206</c:v>
                </c:pt>
                <c:pt idx="349">
                  <c:v>35207</c:v>
                </c:pt>
                <c:pt idx="350">
                  <c:v>35208</c:v>
                </c:pt>
                <c:pt idx="351">
                  <c:v>35209</c:v>
                </c:pt>
                <c:pt idx="352">
                  <c:v>35212</c:v>
                </c:pt>
                <c:pt idx="353">
                  <c:v>35213</c:v>
                </c:pt>
                <c:pt idx="354">
                  <c:v>35214</c:v>
                </c:pt>
                <c:pt idx="355">
                  <c:v>35215</c:v>
                </c:pt>
                <c:pt idx="356">
                  <c:v>35216</c:v>
                </c:pt>
                <c:pt idx="357">
                  <c:v>35219</c:v>
                </c:pt>
                <c:pt idx="358">
                  <c:v>35220</c:v>
                </c:pt>
                <c:pt idx="359">
                  <c:v>35221</c:v>
                </c:pt>
                <c:pt idx="360">
                  <c:v>35222</c:v>
                </c:pt>
                <c:pt idx="361">
                  <c:v>35223</c:v>
                </c:pt>
                <c:pt idx="362">
                  <c:v>35226</c:v>
                </c:pt>
                <c:pt idx="363">
                  <c:v>35227</c:v>
                </c:pt>
                <c:pt idx="364">
                  <c:v>35228</c:v>
                </c:pt>
                <c:pt idx="365">
                  <c:v>35229</c:v>
                </c:pt>
                <c:pt idx="366">
                  <c:v>35230</c:v>
                </c:pt>
                <c:pt idx="367">
                  <c:v>35233</c:v>
                </c:pt>
                <c:pt idx="368">
                  <c:v>35234</c:v>
                </c:pt>
                <c:pt idx="369">
                  <c:v>35235</c:v>
                </c:pt>
                <c:pt idx="370">
                  <c:v>35236</c:v>
                </c:pt>
                <c:pt idx="371">
                  <c:v>35237</c:v>
                </c:pt>
                <c:pt idx="372">
                  <c:v>35240</c:v>
                </c:pt>
                <c:pt idx="373">
                  <c:v>35241</c:v>
                </c:pt>
                <c:pt idx="374">
                  <c:v>35242</c:v>
                </c:pt>
                <c:pt idx="375">
                  <c:v>35243</c:v>
                </c:pt>
                <c:pt idx="376">
                  <c:v>35244</c:v>
                </c:pt>
                <c:pt idx="377">
                  <c:v>35247</c:v>
                </c:pt>
                <c:pt idx="378">
                  <c:v>35248</c:v>
                </c:pt>
                <c:pt idx="379">
                  <c:v>35249</c:v>
                </c:pt>
                <c:pt idx="380">
                  <c:v>35250</c:v>
                </c:pt>
                <c:pt idx="381">
                  <c:v>35251</c:v>
                </c:pt>
                <c:pt idx="382">
                  <c:v>35254</c:v>
                </c:pt>
                <c:pt idx="383">
                  <c:v>35255</c:v>
                </c:pt>
                <c:pt idx="384">
                  <c:v>35256</c:v>
                </c:pt>
                <c:pt idx="385">
                  <c:v>35257</c:v>
                </c:pt>
                <c:pt idx="386">
                  <c:v>35258</c:v>
                </c:pt>
                <c:pt idx="387">
                  <c:v>35261</c:v>
                </c:pt>
                <c:pt idx="388">
                  <c:v>35262</c:v>
                </c:pt>
                <c:pt idx="389">
                  <c:v>35263</c:v>
                </c:pt>
                <c:pt idx="390">
                  <c:v>35264</c:v>
                </c:pt>
                <c:pt idx="391">
                  <c:v>35265</c:v>
                </c:pt>
                <c:pt idx="392">
                  <c:v>35268</c:v>
                </c:pt>
                <c:pt idx="393">
                  <c:v>35269</c:v>
                </c:pt>
                <c:pt idx="394">
                  <c:v>35270</c:v>
                </c:pt>
                <c:pt idx="395">
                  <c:v>35271</c:v>
                </c:pt>
                <c:pt idx="396">
                  <c:v>35272</c:v>
                </c:pt>
                <c:pt idx="397">
                  <c:v>35275</c:v>
                </c:pt>
                <c:pt idx="398">
                  <c:v>35276</c:v>
                </c:pt>
                <c:pt idx="399">
                  <c:v>35277</c:v>
                </c:pt>
                <c:pt idx="400">
                  <c:v>35278</c:v>
                </c:pt>
                <c:pt idx="401">
                  <c:v>35279</c:v>
                </c:pt>
                <c:pt idx="402">
                  <c:v>35282</c:v>
                </c:pt>
                <c:pt idx="403">
                  <c:v>35283</c:v>
                </c:pt>
                <c:pt idx="404">
                  <c:v>35284</c:v>
                </c:pt>
                <c:pt idx="405">
                  <c:v>35285</c:v>
                </c:pt>
                <c:pt idx="406">
                  <c:v>35286</c:v>
                </c:pt>
                <c:pt idx="407">
                  <c:v>35289</c:v>
                </c:pt>
                <c:pt idx="408">
                  <c:v>35290</c:v>
                </c:pt>
                <c:pt idx="409">
                  <c:v>35291</c:v>
                </c:pt>
                <c:pt idx="410">
                  <c:v>35292</c:v>
                </c:pt>
                <c:pt idx="411">
                  <c:v>35293</c:v>
                </c:pt>
                <c:pt idx="412">
                  <c:v>35296</c:v>
                </c:pt>
                <c:pt idx="413">
                  <c:v>35297</c:v>
                </c:pt>
                <c:pt idx="414">
                  <c:v>35298</c:v>
                </c:pt>
                <c:pt idx="415">
                  <c:v>35299</c:v>
                </c:pt>
                <c:pt idx="416">
                  <c:v>35300</c:v>
                </c:pt>
                <c:pt idx="417">
                  <c:v>35303</c:v>
                </c:pt>
                <c:pt idx="418">
                  <c:v>35304</c:v>
                </c:pt>
                <c:pt idx="419">
                  <c:v>35305</c:v>
                </c:pt>
                <c:pt idx="420">
                  <c:v>35306</c:v>
                </c:pt>
                <c:pt idx="421">
                  <c:v>35307</c:v>
                </c:pt>
                <c:pt idx="422">
                  <c:v>35310</c:v>
                </c:pt>
                <c:pt idx="423">
                  <c:v>35311</c:v>
                </c:pt>
                <c:pt idx="424">
                  <c:v>35312</c:v>
                </c:pt>
                <c:pt idx="425">
                  <c:v>35313</c:v>
                </c:pt>
                <c:pt idx="426">
                  <c:v>35314</c:v>
                </c:pt>
                <c:pt idx="427">
                  <c:v>35317</c:v>
                </c:pt>
                <c:pt idx="428">
                  <c:v>35318</c:v>
                </c:pt>
                <c:pt idx="429">
                  <c:v>35319</c:v>
                </c:pt>
                <c:pt idx="430">
                  <c:v>35320</c:v>
                </c:pt>
                <c:pt idx="431">
                  <c:v>35321</c:v>
                </c:pt>
                <c:pt idx="432">
                  <c:v>35324</c:v>
                </c:pt>
                <c:pt idx="433">
                  <c:v>35325</c:v>
                </c:pt>
                <c:pt idx="434">
                  <c:v>35326</c:v>
                </c:pt>
                <c:pt idx="435">
                  <c:v>35327</c:v>
                </c:pt>
                <c:pt idx="436">
                  <c:v>35328</c:v>
                </c:pt>
                <c:pt idx="437">
                  <c:v>35331</c:v>
                </c:pt>
                <c:pt idx="438">
                  <c:v>35332</c:v>
                </c:pt>
                <c:pt idx="439">
                  <c:v>35333</c:v>
                </c:pt>
                <c:pt idx="440">
                  <c:v>35334</c:v>
                </c:pt>
                <c:pt idx="441">
                  <c:v>35335</c:v>
                </c:pt>
                <c:pt idx="442">
                  <c:v>35338</c:v>
                </c:pt>
                <c:pt idx="443">
                  <c:v>35339</c:v>
                </c:pt>
                <c:pt idx="444">
                  <c:v>35340</c:v>
                </c:pt>
                <c:pt idx="445">
                  <c:v>35341</c:v>
                </c:pt>
                <c:pt idx="446">
                  <c:v>35342</c:v>
                </c:pt>
                <c:pt idx="447">
                  <c:v>35345</c:v>
                </c:pt>
                <c:pt idx="448">
                  <c:v>35346</c:v>
                </c:pt>
                <c:pt idx="449">
                  <c:v>35347</c:v>
                </c:pt>
                <c:pt idx="450">
                  <c:v>35348</c:v>
                </c:pt>
                <c:pt idx="451">
                  <c:v>35349</c:v>
                </c:pt>
                <c:pt idx="452">
                  <c:v>35352</c:v>
                </c:pt>
                <c:pt idx="453">
                  <c:v>35353</c:v>
                </c:pt>
                <c:pt idx="454">
                  <c:v>35354</c:v>
                </c:pt>
                <c:pt idx="455">
                  <c:v>35355</c:v>
                </c:pt>
                <c:pt idx="456">
                  <c:v>35356</c:v>
                </c:pt>
                <c:pt idx="457">
                  <c:v>35359</c:v>
                </c:pt>
                <c:pt idx="458">
                  <c:v>35360</c:v>
                </c:pt>
                <c:pt idx="459">
                  <c:v>35361</c:v>
                </c:pt>
                <c:pt idx="460">
                  <c:v>35362</c:v>
                </c:pt>
                <c:pt idx="461">
                  <c:v>35363</c:v>
                </c:pt>
                <c:pt idx="462">
                  <c:v>35366</c:v>
                </c:pt>
                <c:pt idx="463">
                  <c:v>35367</c:v>
                </c:pt>
                <c:pt idx="464">
                  <c:v>35368</c:v>
                </c:pt>
                <c:pt idx="465">
                  <c:v>35369</c:v>
                </c:pt>
                <c:pt idx="466">
                  <c:v>35370</c:v>
                </c:pt>
                <c:pt idx="467">
                  <c:v>35373</c:v>
                </c:pt>
                <c:pt idx="468">
                  <c:v>35374</c:v>
                </c:pt>
                <c:pt idx="469">
                  <c:v>35375</c:v>
                </c:pt>
                <c:pt idx="470">
                  <c:v>35376</c:v>
                </c:pt>
                <c:pt idx="471">
                  <c:v>35377</c:v>
                </c:pt>
                <c:pt idx="472">
                  <c:v>35380</c:v>
                </c:pt>
                <c:pt idx="473">
                  <c:v>35381</c:v>
                </c:pt>
                <c:pt idx="474">
                  <c:v>35382</c:v>
                </c:pt>
                <c:pt idx="475">
                  <c:v>35383</c:v>
                </c:pt>
                <c:pt idx="476">
                  <c:v>35384</c:v>
                </c:pt>
                <c:pt idx="477">
                  <c:v>35387</c:v>
                </c:pt>
                <c:pt idx="478">
                  <c:v>35388</c:v>
                </c:pt>
                <c:pt idx="479">
                  <c:v>35389</c:v>
                </c:pt>
                <c:pt idx="480">
                  <c:v>35390</c:v>
                </c:pt>
                <c:pt idx="481">
                  <c:v>35391</c:v>
                </c:pt>
                <c:pt idx="482">
                  <c:v>35394</c:v>
                </c:pt>
                <c:pt idx="483">
                  <c:v>35395</c:v>
                </c:pt>
                <c:pt idx="484">
                  <c:v>35396</c:v>
                </c:pt>
                <c:pt idx="485">
                  <c:v>35397</c:v>
                </c:pt>
                <c:pt idx="486">
                  <c:v>35398</c:v>
                </c:pt>
                <c:pt idx="487">
                  <c:v>35401</c:v>
                </c:pt>
                <c:pt idx="488">
                  <c:v>35402</c:v>
                </c:pt>
                <c:pt idx="489">
                  <c:v>35403</c:v>
                </c:pt>
                <c:pt idx="490">
                  <c:v>35404</c:v>
                </c:pt>
                <c:pt idx="491">
                  <c:v>35405</c:v>
                </c:pt>
                <c:pt idx="492">
                  <c:v>35408</c:v>
                </c:pt>
                <c:pt idx="493">
                  <c:v>35409</c:v>
                </c:pt>
                <c:pt idx="494">
                  <c:v>35410</c:v>
                </c:pt>
                <c:pt idx="495">
                  <c:v>35411</c:v>
                </c:pt>
                <c:pt idx="496">
                  <c:v>35412</c:v>
                </c:pt>
                <c:pt idx="497">
                  <c:v>35415</c:v>
                </c:pt>
                <c:pt idx="498">
                  <c:v>35416</c:v>
                </c:pt>
                <c:pt idx="499">
                  <c:v>35417</c:v>
                </c:pt>
                <c:pt idx="500">
                  <c:v>35418</c:v>
                </c:pt>
                <c:pt idx="501">
                  <c:v>35419</c:v>
                </c:pt>
                <c:pt idx="502">
                  <c:v>35422</c:v>
                </c:pt>
                <c:pt idx="503">
                  <c:v>35423</c:v>
                </c:pt>
                <c:pt idx="504">
                  <c:v>35424</c:v>
                </c:pt>
                <c:pt idx="505">
                  <c:v>35425</c:v>
                </c:pt>
                <c:pt idx="506">
                  <c:v>35426</c:v>
                </c:pt>
                <c:pt idx="507">
                  <c:v>35429</c:v>
                </c:pt>
                <c:pt idx="508">
                  <c:v>35430</c:v>
                </c:pt>
                <c:pt idx="509">
                  <c:v>35431</c:v>
                </c:pt>
                <c:pt idx="510">
                  <c:v>35432</c:v>
                </c:pt>
                <c:pt idx="511">
                  <c:v>35433</c:v>
                </c:pt>
                <c:pt idx="512">
                  <c:v>35436</c:v>
                </c:pt>
                <c:pt idx="513">
                  <c:v>35437</c:v>
                </c:pt>
                <c:pt idx="514">
                  <c:v>35438</c:v>
                </c:pt>
                <c:pt idx="515">
                  <c:v>35439</c:v>
                </c:pt>
                <c:pt idx="516">
                  <c:v>35440</c:v>
                </c:pt>
                <c:pt idx="517">
                  <c:v>35443</c:v>
                </c:pt>
                <c:pt idx="518">
                  <c:v>35444</c:v>
                </c:pt>
                <c:pt idx="519">
                  <c:v>35445</c:v>
                </c:pt>
                <c:pt idx="520">
                  <c:v>35446</c:v>
                </c:pt>
                <c:pt idx="521">
                  <c:v>35447</c:v>
                </c:pt>
                <c:pt idx="522">
                  <c:v>35450</c:v>
                </c:pt>
                <c:pt idx="523">
                  <c:v>35451</c:v>
                </c:pt>
                <c:pt idx="524">
                  <c:v>35452</c:v>
                </c:pt>
                <c:pt idx="525">
                  <c:v>35453</c:v>
                </c:pt>
                <c:pt idx="526">
                  <c:v>35454</c:v>
                </c:pt>
                <c:pt idx="527">
                  <c:v>35457</c:v>
                </c:pt>
                <c:pt idx="528">
                  <c:v>35458</c:v>
                </c:pt>
                <c:pt idx="529">
                  <c:v>35459</c:v>
                </c:pt>
                <c:pt idx="530">
                  <c:v>35460</c:v>
                </c:pt>
                <c:pt idx="531">
                  <c:v>35461</c:v>
                </c:pt>
                <c:pt idx="532">
                  <c:v>35464</c:v>
                </c:pt>
                <c:pt idx="533">
                  <c:v>35465</c:v>
                </c:pt>
                <c:pt idx="534">
                  <c:v>35466</c:v>
                </c:pt>
                <c:pt idx="535">
                  <c:v>35467</c:v>
                </c:pt>
                <c:pt idx="536">
                  <c:v>35468</c:v>
                </c:pt>
                <c:pt idx="537">
                  <c:v>35471</c:v>
                </c:pt>
                <c:pt idx="538">
                  <c:v>35472</c:v>
                </c:pt>
                <c:pt idx="539">
                  <c:v>35473</c:v>
                </c:pt>
                <c:pt idx="540">
                  <c:v>35474</c:v>
                </c:pt>
                <c:pt idx="541">
                  <c:v>35475</c:v>
                </c:pt>
                <c:pt idx="542">
                  <c:v>35478</c:v>
                </c:pt>
                <c:pt idx="543">
                  <c:v>35479</c:v>
                </c:pt>
                <c:pt idx="544">
                  <c:v>35480</c:v>
                </c:pt>
                <c:pt idx="545">
                  <c:v>35481</c:v>
                </c:pt>
                <c:pt idx="546">
                  <c:v>35482</c:v>
                </c:pt>
                <c:pt idx="547">
                  <c:v>35485</c:v>
                </c:pt>
                <c:pt idx="548">
                  <c:v>35486</c:v>
                </c:pt>
                <c:pt idx="549">
                  <c:v>35487</c:v>
                </c:pt>
                <c:pt idx="550">
                  <c:v>35488</c:v>
                </c:pt>
                <c:pt idx="551">
                  <c:v>35489</c:v>
                </c:pt>
                <c:pt idx="552">
                  <c:v>35492</c:v>
                </c:pt>
                <c:pt idx="553">
                  <c:v>35493</c:v>
                </c:pt>
                <c:pt idx="554">
                  <c:v>35494</c:v>
                </c:pt>
                <c:pt idx="555">
                  <c:v>35495</c:v>
                </c:pt>
                <c:pt idx="556">
                  <c:v>35496</c:v>
                </c:pt>
                <c:pt idx="557">
                  <c:v>35499</c:v>
                </c:pt>
                <c:pt idx="558">
                  <c:v>35500</c:v>
                </c:pt>
                <c:pt idx="559">
                  <c:v>35501</c:v>
                </c:pt>
                <c:pt idx="560">
                  <c:v>35502</c:v>
                </c:pt>
                <c:pt idx="561">
                  <c:v>35503</c:v>
                </c:pt>
                <c:pt idx="562">
                  <c:v>35506</c:v>
                </c:pt>
                <c:pt idx="563">
                  <c:v>35507</c:v>
                </c:pt>
                <c:pt idx="564">
                  <c:v>35508</c:v>
                </c:pt>
                <c:pt idx="565">
                  <c:v>35509</c:v>
                </c:pt>
                <c:pt idx="566">
                  <c:v>35510</c:v>
                </c:pt>
                <c:pt idx="567">
                  <c:v>35513</c:v>
                </c:pt>
                <c:pt idx="568">
                  <c:v>35514</c:v>
                </c:pt>
                <c:pt idx="569">
                  <c:v>35515</c:v>
                </c:pt>
                <c:pt idx="570">
                  <c:v>35516</c:v>
                </c:pt>
                <c:pt idx="571">
                  <c:v>35517</c:v>
                </c:pt>
                <c:pt idx="572">
                  <c:v>35520</c:v>
                </c:pt>
                <c:pt idx="573">
                  <c:v>35521</c:v>
                </c:pt>
                <c:pt idx="574">
                  <c:v>35522</c:v>
                </c:pt>
                <c:pt idx="575">
                  <c:v>35523</c:v>
                </c:pt>
                <c:pt idx="576">
                  <c:v>35524</c:v>
                </c:pt>
                <c:pt idx="577">
                  <c:v>35527</c:v>
                </c:pt>
                <c:pt idx="578">
                  <c:v>35528</c:v>
                </c:pt>
                <c:pt idx="579">
                  <c:v>35529</c:v>
                </c:pt>
                <c:pt idx="580">
                  <c:v>35530</c:v>
                </c:pt>
                <c:pt idx="581">
                  <c:v>35531</c:v>
                </c:pt>
                <c:pt idx="582">
                  <c:v>35534</c:v>
                </c:pt>
                <c:pt idx="583">
                  <c:v>35535</c:v>
                </c:pt>
                <c:pt idx="584">
                  <c:v>35536</c:v>
                </c:pt>
                <c:pt idx="585">
                  <c:v>35537</c:v>
                </c:pt>
                <c:pt idx="586">
                  <c:v>35538</c:v>
                </c:pt>
                <c:pt idx="587">
                  <c:v>35541</c:v>
                </c:pt>
                <c:pt idx="588">
                  <c:v>35542</c:v>
                </c:pt>
                <c:pt idx="589">
                  <c:v>35543</c:v>
                </c:pt>
                <c:pt idx="590">
                  <c:v>35544</c:v>
                </c:pt>
                <c:pt idx="591">
                  <c:v>35545</c:v>
                </c:pt>
                <c:pt idx="592">
                  <c:v>35548</c:v>
                </c:pt>
                <c:pt idx="593">
                  <c:v>35549</c:v>
                </c:pt>
                <c:pt idx="594">
                  <c:v>35550</c:v>
                </c:pt>
                <c:pt idx="595">
                  <c:v>35551</c:v>
                </c:pt>
                <c:pt idx="596">
                  <c:v>35552</c:v>
                </c:pt>
                <c:pt idx="597">
                  <c:v>35555</c:v>
                </c:pt>
                <c:pt idx="598">
                  <c:v>35556</c:v>
                </c:pt>
                <c:pt idx="599">
                  <c:v>35557</c:v>
                </c:pt>
                <c:pt idx="600">
                  <c:v>35558</c:v>
                </c:pt>
                <c:pt idx="601">
                  <c:v>35559</c:v>
                </c:pt>
                <c:pt idx="602">
                  <c:v>35562</c:v>
                </c:pt>
                <c:pt idx="603">
                  <c:v>35563</c:v>
                </c:pt>
                <c:pt idx="604">
                  <c:v>35564</c:v>
                </c:pt>
                <c:pt idx="605">
                  <c:v>35565</c:v>
                </c:pt>
                <c:pt idx="606">
                  <c:v>35566</c:v>
                </c:pt>
                <c:pt idx="607">
                  <c:v>35569</c:v>
                </c:pt>
                <c:pt idx="608">
                  <c:v>35570</c:v>
                </c:pt>
                <c:pt idx="609">
                  <c:v>35571</c:v>
                </c:pt>
                <c:pt idx="610">
                  <c:v>35572</c:v>
                </c:pt>
                <c:pt idx="611">
                  <c:v>35573</c:v>
                </c:pt>
                <c:pt idx="612">
                  <c:v>35576</c:v>
                </c:pt>
                <c:pt idx="613">
                  <c:v>35577</c:v>
                </c:pt>
                <c:pt idx="614">
                  <c:v>35578</c:v>
                </c:pt>
                <c:pt idx="615">
                  <c:v>35579</c:v>
                </c:pt>
                <c:pt idx="616">
                  <c:v>35580</c:v>
                </c:pt>
                <c:pt idx="617">
                  <c:v>35583</c:v>
                </c:pt>
                <c:pt idx="618">
                  <c:v>35584</c:v>
                </c:pt>
                <c:pt idx="619">
                  <c:v>35585</c:v>
                </c:pt>
                <c:pt idx="620">
                  <c:v>35586</c:v>
                </c:pt>
                <c:pt idx="621">
                  <c:v>35587</c:v>
                </c:pt>
                <c:pt idx="622">
                  <c:v>35590</c:v>
                </c:pt>
                <c:pt idx="623">
                  <c:v>35591</c:v>
                </c:pt>
                <c:pt idx="624">
                  <c:v>35592</c:v>
                </c:pt>
                <c:pt idx="625">
                  <c:v>35593</c:v>
                </c:pt>
                <c:pt idx="626">
                  <c:v>35594</c:v>
                </c:pt>
                <c:pt idx="627">
                  <c:v>35597</c:v>
                </c:pt>
                <c:pt idx="628">
                  <c:v>35598</c:v>
                </c:pt>
                <c:pt idx="629">
                  <c:v>35599</c:v>
                </c:pt>
                <c:pt idx="630">
                  <c:v>35600</c:v>
                </c:pt>
                <c:pt idx="631">
                  <c:v>35601</c:v>
                </c:pt>
                <c:pt idx="632">
                  <c:v>35604</c:v>
                </c:pt>
                <c:pt idx="633">
                  <c:v>35605</c:v>
                </c:pt>
                <c:pt idx="634">
                  <c:v>35606</c:v>
                </c:pt>
                <c:pt idx="635">
                  <c:v>35607</c:v>
                </c:pt>
                <c:pt idx="636">
                  <c:v>35608</c:v>
                </c:pt>
                <c:pt idx="637">
                  <c:v>35611</c:v>
                </c:pt>
                <c:pt idx="638">
                  <c:v>35612</c:v>
                </c:pt>
                <c:pt idx="639">
                  <c:v>35613</c:v>
                </c:pt>
                <c:pt idx="640">
                  <c:v>35614</c:v>
                </c:pt>
                <c:pt idx="641">
                  <c:v>35615</c:v>
                </c:pt>
                <c:pt idx="642">
                  <c:v>35618</c:v>
                </c:pt>
                <c:pt idx="643">
                  <c:v>35619</c:v>
                </c:pt>
                <c:pt idx="644">
                  <c:v>35620</c:v>
                </c:pt>
                <c:pt idx="645">
                  <c:v>35621</c:v>
                </c:pt>
                <c:pt idx="646">
                  <c:v>35622</c:v>
                </c:pt>
                <c:pt idx="647">
                  <c:v>35625</c:v>
                </c:pt>
                <c:pt idx="648">
                  <c:v>35626</c:v>
                </c:pt>
                <c:pt idx="649">
                  <c:v>35627</c:v>
                </c:pt>
                <c:pt idx="650">
                  <c:v>35628</c:v>
                </c:pt>
                <c:pt idx="651">
                  <c:v>35629</c:v>
                </c:pt>
                <c:pt idx="652">
                  <c:v>35632</c:v>
                </c:pt>
                <c:pt idx="653">
                  <c:v>35633</c:v>
                </c:pt>
                <c:pt idx="654">
                  <c:v>35634</c:v>
                </c:pt>
                <c:pt idx="655">
                  <c:v>35635</c:v>
                </c:pt>
                <c:pt idx="656">
                  <c:v>35636</c:v>
                </c:pt>
                <c:pt idx="657">
                  <c:v>35639</c:v>
                </c:pt>
                <c:pt idx="658">
                  <c:v>35640</c:v>
                </c:pt>
                <c:pt idx="659">
                  <c:v>35641</c:v>
                </c:pt>
                <c:pt idx="660">
                  <c:v>35642</c:v>
                </c:pt>
                <c:pt idx="661">
                  <c:v>35643</c:v>
                </c:pt>
                <c:pt idx="662">
                  <c:v>35646</c:v>
                </c:pt>
                <c:pt idx="663">
                  <c:v>35647</c:v>
                </c:pt>
                <c:pt idx="664">
                  <c:v>35648</c:v>
                </c:pt>
                <c:pt idx="665">
                  <c:v>35649</c:v>
                </c:pt>
                <c:pt idx="666">
                  <c:v>35650</c:v>
                </c:pt>
                <c:pt idx="667">
                  <c:v>35653</c:v>
                </c:pt>
                <c:pt idx="668">
                  <c:v>35654</c:v>
                </c:pt>
                <c:pt idx="669">
                  <c:v>35655</c:v>
                </c:pt>
                <c:pt idx="670">
                  <c:v>35656</c:v>
                </c:pt>
                <c:pt idx="671">
                  <c:v>35657</c:v>
                </c:pt>
                <c:pt idx="672">
                  <c:v>35660</c:v>
                </c:pt>
                <c:pt idx="673">
                  <c:v>35661</c:v>
                </c:pt>
                <c:pt idx="674">
                  <c:v>35662</c:v>
                </c:pt>
                <c:pt idx="675">
                  <c:v>35663</c:v>
                </c:pt>
                <c:pt idx="676">
                  <c:v>35664</c:v>
                </c:pt>
                <c:pt idx="677">
                  <c:v>35667</c:v>
                </c:pt>
                <c:pt idx="678">
                  <c:v>35668</c:v>
                </c:pt>
                <c:pt idx="679">
                  <c:v>35669</c:v>
                </c:pt>
                <c:pt idx="680">
                  <c:v>35670</c:v>
                </c:pt>
                <c:pt idx="681">
                  <c:v>35671</c:v>
                </c:pt>
                <c:pt idx="682">
                  <c:v>35674</c:v>
                </c:pt>
                <c:pt idx="683">
                  <c:v>35675</c:v>
                </c:pt>
                <c:pt idx="684">
                  <c:v>35676</c:v>
                </c:pt>
                <c:pt idx="685">
                  <c:v>35677</c:v>
                </c:pt>
                <c:pt idx="686">
                  <c:v>35678</c:v>
                </c:pt>
                <c:pt idx="687">
                  <c:v>35681</c:v>
                </c:pt>
                <c:pt idx="688">
                  <c:v>35682</c:v>
                </c:pt>
                <c:pt idx="689">
                  <c:v>35683</c:v>
                </c:pt>
                <c:pt idx="690">
                  <c:v>35684</c:v>
                </c:pt>
                <c:pt idx="691">
                  <c:v>35685</c:v>
                </c:pt>
                <c:pt idx="692">
                  <c:v>35688</c:v>
                </c:pt>
                <c:pt idx="693">
                  <c:v>35689</c:v>
                </c:pt>
                <c:pt idx="694">
                  <c:v>35690</c:v>
                </c:pt>
                <c:pt idx="695">
                  <c:v>35691</c:v>
                </c:pt>
                <c:pt idx="696">
                  <c:v>35692</c:v>
                </c:pt>
                <c:pt idx="697">
                  <c:v>35695</c:v>
                </c:pt>
                <c:pt idx="698">
                  <c:v>35696</c:v>
                </c:pt>
                <c:pt idx="699">
                  <c:v>35697</c:v>
                </c:pt>
                <c:pt idx="700">
                  <c:v>35698</c:v>
                </c:pt>
                <c:pt idx="701">
                  <c:v>35699</c:v>
                </c:pt>
                <c:pt idx="702">
                  <c:v>35702</c:v>
                </c:pt>
                <c:pt idx="703">
                  <c:v>35703</c:v>
                </c:pt>
                <c:pt idx="704">
                  <c:v>35704</c:v>
                </c:pt>
                <c:pt idx="705">
                  <c:v>35705</c:v>
                </c:pt>
                <c:pt idx="706">
                  <c:v>35706</c:v>
                </c:pt>
                <c:pt idx="707">
                  <c:v>35709</c:v>
                </c:pt>
                <c:pt idx="708">
                  <c:v>35710</c:v>
                </c:pt>
                <c:pt idx="709">
                  <c:v>35711</c:v>
                </c:pt>
                <c:pt idx="710">
                  <c:v>35712</c:v>
                </c:pt>
                <c:pt idx="711">
                  <c:v>35713</c:v>
                </c:pt>
                <c:pt idx="712">
                  <c:v>35716</c:v>
                </c:pt>
                <c:pt idx="713">
                  <c:v>35717</c:v>
                </c:pt>
                <c:pt idx="714">
                  <c:v>35718</c:v>
                </c:pt>
                <c:pt idx="715">
                  <c:v>35719</c:v>
                </c:pt>
                <c:pt idx="716">
                  <c:v>35720</c:v>
                </c:pt>
                <c:pt idx="717">
                  <c:v>35723</c:v>
                </c:pt>
                <c:pt idx="718">
                  <c:v>35724</c:v>
                </c:pt>
                <c:pt idx="719">
                  <c:v>35725</c:v>
                </c:pt>
                <c:pt idx="720">
                  <c:v>35726</c:v>
                </c:pt>
                <c:pt idx="721">
                  <c:v>35727</c:v>
                </c:pt>
                <c:pt idx="722">
                  <c:v>35730</c:v>
                </c:pt>
                <c:pt idx="723">
                  <c:v>35731</c:v>
                </c:pt>
                <c:pt idx="724">
                  <c:v>35732</c:v>
                </c:pt>
                <c:pt idx="725">
                  <c:v>35733</c:v>
                </c:pt>
                <c:pt idx="726">
                  <c:v>35734</c:v>
                </c:pt>
                <c:pt idx="727">
                  <c:v>35737</c:v>
                </c:pt>
                <c:pt idx="728">
                  <c:v>35738</c:v>
                </c:pt>
                <c:pt idx="729">
                  <c:v>35739</c:v>
                </c:pt>
                <c:pt idx="730">
                  <c:v>35740</c:v>
                </c:pt>
                <c:pt idx="731">
                  <c:v>35741</c:v>
                </c:pt>
                <c:pt idx="732">
                  <c:v>35744</c:v>
                </c:pt>
                <c:pt idx="733">
                  <c:v>35745</c:v>
                </c:pt>
                <c:pt idx="734">
                  <c:v>35746</c:v>
                </c:pt>
                <c:pt idx="735">
                  <c:v>35747</c:v>
                </c:pt>
                <c:pt idx="736">
                  <c:v>35748</c:v>
                </c:pt>
                <c:pt idx="737">
                  <c:v>35751</c:v>
                </c:pt>
                <c:pt idx="738">
                  <c:v>35752</c:v>
                </c:pt>
                <c:pt idx="739">
                  <c:v>35753</c:v>
                </c:pt>
                <c:pt idx="740">
                  <c:v>35754</c:v>
                </c:pt>
                <c:pt idx="741">
                  <c:v>35755</c:v>
                </c:pt>
                <c:pt idx="742">
                  <c:v>35758</c:v>
                </c:pt>
                <c:pt idx="743">
                  <c:v>35759</c:v>
                </c:pt>
                <c:pt idx="744">
                  <c:v>35760</c:v>
                </c:pt>
                <c:pt idx="745">
                  <c:v>35761</c:v>
                </c:pt>
                <c:pt idx="746">
                  <c:v>35762</c:v>
                </c:pt>
                <c:pt idx="747">
                  <c:v>35765</c:v>
                </c:pt>
                <c:pt idx="748">
                  <c:v>35766</c:v>
                </c:pt>
                <c:pt idx="749">
                  <c:v>35767</c:v>
                </c:pt>
                <c:pt idx="750">
                  <c:v>35768</c:v>
                </c:pt>
                <c:pt idx="751">
                  <c:v>35769</c:v>
                </c:pt>
                <c:pt idx="752">
                  <c:v>35772</c:v>
                </c:pt>
                <c:pt idx="753">
                  <c:v>35773</c:v>
                </c:pt>
                <c:pt idx="754">
                  <c:v>35774</c:v>
                </c:pt>
                <c:pt idx="755">
                  <c:v>35775</c:v>
                </c:pt>
                <c:pt idx="756">
                  <c:v>35776</c:v>
                </c:pt>
                <c:pt idx="757">
                  <c:v>35779</c:v>
                </c:pt>
                <c:pt idx="758">
                  <c:v>35780</c:v>
                </c:pt>
                <c:pt idx="759">
                  <c:v>35781</c:v>
                </c:pt>
                <c:pt idx="760">
                  <c:v>35782</c:v>
                </c:pt>
                <c:pt idx="761">
                  <c:v>35783</c:v>
                </c:pt>
                <c:pt idx="762">
                  <c:v>35786</c:v>
                </c:pt>
                <c:pt idx="763">
                  <c:v>35787</c:v>
                </c:pt>
                <c:pt idx="764">
                  <c:v>35788</c:v>
                </c:pt>
                <c:pt idx="765">
                  <c:v>35789</c:v>
                </c:pt>
                <c:pt idx="766">
                  <c:v>35790</c:v>
                </c:pt>
                <c:pt idx="767">
                  <c:v>35793</c:v>
                </c:pt>
                <c:pt idx="768">
                  <c:v>35794</c:v>
                </c:pt>
                <c:pt idx="769">
                  <c:v>35795</c:v>
                </c:pt>
                <c:pt idx="770">
                  <c:v>35796</c:v>
                </c:pt>
                <c:pt idx="771">
                  <c:v>35797</c:v>
                </c:pt>
                <c:pt idx="772">
                  <c:v>35800</c:v>
                </c:pt>
                <c:pt idx="773">
                  <c:v>35801</c:v>
                </c:pt>
                <c:pt idx="774">
                  <c:v>35802</c:v>
                </c:pt>
                <c:pt idx="775">
                  <c:v>35803</c:v>
                </c:pt>
                <c:pt idx="776">
                  <c:v>35804</c:v>
                </c:pt>
                <c:pt idx="777">
                  <c:v>35807</c:v>
                </c:pt>
                <c:pt idx="778">
                  <c:v>35808</c:v>
                </c:pt>
                <c:pt idx="779">
                  <c:v>35809</c:v>
                </c:pt>
                <c:pt idx="780">
                  <c:v>35810</c:v>
                </c:pt>
                <c:pt idx="781">
                  <c:v>35811</c:v>
                </c:pt>
                <c:pt idx="782">
                  <c:v>35814</c:v>
                </c:pt>
                <c:pt idx="783">
                  <c:v>35815</c:v>
                </c:pt>
                <c:pt idx="784">
                  <c:v>35816</c:v>
                </c:pt>
                <c:pt idx="785">
                  <c:v>35817</c:v>
                </c:pt>
                <c:pt idx="786">
                  <c:v>35818</c:v>
                </c:pt>
                <c:pt idx="787">
                  <c:v>35821</c:v>
                </c:pt>
                <c:pt idx="788">
                  <c:v>35822</c:v>
                </c:pt>
                <c:pt idx="789">
                  <c:v>35823</c:v>
                </c:pt>
                <c:pt idx="790">
                  <c:v>35824</c:v>
                </c:pt>
                <c:pt idx="791">
                  <c:v>35825</c:v>
                </c:pt>
                <c:pt idx="792">
                  <c:v>35828</c:v>
                </c:pt>
                <c:pt idx="793">
                  <c:v>35829</c:v>
                </c:pt>
                <c:pt idx="794">
                  <c:v>35830</c:v>
                </c:pt>
                <c:pt idx="795">
                  <c:v>35831</c:v>
                </c:pt>
                <c:pt idx="796">
                  <c:v>35832</c:v>
                </c:pt>
                <c:pt idx="797">
                  <c:v>35835</c:v>
                </c:pt>
                <c:pt idx="798">
                  <c:v>35836</c:v>
                </c:pt>
                <c:pt idx="799">
                  <c:v>35837</c:v>
                </c:pt>
                <c:pt idx="800">
                  <c:v>35838</c:v>
                </c:pt>
                <c:pt idx="801">
                  <c:v>35839</c:v>
                </c:pt>
                <c:pt idx="802">
                  <c:v>35842</c:v>
                </c:pt>
                <c:pt idx="803">
                  <c:v>35843</c:v>
                </c:pt>
                <c:pt idx="804">
                  <c:v>35844</c:v>
                </c:pt>
                <c:pt idx="805">
                  <c:v>35845</c:v>
                </c:pt>
                <c:pt idx="806">
                  <c:v>35846</c:v>
                </c:pt>
                <c:pt idx="807">
                  <c:v>35849</c:v>
                </c:pt>
                <c:pt idx="808">
                  <c:v>35850</c:v>
                </c:pt>
                <c:pt idx="809">
                  <c:v>35851</c:v>
                </c:pt>
                <c:pt idx="810">
                  <c:v>35852</c:v>
                </c:pt>
                <c:pt idx="811">
                  <c:v>35853</c:v>
                </c:pt>
                <c:pt idx="812">
                  <c:v>35856</c:v>
                </c:pt>
                <c:pt idx="813">
                  <c:v>35857</c:v>
                </c:pt>
                <c:pt idx="814">
                  <c:v>35858</c:v>
                </c:pt>
                <c:pt idx="815">
                  <c:v>35859</c:v>
                </c:pt>
                <c:pt idx="816">
                  <c:v>35860</c:v>
                </c:pt>
                <c:pt idx="817">
                  <c:v>35863</c:v>
                </c:pt>
                <c:pt idx="818">
                  <c:v>35864</c:v>
                </c:pt>
                <c:pt idx="819">
                  <c:v>35865</c:v>
                </c:pt>
                <c:pt idx="820">
                  <c:v>35866</c:v>
                </c:pt>
                <c:pt idx="821">
                  <c:v>35867</c:v>
                </c:pt>
                <c:pt idx="822">
                  <c:v>35870</c:v>
                </c:pt>
                <c:pt idx="823">
                  <c:v>35871</c:v>
                </c:pt>
                <c:pt idx="824">
                  <c:v>35872</c:v>
                </c:pt>
                <c:pt idx="825">
                  <c:v>35873</c:v>
                </c:pt>
                <c:pt idx="826">
                  <c:v>35874</c:v>
                </c:pt>
                <c:pt idx="827">
                  <c:v>35877</c:v>
                </c:pt>
                <c:pt idx="828">
                  <c:v>35878</c:v>
                </c:pt>
                <c:pt idx="829">
                  <c:v>35879</c:v>
                </c:pt>
                <c:pt idx="830">
                  <c:v>35880</c:v>
                </c:pt>
                <c:pt idx="831">
                  <c:v>35881</c:v>
                </c:pt>
                <c:pt idx="832">
                  <c:v>35884</c:v>
                </c:pt>
                <c:pt idx="833">
                  <c:v>35885</c:v>
                </c:pt>
                <c:pt idx="834">
                  <c:v>35886</c:v>
                </c:pt>
                <c:pt idx="835">
                  <c:v>35887</c:v>
                </c:pt>
                <c:pt idx="836">
                  <c:v>35888</c:v>
                </c:pt>
                <c:pt idx="837">
                  <c:v>35891</c:v>
                </c:pt>
                <c:pt idx="838">
                  <c:v>35892</c:v>
                </c:pt>
                <c:pt idx="839">
                  <c:v>35893</c:v>
                </c:pt>
                <c:pt idx="840">
                  <c:v>35894</c:v>
                </c:pt>
                <c:pt idx="841">
                  <c:v>35895</c:v>
                </c:pt>
                <c:pt idx="842">
                  <c:v>35898</c:v>
                </c:pt>
                <c:pt idx="843">
                  <c:v>35899</c:v>
                </c:pt>
                <c:pt idx="844">
                  <c:v>35900</c:v>
                </c:pt>
                <c:pt idx="845">
                  <c:v>35901</c:v>
                </c:pt>
                <c:pt idx="846">
                  <c:v>35902</c:v>
                </c:pt>
                <c:pt idx="847">
                  <c:v>35905</c:v>
                </c:pt>
                <c:pt idx="848">
                  <c:v>35906</c:v>
                </c:pt>
                <c:pt idx="849">
                  <c:v>35907</c:v>
                </c:pt>
                <c:pt idx="850">
                  <c:v>35908</c:v>
                </c:pt>
                <c:pt idx="851">
                  <c:v>35909</c:v>
                </c:pt>
                <c:pt idx="852">
                  <c:v>35912</c:v>
                </c:pt>
                <c:pt idx="853">
                  <c:v>35913</c:v>
                </c:pt>
                <c:pt idx="854">
                  <c:v>35914</c:v>
                </c:pt>
                <c:pt idx="855">
                  <c:v>35915</c:v>
                </c:pt>
                <c:pt idx="856">
                  <c:v>35916</c:v>
                </c:pt>
                <c:pt idx="857">
                  <c:v>35919</c:v>
                </c:pt>
                <c:pt idx="858">
                  <c:v>35920</c:v>
                </c:pt>
                <c:pt idx="859">
                  <c:v>35921</c:v>
                </c:pt>
                <c:pt idx="860">
                  <c:v>35922</c:v>
                </c:pt>
                <c:pt idx="861">
                  <c:v>35923</c:v>
                </c:pt>
                <c:pt idx="862">
                  <c:v>35926</c:v>
                </c:pt>
                <c:pt idx="863">
                  <c:v>35927</c:v>
                </c:pt>
                <c:pt idx="864">
                  <c:v>35928</c:v>
                </c:pt>
                <c:pt idx="865">
                  <c:v>35929</c:v>
                </c:pt>
                <c:pt idx="866">
                  <c:v>35930</c:v>
                </c:pt>
                <c:pt idx="867">
                  <c:v>35933</c:v>
                </c:pt>
                <c:pt idx="868">
                  <c:v>35934</c:v>
                </c:pt>
                <c:pt idx="869">
                  <c:v>35935</c:v>
                </c:pt>
                <c:pt idx="870">
                  <c:v>35936</c:v>
                </c:pt>
                <c:pt idx="871">
                  <c:v>35937</c:v>
                </c:pt>
                <c:pt idx="872">
                  <c:v>35940</c:v>
                </c:pt>
                <c:pt idx="873">
                  <c:v>35941</c:v>
                </c:pt>
                <c:pt idx="874">
                  <c:v>35942</c:v>
                </c:pt>
                <c:pt idx="875">
                  <c:v>35943</c:v>
                </c:pt>
                <c:pt idx="876">
                  <c:v>35944</c:v>
                </c:pt>
                <c:pt idx="877">
                  <c:v>35947</c:v>
                </c:pt>
                <c:pt idx="878">
                  <c:v>35948</c:v>
                </c:pt>
                <c:pt idx="879">
                  <c:v>35949</c:v>
                </c:pt>
                <c:pt idx="880">
                  <c:v>35950</c:v>
                </c:pt>
                <c:pt idx="881">
                  <c:v>35951</c:v>
                </c:pt>
                <c:pt idx="882">
                  <c:v>35954</c:v>
                </c:pt>
                <c:pt idx="883">
                  <c:v>35955</c:v>
                </c:pt>
                <c:pt idx="884">
                  <c:v>35956</c:v>
                </c:pt>
                <c:pt idx="885">
                  <c:v>35957</c:v>
                </c:pt>
                <c:pt idx="886">
                  <c:v>35958</c:v>
                </c:pt>
                <c:pt idx="887">
                  <c:v>35961</c:v>
                </c:pt>
                <c:pt idx="888">
                  <c:v>35962</c:v>
                </c:pt>
                <c:pt idx="889">
                  <c:v>35963</c:v>
                </c:pt>
                <c:pt idx="890">
                  <c:v>35964</c:v>
                </c:pt>
                <c:pt idx="891">
                  <c:v>35965</c:v>
                </c:pt>
                <c:pt idx="892">
                  <c:v>35968</c:v>
                </c:pt>
                <c:pt idx="893">
                  <c:v>35969</c:v>
                </c:pt>
                <c:pt idx="894">
                  <c:v>35970</c:v>
                </c:pt>
                <c:pt idx="895">
                  <c:v>35971</c:v>
                </c:pt>
                <c:pt idx="896">
                  <c:v>35972</c:v>
                </c:pt>
                <c:pt idx="897">
                  <c:v>35975</c:v>
                </c:pt>
                <c:pt idx="898">
                  <c:v>35976</c:v>
                </c:pt>
                <c:pt idx="899">
                  <c:v>35977</c:v>
                </c:pt>
                <c:pt idx="900">
                  <c:v>35978</c:v>
                </c:pt>
                <c:pt idx="901">
                  <c:v>35979</c:v>
                </c:pt>
                <c:pt idx="902">
                  <c:v>35982</c:v>
                </c:pt>
                <c:pt idx="903">
                  <c:v>35983</c:v>
                </c:pt>
                <c:pt idx="904">
                  <c:v>35984</c:v>
                </c:pt>
                <c:pt idx="905">
                  <c:v>35985</c:v>
                </c:pt>
                <c:pt idx="906">
                  <c:v>35986</c:v>
                </c:pt>
                <c:pt idx="907">
                  <c:v>35989</c:v>
                </c:pt>
                <c:pt idx="908">
                  <c:v>35990</c:v>
                </c:pt>
                <c:pt idx="909">
                  <c:v>35991</c:v>
                </c:pt>
                <c:pt idx="910">
                  <c:v>35992</c:v>
                </c:pt>
                <c:pt idx="911">
                  <c:v>35993</c:v>
                </c:pt>
                <c:pt idx="912">
                  <c:v>35996</c:v>
                </c:pt>
                <c:pt idx="913">
                  <c:v>35997</c:v>
                </c:pt>
                <c:pt idx="914">
                  <c:v>35998</c:v>
                </c:pt>
                <c:pt idx="915">
                  <c:v>35999</c:v>
                </c:pt>
                <c:pt idx="916">
                  <c:v>36000</c:v>
                </c:pt>
                <c:pt idx="917">
                  <c:v>36003</c:v>
                </c:pt>
                <c:pt idx="918">
                  <c:v>36004</c:v>
                </c:pt>
                <c:pt idx="919">
                  <c:v>36005</c:v>
                </c:pt>
                <c:pt idx="920">
                  <c:v>36006</c:v>
                </c:pt>
                <c:pt idx="921">
                  <c:v>36007</c:v>
                </c:pt>
                <c:pt idx="922">
                  <c:v>36010</c:v>
                </c:pt>
                <c:pt idx="923">
                  <c:v>36011</c:v>
                </c:pt>
                <c:pt idx="924">
                  <c:v>36012</c:v>
                </c:pt>
                <c:pt idx="925">
                  <c:v>36013</c:v>
                </c:pt>
                <c:pt idx="926">
                  <c:v>36014</c:v>
                </c:pt>
                <c:pt idx="927">
                  <c:v>36017</c:v>
                </c:pt>
                <c:pt idx="928">
                  <c:v>36018</c:v>
                </c:pt>
                <c:pt idx="929">
                  <c:v>36019</c:v>
                </c:pt>
                <c:pt idx="930">
                  <c:v>36020</c:v>
                </c:pt>
                <c:pt idx="931">
                  <c:v>36021</c:v>
                </c:pt>
                <c:pt idx="932">
                  <c:v>36024</c:v>
                </c:pt>
                <c:pt idx="933">
                  <c:v>36025</c:v>
                </c:pt>
                <c:pt idx="934">
                  <c:v>36026</c:v>
                </c:pt>
                <c:pt idx="935">
                  <c:v>36027</c:v>
                </c:pt>
                <c:pt idx="936">
                  <c:v>36028</c:v>
                </c:pt>
                <c:pt idx="937">
                  <c:v>36031</c:v>
                </c:pt>
                <c:pt idx="938">
                  <c:v>36032</c:v>
                </c:pt>
                <c:pt idx="939">
                  <c:v>36033</c:v>
                </c:pt>
                <c:pt idx="940">
                  <c:v>36034</c:v>
                </c:pt>
                <c:pt idx="941">
                  <c:v>36035</c:v>
                </c:pt>
                <c:pt idx="942">
                  <c:v>36038</c:v>
                </c:pt>
                <c:pt idx="943">
                  <c:v>36039</c:v>
                </c:pt>
                <c:pt idx="944">
                  <c:v>36040</c:v>
                </c:pt>
                <c:pt idx="945">
                  <c:v>36041</c:v>
                </c:pt>
                <c:pt idx="946">
                  <c:v>36042</c:v>
                </c:pt>
                <c:pt idx="947">
                  <c:v>36045</c:v>
                </c:pt>
                <c:pt idx="948">
                  <c:v>36046</c:v>
                </c:pt>
                <c:pt idx="949">
                  <c:v>36047</c:v>
                </c:pt>
                <c:pt idx="950">
                  <c:v>36048</c:v>
                </c:pt>
                <c:pt idx="951">
                  <c:v>36049</c:v>
                </c:pt>
                <c:pt idx="952">
                  <c:v>36052</c:v>
                </c:pt>
                <c:pt idx="953">
                  <c:v>36053</c:v>
                </c:pt>
                <c:pt idx="954">
                  <c:v>36054</c:v>
                </c:pt>
                <c:pt idx="955">
                  <c:v>36055</c:v>
                </c:pt>
                <c:pt idx="956">
                  <c:v>36056</c:v>
                </c:pt>
                <c:pt idx="957">
                  <c:v>36059</c:v>
                </c:pt>
                <c:pt idx="958">
                  <c:v>36060</c:v>
                </c:pt>
                <c:pt idx="959">
                  <c:v>36061</c:v>
                </c:pt>
                <c:pt idx="960">
                  <c:v>36062</c:v>
                </c:pt>
                <c:pt idx="961">
                  <c:v>36063</c:v>
                </c:pt>
                <c:pt idx="962">
                  <c:v>36066</c:v>
                </c:pt>
                <c:pt idx="963">
                  <c:v>36067</c:v>
                </c:pt>
                <c:pt idx="964">
                  <c:v>36068</c:v>
                </c:pt>
                <c:pt idx="965">
                  <c:v>36069</c:v>
                </c:pt>
                <c:pt idx="966">
                  <c:v>36070</c:v>
                </c:pt>
                <c:pt idx="967">
                  <c:v>36073</c:v>
                </c:pt>
                <c:pt idx="968">
                  <c:v>36074</c:v>
                </c:pt>
                <c:pt idx="969">
                  <c:v>36075</c:v>
                </c:pt>
                <c:pt idx="970">
                  <c:v>36076</c:v>
                </c:pt>
                <c:pt idx="971">
                  <c:v>36077</c:v>
                </c:pt>
                <c:pt idx="972">
                  <c:v>36080</c:v>
                </c:pt>
                <c:pt idx="973">
                  <c:v>36081</c:v>
                </c:pt>
                <c:pt idx="974">
                  <c:v>36082</c:v>
                </c:pt>
                <c:pt idx="975">
                  <c:v>36083</c:v>
                </c:pt>
                <c:pt idx="976">
                  <c:v>36084</c:v>
                </c:pt>
                <c:pt idx="977">
                  <c:v>36087</c:v>
                </c:pt>
                <c:pt idx="978">
                  <c:v>36088</c:v>
                </c:pt>
                <c:pt idx="979">
                  <c:v>36089</c:v>
                </c:pt>
                <c:pt idx="980">
                  <c:v>36090</c:v>
                </c:pt>
                <c:pt idx="981">
                  <c:v>36091</c:v>
                </c:pt>
                <c:pt idx="982">
                  <c:v>36094</c:v>
                </c:pt>
                <c:pt idx="983">
                  <c:v>36095</c:v>
                </c:pt>
                <c:pt idx="984">
                  <c:v>36096</c:v>
                </c:pt>
                <c:pt idx="985">
                  <c:v>36097</c:v>
                </c:pt>
                <c:pt idx="986">
                  <c:v>36098</c:v>
                </c:pt>
                <c:pt idx="987">
                  <c:v>36101</c:v>
                </c:pt>
                <c:pt idx="988">
                  <c:v>36102</c:v>
                </c:pt>
                <c:pt idx="989">
                  <c:v>36103</c:v>
                </c:pt>
                <c:pt idx="990">
                  <c:v>36104</c:v>
                </c:pt>
                <c:pt idx="991">
                  <c:v>36105</c:v>
                </c:pt>
                <c:pt idx="992">
                  <c:v>36108</c:v>
                </c:pt>
                <c:pt idx="993">
                  <c:v>36109</c:v>
                </c:pt>
                <c:pt idx="994">
                  <c:v>36110</c:v>
                </c:pt>
                <c:pt idx="995">
                  <c:v>36111</c:v>
                </c:pt>
                <c:pt idx="996">
                  <c:v>36112</c:v>
                </c:pt>
                <c:pt idx="997">
                  <c:v>36115</c:v>
                </c:pt>
                <c:pt idx="998">
                  <c:v>36116</c:v>
                </c:pt>
                <c:pt idx="999">
                  <c:v>36117</c:v>
                </c:pt>
                <c:pt idx="1000">
                  <c:v>36118</c:v>
                </c:pt>
                <c:pt idx="1001">
                  <c:v>36119</c:v>
                </c:pt>
                <c:pt idx="1002">
                  <c:v>36122</c:v>
                </c:pt>
                <c:pt idx="1003">
                  <c:v>36123</c:v>
                </c:pt>
                <c:pt idx="1004">
                  <c:v>36124</c:v>
                </c:pt>
                <c:pt idx="1005">
                  <c:v>36125</c:v>
                </c:pt>
                <c:pt idx="1006">
                  <c:v>36126</c:v>
                </c:pt>
                <c:pt idx="1007">
                  <c:v>36129</c:v>
                </c:pt>
                <c:pt idx="1008">
                  <c:v>36130</c:v>
                </c:pt>
                <c:pt idx="1009">
                  <c:v>36131</c:v>
                </c:pt>
                <c:pt idx="1010">
                  <c:v>36132</c:v>
                </c:pt>
                <c:pt idx="1011">
                  <c:v>36133</c:v>
                </c:pt>
                <c:pt idx="1012">
                  <c:v>36136</c:v>
                </c:pt>
                <c:pt idx="1013">
                  <c:v>36137</c:v>
                </c:pt>
                <c:pt idx="1014">
                  <c:v>36138</c:v>
                </c:pt>
                <c:pt idx="1015">
                  <c:v>36139</c:v>
                </c:pt>
                <c:pt idx="1016">
                  <c:v>36140</c:v>
                </c:pt>
                <c:pt idx="1017">
                  <c:v>36143</c:v>
                </c:pt>
                <c:pt idx="1018">
                  <c:v>36144</c:v>
                </c:pt>
                <c:pt idx="1019">
                  <c:v>36145</c:v>
                </c:pt>
                <c:pt idx="1020">
                  <c:v>36146</c:v>
                </c:pt>
                <c:pt idx="1021">
                  <c:v>36147</c:v>
                </c:pt>
                <c:pt idx="1022">
                  <c:v>36150</c:v>
                </c:pt>
                <c:pt idx="1023">
                  <c:v>36151</c:v>
                </c:pt>
                <c:pt idx="1024">
                  <c:v>36152</c:v>
                </c:pt>
                <c:pt idx="1025">
                  <c:v>36153</c:v>
                </c:pt>
                <c:pt idx="1026">
                  <c:v>36154</c:v>
                </c:pt>
                <c:pt idx="1027">
                  <c:v>36157</c:v>
                </c:pt>
                <c:pt idx="1028">
                  <c:v>36158</c:v>
                </c:pt>
                <c:pt idx="1029">
                  <c:v>36159</c:v>
                </c:pt>
                <c:pt idx="1030">
                  <c:v>36160</c:v>
                </c:pt>
                <c:pt idx="1031">
                  <c:v>36161</c:v>
                </c:pt>
                <c:pt idx="1032">
                  <c:v>36164</c:v>
                </c:pt>
                <c:pt idx="1033">
                  <c:v>36165</c:v>
                </c:pt>
                <c:pt idx="1034">
                  <c:v>36166</c:v>
                </c:pt>
                <c:pt idx="1035">
                  <c:v>36167</c:v>
                </c:pt>
                <c:pt idx="1036">
                  <c:v>36168</c:v>
                </c:pt>
                <c:pt idx="1037">
                  <c:v>36171</c:v>
                </c:pt>
                <c:pt idx="1038">
                  <c:v>36172</c:v>
                </c:pt>
                <c:pt idx="1039">
                  <c:v>36173</c:v>
                </c:pt>
                <c:pt idx="1040">
                  <c:v>36174</c:v>
                </c:pt>
                <c:pt idx="1041">
                  <c:v>36175</c:v>
                </c:pt>
                <c:pt idx="1042">
                  <c:v>36178</c:v>
                </c:pt>
                <c:pt idx="1043">
                  <c:v>36179</c:v>
                </c:pt>
                <c:pt idx="1044">
                  <c:v>36180</c:v>
                </c:pt>
                <c:pt idx="1045">
                  <c:v>36181</c:v>
                </c:pt>
                <c:pt idx="1046">
                  <c:v>36182</c:v>
                </c:pt>
                <c:pt idx="1047">
                  <c:v>36185</c:v>
                </c:pt>
                <c:pt idx="1048">
                  <c:v>36186</c:v>
                </c:pt>
                <c:pt idx="1049">
                  <c:v>36187</c:v>
                </c:pt>
                <c:pt idx="1050">
                  <c:v>36188</c:v>
                </c:pt>
                <c:pt idx="1051">
                  <c:v>36189</c:v>
                </c:pt>
                <c:pt idx="1052">
                  <c:v>36192</c:v>
                </c:pt>
                <c:pt idx="1053">
                  <c:v>36193</c:v>
                </c:pt>
                <c:pt idx="1054">
                  <c:v>36194</c:v>
                </c:pt>
                <c:pt idx="1055">
                  <c:v>36195</c:v>
                </c:pt>
                <c:pt idx="1056">
                  <c:v>36196</c:v>
                </c:pt>
                <c:pt idx="1057">
                  <c:v>36199</c:v>
                </c:pt>
                <c:pt idx="1058">
                  <c:v>36200</c:v>
                </c:pt>
                <c:pt idx="1059">
                  <c:v>36201</c:v>
                </c:pt>
                <c:pt idx="1060">
                  <c:v>36202</c:v>
                </c:pt>
                <c:pt idx="1061">
                  <c:v>36203</c:v>
                </c:pt>
                <c:pt idx="1062">
                  <c:v>36206</c:v>
                </c:pt>
                <c:pt idx="1063">
                  <c:v>36207</c:v>
                </c:pt>
                <c:pt idx="1064">
                  <c:v>36208</c:v>
                </c:pt>
                <c:pt idx="1065">
                  <c:v>36209</c:v>
                </c:pt>
                <c:pt idx="1066">
                  <c:v>36210</c:v>
                </c:pt>
                <c:pt idx="1067">
                  <c:v>36213</c:v>
                </c:pt>
                <c:pt idx="1068">
                  <c:v>36214</c:v>
                </c:pt>
                <c:pt idx="1069">
                  <c:v>36215</c:v>
                </c:pt>
                <c:pt idx="1070">
                  <c:v>36216</c:v>
                </c:pt>
                <c:pt idx="1071">
                  <c:v>36217</c:v>
                </c:pt>
                <c:pt idx="1072">
                  <c:v>36220</c:v>
                </c:pt>
                <c:pt idx="1073">
                  <c:v>36221</c:v>
                </c:pt>
                <c:pt idx="1074">
                  <c:v>36222</c:v>
                </c:pt>
                <c:pt idx="1075">
                  <c:v>36223</c:v>
                </c:pt>
                <c:pt idx="1076">
                  <c:v>36224</c:v>
                </c:pt>
                <c:pt idx="1077">
                  <c:v>36227</c:v>
                </c:pt>
                <c:pt idx="1078">
                  <c:v>36228</c:v>
                </c:pt>
                <c:pt idx="1079">
                  <c:v>36229</c:v>
                </c:pt>
                <c:pt idx="1080">
                  <c:v>36230</c:v>
                </c:pt>
                <c:pt idx="1081">
                  <c:v>36231</c:v>
                </c:pt>
                <c:pt idx="1082">
                  <c:v>36234</c:v>
                </c:pt>
                <c:pt idx="1083">
                  <c:v>36235</c:v>
                </c:pt>
                <c:pt idx="1084">
                  <c:v>36236</c:v>
                </c:pt>
                <c:pt idx="1085">
                  <c:v>36237</c:v>
                </c:pt>
                <c:pt idx="1086">
                  <c:v>36238</c:v>
                </c:pt>
                <c:pt idx="1087">
                  <c:v>36241</c:v>
                </c:pt>
                <c:pt idx="1088">
                  <c:v>36242</c:v>
                </c:pt>
                <c:pt idx="1089">
                  <c:v>36243</c:v>
                </c:pt>
                <c:pt idx="1090">
                  <c:v>36244</c:v>
                </c:pt>
                <c:pt idx="1091">
                  <c:v>36245</c:v>
                </c:pt>
                <c:pt idx="1092">
                  <c:v>36248</c:v>
                </c:pt>
                <c:pt idx="1093">
                  <c:v>36249</c:v>
                </c:pt>
                <c:pt idx="1094">
                  <c:v>36250</c:v>
                </c:pt>
                <c:pt idx="1095">
                  <c:v>36251</c:v>
                </c:pt>
                <c:pt idx="1096">
                  <c:v>36252</c:v>
                </c:pt>
                <c:pt idx="1097">
                  <c:v>36255</c:v>
                </c:pt>
                <c:pt idx="1098">
                  <c:v>36256</c:v>
                </c:pt>
                <c:pt idx="1099">
                  <c:v>36257</c:v>
                </c:pt>
                <c:pt idx="1100">
                  <c:v>36258</c:v>
                </c:pt>
                <c:pt idx="1101">
                  <c:v>36259</c:v>
                </c:pt>
                <c:pt idx="1102">
                  <c:v>36262</c:v>
                </c:pt>
                <c:pt idx="1103">
                  <c:v>36263</c:v>
                </c:pt>
                <c:pt idx="1104">
                  <c:v>36264</c:v>
                </c:pt>
                <c:pt idx="1105">
                  <c:v>36265</c:v>
                </c:pt>
                <c:pt idx="1106">
                  <c:v>36266</c:v>
                </c:pt>
                <c:pt idx="1107">
                  <c:v>36269</c:v>
                </c:pt>
                <c:pt idx="1108">
                  <c:v>36270</c:v>
                </c:pt>
                <c:pt idx="1109">
                  <c:v>36271</c:v>
                </c:pt>
                <c:pt idx="1110">
                  <c:v>36272</c:v>
                </c:pt>
                <c:pt idx="1111">
                  <c:v>36273</c:v>
                </c:pt>
                <c:pt idx="1112">
                  <c:v>36276</c:v>
                </c:pt>
                <c:pt idx="1113">
                  <c:v>36277</c:v>
                </c:pt>
                <c:pt idx="1114">
                  <c:v>36278</c:v>
                </c:pt>
                <c:pt idx="1115">
                  <c:v>36279</c:v>
                </c:pt>
                <c:pt idx="1116">
                  <c:v>36280</c:v>
                </c:pt>
                <c:pt idx="1117">
                  <c:v>36283</c:v>
                </c:pt>
                <c:pt idx="1118">
                  <c:v>36284</c:v>
                </c:pt>
                <c:pt idx="1119">
                  <c:v>36285</c:v>
                </c:pt>
                <c:pt idx="1120">
                  <c:v>36286</c:v>
                </c:pt>
                <c:pt idx="1121">
                  <c:v>36287</c:v>
                </c:pt>
                <c:pt idx="1122">
                  <c:v>36290</c:v>
                </c:pt>
                <c:pt idx="1123">
                  <c:v>36291</c:v>
                </c:pt>
                <c:pt idx="1124">
                  <c:v>36292</c:v>
                </c:pt>
                <c:pt idx="1125">
                  <c:v>36293</c:v>
                </c:pt>
                <c:pt idx="1126">
                  <c:v>36294</c:v>
                </c:pt>
                <c:pt idx="1127">
                  <c:v>36297</c:v>
                </c:pt>
                <c:pt idx="1128">
                  <c:v>36298</c:v>
                </c:pt>
                <c:pt idx="1129">
                  <c:v>36299</c:v>
                </c:pt>
                <c:pt idx="1130">
                  <c:v>36300</c:v>
                </c:pt>
                <c:pt idx="1131">
                  <c:v>36301</c:v>
                </c:pt>
                <c:pt idx="1132">
                  <c:v>36304</c:v>
                </c:pt>
                <c:pt idx="1133">
                  <c:v>36305</c:v>
                </c:pt>
                <c:pt idx="1134">
                  <c:v>36306</c:v>
                </c:pt>
                <c:pt idx="1135">
                  <c:v>36307</c:v>
                </c:pt>
                <c:pt idx="1136">
                  <c:v>36308</c:v>
                </c:pt>
                <c:pt idx="1137">
                  <c:v>36311</c:v>
                </c:pt>
                <c:pt idx="1138">
                  <c:v>36312</c:v>
                </c:pt>
                <c:pt idx="1139">
                  <c:v>36313</c:v>
                </c:pt>
                <c:pt idx="1140">
                  <c:v>36314</c:v>
                </c:pt>
                <c:pt idx="1141">
                  <c:v>36315</c:v>
                </c:pt>
                <c:pt idx="1142">
                  <c:v>36318</c:v>
                </c:pt>
                <c:pt idx="1143">
                  <c:v>36319</c:v>
                </c:pt>
                <c:pt idx="1144">
                  <c:v>36320</c:v>
                </c:pt>
                <c:pt idx="1145">
                  <c:v>36321</c:v>
                </c:pt>
                <c:pt idx="1146">
                  <c:v>36322</c:v>
                </c:pt>
                <c:pt idx="1147">
                  <c:v>36325</c:v>
                </c:pt>
                <c:pt idx="1148">
                  <c:v>36326</c:v>
                </c:pt>
                <c:pt idx="1149">
                  <c:v>36327</c:v>
                </c:pt>
                <c:pt idx="1150">
                  <c:v>36328</c:v>
                </c:pt>
                <c:pt idx="1151">
                  <c:v>36329</c:v>
                </c:pt>
                <c:pt idx="1152">
                  <c:v>36332</c:v>
                </c:pt>
                <c:pt idx="1153">
                  <c:v>36333</c:v>
                </c:pt>
                <c:pt idx="1154">
                  <c:v>36334</c:v>
                </c:pt>
                <c:pt idx="1155">
                  <c:v>36335</c:v>
                </c:pt>
                <c:pt idx="1156">
                  <c:v>36336</c:v>
                </c:pt>
                <c:pt idx="1157">
                  <c:v>36339</c:v>
                </c:pt>
                <c:pt idx="1158">
                  <c:v>36340</c:v>
                </c:pt>
                <c:pt idx="1159">
                  <c:v>36341</c:v>
                </c:pt>
                <c:pt idx="1160">
                  <c:v>36342</c:v>
                </c:pt>
                <c:pt idx="1161">
                  <c:v>36343</c:v>
                </c:pt>
                <c:pt idx="1162">
                  <c:v>36346</c:v>
                </c:pt>
                <c:pt idx="1163">
                  <c:v>36347</c:v>
                </c:pt>
                <c:pt idx="1164">
                  <c:v>36348</c:v>
                </c:pt>
                <c:pt idx="1165">
                  <c:v>36349</c:v>
                </c:pt>
                <c:pt idx="1166">
                  <c:v>36350</c:v>
                </c:pt>
                <c:pt idx="1167">
                  <c:v>36353</c:v>
                </c:pt>
                <c:pt idx="1168">
                  <c:v>36354</c:v>
                </c:pt>
                <c:pt idx="1169">
                  <c:v>36355</c:v>
                </c:pt>
                <c:pt idx="1170">
                  <c:v>36356</c:v>
                </c:pt>
                <c:pt idx="1171">
                  <c:v>36357</c:v>
                </c:pt>
                <c:pt idx="1172">
                  <c:v>36360</c:v>
                </c:pt>
                <c:pt idx="1173">
                  <c:v>36361</c:v>
                </c:pt>
                <c:pt idx="1174">
                  <c:v>36362</c:v>
                </c:pt>
                <c:pt idx="1175">
                  <c:v>36363</c:v>
                </c:pt>
                <c:pt idx="1176">
                  <c:v>36364</c:v>
                </c:pt>
                <c:pt idx="1177">
                  <c:v>36367</c:v>
                </c:pt>
                <c:pt idx="1178">
                  <c:v>36368</c:v>
                </c:pt>
                <c:pt idx="1179">
                  <c:v>36369</c:v>
                </c:pt>
                <c:pt idx="1180">
                  <c:v>36370</c:v>
                </c:pt>
                <c:pt idx="1181">
                  <c:v>36371</c:v>
                </c:pt>
                <c:pt idx="1182">
                  <c:v>36374</c:v>
                </c:pt>
                <c:pt idx="1183">
                  <c:v>36375</c:v>
                </c:pt>
                <c:pt idx="1184">
                  <c:v>36376</c:v>
                </c:pt>
                <c:pt idx="1185">
                  <c:v>36377</c:v>
                </c:pt>
                <c:pt idx="1186">
                  <c:v>36378</c:v>
                </c:pt>
                <c:pt idx="1187">
                  <c:v>36381</c:v>
                </c:pt>
                <c:pt idx="1188">
                  <c:v>36382</c:v>
                </c:pt>
                <c:pt idx="1189">
                  <c:v>36383</c:v>
                </c:pt>
                <c:pt idx="1190">
                  <c:v>36384</c:v>
                </c:pt>
                <c:pt idx="1191">
                  <c:v>36385</c:v>
                </c:pt>
                <c:pt idx="1192">
                  <c:v>36388</c:v>
                </c:pt>
                <c:pt idx="1193">
                  <c:v>36389</c:v>
                </c:pt>
                <c:pt idx="1194">
                  <c:v>36390</c:v>
                </c:pt>
                <c:pt idx="1195">
                  <c:v>36391</c:v>
                </c:pt>
                <c:pt idx="1196">
                  <c:v>36392</c:v>
                </c:pt>
                <c:pt idx="1197">
                  <c:v>36395</c:v>
                </c:pt>
                <c:pt idx="1198">
                  <c:v>36396</c:v>
                </c:pt>
                <c:pt idx="1199">
                  <c:v>36397</c:v>
                </c:pt>
                <c:pt idx="1200">
                  <c:v>36398</c:v>
                </c:pt>
                <c:pt idx="1201">
                  <c:v>36399</c:v>
                </c:pt>
                <c:pt idx="1202">
                  <c:v>36402</c:v>
                </c:pt>
                <c:pt idx="1203">
                  <c:v>36403</c:v>
                </c:pt>
                <c:pt idx="1204">
                  <c:v>36404</c:v>
                </c:pt>
                <c:pt idx="1205">
                  <c:v>36405</c:v>
                </c:pt>
                <c:pt idx="1206">
                  <c:v>36406</c:v>
                </c:pt>
                <c:pt idx="1207">
                  <c:v>36409</c:v>
                </c:pt>
                <c:pt idx="1208">
                  <c:v>36410</c:v>
                </c:pt>
                <c:pt idx="1209">
                  <c:v>36411</c:v>
                </c:pt>
                <c:pt idx="1210">
                  <c:v>36412</c:v>
                </c:pt>
                <c:pt idx="1211">
                  <c:v>36413</c:v>
                </c:pt>
                <c:pt idx="1212">
                  <c:v>36416</c:v>
                </c:pt>
                <c:pt idx="1213">
                  <c:v>36417</c:v>
                </c:pt>
                <c:pt idx="1214">
                  <c:v>36418</c:v>
                </c:pt>
                <c:pt idx="1215">
                  <c:v>36419</c:v>
                </c:pt>
                <c:pt idx="1216">
                  <c:v>36420</c:v>
                </c:pt>
                <c:pt idx="1217">
                  <c:v>36423</c:v>
                </c:pt>
                <c:pt idx="1218">
                  <c:v>36424</c:v>
                </c:pt>
                <c:pt idx="1219">
                  <c:v>36425</c:v>
                </c:pt>
                <c:pt idx="1220">
                  <c:v>36426</c:v>
                </c:pt>
                <c:pt idx="1221">
                  <c:v>36427</c:v>
                </c:pt>
                <c:pt idx="1222">
                  <c:v>36430</c:v>
                </c:pt>
                <c:pt idx="1223">
                  <c:v>36431</c:v>
                </c:pt>
                <c:pt idx="1224">
                  <c:v>36432</c:v>
                </c:pt>
                <c:pt idx="1225">
                  <c:v>36433</c:v>
                </c:pt>
                <c:pt idx="1226">
                  <c:v>36434</c:v>
                </c:pt>
                <c:pt idx="1227">
                  <c:v>36437</c:v>
                </c:pt>
                <c:pt idx="1228">
                  <c:v>36438</c:v>
                </c:pt>
                <c:pt idx="1229">
                  <c:v>36439</c:v>
                </c:pt>
                <c:pt idx="1230">
                  <c:v>36440</c:v>
                </c:pt>
                <c:pt idx="1231">
                  <c:v>36441</c:v>
                </c:pt>
                <c:pt idx="1232">
                  <c:v>36444</c:v>
                </c:pt>
                <c:pt idx="1233">
                  <c:v>36445</c:v>
                </c:pt>
                <c:pt idx="1234">
                  <c:v>36446</c:v>
                </c:pt>
                <c:pt idx="1235">
                  <c:v>36447</c:v>
                </c:pt>
                <c:pt idx="1236">
                  <c:v>36448</c:v>
                </c:pt>
                <c:pt idx="1237">
                  <c:v>36451</c:v>
                </c:pt>
                <c:pt idx="1238">
                  <c:v>36452</c:v>
                </c:pt>
                <c:pt idx="1239">
                  <c:v>36453</c:v>
                </c:pt>
                <c:pt idx="1240">
                  <c:v>36454</c:v>
                </c:pt>
                <c:pt idx="1241">
                  <c:v>36455</c:v>
                </c:pt>
                <c:pt idx="1242">
                  <c:v>36458</c:v>
                </c:pt>
                <c:pt idx="1243">
                  <c:v>36459</c:v>
                </c:pt>
                <c:pt idx="1244">
                  <c:v>36460</c:v>
                </c:pt>
                <c:pt idx="1245">
                  <c:v>36461</c:v>
                </c:pt>
                <c:pt idx="1246">
                  <c:v>36462</c:v>
                </c:pt>
                <c:pt idx="1247">
                  <c:v>36465</c:v>
                </c:pt>
                <c:pt idx="1248">
                  <c:v>36466</c:v>
                </c:pt>
                <c:pt idx="1249">
                  <c:v>36467</c:v>
                </c:pt>
                <c:pt idx="1250">
                  <c:v>36468</c:v>
                </c:pt>
                <c:pt idx="1251">
                  <c:v>36469</c:v>
                </c:pt>
                <c:pt idx="1252">
                  <c:v>36472</c:v>
                </c:pt>
                <c:pt idx="1253">
                  <c:v>36473</c:v>
                </c:pt>
                <c:pt idx="1254">
                  <c:v>36474</c:v>
                </c:pt>
                <c:pt idx="1255">
                  <c:v>36475</c:v>
                </c:pt>
                <c:pt idx="1256">
                  <c:v>36476</c:v>
                </c:pt>
                <c:pt idx="1257">
                  <c:v>36479</c:v>
                </c:pt>
                <c:pt idx="1258">
                  <c:v>36480</c:v>
                </c:pt>
                <c:pt idx="1259">
                  <c:v>36481</c:v>
                </c:pt>
                <c:pt idx="1260">
                  <c:v>36482</c:v>
                </c:pt>
                <c:pt idx="1261">
                  <c:v>36483</c:v>
                </c:pt>
                <c:pt idx="1262">
                  <c:v>36486</c:v>
                </c:pt>
                <c:pt idx="1263">
                  <c:v>36487</c:v>
                </c:pt>
                <c:pt idx="1264">
                  <c:v>36488</c:v>
                </c:pt>
                <c:pt idx="1265">
                  <c:v>36489</c:v>
                </c:pt>
                <c:pt idx="1266">
                  <c:v>36490</c:v>
                </c:pt>
                <c:pt idx="1267">
                  <c:v>36493</c:v>
                </c:pt>
                <c:pt idx="1268">
                  <c:v>36494</c:v>
                </c:pt>
                <c:pt idx="1269">
                  <c:v>36495</c:v>
                </c:pt>
                <c:pt idx="1270">
                  <c:v>36496</c:v>
                </c:pt>
                <c:pt idx="1271">
                  <c:v>36497</c:v>
                </c:pt>
                <c:pt idx="1272">
                  <c:v>36500</c:v>
                </c:pt>
                <c:pt idx="1273">
                  <c:v>36501</c:v>
                </c:pt>
                <c:pt idx="1274">
                  <c:v>36502</c:v>
                </c:pt>
                <c:pt idx="1275">
                  <c:v>36503</c:v>
                </c:pt>
                <c:pt idx="1276">
                  <c:v>36504</c:v>
                </c:pt>
                <c:pt idx="1277">
                  <c:v>36507</c:v>
                </c:pt>
                <c:pt idx="1278">
                  <c:v>36508</c:v>
                </c:pt>
                <c:pt idx="1279">
                  <c:v>36509</c:v>
                </c:pt>
                <c:pt idx="1280">
                  <c:v>36510</c:v>
                </c:pt>
                <c:pt idx="1281">
                  <c:v>36511</c:v>
                </c:pt>
                <c:pt idx="1282">
                  <c:v>36514</c:v>
                </c:pt>
                <c:pt idx="1283">
                  <c:v>36515</c:v>
                </c:pt>
                <c:pt idx="1284">
                  <c:v>36516</c:v>
                </c:pt>
                <c:pt idx="1285">
                  <c:v>36517</c:v>
                </c:pt>
                <c:pt idx="1286">
                  <c:v>36518</c:v>
                </c:pt>
                <c:pt idx="1287">
                  <c:v>36521</c:v>
                </c:pt>
                <c:pt idx="1288">
                  <c:v>36522</c:v>
                </c:pt>
                <c:pt idx="1289">
                  <c:v>36523</c:v>
                </c:pt>
                <c:pt idx="1290">
                  <c:v>36524</c:v>
                </c:pt>
                <c:pt idx="1291">
                  <c:v>36525</c:v>
                </c:pt>
                <c:pt idx="1292">
                  <c:v>36528</c:v>
                </c:pt>
                <c:pt idx="1293">
                  <c:v>36529</c:v>
                </c:pt>
                <c:pt idx="1294">
                  <c:v>36530</c:v>
                </c:pt>
                <c:pt idx="1295">
                  <c:v>36531</c:v>
                </c:pt>
                <c:pt idx="1296">
                  <c:v>36532</c:v>
                </c:pt>
                <c:pt idx="1297">
                  <c:v>36535</c:v>
                </c:pt>
                <c:pt idx="1298">
                  <c:v>36536</c:v>
                </c:pt>
                <c:pt idx="1299">
                  <c:v>36537</c:v>
                </c:pt>
                <c:pt idx="1300">
                  <c:v>36538</c:v>
                </c:pt>
                <c:pt idx="1301">
                  <c:v>36539</c:v>
                </c:pt>
                <c:pt idx="1302">
                  <c:v>36542</c:v>
                </c:pt>
                <c:pt idx="1303">
                  <c:v>36543</c:v>
                </c:pt>
                <c:pt idx="1304">
                  <c:v>36544</c:v>
                </c:pt>
                <c:pt idx="1305">
                  <c:v>36545</c:v>
                </c:pt>
                <c:pt idx="1306">
                  <c:v>36546</c:v>
                </c:pt>
                <c:pt idx="1307">
                  <c:v>36549</c:v>
                </c:pt>
                <c:pt idx="1308">
                  <c:v>36550</c:v>
                </c:pt>
                <c:pt idx="1309">
                  <c:v>36551</c:v>
                </c:pt>
                <c:pt idx="1310">
                  <c:v>36552</c:v>
                </c:pt>
                <c:pt idx="1311">
                  <c:v>36553</c:v>
                </c:pt>
                <c:pt idx="1312">
                  <c:v>36556</c:v>
                </c:pt>
                <c:pt idx="1313">
                  <c:v>36557</c:v>
                </c:pt>
                <c:pt idx="1314">
                  <c:v>36558</c:v>
                </c:pt>
                <c:pt idx="1315">
                  <c:v>36559</c:v>
                </c:pt>
                <c:pt idx="1316">
                  <c:v>36560</c:v>
                </c:pt>
                <c:pt idx="1317">
                  <c:v>36563</c:v>
                </c:pt>
                <c:pt idx="1318">
                  <c:v>36564</c:v>
                </c:pt>
                <c:pt idx="1319">
                  <c:v>36565</c:v>
                </c:pt>
                <c:pt idx="1320">
                  <c:v>36566</c:v>
                </c:pt>
                <c:pt idx="1321">
                  <c:v>36567</c:v>
                </c:pt>
                <c:pt idx="1322">
                  <c:v>36570</c:v>
                </c:pt>
                <c:pt idx="1323">
                  <c:v>36571</c:v>
                </c:pt>
                <c:pt idx="1324">
                  <c:v>36572</c:v>
                </c:pt>
                <c:pt idx="1325">
                  <c:v>36573</c:v>
                </c:pt>
                <c:pt idx="1326">
                  <c:v>36574</c:v>
                </c:pt>
                <c:pt idx="1327">
                  <c:v>36577</c:v>
                </c:pt>
                <c:pt idx="1328">
                  <c:v>36578</c:v>
                </c:pt>
                <c:pt idx="1329">
                  <c:v>36579</c:v>
                </c:pt>
                <c:pt idx="1330">
                  <c:v>36580</c:v>
                </c:pt>
                <c:pt idx="1331">
                  <c:v>36581</c:v>
                </c:pt>
                <c:pt idx="1332">
                  <c:v>36584</c:v>
                </c:pt>
                <c:pt idx="1333">
                  <c:v>36585</c:v>
                </c:pt>
                <c:pt idx="1334">
                  <c:v>36586</c:v>
                </c:pt>
                <c:pt idx="1335">
                  <c:v>36587</c:v>
                </c:pt>
                <c:pt idx="1336">
                  <c:v>36588</c:v>
                </c:pt>
                <c:pt idx="1337">
                  <c:v>36591</c:v>
                </c:pt>
                <c:pt idx="1338">
                  <c:v>36592</c:v>
                </c:pt>
                <c:pt idx="1339">
                  <c:v>36593</c:v>
                </c:pt>
                <c:pt idx="1340">
                  <c:v>36594</c:v>
                </c:pt>
                <c:pt idx="1341">
                  <c:v>36595</c:v>
                </c:pt>
                <c:pt idx="1342">
                  <c:v>36598</c:v>
                </c:pt>
                <c:pt idx="1343">
                  <c:v>36599</c:v>
                </c:pt>
                <c:pt idx="1344">
                  <c:v>36600</c:v>
                </c:pt>
                <c:pt idx="1345">
                  <c:v>36601</c:v>
                </c:pt>
                <c:pt idx="1346">
                  <c:v>36602</c:v>
                </c:pt>
                <c:pt idx="1347">
                  <c:v>36605</c:v>
                </c:pt>
                <c:pt idx="1348">
                  <c:v>36606</c:v>
                </c:pt>
                <c:pt idx="1349">
                  <c:v>36607</c:v>
                </c:pt>
                <c:pt idx="1350">
                  <c:v>36608</c:v>
                </c:pt>
                <c:pt idx="1351">
                  <c:v>36609</c:v>
                </c:pt>
                <c:pt idx="1352">
                  <c:v>36612</c:v>
                </c:pt>
                <c:pt idx="1353">
                  <c:v>36613</c:v>
                </c:pt>
                <c:pt idx="1354">
                  <c:v>36614</c:v>
                </c:pt>
                <c:pt idx="1355">
                  <c:v>36615</c:v>
                </c:pt>
                <c:pt idx="1356">
                  <c:v>36616</c:v>
                </c:pt>
                <c:pt idx="1357">
                  <c:v>36619</c:v>
                </c:pt>
                <c:pt idx="1358">
                  <c:v>36620</c:v>
                </c:pt>
                <c:pt idx="1359">
                  <c:v>36621</c:v>
                </c:pt>
                <c:pt idx="1360">
                  <c:v>36622</c:v>
                </c:pt>
                <c:pt idx="1361">
                  <c:v>36623</c:v>
                </c:pt>
                <c:pt idx="1362">
                  <c:v>36626</c:v>
                </c:pt>
                <c:pt idx="1363">
                  <c:v>36627</c:v>
                </c:pt>
                <c:pt idx="1364">
                  <c:v>36628</c:v>
                </c:pt>
                <c:pt idx="1365">
                  <c:v>36629</c:v>
                </c:pt>
                <c:pt idx="1366">
                  <c:v>36630</c:v>
                </c:pt>
                <c:pt idx="1367">
                  <c:v>36633</c:v>
                </c:pt>
                <c:pt idx="1368">
                  <c:v>36634</c:v>
                </c:pt>
                <c:pt idx="1369">
                  <c:v>36635</c:v>
                </c:pt>
                <c:pt idx="1370">
                  <c:v>36636</c:v>
                </c:pt>
                <c:pt idx="1371">
                  <c:v>36637</c:v>
                </c:pt>
                <c:pt idx="1372">
                  <c:v>36640</c:v>
                </c:pt>
                <c:pt idx="1373">
                  <c:v>36641</c:v>
                </c:pt>
                <c:pt idx="1374">
                  <c:v>36642</c:v>
                </c:pt>
                <c:pt idx="1375">
                  <c:v>36643</c:v>
                </c:pt>
                <c:pt idx="1376">
                  <c:v>36644</c:v>
                </c:pt>
                <c:pt idx="1377">
                  <c:v>36647</c:v>
                </c:pt>
                <c:pt idx="1378">
                  <c:v>36648</c:v>
                </c:pt>
                <c:pt idx="1379">
                  <c:v>36649</c:v>
                </c:pt>
                <c:pt idx="1380">
                  <c:v>36650</c:v>
                </c:pt>
                <c:pt idx="1381">
                  <c:v>36651</c:v>
                </c:pt>
                <c:pt idx="1382">
                  <c:v>36654</c:v>
                </c:pt>
                <c:pt idx="1383">
                  <c:v>36655</c:v>
                </c:pt>
                <c:pt idx="1384">
                  <c:v>36656</c:v>
                </c:pt>
                <c:pt idx="1385">
                  <c:v>36657</c:v>
                </c:pt>
                <c:pt idx="1386">
                  <c:v>36658</c:v>
                </c:pt>
                <c:pt idx="1387">
                  <c:v>36661</c:v>
                </c:pt>
                <c:pt idx="1388">
                  <c:v>36662</c:v>
                </c:pt>
                <c:pt idx="1389">
                  <c:v>36663</c:v>
                </c:pt>
                <c:pt idx="1390">
                  <c:v>36664</c:v>
                </c:pt>
                <c:pt idx="1391">
                  <c:v>36665</c:v>
                </c:pt>
                <c:pt idx="1392">
                  <c:v>36668</c:v>
                </c:pt>
                <c:pt idx="1393">
                  <c:v>36669</c:v>
                </c:pt>
                <c:pt idx="1394">
                  <c:v>36670</c:v>
                </c:pt>
                <c:pt idx="1395">
                  <c:v>36671</c:v>
                </c:pt>
                <c:pt idx="1396">
                  <c:v>36672</c:v>
                </c:pt>
                <c:pt idx="1397">
                  <c:v>36675</c:v>
                </c:pt>
                <c:pt idx="1398">
                  <c:v>36676</c:v>
                </c:pt>
                <c:pt idx="1399">
                  <c:v>36677</c:v>
                </c:pt>
                <c:pt idx="1400">
                  <c:v>36678</c:v>
                </c:pt>
                <c:pt idx="1401">
                  <c:v>36679</c:v>
                </c:pt>
                <c:pt idx="1402">
                  <c:v>36682</c:v>
                </c:pt>
                <c:pt idx="1403">
                  <c:v>36683</c:v>
                </c:pt>
                <c:pt idx="1404">
                  <c:v>36684</c:v>
                </c:pt>
                <c:pt idx="1405">
                  <c:v>36685</c:v>
                </c:pt>
                <c:pt idx="1406">
                  <c:v>36686</c:v>
                </c:pt>
                <c:pt idx="1407">
                  <c:v>36689</c:v>
                </c:pt>
                <c:pt idx="1408">
                  <c:v>36690</c:v>
                </c:pt>
                <c:pt idx="1409">
                  <c:v>36691</c:v>
                </c:pt>
                <c:pt idx="1410">
                  <c:v>36692</c:v>
                </c:pt>
                <c:pt idx="1411">
                  <c:v>36693</c:v>
                </c:pt>
                <c:pt idx="1412">
                  <c:v>36696</c:v>
                </c:pt>
                <c:pt idx="1413">
                  <c:v>36697</c:v>
                </c:pt>
                <c:pt idx="1414">
                  <c:v>36698</c:v>
                </c:pt>
                <c:pt idx="1415">
                  <c:v>36699</c:v>
                </c:pt>
                <c:pt idx="1416">
                  <c:v>36700</c:v>
                </c:pt>
                <c:pt idx="1417">
                  <c:v>36703</c:v>
                </c:pt>
                <c:pt idx="1418">
                  <c:v>36704</c:v>
                </c:pt>
                <c:pt idx="1419">
                  <c:v>36705</c:v>
                </c:pt>
                <c:pt idx="1420">
                  <c:v>36706</c:v>
                </c:pt>
                <c:pt idx="1421">
                  <c:v>36707</c:v>
                </c:pt>
                <c:pt idx="1422">
                  <c:v>36710</c:v>
                </c:pt>
                <c:pt idx="1423">
                  <c:v>36711</c:v>
                </c:pt>
                <c:pt idx="1424">
                  <c:v>36712</c:v>
                </c:pt>
                <c:pt idx="1425">
                  <c:v>36713</c:v>
                </c:pt>
                <c:pt idx="1426">
                  <c:v>36714</c:v>
                </c:pt>
                <c:pt idx="1427">
                  <c:v>36717</c:v>
                </c:pt>
                <c:pt idx="1428">
                  <c:v>36718</c:v>
                </c:pt>
                <c:pt idx="1429">
                  <c:v>36719</c:v>
                </c:pt>
                <c:pt idx="1430">
                  <c:v>36720</c:v>
                </c:pt>
                <c:pt idx="1431">
                  <c:v>36721</c:v>
                </c:pt>
                <c:pt idx="1432">
                  <c:v>36724</c:v>
                </c:pt>
                <c:pt idx="1433">
                  <c:v>36725</c:v>
                </c:pt>
                <c:pt idx="1434">
                  <c:v>36726</c:v>
                </c:pt>
                <c:pt idx="1435">
                  <c:v>36727</c:v>
                </c:pt>
                <c:pt idx="1436">
                  <c:v>36728</c:v>
                </c:pt>
                <c:pt idx="1437">
                  <c:v>36731</c:v>
                </c:pt>
                <c:pt idx="1438">
                  <c:v>36732</c:v>
                </c:pt>
                <c:pt idx="1439">
                  <c:v>36733</c:v>
                </c:pt>
                <c:pt idx="1440">
                  <c:v>36734</c:v>
                </c:pt>
                <c:pt idx="1441">
                  <c:v>36735</c:v>
                </c:pt>
                <c:pt idx="1442">
                  <c:v>36738</c:v>
                </c:pt>
                <c:pt idx="1443">
                  <c:v>36739</c:v>
                </c:pt>
                <c:pt idx="1444">
                  <c:v>36740</c:v>
                </c:pt>
                <c:pt idx="1445">
                  <c:v>36741</c:v>
                </c:pt>
                <c:pt idx="1446">
                  <c:v>36742</c:v>
                </c:pt>
                <c:pt idx="1447">
                  <c:v>36745</c:v>
                </c:pt>
                <c:pt idx="1448">
                  <c:v>36746</c:v>
                </c:pt>
                <c:pt idx="1449">
                  <c:v>36747</c:v>
                </c:pt>
                <c:pt idx="1450">
                  <c:v>36748</c:v>
                </c:pt>
                <c:pt idx="1451">
                  <c:v>36749</c:v>
                </c:pt>
                <c:pt idx="1452">
                  <c:v>36752</c:v>
                </c:pt>
                <c:pt idx="1453">
                  <c:v>36753</c:v>
                </c:pt>
                <c:pt idx="1454">
                  <c:v>36754</c:v>
                </c:pt>
                <c:pt idx="1455">
                  <c:v>36755</c:v>
                </c:pt>
                <c:pt idx="1456">
                  <c:v>36756</c:v>
                </c:pt>
                <c:pt idx="1457">
                  <c:v>36759</c:v>
                </c:pt>
                <c:pt idx="1458">
                  <c:v>36760</c:v>
                </c:pt>
                <c:pt idx="1459">
                  <c:v>36761</c:v>
                </c:pt>
                <c:pt idx="1460">
                  <c:v>36762</c:v>
                </c:pt>
                <c:pt idx="1461">
                  <c:v>36763</c:v>
                </c:pt>
                <c:pt idx="1462">
                  <c:v>36766</c:v>
                </c:pt>
                <c:pt idx="1463">
                  <c:v>36767</c:v>
                </c:pt>
                <c:pt idx="1464">
                  <c:v>36768</c:v>
                </c:pt>
                <c:pt idx="1465">
                  <c:v>36769</c:v>
                </c:pt>
                <c:pt idx="1466">
                  <c:v>36770</c:v>
                </c:pt>
                <c:pt idx="1467">
                  <c:v>36773</c:v>
                </c:pt>
                <c:pt idx="1468">
                  <c:v>36774</c:v>
                </c:pt>
                <c:pt idx="1469">
                  <c:v>36775</c:v>
                </c:pt>
                <c:pt idx="1470">
                  <c:v>36776</c:v>
                </c:pt>
                <c:pt idx="1471">
                  <c:v>36777</c:v>
                </c:pt>
                <c:pt idx="1472">
                  <c:v>36780</c:v>
                </c:pt>
                <c:pt idx="1473">
                  <c:v>36781</c:v>
                </c:pt>
                <c:pt idx="1474">
                  <c:v>36782</c:v>
                </c:pt>
                <c:pt idx="1475">
                  <c:v>36783</c:v>
                </c:pt>
                <c:pt idx="1476">
                  <c:v>36784</c:v>
                </c:pt>
                <c:pt idx="1477">
                  <c:v>36787</c:v>
                </c:pt>
                <c:pt idx="1478">
                  <c:v>36788</c:v>
                </c:pt>
                <c:pt idx="1479">
                  <c:v>36789</c:v>
                </c:pt>
                <c:pt idx="1480">
                  <c:v>36790</c:v>
                </c:pt>
                <c:pt idx="1481">
                  <c:v>36791</c:v>
                </c:pt>
                <c:pt idx="1482">
                  <c:v>36794</c:v>
                </c:pt>
                <c:pt idx="1483">
                  <c:v>36795</c:v>
                </c:pt>
                <c:pt idx="1484">
                  <c:v>36796</c:v>
                </c:pt>
                <c:pt idx="1485">
                  <c:v>36797</c:v>
                </c:pt>
                <c:pt idx="1486">
                  <c:v>36798</c:v>
                </c:pt>
                <c:pt idx="1487">
                  <c:v>36801</c:v>
                </c:pt>
                <c:pt idx="1488">
                  <c:v>36802</c:v>
                </c:pt>
                <c:pt idx="1489">
                  <c:v>36803</c:v>
                </c:pt>
                <c:pt idx="1490">
                  <c:v>36804</c:v>
                </c:pt>
                <c:pt idx="1491">
                  <c:v>36805</c:v>
                </c:pt>
                <c:pt idx="1492">
                  <c:v>36808</c:v>
                </c:pt>
                <c:pt idx="1493">
                  <c:v>36809</c:v>
                </c:pt>
                <c:pt idx="1494">
                  <c:v>36810</c:v>
                </c:pt>
                <c:pt idx="1495">
                  <c:v>36811</c:v>
                </c:pt>
                <c:pt idx="1496">
                  <c:v>36812</c:v>
                </c:pt>
                <c:pt idx="1497">
                  <c:v>36815</c:v>
                </c:pt>
                <c:pt idx="1498">
                  <c:v>36816</c:v>
                </c:pt>
                <c:pt idx="1499">
                  <c:v>36817</c:v>
                </c:pt>
                <c:pt idx="1500">
                  <c:v>36818</c:v>
                </c:pt>
                <c:pt idx="1501">
                  <c:v>36819</c:v>
                </c:pt>
                <c:pt idx="1502">
                  <c:v>36822</c:v>
                </c:pt>
                <c:pt idx="1503">
                  <c:v>36823</c:v>
                </c:pt>
                <c:pt idx="1504">
                  <c:v>36824</c:v>
                </c:pt>
                <c:pt idx="1505">
                  <c:v>36825</c:v>
                </c:pt>
                <c:pt idx="1506">
                  <c:v>36826</c:v>
                </c:pt>
                <c:pt idx="1507">
                  <c:v>36829</c:v>
                </c:pt>
                <c:pt idx="1508">
                  <c:v>36830</c:v>
                </c:pt>
                <c:pt idx="1509">
                  <c:v>36831</c:v>
                </c:pt>
                <c:pt idx="1510">
                  <c:v>36832</c:v>
                </c:pt>
                <c:pt idx="1511">
                  <c:v>36833</c:v>
                </c:pt>
                <c:pt idx="1512">
                  <c:v>36836</c:v>
                </c:pt>
                <c:pt idx="1513">
                  <c:v>36837</c:v>
                </c:pt>
                <c:pt idx="1514">
                  <c:v>36838</c:v>
                </c:pt>
                <c:pt idx="1515">
                  <c:v>36839</c:v>
                </c:pt>
                <c:pt idx="1516">
                  <c:v>36840</c:v>
                </c:pt>
                <c:pt idx="1517">
                  <c:v>36843</c:v>
                </c:pt>
                <c:pt idx="1518">
                  <c:v>36844</c:v>
                </c:pt>
                <c:pt idx="1519">
                  <c:v>36845</c:v>
                </c:pt>
                <c:pt idx="1520">
                  <c:v>36846</c:v>
                </c:pt>
                <c:pt idx="1521">
                  <c:v>36847</c:v>
                </c:pt>
                <c:pt idx="1522">
                  <c:v>36850</c:v>
                </c:pt>
                <c:pt idx="1523">
                  <c:v>36851</c:v>
                </c:pt>
                <c:pt idx="1524">
                  <c:v>36852</c:v>
                </c:pt>
                <c:pt idx="1525">
                  <c:v>36853</c:v>
                </c:pt>
                <c:pt idx="1526">
                  <c:v>36854</c:v>
                </c:pt>
                <c:pt idx="1527">
                  <c:v>36857</c:v>
                </c:pt>
                <c:pt idx="1528">
                  <c:v>36858</c:v>
                </c:pt>
                <c:pt idx="1529">
                  <c:v>36859</c:v>
                </c:pt>
                <c:pt idx="1530">
                  <c:v>36860</c:v>
                </c:pt>
                <c:pt idx="1531">
                  <c:v>36861</c:v>
                </c:pt>
                <c:pt idx="1532">
                  <c:v>36864</c:v>
                </c:pt>
                <c:pt idx="1533">
                  <c:v>36865</c:v>
                </c:pt>
                <c:pt idx="1534">
                  <c:v>36866</c:v>
                </c:pt>
                <c:pt idx="1535">
                  <c:v>36867</c:v>
                </c:pt>
                <c:pt idx="1536">
                  <c:v>36868</c:v>
                </c:pt>
                <c:pt idx="1537">
                  <c:v>36871</c:v>
                </c:pt>
                <c:pt idx="1538">
                  <c:v>36872</c:v>
                </c:pt>
                <c:pt idx="1539">
                  <c:v>36873</c:v>
                </c:pt>
                <c:pt idx="1540">
                  <c:v>36874</c:v>
                </c:pt>
                <c:pt idx="1541">
                  <c:v>36875</c:v>
                </c:pt>
                <c:pt idx="1542">
                  <c:v>36878</c:v>
                </c:pt>
                <c:pt idx="1543">
                  <c:v>36879</c:v>
                </c:pt>
                <c:pt idx="1544">
                  <c:v>36880</c:v>
                </c:pt>
                <c:pt idx="1545">
                  <c:v>36881</c:v>
                </c:pt>
                <c:pt idx="1546">
                  <c:v>36882</c:v>
                </c:pt>
                <c:pt idx="1547">
                  <c:v>36885</c:v>
                </c:pt>
                <c:pt idx="1548">
                  <c:v>36886</c:v>
                </c:pt>
                <c:pt idx="1549">
                  <c:v>36887</c:v>
                </c:pt>
                <c:pt idx="1550">
                  <c:v>36888</c:v>
                </c:pt>
                <c:pt idx="1551">
                  <c:v>36889</c:v>
                </c:pt>
                <c:pt idx="1552">
                  <c:v>36892</c:v>
                </c:pt>
                <c:pt idx="1553">
                  <c:v>36893</c:v>
                </c:pt>
                <c:pt idx="1554">
                  <c:v>36894</c:v>
                </c:pt>
                <c:pt idx="1555">
                  <c:v>36895</c:v>
                </c:pt>
                <c:pt idx="1556">
                  <c:v>36896</c:v>
                </c:pt>
                <c:pt idx="1557">
                  <c:v>36899</c:v>
                </c:pt>
                <c:pt idx="1558">
                  <c:v>36900</c:v>
                </c:pt>
                <c:pt idx="1559">
                  <c:v>36901</c:v>
                </c:pt>
                <c:pt idx="1560">
                  <c:v>36902</c:v>
                </c:pt>
                <c:pt idx="1561">
                  <c:v>36903</c:v>
                </c:pt>
                <c:pt idx="1562">
                  <c:v>36906</c:v>
                </c:pt>
                <c:pt idx="1563">
                  <c:v>36907</c:v>
                </c:pt>
                <c:pt idx="1564">
                  <c:v>36908</c:v>
                </c:pt>
                <c:pt idx="1565">
                  <c:v>36909</c:v>
                </c:pt>
                <c:pt idx="1566">
                  <c:v>36910</c:v>
                </c:pt>
                <c:pt idx="1567">
                  <c:v>36913</c:v>
                </c:pt>
                <c:pt idx="1568">
                  <c:v>36914</c:v>
                </c:pt>
                <c:pt idx="1569">
                  <c:v>36915</c:v>
                </c:pt>
                <c:pt idx="1570">
                  <c:v>36916</c:v>
                </c:pt>
                <c:pt idx="1571">
                  <c:v>36917</c:v>
                </c:pt>
                <c:pt idx="1572">
                  <c:v>36920</c:v>
                </c:pt>
                <c:pt idx="1573">
                  <c:v>36921</c:v>
                </c:pt>
                <c:pt idx="1574">
                  <c:v>36922</c:v>
                </c:pt>
                <c:pt idx="1575">
                  <c:v>36923</c:v>
                </c:pt>
                <c:pt idx="1576">
                  <c:v>36924</c:v>
                </c:pt>
                <c:pt idx="1577">
                  <c:v>36927</c:v>
                </c:pt>
                <c:pt idx="1578">
                  <c:v>36928</c:v>
                </c:pt>
                <c:pt idx="1579">
                  <c:v>36929</c:v>
                </c:pt>
                <c:pt idx="1580">
                  <c:v>36930</c:v>
                </c:pt>
                <c:pt idx="1581">
                  <c:v>36931</c:v>
                </c:pt>
                <c:pt idx="1582">
                  <c:v>36934</c:v>
                </c:pt>
                <c:pt idx="1583">
                  <c:v>36935</c:v>
                </c:pt>
                <c:pt idx="1584">
                  <c:v>36936</c:v>
                </c:pt>
                <c:pt idx="1585">
                  <c:v>36937</c:v>
                </c:pt>
                <c:pt idx="1586">
                  <c:v>36938</c:v>
                </c:pt>
                <c:pt idx="1587">
                  <c:v>36941</c:v>
                </c:pt>
                <c:pt idx="1588">
                  <c:v>36942</c:v>
                </c:pt>
                <c:pt idx="1589">
                  <c:v>36943</c:v>
                </c:pt>
                <c:pt idx="1590">
                  <c:v>36944</c:v>
                </c:pt>
                <c:pt idx="1591">
                  <c:v>36945</c:v>
                </c:pt>
                <c:pt idx="1592">
                  <c:v>36948</c:v>
                </c:pt>
                <c:pt idx="1593">
                  <c:v>36949</c:v>
                </c:pt>
                <c:pt idx="1594">
                  <c:v>36950</c:v>
                </c:pt>
                <c:pt idx="1595">
                  <c:v>36951</c:v>
                </c:pt>
                <c:pt idx="1596">
                  <c:v>36952</c:v>
                </c:pt>
                <c:pt idx="1597">
                  <c:v>36955</c:v>
                </c:pt>
                <c:pt idx="1598">
                  <c:v>36956</c:v>
                </c:pt>
                <c:pt idx="1599">
                  <c:v>36957</c:v>
                </c:pt>
                <c:pt idx="1600">
                  <c:v>36958</c:v>
                </c:pt>
                <c:pt idx="1601">
                  <c:v>36959</c:v>
                </c:pt>
                <c:pt idx="1602">
                  <c:v>36962</c:v>
                </c:pt>
                <c:pt idx="1603">
                  <c:v>36963</c:v>
                </c:pt>
                <c:pt idx="1604">
                  <c:v>36964</c:v>
                </c:pt>
                <c:pt idx="1605">
                  <c:v>36965</c:v>
                </c:pt>
                <c:pt idx="1606">
                  <c:v>36966</c:v>
                </c:pt>
                <c:pt idx="1607">
                  <c:v>36969</c:v>
                </c:pt>
                <c:pt idx="1608">
                  <c:v>36970</c:v>
                </c:pt>
                <c:pt idx="1609">
                  <c:v>36971</c:v>
                </c:pt>
                <c:pt idx="1610">
                  <c:v>36972</c:v>
                </c:pt>
                <c:pt idx="1611">
                  <c:v>36973</c:v>
                </c:pt>
                <c:pt idx="1612">
                  <c:v>36976</c:v>
                </c:pt>
                <c:pt idx="1613">
                  <c:v>36977</c:v>
                </c:pt>
                <c:pt idx="1614">
                  <c:v>36978</c:v>
                </c:pt>
                <c:pt idx="1615">
                  <c:v>36979</c:v>
                </c:pt>
                <c:pt idx="1616">
                  <c:v>36980</c:v>
                </c:pt>
                <c:pt idx="1617">
                  <c:v>36983</c:v>
                </c:pt>
                <c:pt idx="1618">
                  <c:v>36984</c:v>
                </c:pt>
                <c:pt idx="1619">
                  <c:v>36985</c:v>
                </c:pt>
                <c:pt idx="1620">
                  <c:v>36986</c:v>
                </c:pt>
                <c:pt idx="1621">
                  <c:v>36987</c:v>
                </c:pt>
                <c:pt idx="1622">
                  <c:v>36990</c:v>
                </c:pt>
                <c:pt idx="1623">
                  <c:v>36991</c:v>
                </c:pt>
                <c:pt idx="1624">
                  <c:v>36992</c:v>
                </c:pt>
                <c:pt idx="1625">
                  <c:v>36993</c:v>
                </c:pt>
                <c:pt idx="1626">
                  <c:v>36994</c:v>
                </c:pt>
                <c:pt idx="1627">
                  <c:v>36997</c:v>
                </c:pt>
                <c:pt idx="1628">
                  <c:v>36998</c:v>
                </c:pt>
                <c:pt idx="1629">
                  <c:v>36999</c:v>
                </c:pt>
                <c:pt idx="1630">
                  <c:v>37000</c:v>
                </c:pt>
                <c:pt idx="1631">
                  <c:v>37001</c:v>
                </c:pt>
                <c:pt idx="1632">
                  <c:v>37004</c:v>
                </c:pt>
                <c:pt idx="1633">
                  <c:v>37005</c:v>
                </c:pt>
                <c:pt idx="1634">
                  <c:v>37006</c:v>
                </c:pt>
                <c:pt idx="1635">
                  <c:v>37007</c:v>
                </c:pt>
                <c:pt idx="1636">
                  <c:v>37008</c:v>
                </c:pt>
                <c:pt idx="1637">
                  <c:v>37011</c:v>
                </c:pt>
                <c:pt idx="1638">
                  <c:v>37012</c:v>
                </c:pt>
                <c:pt idx="1639">
                  <c:v>37013</c:v>
                </c:pt>
                <c:pt idx="1640">
                  <c:v>37014</c:v>
                </c:pt>
                <c:pt idx="1641">
                  <c:v>37015</c:v>
                </c:pt>
                <c:pt idx="1642">
                  <c:v>37018</c:v>
                </c:pt>
                <c:pt idx="1643">
                  <c:v>37019</c:v>
                </c:pt>
                <c:pt idx="1644">
                  <c:v>37020</c:v>
                </c:pt>
                <c:pt idx="1645">
                  <c:v>37021</c:v>
                </c:pt>
                <c:pt idx="1646">
                  <c:v>37022</c:v>
                </c:pt>
                <c:pt idx="1647">
                  <c:v>37025</c:v>
                </c:pt>
                <c:pt idx="1648">
                  <c:v>37026</c:v>
                </c:pt>
                <c:pt idx="1649">
                  <c:v>37027</c:v>
                </c:pt>
                <c:pt idx="1650">
                  <c:v>37028</c:v>
                </c:pt>
                <c:pt idx="1651">
                  <c:v>37029</c:v>
                </c:pt>
                <c:pt idx="1652">
                  <c:v>37032</c:v>
                </c:pt>
                <c:pt idx="1653">
                  <c:v>37033</c:v>
                </c:pt>
                <c:pt idx="1654">
                  <c:v>37034</c:v>
                </c:pt>
                <c:pt idx="1655">
                  <c:v>37035</c:v>
                </c:pt>
                <c:pt idx="1656">
                  <c:v>37036</c:v>
                </c:pt>
                <c:pt idx="1657">
                  <c:v>37039</c:v>
                </c:pt>
                <c:pt idx="1658">
                  <c:v>37040</c:v>
                </c:pt>
                <c:pt idx="1659">
                  <c:v>37041</c:v>
                </c:pt>
                <c:pt idx="1660">
                  <c:v>37042</c:v>
                </c:pt>
                <c:pt idx="1661">
                  <c:v>37043</c:v>
                </c:pt>
                <c:pt idx="1662">
                  <c:v>37046</c:v>
                </c:pt>
                <c:pt idx="1663">
                  <c:v>37047</c:v>
                </c:pt>
                <c:pt idx="1664">
                  <c:v>37048</c:v>
                </c:pt>
                <c:pt idx="1665">
                  <c:v>37049</c:v>
                </c:pt>
                <c:pt idx="1666">
                  <c:v>37050</c:v>
                </c:pt>
                <c:pt idx="1667">
                  <c:v>37053</c:v>
                </c:pt>
                <c:pt idx="1668">
                  <c:v>37054</c:v>
                </c:pt>
                <c:pt idx="1669">
                  <c:v>37055</c:v>
                </c:pt>
                <c:pt idx="1670">
                  <c:v>37056</c:v>
                </c:pt>
                <c:pt idx="1671">
                  <c:v>37057</c:v>
                </c:pt>
                <c:pt idx="1672">
                  <c:v>37060</c:v>
                </c:pt>
                <c:pt idx="1673">
                  <c:v>37061</c:v>
                </c:pt>
                <c:pt idx="1674">
                  <c:v>37062</c:v>
                </c:pt>
                <c:pt idx="1675">
                  <c:v>37063</c:v>
                </c:pt>
                <c:pt idx="1676">
                  <c:v>37064</c:v>
                </c:pt>
                <c:pt idx="1677">
                  <c:v>37067</c:v>
                </c:pt>
                <c:pt idx="1678">
                  <c:v>37068</c:v>
                </c:pt>
                <c:pt idx="1679">
                  <c:v>37069</c:v>
                </c:pt>
                <c:pt idx="1680">
                  <c:v>37070</c:v>
                </c:pt>
                <c:pt idx="1681">
                  <c:v>37071</c:v>
                </c:pt>
                <c:pt idx="1682">
                  <c:v>37074</c:v>
                </c:pt>
                <c:pt idx="1683">
                  <c:v>37075</c:v>
                </c:pt>
                <c:pt idx="1684">
                  <c:v>37076</c:v>
                </c:pt>
                <c:pt idx="1685">
                  <c:v>37077</c:v>
                </c:pt>
                <c:pt idx="1686">
                  <c:v>37078</c:v>
                </c:pt>
                <c:pt idx="1687">
                  <c:v>37081</c:v>
                </c:pt>
                <c:pt idx="1688">
                  <c:v>37082</c:v>
                </c:pt>
                <c:pt idx="1689">
                  <c:v>37083</c:v>
                </c:pt>
                <c:pt idx="1690">
                  <c:v>37084</c:v>
                </c:pt>
                <c:pt idx="1691">
                  <c:v>37085</c:v>
                </c:pt>
                <c:pt idx="1692">
                  <c:v>37088</c:v>
                </c:pt>
                <c:pt idx="1693">
                  <c:v>37089</c:v>
                </c:pt>
                <c:pt idx="1694">
                  <c:v>37090</c:v>
                </c:pt>
                <c:pt idx="1695">
                  <c:v>37091</c:v>
                </c:pt>
                <c:pt idx="1696">
                  <c:v>37092</c:v>
                </c:pt>
                <c:pt idx="1697">
                  <c:v>37095</c:v>
                </c:pt>
                <c:pt idx="1698">
                  <c:v>37096</c:v>
                </c:pt>
                <c:pt idx="1699">
                  <c:v>37097</c:v>
                </c:pt>
                <c:pt idx="1700">
                  <c:v>37098</c:v>
                </c:pt>
                <c:pt idx="1701">
                  <c:v>37099</c:v>
                </c:pt>
                <c:pt idx="1702">
                  <c:v>37102</c:v>
                </c:pt>
                <c:pt idx="1703">
                  <c:v>37103</c:v>
                </c:pt>
                <c:pt idx="1704">
                  <c:v>37104</c:v>
                </c:pt>
                <c:pt idx="1705">
                  <c:v>37105</c:v>
                </c:pt>
                <c:pt idx="1706">
                  <c:v>37106</c:v>
                </c:pt>
                <c:pt idx="1707">
                  <c:v>37109</c:v>
                </c:pt>
                <c:pt idx="1708">
                  <c:v>37110</c:v>
                </c:pt>
                <c:pt idx="1709">
                  <c:v>37111</c:v>
                </c:pt>
                <c:pt idx="1710">
                  <c:v>37112</c:v>
                </c:pt>
                <c:pt idx="1711">
                  <c:v>37113</c:v>
                </c:pt>
                <c:pt idx="1712">
                  <c:v>37116</c:v>
                </c:pt>
                <c:pt idx="1713">
                  <c:v>37117</c:v>
                </c:pt>
                <c:pt idx="1714">
                  <c:v>37118</c:v>
                </c:pt>
                <c:pt idx="1715">
                  <c:v>37119</c:v>
                </c:pt>
                <c:pt idx="1716">
                  <c:v>37120</c:v>
                </c:pt>
                <c:pt idx="1717">
                  <c:v>37123</c:v>
                </c:pt>
                <c:pt idx="1718">
                  <c:v>37124</c:v>
                </c:pt>
                <c:pt idx="1719">
                  <c:v>37125</c:v>
                </c:pt>
                <c:pt idx="1720">
                  <c:v>37126</c:v>
                </c:pt>
                <c:pt idx="1721">
                  <c:v>37127</c:v>
                </c:pt>
                <c:pt idx="1722">
                  <c:v>37130</c:v>
                </c:pt>
                <c:pt idx="1723">
                  <c:v>37131</c:v>
                </c:pt>
                <c:pt idx="1724">
                  <c:v>37132</c:v>
                </c:pt>
                <c:pt idx="1725">
                  <c:v>37133</c:v>
                </c:pt>
                <c:pt idx="1726">
                  <c:v>37134</c:v>
                </c:pt>
                <c:pt idx="1727">
                  <c:v>37137</c:v>
                </c:pt>
                <c:pt idx="1728">
                  <c:v>37138</c:v>
                </c:pt>
                <c:pt idx="1729">
                  <c:v>37139</c:v>
                </c:pt>
                <c:pt idx="1730">
                  <c:v>37140</c:v>
                </c:pt>
                <c:pt idx="1731">
                  <c:v>37141</c:v>
                </c:pt>
                <c:pt idx="1732">
                  <c:v>37144</c:v>
                </c:pt>
                <c:pt idx="1733">
                  <c:v>37145</c:v>
                </c:pt>
                <c:pt idx="1734">
                  <c:v>37146</c:v>
                </c:pt>
                <c:pt idx="1735">
                  <c:v>37147</c:v>
                </c:pt>
                <c:pt idx="1736">
                  <c:v>37148</c:v>
                </c:pt>
                <c:pt idx="1737">
                  <c:v>37151</c:v>
                </c:pt>
                <c:pt idx="1738">
                  <c:v>37152</c:v>
                </c:pt>
                <c:pt idx="1739">
                  <c:v>37153</c:v>
                </c:pt>
                <c:pt idx="1740">
                  <c:v>37154</c:v>
                </c:pt>
                <c:pt idx="1741">
                  <c:v>37155</c:v>
                </c:pt>
                <c:pt idx="1742">
                  <c:v>37158</c:v>
                </c:pt>
                <c:pt idx="1743">
                  <c:v>37159</c:v>
                </c:pt>
                <c:pt idx="1744">
                  <c:v>37160</c:v>
                </c:pt>
                <c:pt idx="1745">
                  <c:v>37161</c:v>
                </c:pt>
                <c:pt idx="1746">
                  <c:v>37162</c:v>
                </c:pt>
                <c:pt idx="1747">
                  <c:v>37165</c:v>
                </c:pt>
                <c:pt idx="1748">
                  <c:v>37166</c:v>
                </c:pt>
                <c:pt idx="1749">
                  <c:v>37167</c:v>
                </c:pt>
                <c:pt idx="1750">
                  <c:v>37168</c:v>
                </c:pt>
                <c:pt idx="1751">
                  <c:v>37169</c:v>
                </c:pt>
                <c:pt idx="1752">
                  <c:v>37172</c:v>
                </c:pt>
                <c:pt idx="1753">
                  <c:v>37173</c:v>
                </c:pt>
                <c:pt idx="1754">
                  <c:v>37174</c:v>
                </c:pt>
                <c:pt idx="1755">
                  <c:v>37175</c:v>
                </c:pt>
                <c:pt idx="1756">
                  <c:v>37176</c:v>
                </c:pt>
                <c:pt idx="1757">
                  <c:v>37179</c:v>
                </c:pt>
                <c:pt idx="1758">
                  <c:v>37180</c:v>
                </c:pt>
                <c:pt idx="1759">
                  <c:v>37181</c:v>
                </c:pt>
                <c:pt idx="1760">
                  <c:v>37182</c:v>
                </c:pt>
                <c:pt idx="1761">
                  <c:v>37183</c:v>
                </c:pt>
                <c:pt idx="1762">
                  <c:v>37186</c:v>
                </c:pt>
                <c:pt idx="1763">
                  <c:v>37187</c:v>
                </c:pt>
                <c:pt idx="1764">
                  <c:v>37188</c:v>
                </c:pt>
                <c:pt idx="1765">
                  <c:v>37189</c:v>
                </c:pt>
                <c:pt idx="1766">
                  <c:v>37190</c:v>
                </c:pt>
                <c:pt idx="1767">
                  <c:v>37193</c:v>
                </c:pt>
                <c:pt idx="1768">
                  <c:v>37194</c:v>
                </c:pt>
                <c:pt idx="1769">
                  <c:v>37195</c:v>
                </c:pt>
                <c:pt idx="1770">
                  <c:v>37196</c:v>
                </c:pt>
                <c:pt idx="1771">
                  <c:v>37197</c:v>
                </c:pt>
                <c:pt idx="1772">
                  <c:v>37200</c:v>
                </c:pt>
                <c:pt idx="1773">
                  <c:v>37201</c:v>
                </c:pt>
                <c:pt idx="1774">
                  <c:v>37202</c:v>
                </c:pt>
                <c:pt idx="1775">
                  <c:v>37203</c:v>
                </c:pt>
                <c:pt idx="1776">
                  <c:v>37204</c:v>
                </c:pt>
                <c:pt idx="1777">
                  <c:v>37207</c:v>
                </c:pt>
                <c:pt idx="1778">
                  <c:v>37208</c:v>
                </c:pt>
                <c:pt idx="1779">
                  <c:v>37209</c:v>
                </c:pt>
                <c:pt idx="1780">
                  <c:v>37210</c:v>
                </c:pt>
                <c:pt idx="1781">
                  <c:v>37211</c:v>
                </c:pt>
                <c:pt idx="1782">
                  <c:v>37214</c:v>
                </c:pt>
                <c:pt idx="1783">
                  <c:v>37215</c:v>
                </c:pt>
                <c:pt idx="1784">
                  <c:v>37216</c:v>
                </c:pt>
                <c:pt idx="1785">
                  <c:v>37217</c:v>
                </c:pt>
                <c:pt idx="1786">
                  <c:v>37218</c:v>
                </c:pt>
                <c:pt idx="1787">
                  <c:v>37221</c:v>
                </c:pt>
                <c:pt idx="1788">
                  <c:v>37222</c:v>
                </c:pt>
                <c:pt idx="1789">
                  <c:v>37223</c:v>
                </c:pt>
                <c:pt idx="1790">
                  <c:v>37224</c:v>
                </c:pt>
                <c:pt idx="1791">
                  <c:v>37225</c:v>
                </c:pt>
                <c:pt idx="1792">
                  <c:v>37228</c:v>
                </c:pt>
                <c:pt idx="1793">
                  <c:v>37229</c:v>
                </c:pt>
                <c:pt idx="1794">
                  <c:v>37230</c:v>
                </c:pt>
                <c:pt idx="1795">
                  <c:v>37231</c:v>
                </c:pt>
                <c:pt idx="1796">
                  <c:v>37232</c:v>
                </c:pt>
                <c:pt idx="1797">
                  <c:v>37235</c:v>
                </c:pt>
                <c:pt idx="1798">
                  <c:v>37236</c:v>
                </c:pt>
                <c:pt idx="1799">
                  <c:v>37237</c:v>
                </c:pt>
                <c:pt idx="1800">
                  <c:v>37238</c:v>
                </c:pt>
                <c:pt idx="1801">
                  <c:v>37239</c:v>
                </c:pt>
                <c:pt idx="1802">
                  <c:v>37242</c:v>
                </c:pt>
                <c:pt idx="1803">
                  <c:v>37243</c:v>
                </c:pt>
                <c:pt idx="1804">
                  <c:v>37244</c:v>
                </c:pt>
                <c:pt idx="1805">
                  <c:v>37245</c:v>
                </c:pt>
                <c:pt idx="1806">
                  <c:v>37246</c:v>
                </c:pt>
                <c:pt idx="1807">
                  <c:v>37249</c:v>
                </c:pt>
                <c:pt idx="1808">
                  <c:v>37250</c:v>
                </c:pt>
                <c:pt idx="1809">
                  <c:v>37251</c:v>
                </c:pt>
                <c:pt idx="1810">
                  <c:v>37252</c:v>
                </c:pt>
                <c:pt idx="1811">
                  <c:v>37253</c:v>
                </c:pt>
                <c:pt idx="1812">
                  <c:v>37256</c:v>
                </c:pt>
                <c:pt idx="1813">
                  <c:v>37257</c:v>
                </c:pt>
                <c:pt idx="1814">
                  <c:v>37258</c:v>
                </c:pt>
                <c:pt idx="1815">
                  <c:v>37259</c:v>
                </c:pt>
                <c:pt idx="1816">
                  <c:v>37260</c:v>
                </c:pt>
                <c:pt idx="1817">
                  <c:v>37263</c:v>
                </c:pt>
                <c:pt idx="1818">
                  <c:v>37264</c:v>
                </c:pt>
                <c:pt idx="1819">
                  <c:v>37265</c:v>
                </c:pt>
                <c:pt idx="1820">
                  <c:v>37266</c:v>
                </c:pt>
                <c:pt idx="1821">
                  <c:v>37267</c:v>
                </c:pt>
                <c:pt idx="1822">
                  <c:v>37270</c:v>
                </c:pt>
                <c:pt idx="1823">
                  <c:v>37271</c:v>
                </c:pt>
                <c:pt idx="1824">
                  <c:v>37272</c:v>
                </c:pt>
                <c:pt idx="1825">
                  <c:v>37273</c:v>
                </c:pt>
                <c:pt idx="1826">
                  <c:v>37274</c:v>
                </c:pt>
                <c:pt idx="1827">
                  <c:v>37277</c:v>
                </c:pt>
                <c:pt idx="1828">
                  <c:v>37278</c:v>
                </c:pt>
                <c:pt idx="1829">
                  <c:v>37279</c:v>
                </c:pt>
                <c:pt idx="1830">
                  <c:v>37280</c:v>
                </c:pt>
                <c:pt idx="1831">
                  <c:v>37281</c:v>
                </c:pt>
                <c:pt idx="1832">
                  <c:v>37284</c:v>
                </c:pt>
                <c:pt idx="1833">
                  <c:v>37285</c:v>
                </c:pt>
                <c:pt idx="1834">
                  <c:v>37286</c:v>
                </c:pt>
                <c:pt idx="1835">
                  <c:v>37287</c:v>
                </c:pt>
                <c:pt idx="1836">
                  <c:v>37288</c:v>
                </c:pt>
                <c:pt idx="1837">
                  <c:v>37291</c:v>
                </c:pt>
                <c:pt idx="1838">
                  <c:v>37292</c:v>
                </c:pt>
                <c:pt idx="1839">
                  <c:v>37293</c:v>
                </c:pt>
                <c:pt idx="1840">
                  <c:v>37294</c:v>
                </c:pt>
                <c:pt idx="1841">
                  <c:v>37295</c:v>
                </c:pt>
                <c:pt idx="1842">
                  <c:v>37298</c:v>
                </c:pt>
                <c:pt idx="1843">
                  <c:v>37299</c:v>
                </c:pt>
                <c:pt idx="1844">
                  <c:v>37300</c:v>
                </c:pt>
                <c:pt idx="1845">
                  <c:v>37301</c:v>
                </c:pt>
                <c:pt idx="1846">
                  <c:v>37302</c:v>
                </c:pt>
                <c:pt idx="1847">
                  <c:v>37305</c:v>
                </c:pt>
                <c:pt idx="1848">
                  <c:v>37306</c:v>
                </c:pt>
                <c:pt idx="1849">
                  <c:v>37307</c:v>
                </c:pt>
                <c:pt idx="1850">
                  <c:v>37308</c:v>
                </c:pt>
                <c:pt idx="1851">
                  <c:v>37309</c:v>
                </c:pt>
                <c:pt idx="1852">
                  <c:v>37312</c:v>
                </c:pt>
                <c:pt idx="1853">
                  <c:v>37313</c:v>
                </c:pt>
                <c:pt idx="1854">
                  <c:v>37314</c:v>
                </c:pt>
                <c:pt idx="1855">
                  <c:v>37315</c:v>
                </c:pt>
                <c:pt idx="1856">
                  <c:v>37316</c:v>
                </c:pt>
                <c:pt idx="1857">
                  <c:v>37319</c:v>
                </c:pt>
                <c:pt idx="1858">
                  <c:v>37320</c:v>
                </c:pt>
                <c:pt idx="1859">
                  <c:v>37321</c:v>
                </c:pt>
                <c:pt idx="1860">
                  <c:v>37322</c:v>
                </c:pt>
                <c:pt idx="1861">
                  <c:v>37323</c:v>
                </c:pt>
                <c:pt idx="1862">
                  <c:v>37326</c:v>
                </c:pt>
                <c:pt idx="1863">
                  <c:v>37327</c:v>
                </c:pt>
                <c:pt idx="1864">
                  <c:v>37328</c:v>
                </c:pt>
                <c:pt idx="1865">
                  <c:v>37329</c:v>
                </c:pt>
                <c:pt idx="1866">
                  <c:v>37330</c:v>
                </c:pt>
                <c:pt idx="1867">
                  <c:v>37333</c:v>
                </c:pt>
                <c:pt idx="1868">
                  <c:v>37334</c:v>
                </c:pt>
                <c:pt idx="1869">
                  <c:v>37335</c:v>
                </c:pt>
                <c:pt idx="1870">
                  <c:v>37336</c:v>
                </c:pt>
                <c:pt idx="1871">
                  <c:v>37337</c:v>
                </c:pt>
                <c:pt idx="1872">
                  <c:v>37340</c:v>
                </c:pt>
                <c:pt idx="1873">
                  <c:v>37341</c:v>
                </c:pt>
                <c:pt idx="1874">
                  <c:v>37342</c:v>
                </c:pt>
                <c:pt idx="1875">
                  <c:v>37343</c:v>
                </c:pt>
                <c:pt idx="1876">
                  <c:v>37344</c:v>
                </c:pt>
                <c:pt idx="1877">
                  <c:v>37347</c:v>
                </c:pt>
                <c:pt idx="1878">
                  <c:v>37348</c:v>
                </c:pt>
                <c:pt idx="1879">
                  <c:v>37349</c:v>
                </c:pt>
                <c:pt idx="1880">
                  <c:v>37350</c:v>
                </c:pt>
                <c:pt idx="1881">
                  <c:v>37351</c:v>
                </c:pt>
                <c:pt idx="1882">
                  <c:v>37354</c:v>
                </c:pt>
                <c:pt idx="1883">
                  <c:v>37355</c:v>
                </c:pt>
                <c:pt idx="1884">
                  <c:v>37356</c:v>
                </c:pt>
                <c:pt idx="1885">
                  <c:v>37357</c:v>
                </c:pt>
                <c:pt idx="1886">
                  <c:v>37358</c:v>
                </c:pt>
                <c:pt idx="1887">
                  <c:v>37361</c:v>
                </c:pt>
                <c:pt idx="1888">
                  <c:v>37362</c:v>
                </c:pt>
                <c:pt idx="1889">
                  <c:v>37363</c:v>
                </c:pt>
                <c:pt idx="1890">
                  <c:v>37364</c:v>
                </c:pt>
                <c:pt idx="1891">
                  <c:v>37365</c:v>
                </c:pt>
                <c:pt idx="1892">
                  <c:v>37368</c:v>
                </c:pt>
                <c:pt idx="1893">
                  <c:v>37369</c:v>
                </c:pt>
                <c:pt idx="1894">
                  <c:v>37370</c:v>
                </c:pt>
                <c:pt idx="1895">
                  <c:v>37371</c:v>
                </c:pt>
                <c:pt idx="1896">
                  <c:v>37372</c:v>
                </c:pt>
                <c:pt idx="1897">
                  <c:v>37375</c:v>
                </c:pt>
                <c:pt idx="1898">
                  <c:v>37376</c:v>
                </c:pt>
                <c:pt idx="1899">
                  <c:v>37377</c:v>
                </c:pt>
                <c:pt idx="1900">
                  <c:v>37378</c:v>
                </c:pt>
                <c:pt idx="1901">
                  <c:v>37379</c:v>
                </c:pt>
                <c:pt idx="1902">
                  <c:v>37382</c:v>
                </c:pt>
                <c:pt idx="1903">
                  <c:v>37383</c:v>
                </c:pt>
                <c:pt idx="1904">
                  <c:v>37384</c:v>
                </c:pt>
                <c:pt idx="1905">
                  <c:v>37385</c:v>
                </c:pt>
                <c:pt idx="1906">
                  <c:v>37386</c:v>
                </c:pt>
                <c:pt idx="1907">
                  <c:v>37389</c:v>
                </c:pt>
                <c:pt idx="1908">
                  <c:v>37390</c:v>
                </c:pt>
                <c:pt idx="1909">
                  <c:v>37391</c:v>
                </c:pt>
                <c:pt idx="1910">
                  <c:v>37392</c:v>
                </c:pt>
                <c:pt idx="1911">
                  <c:v>37393</c:v>
                </c:pt>
                <c:pt idx="1912">
                  <c:v>37396</c:v>
                </c:pt>
                <c:pt idx="1913">
                  <c:v>37397</c:v>
                </c:pt>
                <c:pt idx="1914">
                  <c:v>37398</c:v>
                </c:pt>
                <c:pt idx="1915">
                  <c:v>37399</c:v>
                </c:pt>
                <c:pt idx="1916">
                  <c:v>37400</c:v>
                </c:pt>
                <c:pt idx="1917">
                  <c:v>37403</c:v>
                </c:pt>
                <c:pt idx="1918">
                  <c:v>37404</c:v>
                </c:pt>
                <c:pt idx="1919">
                  <c:v>37405</c:v>
                </c:pt>
                <c:pt idx="1920">
                  <c:v>37406</c:v>
                </c:pt>
                <c:pt idx="1921">
                  <c:v>37407</c:v>
                </c:pt>
                <c:pt idx="1922">
                  <c:v>37410</c:v>
                </c:pt>
                <c:pt idx="1923">
                  <c:v>37411</c:v>
                </c:pt>
                <c:pt idx="1924">
                  <c:v>37412</c:v>
                </c:pt>
                <c:pt idx="1925">
                  <c:v>37413</c:v>
                </c:pt>
                <c:pt idx="1926">
                  <c:v>37414</c:v>
                </c:pt>
                <c:pt idx="1927">
                  <c:v>37417</c:v>
                </c:pt>
                <c:pt idx="1928">
                  <c:v>37418</c:v>
                </c:pt>
                <c:pt idx="1929">
                  <c:v>37419</c:v>
                </c:pt>
                <c:pt idx="1930">
                  <c:v>37420</c:v>
                </c:pt>
                <c:pt idx="1931">
                  <c:v>37421</c:v>
                </c:pt>
                <c:pt idx="1932">
                  <c:v>37424</c:v>
                </c:pt>
                <c:pt idx="1933">
                  <c:v>37425</c:v>
                </c:pt>
                <c:pt idx="1934">
                  <c:v>37426</c:v>
                </c:pt>
                <c:pt idx="1935">
                  <c:v>37427</c:v>
                </c:pt>
                <c:pt idx="1936">
                  <c:v>37428</c:v>
                </c:pt>
                <c:pt idx="1937">
                  <c:v>37431</c:v>
                </c:pt>
                <c:pt idx="1938">
                  <c:v>37432</c:v>
                </c:pt>
                <c:pt idx="1939">
                  <c:v>37433</c:v>
                </c:pt>
                <c:pt idx="1940">
                  <c:v>37434</c:v>
                </c:pt>
                <c:pt idx="1941">
                  <c:v>37435</c:v>
                </c:pt>
                <c:pt idx="1942">
                  <c:v>37438</c:v>
                </c:pt>
                <c:pt idx="1943">
                  <c:v>37439</c:v>
                </c:pt>
                <c:pt idx="1944">
                  <c:v>37440</c:v>
                </c:pt>
                <c:pt idx="1945">
                  <c:v>37441</c:v>
                </c:pt>
                <c:pt idx="1946">
                  <c:v>37442</c:v>
                </c:pt>
                <c:pt idx="1947">
                  <c:v>37445</c:v>
                </c:pt>
                <c:pt idx="1948">
                  <c:v>37446</c:v>
                </c:pt>
                <c:pt idx="1949">
                  <c:v>37447</c:v>
                </c:pt>
                <c:pt idx="1950">
                  <c:v>37448</c:v>
                </c:pt>
                <c:pt idx="1951">
                  <c:v>37449</c:v>
                </c:pt>
                <c:pt idx="1952">
                  <c:v>37452</c:v>
                </c:pt>
                <c:pt idx="1953">
                  <c:v>37453</c:v>
                </c:pt>
                <c:pt idx="1954">
                  <c:v>37454</c:v>
                </c:pt>
                <c:pt idx="1955">
                  <c:v>37455</c:v>
                </c:pt>
                <c:pt idx="1956">
                  <c:v>37456</c:v>
                </c:pt>
                <c:pt idx="1957">
                  <c:v>37459</c:v>
                </c:pt>
                <c:pt idx="1958">
                  <c:v>37460</c:v>
                </c:pt>
                <c:pt idx="1959">
                  <c:v>37461</c:v>
                </c:pt>
                <c:pt idx="1960">
                  <c:v>37462</c:v>
                </c:pt>
                <c:pt idx="1961">
                  <c:v>37463</c:v>
                </c:pt>
                <c:pt idx="1962">
                  <c:v>37466</c:v>
                </c:pt>
                <c:pt idx="1963">
                  <c:v>37467</c:v>
                </c:pt>
                <c:pt idx="1964">
                  <c:v>37468</c:v>
                </c:pt>
                <c:pt idx="1965">
                  <c:v>37469</c:v>
                </c:pt>
                <c:pt idx="1966">
                  <c:v>37470</c:v>
                </c:pt>
                <c:pt idx="1967">
                  <c:v>37473</c:v>
                </c:pt>
                <c:pt idx="1968">
                  <c:v>37474</c:v>
                </c:pt>
                <c:pt idx="1969">
                  <c:v>37475</c:v>
                </c:pt>
                <c:pt idx="1970">
                  <c:v>37476</c:v>
                </c:pt>
                <c:pt idx="1971">
                  <c:v>37477</c:v>
                </c:pt>
                <c:pt idx="1972">
                  <c:v>37480</c:v>
                </c:pt>
                <c:pt idx="1973">
                  <c:v>37481</c:v>
                </c:pt>
                <c:pt idx="1974">
                  <c:v>37482</c:v>
                </c:pt>
                <c:pt idx="1975">
                  <c:v>37483</c:v>
                </c:pt>
                <c:pt idx="1976">
                  <c:v>37484</c:v>
                </c:pt>
                <c:pt idx="1977">
                  <c:v>37487</c:v>
                </c:pt>
                <c:pt idx="1978">
                  <c:v>37488</c:v>
                </c:pt>
                <c:pt idx="1979">
                  <c:v>37489</c:v>
                </c:pt>
                <c:pt idx="1980">
                  <c:v>37490</c:v>
                </c:pt>
                <c:pt idx="1981">
                  <c:v>37491</c:v>
                </c:pt>
                <c:pt idx="1982">
                  <c:v>37494</c:v>
                </c:pt>
                <c:pt idx="1983">
                  <c:v>37495</c:v>
                </c:pt>
                <c:pt idx="1984">
                  <c:v>37496</c:v>
                </c:pt>
                <c:pt idx="1985">
                  <c:v>37497</c:v>
                </c:pt>
                <c:pt idx="1986">
                  <c:v>37498</c:v>
                </c:pt>
                <c:pt idx="1987">
                  <c:v>37501</c:v>
                </c:pt>
                <c:pt idx="1988">
                  <c:v>37502</c:v>
                </c:pt>
                <c:pt idx="1989">
                  <c:v>37503</c:v>
                </c:pt>
                <c:pt idx="1990">
                  <c:v>37504</c:v>
                </c:pt>
                <c:pt idx="1991">
                  <c:v>37505</c:v>
                </c:pt>
                <c:pt idx="1992">
                  <c:v>37508</c:v>
                </c:pt>
                <c:pt idx="1993">
                  <c:v>37509</c:v>
                </c:pt>
                <c:pt idx="1994">
                  <c:v>37510</c:v>
                </c:pt>
                <c:pt idx="1995">
                  <c:v>37511</c:v>
                </c:pt>
                <c:pt idx="1996">
                  <c:v>37512</c:v>
                </c:pt>
                <c:pt idx="1997">
                  <c:v>37515</c:v>
                </c:pt>
                <c:pt idx="1998">
                  <c:v>37516</c:v>
                </c:pt>
                <c:pt idx="1999">
                  <c:v>37517</c:v>
                </c:pt>
                <c:pt idx="2000">
                  <c:v>37518</c:v>
                </c:pt>
                <c:pt idx="2001">
                  <c:v>37519</c:v>
                </c:pt>
                <c:pt idx="2002">
                  <c:v>37522</c:v>
                </c:pt>
                <c:pt idx="2003">
                  <c:v>37523</c:v>
                </c:pt>
                <c:pt idx="2004">
                  <c:v>37524</c:v>
                </c:pt>
                <c:pt idx="2005">
                  <c:v>37525</c:v>
                </c:pt>
                <c:pt idx="2006">
                  <c:v>37526</c:v>
                </c:pt>
                <c:pt idx="2007">
                  <c:v>37529</c:v>
                </c:pt>
                <c:pt idx="2008">
                  <c:v>37530</c:v>
                </c:pt>
                <c:pt idx="2009">
                  <c:v>37531</c:v>
                </c:pt>
                <c:pt idx="2010">
                  <c:v>37532</c:v>
                </c:pt>
                <c:pt idx="2011">
                  <c:v>37533</c:v>
                </c:pt>
                <c:pt idx="2012">
                  <c:v>37536</c:v>
                </c:pt>
                <c:pt idx="2013">
                  <c:v>37537</c:v>
                </c:pt>
                <c:pt idx="2014">
                  <c:v>37538</c:v>
                </c:pt>
                <c:pt idx="2015">
                  <c:v>37539</c:v>
                </c:pt>
                <c:pt idx="2016">
                  <c:v>37540</c:v>
                </c:pt>
                <c:pt idx="2017">
                  <c:v>37543</c:v>
                </c:pt>
                <c:pt idx="2018">
                  <c:v>37544</c:v>
                </c:pt>
                <c:pt idx="2019">
                  <c:v>37545</c:v>
                </c:pt>
                <c:pt idx="2020">
                  <c:v>37546</c:v>
                </c:pt>
                <c:pt idx="2021">
                  <c:v>37547</c:v>
                </c:pt>
                <c:pt idx="2022">
                  <c:v>37550</c:v>
                </c:pt>
                <c:pt idx="2023">
                  <c:v>37551</c:v>
                </c:pt>
                <c:pt idx="2024">
                  <c:v>37552</c:v>
                </c:pt>
                <c:pt idx="2025">
                  <c:v>37553</c:v>
                </c:pt>
                <c:pt idx="2026">
                  <c:v>37554</c:v>
                </c:pt>
                <c:pt idx="2027">
                  <c:v>37557</c:v>
                </c:pt>
                <c:pt idx="2028">
                  <c:v>37558</c:v>
                </c:pt>
                <c:pt idx="2029">
                  <c:v>37559</c:v>
                </c:pt>
                <c:pt idx="2030">
                  <c:v>37560</c:v>
                </c:pt>
                <c:pt idx="2031">
                  <c:v>37561</c:v>
                </c:pt>
                <c:pt idx="2032">
                  <c:v>37564</c:v>
                </c:pt>
                <c:pt idx="2033">
                  <c:v>37565</c:v>
                </c:pt>
                <c:pt idx="2034">
                  <c:v>37566</c:v>
                </c:pt>
                <c:pt idx="2035">
                  <c:v>37567</c:v>
                </c:pt>
                <c:pt idx="2036">
                  <c:v>37568</c:v>
                </c:pt>
                <c:pt idx="2037">
                  <c:v>37571</c:v>
                </c:pt>
                <c:pt idx="2038">
                  <c:v>37572</c:v>
                </c:pt>
                <c:pt idx="2039">
                  <c:v>37573</c:v>
                </c:pt>
                <c:pt idx="2040">
                  <c:v>37574</c:v>
                </c:pt>
                <c:pt idx="2041">
                  <c:v>37575</c:v>
                </c:pt>
                <c:pt idx="2042">
                  <c:v>37578</c:v>
                </c:pt>
                <c:pt idx="2043">
                  <c:v>37579</c:v>
                </c:pt>
                <c:pt idx="2044">
                  <c:v>37580</c:v>
                </c:pt>
                <c:pt idx="2045">
                  <c:v>37581</c:v>
                </c:pt>
                <c:pt idx="2046">
                  <c:v>37582</c:v>
                </c:pt>
                <c:pt idx="2047">
                  <c:v>37585</c:v>
                </c:pt>
                <c:pt idx="2048">
                  <c:v>37586</c:v>
                </c:pt>
                <c:pt idx="2049">
                  <c:v>37587</c:v>
                </c:pt>
                <c:pt idx="2050">
                  <c:v>37588</c:v>
                </c:pt>
                <c:pt idx="2051">
                  <c:v>37589</c:v>
                </c:pt>
                <c:pt idx="2052">
                  <c:v>37592</c:v>
                </c:pt>
                <c:pt idx="2053">
                  <c:v>37593</c:v>
                </c:pt>
                <c:pt idx="2054">
                  <c:v>37594</c:v>
                </c:pt>
                <c:pt idx="2055">
                  <c:v>37595</c:v>
                </c:pt>
                <c:pt idx="2056">
                  <c:v>37596</c:v>
                </c:pt>
                <c:pt idx="2057">
                  <c:v>37599</c:v>
                </c:pt>
                <c:pt idx="2058">
                  <c:v>37600</c:v>
                </c:pt>
                <c:pt idx="2059">
                  <c:v>37601</c:v>
                </c:pt>
                <c:pt idx="2060">
                  <c:v>37602</c:v>
                </c:pt>
                <c:pt idx="2061">
                  <c:v>37603</c:v>
                </c:pt>
                <c:pt idx="2062">
                  <c:v>37606</c:v>
                </c:pt>
                <c:pt idx="2063">
                  <c:v>37607</c:v>
                </c:pt>
                <c:pt idx="2064">
                  <c:v>37608</c:v>
                </c:pt>
                <c:pt idx="2065">
                  <c:v>37609</c:v>
                </c:pt>
                <c:pt idx="2066">
                  <c:v>37610</c:v>
                </c:pt>
                <c:pt idx="2067">
                  <c:v>37613</c:v>
                </c:pt>
                <c:pt idx="2068">
                  <c:v>37614</c:v>
                </c:pt>
                <c:pt idx="2069">
                  <c:v>37615</c:v>
                </c:pt>
                <c:pt idx="2070">
                  <c:v>37616</c:v>
                </c:pt>
                <c:pt idx="2071">
                  <c:v>37617</c:v>
                </c:pt>
                <c:pt idx="2072">
                  <c:v>37620</c:v>
                </c:pt>
                <c:pt idx="2073">
                  <c:v>37621</c:v>
                </c:pt>
                <c:pt idx="2074">
                  <c:v>37622</c:v>
                </c:pt>
                <c:pt idx="2075">
                  <c:v>37623</c:v>
                </c:pt>
                <c:pt idx="2076">
                  <c:v>37624</c:v>
                </c:pt>
                <c:pt idx="2077">
                  <c:v>37627</c:v>
                </c:pt>
                <c:pt idx="2078">
                  <c:v>37628</c:v>
                </c:pt>
                <c:pt idx="2079">
                  <c:v>37629</c:v>
                </c:pt>
                <c:pt idx="2080">
                  <c:v>37630</c:v>
                </c:pt>
                <c:pt idx="2081">
                  <c:v>37631</c:v>
                </c:pt>
                <c:pt idx="2082">
                  <c:v>37634</c:v>
                </c:pt>
                <c:pt idx="2083">
                  <c:v>37635</c:v>
                </c:pt>
                <c:pt idx="2084">
                  <c:v>37636</c:v>
                </c:pt>
                <c:pt idx="2085">
                  <c:v>37637</c:v>
                </c:pt>
                <c:pt idx="2086">
                  <c:v>37638</c:v>
                </c:pt>
                <c:pt idx="2087">
                  <c:v>37641</c:v>
                </c:pt>
                <c:pt idx="2088">
                  <c:v>37642</c:v>
                </c:pt>
                <c:pt idx="2089">
                  <c:v>37643</c:v>
                </c:pt>
                <c:pt idx="2090">
                  <c:v>37644</c:v>
                </c:pt>
                <c:pt idx="2091">
                  <c:v>37645</c:v>
                </c:pt>
                <c:pt idx="2092">
                  <c:v>37648</c:v>
                </c:pt>
                <c:pt idx="2093">
                  <c:v>37649</c:v>
                </c:pt>
                <c:pt idx="2094">
                  <c:v>37650</c:v>
                </c:pt>
                <c:pt idx="2095">
                  <c:v>37651</c:v>
                </c:pt>
                <c:pt idx="2096">
                  <c:v>37652</c:v>
                </c:pt>
                <c:pt idx="2097">
                  <c:v>37655</c:v>
                </c:pt>
                <c:pt idx="2098">
                  <c:v>37656</c:v>
                </c:pt>
                <c:pt idx="2099">
                  <c:v>37657</c:v>
                </c:pt>
                <c:pt idx="2100">
                  <c:v>37658</c:v>
                </c:pt>
                <c:pt idx="2101">
                  <c:v>37659</c:v>
                </c:pt>
                <c:pt idx="2102">
                  <c:v>37662</c:v>
                </c:pt>
                <c:pt idx="2103">
                  <c:v>37663</c:v>
                </c:pt>
                <c:pt idx="2104">
                  <c:v>37664</c:v>
                </c:pt>
                <c:pt idx="2105">
                  <c:v>37665</c:v>
                </c:pt>
                <c:pt idx="2106">
                  <c:v>37666</c:v>
                </c:pt>
                <c:pt idx="2107">
                  <c:v>37669</c:v>
                </c:pt>
                <c:pt idx="2108">
                  <c:v>37670</c:v>
                </c:pt>
                <c:pt idx="2109">
                  <c:v>37671</c:v>
                </c:pt>
                <c:pt idx="2110">
                  <c:v>37672</c:v>
                </c:pt>
                <c:pt idx="2111">
                  <c:v>37673</c:v>
                </c:pt>
                <c:pt idx="2112">
                  <c:v>37676</c:v>
                </c:pt>
                <c:pt idx="2113">
                  <c:v>37677</c:v>
                </c:pt>
                <c:pt idx="2114">
                  <c:v>37678</c:v>
                </c:pt>
                <c:pt idx="2115">
                  <c:v>37679</c:v>
                </c:pt>
                <c:pt idx="2116">
                  <c:v>37680</c:v>
                </c:pt>
                <c:pt idx="2117">
                  <c:v>37683</c:v>
                </c:pt>
                <c:pt idx="2118">
                  <c:v>37684</c:v>
                </c:pt>
                <c:pt idx="2119">
                  <c:v>37685</c:v>
                </c:pt>
                <c:pt idx="2120">
                  <c:v>37686</c:v>
                </c:pt>
                <c:pt idx="2121">
                  <c:v>37687</c:v>
                </c:pt>
                <c:pt idx="2122">
                  <c:v>37690</c:v>
                </c:pt>
                <c:pt idx="2123">
                  <c:v>37691</c:v>
                </c:pt>
                <c:pt idx="2124">
                  <c:v>37692</c:v>
                </c:pt>
                <c:pt idx="2125">
                  <c:v>37693</c:v>
                </c:pt>
                <c:pt idx="2126">
                  <c:v>37694</c:v>
                </c:pt>
                <c:pt idx="2127">
                  <c:v>37697</c:v>
                </c:pt>
                <c:pt idx="2128">
                  <c:v>37698</c:v>
                </c:pt>
                <c:pt idx="2129">
                  <c:v>37699</c:v>
                </c:pt>
                <c:pt idx="2130">
                  <c:v>37700</c:v>
                </c:pt>
                <c:pt idx="2131">
                  <c:v>37701</c:v>
                </c:pt>
                <c:pt idx="2132">
                  <c:v>37704</c:v>
                </c:pt>
                <c:pt idx="2133">
                  <c:v>37705</c:v>
                </c:pt>
                <c:pt idx="2134">
                  <c:v>37706</c:v>
                </c:pt>
                <c:pt idx="2135">
                  <c:v>37707</c:v>
                </c:pt>
                <c:pt idx="2136">
                  <c:v>37708</c:v>
                </c:pt>
                <c:pt idx="2137">
                  <c:v>37711</c:v>
                </c:pt>
                <c:pt idx="2138">
                  <c:v>37712</c:v>
                </c:pt>
                <c:pt idx="2139">
                  <c:v>37713</c:v>
                </c:pt>
                <c:pt idx="2140">
                  <c:v>37714</c:v>
                </c:pt>
                <c:pt idx="2141">
                  <c:v>37715</c:v>
                </c:pt>
                <c:pt idx="2142">
                  <c:v>37718</c:v>
                </c:pt>
                <c:pt idx="2143">
                  <c:v>37719</c:v>
                </c:pt>
                <c:pt idx="2144">
                  <c:v>37720</c:v>
                </c:pt>
                <c:pt idx="2145">
                  <c:v>37721</c:v>
                </c:pt>
                <c:pt idx="2146">
                  <c:v>37722</c:v>
                </c:pt>
                <c:pt idx="2147">
                  <c:v>37725</c:v>
                </c:pt>
                <c:pt idx="2148">
                  <c:v>37726</c:v>
                </c:pt>
                <c:pt idx="2149">
                  <c:v>37727</c:v>
                </c:pt>
                <c:pt idx="2150">
                  <c:v>37728</c:v>
                </c:pt>
                <c:pt idx="2151">
                  <c:v>37729</c:v>
                </c:pt>
                <c:pt idx="2152">
                  <c:v>37732</c:v>
                </c:pt>
                <c:pt idx="2153">
                  <c:v>37733</c:v>
                </c:pt>
                <c:pt idx="2154">
                  <c:v>37734</c:v>
                </c:pt>
                <c:pt idx="2155">
                  <c:v>37735</c:v>
                </c:pt>
                <c:pt idx="2156">
                  <c:v>37736</c:v>
                </c:pt>
                <c:pt idx="2157">
                  <c:v>37739</c:v>
                </c:pt>
                <c:pt idx="2158">
                  <c:v>37740</c:v>
                </c:pt>
                <c:pt idx="2159">
                  <c:v>37741</c:v>
                </c:pt>
                <c:pt idx="2160">
                  <c:v>37742</c:v>
                </c:pt>
                <c:pt idx="2161">
                  <c:v>37743</c:v>
                </c:pt>
                <c:pt idx="2162">
                  <c:v>37746</c:v>
                </c:pt>
                <c:pt idx="2163">
                  <c:v>37747</c:v>
                </c:pt>
                <c:pt idx="2164">
                  <c:v>37748</c:v>
                </c:pt>
                <c:pt idx="2165">
                  <c:v>37749</c:v>
                </c:pt>
                <c:pt idx="2166">
                  <c:v>37750</c:v>
                </c:pt>
                <c:pt idx="2167">
                  <c:v>37753</c:v>
                </c:pt>
                <c:pt idx="2168">
                  <c:v>37754</c:v>
                </c:pt>
                <c:pt idx="2169">
                  <c:v>37755</c:v>
                </c:pt>
                <c:pt idx="2170">
                  <c:v>37756</c:v>
                </c:pt>
                <c:pt idx="2171">
                  <c:v>37757</c:v>
                </c:pt>
                <c:pt idx="2172">
                  <c:v>37760</c:v>
                </c:pt>
                <c:pt idx="2173">
                  <c:v>37761</c:v>
                </c:pt>
                <c:pt idx="2174">
                  <c:v>37762</c:v>
                </c:pt>
                <c:pt idx="2175">
                  <c:v>37763</c:v>
                </c:pt>
                <c:pt idx="2176">
                  <c:v>37764</c:v>
                </c:pt>
                <c:pt idx="2177">
                  <c:v>37767</c:v>
                </c:pt>
                <c:pt idx="2178">
                  <c:v>37768</c:v>
                </c:pt>
                <c:pt idx="2179">
                  <c:v>37769</c:v>
                </c:pt>
                <c:pt idx="2180">
                  <c:v>37770</c:v>
                </c:pt>
                <c:pt idx="2181">
                  <c:v>37771</c:v>
                </c:pt>
                <c:pt idx="2182">
                  <c:v>37774</c:v>
                </c:pt>
                <c:pt idx="2183">
                  <c:v>37775</c:v>
                </c:pt>
                <c:pt idx="2184">
                  <c:v>37776</c:v>
                </c:pt>
                <c:pt idx="2185">
                  <c:v>37777</c:v>
                </c:pt>
                <c:pt idx="2186">
                  <c:v>37778</c:v>
                </c:pt>
                <c:pt idx="2187">
                  <c:v>37781</c:v>
                </c:pt>
                <c:pt idx="2188">
                  <c:v>37782</c:v>
                </c:pt>
                <c:pt idx="2189">
                  <c:v>37783</c:v>
                </c:pt>
                <c:pt idx="2190">
                  <c:v>37784</c:v>
                </c:pt>
                <c:pt idx="2191">
                  <c:v>37785</c:v>
                </c:pt>
                <c:pt idx="2192">
                  <c:v>37788</c:v>
                </c:pt>
                <c:pt idx="2193">
                  <c:v>37789</c:v>
                </c:pt>
                <c:pt idx="2194">
                  <c:v>37790</c:v>
                </c:pt>
                <c:pt idx="2195">
                  <c:v>37791</c:v>
                </c:pt>
                <c:pt idx="2196">
                  <c:v>37792</c:v>
                </c:pt>
                <c:pt idx="2197">
                  <c:v>37795</c:v>
                </c:pt>
                <c:pt idx="2198">
                  <c:v>37796</c:v>
                </c:pt>
                <c:pt idx="2199">
                  <c:v>37797</c:v>
                </c:pt>
                <c:pt idx="2200">
                  <c:v>37798</c:v>
                </c:pt>
                <c:pt idx="2201">
                  <c:v>37799</c:v>
                </c:pt>
                <c:pt idx="2202">
                  <c:v>37802</c:v>
                </c:pt>
                <c:pt idx="2203">
                  <c:v>37803</c:v>
                </c:pt>
                <c:pt idx="2204">
                  <c:v>37804</c:v>
                </c:pt>
                <c:pt idx="2205">
                  <c:v>37805</c:v>
                </c:pt>
                <c:pt idx="2206">
                  <c:v>37806</c:v>
                </c:pt>
                <c:pt idx="2207">
                  <c:v>37809</c:v>
                </c:pt>
                <c:pt idx="2208">
                  <c:v>37810</c:v>
                </c:pt>
                <c:pt idx="2209">
                  <c:v>37811</c:v>
                </c:pt>
                <c:pt idx="2210">
                  <c:v>37812</c:v>
                </c:pt>
                <c:pt idx="2211">
                  <c:v>37813</c:v>
                </c:pt>
                <c:pt idx="2212">
                  <c:v>37816</c:v>
                </c:pt>
                <c:pt idx="2213">
                  <c:v>37817</c:v>
                </c:pt>
                <c:pt idx="2214">
                  <c:v>37818</c:v>
                </c:pt>
                <c:pt idx="2215">
                  <c:v>37819</c:v>
                </c:pt>
                <c:pt idx="2216">
                  <c:v>37820</c:v>
                </c:pt>
                <c:pt idx="2217">
                  <c:v>37823</c:v>
                </c:pt>
                <c:pt idx="2218">
                  <c:v>37824</c:v>
                </c:pt>
                <c:pt idx="2219">
                  <c:v>37825</c:v>
                </c:pt>
                <c:pt idx="2220">
                  <c:v>37826</c:v>
                </c:pt>
                <c:pt idx="2221">
                  <c:v>37827</c:v>
                </c:pt>
                <c:pt idx="2222">
                  <c:v>37830</c:v>
                </c:pt>
                <c:pt idx="2223">
                  <c:v>37831</c:v>
                </c:pt>
                <c:pt idx="2224">
                  <c:v>37832</c:v>
                </c:pt>
                <c:pt idx="2225">
                  <c:v>37833</c:v>
                </c:pt>
                <c:pt idx="2226">
                  <c:v>37834</c:v>
                </c:pt>
                <c:pt idx="2227">
                  <c:v>37837</c:v>
                </c:pt>
                <c:pt idx="2228">
                  <c:v>37838</c:v>
                </c:pt>
                <c:pt idx="2229">
                  <c:v>37839</c:v>
                </c:pt>
                <c:pt idx="2230">
                  <c:v>37840</c:v>
                </c:pt>
                <c:pt idx="2231">
                  <c:v>37841</c:v>
                </c:pt>
                <c:pt idx="2232">
                  <c:v>37844</c:v>
                </c:pt>
                <c:pt idx="2233">
                  <c:v>37845</c:v>
                </c:pt>
                <c:pt idx="2234">
                  <c:v>37846</c:v>
                </c:pt>
                <c:pt idx="2235">
                  <c:v>37847</c:v>
                </c:pt>
                <c:pt idx="2236">
                  <c:v>37848</c:v>
                </c:pt>
                <c:pt idx="2237">
                  <c:v>37851</c:v>
                </c:pt>
                <c:pt idx="2238">
                  <c:v>37852</c:v>
                </c:pt>
                <c:pt idx="2239">
                  <c:v>37853</c:v>
                </c:pt>
                <c:pt idx="2240">
                  <c:v>37854</c:v>
                </c:pt>
                <c:pt idx="2241">
                  <c:v>37855</c:v>
                </c:pt>
                <c:pt idx="2242">
                  <c:v>37858</c:v>
                </c:pt>
                <c:pt idx="2243">
                  <c:v>37859</c:v>
                </c:pt>
                <c:pt idx="2244">
                  <c:v>37860</c:v>
                </c:pt>
                <c:pt idx="2245">
                  <c:v>37861</c:v>
                </c:pt>
                <c:pt idx="2246">
                  <c:v>37862</c:v>
                </c:pt>
                <c:pt idx="2247">
                  <c:v>37865</c:v>
                </c:pt>
                <c:pt idx="2248">
                  <c:v>37866</c:v>
                </c:pt>
                <c:pt idx="2249">
                  <c:v>37867</c:v>
                </c:pt>
                <c:pt idx="2250">
                  <c:v>37868</c:v>
                </c:pt>
                <c:pt idx="2251">
                  <c:v>37869</c:v>
                </c:pt>
                <c:pt idx="2252">
                  <c:v>37872</c:v>
                </c:pt>
                <c:pt idx="2253">
                  <c:v>37873</c:v>
                </c:pt>
                <c:pt idx="2254">
                  <c:v>37874</c:v>
                </c:pt>
                <c:pt idx="2255">
                  <c:v>37875</c:v>
                </c:pt>
                <c:pt idx="2256">
                  <c:v>37876</c:v>
                </c:pt>
                <c:pt idx="2257">
                  <c:v>37879</c:v>
                </c:pt>
                <c:pt idx="2258">
                  <c:v>37880</c:v>
                </c:pt>
                <c:pt idx="2259">
                  <c:v>37881</c:v>
                </c:pt>
                <c:pt idx="2260">
                  <c:v>37882</c:v>
                </c:pt>
                <c:pt idx="2261">
                  <c:v>37883</c:v>
                </c:pt>
                <c:pt idx="2262">
                  <c:v>37886</c:v>
                </c:pt>
                <c:pt idx="2263">
                  <c:v>37887</c:v>
                </c:pt>
                <c:pt idx="2264">
                  <c:v>37888</c:v>
                </c:pt>
                <c:pt idx="2265">
                  <c:v>37889</c:v>
                </c:pt>
                <c:pt idx="2266">
                  <c:v>37890</c:v>
                </c:pt>
                <c:pt idx="2267">
                  <c:v>37893</c:v>
                </c:pt>
                <c:pt idx="2268">
                  <c:v>37894</c:v>
                </c:pt>
                <c:pt idx="2269">
                  <c:v>37895</c:v>
                </c:pt>
                <c:pt idx="2270">
                  <c:v>37896</c:v>
                </c:pt>
                <c:pt idx="2271">
                  <c:v>37897</c:v>
                </c:pt>
                <c:pt idx="2272">
                  <c:v>37900</c:v>
                </c:pt>
                <c:pt idx="2273">
                  <c:v>37901</c:v>
                </c:pt>
                <c:pt idx="2274">
                  <c:v>37902</c:v>
                </c:pt>
                <c:pt idx="2275">
                  <c:v>37903</c:v>
                </c:pt>
                <c:pt idx="2276">
                  <c:v>37904</c:v>
                </c:pt>
                <c:pt idx="2277">
                  <c:v>37907</c:v>
                </c:pt>
                <c:pt idx="2278">
                  <c:v>37908</c:v>
                </c:pt>
                <c:pt idx="2279">
                  <c:v>37909</c:v>
                </c:pt>
                <c:pt idx="2280">
                  <c:v>37910</c:v>
                </c:pt>
                <c:pt idx="2281">
                  <c:v>37911</c:v>
                </c:pt>
                <c:pt idx="2282">
                  <c:v>37914</c:v>
                </c:pt>
                <c:pt idx="2283">
                  <c:v>37915</c:v>
                </c:pt>
                <c:pt idx="2284">
                  <c:v>37916</c:v>
                </c:pt>
                <c:pt idx="2285">
                  <c:v>37917</c:v>
                </c:pt>
                <c:pt idx="2286">
                  <c:v>37918</c:v>
                </c:pt>
                <c:pt idx="2287">
                  <c:v>37921</c:v>
                </c:pt>
                <c:pt idx="2288">
                  <c:v>37922</c:v>
                </c:pt>
                <c:pt idx="2289">
                  <c:v>37923</c:v>
                </c:pt>
                <c:pt idx="2290">
                  <c:v>37924</c:v>
                </c:pt>
                <c:pt idx="2291">
                  <c:v>37925</c:v>
                </c:pt>
                <c:pt idx="2292">
                  <c:v>37928</c:v>
                </c:pt>
                <c:pt idx="2293">
                  <c:v>37929</c:v>
                </c:pt>
                <c:pt idx="2294">
                  <c:v>37930</c:v>
                </c:pt>
                <c:pt idx="2295">
                  <c:v>37931</c:v>
                </c:pt>
                <c:pt idx="2296">
                  <c:v>37932</c:v>
                </c:pt>
                <c:pt idx="2297">
                  <c:v>37935</c:v>
                </c:pt>
                <c:pt idx="2298">
                  <c:v>37936</c:v>
                </c:pt>
                <c:pt idx="2299">
                  <c:v>37937</c:v>
                </c:pt>
                <c:pt idx="2300">
                  <c:v>37938</c:v>
                </c:pt>
                <c:pt idx="2301">
                  <c:v>37939</c:v>
                </c:pt>
                <c:pt idx="2302">
                  <c:v>37942</c:v>
                </c:pt>
                <c:pt idx="2303">
                  <c:v>37943</c:v>
                </c:pt>
                <c:pt idx="2304">
                  <c:v>37944</c:v>
                </c:pt>
                <c:pt idx="2305">
                  <c:v>37945</c:v>
                </c:pt>
                <c:pt idx="2306">
                  <c:v>37946</c:v>
                </c:pt>
                <c:pt idx="2307">
                  <c:v>37949</c:v>
                </c:pt>
                <c:pt idx="2308">
                  <c:v>37950</c:v>
                </c:pt>
                <c:pt idx="2309">
                  <c:v>37951</c:v>
                </c:pt>
                <c:pt idx="2310">
                  <c:v>37952</c:v>
                </c:pt>
                <c:pt idx="2311">
                  <c:v>37953</c:v>
                </c:pt>
                <c:pt idx="2312">
                  <c:v>37956</c:v>
                </c:pt>
                <c:pt idx="2313">
                  <c:v>37957</c:v>
                </c:pt>
                <c:pt idx="2314">
                  <c:v>37958</c:v>
                </c:pt>
                <c:pt idx="2315">
                  <c:v>37959</c:v>
                </c:pt>
                <c:pt idx="2316">
                  <c:v>37960</c:v>
                </c:pt>
                <c:pt idx="2317">
                  <c:v>37963</c:v>
                </c:pt>
                <c:pt idx="2318">
                  <c:v>37964</c:v>
                </c:pt>
                <c:pt idx="2319">
                  <c:v>37965</c:v>
                </c:pt>
                <c:pt idx="2320">
                  <c:v>37966</c:v>
                </c:pt>
                <c:pt idx="2321">
                  <c:v>37967</c:v>
                </c:pt>
                <c:pt idx="2322">
                  <c:v>37970</c:v>
                </c:pt>
                <c:pt idx="2323">
                  <c:v>37971</c:v>
                </c:pt>
                <c:pt idx="2324">
                  <c:v>37972</c:v>
                </c:pt>
                <c:pt idx="2325">
                  <c:v>37973</c:v>
                </c:pt>
                <c:pt idx="2326">
                  <c:v>37974</c:v>
                </c:pt>
                <c:pt idx="2327">
                  <c:v>37977</c:v>
                </c:pt>
                <c:pt idx="2328">
                  <c:v>37978</c:v>
                </c:pt>
                <c:pt idx="2329">
                  <c:v>37979</c:v>
                </c:pt>
                <c:pt idx="2330">
                  <c:v>37980</c:v>
                </c:pt>
                <c:pt idx="2331">
                  <c:v>37981</c:v>
                </c:pt>
                <c:pt idx="2332">
                  <c:v>37984</c:v>
                </c:pt>
                <c:pt idx="2333">
                  <c:v>37985</c:v>
                </c:pt>
                <c:pt idx="2334">
                  <c:v>37986</c:v>
                </c:pt>
                <c:pt idx="2335">
                  <c:v>37987</c:v>
                </c:pt>
                <c:pt idx="2336">
                  <c:v>37988</c:v>
                </c:pt>
                <c:pt idx="2337">
                  <c:v>37991</c:v>
                </c:pt>
                <c:pt idx="2338">
                  <c:v>37992</c:v>
                </c:pt>
                <c:pt idx="2339">
                  <c:v>37993</c:v>
                </c:pt>
                <c:pt idx="2340">
                  <c:v>37994</c:v>
                </c:pt>
                <c:pt idx="2341">
                  <c:v>37995</c:v>
                </c:pt>
                <c:pt idx="2342">
                  <c:v>37998</c:v>
                </c:pt>
                <c:pt idx="2343">
                  <c:v>37999</c:v>
                </c:pt>
                <c:pt idx="2344">
                  <c:v>38000</c:v>
                </c:pt>
                <c:pt idx="2345">
                  <c:v>38001</c:v>
                </c:pt>
                <c:pt idx="2346">
                  <c:v>38002</c:v>
                </c:pt>
                <c:pt idx="2347">
                  <c:v>38005</c:v>
                </c:pt>
                <c:pt idx="2348">
                  <c:v>38006</c:v>
                </c:pt>
                <c:pt idx="2349">
                  <c:v>38007</c:v>
                </c:pt>
                <c:pt idx="2350">
                  <c:v>38008</c:v>
                </c:pt>
                <c:pt idx="2351">
                  <c:v>38009</c:v>
                </c:pt>
                <c:pt idx="2352">
                  <c:v>38012</c:v>
                </c:pt>
                <c:pt idx="2353">
                  <c:v>38013</c:v>
                </c:pt>
                <c:pt idx="2354">
                  <c:v>38014</c:v>
                </c:pt>
                <c:pt idx="2355">
                  <c:v>38015</c:v>
                </c:pt>
                <c:pt idx="2356">
                  <c:v>38016</c:v>
                </c:pt>
                <c:pt idx="2357">
                  <c:v>38019</c:v>
                </c:pt>
                <c:pt idx="2358">
                  <c:v>38020</c:v>
                </c:pt>
                <c:pt idx="2359">
                  <c:v>38021</c:v>
                </c:pt>
                <c:pt idx="2360">
                  <c:v>38022</c:v>
                </c:pt>
                <c:pt idx="2361">
                  <c:v>38023</c:v>
                </c:pt>
                <c:pt idx="2362">
                  <c:v>38026</c:v>
                </c:pt>
                <c:pt idx="2363">
                  <c:v>38027</c:v>
                </c:pt>
                <c:pt idx="2364">
                  <c:v>38028</c:v>
                </c:pt>
                <c:pt idx="2365">
                  <c:v>38029</c:v>
                </c:pt>
                <c:pt idx="2366">
                  <c:v>38030</c:v>
                </c:pt>
                <c:pt idx="2367">
                  <c:v>38033</c:v>
                </c:pt>
                <c:pt idx="2368">
                  <c:v>38034</c:v>
                </c:pt>
                <c:pt idx="2369">
                  <c:v>38035</c:v>
                </c:pt>
                <c:pt idx="2370">
                  <c:v>38036</c:v>
                </c:pt>
                <c:pt idx="2371">
                  <c:v>38037</c:v>
                </c:pt>
                <c:pt idx="2372">
                  <c:v>38040</c:v>
                </c:pt>
                <c:pt idx="2373">
                  <c:v>38041</c:v>
                </c:pt>
                <c:pt idx="2374">
                  <c:v>38042</c:v>
                </c:pt>
                <c:pt idx="2375">
                  <c:v>38043</c:v>
                </c:pt>
                <c:pt idx="2376">
                  <c:v>38044</c:v>
                </c:pt>
                <c:pt idx="2377">
                  <c:v>38047</c:v>
                </c:pt>
                <c:pt idx="2378">
                  <c:v>38048</c:v>
                </c:pt>
                <c:pt idx="2379">
                  <c:v>38049</c:v>
                </c:pt>
                <c:pt idx="2380">
                  <c:v>38050</c:v>
                </c:pt>
                <c:pt idx="2381">
                  <c:v>38051</c:v>
                </c:pt>
                <c:pt idx="2382">
                  <c:v>38054</c:v>
                </c:pt>
                <c:pt idx="2383">
                  <c:v>38055</c:v>
                </c:pt>
                <c:pt idx="2384">
                  <c:v>38056</c:v>
                </c:pt>
                <c:pt idx="2385">
                  <c:v>38057</c:v>
                </c:pt>
                <c:pt idx="2386">
                  <c:v>38058</c:v>
                </c:pt>
                <c:pt idx="2387">
                  <c:v>38061</c:v>
                </c:pt>
                <c:pt idx="2388">
                  <c:v>38062</c:v>
                </c:pt>
                <c:pt idx="2389">
                  <c:v>38063</c:v>
                </c:pt>
                <c:pt idx="2390">
                  <c:v>38064</c:v>
                </c:pt>
                <c:pt idx="2391">
                  <c:v>38065</c:v>
                </c:pt>
                <c:pt idx="2392">
                  <c:v>38068</c:v>
                </c:pt>
                <c:pt idx="2393">
                  <c:v>38069</c:v>
                </c:pt>
                <c:pt idx="2394">
                  <c:v>38070</c:v>
                </c:pt>
                <c:pt idx="2395">
                  <c:v>38071</c:v>
                </c:pt>
                <c:pt idx="2396">
                  <c:v>38072</c:v>
                </c:pt>
                <c:pt idx="2397">
                  <c:v>38075</c:v>
                </c:pt>
                <c:pt idx="2398">
                  <c:v>38076</c:v>
                </c:pt>
                <c:pt idx="2399">
                  <c:v>38077</c:v>
                </c:pt>
                <c:pt idx="2400">
                  <c:v>38078</c:v>
                </c:pt>
                <c:pt idx="2401">
                  <c:v>38079</c:v>
                </c:pt>
                <c:pt idx="2402">
                  <c:v>38082</c:v>
                </c:pt>
                <c:pt idx="2403">
                  <c:v>38083</c:v>
                </c:pt>
                <c:pt idx="2404">
                  <c:v>38084</c:v>
                </c:pt>
                <c:pt idx="2405">
                  <c:v>38085</c:v>
                </c:pt>
                <c:pt idx="2406">
                  <c:v>38086</c:v>
                </c:pt>
                <c:pt idx="2407">
                  <c:v>38089</c:v>
                </c:pt>
                <c:pt idx="2408">
                  <c:v>38090</c:v>
                </c:pt>
                <c:pt idx="2409">
                  <c:v>38091</c:v>
                </c:pt>
                <c:pt idx="2410">
                  <c:v>38092</c:v>
                </c:pt>
                <c:pt idx="2411">
                  <c:v>38093</c:v>
                </c:pt>
                <c:pt idx="2412">
                  <c:v>38096</c:v>
                </c:pt>
                <c:pt idx="2413">
                  <c:v>38097</c:v>
                </c:pt>
                <c:pt idx="2414">
                  <c:v>38098</c:v>
                </c:pt>
                <c:pt idx="2415">
                  <c:v>38099</c:v>
                </c:pt>
                <c:pt idx="2416">
                  <c:v>38100</c:v>
                </c:pt>
                <c:pt idx="2417">
                  <c:v>38103</c:v>
                </c:pt>
                <c:pt idx="2418">
                  <c:v>38104</c:v>
                </c:pt>
                <c:pt idx="2419">
                  <c:v>38105</c:v>
                </c:pt>
                <c:pt idx="2420">
                  <c:v>38106</c:v>
                </c:pt>
                <c:pt idx="2421">
                  <c:v>38107</c:v>
                </c:pt>
                <c:pt idx="2422">
                  <c:v>38110</c:v>
                </c:pt>
                <c:pt idx="2423">
                  <c:v>38111</c:v>
                </c:pt>
                <c:pt idx="2424">
                  <c:v>38112</c:v>
                </c:pt>
                <c:pt idx="2425">
                  <c:v>38113</c:v>
                </c:pt>
                <c:pt idx="2426">
                  <c:v>38114</c:v>
                </c:pt>
                <c:pt idx="2427">
                  <c:v>38117</c:v>
                </c:pt>
                <c:pt idx="2428">
                  <c:v>38118</c:v>
                </c:pt>
                <c:pt idx="2429">
                  <c:v>38119</c:v>
                </c:pt>
                <c:pt idx="2430">
                  <c:v>38120</c:v>
                </c:pt>
                <c:pt idx="2431">
                  <c:v>38121</c:v>
                </c:pt>
                <c:pt idx="2432">
                  <c:v>38124</c:v>
                </c:pt>
                <c:pt idx="2433">
                  <c:v>38125</c:v>
                </c:pt>
                <c:pt idx="2434">
                  <c:v>38126</c:v>
                </c:pt>
                <c:pt idx="2435">
                  <c:v>38127</c:v>
                </c:pt>
                <c:pt idx="2436">
                  <c:v>38128</c:v>
                </c:pt>
                <c:pt idx="2437">
                  <c:v>38131</c:v>
                </c:pt>
                <c:pt idx="2438">
                  <c:v>38132</c:v>
                </c:pt>
                <c:pt idx="2439">
                  <c:v>38133</c:v>
                </c:pt>
                <c:pt idx="2440">
                  <c:v>38134</c:v>
                </c:pt>
                <c:pt idx="2441">
                  <c:v>38135</c:v>
                </c:pt>
                <c:pt idx="2442">
                  <c:v>38138</c:v>
                </c:pt>
                <c:pt idx="2443">
                  <c:v>38139</c:v>
                </c:pt>
                <c:pt idx="2444">
                  <c:v>38140</c:v>
                </c:pt>
                <c:pt idx="2445">
                  <c:v>38141</c:v>
                </c:pt>
                <c:pt idx="2446">
                  <c:v>38142</c:v>
                </c:pt>
                <c:pt idx="2447">
                  <c:v>38145</c:v>
                </c:pt>
                <c:pt idx="2448">
                  <c:v>38146</c:v>
                </c:pt>
                <c:pt idx="2449">
                  <c:v>38147</c:v>
                </c:pt>
                <c:pt idx="2450">
                  <c:v>38148</c:v>
                </c:pt>
                <c:pt idx="2451">
                  <c:v>38149</c:v>
                </c:pt>
                <c:pt idx="2452">
                  <c:v>38152</c:v>
                </c:pt>
                <c:pt idx="2453">
                  <c:v>38153</c:v>
                </c:pt>
                <c:pt idx="2454">
                  <c:v>38154</c:v>
                </c:pt>
                <c:pt idx="2455">
                  <c:v>38155</c:v>
                </c:pt>
                <c:pt idx="2456">
                  <c:v>38156</c:v>
                </c:pt>
                <c:pt idx="2457">
                  <c:v>38159</c:v>
                </c:pt>
                <c:pt idx="2458">
                  <c:v>38160</c:v>
                </c:pt>
                <c:pt idx="2459">
                  <c:v>38161</c:v>
                </c:pt>
                <c:pt idx="2460">
                  <c:v>38162</c:v>
                </c:pt>
                <c:pt idx="2461">
                  <c:v>38163</c:v>
                </c:pt>
                <c:pt idx="2462">
                  <c:v>38166</c:v>
                </c:pt>
                <c:pt idx="2463">
                  <c:v>38167</c:v>
                </c:pt>
                <c:pt idx="2464">
                  <c:v>38168</c:v>
                </c:pt>
                <c:pt idx="2465">
                  <c:v>38169</c:v>
                </c:pt>
                <c:pt idx="2466">
                  <c:v>38170</c:v>
                </c:pt>
                <c:pt idx="2467">
                  <c:v>38173</c:v>
                </c:pt>
                <c:pt idx="2468">
                  <c:v>38174</c:v>
                </c:pt>
                <c:pt idx="2469">
                  <c:v>38175</c:v>
                </c:pt>
                <c:pt idx="2470">
                  <c:v>38176</c:v>
                </c:pt>
                <c:pt idx="2471">
                  <c:v>38177</c:v>
                </c:pt>
                <c:pt idx="2472">
                  <c:v>38180</c:v>
                </c:pt>
                <c:pt idx="2473">
                  <c:v>38181</c:v>
                </c:pt>
                <c:pt idx="2474">
                  <c:v>38182</c:v>
                </c:pt>
                <c:pt idx="2475">
                  <c:v>38183</c:v>
                </c:pt>
                <c:pt idx="2476">
                  <c:v>38184</c:v>
                </c:pt>
                <c:pt idx="2477">
                  <c:v>38187</c:v>
                </c:pt>
                <c:pt idx="2478">
                  <c:v>38188</c:v>
                </c:pt>
                <c:pt idx="2479">
                  <c:v>38189</c:v>
                </c:pt>
                <c:pt idx="2480">
                  <c:v>38190</c:v>
                </c:pt>
                <c:pt idx="2481">
                  <c:v>38191</c:v>
                </c:pt>
                <c:pt idx="2482">
                  <c:v>38194</c:v>
                </c:pt>
                <c:pt idx="2483">
                  <c:v>38195</c:v>
                </c:pt>
                <c:pt idx="2484">
                  <c:v>38196</c:v>
                </c:pt>
                <c:pt idx="2485">
                  <c:v>38197</c:v>
                </c:pt>
                <c:pt idx="2486">
                  <c:v>38198</c:v>
                </c:pt>
                <c:pt idx="2487">
                  <c:v>38201</c:v>
                </c:pt>
                <c:pt idx="2488">
                  <c:v>38202</c:v>
                </c:pt>
                <c:pt idx="2489">
                  <c:v>38203</c:v>
                </c:pt>
                <c:pt idx="2490">
                  <c:v>38204</c:v>
                </c:pt>
                <c:pt idx="2491">
                  <c:v>38205</c:v>
                </c:pt>
                <c:pt idx="2492">
                  <c:v>38208</c:v>
                </c:pt>
                <c:pt idx="2493">
                  <c:v>38209</c:v>
                </c:pt>
                <c:pt idx="2494">
                  <c:v>38210</c:v>
                </c:pt>
                <c:pt idx="2495">
                  <c:v>38211</c:v>
                </c:pt>
                <c:pt idx="2496">
                  <c:v>38212</c:v>
                </c:pt>
                <c:pt idx="2497">
                  <c:v>38215</c:v>
                </c:pt>
                <c:pt idx="2498">
                  <c:v>38216</c:v>
                </c:pt>
                <c:pt idx="2499">
                  <c:v>38217</c:v>
                </c:pt>
                <c:pt idx="2500">
                  <c:v>38218</c:v>
                </c:pt>
                <c:pt idx="2501">
                  <c:v>38219</c:v>
                </c:pt>
                <c:pt idx="2502">
                  <c:v>38222</c:v>
                </c:pt>
                <c:pt idx="2503">
                  <c:v>38223</c:v>
                </c:pt>
                <c:pt idx="2504">
                  <c:v>38224</c:v>
                </c:pt>
                <c:pt idx="2505">
                  <c:v>38225</c:v>
                </c:pt>
                <c:pt idx="2506">
                  <c:v>38226</c:v>
                </c:pt>
                <c:pt idx="2507">
                  <c:v>38229</c:v>
                </c:pt>
                <c:pt idx="2508">
                  <c:v>38230</c:v>
                </c:pt>
                <c:pt idx="2509">
                  <c:v>38231</c:v>
                </c:pt>
                <c:pt idx="2510">
                  <c:v>38232</c:v>
                </c:pt>
                <c:pt idx="2511">
                  <c:v>38233</c:v>
                </c:pt>
                <c:pt idx="2512">
                  <c:v>38236</c:v>
                </c:pt>
                <c:pt idx="2513">
                  <c:v>38237</c:v>
                </c:pt>
                <c:pt idx="2514">
                  <c:v>38238</c:v>
                </c:pt>
                <c:pt idx="2515">
                  <c:v>38239</c:v>
                </c:pt>
                <c:pt idx="2516">
                  <c:v>38240</c:v>
                </c:pt>
                <c:pt idx="2517">
                  <c:v>38243</c:v>
                </c:pt>
                <c:pt idx="2518">
                  <c:v>38244</c:v>
                </c:pt>
                <c:pt idx="2519">
                  <c:v>38245</c:v>
                </c:pt>
                <c:pt idx="2520">
                  <c:v>38246</c:v>
                </c:pt>
                <c:pt idx="2521">
                  <c:v>38247</c:v>
                </c:pt>
                <c:pt idx="2522">
                  <c:v>38250</c:v>
                </c:pt>
                <c:pt idx="2523">
                  <c:v>38251</c:v>
                </c:pt>
                <c:pt idx="2524">
                  <c:v>38252</c:v>
                </c:pt>
                <c:pt idx="2525">
                  <c:v>38253</c:v>
                </c:pt>
                <c:pt idx="2526">
                  <c:v>38254</c:v>
                </c:pt>
                <c:pt idx="2527">
                  <c:v>38257</c:v>
                </c:pt>
                <c:pt idx="2528">
                  <c:v>38258</c:v>
                </c:pt>
                <c:pt idx="2529">
                  <c:v>38259</c:v>
                </c:pt>
                <c:pt idx="2530">
                  <c:v>38260</c:v>
                </c:pt>
                <c:pt idx="2531">
                  <c:v>38261</c:v>
                </c:pt>
                <c:pt idx="2532">
                  <c:v>38264</c:v>
                </c:pt>
                <c:pt idx="2533">
                  <c:v>38265</c:v>
                </c:pt>
                <c:pt idx="2534">
                  <c:v>38266</c:v>
                </c:pt>
                <c:pt idx="2535">
                  <c:v>38267</c:v>
                </c:pt>
                <c:pt idx="2536">
                  <c:v>38268</c:v>
                </c:pt>
                <c:pt idx="2537">
                  <c:v>38271</c:v>
                </c:pt>
                <c:pt idx="2538">
                  <c:v>38272</c:v>
                </c:pt>
                <c:pt idx="2539">
                  <c:v>38273</c:v>
                </c:pt>
                <c:pt idx="2540">
                  <c:v>38274</c:v>
                </c:pt>
                <c:pt idx="2541">
                  <c:v>38275</c:v>
                </c:pt>
                <c:pt idx="2542">
                  <c:v>38278</c:v>
                </c:pt>
                <c:pt idx="2543">
                  <c:v>38279</c:v>
                </c:pt>
                <c:pt idx="2544">
                  <c:v>38280</c:v>
                </c:pt>
                <c:pt idx="2545">
                  <c:v>38281</c:v>
                </c:pt>
                <c:pt idx="2546">
                  <c:v>38282</c:v>
                </c:pt>
                <c:pt idx="2547">
                  <c:v>38285</c:v>
                </c:pt>
                <c:pt idx="2548">
                  <c:v>38286</c:v>
                </c:pt>
                <c:pt idx="2549">
                  <c:v>38287</c:v>
                </c:pt>
                <c:pt idx="2550">
                  <c:v>38288</c:v>
                </c:pt>
                <c:pt idx="2551">
                  <c:v>38289</c:v>
                </c:pt>
                <c:pt idx="2552">
                  <c:v>38292</c:v>
                </c:pt>
                <c:pt idx="2553">
                  <c:v>38293</c:v>
                </c:pt>
                <c:pt idx="2554">
                  <c:v>38294</c:v>
                </c:pt>
                <c:pt idx="2555">
                  <c:v>38295</c:v>
                </c:pt>
                <c:pt idx="2556">
                  <c:v>38296</c:v>
                </c:pt>
                <c:pt idx="2557">
                  <c:v>38299</c:v>
                </c:pt>
                <c:pt idx="2558">
                  <c:v>38300</c:v>
                </c:pt>
                <c:pt idx="2559">
                  <c:v>38301</c:v>
                </c:pt>
                <c:pt idx="2560">
                  <c:v>38302</c:v>
                </c:pt>
                <c:pt idx="2561">
                  <c:v>38303</c:v>
                </c:pt>
                <c:pt idx="2562">
                  <c:v>38306</c:v>
                </c:pt>
                <c:pt idx="2563">
                  <c:v>38307</c:v>
                </c:pt>
                <c:pt idx="2564">
                  <c:v>38308</c:v>
                </c:pt>
                <c:pt idx="2565">
                  <c:v>38309</c:v>
                </c:pt>
                <c:pt idx="2566">
                  <c:v>38310</c:v>
                </c:pt>
                <c:pt idx="2567">
                  <c:v>38313</c:v>
                </c:pt>
                <c:pt idx="2568">
                  <c:v>38314</c:v>
                </c:pt>
                <c:pt idx="2569">
                  <c:v>38315</c:v>
                </c:pt>
                <c:pt idx="2570">
                  <c:v>38316</c:v>
                </c:pt>
                <c:pt idx="2571">
                  <c:v>38317</c:v>
                </c:pt>
                <c:pt idx="2572">
                  <c:v>38320</c:v>
                </c:pt>
                <c:pt idx="2573">
                  <c:v>38321</c:v>
                </c:pt>
                <c:pt idx="2574">
                  <c:v>38322</c:v>
                </c:pt>
                <c:pt idx="2575">
                  <c:v>38323</c:v>
                </c:pt>
                <c:pt idx="2576">
                  <c:v>38324</c:v>
                </c:pt>
                <c:pt idx="2577">
                  <c:v>38327</c:v>
                </c:pt>
                <c:pt idx="2578">
                  <c:v>38328</c:v>
                </c:pt>
                <c:pt idx="2579">
                  <c:v>38329</c:v>
                </c:pt>
                <c:pt idx="2580">
                  <c:v>38330</c:v>
                </c:pt>
                <c:pt idx="2581">
                  <c:v>38331</c:v>
                </c:pt>
                <c:pt idx="2582">
                  <c:v>38334</c:v>
                </c:pt>
                <c:pt idx="2583">
                  <c:v>38335</c:v>
                </c:pt>
                <c:pt idx="2584">
                  <c:v>38336</c:v>
                </c:pt>
                <c:pt idx="2585">
                  <c:v>38337</c:v>
                </c:pt>
                <c:pt idx="2586">
                  <c:v>38338</c:v>
                </c:pt>
                <c:pt idx="2587">
                  <c:v>38341</c:v>
                </c:pt>
                <c:pt idx="2588">
                  <c:v>38342</c:v>
                </c:pt>
                <c:pt idx="2589">
                  <c:v>38343</c:v>
                </c:pt>
                <c:pt idx="2590">
                  <c:v>38344</c:v>
                </c:pt>
                <c:pt idx="2591">
                  <c:v>38345</c:v>
                </c:pt>
                <c:pt idx="2592">
                  <c:v>38348</c:v>
                </c:pt>
                <c:pt idx="2593">
                  <c:v>38349</c:v>
                </c:pt>
                <c:pt idx="2594">
                  <c:v>38350</c:v>
                </c:pt>
                <c:pt idx="2595">
                  <c:v>38351</c:v>
                </c:pt>
                <c:pt idx="2596">
                  <c:v>38352</c:v>
                </c:pt>
                <c:pt idx="2597">
                  <c:v>38355</c:v>
                </c:pt>
                <c:pt idx="2598">
                  <c:v>38356</c:v>
                </c:pt>
                <c:pt idx="2599">
                  <c:v>38357</c:v>
                </c:pt>
                <c:pt idx="2600">
                  <c:v>38358</c:v>
                </c:pt>
                <c:pt idx="2601">
                  <c:v>38359</c:v>
                </c:pt>
                <c:pt idx="2602">
                  <c:v>38362</c:v>
                </c:pt>
                <c:pt idx="2603">
                  <c:v>38363</c:v>
                </c:pt>
                <c:pt idx="2604">
                  <c:v>38364</c:v>
                </c:pt>
                <c:pt idx="2605">
                  <c:v>38365</c:v>
                </c:pt>
                <c:pt idx="2606">
                  <c:v>38366</c:v>
                </c:pt>
                <c:pt idx="2607">
                  <c:v>38369</c:v>
                </c:pt>
                <c:pt idx="2608">
                  <c:v>38370</c:v>
                </c:pt>
                <c:pt idx="2609">
                  <c:v>38371</c:v>
                </c:pt>
                <c:pt idx="2610">
                  <c:v>38372</c:v>
                </c:pt>
                <c:pt idx="2611">
                  <c:v>38373</c:v>
                </c:pt>
                <c:pt idx="2612">
                  <c:v>38376</c:v>
                </c:pt>
                <c:pt idx="2613">
                  <c:v>38377</c:v>
                </c:pt>
                <c:pt idx="2614">
                  <c:v>38378</c:v>
                </c:pt>
                <c:pt idx="2615">
                  <c:v>38379</c:v>
                </c:pt>
                <c:pt idx="2616">
                  <c:v>38380</c:v>
                </c:pt>
                <c:pt idx="2617">
                  <c:v>38383</c:v>
                </c:pt>
                <c:pt idx="2618">
                  <c:v>38384</c:v>
                </c:pt>
                <c:pt idx="2619">
                  <c:v>38385</c:v>
                </c:pt>
                <c:pt idx="2620">
                  <c:v>38386</c:v>
                </c:pt>
                <c:pt idx="2621">
                  <c:v>38387</c:v>
                </c:pt>
                <c:pt idx="2622">
                  <c:v>38390</c:v>
                </c:pt>
                <c:pt idx="2623">
                  <c:v>38391</c:v>
                </c:pt>
                <c:pt idx="2624">
                  <c:v>38392</c:v>
                </c:pt>
                <c:pt idx="2625">
                  <c:v>38393</c:v>
                </c:pt>
                <c:pt idx="2626">
                  <c:v>38394</c:v>
                </c:pt>
                <c:pt idx="2627">
                  <c:v>38397</c:v>
                </c:pt>
                <c:pt idx="2628">
                  <c:v>38398</c:v>
                </c:pt>
                <c:pt idx="2629">
                  <c:v>38399</c:v>
                </c:pt>
                <c:pt idx="2630">
                  <c:v>38400</c:v>
                </c:pt>
                <c:pt idx="2631">
                  <c:v>38401</c:v>
                </c:pt>
                <c:pt idx="2632">
                  <c:v>38404</c:v>
                </c:pt>
                <c:pt idx="2633">
                  <c:v>38405</c:v>
                </c:pt>
                <c:pt idx="2634">
                  <c:v>38406</c:v>
                </c:pt>
                <c:pt idx="2635">
                  <c:v>38407</c:v>
                </c:pt>
                <c:pt idx="2636">
                  <c:v>38408</c:v>
                </c:pt>
                <c:pt idx="2637">
                  <c:v>38411</c:v>
                </c:pt>
                <c:pt idx="2638">
                  <c:v>38412</c:v>
                </c:pt>
                <c:pt idx="2639">
                  <c:v>38413</c:v>
                </c:pt>
                <c:pt idx="2640">
                  <c:v>38414</c:v>
                </c:pt>
                <c:pt idx="2641">
                  <c:v>38415</c:v>
                </c:pt>
                <c:pt idx="2642">
                  <c:v>38418</c:v>
                </c:pt>
                <c:pt idx="2643">
                  <c:v>38419</c:v>
                </c:pt>
                <c:pt idx="2644">
                  <c:v>38420</c:v>
                </c:pt>
                <c:pt idx="2645">
                  <c:v>38421</c:v>
                </c:pt>
                <c:pt idx="2646">
                  <c:v>38422</c:v>
                </c:pt>
                <c:pt idx="2647">
                  <c:v>38425</c:v>
                </c:pt>
                <c:pt idx="2648">
                  <c:v>38426</c:v>
                </c:pt>
                <c:pt idx="2649">
                  <c:v>38427</c:v>
                </c:pt>
                <c:pt idx="2650">
                  <c:v>38428</c:v>
                </c:pt>
                <c:pt idx="2651">
                  <c:v>38429</c:v>
                </c:pt>
                <c:pt idx="2652">
                  <c:v>38432</c:v>
                </c:pt>
                <c:pt idx="2653">
                  <c:v>38433</c:v>
                </c:pt>
                <c:pt idx="2654">
                  <c:v>38434</c:v>
                </c:pt>
                <c:pt idx="2655">
                  <c:v>38435</c:v>
                </c:pt>
                <c:pt idx="2656">
                  <c:v>38436</c:v>
                </c:pt>
                <c:pt idx="2657">
                  <c:v>38439</c:v>
                </c:pt>
                <c:pt idx="2658">
                  <c:v>38440</c:v>
                </c:pt>
                <c:pt idx="2659">
                  <c:v>38441</c:v>
                </c:pt>
                <c:pt idx="2660">
                  <c:v>38442</c:v>
                </c:pt>
                <c:pt idx="2661">
                  <c:v>38443</c:v>
                </c:pt>
                <c:pt idx="2662">
                  <c:v>38446</c:v>
                </c:pt>
                <c:pt idx="2663">
                  <c:v>38447</c:v>
                </c:pt>
                <c:pt idx="2664">
                  <c:v>38448</c:v>
                </c:pt>
                <c:pt idx="2665">
                  <c:v>38449</c:v>
                </c:pt>
                <c:pt idx="2666">
                  <c:v>38450</c:v>
                </c:pt>
                <c:pt idx="2667">
                  <c:v>38453</c:v>
                </c:pt>
                <c:pt idx="2668">
                  <c:v>38454</c:v>
                </c:pt>
                <c:pt idx="2669">
                  <c:v>38455</c:v>
                </c:pt>
                <c:pt idx="2670">
                  <c:v>38456</c:v>
                </c:pt>
                <c:pt idx="2671">
                  <c:v>38457</c:v>
                </c:pt>
                <c:pt idx="2672">
                  <c:v>38460</c:v>
                </c:pt>
                <c:pt idx="2673">
                  <c:v>38461</c:v>
                </c:pt>
                <c:pt idx="2674">
                  <c:v>38462</c:v>
                </c:pt>
                <c:pt idx="2675">
                  <c:v>38463</c:v>
                </c:pt>
                <c:pt idx="2676">
                  <c:v>38464</c:v>
                </c:pt>
                <c:pt idx="2677">
                  <c:v>38467</c:v>
                </c:pt>
                <c:pt idx="2678">
                  <c:v>38468</c:v>
                </c:pt>
                <c:pt idx="2679">
                  <c:v>38469</c:v>
                </c:pt>
                <c:pt idx="2680">
                  <c:v>38470</c:v>
                </c:pt>
                <c:pt idx="2681">
                  <c:v>38471</c:v>
                </c:pt>
                <c:pt idx="2682">
                  <c:v>38474</c:v>
                </c:pt>
                <c:pt idx="2683">
                  <c:v>38475</c:v>
                </c:pt>
                <c:pt idx="2684">
                  <c:v>38476</c:v>
                </c:pt>
                <c:pt idx="2685">
                  <c:v>38477</c:v>
                </c:pt>
                <c:pt idx="2686">
                  <c:v>38478</c:v>
                </c:pt>
                <c:pt idx="2687">
                  <c:v>38481</c:v>
                </c:pt>
                <c:pt idx="2688">
                  <c:v>38482</c:v>
                </c:pt>
                <c:pt idx="2689">
                  <c:v>38483</c:v>
                </c:pt>
                <c:pt idx="2690">
                  <c:v>38484</c:v>
                </c:pt>
                <c:pt idx="2691">
                  <c:v>38485</c:v>
                </c:pt>
                <c:pt idx="2692">
                  <c:v>38488</c:v>
                </c:pt>
                <c:pt idx="2693">
                  <c:v>38489</c:v>
                </c:pt>
                <c:pt idx="2694">
                  <c:v>38490</c:v>
                </c:pt>
                <c:pt idx="2695">
                  <c:v>38491</c:v>
                </c:pt>
                <c:pt idx="2696">
                  <c:v>38492</c:v>
                </c:pt>
                <c:pt idx="2697">
                  <c:v>38495</c:v>
                </c:pt>
                <c:pt idx="2698">
                  <c:v>38496</c:v>
                </c:pt>
                <c:pt idx="2699">
                  <c:v>38497</c:v>
                </c:pt>
                <c:pt idx="2700">
                  <c:v>38498</c:v>
                </c:pt>
                <c:pt idx="2701">
                  <c:v>38499</c:v>
                </c:pt>
                <c:pt idx="2702">
                  <c:v>38502</c:v>
                </c:pt>
                <c:pt idx="2703">
                  <c:v>38503</c:v>
                </c:pt>
                <c:pt idx="2704">
                  <c:v>38504</c:v>
                </c:pt>
                <c:pt idx="2705">
                  <c:v>38505</c:v>
                </c:pt>
                <c:pt idx="2706">
                  <c:v>38506</c:v>
                </c:pt>
                <c:pt idx="2707">
                  <c:v>38509</c:v>
                </c:pt>
                <c:pt idx="2708">
                  <c:v>38510</c:v>
                </c:pt>
                <c:pt idx="2709">
                  <c:v>38511</c:v>
                </c:pt>
                <c:pt idx="2710">
                  <c:v>38512</c:v>
                </c:pt>
                <c:pt idx="2711">
                  <c:v>38513</c:v>
                </c:pt>
                <c:pt idx="2712">
                  <c:v>38516</c:v>
                </c:pt>
                <c:pt idx="2713">
                  <c:v>38517</c:v>
                </c:pt>
                <c:pt idx="2714">
                  <c:v>38518</c:v>
                </c:pt>
                <c:pt idx="2715">
                  <c:v>38519</c:v>
                </c:pt>
                <c:pt idx="2716">
                  <c:v>38520</c:v>
                </c:pt>
                <c:pt idx="2717">
                  <c:v>38523</c:v>
                </c:pt>
                <c:pt idx="2718">
                  <c:v>38524</c:v>
                </c:pt>
                <c:pt idx="2719">
                  <c:v>38525</c:v>
                </c:pt>
                <c:pt idx="2720">
                  <c:v>38526</c:v>
                </c:pt>
                <c:pt idx="2721">
                  <c:v>38527</c:v>
                </c:pt>
                <c:pt idx="2722">
                  <c:v>38530</c:v>
                </c:pt>
                <c:pt idx="2723">
                  <c:v>38531</c:v>
                </c:pt>
                <c:pt idx="2724">
                  <c:v>38532</c:v>
                </c:pt>
                <c:pt idx="2725">
                  <c:v>38533</c:v>
                </c:pt>
                <c:pt idx="2726">
                  <c:v>38534</c:v>
                </c:pt>
                <c:pt idx="2727">
                  <c:v>38537</c:v>
                </c:pt>
                <c:pt idx="2728">
                  <c:v>38538</c:v>
                </c:pt>
                <c:pt idx="2729">
                  <c:v>38539</c:v>
                </c:pt>
                <c:pt idx="2730">
                  <c:v>38540</c:v>
                </c:pt>
                <c:pt idx="2731">
                  <c:v>38541</c:v>
                </c:pt>
                <c:pt idx="2732">
                  <c:v>38544</c:v>
                </c:pt>
                <c:pt idx="2733">
                  <c:v>38545</c:v>
                </c:pt>
                <c:pt idx="2734">
                  <c:v>38546</c:v>
                </c:pt>
                <c:pt idx="2735">
                  <c:v>38547</c:v>
                </c:pt>
                <c:pt idx="2736">
                  <c:v>38548</c:v>
                </c:pt>
                <c:pt idx="2737">
                  <c:v>38551</c:v>
                </c:pt>
                <c:pt idx="2738">
                  <c:v>38552</c:v>
                </c:pt>
                <c:pt idx="2739">
                  <c:v>38553</c:v>
                </c:pt>
                <c:pt idx="2740">
                  <c:v>38554</c:v>
                </c:pt>
                <c:pt idx="2741">
                  <c:v>38555</c:v>
                </c:pt>
                <c:pt idx="2742">
                  <c:v>38558</c:v>
                </c:pt>
                <c:pt idx="2743">
                  <c:v>38559</c:v>
                </c:pt>
                <c:pt idx="2744">
                  <c:v>38560</c:v>
                </c:pt>
                <c:pt idx="2745">
                  <c:v>38561</c:v>
                </c:pt>
                <c:pt idx="2746">
                  <c:v>38562</c:v>
                </c:pt>
                <c:pt idx="2747">
                  <c:v>38565</c:v>
                </c:pt>
                <c:pt idx="2748">
                  <c:v>38566</c:v>
                </c:pt>
                <c:pt idx="2749">
                  <c:v>38567</c:v>
                </c:pt>
                <c:pt idx="2750">
                  <c:v>38568</c:v>
                </c:pt>
                <c:pt idx="2751">
                  <c:v>38569</c:v>
                </c:pt>
                <c:pt idx="2752">
                  <c:v>38572</c:v>
                </c:pt>
                <c:pt idx="2753">
                  <c:v>38573</c:v>
                </c:pt>
                <c:pt idx="2754">
                  <c:v>38574</c:v>
                </c:pt>
                <c:pt idx="2755">
                  <c:v>38575</c:v>
                </c:pt>
                <c:pt idx="2756">
                  <c:v>38576</c:v>
                </c:pt>
                <c:pt idx="2757">
                  <c:v>38579</c:v>
                </c:pt>
                <c:pt idx="2758">
                  <c:v>38580</c:v>
                </c:pt>
                <c:pt idx="2759">
                  <c:v>38581</c:v>
                </c:pt>
                <c:pt idx="2760">
                  <c:v>38582</c:v>
                </c:pt>
                <c:pt idx="2761">
                  <c:v>38583</c:v>
                </c:pt>
                <c:pt idx="2762">
                  <c:v>38586</c:v>
                </c:pt>
                <c:pt idx="2763">
                  <c:v>38587</c:v>
                </c:pt>
                <c:pt idx="2764">
                  <c:v>38588</c:v>
                </c:pt>
                <c:pt idx="2765">
                  <c:v>38589</c:v>
                </c:pt>
                <c:pt idx="2766">
                  <c:v>38590</c:v>
                </c:pt>
                <c:pt idx="2767">
                  <c:v>38593</c:v>
                </c:pt>
                <c:pt idx="2768">
                  <c:v>38594</c:v>
                </c:pt>
                <c:pt idx="2769">
                  <c:v>38595</c:v>
                </c:pt>
                <c:pt idx="2770">
                  <c:v>38596</c:v>
                </c:pt>
                <c:pt idx="2771">
                  <c:v>38597</c:v>
                </c:pt>
                <c:pt idx="2772">
                  <c:v>38600</c:v>
                </c:pt>
                <c:pt idx="2773">
                  <c:v>38601</c:v>
                </c:pt>
                <c:pt idx="2774">
                  <c:v>38602</c:v>
                </c:pt>
                <c:pt idx="2775">
                  <c:v>38603</c:v>
                </c:pt>
                <c:pt idx="2776">
                  <c:v>38604</c:v>
                </c:pt>
                <c:pt idx="2777">
                  <c:v>38607</c:v>
                </c:pt>
                <c:pt idx="2778">
                  <c:v>38608</c:v>
                </c:pt>
                <c:pt idx="2779">
                  <c:v>38609</c:v>
                </c:pt>
                <c:pt idx="2780">
                  <c:v>38610</c:v>
                </c:pt>
                <c:pt idx="2781">
                  <c:v>38611</c:v>
                </c:pt>
                <c:pt idx="2782">
                  <c:v>38614</c:v>
                </c:pt>
                <c:pt idx="2783">
                  <c:v>38615</c:v>
                </c:pt>
                <c:pt idx="2784">
                  <c:v>38616</c:v>
                </c:pt>
                <c:pt idx="2785">
                  <c:v>38617</c:v>
                </c:pt>
                <c:pt idx="2786">
                  <c:v>38618</c:v>
                </c:pt>
                <c:pt idx="2787">
                  <c:v>38621</c:v>
                </c:pt>
                <c:pt idx="2788">
                  <c:v>38622</c:v>
                </c:pt>
                <c:pt idx="2789">
                  <c:v>38623</c:v>
                </c:pt>
                <c:pt idx="2790">
                  <c:v>38624</c:v>
                </c:pt>
                <c:pt idx="2791">
                  <c:v>38625</c:v>
                </c:pt>
                <c:pt idx="2792">
                  <c:v>38628</c:v>
                </c:pt>
                <c:pt idx="2793">
                  <c:v>38629</c:v>
                </c:pt>
                <c:pt idx="2794">
                  <c:v>38630</c:v>
                </c:pt>
                <c:pt idx="2795">
                  <c:v>38631</c:v>
                </c:pt>
                <c:pt idx="2796">
                  <c:v>38632</c:v>
                </c:pt>
                <c:pt idx="2797">
                  <c:v>38635</c:v>
                </c:pt>
                <c:pt idx="2798">
                  <c:v>38636</c:v>
                </c:pt>
                <c:pt idx="2799">
                  <c:v>38637</c:v>
                </c:pt>
                <c:pt idx="2800">
                  <c:v>38638</c:v>
                </c:pt>
                <c:pt idx="2801">
                  <c:v>38639</c:v>
                </c:pt>
                <c:pt idx="2802">
                  <c:v>38642</c:v>
                </c:pt>
                <c:pt idx="2803">
                  <c:v>38643</c:v>
                </c:pt>
                <c:pt idx="2804">
                  <c:v>38644</c:v>
                </c:pt>
                <c:pt idx="2805">
                  <c:v>38645</c:v>
                </c:pt>
                <c:pt idx="2806">
                  <c:v>38646</c:v>
                </c:pt>
                <c:pt idx="2807">
                  <c:v>38649</c:v>
                </c:pt>
                <c:pt idx="2808">
                  <c:v>38650</c:v>
                </c:pt>
                <c:pt idx="2809">
                  <c:v>38651</c:v>
                </c:pt>
                <c:pt idx="2810">
                  <c:v>38652</c:v>
                </c:pt>
                <c:pt idx="2811">
                  <c:v>38653</c:v>
                </c:pt>
                <c:pt idx="2812">
                  <c:v>38656</c:v>
                </c:pt>
                <c:pt idx="2813">
                  <c:v>38657</c:v>
                </c:pt>
                <c:pt idx="2814">
                  <c:v>38658</c:v>
                </c:pt>
                <c:pt idx="2815">
                  <c:v>38659</c:v>
                </c:pt>
                <c:pt idx="2816">
                  <c:v>38660</c:v>
                </c:pt>
                <c:pt idx="2817">
                  <c:v>38663</c:v>
                </c:pt>
                <c:pt idx="2818">
                  <c:v>38664</c:v>
                </c:pt>
                <c:pt idx="2819">
                  <c:v>38665</c:v>
                </c:pt>
                <c:pt idx="2820">
                  <c:v>38666</c:v>
                </c:pt>
                <c:pt idx="2821">
                  <c:v>38667</c:v>
                </c:pt>
                <c:pt idx="2822">
                  <c:v>38670</c:v>
                </c:pt>
                <c:pt idx="2823">
                  <c:v>38671</c:v>
                </c:pt>
                <c:pt idx="2824">
                  <c:v>38672</c:v>
                </c:pt>
                <c:pt idx="2825">
                  <c:v>38673</c:v>
                </c:pt>
                <c:pt idx="2826">
                  <c:v>38674</c:v>
                </c:pt>
                <c:pt idx="2827">
                  <c:v>38677</c:v>
                </c:pt>
                <c:pt idx="2828">
                  <c:v>38678</c:v>
                </c:pt>
                <c:pt idx="2829">
                  <c:v>38679</c:v>
                </c:pt>
                <c:pt idx="2830">
                  <c:v>38680</c:v>
                </c:pt>
                <c:pt idx="2831">
                  <c:v>38681</c:v>
                </c:pt>
                <c:pt idx="2832">
                  <c:v>38684</c:v>
                </c:pt>
                <c:pt idx="2833">
                  <c:v>38685</c:v>
                </c:pt>
                <c:pt idx="2834">
                  <c:v>38686</c:v>
                </c:pt>
                <c:pt idx="2835">
                  <c:v>38687</c:v>
                </c:pt>
                <c:pt idx="2836">
                  <c:v>38688</c:v>
                </c:pt>
                <c:pt idx="2837">
                  <c:v>38691</c:v>
                </c:pt>
                <c:pt idx="2838">
                  <c:v>38692</c:v>
                </c:pt>
                <c:pt idx="2839">
                  <c:v>38693</c:v>
                </c:pt>
                <c:pt idx="2840">
                  <c:v>38694</c:v>
                </c:pt>
                <c:pt idx="2841">
                  <c:v>38695</c:v>
                </c:pt>
                <c:pt idx="2842">
                  <c:v>38698</c:v>
                </c:pt>
                <c:pt idx="2843">
                  <c:v>38699</c:v>
                </c:pt>
                <c:pt idx="2844">
                  <c:v>38700</c:v>
                </c:pt>
                <c:pt idx="2845">
                  <c:v>38701</c:v>
                </c:pt>
                <c:pt idx="2846">
                  <c:v>38702</c:v>
                </c:pt>
                <c:pt idx="2847">
                  <c:v>38705</c:v>
                </c:pt>
                <c:pt idx="2848">
                  <c:v>38706</c:v>
                </c:pt>
                <c:pt idx="2849">
                  <c:v>38707</c:v>
                </c:pt>
                <c:pt idx="2850">
                  <c:v>38708</c:v>
                </c:pt>
                <c:pt idx="2851">
                  <c:v>38709</c:v>
                </c:pt>
                <c:pt idx="2852">
                  <c:v>38712</c:v>
                </c:pt>
                <c:pt idx="2853">
                  <c:v>38713</c:v>
                </c:pt>
                <c:pt idx="2854">
                  <c:v>38714</c:v>
                </c:pt>
                <c:pt idx="2855">
                  <c:v>38715</c:v>
                </c:pt>
                <c:pt idx="2856">
                  <c:v>38716</c:v>
                </c:pt>
                <c:pt idx="2857">
                  <c:v>38719</c:v>
                </c:pt>
                <c:pt idx="2858">
                  <c:v>38720</c:v>
                </c:pt>
                <c:pt idx="2859">
                  <c:v>38721</c:v>
                </c:pt>
                <c:pt idx="2860">
                  <c:v>38722</c:v>
                </c:pt>
                <c:pt idx="2861">
                  <c:v>38723</c:v>
                </c:pt>
                <c:pt idx="2862">
                  <c:v>38726</c:v>
                </c:pt>
                <c:pt idx="2863">
                  <c:v>38727</c:v>
                </c:pt>
                <c:pt idx="2864">
                  <c:v>38728</c:v>
                </c:pt>
                <c:pt idx="2865">
                  <c:v>38729</c:v>
                </c:pt>
                <c:pt idx="2866">
                  <c:v>38730</c:v>
                </c:pt>
                <c:pt idx="2867">
                  <c:v>38733</c:v>
                </c:pt>
                <c:pt idx="2868">
                  <c:v>38734</c:v>
                </c:pt>
                <c:pt idx="2869">
                  <c:v>38735</c:v>
                </c:pt>
                <c:pt idx="2870">
                  <c:v>38736</c:v>
                </c:pt>
                <c:pt idx="2871">
                  <c:v>38737</c:v>
                </c:pt>
                <c:pt idx="2872">
                  <c:v>38740</c:v>
                </c:pt>
                <c:pt idx="2873">
                  <c:v>38741</c:v>
                </c:pt>
                <c:pt idx="2874">
                  <c:v>38742</c:v>
                </c:pt>
                <c:pt idx="2875">
                  <c:v>38743</c:v>
                </c:pt>
                <c:pt idx="2876">
                  <c:v>38744</c:v>
                </c:pt>
                <c:pt idx="2877">
                  <c:v>38747</c:v>
                </c:pt>
                <c:pt idx="2878">
                  <c:v>38748</c:v>
                </c:pt>
                <c:pt idx="2879">
                  <c:v>38749</c:v>
                </c:pt>
                <c:pt idx="2880">
                  <c:v>38750</c:v>
                </c:pt>
                <c:pt idx="2881">
                  <c:v>38751</c:v>
                </c:pt>
                <c:pt idx="2882">
                  <c:v>38754</c:v>
                </c:pt>
                <c:pt idx="2883">
                  <c:v>38755</c:v>
                </c:pt>
                <c:pt idx="2884">
                  <c:v>38756</c:v>
                </c:pt>
                <c:pt idx="2885">
                  <c:v>38757</c:v>
                </c:pt>
                <c:pt idx="2886">
                  <c:v>38758</c:v>
                </c:pt>
                <c:pt idx="2887">
                  <c:v>38761</c:v>
                </c:pt>
                <c:pt idx="2888">
                  <c:v>38762</c:v>
                </c:pt>
                <c:pt idx="2889">
                  <c:v>38763</c:v>
                </c:pt>
                <c:pt idx="2890">
                  <c:v>38764</c:v>
                </c:pt>
                <c:pt idx="2891">
                  <c:v>38765</c:v>
                </c:pt>
                <c:pt idx="2892">
                  <c:v>38768</c:v>
                </c:pt>
                <c:pt idx="2893">
                  <c:v>38769</c:v>
                </c:pt>
                <c:pt idx="2894">
                  <c:v>38770</c:v>
                </c:pt>
                <c:pt idx="2895">
                  <c:v>38771</c:v>
                </c:pt>
                <c:pt idx="2896">
                  <c:v>38772</c:v>
                </c:pt>
                <c:pt idx="2897">
                  <c:v>38775</c:v>
                </c:pt>
                <c:pt idx="2898">
                  <c:v>38776</c:v>
                </c:pt>
                <c:pt idx="2899">
                  <c:v>38777</c:v>
                </c:pt>
                <c:pt idx="2900">
                  <c:v>38778</c:v>
                </c:pt>
                <c:pt idx="2901">
                  <c:v>38779</c:v>
                </c:pt>
                <c:pt idx="2902">
                  <c:v>38782</c:v>
                </c:pt>
                <c:pt idx="2903">
                  <c:v>38783</c:v>
                </c:pt>
                <c:pt idx="2904">
                  <c:v>38784</c:v>
                </c:pt>
                <c:pt idx="2905">
                  <c:v>38785</c:v>
                </c:pt>
                <c:pt idx="2906">
                  <c:v>38786</c:v>
                </c:pt>
                <c:pt idx="2907">
                  <c:v>38789</c:v>
                </c:pt>
                <c:pt idx="2908">
                  <c:v>38790</c:v>
                </c:pt>
                <c:pt idx="2909">
                  <c:v>38791</c:v>
                </c:pt>
                <c:pt idx="2910">
                  <c:v>38792</c:v>
                </c:pt>
                <c:pt idx="2911">
                  <c:v>38793</c:v>
                </c:pt>
                <c:pt idx="2912">
                  <c:v>38796</c:v>
                </c:pt>
                <c:pt idx="2913">
                  <c:v>38797</c:v>
                </c:pt>
                <c:pt idx="2914">
                  <c:v>38798</c:v>
                </c:pt>
                <c:pt idx="2915">
                  <c:v>38799</c:v>
                </c:pt>
                <c:pt idx="2916">
                  <c:v>38800</c:v>
                </c:pt>
                <c:pt idx="2917">
                  <c:v>38803</c:v>
                </c:pt>
                <c:pt idx="2918">
                  <c:v>38804</c:v>
                </c:pt>
                <c:pt idx="2919">
                  <c:v>38805</c:v>
                </c:pt>
                <c:pt idx="2920">
                  <c:v>38806</c:v>
                </c:pt>
                <c:pt idx="2921">
                  <c:v>38807</c:v>
                </c:pt>
                <c:pt idx="2922">
                  <c:v>38810</c:v>
                </c:pt>
                <c:pt idx="2923">
                  <c:v>38811</c:v>
                </c:pt>
                <c:pt idx="2924">
                  <c:v>38812</c:v>
                </c:pt>
                <c:pt idx="2925">
                  <c:v>38813</c:v>
                </c:pt>
                <c:pt idx="2926">
                  <c:v>38814</c:v>
                </c:pt>
                <c:pt idx="2927">
                  <c:v>38817</c:v>
                </c:pt>
                <c:pt idx="2928">
                  <c:v>38818</c:v>
                </c:pt>
                <c:pt idx="2929">
                  <c:v>38819</c:v>
                </c:pt>
                <c:pt idx="2930">
                  <c:v>38820</c:v>
                </c:pt>
                <c:pt idx="2931">
                  <c:v>38821</c:v>
                </c:pt>
                <c:pt idx="2932">
                  <c:v>38824</c:v>
                </c:pt>
                <c:pt idx="2933">
                  <c:v>38825</c:v>
                </c:pt>
                <c:pt idx="2934">
                  <c:v>38826</c:v>
                </c:pt>
                <c:pt idx="2935">
                  <c:v>38827</c:v>
                </c:pt>
                <c:pt idx="2936">
                  <c:v>38828</c:v>
                </c:pt>
                <c:pt idx="2937">
                  <c:v>38831</c:v>
                </c:pt>
                <c:pt idx="2938">
                  <c:v>38832</c:v>
                </c:pt>
                <c:pt idx="2939">
                  <c:v>38833</c:v>
                </c:pt>
                <c:pt idx="2940">
                  <c:v>38834</c:v>
                </c:pt>
                <c:pt idx="2941">
                  <c:v>38835</c:v>
                </c:pt>
                <c:pt idx="2942">
                  <c:v>38838</c:v>
                </c:pt>
                <c:pt idx="2943">
                  <c:v>38839</c:v>
                </c:pt>
                <c:pt idx="2944">
                  <c:v>38840</c:v>
                </c:pt>
                <c:pt idx="2945">
                  <c:v>38841</c:v>
                </c:pt>
                <c:pt idx="2946">
                  <c:v>38842</c:v>
                </c:pt>
                <c:pt idx="2947">
                  <c:v>38845</c:v>
                </c:pt>
                <c:pt idx="2948">
                  <c:v>38846</c:v>
                </c:pt>
                <c:pt idx="2949">
                  <c:v>38847</c:v>
                </c:pt>
                <c:pt idx="2950">
                  <c:v>38848</c:v>
                </c:pt>
                <c:pt idx="2951">
                  <c:v>38849</c:v>
                </c:pt>
                <c:pt idx="2952">
                  <c:v>38852</c:v>
                </c:pt>
                <c:pt idx="2953">
                  <c:v>38853</c:v>
                </c:pt>
                <c:pt idx="2954">
                  <c:v>38854</c:v>
                </c:pt>
                <c:pt idx="2955">
                  <c:v>38855</c:v>
                </c:pt>
                <c:pt idx="2956">
                  <c:v>38856</c:v>
                </c:pt>
                <c:pt idx="2957">
                  <c:v>38859</c:v>
                </c:pt>
                <c:pt idx="2958">
                  <c:v>38860</c:v>
                </c:pt>
                <c:pt idx="2959">
                  <c:v>38861</c:v>
                </c:pt>
                <c:pt idx="2960">
                  <c:v>38862</c:v>
                </c:pt>
                <c:pt idx="2961">
                  <c:v>38863</c:v>
                </c:pt>
                <c:pt idx="2962">
                  <c:v>38866</c:v>
                </c:pt>
                <c:pt idx="2963">
                  <c:v>38867</c:v>
                </c:pt>
                <c:pt idx="2964">
                  <c:v>38868</c:v>
                </c:pt>
                <c:pt idx="2965">
                  <c:v>38869</c:v>
                </c:pt>
                <c:pt idx="2966">
                  <c:v>38870</c:v>
                </c:pt>
                <c:pt idx="2967">
                  <c:v>38873</c:v>
                </c:pt>
                <c:pt idx="2968">
                  <c:v>38874</c:v>
                </c:pt>
                <c:pt idx="2969">
                  <c:v>38875</c:v>
                </c:pt>
                <c:pt idx="2970">
                  <c:v>38876</c:v>
                </c:pt>
                <c:pt idx="2971">
                  <c:v>38877</c:v>
                </c:pt>
                <c:pt idx="2972">
                  <c:v>38880</c:v>
                </c:pt>
                <c:pt idx="2973">
                  <c:v>38881</c:v>
                </c:pt>
                <c:pt idx="2974">
                  <c:v>38882</c:v>
                </c:pt>
                <c:pt idx="2975">
                  <c:v>38883</c:v>
                </c:pt>
                <c:pt idx="2976">
                  <c:v>38884</c:v>
                </c:pt>
                <c:pt idx="2977">
                  <c:v>38887</c:v>
                </c:pt>
                <c:pt idx="2978">
                  <c:v>38888</c:v>
                </c:pt>
                <c:pt idx="2979">
                  <c:v>38889</c:v>
                </c:pt>
                <c:pt idx="2980">
                  <c:v>38890</c:v>
                </c:pt>
                <c:pt idx="2981">
                  <c:v>38891</c:v>
                </c:pt>
                <c:pt idx="2982">
                  <c:v>38894</c:v>
                </c:pt>
                <c:pt idx="2983">
                  <c:v>38895</c:v>
                </c:pt>
                <c:pt idx="2984">
                  <c:v>38896</c:v>
                </c:pt>
                <c:pt idx="2985">
                  <c:v>38897</c:v>
                </c:pt>
                <c:pt idx="2986">
                  <c:v>38898</c:v>
                </c:pt>
                <c:pt idx="2987">
                  <c:v>38901</c:v>
                </c:pt>
                <c:pt idx="2988">
                  <c:v>38902</c:v>
                </c:pt>
                <c:pt idx="2989">
                  <c:v>38903</c:v>
                </c:pt>
                <c:pt idx="2990">
                  <c:v>38904</c:v>
                </c:pt>
                <c:pt idx="2991">
                  <c:v>38905</c:v>
                </c:pt>
                <c:pt idx="2992">
                  <c:v>38908</c:v>
                </c:pt>
                <c:pt idx="2993">
                  <c:v>38909</c:v>
                </c:pt>
                <c:pt idx="2994">
                  <c:v>38910</c:v>
                </c:pt>
                <c:pt idx="2995">
                  <c:v>38911</c:v>
                </c:pt>
                <c:pt idx="2996">
                  <c:v>38912</c:v>
                </c:pt>
                <c:pt idx="2997">
                  <c:v>38915</c:v>
                </c:pt>
                <c:pt idx="2998">
                  <c:v>38916</c:v>
                </c:pt>
                <c:pt idx="2999">
                  <c:v>38917</c:v>
                </c:pt>
                <c:pt idx="3000">
                  <c:v>38918</c:v>
                </c:pt>
                <c:pt idx="3001">
                  <c:v>38919</c:v>
                </c:pt>
                <c:pt idx="3002">
                  <c:v>38922</c:v>
                </c:pt>
                <c:pt idx="3003">
                  <c:v>38923</c:v>
                </c:pt>
                <c:pt idx="3004">
                  <c:v>38924</c:v>
                </c:pt>
                <c:pt idx="3005">
                  <c:v>38925</c:v>
                </c:pt>
                <c:pt idx="3006">
                  <c:v>38926</c:v>
                </c:pt>
                <c:pt idx="3007">
                  <c:v>38929</c:v>
                </c:pt>
                <c:pt idx="3008">
                  <c:v>38930</c:v>
                </c:pt>
                <c:pt idx="3009">
                  <c:v>38931</c:v>
                </c:pt>
                <c:pt idx="3010">
                  <c:v>38932</c:v>
                </c:pt>
                <c:pt idx="3011">
                  <c:v>38933</c:v>
                </c:pt>
                <c:pt idx="3012">
                  <c:v>38936</c:v>
                </c:pt>
                <c:pt idx="3013">
                  <c:v>38937</c:v>
                </c:pt>
                <c:pt idx="3014">
                  <c:v>38938</c:v>
                </c:pt>
                <c:pt idx="3015">
                  <c:v>38939</c:v>
                </c:pt>
                <c:pt idx="3016">
                  <c:v>38940</c:v>
                </c:pt>
                <c:pt idx="3017">
                  <c:v>38943</c:v>
                </c:pt>
                <c:pt idx="3018">
                  <c:v>38944</c:v>
                </c:pt>
                <c:pt idx="3019">
                  <c:v>38945</c:v>
                </c:pt>
                <c:pt idx="3020">
                  <c:v>38946</c:v>
                </c:pt>
                <c:pt idx="3021">
                  <c:v>38947</c:v>
                </c:pt>
                <c:pt idx="3022">
                  <c:v>38950</c:v>
                </c:pt>
                <c:pt idx="3023">
                  <c:v>38951</c:v>
                </c:pt>
                <c:pt idx="3024">
                  <c:v>38952</c:v>
                </c:pt>
                <c:pt idx="3025">
                  <c:v>38953</c:v>
                </c:pt>
                <c:pt idx="3026">
                  <c:v>38954</c:v>
                </c:pt>
                <c:pt idx="3027">
                  <c:v>38957</c:v>
                </c:pt>
                <c:pt idx="3028">
                  <c:v>38958</c:v>
                </c:pt>
                <c:pt idx="3029">
                  <c:v>38959</c:v>
                </c:pt>
                <c:pt idx="3030">
                  <c:v>38960</c:v>
                </c:pt>
                <c:pt idx="3031">
                  <c:v>38961</c:v>
                </c:pt>
                <c:pt idx="3032">
                  <c:v>38964</c:v>
                </c:pt>
                <c:pt idx="3033">
                  <c:v>38965</c:v>
                </c:pt>
                <c:pt idx="3034">
                  <c:v>38966</c:v>
                </c:pt>
                <c:pt idx="3035">
                  <c:v>38967</c:v>
                </c:pt>
                <c:pt idx="3036">
                  <c:v>38968</c:v>
                </c:pt>
                <c:pt idx="3037">
                  <c:v>38971</c:v>
                </c:pt>
                <c:pt idx="3038">
                  <c:v>38972</c:v>
                </c:pt>
                <c:pt idx="3039">
                  <c:v>38973</c:v>
                </c:pt>
                <c:pt idx="3040">
                  <c:v>38974</c:v>
                </c:pt>
                <c:pt idx="3041">
                  <c:v>38975</c:v>
                </c:pt>
                <c:pt idx="3042">
                  <c:v>38978</c:v>
                </c:pt>
                <c:pt idx="3043">
                  <c:v>38979</c:v>
                </c:pt>
                <c:pt idx="3044">
                  <c:v>38980</c:v>
                </c:pt>
                <c:pt idx="3045">
                  <c:v>38981</c:v>
                </c:pt>
                <c:pt idx="3046">
                  <c:v>38982</c:v>
                </c:pt>
                <c:pt idx="3047">
                  <c:v>38985</c:v>
                </c:pt>
                <c:pt idx="3048">
                  <c:v>38986</c:v>
                </c:pt>
                <c:pt idx="3049">
                  <c:v>38987</c:v>
                </c:pt>
                <c:pt idx="3050">
                  <c:v>38988</c:v>
                </c:pt>
                <c:pt idx="3051">
                  <c:v>38989</c:v>
                </c:pt>
                <c:pt idx="3052">
                  <c:v>38992</c:v>
                </c:pt>
                <c:pt idx="3053">
                  <c:v>38993</c:v>
                </c:pt>
                <c:pt idx="3054">
                  <c:v>38994</c:v>
                </c:pt>
                <c:pt idx="3055">
                  <c:v>38995</c:v>
                </c:pt>
                <c:pt idx="3056">
                  <c:v>38996</c:v>
                </c:pt>
                <c:pt idx="3057">
                  <c:v>38999</c:v>
                </c:pt>
                <c:pt idx="3058">
                  <c:v>39000</c:v>
                </c:pt>
                <c:pt idx="3059">
                  <c:v>39001</c:v>
                </c:pt>
                <c:pt idx="3060">
                  <c:v>39002</c:v>
                </c:pt>
                <c:pt idx="3061">
                  <c:v>39003</c:v>
                </c:pt>
                <c:pt idx="3062">
                  <c:v>39006</c:v>
                </c:pt>
                <c:pt idx="3063">
                  <c:v>39007</c:v>
                </c:pt>
                <c:pt idx="3064">
                  <c:v>39008</c:v>
                </c:pt>
                <c:pt idx="3065">
                  <c:v>39009</c:v>
                </c:pt>
                <c:pt idx="3066">
                  <c:v>39010</c:v>
                </c:pt>
                <c:pt idx="3067">
                  <c:v>39013</c:v>
                </c:pt>
                <c:pt idx="3068">
                  <c:v>39014</c:v>
                </c:pt>
                <c:pt idx="3069">
                  <c:v>39015</c:v>
                </c:pt>
                <c:pt idx="3070">
                  <c:v>39016</c:v>
                </c:pt>
                <c:pt idx="3071">
                  <c:v>39017</c:v>
                </c:pt>
                <c:pt idx="3072">
                  <c:v>39020</c:v>
                </c:pt>
                <c:pt idx="3073">
                  <c:v>39021</c:v>
                </c:pt>
                <c:pt idx="3074">
                  <c:v>39022</c:v>
                </c:pt>
                <c:pt idx="3075">
                  <c:v>39023</c:v>
                </c:pt>
                <c:pt idx="3076">
                  <c:v>39024</c:v>
                </c:pt>
                <c:pt idx="3077">
                  <c:v>39027</c:v>
                </c:pt>
                <c:pt idx="3078">
                  <c:v>39028</c:v>
                </c:pt>
                <c:pt idx="3079">
                  <c:v>39029</c:v>
                </c:pt>
                <c:pt idx="3080">
                  <c:v>39030</c:v>
                </c:pt>
                <c:pt idx="3081">
                  <c:v>39031</c:v>
                </c:pt>
                <c:pt idx="3082">
                  <c:v>39034</c:v>
                </c:pt>
                <c:pt idx="3083">
                  <c:v>39035</c:v>
                </c:pt>
                <c:pt idx="3084">
                  <c:v>39036</c:v>
                </c:pt>
                <c:pt idx="3085">
                  <c:v>39037</c:v>
                </c:pt>
                <c:pt idx="3086">
                  <c:v>39038</c:v>
                </c:pt>
                <c:pt idx="3087">
                  <c:v>39041</c:v>
                </c:pt>
                <c:pt idx="3088">
                  <c:v>39042</c:v>
                </c:pt>
                <c:pt idx="3089">
                  <c:v>39043</c:v>
                </c:pt>
                <c:pt idx="3090">
                  <c:v>39044</c:v>
                </c:pt>
                <c:pt idx="3091">
                  <c:v>39045</c:v>
                </c:pt>
                <c:pt idx="3092">
                  <c:v>39048</c:v>
                </c:pt>
                <c:pt idx="3093">
                  <c:v>39049</c:v>
                </c:pt>
                <c:pt idx="3094">
                  <c:v>39050</c:v>
                </c:pt>
                <c:pt idx="3095">
                  <c:v>39051</c:v>
                </c:pt>
                <c:pt idx="3096">
                  <c:v>39052</c:v>
                </c:pt>
                <c:pt idx="3097">
                  <c:v>39055</c:v>
                </c:pt>
                <c:pt idx="3098">
                  <c:v>39056</c:v>
                </c:pt>
                <c:pt idx="3099">
                  <c:v>39057</c:v>
                </c:pt>
                <c:pt idx="3100">
                  <c:v>39058</c:v>
                </c:pt>
                <c:pt idx="3101">
                  <c:v>39059</c:v>
                </c:pt>
                <c:pt idx="3102">
                  <c:v>39062</c:v>
                </c:pt>
                <c:pt idx="3103">
                  <c:v>39063</c:v>
                </c:pt>
                <c:pt idx="3104">
                  <c:v>39064</c:v>
                </c:pt>
                <c:pt idx="3105">
                  <c:v>39065</c:v>
                </c:pt>
                <c:pt idx="3106">
                  <c:v>39066</c:v>
                </c:pt>
                <c:pt idx="3107">
                  <c:v>39069</c:v>
                </c:pt>
                <c:pt idx="3108">
                  <c:v>39070</c:v>
                </c:pt>
                <c:pt idx="3109">
                  <c:v>39071</c:v>
                </c:pt>
                <c:pt idx="3110">
                  <c:v>39072</c:v>
                </c:pt>
                <c:pt idx="3111">
                  <c:v>39073</c:v>
                </c:pt>
                <c:pt idx="3112">
                  <c:v>39076</c:v>
                </c:pt>
                <c:pt idx="3113">
                  <c:v>39077</c:v>
                </c:pt>
                <c:pt idx="3114">
                  <c:v>39078</c:v>
                </c:pt>
                <c:pt idx="3115">
                  <c:v>39079</c:v>
                </c:pt>
                <c:pt idx="3116">
                  <c:v>39080</c:v>
                </c:pt>
                <c:pt idx="3117">
                  <c:v>39083</c:v>
                </c:pt>
                <c:pt idx="3118">
                  <c:v>39084</c:v>
                </c:pt>
                <c:pt idx="3119">
                  <c:v>39085</c:v>
                </c:pt>
                <c:pt idx="3120">
                  <c:v>39086</c:v>
                </c:pt>
                <c:pt idx="3121">
                  <c:v>39087</c:v>
                </c:pt>
                <c:pt idx="3122">
                  <c:v>39090</c:v>
                </c:pt>
                <c:pt idx="3123">
                  <c:v>39091</c:v>
                </c:pt>
                <c:pt idx="3124">
                  <c:v>39092</c:v>
                </c:pt>
                <c:pt idx="3125">
                  <c:v>39093</c:v>
                </c:pt>
                <c:pt idx="3126">
                  <c:v>39094</c:v>
                </c:pt>
                <c:pt idx="3127">
                  <c:v>39097</c:v>
                </c:pt>
                <c:pt idx="3128">
                  <c:v>39098</c:v>
                </c:pt>
                <c:pt idx="3129">
                  <c:v>39099</c:v>
                </c:pt>
                <c:pt idx="3130">
                  <c:v>39100</c:v>
                </c:pt>
                <c:pt idx="3131">
                  <c:v>39101</c:v>
                </c:pt>
                <c:pt idx="3132">
                  <c:v>39104</c:v>
                </c:pt>
                <c:pt idx="3133">
                  <c:v>39105</c:v>
                </c:pt>
                <c:pt idx="3134">
                  <c:v>39106</c:v>
                </c:pt>
                <c:pt idx="3135">
                  <c:v>39107</c:v>
                </c:pt>
                <c:pt idx="3136">
                  <c:v>39108</c:v>
                </c:pt>
                <c:pt idx="3137">
                  <c:v>39111</c:v>
                </c:pt>
                <c:pt idx="3138">
                  <c:v>39112</c:v>
                </c:pt>
                <c:pt idx="3139">
                  <c:v>39113</c:v>
                </c:pt>
                <c:pt idx="3140">
                  <c:v>39114</c:v>
                </c:pt>
                <c:pt idx="3141">
                  <c:v>39115</c:v>
                </c:pt>
                <c:pt idx="3142">
                  <c:v>39118</c:v>
                </c:pt>
                <c:pt idx="3143">
                  <c:v>39119</c:v>
                </c:pt>
                <c:pt idx="3144">
                  <c:v>39120</c:v>
                </c:pt>
                <c:pt idx="3145">
                  <c:v>39121</c:v>
                </c:pt>
                <c:pt idx="3146">
                  <c:v>39122</c:v>
                </c:pt>
                <c:pt idx="3147">
                  <c:v>39125</c:v>
                </c:pt>
                <c:pt idx="3148">
                  <c:v>39126</c:v>
                </c:pt>
                <c:pt idx="3149">
                  <c:v>39127</c:v>
                </c:pt>
                <c:pt idx="3150">
                  <c:v>39128</c:v>
                </c:pt>
                <c:pt idx="3151">
                  <c:v>39129</c:v>
                </c:pt>
                <c:pt idx="3152">
                  <c:v>39132</c:v>
                </c:pt>
                <c:pt idx="3153">
                  <c:v>39133</c:v>
                </c:pt>
                <c:pt idx="3154">
                  <c:v>39134</c:v>
                </c:pt>
                <c:pt idx="3155">
                  <c:v>39135</c:v>
                </c:pt>
                <c:pt idx="3156">
                  <c:v>39136</c:v>
                </c:pt>
                <c:pt idx="3157">
                  <c:v>39139</c:v>
                </c:pt>
                <c:pt idx="3158">
                  <c:v>39140</c:v>
                </c:pt>
                <c:pt idx="3159">
                  <c:v>39141</c:v>
                </c:pt>
                <c:pt idx="3160">
                  <c:v>39142</c:v>
                </c:pt>
                <c:pt idx="3161">
                  <c:v>39143</c:v>
                </c:pt>
                <c:pt idx="3162">
                  <c:v>39146</c:v>
                </c:pt>
                <c:pt idx="3163">
                  <c:v>39147</c:v>
                </c:pt>
                <c:pt idx="3164">
                  <c:v>39148</c:v>
                </c:pt>
                <c:pt idx="3165">
                  <c:v>39149</c:v>
                </c:pt>
                <c:pt idx="3166">
                  <c:v>39150</c:v>
                </c:pt>
                <c:pt idx="3167">
                  <c:v>39153</c:v>
                </c:pt>
                <c:pt idx="3168">
                  <c:v>39154</c:v>
                </c:pt>
                <c:pt idx="3169">
                  <c:v>39155</c:v>
                </c:pt>
                <c:pt idx="3170">
                  <c:v>39156</c:v>
                </c:pt>
                <c:pt idx="3171">
                  <c:v>39157</c:v>
                </c:pt>
                <c:pt idx="3172">
                  <c:v>39160</c:v>
                </c:pt>
                <c:pt idx="3173">
                  <c:v>39161</c:v>
                </c:pt>
                <c:pt idx="3174">
                  <c:v>39162</c:v>
                </c:pt>
                <c:pt idx="3175">
                  <c:v>39163</c:v>
                </c:pt>
                <c:pt idx="3176">
                  <c:v>39164</c:v>
                </c:pt>
                <c:pt idx="3177">
                  <c:v>39167</c:v>
                </c:pt>
                <c:pt idx="3178">
                  <c:v>39168</c:v>
                </c:pt>
                <c:pt idx="3179">
                  <c:v>39169</c:v>
                </c:pt>
                <c:pt idx="3180">
                  <c:v>39170</c:v>
                </c:pt>
                <c:pt idx="3181">
                  <c:v>39171</c:v>
                </c:pt>
                <c:pt idx="3182">
                  <c:v>39174</c:v>
                </c:pt>
                <c:pt idx="3183">
                  <c:v>39175</c:v>
                </c:pt>
                <c:pt idx="3184">
                  <c:v>39176</c:v>
                </c:pt>
                <c:pt idx="3185">
                  <c:v>39177</c:v>
                </c:pt>
                <c:pt idx="3186">
                  <c:v>39178</c:v>
                </c:pt>
                <c:pt idx="3187">
                  <c:v>39181</c:v>
                </c:pt>
                <c:pt idx="3188">
                  <c:v>39182</c:v>
                </c:pt>
                <c:pt idx="3189">
                  <c:v>39183</c:v>
                </c:pt>
                <c:pt idx="3190">
                  <c:v>39184</c:v>
                </c:pt>
                <c:pt idx="3191">
                  <c:v>39185</c:v>
                </c:pt>
                <c:pt idx="3192">
                  <c:v>39188</c:v>
                </c:pt>
                <c:pt idx="3193">
                  <c:v>39189</c:v>
                </c:pt>
                <c:pt idx="3194">
                  <c:v>39190</c:v>
                </c:pt>
                <c:pt idx="3195">
                  <c:v>39191</c:v>
                </c:pt>
                <c:pt idx="3196">
                  <c:v>39192</c:v>
                </c:pt>
                <c:pt idx="3197">
                  <c:v>39195</c:v>
                </c:pt>
                <c:pt idx="3198">
                  <c:v>39196</c:v>
                </c:pt>
                <c:pt idx="3199">
                  <c:v>39197</c:v>
                </c:pt>
                <c:pt idx="3200">
                  <c:v>39198</c:v>
                </c:pt>
                <c:pt idx="3201">
                  <c:v>39199</c:v>
                </c:pt>
                <c:pt idx="3202">
                  <c:v>39202</c:v>
                </c:pt>
                <c:pt idx="3203">
                  <c:v>39203</c:v>
                </c:pt>
                <c:pt idx="3204">
                  <c:v>39204</c:v>
                </c:pt>
                <c:pt idx="3205">
                  <c:v>39205</c:v>
                </c:pt>
                <c:pt idx="3206">
                  <c:v>39206</c:v>
                </c:pt>
                <c:pt idx="3207">
                  <c:v>39209</c:v>
                </c:pt>
                <c:pt idx="3208">
                  <c:v>39210</c:v>
                </c:pt>
                <c:pt idx="3209">
                  <c:v>39211</c:v>
                </c:pt>
                <c:pt idx="3210">
                  <c:v>39212</c:v>
                </c:pt>
                <c:pt idx="3211">
                  <c:v>39213</c:v>
                </c:pt>
                <c:pt idx="3212">
                  <c:v>39216</c:v>
                </c:pt>
                <c:pt idx="3213">
                  <c:v>39217</c:v>
                </c:pt>
                <c:pt idx="3214">
                  <c:v>39218</c:v>
                </c:pt>
                <c:pt idx="3215">
                  <c:v>39219</c:v>
                </c:pt>
                <c:pt idx="3216">
                  <c:v>39220</c:v>
                </c:pt>
                <c:pt idx="3217">
                  <c:v>39223</c:v>
                </c:pt>
                <c:pt idx="3218">
                  <c:v>39224</c:v>
                </c:pt>
                <c:pt idx="3219">
                  <c:v>39225</c:v>
                </c:pt>
                <c:pt idx="3220">
                  <c:v>39226</c:v>
                </c:pt>
                <c:pt idx="3221">
                  <c:v>39227</c:v>
                </c:pt>
                <c:pt idx="3222">
                  <c:v>39230</c:v>
                </c:pt>
                <c:pt idx="3223">
                  <c:v>39231</c:v>
                </c:pt>
                <c:pt idx="3224">
                  <c:v>39232</c:v>
                </c:pt>
                <c:pt idx="3225">
                  <c:v>39233</c:v>
                </c:pt>
                <c:pt idx="3226">
                  <c:v>39234</c:v>
                </c:pt>
                <c:pt idx="3227">
                  <c:v>39237</c:v>
                </c:pt>
                <c:pt idx="3228">
                  <c:v>39238</c:v>
                </c:pt>
                <c:pt idx="3229">
                  <c:v>39239</c:v>
                </c:pt>
                <c:pt idx="3230">
                  <c:v>39240</c:v>
                </c:pt>
                <c:pt idx="3231">
                  <c:v>39241</c:v>
                </c:pt>
                <c:pt idx="3232">
                  <c:v>39244</c:v>
                </c:pt>
                <c:pt idx="3233">
                  <c:v>39245</c:v>
                </c:pt>
                <c:pt idx="3234">
                  <c:v>39246</c:v>
                </c:pt>
                <c:pt idx="3235">
                  <c:v>39247</c:v>
                </c:pt>
                <c:pt idx="3236">
                  <c:v>39248</c:v>
                </c:pt>
                <c:pt idx="3237">
                  <c:v>39251</c:v>
                </c:pt>
                <c:pt idx="3238">
                  <c:v>39252</c:v>
                </c:pt>
                <c:pt idx="3239">
                  <c:v>39253</c:v>
                </c:pt>
                <c:pt idx="3240">
                  <c:v>39254</c:v>
                </c:pt>
                <c:pt idx="3241">
                  <c:v>39255</c:v>
                </c:pt>
                <c:pt idx="3242">
                  <c:v>39258</c:v>
                </c:pt>
                <c:pt idx="3243">
                  <c:v>39259</c:v>
                </c:pt>
                <c:pt idx="3244">
                  <c:v>39260</c:v>
                </c:pt>
                <c:pt idx="3245">
                  <c:v>39261</c:v>
                </c:pt>
                <c:pt idx="3246">
                  <c:v>39262</c:v>
                </c:pt>
                <c:pt idx="3247">
                  <c:v>39265</c:v>
                </c:pt>
                <c:pt idx="3248">
                  <c:v>39266</c:v>
                </c:pt>
                <c:pt idx="3249">
                  <c:v>39267</c:v>
                </c:pt>
                <c:pt idx="3250">
                  <c:v>39268</c:v>
                </c:pt>
                <c:pt idx="3251">
                  <c:v>39269</c:v>
                </c:pt>
                <c:pt idx="3252">
                  <c:v>39272</c:v>
                </c:pt>
                <c:pt idx="3253">
                  <c:v>39273</c:v>
                </c:pt>
                <c:pt idx="3254">
                  <c:v>39274</c:v>
                </c:pt>
                <c:pt idx="3255">
                  <c:v>39275</c:v>
                </c:pt>
                <c:pt idx="3256">
                  <c:v>39276</c:v>
                </c:pt>
                <c:pt idx="3257">
                  <c:v>39279</c:v>
                </c:pt>
                <c:pt idx="3258">
                  <c:v>39280</c:v>
                </c:pt>
                <c:pt idx="3259">
                  <c:v>39281</c:v>
                </c:pt>
                <c:pt idx="3260">
                  <c:v>39282</c:v>
                </c:pt>
                <c:pt idx="3261">
                  <c:v>39283</c:v>
                </c:pt>
                <c:pt idx="3262">
                  <c:v>39286</c:v>
                </c:pt>
                <c:pt idx="3263">
                  <c:v>39287</c:v>
                </c:pt>
                <c:pt idx="3264">
                  <c:v>39288</c:v>
                </c:pt>
                <c:pt idx="3265">
                  <c:v>39289</c:v>
                </c:pt>
                <c:pt idx="3266">
                  <c:v>39290</c:v>
                </c:pt>
                <c:pt idx="3267">
                  <c:v>39293</c:v>
                </c:pt>
                <c:pt idx="3268">
                  <c:v>39294</c:v>
                </c:pt>
                <c:pt idx="3269">
                  <c:v>39295</c:v>
                </c:pt>
                <c:pt idx="3270">
                  <c:v>39296</c:v>
                </c:pt>
                <c:pt idx="3271">
                  <c:v>39297</c:v>
                </c:pt>
                <c:pt idx="3272">
                  <c:v>39300</c:v>
                </c:pt>
                <c:pt idx="3273">
                  <c:v>39301</c:v>
                </c:pt>
                <c:pt idx="3274">
                  <c:v>39302</c:v>
                </c:pt>
                <c:pt idx="3275">
                  <c:v>39303</c:v>
                </c:pt>
                <c:pt idx="3276">
                  <c:v>39304</c:v>
                </c:pt>
                <c:pt idx="3277">
                  <c:v>39307</c:v>
                </c:pt>
                <c:pt idx="3278">
                  <c:v>39308</c:v>
                </c:pt>
                <c:pt idx="3279">
                  <c:v>39309</c:v>
                </c:pt>
                <c:pt idx="3280">
                  <c:v>39310</c:v>
                </c:pt>
                <c:pt idx="3281">
                  <c:v>39311</c:v>
                </c:pt>
                <c:pt idx="3282">
                  <c:v>39314</c:v>
                </c:pt>
                <c:pt idx="3283">
                  <c:v>39315</c:v>
                </c:pt>
                <c:pt idx="3284">
                  <c:v>39316</c:v>
                </c:pt>
                <c:pt idx="3285">
                  <c:v>39317</c:v>
                </c:pt>
                <c:pt idx="3286">
                  <c:v>39318</c:v>
                </c:pt>
                <c:pt idx="3287">
                  <c:v>39321</c:v>
                </c:pt>
                <c:pt idx="3288">
                  <c:v>39322</c:v>
                </c:pt>
                <c:pt idx="3289">
                  <c:v>39323</c:v>
                </c:pt>
                <c:pt idx="3290">
                  <c:v>39324</c:v>
                </c:pt>
                <c:pt idx="3291">
                  <c:v>39325</c:v>
                </c:pt>
                <c:pt idx="3292">
                  <c:v>39328</c:v>
                </c:pt>
                <c:pt idx="3293">
                  <c:v>39329</c:v>
                </c:pt>
                <c:pt idx="3294">
                  <c:v>39330</c:v>
                </c:pt>
                <c:pt idx="3295">
                  <c:v>39331</c:v>
                </c:pt>
                <c:pt idx="3296">
                  <c:v>39332</c:v>
                </c:pt>
                <c:pt idx="3297">
                  <c:v>39335</c:v>
                </c:pt>
                <c:pt idx="3298">
                  <c:v>39336</c:v>
                </c:pt>
                <c:pt idx="3299">
                  <c:v>39337</c:v>
                </c:pt>
                <c:pt idx="3300">
                  <c:v>39338</c:v>
                </c:pt>
                <c:pt idx="3301">
                  <c:v>39339</c:v>
                </c:pt>
                <c:pt idx="3302">
                  <c:v>39342</c:v>
                </c:pt>
                <c:pt idx="3303">
                  <c:v>39343</c:v>
                </c:pt>
                <c:pt idx="3304">
                  <c:v>39344</c:v>
                </c:pt>
                <c:pt idx="3305">
                  <c:v>39345</c:v>
                </c:pt>
                <c:pt idx="3306">
                  <c:v>39346</c:v>
                </c:pt>
                <c:pt idx="3307">
                  <c:v>39349</c:v>
                </c:pt>
                <c:pt idx="3308">
                  <c:v>39350</c:v>
                </c:pt>
                <c:pt idx="3309">
                  <c:v>39351</c:v>
                </c:pt>
                <c:pt idx="3310">
                  <c:v>39352</c:v>
                </c:pt>
                <c:pt idx="3311">
                  <c:v>39353</c:v>
                </c:pt>
                <c:pt idx="3312">
                  <c:v>39356</c:v>
                </c:pt>
                <c:pt idx="3313">
                  <c:v>39357</c:v>
                </c:pt>
                <c:pt idx="3314">
                  <c:v>39358</c:v>
                </c:pt>
                <c:pt idx="3315">
                  <c:v>39359</c:v>
                </c:pt>
                <c:pt idx="3316">
                  <c:v>39360</c:v>
                </c:pt>
                <c:pt idx="3317">
                  <c:v>39363</c:v>
                </c:pt>
                <c:pt idx="3318">
                  <c:v>39364</c:v>
                </c:pt>
                <c:pt idx="3319">
                  <c:v>39365</c:v>
                </c:pt>
                <c:pt idx="3320">
                  <c:v>39366</c:v>
                </c:pt>
                <c:pt idx="3321">
                  <c:v>39367</c:v>
                </c:pt>
                <c:pt idx="3322">
                  <c:v>39370</c:v>
                </c:pt>
                <c:pt idx="3323">
                  <c:v>39371</c:v>
                </c:pt>
                <c:pt idx="3324">
                  <c:v>39372</c:v>
                </c:pt>
                <c:pt idx="3325">
                  <c:v>39373</c:v>
                </c:pt>
                <c:pt idx="3326">
                  <c:v>39374</c:v>
                </c:pt>
                <c:pt idx="3327">
                  <c:v>39377</c:v>
                </c:pt>
                <c:pt idx="3328">
                  <c:v>39378</c:v>
                </c:pt>
                <c:pt idx="3329">
                  <c:v>39379</c:v>
                </c:pt>
                <c:pt idx="3330">
                  <c:v>39380</c:v>
                </c:pt>
                <c:pt idx="3331">
                  <c:v>39381</c:v>
                </c:pt>
                <c:pt idx="3332">
                  <c:v>39384</c:v>
                </c:pt>
                <c:pt idx="3333">
                  <c:v>39385</c:v>
                </c:pt>
                <c:pt idx="3334">
                  <c:v>39386</c:v>
                </c:pt>
                <c:pt idx="3335">
                  <c:v>39387</c:v>
                </c:pt>
                <c:pt idx="3336">
                  <c:v>39388</c:v>
                </c:pt>
                <c:pt idx="3337">
                  <c:v>39391</c:v>
                </c:pt>
                <c:pt idx="3338">
                  <c:v>39392</c:v>
                </c:pt>
                <c:pt idx="3339">
                  <c:v>39393</c:v>
                </c:pt>
                <c:pt idx="3340">
                  <c:v>39394</c:v>
                </c:pt>
                <c:pt idx="3341">
                  <c:v>39395</c:v>
                </c:pt>
                <c:pt idx="3342">
                  <c:v>39398</c:v>
                </c:pt>
                <c:pt idx="3343">
                  <c:v>39399</c:v>
                </c:pt>
                <c:pt idx="3344">
                  <c:v>39400</c:v>
                </c:pt>
                <c:pt idx="3345">
                  <c:v>39401</c:v>
                </c:pt>
                <c:pt idx="3346">
                  <c:v>39402</c:v>
                </c:pt>
                <c:pt idx="3347">
                  <c:v>39405</c:v>
                </c:pt>
                <c:pt idx="3348">
                  <c:v>39406</c:v>
                </c:pt>
                <c:pt idx="3349">
                  <c:v>39407</c:v>
                </c:pt>
                <c:pt idx="3350">
                  <c:v>39408</c:v>
                </c:pt>
                <c:pt idx="3351">
                  <c:v>39409</c:v>
                </c:pt>
                <c:pt idx="3352">
                  <c:v>39412</c:v>
                </c:pt>
                <c:pt idx="3353">
                  <c:v>39413</c:v>
                </c:pt>
                <c:pt idx="3354">
                  <c:v>39414</c:v>
                </c:pt>
                <c:pt idx="3355">
                  <c:v>39415</c:v>
                </c:pt>
                <c:pt idx="3356">
                  <c:v>39416</c:v>
                </c:pt>
                <c:pt idx="3357">
                  <c:v>39419</c:v>
                </c:pt>
                <c:pt idx="3358">
                  <c:v>39420</c:v>
                </c:pt>
                <c:pt idx="3359">
                  <c:v>39421</c:v>
                </c:pt>
                <c:pt idx="3360">
                  <c:v>39422</c:v>
                </c:pt>
                <c:pt idx="3361">
                  <c:v>39423</c:v>
                </c:pt>
                <c:pt idx="3362">
                  <c:v>39426</c:v>
                </c:pt>
                <c:pt idx="3363">
                  <c:v>39427</c:v>
                </c:pt>
                <c:pt idx="3364">
                  <c:v>39428</c:v>
                </c:pt>
                <c:pt idx="3365">
                  <c:v>39429</c:v>
                </c:pt>
                <c:pt idx="3366">
                  <c:v>39430</c:v>
                </c:pt>
                <c:pt idx="3367">
                  <c:v>39433</c:v>
                </c:pt>
                <c:pt idx="3368">
                  <c:v>39434</c:v>
                </c:pt>
                <c:pt idx="3369">
                  <c:v>39435</c:v>
                </c:pt>
                <c:pt idx="3370">
                  <c:v>39436</c:v>
                </c:pt>
                <c:pt idx="3371">
                  <c:v>39437</c:v>
                </c:pt>
                <c:pt idx="3372">
                  <c:v>39440</c:v>
                </c:pt>
                <c:pt idx="3373">
                  <c:v>39441</c:v>
                </c:pt>
                <c:pt idx="3374">
                  <c:v>39442</c:v>
                </c:pt>
                <c:pt idx="3375">
                  <c:v>39443</c:v>
                </c:pt>
                <c:pt idx="3376">
                  <c:v>39444</c:v>
                </c:pt>
                <c:pt idx="3377">
                  <c:v>39447</c:v>
                </c:pt>
                <c:pt idx="3378">
                  <c:v>39448</c:v>
                </c:pt>
                <c:pt idx="3379">
                  <c:v>39449</c:v>
                </c:pt>
                <c:pt idx="3380">
                  <c:v>39450</c:v>
                </c:pt>
                <c:pt idx="3381">
                  <c:v>39451</c:v>
                </c:pt>
                <c:pt idx="3382">
                  <c:v>39454</c:v>
                </c:pt>
                <c:pt idx="3383">
                  <c:v>39455</c:v>
                </c:pt>
                <c:pt idx="3384">
                  <c:v>39456</c:v>
                </c:pt>
                <c:pt idx="3385">
                  <c:v>39457</c:v>
                </c:pt>
                <c:pt idx="3386">
                  <c:v>39458</c:v>
                </c:pt>
                <c:pt idx="3387">
                  <c:v>39461</c:v>
                </c:pt>
                <c:pt idx="3388">
                  <c:v>39462</c:v>
                </c:pt>
                <c:pt idx="3389">
                  <c:v>39463</c:v>
                </c:pt>
                <c:pt idx="3390">
                  <c:v>39464</c:v>
                </c:pt>
                <c:pt idx="3391">
                  <c:v>39465</c:v>
                </c:pt>
                <c:pt idx="3392">
                  <c:v>39468</c:v>
                </c:pt>
                <c:pt idx="3393">
                  <c:v>39469</c:v>
                </c:pt>
                <c:pt idx="3394">
                  <c:v>39470</c:v>
                </c:pt>
                <c:pt idx="3395">
                  <c:v>39471</c:v>
                </c:pt>
                <c:pt idx="3396">
                  <c:v>39472</c:v>
                </c:pt>
                <c:pt idx="3397">
                  <c:v>39475</c:v>
                </c:pt>
                <c:pt idx="3398">
                  <c:v>39476</c:v>
                </c:pt>
                <c:pt idx="3399">
                  <c:v>39477</c:v>
                </c:pt>
                <c:pt idx="3400">
                  <c:v>39478</c:v>
                </c:pt>
                <c:pt idx="3401">
                  <c:v>39479</c:v>
                </c:pt>
                <c:pt idx="3402">
                  <c:v>39482</c:v>
                </c:pt>
                <c:pt idx="3403">
                  <c:v>39483</c:v>
                </c:pt>
                <c:pt idx="3404">
                  <c:v>39484</c:v>
                </c:pt>
                <c:pt idx="3405">
                  <c:v>39485</c:v>
                </c:pt>
                <c:pt idx="3406">
                  <c:v>39486</c:v>
                </c:pt>
                <c:pt idx="3407">
                  <c:v>39489</c:v>
                </c:pt>
                <c:pt idx="3408">
                  <c:v>39490</c:v>
                </c:pt>
                <c:pt idx="3409">
                  <c:v>39491</c:v>
                </c:pt>
                <c:pt idx="3410">
                  <c:v>39492</c:v>
                </c:pt>
                <c:pt idx="3411">
                  <c:v>39493</c:v>
                </c:pt>
                <c:pt idx="3412">
                  <c:v>39496</c:v>
                </c:pt>
                <c:pt idx="3413">
                  <c:v>39497</c:v>
                </c:pt>
                <c:pt idx="3414">
                  <c:v>39498</c:v>
                </c:pt>
                <c:pt idx="3415">
                  <c:v>39499</c:v>
                </c:pt>
                <c:pt idx="3416">
                  <c:v>39500</c:v>
                </c:pt>
                <c:pt idx="3417">
                  <c:v>39503</c:v>
                </c:pt>
                <c:pt idx="3418">
                  <c:v>39504</c:v>
                </c:pt>
                <c:pt idx="3419">
                  <c:v>39505</c:v>
                </c:pt>
                <c:pt idx="3420">
                  <c:v>39506</c:v>
                </c:pt>
                <c:pt idx="3421">
                  <c:v>39507</c:v>
                </c:pt>
                <c:pt idx="3422">
                  <c:v>39510</c:v>
                </c:pt>
                <c:pt idx="3423">
                  <c:v>39511</c:v>
                </c:pt>
                <c:pt idx="3424">
                  <c:v>39512</c:v>
                </c:pt>
                <c:pt idx="3425">
                  <c:v>39513</c:v>
                </c:pt>
                <c:pt idx="3426">
                  <c:v>39514</c:v>
                </c:pt>
                <c:pt idx="3427">
                  <c:v>39517</c:v>
                </c:pt>
                <c:pt idx="3428">
                  <c:v>39518</c:v>
                </c:pt>
                <c:pt idx="3429">
                  <c:v>39519</c:v>
                </c:pt>
                <c:pt idx="3430">
                  <c:v>39520</c:v>
                </c:pt>
                <c:pt idx="3431">
                  <c:v>39521</c:v>
                </c:pt>
                <c:pt idx="3432">
                  <c:v>39524</c:v>
                </c:pt>
                <c:pt idx="3433">
                  <c:v>39525</c:v>
                </c:pt>
                <c:pt idx="3434">
                  <c:v>39526</c:v>
                </c:pt>
                <c:pt idx="3435">
                  <c:v>39527</c:v>
                </c:pt>
                <c:pt idx="3436">
                  <c:v>39528</c:v>
                </c:pt>
                <c:pt idx="3437">
                  <c:v>39531</c:v>
                </c:pt>
                <c:pt idx="3438">
                  <c:v>39532</c:v>
                </c:pt>
                <c:pt idx="3439">
                  <c:v>39533</c:v>
                </c:pt>
                <c:pt idx="3440">
                  <c:v>39534</c:v>
                </c:pt>
                <c:pt idx="3441">
                  <c:v>39535</c:v>
                </c:pt>
                <c:pt idx="3442">
                  <c:v>39538</c:v>
                </c:pt>
                <c:pt idx="3443">
                  <c:v>39539</c:v>
                </c:pt>
                <c:pt idx="3444">
                  <c:v>39540</c:v>
                </c:pt>
                <c:pt idx="3445">
                  <c:v>39541</c:v>
                </c:pt>
                <c:pt idx="3446">
                  <c:v>39542</c:v>
                </c:pt>
                <c:pt idx="3447">
                  <c:v>39545</c:v>
                </c:pt>
                <c:pt idx="3448">
                  <c:v>39546</c:v>
                </c:pt>
                <c:pt idx="3449">
                  <c:v>39547</c:v>
                </c:pt>
                <c:pt idx="3450">
                  <c:v>39548</c:v>
                </c:pt>
                <c:pt idx="3451">
                  <c:v>39549</c:v>
                </c:pt>
                <c:pt idx="3452">
                  <c:v>39552</c:v>
                </c:pt>
                <c:pt idx="3453">
                  <c:v>39553</c:v>
                </c:pt>
                <c:pt idx="3454">
                  <c:v>39554</c:v>
                </c:pt>
                <c:pt idx="3455">
                  <c:v>39555</c:v>
                </c:pt>
                <c:pt idx="3456">
                  <c:v>39556</c:v>
                </c:pt>
                <c:pt idx="3457">
                  <c:v>39559</c:v>
                </c:pt>
                <c:pt idx="3458">
                  <c:v>39560</c:v>
                </c:pt>
                <c:pt idx="3459">
                  <c:v>39561</c:v>
                </c:pt>
                <c:pt idx="3460">
                  <c:v>39562</c:v>
                </c:pt>
                <c:pt idx="3461">
                  <c:v>39563</c:v>
                </c:pt>
                <c:pt idx="3462">
                  <c:v>39566</c:v>
                </c:pt>
                <c:pt idx="3463">
                  <c:v>39567</c:v>
                </c:pt>
                <c:pt idx="3464">
                  <c:v>39568</c:v>
                </c:pt>
                <c:pt idx="3465">
                  <c:v>39569</c:v>
                </c:pt>
                <c:pt idx="3466">
                  <c:v>39570</c:v>
                </c:pt>
                <c:pt idx="3467">
                  <c:v>39573</c:v>
                </c:pt>
                <c:pt idx="3468">
                  <c:v>39574</c:v>
                </c:pt>
                <c:pt idx="3469">
                  <c:v>39575</c:v>
                </c:pt>
                <c:pt idx="3470">
                  <c:v>39576</c:v>
                </c:pt>
                <c:pt idx="3471">
                  <c:v>39577</c:v>
                </c:pt>
                <c:pt idx="3472">
                  <c:v>39580</c:v>
                </c:pt>
                <c:pt idx="3473">
                  <c:v>39581</c:v>
                </c:pt>
                <c:pt idx="3474">
                  <c:v>39582</c:v>
                </c:pt>
                <c:pt idx="3475">
                  <c:v>39583</c:v>
                </c:pt>
                <c:pt idx="3476">
                  <c:v>39584</c:v>
                </c:pt>
                <c:pt idx="3477">
                  <c:v>39587</c:v>
                </c:pt>
                <c:pt idx="3478">
                  <c:v>39588</c:v>
                </c:pt>
                <c:pt idx="3479">
                  <c:v>39589</c:v>
                </c:pt>
                <c:pt idx="3480">
                  <c:v>39590</c:v>
                </c:pt>
                <c:pt idx="3481">
                  <c:v>39591</c:v>
                </c:pt>
                <c:pt idx="3482">
                  <c:v>39594</c:v>
                </c:pt>
                <c:pt idx="3483">
                  <c:v>39595</c:v>
                </c:pt>
                <c:pt idx="3484">
                  <c:v>39596</c:v>
                </c:pt>
                <c:pt idx="3485">
                  <c:v>39597</c:v>
                </c:pt>
                <c:pt idx="3486">
                  <c:v>39598</c:v>
                </c:pt>
                <c:pt idx="3487">
                  <c:v>39601</c:v>
                </c:pt>
                <c:pt idx="3488">
                  <c:v>39602</c:v>
                </c:pt>
                <c:pt idx="3489">
                  <c:v>39603</c:v>
                </c:pt>
                <c:pt idx="3490">
                  <c:v>39604</c:v>
                </c:pt>
                <c:pt idx="3491">
                  <c:v>39605</c:v>
                </c:pt>
                <c:pt idx="3492">
                  <c:v>39608</c:v>
                </c:pt>
                <c:pt idx="3493">
                  <c:v>39609</c:v>
                </c:pt>
                <c:pt idx="3494">
                  <c:v>39610</c:v>
                </c:pt>
                <c:pt idx="3495">
                  <c:v>39611</c:v>
                </c:pt>
                <c:pt idx="3496">
                  <c:v>39612</c:v>
                </c:pt>
                <c:pt idx="3497">
                  <c:v>39615</c:v>
                </c:pt>
                <c:pt idx="3498">
                  <c:v>39616</c:v>
                </c:pt>
                <c:pt idx="3499">
                  <c:v>39617</c:v>
                </c:pt>
                <c:pt idx="3500">
                  <c:v>39618</c:v>
                </c:pt>
                <c:pt idx="3501">
                  <c:v>39619</c:v>
                </c:pt>
                <c:pt idx="3502">
                  <c:v>39622</c:v>
                </c:pt>
                <c:pt idx="3503">
                  <c:v>39623</c:v>
                </c:pt>
                <c:pt idx="3504">
                  <c:v>39624</c:v>
                </c:pt>
                <c:pt idx="3505">
                  <c:v>39625</c:v>
                </c:pt>
                <c:pt idx="3506">
                  <c:v>39626</c:v>
                </c:pt>
                <c:pt idx="3507">
                  <c:v>39629</c:v>
                </c:pt>
                <c:pt idx="3508">
                  <c:v>39630</c:v>
                </c:pt>
                <c:pt idx="3509">
                  <c:v>39631</c:v>
                </c:pt>
                <c:pt idx="3510">
                  <c:v>39632</c:v>
                </c:pt>
                <c:pt idx="3511">
                  <c:v>39633</c:v>
                </c:pt>
                <c:pt idx="3512">
                  <c:v>39636</c:v>
                </c:pt>
                <c:pt idx="3513">
                  <c:v>39637</c:v>
                </c:pt>
                <c:pt idx="3514">
                  <c:v>39638</c:v>
                </c:pt>
                <c:pt idx="3515">
                  <c:v>39639</c:v>
                </c:pt>
                <c:pt idx="3516">
                  <c:v>39640</c:v>
                </c:pt>
                <c:pt idx="3517">
                  <c:v>39643</c:v>
                </c:pt>
                <c:pt idx="3518">
                  <c:v>39644</c:v>
                </c:pt>
                <c:pt idx="3519">
                  <c:v>39645</c:v>
                </c:pt>
                <c:pt idx="3520">
                  <c:v>39646</c:v>
                </c:pt>
                <c:pt idx="3521">
                  <c:v>39647</c:v>
                </c:pt>
                <c:pt idx="3522">
                  <c:v>39650</c:v>
                </c:pt>
                <c:pt idx="3523">
                  <c:v>39651</c:v>
                </c:pt>
                <c:pt idx="3524">
                  <c:v>39652</c:v>
                </c:pt>
                <c:pt idx="3525">
                  <c:v>39653</c:v>
                </c:pt>
                <c:pt idx="3526">
                  <c:v>39654</c:v>
                </c:pt>
                <c:pt idx="3527">
                  <c:v>39657</c:v>
                </c:pt>
                <c:pt idx="3528">
                  <c:v>39658</c:v>
                </c:pt>
                <c:pt idx="3529">
                  <c:v>39659</c:v>
                </c:pt>
                <c:pt idx="3530">
                  <c:v>39660</c:v>
                </c:pt>
                <c:pt idx="3531">
                  <c:v>39661</c:v>
                </c:pt>
                <c:pt idx="3532">
                  <c:v>39664</c:v>
                </c:pt>
                <c:pt idx="3533">
                  <c:v>39665</c:v>
                </c:pt>
                <c:pt idx="3534">
                  <c:v>39666</c:v>
                </c:pt>
                <c:pt idx="3535">
                  <c:v>39667</c:v>
                </c:pt>
                <c:pt idx="3536">
                  <c:v>39668</c:v>
                </c:pt>
                <c:pt idx="3537">
                  <c:v>39671</c:v>
                </c:pt>
                <c:pt idx="3538">
                  <c:v>39672</c:v>
                </c:pt>
                <c:pt idx="3539">
                  <c:v>39673</c:v>
                </c:pt>
                <c:pt idx="3540">
                  <c:v>39674</c:v>
                </c:pt>
                <c:pt idx="3541">
                  <c:v>39675</c:v>
                </c:pt>
                <c:pt idx="3542">
                  <c:v>39678</c:v>
                </c:pt>
                <c:pt idx="3543">
                  <c:v>39679</c:v>
                </c:pt>
                <c:pt idx="3544">
                  <c:v>39680</c:v>
                </c:pt>
                <c:pt idx="3545">
                  <c:v>39681</c:v>
                </c:pt>
                <c:pt idx="3546">
                  <c:v>39682</c:v>
                </c:pt>
                <c:pt idx="3547">
                  <c:v>39685</c:v>
                </c:pt>
                <c:pt idx="3548">
                  <c:v>39686</c:v>
                </c:pt>
                <c:pt idx="3549">
                  <c:v>39687</c:v>
                </c:pt>
                <c:pt idx="3550">
                  <c:v>39688</c:v>
                </c:pt>
                <c:pt idx="3551">
                  <c:v>39689</c:v>
                </c:pt>
                <c:pt idx="3552">
                  <c:v>39692</c:v>
                </c:pt>
                <c:pt idx="3553">
                  <c:v>39693</c:v>
                </c:pt>
                <c:pt idx="3554">
                  <c:v>39694</c:v>
                </c:pt>
                <c:pt idx="3555">
                  <c:v>39695</c:v>
                </c:pt>
                <c:pt idx="3556">
                  <c:v>39696</c:v>
                </c:pt>
                <c:pt idx="3557">
                  <c:v>39699</c:v>
                </c:pt>
                <c:pt idx="3558">
                  <c:v>39700</c:v>
                </c:pt>
                <c:pt idx="3559">
                  <c:v>39701</c:v>
                </c:pt>
                <c:pt idx="3560">
                  <c:v>39702</c:v>
                </c:pt>
                <c:pt idx="3561">
                  <c:v>39703</c:v>
                </c:pt>
                <c:pt idx="3562">
                  <c:v>39706</c:v>
                </c:pt>
                <c:pt idx="3563">
                  <c:v>39707</c:v>
                </c:pt>
                <c:pt idx="3564">
                  <c:v>39708</c:v>
                </c:pt>
                <c:pt idx="3565">
                  <c:v>39709</c:v>
                </c:pt>
                <c:pt idx="3566">
                  <c:v>39710</c:v>
                </c:pt>
                <c:pt idx="3567">
                  <c:v>39713</c:v>
                </c:pt>
                <c:pt idx="3568">
                  <c:v>39714</c:v>
                </c:pt>
                <c:pt idx="3569">
                  <c:v>39715</c:v>
                </c:pt>
                <c:pt idx="3570">
                  <c:v>39716</c:v>
                </c:pt>
                <c:pt idx="3571">
                  <c:v>39717</c:v>
                </c:pt>
                <c:pt idx="3572">
                  <c:v>39720</c:v>
                </c:pt>
                <c:pt idx="3573">
                  <c:v>39721</c:v>
                </c:pt>
                <c:pt idx="3574">
                  <c:v>39722</c:v>
                </c:pt>
                <c:pt idx="3575">
                  <c:v>39723</c:v>
                </c:pt>
                <c:pt idx="3576">
                  <c:v>39724</c:v>
                </c:pt>
                <c:pt idx="3577">
                  <c:v>39727</c:v>
                </c:pt>
                <c:pt idx="3578">
                  <c:v>39728</c:v>
                </c:pt>
                <c:pt idx="3579">
                  <c:v>39729</c:v>
                </c:pt>
                <c:pt idx="3580">
                  <c:v>39730</c:v>
                </c:pt>
                <c:pt idx="3581">
                  <c:v>39731</c:v>
                </c:pt>
                <c:pt idx="3582">
                  <c:v>39734</c:v>
                </c:pt>
                <c:pt idx="3583">
                  <c:v>39735</c:v>
                </c:pt>
                <c:pt idx="3584">
                  <c:v>39736</c:v>
                </c:pt>
                <c:pt idx="3585">
                  <c:v>39737</c:v>
                </c:pt>
                <c:pt idx="3586">
                  <c:v>39738</c:v>
                </c:pt>
                <c:pt idx="3587">
                  <c:v>39741</c:v>
                </c:pt>
                <c:pt idx="3588">
                  <c:v>39742</c:v>
                </c:pt>
                <c:pt idx="3589">
                  <c:v>39743</c:v>
                </c:pt>
                <c:pt idx="3590">
                  <c:v>39744</c:v>
                </c:pt>
                <c:pt idx="3591">
                  <c:v>39745</c:v>
                </c:pt>
                <c:pt idx="3592">
                  <c:v>39748</c:v>
                </c:pt>
                <c:pt idx="3593">
                  <c:v>39749</c:v>
                </c:pt>
                <c:pt idx="3594">
                  <c:v>39750</c:v>
                </c:pt>
                <c:pt idx="3595">
                  <c:v>39751</c:v>
                </c:pt>
                <c:pt idx="3596">
                  <c:v>39752</c:v>
                </c:pt>
                <c:pt idx="3597">
                  <c:v>39755</c:v>
                </c:pt>
                <c:pt idx="3598">
                  <c:v>39756</c:v>
                </c:pt>
                <c:pt idx="3599">
                  <c:v>39757</c:v>
                </c:pt>
                <c:pt idx="3600">
                  <c:v>39758</c:v>
                </c:pt>
                <c:pt idx="3601">
                  <c:v>39759</c:v>
                </c:pt>
                <c:pt idx="3602">
                  <c:v>39762</c:v>
                </c:pt>
                <c:pt idx="3603">
                  <c:v>39763</c:v>
                </c:pt>
                <c:pt idx="3604">
                  <c:v>39764</c:v>
                </c:pt>
                <c:pt idx="3605">
                  <c:v>39765</c:v>
                </c:pt>
                <c:pt idx="3606">
                  <c:v>39766</c:v>
                </c:pt>
                <c:pt idx="3607">
                  <c:v>39769</c:v>
                </c:pt>
                <c:pt idx="3608">
                  <c:v>39770</c:v>
                </c:pt>
                <c:pt idx="3609">
                  <c:v>39771</c:v>
                </c:pt>
                <c:pt idx="3610">
                  <c:v>39772</c:v>
                </c:pt>
                <c:pt idx="3611">
                  <c:v>39773</c:v>
                </c:pt>
                <c:pt idx="3612">
                  <c:v>39776</c:v>
                </c:pt>
                <c:pt idx="3613">
                  <c:v>39777</c:v>
                </c:pt>
                <c:pt idx="3614">
                  <c:v>39778</c:v>
                </c:pt>
                <c:pt idx="3615">
                  <c:v>39779</c:v>
                </c:pt>
                <c:pt idx="3616">
                  <c:v>39780</c:v>
                </c:pt>
                <c:pt idx="3617">
                  <c:v>39783</c:v>
                </c:pt>
                <c:pt idx="3618">
                  <c:v>39784</c:v>
                </c:pt>
                <c:pt idx="3619">
                  <c:v>39785</c:v>
                </c:pt>
                <c:pt idx="3620">
                  <c:v>39786</c:v>
                </c:pt>
                <c:pt idx="3621">
                  <c:v>39787</c:v>
                </c:pt>
                <c:pt idx="3622">
                  <c:v>39790</c:v>
                </c:pt>
                <c:pt idx="3623">
                  <c:v>39791</c:v>
                </c:pt>
                <c:pt idx="3624">
                  <c:v>39792</c:v>
                </c:pt>
                <c:pt idx="3625">
                  <c:v>39793</c:v>
                </c:pt>
                <c:pt idx="3626">
                  <c:v>39794</c:v>
                </c:pt>
                <c:pt idx="3627">
                  <c:v>39797</c:v>
                </c:pt>
                <c:pt idx="3628">
                  <c:v>39798</c:v>
                </c:pt>
                <c:pt idx="3629">
                  <c:v>39799</c:v>
                </c:pt>
                <c:pt idx="3630">
                  <c:v>39800</c:v>
                </c:pt>
                <c:pt idx="3631">
                  <c:v>39801</c:v>
                </c:pt>
                <c:pt idx="3632">
                  <c:v>39804</c:v>
                </c:pt>
                <c:pt idx="3633">
                  <c:v>39805</c:v>
                </c:pt>
                <c:pt idx="3634">
                  <c:v>39806</c:v>
                </c:pt>
                <c:pt idx="3635">
                  <c:v>39807</c:v>
                </c:pt>
                <c:pt idx="3636">
                  <c:v>39808</c:v>
                </c:pt>
                <c:pt idx="3637">
                  <c:v>39811</c:v>
                </c:pt>
                <c:pt idx="3638">
                  <c:v>39812</c:v>
                </c:pt>
                <c:pt idx="3639">
                  <c:v>39813</c:v>
                </c:pt>
                <c:pt idx="3640">
                  <c:v>39814</c:v>
                </c:pt>
                <c:pt idx="3641">
                  <c:v>39815</c:v>
                </c:pt>
                <c:pt idx="3642">
                  <c:v>39818</c:v>
                </c:pt>
                <c:pt idx="3643">
                  <c:v>39819</c:v>
                </c:pt>
                <c:pt idx="3644">
                  <c:v>39820</c:v>
                </c:pt>
                <c:pt idx="3645">
                  <c:v>39821</c:v>
                </c:pt>
                <c:pt idx="3646">
                  <c:v>39822</c:v>
                </c:pt>
                <c:pt idx="3647">
                  <c:v>39825</c:v>
                </c:pt>
                <c:pt idx="3648">
                  <c:v>39826</c:v>
                </c:pt>
                <c:pt idx="3649">
                  <c:v>39827</c:v>
                </c:pt>
                <c:pt idx="3650">
                  <c:v>39828</c:v>
                </c:pt>
                <c:pt idx="3651">
                  <c:v>39829</c:v>
                </c:pt>
                <c:pt idx="3652">
                  <c:v>39832</c:v>
                </c:pt>
                <c:pt idx="3653">
                  <c:v>39833</c:v>
                </c:pt>
                <c:pt idx="3654">
                  <c:v>39834</c:v>
                </c:pt>
                <c:pt idx="3655">
                  <c:v>39835</c:v>
                </c:pt>
                <c:pt idx="3656">
                  <c:v>39836</c:v>
                </c:pt>
                <c:pt idx="3657">
                  <c:v>39839</c:v>
                </c:pt>
                <c:pt idx="3658">
                  <c:v>39840</c:v>
                </c:pt>
                <c:pt idx="3659">
                  <c:v>39841</c:v>
                </c:pt>
                <c:pt idx="3660">
                  <c:v>39842</c:v>
                </c:pt>
                <c:pt idx="3661">
                  <c:v>39843</c:v>
                </c:pt>
                <c:pt idx="3662">
                  <c:v>39846</c:v>
                </c:pt>
                <c:pt idx="3663">
                  <c:v>39847</c:v>
                </c:pt>
                <c:pt idx="3664">
                  <c:v>39848</c:v>
                </c:pt>
                <c:pt idx="3665">
                  <c:v>39849</c:v>
                </c:pt>
                <c:pt idx="3666">
                  <c:v>39850</c:v>
                </c:pt>
                <c:pt idx="3667">
                  <c:v>39853</c:v>
                </c:pt>
                <c:pt idx="3668">
                  <c:v>39854</c:v>
                </c:pt>
                <c:pt idx="3669">
                  <c:v>39855</c:v>
                </c:pt>
                <c:pt idx="3670">
                  <c:v>39856</c:v>
                </c:pt>
                <c:pt idx="3671">
                  <c:v>39857</c:v>
                </c:pt>
                <c:pt idx="3672">
                  <c:v>39860</c:v>
                </c:pt>
                <c:pt idx="3673">
                  <c:v>39861</c:v>
                </c:pt>
                <c:pt idx="3674">
                  <c:v>39862</c:v>
                </c:pt>
                <c:pt idx="3675">
                  <c:v>39863</c:v>
                </c:pt>
                <c:pt idx="3676">
                  <c:v>39864</c:v>
                </c:pt>
                <c:pt idx="3677">
                  <c:v>39867</c:v>
                </c:pt>
                <c:pt idx="3678">
                  <c:v>39868</c:v>
                </c:pt>
                <c:pt idx="3679">
                  <c:v>39869</c:v>
                </c:pt>
                <c:pt idx="3680">
                  <c:v>39870</c:v>
                </c:pt>
                <c:pt idx="3681">
                  <c:v>39871</c:v>
                </c:pt>
                <c:pt idx="3682">
                  <c:v>39874</c:v>
                </c:pt>
                <c:pt idx="3683">
                  <c:v>39875</c:v>
                </c:pt>
                <c:pt idx="3684">
                  <c:v>39876</c:v>
                </c:pt>
                <c:pt idx="3685">
                  <c:v>39877</c:v>
                </c:pt>
                <c:pt idx="3686">
                  <c:v>39878</c:v>
                </c:pt>
                <c:pt idx="3687">
                  <c:v>39881</c:v>
                </c:pt>
                <c:pt idx="3688">
                  <c:v>39882</c:v>
                </c:pt>
                <c:pt idx="3689">
                  <c:v>39883</c:v>
                </c:pt>
                <c:pt idx="3690">
                  <c:v>39884</c:v>
                </c:pt>
                <c:pt idx="3691">
                  <c:v>39885</c:v>
                </c:pt>
                <c:pt idx="3692">
                  <c:v>39888</c:v>
                </c:pt>
                <c:pt idx="3693">
                  <c:v>39889</c:v>
                </c:pt>
                <c:pt idx="3694">
                  <c:v>39890</c:v>
                </c:pt>
                <c:pt idx="3695">
                  <c:v>39891</c:v>
                </c:pt>
                <c:pt idx="3696">
                  <c:v>39892</c:v>
                </c:pt>
                <c:pt idx="3697">
                  <c:v>39895</c:v>
                </c:pt>
                <c:pt idx="3698">
                  <c:v>39896</c:v>
                </c:pt>
                <c:pt idx="3699">
                  <c:v>39897</c:v>
                </c:pt>
                <c:pt idx="3700">
                  <c:v>39898</c:v>
                </c:pt>
                <c:pt idx="3701">
                  <c:v>39899</c:v>
                </c:pt>
                <c:pt idx="3702">
                  <c:v>39902</c:v>
                </c:pt>
                <c:pt idx="3703">
                  <c:v>39903</c:v>
                </c:pt>
                <c:pt idx="3704">
                  <c:v>39904</c:v>
                </c:pt>
                <c:pt idx="3705">
                  <c:v>39905</c:v>
                </c:pt>
                <c:pt idx="3706">
                  <c:v>39906</c:v>
                </c:pt>
                <c:pt idx="3707">
                  <c:v>39909</c:v>
                </c:pt>
                <c:pt idx="3708">
                  <c:v>39910</c:v>
                </c:pt>
                <c:pt idx="3709">
                  <c:v>39911</c:v>
                </c:pt>
                <c:pt idx="3710">
                  <c:v>39912</c:v>
                </c:pt>
                <c:pt idx="3711">
                  <c:v>39913</c:v>
                </c:pt>
                <c:pt idx="3712">
                  <c:v>39916</c:v>
                </c:pt>
                <c:pt idx="3713">
                  <c:v>39917</c:v>
                </c:pt>
                <c:pt idx="3714">
                  <c:v>39918</c:v>
                </c:pt>
                <c:pt idx="3715">
                  <c:v>39919</c:v>
                </c:pt>
                <c:pt idx="3716">
                  <c:v>39920</c:v>
                </c:pt>
                <c:pt idx="3717">
                  <c:v>39923</c:v>
                </c:pt>
                <c:pt idx="3718">
                  <c:v>39924</c:v>
                </c:pt>
                <c:pt idx="3719">
                  <c:v>39925</c:v>
                </c:pt>
                <c:pt idx="3720">
                  <c:v>39926</c:v>
                </c:pt>
                <c:pt idx="3721">
                  <c:v>39927</c:v>
                </c:pt>
                <c:pt idx="3722">
                  <c:v>39930</c:v>
                </c:pt>
                <c:pt idx="3723">
                  <c:v>39931</c:v>
                </c:pt>
                <c:pt idx="3724">
                  <c:v>39932</c:v>
                </c:pt>
                <c:pt idx="3725">
                  <c:v>39933</c:v>
                </c:pt>
                <c:pt idx="3726">
                  <c:v>39934</c:v>
                </c:pt>
                <c:pt idx="3727">
                  <c:v>39937</c:v>
                </c:pt>
                <c:pt idx="3728">
                  <c:v>39938</c:v>
                </c:pt>
                <c:pt idx="3729">
                  <c:v>39939</c:v>
                </c:pt>
                <c:pt idx="3730">
                  <c:v>39940</c:v>
                </c:pt>
                <c:pt idx="3731">
                  <c:v>39941</c:v>
                </c:pt>
                <c:pt idx="3732">
                  <c:v>39944</c:v>
                </c:pt>
                <c:pt idx="3733">
                  <c:v>39945</c:v>
                </c:pt>
                <c:pt idx="3734">
                  <c:v>39946</c:v>
                </c:pt>
                <c:pt idx="3735">
                  <c:v>39947</c:v>
                </c:pt>
                <c:pt idx="3736">
                  <c:v>39948</c:v>
                </c:pt>
                <c:pt idx="3737">
                  <c:v>39951</c:v>
                </c:pt>
                <c:pt idx="3738">
                  <c:v>39952</c:v>
                </c:pt>
                <c:pt idx="3739">
                  <c:v>39953</c:v>
                </c:pt>
                <c:pt idx="3740">
                  <c:v>39954</c:v>
                </c:pt>
                <c:pt idx="3741">
                  <c:v>39955</c:v>
                </c:pt>
                <c:pt idx="3742">
                  <c:v>39958</c:v>
                </c:pt>
                <c:pt idx="3743">
                  <c:v>39959</c:v>
                </c:pt>
                <c:pt idx="3744">
                  <c:v>39960</c:v>
                </c:pt>
                <c:pt idx="3745">
                  <c:v>39961</c:v>
                </c:pt>
                <c:pt idx="3746">
                  <c:v>39962</c:v>
                </c:pt>
                <c:pt idx="3747">
                  <c:v>39965</c:v>
                </c:pt>
                <c:pt idx="3748">
                  <c:v>39966</c:v>
                </c:pt>
                <c:pt idx="3749">
                  <c:v>39967</c:v>
                </c:pt>
                <c:pt idx="3750">
                  <c:v>39968</c:v>
                </c:pt>
                <c:pt idx="3751">
                  <c:v>39969</c:v>
                </c:pt>
                <c:pt idx="3752">
                  <c:v>39972</c:v>
                </c:pt>
                <c:pt idx="3753">
                  <c:v>39973</c:v>
                </c:pt>
                <c:pt idx="3754">
                  <c:v>39974</c:v>
                </c:pt>
                <c:pt idx="3755">
                  <c:v>39975</c:v>
                </c:pt>
                <c:pt idx="3756">
                  <c:v>39976</c:v>
                </c:pt>
                <c:pt idx="3757">
                  <c:v>39979</c:v>
                </c:pt>
                <c:pt idx="3758">
                  <c:v>39980</c:v>
                </c:pt>
                <c:pt idx="3759">
                  <c:v>39981</c:v>
                </c:pt>
                <c:pt idx="3760">
                  <c:v>39982</c:v>
                </c:pt>
                <c:pt idx="3761">
                  <c:v>39983</c:v>
                </c:pt>
                <c:pt idx="3762">
                  <c:v>39986</c:v>
                </c:pt>
                <c:pt idx="3763">
                  <c:v>39987</c:v>
                </c:pt>
                <c:pt idx="3764">
                  <c:v>39988</c:v>
                </c:pt>
                <c:pt idx="3765">
                  <c:v>39989</c:v>
                </c:pt>
                <c:pt idx="3766">
                  <c:v>39990</c:v>
                </c:pt>
                <c:pt idx="3767">
                  <c:v>39993</c:v>
                </c:pt>
                <c:pt idx="3768">
                  <c:v>39994</c:v>
                </c:pt>
                <c:pt idx="3769">
                  <c:v>39995</c:v>
                </c:pt>
                <c:pt idx="3770">
                  <c:v>39996</c:v>
                </c:pt>
                <c:pt idx="3771">
                  <c:v>39997</c:v>
                </c:pt>
                <c:pt idx="3772">
                  <c:v>40000</c:v>
                </c:pt>
                <c:pt idx="3773">
                  <c:v>40001</c:v>
                </c:pt>
                <c:pt idx="3774">
                  <c:v>40002</c:v>
                </c:pt>
                <c:pt idx="3775">
                  <c:v>40003</c:v>
                </c:pt>
                <c:pt idx="3776">
                  <c:v>40004</c:v>
                </c:pt>
                <c:pt idx="3777">
                  <c:v>40007</c:v>
                </c:pt>
                <c:pt idx="3778">
                  <c:v>40008</c:v>
                </c:pt>
                <c:pt idx="3779">
                  <c:v>40009</c:v>
                </c:pt>
                <c:pt idx="3780">
                  <c:v>40010</c:v>
                </c:pt>
                <c:pt idx="3781">
                  <c:v>40011</c:v>
                </c:pt>
                <c:pt idx="3782">
                  <c:v>40014</c:v>
                </c:pt>
                <c:pt idx="3783">
                  <c:v>40015</c:v>
                </c:pt>
                <c:pt idx="3784">
                  <c:v>40016</c:v>
                </c:pt>
                <c:pt idx="3785">
                  <c:v>40017</c:v>
                </c:pt>
                <c:pt idx="3786">
                  <c:v>40018</c:v>
                </c:pt>
                <c:pt idx="3787">
                  <c:v>40021</c:v>
                </c:pt>
                <c:pt idx="3788">
                  <c:v>40022</c:v>
                </c:pt>
                <c:pt idx="3789">
                  <c:v>40023</c:v>
                </c:pt>
                <c:pt idx="3790">
                  <c:v>40024</c:v>
                </c:pt>
                <c:pt idx="3791">
                  <c:v>40025</c:v>
                </c:pt>
                <c:pt idx="3792">
                  <c:v>40028</c:v>
                </c:pt>
                <c:pt idx="3793">
                  <c:v>40029</c:v>
                </c:pt>
                <c:pt idx="3794">
                  <c:v>40030</c:v>
                </c:pt>
                <c:pt idx="3795">
                  <c:v>40031</c:v>
                </c:pt>
                <c:pt idx="3796">
                  <c:v>40032</c:v>
                </c:pt>
                <c:pt idx="3797">
                  <c:v>40035</c:v>
                </c:pt>
                <c:pt idx="3798">
                  <c:v>40036</c:v>
                </c:pt>
                <c:pt idx="3799">
                  <c:v>40037</c:v>
                </c:pt>
                <c:pt idx="3800">
                  <c:v>40038</c:v>
                </c:pt>
                <c:pt idx="3801">
                  <c:v>40039</c:v>
                </c:pt>
                <c:pt idx="3802">
                  <c:v>40042</c:v>
                </c:pt>
                <c:pt idx="3803">
                  <c:v>40043</c:v>
                </c:pt>
                <c:pt idx="3804">
                  <c:v>40044</c:v>
                </c:pt>
                <c:pt idx="3805">
                  <c:v>40045</c:v>
                </c:pt>
                <c:pt idx="3806">
                  <c:v>40046</c:v>
                </c:pt>
                <c:pt idx="3807">
                  <c:v>40049</c:v>
                </c:pt>
                <c:pt idx="3808">
                  <c:v>40050</c:v>
                </c:pt>
                <c:pt idx="3809">
                  <c:v>40051</c:v>
                </c:pt>
                <c:pt idx="3810">
                  <c:v>40052</c:v>
                </c:pt>
                <c:pt idx="3811">
                  <c:v>40053</c:v>
                </c:pt>
                <c:pt idx="3812">
                  <c:v>40056</c:v>
                </c:pt>
                <c:pt idx="3813">
                  <c:v>40057</c:v>
                </c:pt>
                <c:pt idx="3814">
                  <c:v>40058</c:v>
                </c:pt>
                <c:pt idx="3815">
                  <c:v>40059</c:v>
                </c:pt>
                <c:pt idx="3816">
                  <c:v>40060</c:v>
                </c:pt>
                <c:pt idx="3817">
                  <c:v>40063</c:v>
                </c:pt>
                <c:pt idx="3818">
                  <c:v>40064</c:v>
                </c:pt>
                <c:pt idx="3819">
                  <c:v>40065</c:v>
                </c:pt>
                <c:pt idx="3820">
                  <c:v>40066</c:v>
                </c:pt>
                <c:pt idx="3821">
                  <c:v>40067</c:v>
                </c:pt>
                <c:pt idx="3822">
                  <c:v>40070</c:v>
                </c:pt>
                <c:pt idx="3823">
                  <c:v>40071</c:v>
                </c:pt>
                <c:pt idx="3824">
                  <c:v>40072</c:v>
                </c:pt>
                <c:pt idx="3825">
                  <c:v>40073</c:v>
                </c:pt>
                <c:pt idx="3826">
                  <c:v>40074</c:v>
                </c:pt>
                <c:pt idx="3827">
                  <c:v>40077</c:v>
                </c:pt>
                <c:pt idx="3828">
                  <c:v>40078</c:v>
                </c:pt>
                <c:pt idx="3829">
                  <c:v>40079</c:v>
                </c:pt>
                <c:pt idx="3830">
                  <c:v>40080</c:v>
                </c:pt>
                <c:pt idx="3831">
                  <c:v>40081</c:v>
                </c:pt>
                <c:pt idx="3832">
                  <c:v>40084</c:v>
                </c:pt>
                <c:pt idx="3833">
                  <c:v>40085</c:v>
                </c:pt>
                <c:pt idx="3834">
                  <c:v>40086</c:v>
                </c:pt>
                <c:pt idx="3835">
                  <c:v>40087</c:v>
                </c:pt>
                <c:pt idx="3836">
                  <c:v>40088</c:v>
                </c:pt>
                <c:pt idx="3837">
                  <c:v>40091</c:v>
                </c:pt>
                <c:pt idx="3838">
                  <c:v>40092</c:v>
                </c:pt>
                <c:pt idx="3839">
                  <c:v>40093</c:v>
                </c:pt>
                <c:pt idx="3840">
                  <c:v>40094</c:v>
                </c:pt>
                <c:pt idx="3841">
                  <c:v>40095</c:v>
                </c:pt>
                <c:pt idx="3842">
                  <c:v>40098</c:v>
                </c:pt>
                <c:pt idx="3843">
                  <c:v>40099</c:v>
                </c:pt>
                <c:pt idx="3844">
                  <c:v>40100</c:v>
                </c:pt>
                <c:pt idx="3845">
                  <c:v>40101</c:v>
                </c:pt>
                <c:pt idx="3846">
                  <c:v>40102</c:v>
                </c:pt>
                <c:pt idx="3847">
                  <c:v>40105</c:v>
                </c:pt>
                <c:pt idx="3848">
                  <c:v>40106</c:v>
                </c:pt>
                <c:pt idx="3849">
                  <c:v>40107</c:v>
                </c:pt>
                <c:pt idx="3850">
                  <c:v>40108</c:v>
                </c:pt>
                <c:pt idx="3851">
                  <c:v>40109</c:v>
                </c:pt>
                <c:pt idx="3852">
                  <c:v>40112</c:v>
                </c:pt>
                <c:pt idx="3853">
                  <c:v>40113</c:v>
                </c:pt>
                <c:pt idx="3854">
                  <c:v>40114</c:v>
                </c:pt>
                <c:pt idx="3855">
                  <c:v>40115</c:v>
                </c:pt>
                <c:pt idx="3856">
                  <c:v>40116</c:v>
                </c:pt>
                <c:pt idx="3857">
                  <c:v>40119</c:v>
                </c:pt>
                <c:pt idx="3858">
                  <c:v>40120</c:v>
                </c:pt>
                <c:pt idx="3859">
                  <c:v>40121</c:v>
                </c:pt>
                <c:pt idx="3860">
                  <c:v>40122</c:v>
                </c:pt>
                <c:pt idx="3861">
                  <c:v>40123</c:v>
                </c:pt>
                <c:pt idx="3862">
                  <c:v>40126</c:v>
                </c:pt>
                <c:pt idx="3863">
                  <c:v>40127</c:v>
                </c:pt>
                <c:pt idx="3864">
                  <c:v>40128</c:v>
                </c:pt>
                <c:pt idx="3865">
                  <c:v>40129</c:v>
                </c:pt>
                <c:pt idx="3866">
                  <c:v>40130</c:v>
                </c:pt>
                <c:pt idx="3867">
                  <c:v>40133</c:v>
                </c:pt>
                <c:pt idx="3868">
                  <c:v>40134</c:v>
                </c:pt>
                <c:pt idx="3869">
                  <c:v>40135</c:v>
                </c:pt>
                <c:pt idx="3870">
                  <c:v>40136</c:v>
                </c:pt>
                <c:pt idx="3871">
                  <c:v>40137</c:v>
                </c:pt>
                <c:pt idx="3872">
                  <c:v>40140</c:v>
                </c:pt>
                <c:pt idx="3873">
                  <c:v>40141</c:v>
                </c:pt>
                <c:pt idx="3874">
                  <c:v>40142</c:v>
                </c:pt>
                <c:pt idx="3875">
                  <c:v>40143</c:v>
                </c:pt>
                <c:pt idx="3876">
                  <c:v>40144</c:v>
                </c:pt>
                <c:pt idx="3877">
                  <c:v>40147</c:v>
                </c:pt>
                <c:pt idx="3878">
                  <c:v>40148</c:v>
                </c:pt>
                <c:pt idx="3879">
                  <c:v>40149</c:v>
                </c:pt>
                <c:pt idx="3880">
                  <c:v>40150</c:v>
                </c:pt>
                <c:pt idx="3881">
                  <c:v>40151</c:v>
                </c:pt>
                <c:pt idx="3882">
                  <c:v>40154</c:v>
                </c:pt>
                <c:pt idx="3883">
                  <c:v>40155</c:v>
                </c:pt>
                <c:pt idx="3884">
                  <c:v>40156</c:v>
                </c:pt>
                <c:pt idx="3885">
                  <c:v>40157</c:v>
                </c:pt>
                <c:pt idx="3886">
                  <c:v>40158</c:v>
                </c:pt>
                <c:pt idx="3887">
                  <c:v>40161</c:v>
                </c:pt>
                <c:pt idx="3888">
                  <c:v>40162</c:v>
                </c:pt>
                <c:pt idx="3889">
                  <c:v>40163</c:v>
                </c:pt>
                <c:pt idx="3890">
                  <c:v>40164</c:v>
                </c:pt>
                <c:pt idx="3891">
                  <c:v>40165</c:v>
                </c:pt>
                <c:pt idx="3892">
                  <c:v>40168</c:v>
                </c:pt>
                <c:pt idx="3893">
                  <c:v>40169</c:v>
                </c:pt>
                <c:pt idx="3894">
                  <c:v>40170</c:v>
                </c:pt>
                <c:pt idx="3895">
                  <c:v>40171</c:v>
                </c:pt>
                <c:pt idx="3896">
                  <c:v>40172</c:v>
                </c:pt>
                <c:pt idx="3897">
                  <c:v>40175</c:v>
                </c:pt>
                <c:pt idx="3898">
                  <c:v>40176</c:v>
                </c:pt>
                <c:pt idx="3899">
                  <c:v>40177</c:v>
                </c:pt>
                <c:pt idx="3900">
                  <c:v>40178</c:v>
                </c:pt>
                <c:pt idx="3901">
                  <c:v>40179</c:v>
                </c:pt>
                <c:pt idx="3902">
                  <c:v>40182</c:v>
                </c:pt>
                <c:pt idx="3903">
                  <c:v>40183</c:v>
                </c:pt>
                <c:pt idx="3904">
                  <c:v>40184</c:v>
                </c:pt>
                <c:pt idx="3905">
                  <c:v>40185</c:v>
                </c:pt>
                <c:pt idx="3906">
                  <c:v>40186</c:v>
                </c:pt>
                <c:pt idx="3907">
                  <c:v>40189</c:v>
                </c:pt>
                <c:pt idx="3908">
                  <c:v>40190</c:v>
                </c:pt>
                <c:pt idx="3909">
                  <c:v>40191</c:v>
                </c:pt>
                <c:pt idx="3910">
                  <c:v>40192</c:v>
                </c:pt>
                <c:pt idx="3911">
                  <c:v>40193</c:v>
                </c:pt>
                <c:pt idx="3912">
                  <c:v>40196</c:v>
                </c:pt>
                <c:pt idx="3913">
                  <c:v>40197</c:v>
                </c:pt>
                <c:pt idx="3914">
                  <c:v>40198</c:v>
                </c:pt>
                <c:pt idx="3915">
                  <c:v>40199</c:v>
                </c:pt>
                <c:pt idx="3916">
                  <c:v>40200</c:v>
                </c:pt>
                <c:pt idx="3917">
                  <c:v>40203</c:v>
                </c:pt>
                <c:pt idx="3918">
                  <c:v>40204</c:v>
                </c:pt>
                <c:pt idx="3919">
                  <c:v>40205</c:v>
                </c:pt>
                <c:pt idx="3920">
                  <c:v>40206</c:v>
                </c:pt>
                <c:pt idx="3921">
                  <c:v>40207</c:v>
                </c:pt>
                <c:pt idx="3922">
                  <c:v>40210</c:v>
                </c:pt>
                <c:pt idx="3923">
                  <c:v>40211</c:v>
                </c:pt>
                <c:pt idx="3924">
                  <c:v>40212</c:v>
                </c:pt>
                <c:pt idx="3925">
                  <c:v>40213</c:v>
                </c:pt>
                <c:pt idx="3926">
                  <c:v>40214</c:v>
                </c:pt>
                <c:pt idx="3927">
                  <c:v>40217</c:v>
                </c:pt>
                <c:pt idx="3928">
                  <c:v>40218</c:v>
                </c:pt>
                <c:pt idx="3929">
                  <c:v>40219</c:v>
                </c:pt>
                <c:pt idx="3930">
                  <c:v>40220</c:v>
                </c:pt>
                <c:pt idx="3931">
                  <c:v>40221</c:v>
                </c:pt>
                <c:pt idx="3932">
                  <c:v>40224</c:v>
                </c:pt>
                <c:pt idx="3933">
                  <c:v>40225</c:v>
                </c:pt>
                <c:pt idx="3934">
                  <c:v>40226</c:v>
                </c:pt>
                <c:pt idx="3935">
                  <c:v>40227</c:v>
                </c:pt>
                <c:pt idx="3936">
                  <c:v>40228</c:v>
                </c:pt>
                <c:pt idx="3937">
                  <c:v>40231</c:v>
                </c:pt>
                <c:pt idx="3938">
                  <c:v>40232</c:v>
                </c:pt>
                <c:pt idx="3939">
                  <c:v>40233</c:v>
                </c:pt>
                <c:pt idx="3940">
                  <c:v>40234</c:v>
                </c:pt>
                <c:pt idx="3941">
                  <c:v>40235</c:v>
                </c:pt>
                <c:pt idx="3942">
                  <c:v>40238</c:v>
                </c:pt>
                <c:pt idx="3943">
                  <c:v>40239</c:v>
                </c:pt>
                <c:pt idx="3944">
                  <c:v>40240</c:v>
                </c:pt>
                <c:pt idx="3945">
                  <c:v>40241</c:v>
                </c:pt>
                <c:pt idx="3946">
                  <c:v>40242</c:v>
                </c:pt>
                <c:pt idx="3947">
                  <c:v>40245</c:v>
                </c:pt>
                <c:pt idx="3948">
                  <c:v>40246</c:v>
                </c:pt>
                <c:pt idx="3949">
                  <c:v>40247</c:v>
                </c:pt>
                <c:pt idx="3950">
                  <c:v>40248</c:v>
                </c:pt>
                <c:pt idx="3951">
                  <c:v>40249</c:v>
                </c:pt>
                <c:pt idx="3952">
                  <c:v>40252</c:v>
                </c:pt>
                <c:pt idx="3953">
                  <c:v>40253</c:v>
                </c:pt>
                <c:pt idx="3954">
                  <c:v>40254</c:v>
                </c:pt>
                <c:pt idx="3955">
                  <c:v>40255</c:v>
                </c:pt>
                <c:pt idx="3956">
                  <c:v>40256</c:v>
                </c:pt>
                <c:pt idx="3957">
                  <c:v>40259</c:v>
                </c:pt>
                <c:pt idx="3958">
                  <c:v>40260</c:v>
                </c:pt>
                <c:pt idx="3959">
                  <c:v>40261</c:v>
                </c:pt>
                <c:pt idx="3960">
                  <c:v>40262</c:v>
                </c:pt>
                <c:pt idx="3961">
                  <c:v>40263</c:v>
                </c:pt>
                <c:pt idx="3962">
                  <c:v>40266</c:v>
                </c:pt>
                <c:pt idx="3963">
                  <c:v>40267</c:v>
                </c:pt>
                <c:pt idx="3964">
                  <c:v>40268</c:v>
                </c:pt>
                <c:pt idx="3965">
                  <c:v>40269</c:v>
                </c:pt>
                <c:pt idx="3966">
                  <c:v>40270</c:v>
                </c:pt>
                <c:pt idx="3967">
                  <c:v>40273</c:v>
                </c:pt>
                <c:pt idx="3968">
                  <c:v>40274</c:v>
                </c:pt>
                <c:pt idx="3969">
                  <c:v>40275</c:v>
                </c:pt>
                <c:pt idx="3970">
                  <c:v>40276</c:v>
                </c:pt>
                <c:pt idx="3971">
                  <c:v>40277</c:v>
                </c:pt>
                <c:pt idx="3972">
                  <c:v>40280</c:v>
                </c:pt>
                <c:pt idx="3973">
                  <c:v>40281</c:v>
                </c:pt>
                <c:pt idx="3974">
                  <c:v>40282</c:v>
                </c:pt>
                <c:pt idx="3975">
                  <c:v>40283</c:v>
                </c:pt>
                <c:pt idx="3976">
                  <c:v>40284</c:v>
                </c:pt>
                <c:pt idx="3977">
                  <c:v>40287</c:v>
                </c:pt>
                <c:pt idx="3978">
                  <c:v>40288</c:v>
                </c:pt>
                <c:pt idx="3979">
                  <c:v>40289</c:v>
                </c:pt>
                <c:pt idx="3980">
                  <c:v>40290</c:v>
                </c:pt>
                <c:pt idx="3981">
                  <c:v>40291</c:v>
                </c:pt>
                <c:pt idx="3982">
                  <c:v>40294</c:v>
                </c:pt>
                <c:pt idx="3983">
                  <c:v>40295</c:v>
                </c:pt>
                <c:pt idx="3984">
                  <c:v>40296</c:v>
                </c:pt>
                <c:pt idx="3985">
                  <c:v>40297</c:v>
                </c:pt>
                <c:pt idx="3986">
                  <c:v>40298</c:v>
                </c:pt>
                <c:pt idx="3987">
                  <c:v>40301</c:v>
                </c:pt>
                <c:pt idx="3988">
                  <c:v>40302</c:v>
                </c:pt>
                <c:pt idx="3989">
                  <c:v>40303</c:v>
                </c:pt>
                <c:pt idx="3990">
                  <c:v>40304</c:v>
                </c:pt>
                <c:pt idx="3991">
                  <c:v>40305</c:v>
                </c:pt>
                <c:pt idx="3992">
                  <c:v>40308</c:v>
                </c:pt>
                <c:pt idx="3993">
                  <c:v>40309</c:v>
                </c:pt>
                <c:pt idx="3994">
                  <c:v>40310</c:v>
                </c:pt>
                <c:pt idx="3995">
                  <c:v>40311</c:v>
                </c:pt>
                <c:pt idx="3996">
                  <c:v>40312</c:v>
                </c:pt>
                <c:pt idx="3997">
                  <c:v>40315</c:v>
                </c:pt>
                <c:pt idx="3998">
                  <c:v>40316</c:v>
                </c:pt>
                <c:pt idx="3999">
                  <c:v>40317</c:v>
                </c:pt>
                <c:pt idx="4000">
                  <c:v>40318</c:v>
                </c:pt>
                <c:pt idx="4001">
                  <c:v>40319</c:v>
                </c:pt>
                <c:pt idx="4002">
                  <c:v>40322</c:v>
                </c:pt>
                <c:pt idx="4003">
                  <c:v>40323</c:v>
                </c:pt>
                <c:pt idx="4004">
                  <c:v>40324</c:v>
                </c:pt>
                <c:pt idx="4005">
                  <c:v>40325</c:v>
                </c:pt>
                <c:pt idx="4006">
                  <c:v>40326</c:v>
                </c:pt>
                <c:pt idx="4007">
                  <c:v>40329</c:v>
                </c:pt>
                <c:pt idx="4008">
                  <c:v>40330</c:v>
                </c:pt>
                <c:pt idx="4009">
                  <c:v>40331</c:v>
                </c:pt>
                <c:pt idx="4010">
                  <c:v>40332</c:v>
                </c:pt>
                <c:pt idx="4011">
                  <c:v>40333</c:v>
                </c:pt>
                <c:pt idx="4012">
                  <c:v>40336</c:v>
                </c:pt>
                <c:pt idx="4013">
                  <c:v>40337</c:v>
                </c:pt>
                <c:pt idx="4014">
                  <c:v>40338</c:v>
                </c:pt>
                <c:pt idx="4015">
                  <c:v>40339</c:v>
                </c:pt>
                <c:pt idx="4016">
                  <c:v>40340</c:v>
                </c:pt>
                <c:pt idx="4017">
                  <c:v>40343</c:v>
                </c:pt>
                <c:pt idx="4018">
                  <c:v>40344</c:v>
                </c:pt>
                <c:pt idx="4019">
                  <c:v>40345</c:v>
                </c:pt>
                <c:pt idx="4020">
                  <c:v>40346</c:v>
                </c:pt>
                <c:pt idx="4021">
                  <c:v>40347</c:v>
                </c:pt>
                <c:pt idx="4022">
                  <c:v>40350</c:v>
                </c:pt>
                <c:pt idx="4023">
                  <c:v>40351</c:v>
                </c:pt>
                <c:pt idx="4024">
                  <c:v>40352</c:v>
                </c:pt>
                <c:pt idx="4025">
                  <c:v>40353</c:v>
                </c:pt>
                <c:pt idx="4026">
                  <c:v>40354</c:v>
                </c:pt>
                <c:pt idx="4027">
                  <c:v>40357</c:v>
                </c:pt>
                <c:pt idx="4028">
                  <c:v>40358</c:v>
                </c:pt>
                <c:pt idx="4029">
                  <c:v>40359</c:v>
                </c:pt>
                <c:pt idx="4030">
                  <c:v>40360</c:v>
                </c:pt>
                <c:pt idx="4031">
                  <c:v>40361</c:v>
                </c:pt>
                <c:pt idx="4032">
                  <c:v>40364</c:v>
                </c:pt>
                <c:pt idx="4033">
                  <c:v>40365</c:v>
                </c:pt>
                <c:pt idx="4034">
                  <c:v>40366</c:v>
                </c:pt>
                <c:pt idx="4035">
                  <c:v>40367</c:v>
                </c:pt>
                <c:pt idx="4036">
                  <c:v>40368</c:v>
                </c:pt>
                <c:pt idx="4037">
                  <c:v>40371</c:v>
                </c:pt>
                <c:pt idx="4038">
                  <c:v>40372</c:v>
                </c:pt>
                <c:pt idx="4039">
                  <c:v>40373</c:v>
                </c:pt>
                <c:pt idx="4040">
                  <c:v>40374</c:v>
                </c:pt>
                <c:pt idx="4041">
                  <c:v>40375</c:v>
                </c:pt>
                <c:pt idx="4042">
                  <c:v>40378</c:v>
                </c:pt>
                <c:pt idx="4043">
                  <c:v>40379</c:v>
                </c:pt>
                <c:pt idx="4044">
                  <c:v>40380</c:v>
                </c:pt>
                <c:pt idx="4045">
                  <c:v>40381</c:v>
                </c:pt>
                <c:pt idx="4046">
                  <c:v>40382</c:v>
                </c:pt>
                <c:pt idx="4047">
                  <c:v>40385</c:v>
                </c:pt>
                <c:pt idx="4048">
                  <c:v>40386</c:v>
                </c:pt>
                <c:pt idx="4049">
                  <c:v>40387</c:v>
                </c:pt>
                <c:pt idx="4050">
                  <c:v>40388</c:v>
                </c:pt>
                <c:pt idx="4051">
                  <c:v>40389</c:v>
                </c:pt>
                <c:pt idx="4052">
                  <c:v>40392</c:v>
                </c:pt>
                <c:pt idx="4053">
                  <c:v>40393</c:v>
                </c:pt>
                <c:pt idx="4054">
                  <c:v>40394</c:v>
                </c:pt>
                <c:pt idx="4055">
                  <c:v>40395</c:v>
                </c:pt>
                <c:pt idx="4056">
                  <c:v>40396</c:v>
                </c:pt>
                <c:pt idx="4057">
                  <c:v>40399</c:v>
                </c:pt>
                <c:pt idx="4058">
                  <c:v>40400</c:v>
                </c:pt>
                <c:pt idx="4059">
                  <c:v>40401</c:v>
                </c:pt>
                <c:pt idx="4060">
                  <c:v>40402</c:v>
                </c:pt>
                <c:pt idx="4061">
                  <c:v>40403</c:v>
                </c:pt>
                <c:pt idx="4062">
                  <c:v>40406</c:v>
                </c:pt>
                <c:pt idx="4063">
                  <c:v>40407</c:v>
                </c:pt>
                <c:pt idx="4064">
                  <c:v>40408</c:v>
                </c:pt>
                <c:pt idx="4065">
                  <c:v>40409</c:v>
                </c:pt>
                <c:pt idx="4066">
                  <c:v>40410</c:v>
                </c:pt>
                <c:pt idx="4067">
                  <c:v>40413</c:v>
                </c:pt>
                <c:pt idx="4068">
                  <c:v>40414</c:v>
                </c:pt>
                <c:pt idx="4069">
                  <c:v>40415</c:v>
                </c:pt>
                <c:pt idx="4070">
                  <c:v>40416</c:v>
                </c:pt>
                <c:pt idx="4071">
                  <c:v>40417</c:v>
                </c:pt>
                <c:pt idx="4072">
                  <c:v>40420</c:v>
                </c:pt>
                <c:pt idx="4073">
                  <c:v>40421</c:v>
                </c:pt>
                <c:pt idx="4074">
                  <c:v>40422</c:v>
                </c:pt>
                <c:pt idx="4075">
                  <c:v>40423</c:v>
                </c:pt>
                <c:pt idx="4076">
                  <c:v>40424</c:v>
                </c:pt>
                <c:pt idx="4077">
                  <c:v>40427</c:v>
                </c:pt>
                <c:pt idx="4078">
                  <c:v>40428</c:v>
                </c:pt>
                <c:pt idx="4079">
                  <c:v>40429</c:v>
                </c:pt>
                <c:pt idx="4080">
                  <c:v>40430</c:v>
                </c:pt>
                <c:pt idx="4081">
                  <c:v>40431</c:v>
                </c:pt>
                <c:pt idx="4082">
                  <c:v>40434</c:v>
                </c:pt>
                <c:pt idx="4083">
                  <c:v>40435</c:v>
                </c:pt>
                <c:pt idx="4084">
                  <c:v>40436</c:v>
                </c:pt>
                <c:pt idx="4085">
                  <c:v>40437</c:v>
                </c:pt>
                <c:pt idx="4086">
                  <c:v>40438</c:v>
                </c:pt>
                <c:pt idx="4087">
                  <c:v>40441</c:v>
                </c:pt>
                <c:pt idx="4088">
                  <c:v>40442</c:v>
                </c:pt>
                <c:pt idx="4089">
                  <c:v>40443</c:v>
                </c:pt>
                <c:pt idx="4090">
                  <c:v>40444</c:v>
                </c:pt>
                <c:pt idx="4091">
                  <c:v>40445</c:v>
                </c:pt>
                <c:pt idx="4092">
                  <c:v>40448</c:v>
                </c:pt>
                <c:pt idx="4093">
                  <c:v>40449</c:v>
                </c:pt>
                <c:pt idx="4094">
                  <c:v>40450</c:v>
                </c:pt>
                <c:pt idx="4095">
                  <c:v>40451</c:v>
                </c:pt>
                <c:pt idx="4096">
                  <c:v>40452</c:v>
                </c:pt>
                <c:pt idx="4097">
                  <c:v>40455</c:v>
                </c:pt>
                <c:pt idx="4098">
                  <c:v>40456</c:v>
                </c:pt>
                <c:pt idx="4099">
                  <c:v>40457</c:v>
                </c:pt>
                <c:pt idx="4100">
                  <c:v>40458</c:v>
                </c:pt>
                <c:pt idx="4101">
                  <c:v>40459</c:v>
                </c:pt>
                <c:pt idx="4102">
                  <c:v>40462</c:v>
                </c:pt>
                <c:pt idx="4103">
                  <c:v>40463</c:v>
                </c:pt>
                <c:pt idx="4104">
                  <c:v>40464</c:v>
                </c:pt>
                <c:pt idx="4105">
                  <c:v>40465</c:v>
                </c:pt>
                <c:pt idx="4106">
                  <c:v>40466</c:v>
                </c:pt>
                <c:pt idx="4107">
                  <c:v>40469</c:v>
                </c:pt>
                <c:pt idx="4108">
                  <c:v>40470</c:v>
                </c:pt>
                <c:pt idx="4109">
                  <c:v>40471</c:v>
                </c:pt>
                <c:pt idx="4110">
                  <c:v>40472</c:v>
                </c:pt>
                <c:pt idx="4111">
                  <c:v>40473</c:v>
                </c:pt>
                <c:pt idx="4112">
                  <c:v>40476</c:v>
                </c:pt>
                <c:pt idx="4113">
                  <c:v>40477</c:v>
                </c:pt>
                <c:pt idx="4114">
                  <c:v>40478</c:v>
                </c:pt>
                <c:pt idx="4115">
                  <c:v>40479</c:v>
                </c:pt>
                <c:pt idx="4116">
                  <c:v>40480</c:v>
                </c:pt>
                <c:pt idx="4117">
                  <c:v>40483</c:v>
                </c:pt>
                <c:pt idx="4118">
                  <c:v>40484</c:v>
                </c:pt>
                <c:pt idx="4119">
                  <c:v>40485</c:v>
                </c:pt>
                <c:pt idx="4120">
                  <c:v>40486</c:v>
                </c:pt>
                <c:pt idx="4121">
                  <c:v>40487</c:v>
                </c:pt>
                <c:pt idx="4122">
                  <c:v>40490</c:v>
                </c:pt>
                <c:pt idx="4123">
                  <c:v>40491</c:v>
                </c:pt>
                <c:pt idx="4124">
                  <c:v>40492</c:v>
                </c:pt>
                <c:pt idx="4125">
                  <c:v>40493</c:v>
                </c:pt>
                <c:pt idx="4126">
                  <c:v>40494</c:v>
                </c:pt>
                <c:pt idx="4127">
                  <c:v>40497</c:v>
                </c:pt>
                <c:pt idx="4128">
                  <c:v>40498</c:v>
                </c:pt>
                <c:pt idx="4129">
                  <c:v>40499</c:v>
                </c:pt>
                <c:pt idx="4130">
                  <c:v>40500</c:v>
                </c:pt>
                <c:pt idx="4131">
                  <c:v>40501</c:v>
                </c:pt>
                <c:pt idx="4132">
                  <c:v>40504</c:v>
                </c:pt>
                <c:pt idx="4133">
                  <c:v>40505</c:v>
                </c:pt>
                <c:pt idx="4134">
                  <c:v>40506</c:v>
                </c:pt>
                <c:pt idx="4135">
                  <c:v>40507</c:v>
                </c:pt>
                <c:pt idx="4136">
                  <c:v>40508</c:v>
                </c:pt>
                <c:pt idx="4137">
                  <c:v>40511</c:v>
                </c:pt>
                <c:pt idx="4138">
                  <c:v>40512</c:v>
                </c:pt>
                <c:pt idx="4139">
                  <c:v>40513</c:v>
                </c:pt>
                <c:pt idx="4140">
                  <c:v>40514</c:v>
                </c:pt>
                <c:pt idx="4141">
                  <c:v>40515</c:v>
                </c:pt>
                <c:pt idx="4142">
                  <c:v>40518</c:v>
                </c:pt>
                <c:pt idx="4143">
                  <c:v>40519</c:v>
                </c:pt>
                <c:pt idx="4144">
                  <c:v>40520</c:v>
                </c:pt>
                <c:pt idx="4145">
                  <c:v>40521</c:v>
                </c:pt>
                <c:pt idx="4146">
                  <c:v>40522</c:v>
                </c:pt>
                <c:pt idx="4147">
                  <c:v>40525</c:v>
                </c:pt>
                <c:pt idx="4148">
                  <c:v>40526</c:v>
                </c:pt>
                <c:pt idx="4149">
                  <c:v>40527</c:v>
                </c:pt>
                <c:pt idx="4150">
                  <c:v>40528</c:v>
                </c:pt>
                <c:pt idx="4151">
                  <c:v>40529</c:v>
                </c:pt>
                <c:pt idx="4152">
                  <c:v>40532</c:v>
                </c:pt>
                <c:pt idx="4153">
                  <c:v>40533</c:v>
                </c:pt>
                <c:pt idx="4154">
                  <c:v>40534</c:v>
                </c:pt>
                <c:pt idx="4155">
                  <c:v>40535</c:v>
                </c:pt>
                <c:pt idx="4156">
                  <c:v>40536</c:v>
                </c:pt>
                <c:pt idx="4157">
                  <c:v>40539</c:v>
                </c:pt>
                <c:pt idx="4158">
                  <c:v>40540</c:v>
                </c:pt>
                <c:pt idx="4159">
                  <c:v>40541</c:v>
                </c:pt>
                <c:pt idx="4160">
                  <c:v>40542</c:v>
                </c:pt>
                <c:pt idx="4161">
                  <c:v>40543</c:v>
                </c:pt>
                <c:pt idx="4162">
                  <c:v>40546</c:v>
                </c:pt>
                <c:pt idx="4163">
                  <c:v>40547</c:v>
                </c:pt>
                <c:pt idx="4164">
                  <c:v>40548</c:v>
                </c:pt>
                <c:pt idx="4165">
                  <c:v>40549</c:v>
                </c:pt>
                <c:pt idx="4166">
                  <c:v>40550</c:v>
                </c:pt>
                <c:pt idx="4167">
                  <c:v>40553</c:v>
                </c:pt>
                <c:pt idx="4168">
                  <c:v>40554</c:v>
                </c:pt>
                <c:pt idx="4169">
                  <c:v>40555</c:v>
                </c:pt>
                <c:pt idx="4170">
                  <c:v>40556</c:v>
                </c:pt>
                <c:pt idx="4171">
                  <c:v>40557</c:v>
                </c:pt>
                <c:pt idx="4172">
                  <c:v>40560</c:v>
                </c:pt>
                <c:pt idx="4173">
                  <c:v>40561</c:v>
                </c:pt>
                <c:pt idx="4174">
                  <c:v>40562</c:v>
                </c:pt>
                <c:pt idx="4175">
                  <c:v>40563</c:v>
                </c:pt>
                <c:pt idx="4176">
                  <c:v>40564</c:v>
                </c:pt>
                <c:pt idx="4177">
                  <c:v>40567</c:v>
                </c:pt>
                <c:pt idx="4178">
                  <c:v>40568</c:v>
                </c:pt>
                <c:pt idx="4179">
                  <c:v>40569</c:v>
                </c:pt>
                <c:pt idx="4180">
                  <c:v>40570</c:v>
                </c:pt>
                <c:pt idx="4181">
                  <c:v>40571</c:v>
                </c:pt>
                <c:pt idx="4182">
                  <c:v>40574</c:v>
                </c:pt>
                <c:pt idx="4183">
                  <c:v>40575</c:v>
                </c:pt>
                <c:pt idx="4184">
                  <c:v>40576</c:v>
                </c:pt>
                <c:pt idx="4185">
                  <c:v>40577</c:v>
                </c:pt>
                <c:pt idx="4186">
                  <c:v>40578</c:v>
                </c:pt>
                <c:pt idx="4187">
                  <c:v>40581</c:v>
                </c:pt>
                <c:pt idx="4188">
                  <c:v>40582</c:v>
                </c:pt>
                <c:pt idx="4189">
                  <c:v>40583</c:v>
                </c:pt>
                <c:pt idx="4190">
                  <c:v>40584</c:v>
                </c:pt>
                <c:pt idx="4191">
                  <c:v>40585</c:v>
                </c:pt>
                <c:pt idx="4192">
                  <c:v>40588</c:v>
                </c:pt>
                <c:pt idx="4193">
                  <c:v>40589</c:v>
                </c:pt>
                <c:pt idx="4194">
                  <c:v>40590</c:v>
                </c:pt>
                <c:pt idx="4195">
                  <c:v>40591</c:v>
                </c:pt>
                <c:pt idx="4196">
                  <c:v>40592</c:v>
                </c:pt>
                <c:pt idx="4197">
                  <c:v>40595</c:v>
                </c:pt>
                <c:pt idx="4198">
                  <c:v>40596</c:v>
                </c:pt>
                <c:pt idx="4199">
                  <c:v>40597</c:v>
                </c:pt>
                <c:pt idx="4200">
                  <c:v>40598</c:v>
                </c:pt>
                <c:pt idx="4201">
                  <c:v>40599</c:v>
                </c:pt>
                <c:pt idx="4202">
                  <c:v>40602</c:v>
                </c:pt>
                <c:pt idx="4203">
                  <c:v>40603</c:v>
                </c:pt>
                <c:pt idx="4204">
                  <c:v>40604</c:v>
                </c:pt>
                <c:pt idx="4205">
                  <c:v>40605</c:v>
                </c:pt>
                <c:pt idx="4206">
                  <c:v>40606</c:v>
                </c:pt>
                <c:pt idx="4207">
                  <c:v>40609</c:v>
                </c:pt>
                <c:pt idx="4208">
                  <c:v>40610</c:v>
                </c:pt>
                <c:pt idx="4209">
                  <c:v>40611</c:v>
                </c:pt>
                <c:pt idx="4210">
                  <c:v>40612</c:v>
                </c:pt>
                <c:pt idx="4211">
                  <c:v>40613</c:v>
                </c:pt>
                <c:pt idx="4212">
                  <c:v>40616</c:v>
                </c:pt>
                <c:pt idx="4213">
                  <c:v>40617</c:v>
                </c:pt>
                <c:pt idx="4214">
                  <c:v>40618</c:v>
                </c:pt>
                <c:pt idx="4215">
                  <c:v>40619</c:v>
                </c:pt>
                <c:pt idx="4216">
                  <c:v>40620</c:v>
                </c:pt>
                <c:pt idx="4217">
                  <c:v>40623</c:v>
                </c:pt>
                <c:pt idx="4218">
                  <c:v>40624</c:v>
                </c:pt>
                <c:pt idx="4219">
                  <c:v>40625</c:v>
                </c:pt>
                <c:pt idx="4220">
                  <c:v>40626</c:v>
                </c:pt>
                <c:pt idx="4221">
                  <c:v>40627</c:v>
                </c:pt>
                <c:pt idx="4222">
                  <c:v>40630</c:v>
                </c:pt>
                <c:pt idx="4223">
                  <c:v>40631</c:v>
                </c:pt>
                <c:pt idx="4224">
                  <c:v>40632</c:v>
                </c:pt>
                <c:pt idx="4225">
                  <c:v>40633</c:v>
                </c:pt>
                <c:pt idx="4226">
                  <c:v>40634</c:v>
                </c:pt>
                <c:pt idx="4227">
                  <c:v>40637</c:v>
                </c:pt>
                <c:pt idx="4228">
                  <c:v>40638</c:v>
                </c:pt>
                <c:pt idx="4229">
                  <c:v>40639</c:v>
                </c:pt>
                <c:pt idx="4230">
                  <c:v>40640</c:v>
                </c:pt>
                <c:pt idx="4231">
                  <c:v>40641</c:v>
                </c:pt>
                <c:pt idx="4232">
                  <c:v>40644</c:v>
                </c:pt>
                <c:pt idx="4233">
                  <c:v>40645</c:v>
                </c:pt>
                <c:pt idx="4234">
                  <c:v>40646</c:v>
                </c:pt>
                <c:pt idx="4235">
                  <c:v>40647</c:v>
                </c:pt>
                <c:pt idx="4236">
                  <c:v>40648</c:v>
                </c:pt>
                <c:pt idx="4237">
                  <c:v>40651</c:v>
                </c:pt>
                <c:pt idx="4238">
                  <c:v>40652</c:v>
                </c:pt>
                <c:pt idx="4239">
                  <c:v>40653</c:v>
                </c:pt>
                <c:pt idx="4240">
                  <c:v>40654</c:v>
                </c:pt>
                <c:pt idx="4241">
                  <c:v>40655</c:v>
                </c:pt>
                <c:pt idx="4242">
                  <c:v>40658</c:v>
                </c:pt>
                <c:pt idx="4243">
                  <c:v>40659</c:v>
                </c:pt>
                <c:pt idx="4244">
                  <c:v>40660</c:v>
                </c:pt>
                <c:pt idx="4245">
                  <c:v>40661</c:v>
                </c:pt>
                <c:pt idx="4246">
                  <c:v>40662</c:v>
                </c:pt>
                <c:pt idx="4247">
                  <c:v>40665</c:v>
                </c:pt>
                <c:pt idx="4248">
                  <c:v>40666</c:v>
                </c:pt>
                <c:pt idx="4249">
                  <c:v>40667</c:v>
                </c:pt>
                <c:pt idx="4250">
                  <c:v>40668</c:v>
                </c:pt>
                <c:pt idx="4251">
                  <c:v>40669</c:v>
                </c:pt>
                <c:pt idx="4252">
                  <c:v>40672</c:v>
                </c:pt>
                <c:pt idx="4253">
                  <c:v>40673</c:v>
                </c:pt>
                <c:pt idx="4254">
                  <c:v>40674</c:v>
                </c:pt>
                <c:pt idx="4255">
                  <c:v>40675</c:v>
                </c:pt>
                <c:pt idx="4256">
                  <c:v>40676</c:v>
                </c:pt>
                <c:pt idx="4257">
                  <c:v>40679</c:v>
                </c:pt>
                <c:pt idx="4258">
                  <c:v>40680</c:v>
                </c:pt>
                <c:pt idx="4259">
                  <c:v>40681</c:v>
                </c:pt>
                <c:pt idx="4260">
                  <c:v>40682</c:v>
                </c:pt>
                <c:pt idx="4261">
                  <c:v>40683</c:v>
                </c:pt>
                <c:pt idx="4262">
                  <c:v>40686</c:v>
                </c:pt>
                <c:pt idx="4263">
                  <c:v>40687</c:v>
                </c:pt>
                <c:pt idx="4264">
                  <c:v>40688</c:v>
                </c:pt>
                <c:pt idx="4265">
                  <c:v>40689</c:v>
                </c:pt>
                <c:pt idx="4266">
                  <c:v>40690</c:v>
                </c:pt>
                <c:pt idx="4267">
                  <c:v>40693</c:v>
                </c:pt>
                <c:pt idx="4268">
                  <c:v>40694</c:v>
                </c:pt>
                <c:pt idx="4269">
                  <c:v>40695</c:v>
                </c:pt>
                <c:pt idx="4270">
                  <c:v>40696</c:v>
                </c:pt>
                <c:pt idx="4271">
                  <c:v>40697</c:v>
                </c:pt>
                <c:pt idx="4272">
                  <c:v>40700</c:v>
                </c:pt>
                <c:pt idx="4273">
                  <c:v>40701</c:v>
                </c:pt>
                <c:pt idx="4274">
                  <c:v>40702</c:v>
                </c:pt>
                <c:pt idx="4275">
                  <c:v>40703</c:v>
                </c:pt>
                <c:pt idx="4276">
                  <c:v>40704</c:v>
                </c:pt>
                <c:pt idx="4277">
                  <c:v>40707</c:v>
                </c:pt>
                <c:pt idx="4278">
                  <c:v>40708</c:v>
                </c:pt>
                <c:pt idx="4279">
                  <c:v>40709</c:v>
                </c:pt>
                <c:pt idx="4280">
                  <c:v>40710</c:v>
                </c:pt>
                <c:pt idx="4281">
                  <c:v>40711</c:v>
                </c:pt>
                <c:pt idx="4282">
                  <c:v>40714</c:v>
                </c:pt>
                <c:pt idx="4283">
                  <c:v>40715</c:v>
                </c:pt>
                <c:pt idx="4284">
                  <c:v>40716</c:v>
                </c:pt>
                <c:pt idx="4285">
                  <c:v>40717</c:v>
                </c:pt>
                <c:pt idx="4286">
                  <c:v>40718</c:v>
                </c:pt>
                <c:pt idx="4287">
                  <c:v>40721</c:v>
                </c:pt>
                <c:pt idx="4288">
                  <c:v>40722</c:v>
                </c:pt>
                <c:pt idx="4289">
                  <c:v>40723</c:v>
                </c:pt>
                <c:pt idx="4290">
                  <c:v>40724</c:v>
                </c:pt>
                <c:pt idx="4291">
                  <c:v>40725</c:v>
                </c:pt>
                <c:pt idx="4292">
                  <c:v>40728</c:v>
                </c:pt>
                <c:pt idx="4293">
                  <c:v>40729</c:v>
                </c:pt>
                <c:pt idx="4294">
                  <c:v>40730</c:v>
                </c:pt>
                <c:pt idx="4295">
                  <c:v>40731</c:v>
                </c:pt>
                <c:pt idx="4296">
                  <c:v>40732</c:v>
                </c:pt>
                <c:pt idx="4297">
                  <c:v>40735</c:v>
                </c:pt>
                <c:pt idx="4298">
                  <c:v>40736</c:v>
                </c:pt>
                <c:pt idx="4299">
                  <c:v>40737</c:v>
                </c:pt>
                <c:pt idx="4300">
                  <c:v>40738</c:v>
                </c:pt>
                <c:pt idx="4301">
                  <c:v>40739</c:v>
                </c:pt>
                <c:pt idx="4302">
                  <c:v>40742</c:v>
                </c:pt>
                <c:pt idx="4303">
                  <c:v>40743</c:v>
                </c:pt>
                <c:pt idx="4304">
                  <c:v>40744</c:v>
                </c:pt>
                <c:pt idx="4305">
                  <c:v>40745</c:v>
                </c:pt>
                <c:pt idx="4306">
                  <c:v>40746</c:v>
                </c:pt>
                <c:pt idx="4307">
                  <c:v>40749</c:v>
                </c:pt>
                <c:pt idx="4308">
                  <c:v>40750</c:v>
                </c:pt>
                <c:pt idx="4309">
                  <c:v>40751</c:v>
                </c:pt>
                <c:pt idx="4310">
                  <c:v>40752</c:v>
                </c:pt>
                <c:pt idx="4311">
                  <c:v>40753</c:v>
                </c:pt>
                <c:pt idx="4312">
                  <c:v>40756</c:v>
                </c:pt>
                <c:pt idx="4313">
                  <c:v>40757</c:v>
                </c:pt>
                <c:pt idx="4314">
                  <c:v>40758</c:v>
                </c:pt>
                <c:pt idx="4315">
                  <c:v>40759</c:v>
                </c:pt>
                <c:pt idx="4316">
                  <c:v>40760</c:v>
                </c:pt>
                <c:pt idx="4317">
                  <c:v>40763</c:v>
                </c:pt>
                <c:pt idx="4318">
                  <c:v>40764</c:v>
                </c:pt>
                <c:pt idx="4319">
                  <c:v>40765</c:v>
                </c:pt>
                <c:pt idx="4320">
                  <c:v>40766</c:v>
                </c:pt>
                <c:pt idx="4321">
                  <c:v>40767</c:v>
                </c:pt>
                <c:pt idx="4322">
                  <c:v>40770</c:v>
                </c:pt>
                <c:pt idx="4323">
                  <c:v>40771</c:v>
                </c:pt>
                <c:pt idx="4324">
                  <c:v>40772</c:v>
                </c:pt>
                <c:pt idx="4325">
                  <c:v>40773</c:v>
                </c:pt>
                <c:pt idx="4326">
                  <c:v>40774</c:v>
                </c:pt>
                <c:pt idx="4327">
                  <c:v>40777</c:v>
                </c:pt>
                <c:pt idx="4328">
                  <c:v>40778</c:v>
                </c:pt>
                <c:pt idx="4329">
                  <c:v>40779</c:v>
                </c:pt>
                <c:pt idx="4330">
                  <c:v>40780</c:v>
                </c:pt>
                <c:pt idx="4331">
                  <c:v>40781</c:v>
                </c:pt>
                <c:pt idx="4332">
                  <c:v>40784</c:v>
                </c:pt>
                <c:pt idx="4333">
                  <c:v>40785</c:v>
                </c:pt>
                <c:pt idx="4334">
                  <c:v>40786</c:v>
                </c:pt>
                <c:pt idx="4335">
                  <c:v>40787</c:v>
                </c:pt>
                <c:pt idx="4336">
                  <c:v>40788</c:v>
                </c:pt>
                <c:pt idx="4337">
                  <c:v>40791</c:v>
                </c:pt>
                <c:pt idx="4338">
                  <c:v>40792</c:v>
                </c:pt>
                <c:pt idx="4339">
                  <c:v>40793</c:v>
                </c:pt>
                <c:pt idx="4340">
                  <c:v>40794</c:v>
                </c:pt>
                <c:pt idx="4341">
                  <c:v>40795</c:v>
                </c:pt>
                <c:pt idx="4342">
                  <c:v>40798</c:v>
                </c:pt>
                <c:pt idx="4343">
                  <c:v>40799</c:v>
                </c:pt>
                <c:pt idx="4344">
                  <c:v>40800</c:v>
                </c:pt>
                <c:pt idx="4345">
                  <c:v>40801</c:v>
                </c:pt>
                <c:pt idx="4346">
                  <c:v>40802</c:v>
                </c:pt>
                <c:pt idx="4347">
                  <c:v>40805</c:v>
                </c:pt>
                <c:pt idx="4348">
                  <c:v>40806</c:v>
                </c:pt>
                <c:pt idx="4349">
                  <c:v>40807</c:v>
                </c:pt>
                <c:pt idx="4350">
                  <c:v>40808</c:v>
                </c:pt>
                <c:pt idx="4351">
                  <c:v>40809</c:v>
                </c:pt>
                <c:pt idx="4352">
                  <c:v>40812</c:v>
                </c:pt>
                <c:pt idx="4353">
                  <c:v>40813</c:v>
                </c:pt>
                <c:pt idx="4354">
                  <c:v>40814</c:v>
                </c:pt>
                <c:pt idx="4355">
                  <c:v>40815</c:v>
                </c:pt>
                <c:pt idx="4356">
                  <c:v>40816</c:v>
                </c:pt>
                <c:pt idx="4357">
                  <c:v>40819</c:v>
                </c:pt>
                <c:pt idx="4358">
                  <c:v>40820</c:v>
                </c:pt>
                <c:pt idx="4359">
                  <c:v>40821</c:v>
                </c:pt>
                <c:pt idx="4360">
                  <c:v>40822</c:v>
                </c:pt>
                <c:pt idx="4361">
                  <c:v>40823</c:v>
                </c:pt>
                <c:pt idx="4362">
                  <c:v>40826</c:v>
                </c:pt>
                <c:pt idx="4363">
                  <c:v>40827</c:v>
                </c:pt>
                <c:pt idx="4364">
                  <c:v>40828</c:v>
                </c:pt>
                <c:pt idx="4365">
                  <c:v>40829</c:v>
                </c:pt>
                <c:pt idx="4366">
                  <c:v>40830</c:v>
                </c:pt>
                <c:pt idx="4367">
                  <c:v>40833</c:v>
                </c:pt>
                <c:pt idx="4368">
                  <c:v>40834</c:v>
                </c:pt>
                <c:pt idx="4369">
                  <c:v>40835</c:v>
                </c:pt>
                <c:pt idx="4370">
                  <c:v>40836</c:v>
                </c:pt>
                <c:pt idx="4371">
                  <c:v>40837</c:v>
                </c:pt>
                <c:pt idx="4372">
                  <c:v>40840</c:v>
                </c:pt>
                <c:pt idx="4373">
                  <c:v>40841</c:v>
                </c:pt>
                <c:pt idx="4374">
                  <c:v>40842</c:v>
                </c:pt>
                <c:pt idx="4375">
                  <c:v>40843</c:v>
                </c:pt>
                <c:pt idx="4376">
                  <c:v>40844</c:v>
                </c:pt>
                <c:pt idx="4377">
                  <c:v>40847</c:v>
                </c:pt>
                <c:pt idx="4378">
                  <c:v>40848</c:v>
                </c:pt>
                <c:pt idx="4379">
                  <c:v>40849</c:v>
                </c:pt>
                <c:pt idx="4380">
                  <c:v>40850</c:v>
                </c:pt>
                <c:pt idx="4381">
                  <c:v>40851</c:v>
                </c:pt>
                <c:pt idx="4382">
                  <c:v>40854</c:v>
                </c:pt>
                <c:pt idx="4383">
                  <c:v>40855</c:v>
                </c:pt>
                <c:pt idx="4384">
                  <c:v>40856</c:v>
                </c:pt>
                <c:pt idx="4385">
                  <c:v>40857</c:v>
                </c:pt>
                <c:pt idx="4386">
                  <c:v>40858</c:v>
                </c:pt>
                <c:pt idx="4387">
                  <c:v>40861</c:v>
                </c:pt>
                <c:pt idx="4388">
                  <c:v>40862</c:v>
                </c:pt>
                <c:pt idx="4389">
                  <c:v>40863</c:v>
                </c:pt>
                <c:pt idx="4390">
                  <c:v>40864</c:v>
                </c:pt>
                <c:pt idx="4391">
                  <c:v>40865</c:v>
                </c:pt>
                <c:pt idx="4392">
                  <c:v>40868</c:v>
                </c:pt>
                <c:pt idx="4393">
                  <c:v>40869</c:v>
                </c:pt>
                <c:pt idx="4394">
                  <c:v>40870</c:v>
                </c:pt>
                <c:pt idx="4395">
                  <c:v>40871</c:v>
                </c:pt>
                <c:pt idx="4396">
                  <c:v>40872</c:v>
                </c:pt>
                <c:pt idx="4397">
                  <c:v>40875</c:v>
                </c:pt>
                <c:pt idx="4398">
                  <c:v>40876</c:v>
                </c:pt>
                <c:pt idx="4399">
                  <c:v>40877</c:v>
                </c:pt>
                <c:pt idx="4400">
                  <c:v>40878</c:v>
                </c:pt>
                <c:pt idx="4401">
                  <c:v>40879</c:v>
                </c:pt>
                <c:pt idx="4402">
                  <c:v>40882</c:v>
                </c:pt>
                <c:pt idx="4403">
                  <c:v>40883</c:v>
                </c:pt>
                <c:pt idx="4404">
                  <c:v>40884</c:v>
                </c:pt>
                <c:pt idx="4405">
                  <c:v>40885</c:v>
                </c:pt>
                <c:pt idx="4406">
                  <c:v>40886</c:v>
                </c:pt>
                <c:pt idx="4407">
                  <c:v>40889</c:v>
                </c:pt>
                <c:pt idx="4408">
                  <c:v>40890</c:v>
                </c:pt>
                <c:pt idx="4409">
                  <c:v>40891</c:v>
                </c:pt>
                <c:pt idx="4410">
                  <c:v>40892</c:v>
                </c:pt>
                <c:pt idx="4411">
                  <c:v>40893</c:v>
                </c:pt>
                <c:pt idx="4412">
                  <c:v>40896</c:v>
                </c:pt>
                <c:pt idx="4413">
                  <c:v>40897</c:v>
                </c:pt>
                <c:pt idx="4414">
                  <c:v>40898</c:v>
                </c:pt>
                <c:pt idx="4415">
                  <c:v>40899</c:v>
                </c:pt>
                <c:pt idx="4416">
                  <c:v>40900</c:v>
                </c:pt>
                <c:pt idx="4417">
                  <c:v>40903</c:v>
                </c:pt>
                <c:pt idx="4418">
                  <c:v>40904</c:v>
                </c:pt>
                <c:pt idx="4419">
                  <c:v>40905</c:v>
                </c:pt>
                <c:pt idx="4420">
                  <c:v>40906</c:v>
                </c:pt>
                <c:pt idx="4421">
                  <c:v>40907</c:v>
                </c:pt>
                <c:pt idx="4422">
                  <c:v>40910</c:v>
                </c:pt>
                <c:pt idx="4423">
                  <c:v>40911</c:v>
                </c:pt>
                <c:pt idx="4424">
                  <c:v>40912</c:v>
                </c:pt>
                <c:pt idx="4425">
                  <c:v>40913</c:v>
                </c:pt>
                <c:pt idx="4426">
                  <c:v>40914</c:v>
                </c:pt>
                <c:pt idx="4427">
                  <c:v>40917</c:v>
                </c:pt>
                <c:pt idx="4428">
                  <c:v>40918</c:v>
                </c:pt>
                <c:pt idx="4429">
                  <c:v>40919</c:v>
                </c:pt>
                <c:pt idx="4430">
                  <c:v>40920</c:v>
                </c:pt>
                <c:pt idx="4431">
                  <c:v>40921</c:v>
                </c:pt>
                <c:pt idx="4432">
                  <c:v>40924</c:v>
                </c:pt>
                <c:pt idx="4433">
                  <c:v>40925</c:v>
                </c:pt>
                <c:pt idx="4434">
                  <c:v>40926</c:v>
                </c:pt>
                <c:pt idx="4435">
                  <c:v>40927</c:v>
                </c:pt>
                <c:pt idx="4436">
                  <c:v>40928</c:v>
                </c:pt>
                <c:pt idx="4437">
                  <c:v>40931</c:v>
                </c:pt>
                <c:pt idx="4438">
                  <c:v>40932</c:v>
                </c:pt>
                <c:pt idx="4439">
                  <c:v>40933</c:v>
                </c:pt>
                <c:pt idx="4440">
                  <c:v>40934</c:v>
                </c:pt>
                <c:pt idx="4441">
                  <c:v>40935</c:v>
                </c:pt>
                <c:pt idx="4442">
                  <c:v>40938</c:v>
                </c:pt>
                <c:pt idx="4443">
                  <c:v>40939</c:v>
                </c:pt>
                <c:pt idx="4444">
                  <c:v>40940</c:v>
                </c:pt>
                <c:pt idx="4445">
                  <c:v>40941</c:v>
                </c:pt>
                <c:pt idx="4446">
                  <c:v>40942</c:v>
                </c:pt>
                <c:pt idx="4447">
                  <c:v>40945</c:v>
                </c:pt>
                <c:pt idx="4448">
                  <c:v>40946</c:v>
                </c:pt>
                <c:pt idx="4449">
                  <c:v>40947</c:v>
                </c:pt>
                <c:pt idx="4450">
                  <c:v>40948</c:v>
                </c:pt>
                <c:pt idx="4451">
                  <c:v>40949</c:v>
                </c:pt>
                <c:pt idx="4452">
                  <c:v>40952</c:v>
                </c:pt>
                <c:pt idx="4453">
                  <c:v>40953</c:v>
                </c:pt>
                <c:pt idx="4454">
                  <c:v>40954</c:v>
                </c:pt>
                <c:pt idx="4455">
                  <c:v>40955</c:v>
                </c:pt>
                <c:pt idx="4456">
                  <c:v>40956</c:v>
                </c:pt>
                <c:pt idx="4457">
                  <c:v>40959</c:v>
                </c:pt>
                <c:pt idx="4458">
                  <c:v>40960</c:v>
                </c:pt>
                <c:pt idx="4459">
                  <c:v>40961</c:v>
                </c:pt>
                <c:pt idx="4460">
                  <c:v>40962</c:v>
                </c:pt>
                <c:pt idx="4461">
                  <c:v>40963</c:v>
                </c:pt>
                <c:pt idx="4462">
                  <c:v>40966</c:v>
                </c:pt>
                <c:pt idx="4463">
                  <c:v>40967</c:v>
                </c:pt>
                <c:pt idx="4464">
                  <c:v>40968</c:v>
                </c:pt>
                <c:pt idx="4465">
                  <c:v>40969</c:v>
                </c:pt>
                <c:pt idx="4466">
                  <c:v>40970</c:v>
                </c:pt>
                <c:pt idx="4467">
                  <c:v>40973</c:v>
                </c:pt>
                <c:pt idx="4468">
                  <c:v>40974</c:v>
                </c:pt>
                <c:pt idx="4469">
                  <c:v>40975</c:v>
                </c:pt>
                <c:pt idx="4470">
                  <c:v>40976</c:v>
                </c:pt>
                <c:pt idx="4471">
                  <c:v>40977</c:v>
                </c:pt>
                <c:pt idx="4472">
                  <c:v>40980</c:v>
                </c:pt>
                <c:pt idx="4473">
                  <c:v>40981</c:v>
                </c:pt>
                <c:pt idx="4474">
                  <c:v>40982</c:v>
                </c:pt>
                <c:pt idx="4475">
                  <c:v>40983</c:v>
                </c:pt>
                <c:pt idx="4476">
                  <c:v>40984</c:v>
                </c:pt>
                <c:pt idx="4477">
                  <c:v>40987</c:v>
                </c:pt>
                <c:pt idx="4478">
                  <c:v>40988</c:v>
                </c:pt>
                <c:pt idx="4479">
                  <c:v>40989</c:v>
                </c:pt>
                <c:pt idx="4480">
                  <c:v>40990</c:v>
                </c:pt>
                <c:pt idx="4481">
                  <c:v>40991</c:v>
                </c:pt>
                <c:pt idx="4482">
                  <c:v>40994</c:v>
                </c:pt>
                <c:pt idx="4483">
                  <c:v>40995</c:v>
                </c:pt>
                <c:pt idx="4484">
                  <c:v>40996</c:v>
                </c:pt>
                <c:pt idx="4485">
                  <c:v>40997</c:v>
                </c:pt>
                <c:pt idx="4486">
                  <c:v>40998</c:v>
                </c:pt>
                <c:pt idx="4487">
                  <c:v>41001</c:v>
                </c:pt>
                <c:pt idx="4488">
                  <c:v>41002</c:v>
                </c:pt>
                <c:pt idx="4489">
                  <c:v>41003</c:v>
                </c:pt>
                <c:pt idx="4490">
                  <c:v>41004</c:v>
                </c:pt>
                <c:pt idx="4491">
                  <c:v>41005</c:v>
                </c:pt>
                <c:pt idx="4492">
                  <c:v>41008</c:v>
                </c:pt>
                <c:pt idx="4493">
                  <c:v>41009</c:v>
                </c:pt>
                <c:pt idx="4494">
                  <c:v>41010</c:v>
                </c:pt>
                <c:pt idx="4495">
                  <c:v>41011</c:v>
                </c:pt>
                <c:pt idx="4496">
                  <c:v>41012</c:v>
                </c:pt>
                <c:pt idx="4497">
                  <c:v>41015</c:v>
                </c:pt>
                <c:pt idx="4498">
                  <c:v>41016</c:v>
                </c:pt>
                <c:pt idx="4499">
                  <c:v>41017</c:v>
                </c:pt>
                <c:pt idx="4500">
                  <c:v>41018</c:v>
                </c:pt>
                <c:pt idx="4501">
                  <c:v>41019</c:v>
                </c:pt>
                <c:pt idx="4502">
                  <c:v>41022</c:v>
                </c:pt>
                <c:pt idx="4503">
                  <c:v>41023</c:v>
                </c:pt>
                <c:pt idx="4504">
                  <c:v>41024</c:v>
                </c:pt>
                <c:pt idx="4505">
                  <c:v>41025</c:v>
                </c:pt>
                <c:pt idx="4506">
                  <c:v>41026</c:v>
                </c:pt>
                <c:pt idx="4507">
                  <c:v>41029</c:v>
                </c:pt>
                <c:pt idx="4508">
                  <c:v>41030</c:v>
                </c:pt>
                <c:pt idx="4509">
                  <c:v>41031</c:v>
                </c:pt>
                <c:pt idx="4510">
                  <c:v>41032</c:v>
                </c:pt>
                <c:pt idx="4511">
                  <c:v>41033</c:v>
                </c:pt>
                <c:pt idx="4512">
                  <c:v>41036</c:v>
                </c:pt>
                <c:pt idx="4513">
                  <c:v>41037</c:v>
                </c:pt>
                <c:pt idx="4514">
                  <c:v>41038</c:v>
                </c:pt>
                <c:pt idx="4515">
                  <c:v>41039</c:v>
                </c:pt>
                <c:pt idx="4516">
                  <c:v>41040</c:v>
                </c:pt>
                <c:pt idx="4517">
                  <c:v>41043</c:v>
                </c:pt>
                <c:pt idx="4518">
                  <c:v>41044</c:v>
                </c:pt>
                <c:pt idx="4519">
                  <c:v>41045</c:v>
                </c:pt>
                <c:pt idx="4520">
                  <c:v>41046</c:v>
                </c:pt>
                <c:pt idx="4521">
                  <c:v>41047</c:v>
                </c:pt>
                <c:pt idx="4522">
                  <c:v>41050</c:v>
                </c:pt>
                <c:pt idx="4523">
                  <c:v>41051</c:v>
                </c:pt>
                <c:pt idx="4524">
                  <c:v>41052</c:v>
                </c:pt>
                <c:pt idx="4525">
                  <c:v>41053</c:v>
                </c:pt>
                <c:pt idx="4526">
                  <c:v>41054</c:v>
                </c:pt>
                <c:pt idx="4527">
                  <c:v>41057</c:v>
                </c:pt>
                <c:pt idx="4528">
                  <c:v>41058</c:v>
                </c:pt>
                <c:pt idx="4529">
                  <c:v>41059</c:v>
                </c:pt>
                <c:pt idx="4530">
                  <c:v>41060</c:v>
                </c:pt>
                <c:pt idx="4531">
                  <c:v>41061</c:v>
                </c:pt>
                <c:pt idx="4532">
                  <c:v>41064</c:v>
                </c:pt>
                <c:pt idx="4533">
                  <c:v>41065</c:v>
                </c:pt>
                <c:pt idx="4534">
                  <c:v>41066</c:v>
                </c:pt>
                <c:pt idx="4535">
                  <c:v>41067</c:v>
                </c:pt>
                <c:pt idx="4536">
                  <c:v>41068</c:v>
                </c:pt>
                <c:pt idx="4537">
                  <c:v>41071</c:v>
                </c:pt>
                <c:pt idx="4538">
                  <c:v>41072</c:v>
                </c:pt>
                <c:pt idx="4539">
                  <c:v>41073</c:v>
                </c:pt>
                <c:pt idx="4540">
                  <c:v>41074</c:v>
                </c:pt>
                <c:pt idx="4541">
                  <c:v>41075</c:v>
                </c:pt>
                <c:pt idx="4542">
                  <c:v>41078</c:v>
                </c:pt>
                <c:pt idx="4543">
                  <c:v>41079</c:v>
                </c:pt>
                <c:pt idx="4544">
                  <c:v>41080</c:v>
                </c:pt>
                <c:pt idx="4545">
                  <c:v>41081</c:v>
                </c:pt>
                <c:pt idx="4546">
                  <c:v>41082</c:v>
                </c:pt>
                <c:pt idx="4547">
                  <c:v>41085</c:v>
                </c:pt>
                <c:pt idx="4548">
                  <c:v>41086</c:v>
                </c:pt>
                <c:pt idx="4549">
                  <c:v>41087</c:v>
                </c:pt>
                <c:pt idx="4550">
                  <c:v>41088</c:v>
                </c:pt>
                <c:pt idx="4551">
                  <c:v>41089</c:v>
                </c:pt>
                <c:pt idx="4552">
                  <c:v>41092</c:v>
                </c:pt>
                <c:pt idx="4553">
                  <c:v>41093</c:v>
                </c:pt>
                <c:pt idx="4554">
                  <c:v>41094</c:v>
                </c:pt>
                <c:pt idx="4555">
                  <c:v>41095</c:v>
                </c:pt>
                <c:pt idx="4556">
                  <c:v>41096</c:v>
                </c:pt>
                <c:pt idx="4557">
                  <c:v>41099</c:v>
                </c:pt>
                <c:pt idx="4558">
                  <c:v>41100</c:v>
                </c:pt>
                <c:pt idx="4559">
                  <c:v>41101</c:v>
                </c:pt>
                <c:pt idx="4560">
                  <c:v>41102</c:v>
                </c:pt>
                <c:pt idx="4561">
                  <c:v>41103</c:v>
                </c:pt>
                <c:pt idx="4562">
                  <c:v>41106</c:v>
                </c:pt>
                <c:pt idx="4563">
                  <c:v>41107</c:v>
                </c:pt>
                <c:pt idx="4564">
                  <c:v>41108</c:v>
                </c:pt>
                <c:pt idx="4565">
                  <c:v>41109</c:v>
                </c:pt>
                <c:pt idx="4566">
                  <c:v>41110</c:v>
                </c:pt>
                <c:pt idx="4567">
                  <c:v>41113</c:v>
                </c:pt>
                <c:pt idx="4568">
                  <c:v>41114</c:v>
                </c:pt>
                <c:pt idx="4569">
                  <c:v>41115</c:v>
                </c:pt>
                <c:pt idx="4570">
                  <c:v>41116</c:v>
                </c:pt>
                <c:pt idx="4571">
                  <c:v>41117</c:v>
                </c:pt>
                <c:pt idx="4572">
                  <c:v>41120</c:v>
                </c:pt>
                <c:pt idx="4573">
                  <c:v>41121</c:v>
                </c:pt>
                <c:pt idx="4574">
                  <c:v>41122</c:v>
                </c:pt>
                <c:pt idx="4575">
                  <c:v>41123</c:v>
                </c:pt>
                <c:pt idx="4576">
                  <c:v>41124</c:v>
                </c:pt>
                <c:pt idx="4577">
                  <c:v>41127</c:v>
                </c:pt>
                <c:pt idx="4578">
                  <c:v>41128</c:v>
                </c:pt>
                <c:pt idx="4579">
                  <c:v>41129</c:v>
                </c:pt>
                <c:pt idx="4580">
                  <c:v>41130</c:v>
                </c:pt>
                <c:pt idx="4581">
                  <c:v>41131</c:v>
                </c:pt>
                <c:pt idx="4582">
                  <c:v>41134</c:v>
                </c:pt>
                <c:pt idx="4583">
                  <c:v>41135</c:v>
                </c:pt>
                <c:pt idx="4584">
                  <c:v>41136</c:v>
                </c:pt>
                <c:pt idx="4585">
                  <c:v>41137</c:v>
                </c:pt>
                <c:pt idx="4586">
                  <c:v>41138</c:v>
                </c:pt>
                <c:pt idx="4587">
                  <c:v>41141</c:v>
                </c:pt>
                <c:pt idx="4588">
                  <c:v>41142</c:v>
                </c:pt>
                <c:pt idx="4589">
                  <c:v>41143</c:v>
                </c:pt>
                <c:pt idx="4590">
                  <c:v>41144</c:v>
                </c:pt>
                <c:pt idx="4591">
                  <c:v>41145</c:v>
                </c:pt>
                <c:pt idx="4592">
                  <c:v>41148</c:v>
                </c:pt>
                <c:pt idx="4593">
                  <c:v>41149</c:v>
                </c:pt>
                <c:pt idx="4594">
                  <c:v>41150</c:v>
                </c:pt>
                <c:pt idx="4595">
                  <c:v>41151</c:v>
                </c:pt>
                <c:pt idx="4596">
                  <c:v>41152</c:v>
                </c:pt>
                <c:pt idx="4597">
                  <c:v>41155</c:v>
                </c:pt>
                <c:pt idx="4598">
                  <c:v>41156</c:v>
                </c:pt>
                <c:pt idx="4599">
                  <c:v>41157</c:v>
                </c:pt>
                <c:pt idx="4600">
                  <c:v>41158</c:v>
                </c:pt>
                <c:pt idx="4601">
                  <c:v>41159</c:v>
                </c:pt>
                <c:pt idx="4602">
                  <c:v>41162</c:v>
                </c:pt>
                <c:pt idx="4603">
                  <c:v>41163</c:v>
                </c:pt>
                <c:pt idx="4604">
                  <c:v>41164</c:v>
                </c:pt>
                <c:pt idx="4605">
                  <c:v>41165</c:v>
                </c:pt>
                <c:pt idx="4606">
                  <c:v>41166</c:v>
                </c:pt>
                <c:pt idx="4607">
                  <c:v>41169</c:v>
                </c:pt>
                <c:pt idx="4608">
                  <c:v>41170</c:v>
                </c:pt>
                <c:pt idx="4609">
                  <c:v>41171</c:v>
                </c:pt>
                <c:pt idx="4610">
                  <c:v>41172</c:v>
                </c:pt>
                <c:pt idx="4611">
                  <c:v>41173</c:v>
                </c:pt>
                <c:pt idx="4612">
                  <c:v>41176</c:v>
                </c:pt>
                <c:pt idx="4613">
                  <c:v>41177</c:v>
                </c:pt>
                <c:pt idx="4614">
                  <c:v>41178</c:v>
                </c:pt>
                <c:pt idx="4615">
                  <c:v>41179</c:v>
                </c:pt>
                <c:pt idx="4616">
                  <c:v>41180</c:v>
                </c:pt>
                <c:pt idx="4617">
                  <c:v>41183</c:v>
                </c:pt>
                <c:pt idx="4618">
                  <c:v>41184</c:v>
                </c:pt>
                <c:pt idx="4619">
                  <c:v>41185</c:v>
                </c:pt>
                <c:pt idx="4620">
                  <c:v>41186</c:v>
                </c:pt>
                <c:pt idx="4621">
                  <c:v>41187</c:v>
                </c:pt>
                <c:pt idx="4622">
                  <c:v>41190</c:v>
                </c:pt>
                <c:pt idx="4623">
                  <c:v>41191</c:v>
                </c:pt>
                <c:pt idx="4624">
                  <c:v>41192</c:v>
                </c:pt>
                <c:pt idx="4625">
                  <c:v>41193</c:v>
                </c:pt>
                <c:pt idx="4626">
                  <c:v>41194</c:v>
                </c:pt>
                <c:pt idx="4627">
                  <c:v>41197</c:v>
                </c:pt>
                <c:pt idx="4628">
                  <c:v>41198</c:v>
                </c:pt>
                <c:pt idx="4629">
                  <c:v>41199</c:v>
                </c:pt>
                <c:pt idx="4630">
                  <c:v>41200</c:v>
                </c:pt>
                <c:pt idx="4631">
                  <c:v>41201</c:v>
                </c:pt>
                <c:pt idx="4632">
                  <c:v>41204</c:v>
                </c:pt>
                <c:pt idx="4633">
                  <c:v>41205</c:v>
                </c:pt>
                <c:pt idx="4634">
                  <c:v>41206</c:v>
                </c:pt>
                <c:pt idx="4635">
                  <c:v>41207</c:v>
                </c:pt>
                <c:pt idx="4636">
                  <c:v>41208</c:v>
                </c:pt>
                <c:pt idx="4637">
                  <c:v>41211</c:v>
                </c:pt>
                <c:pt idx="4638">
                  <c:v>41212</c:v>
                </c:pt>
                <c:pt idx="4639">
                  <c:v>41213</c:v>
                </c:pt>
                <c:pt idx="4640">
                  <c:v>41214</c:v>
                </c:pt>
                <c:pt idx="4641">
                  <c:v>41215</c:v>
                </c:pt>
                <c:pt idx="4642">
                  <c:v>41218</c:v>
                </c:pt>
                <c:pt idx="4643">
                  <c:v>41219</c:v>
                </c:pt>
                <c:pt idx="4644">
                  <c:v>41220</c:v>
                </c:pt>
                <c:pt idx="4645">
                  <c:v>41221</c:v>
                </c:pt>
                <c:pt idx="4646">
                  <c:v>41222</c:v>
                </c:pt>
                <c:pt idx="4647">
                  <c:v>41225</c:v>
                </c:pt>
                <c:pt idx="4648">
                  <c:v>41226</c:v>
                </c:pt>
                <c:pt idx="4649">
                  <c:v>41227</c:v>
                </c:pt>
                <c:pt idx="4650">
                  <c:v>41228</c:v>
                </c:pt>
                <c:pt idx="4651">
                  <c:v>41229</c:v>
                </c:pt>
                <c:pt idx="4652">
                  <c:v>41232</c:v>
                </c:pt>
                <c:pt idx="4653">
                  <c:v>41233</c:v>
                </c:pt>
                <c:pt idx="4654">
                  <c:v>41234</c:v>
                </c:pt>
                <c:pt idx="4655">
                  <c:v>41235</c:v>
                </c:pt>
                <c:pt idx="4656">
                  <c:v>41236</c:v>
                </c:pt>
                <c:pt idx="4657">
                  <c:v>41239</c:v>
                </c:pt>
                <c:pt idx="4658">
                  <c:v>41240</c:v>
                </c:pt>
                <c:pt idx="4659">
                  <c:v>41241</c:v>
                </c:pt>
                <c:pt idx="4660">
                  <c:v>41242</c:v>
                </c:pt>
                <c:pt idx="4661">
                  <c:v>41243</c:v>
                </c:pt>
                <c:pt idx="4662">
                  <c:v>41246</c:v>
                </c:pt>
                <c:pt idx="4663">
                  <c:v>41247</c:v>
                </c:pt>
                <c:pt idx="4664">
                  <c:v>41248</c:v>
                </c:pt>
                <c:pt idx="4665">
                  <c:v>41249</c:v>
                </c:pt>
                <c:pt idx="4666">
                  <c:v>41250</c:v>
                </c:pt>
                <c:pt idx="4667">
                  <c:v>41253</c:v>
                </c:pt>
                <c:pt idx="4668">
                  <c:v>41254</c:v>
                </c:pt>
                <c:pt idx="4669">
                  <c:v>41255</c:v>
                </c:pt>
                <c:pt idx="4670">
                  <c:v>41256</c:v>
                </c:pt>
                <c:pt idx="4671">
                  <c:v>41257</c:v>
                </c:pt>
                <c:pt idx="4672">
                  <c:v>41260</c:v>
                </c:pt>
                <c:pt idx="4673">
                  <c:v>41261</c:v>
                </c:pt>
                <c:pt idx="4674">
                  <c:v>41262</c:v>
                </c:pt>
                <c:pt idx="4675">
                  <c:v>41263</c:v>
                </c:pt>
                <c:pt idx="4676">
                  <c:v>41264</c:v>
                </c:pt>
                <c:pt idx="4677">
                  <c:v>41267</c:v>
                </c:pt>
                <c:pt idx="4678">
                  <c:v>41268</c:v>
                </c:pt>
                <c:pt idx="4679">
                  <c:v>41269</c:v>
                </c:pt>
                <c:pt idx="4680">
                  <c:v>41270</c:v>
                </c:pt>
                <c:pt idx="4681">
                  <c:v>41271</c:v>
                </c:pt>
                <c:pt idx="4682">
                  <c:v>41274</c:v>
                </c:pt>
                <c:pt idx="4683">
                  <c:v>41275</c:v>
                </c:pt>
                <c:pt idx="4684">
                  <c:v>41276</c:v>
                </c:pt>
                <c:pt idx="4685">
                  <c:v>41277</c:v>
                </c:pt>
                <c:pt idx="4686">
                  <c:v>41278</c:v>
                </c:pt>
                <c:pt idx="4687">
                  <c:v>41281</c:v>
                </c:pt>
                <c:pt idx="4688">
                  <c:v>41282</c:v>
                </c:pt>
                <c:pt idx="4689">
                  <c:v>41283</c:v>
                </c:pt>
                <c:pt idx="4690">
                  <c:v>41284</c:v>
                </c:pt>
                <c:pt idx="4691">
                  <c:v>41285</c:v>
                </c:pt>
                <c:pt idx="4692">
                  <c:v>41288</c:v>
                </c:pt>
                <c:pt idx="4693">
                  <c:v>41289</c:v>
                </c:pt>
                <c:pt idx="4694">
                  <c:v>41290</c:v>
                </c:pt>
                <c:pt idx="4695">
                  <c:v>41291</c:v>
                </c:pt>
                <c:pt idx="4696">
                  <c:v>41292</c:v>
                </c:pt>
                <c:pt idx="4697">
                  <c:v>41295</c:v>
                </c:pt>
                <c:pt idx="4698">
                  <c:v>41296</c:v>
                </c:pt>
                <c:pt idx="4699">
                  <c:v>41297</c:v>
                </c:pt>
                <c:pt idx="4700">
                  <c:v>41298</c:v>
                </c:pt>
                <c:pt idx="4701">
                  <c:v>41299</c:v>
                </c:pt>
                <c:pt idx="4702">
                  <c:v>41302</c:v>
                </c:pt>
                <c:pt idx="4703">
                  <c:v>41303</c:v>
                </c:pt>
                <c:pt idx="4704">
                  <c:v>41304</c:v>
                </c:pt>
                <c:pt idx="4705">
                  <c:v>41305</c:v>
                </c:pt>
                <c:pt idx="4706">
                  <c:v>41306</c:v>
                </c:pt>
                <c:pt idx="4707">
                  <c:v>41309</c:v>
                </c:pt>
                <c:pt idx="4708">
                  <c:v>41310</c:v>
                </c:pt>
                <c:pt idx="4709">
                  <c:v>41311</c:v>
                </c:pt>
                <c:pt idx="4710">
                  <c:v>41312</c:v>
                </c:pt>
                <c:pt idx="4711">
                  <c:v>41313</c:v>
                </c:pt>
                <c:pt idx="4712">
                  <c:v>41316</c:v>
                </c:pt>
                <c:pt idx="4713">
                  <c:v>41317</c:v>
                </c:pt>
                <c:pt idx="4714">
                  <c:v>41318</c:v>
                </c:pt>
                <c:pt idx="4715">
                  <c:v>41319</c:v>
                </c:pt>
                <c:pt idx="4716">
                  <c:v>41320</c:v>
                </c:pt>
                <c:pt idx="4717">
                  <c:v>41323</c:v>
                </c:pt>
                <c:pt idx="4718">
                  <c:v>41324</c:v>
                </c:pt>
                <c:pt idx="4719">
                  <c:v>41325</c:v>
                </c:pt>
                <c:pt idx="4720">
                  <c:v>41326</c:v>
                </c:pt>
                <c:pt idx="4721">
                  <c:v>41327</c:v>
                </c:pt>
                <c:pt idx="4722">
                  <c:v>41330</c:v>
                </c:pt>
                <c:pt idx="4723">
                  <c:v>41331</c:v>
                </c:pt>
                <c:pt idx="4724">
                  <c:v>41332</c:v>
                </c:pt>
                <c:pt idx="4725">
                  <c:v>41333</c:v>
                </c:pt>
                <c:pt idx="4726">
                  <c:v>41334</c:v>
                </c:pt>
                <c:pt idx="4727">
                  <c:v>41337</c:v>
                </c:pt>
                <c:pt idx="4728">
                  <c:v>41338</c:v>
                </c:pt>
                <c:pt idx="4729">
                  <c:v>41339</c:v>
                </c:pt>
                <c:pt idx="4730">
                  <c:v>41340</c:v>
                </c:pt>
                <c:pt idx="4731">
                  <c:v>41341</c:v>
                </c:pt>
                <c:pt idx="4732">
                  <c:v>41344</c:v>
                </c:pt>
                <c:pt idx="4733">
                  <c:v>41345</c:v>
                </c:pt>
                <c:pt idx="4734">
                  <c:v>41346</c:v>
                </c:pt>
                <c:pt idx="4735">
                  <c:v>41347</c:v>
                </c:pt>
                <c:pt idx="4736">
                  <c:v>41348</c:v>
                </c:pt>
                <c:pt idx="4737">
                  <c:v>41351</c:v>
                </c:pt>
                <c:pt idx="4738">
                  <c:v>41352</c:v>
                </c:pt>
                <c:pt idx="4739">
                  <c:v>41353</c:v>
                </c:pt>
                <c:pt idx="4740">
                  <c:v>41354</c:v>
                </c:pt>
                <c:pt idx="4741">
                  <c:v>41355</c:v>
                </c:pt>
                <c:pt idx="4742">
                  <c:v>41358</c:v>
                </c:pt>
                <c:pt idx="4743">
                  <c:v>41359</c:v>
                </c:pt>
                <c:pt idx="4744">
                  <c:v>41360</c:v>
                </c:pt>
                <c:pt idx="4745">
                  <c:v>41361</c:v>
                </c:pt>
                <c:pt idx="4746">
                  <c:v>41362</c:v>
                </c:pt>
                <c:pt idx="4747">
                  <c:v>41365</c:v>
                </c:pt>
                <c:pt idx="4748">
                  <c:v>41366</c:v>
                </c:pt>
                <c:pt idx="4749">
                  <c:v>41367</c:v>
                </c:pt>
                <c:pt idx="4750">
                  <c:v>41368</c:v>
                </c:pt>
                <c:pt idx="4751">
                  <c:v>41369</c:v>
                </c:pt>
                <c:pt idx="4752">
                  <c:v>41372</c:v>
                </c:pt>
                <c:pt idx="4753">
                  <c:v>41373</c:v>
                </c:pt>
                <c:pt idx="4754">
                  <c:v>41374</c:v>
                </c:pt>
                <c:pt idx="4755">
                  <c:v>41375</c:v>
                </c:pt>
                <c:pt idx="4756">
                  <c:v>41376</c:v>
                </c:pt>
                <c:pt idx="4757">
                  <c:v>41379</c:v>
                </c:pt>
                <c:pt idx="4758">
                  <c:v>41380</c:v>
                </c:pt>
                <c:pt idx="4759">
                  <c:v>41381</c:v>
                </c:pt>
                <c:pt idx="4760">
                  <c:v>41382</c:v>
                </c:pt>
                <c:pt idx="4761">
                  <c:v>41383</c:v>
                </c:pt>
                <c:pt idx="4762">
                  <c:v>41386</c:v>
                </c:pt>
                <c:pt idx="4763">
                  <c:v>41387</c:v>
                </c:pt>
                <c:pt idx="4764">
                  <c:v>41388</c:v>
                </c:pt>
                <c:pt idx="4765">
                  <c:v>41389</c:v>
                </c:pt>
                <c:pt idx="4766">
                  <c:v>41390</c:v>
                </c:pt>
                <c:pt idx="4767">
                  <c:v>41393</c:v>
                </c:pt>
                <c:pt idx="4768">
                  <c:v>41394</c:v>
                </c:pt>
                <c:pt idx="4769">
                  <c:v>41395</c:v>
                </c:pt>
                <c:pt idx="4770">
                  <c:v>41396</c:v>
                </c:pt>
                <c:pt idx="4771">
                  <c:v>41397</c:v>
                </c:pt>
                <c:pt idx="4772">
                  <c:v>41400</c:v>
                </c:pt>
                <c:pt idx="4773">
                  <c:v>41401</c:v>
                </c:pt>
                <c:pt idx="4774">
                  <c:v>41402</c:v>
                </c:pt>
                <c:pt idx="4775">
                  <c:v>41403</c:v>
                </c:pt>
                <c:pt idx="4776">
                  <c:v>41404</c:v>
                </c:pt>
                <c:pt idx="4777">
                  <c:v>41407</c:v>
                </c:pt>
                <c:pt idx="4778">
                  <c:v>41408</c:v>
                </c:pt>
                <c:pt idx="4779">
                  <c:v>41409</c:v>
                </c:pt>
                <c:pt idx="4780">
                  <c:v>41410</c:v>
                </c:pt>
                <c:pt idx="4781">
                  <c:v>41411</c:v>
                </c:pt>
                <c:pt idx="4782">
                  <c:v>41414</c:v>
                </c:pt>
                <c:pt idx="4783">
                  <c:v>41415</c:v>
                </c:pt>
                <c:pt idx="4784">
                  <c:v>41416</c:v>
                </c:pt>
                <c:pt idx="4785">
                  <c:v>41417</c:v>
                </c:pt>
                <c:pt idx="4786">
                  <c:v>41418</c:v>
                </c:pt>
                <c:pt idx="4787">
                  <c:v>41421</c:v>
                </c:pt>
                <c:pt idx="4788">
                  <c:v>41422</c:v>
                </c:pt>
                <c:pt idx="4789">
                  <c:v>41423</c:v>
                </c:pt>
                <c:pt idx="4790">
                  <c:v>41424</c:v>
                </c:pt>
                <c:pt idx="4791">
                  <c:v>41425</c:v>
                </c:pt>
                <c:pt idx="4792">
                  <c:v>41428</c:v>
                </c:pt>
                <c:pt idx="4793">
                  <c:v>41429</c:v>
                </c:pt>
                <c:pt idx="4794">
                  <c:v>41430</c:v>
                </c:pt>
                <c:pt idx="4795">
                  <c:v>41431</c:v>
                </c:pt>
                <c:pt idx="4796">
                  <c:v>41432</c:v>
                </c:pt>
                <c:pt idx="4797">
                  <c:v>41435</c:v>
                </c:pt>
                <c:pt idx="4798">
                  <c:v>41436</c:v>
                </c:pt>
                <c:pt idx="4799">
                  <c:v>41437</c:v>
                </c:pt>
                <c:pt idx="4800">
                  <c:v>41438</c:v>
                </c:pt>
                <c:pt idx="4801">
                  <c:v>41439</c:v>
                </c:pt>
                <c:pt idx="4802">
                  <c:v>41442</c:v>
                </c:pt>
                <c:pt idx="4803">
                  <c:v>41443</c:v>
                </c:pt>
                <c:pt idx="4804">
                  <c:v>41444</c:v>
                </c:pt>
                <c:pt idx="4805">
                  <c:v>41445</c:v>
                </c:pt>
                <c:pt idx="4806">
                  <c:v>41446</c:v>
                </c:pt>
                <c:pt idx="4807">
                  <c:v>41449</c:v>
                </c:pt>
                <c:pt idx="4808">
                  <c:v>41450</c:v>
                </c:pt>
                <c:pt idx="4809">
                  <c:v>41451</c:v>
                </c:pt>
                <c:pt idx="4810">
                  <c:v>41452</c:v>
                </c:pt>
                <c:pt idx="4811">
                  <c:v>41453</c:v>
                </c:pt>
                <c:pt idx="4812">
                  <c:v>41456</c:v>
                </c:pt>
                <c:pt idx="4813">
                  <c:v>41457</c:v>
                </c:pt>
                <c:pt idx="4814">
                  <c:v>41458</c:v>
                </c:pt>
                <c:pt idx="4815">
                  <c:v>41459</c:v>
                </c:pt>
                <c:pt idx="4816">
                  <c:v>41460</c:v>
                </c:pt>
                <c:pt idx="4817">
                  <c:v>41463</c:v>
                </c:pt>
                <c:pt idx="4818">
                  <c:v>41464</c:v>
                </c:pt>
                <c:pt idx="4819">
                  <c:v>41465</c:v>
                </c:pt>
                <c:pt idx="4820">
                  <c:v>41466</c:v>
                </c:pt>
                <c:pt idx="4821">
                  <c:v>41467</c:v>
                </c:pt>
                <c:pt idx="4822">
                  <c:v>41470</c:v>
                </c:pt>
                <c:pt idx="4823">
                  <c:v>41471</c:v>
                </c:pt>
                <c:pt idx="4824">
                  <c:v>41472</c:v>
                </c:pt>
                <c:pt idx="4825">
                  <c:v>41473</c:v>
                </c:pt>
                <c:pt idx="4826">
                  <c:v>41474</c:v>
                </c:pt>
                <c:pt idx="4827">
                  <c:v>41477</c:v>
                </c:pt>
                <c:pt idx="4828">
                  <c:v>41478</c:v>
                </c:pt>
                <c:pt idx="4829">
                  <c:v>41479</c:v>
                </c:pt>
                <c:pt idx="4830">
                  <c:v>41480</c:v>
                </c:pt>
                <c:pt idx="4831">
                  <c:v>41481</c:v>
                </c:pt>
                <c:pt idx="4832">
                  <c:v>41484</c:v>
                </c:pt>
                <c:pt idx="4833">
                  <c:v>41485</c:v>
                </c:pt>
                <c:pt idx="4834">
                  <c:v>41486</c:v>
                </c:pt>
                <c:pt idx="4835">
                  <c:v>41487</c:v>
                </c:pt>
                <c:pt idx="4836">
                  <c:v>41488</c:v>
                </c:pt>
                <c:pt idx="4837">
                  <c:v>41491</c:v>
                </c:pt>
                <c:pt idx="4838">
                  <c:v>41492</c:v>
                </c:pt>
                <c:pt idx="4839">
                  <c:v>41493</c:v>
                </c:pt>
                <c:pt idx="4840">
                  <c:v>41494</c:v>
                </c:pt>
                <c:pt idx="4841">
                  <c:v>41495</c:v>
                </c:pt>
                <c:pt idx="4842">
                  <c:v>41498</c:v>
                </c:pt>
                <c:pt idx="4843">
                  <c:v>41499</c:v>
                </c:pt>
                <c:pt idx="4844">
                  <c:v>41500</c:v>
                </c:pt>
                <c:pt idx="4845">
                  <c:v>41501</c:v>
                </c:pt>
                <c:pt idx="4846">
                  <c:v>41502</c:v>
                </c:pt>
                <c:pt idx="4847">
                  <c:v>41505</c:v>
                </c:pt>
                <c:pt idx="4848">
                  <c:v>41506</c:v>
                </c:pt>
                <c:pt idx="4849">
                  <c:v>41507</c:v>
                </c:pt>
                <c:pt idx="4850">
                  <c:v>41508</c:v>
                </c:pt>
                <c:pt idx="4851">
                  <c:v>41509</c:v>
                </c:pt>
                <c:pt idx="4852">
                  <c:v>41512</c:v>
                </c:pt>
                <c:pt idx="4853">
                  <c:v>41513</c:v>
                </c:pt>
                <c:pt idx="4854">
                  <c:v>41514</c:v>
                </c:pt>
                <c:pt idx="4855">
                  <c:v>41515</c:v>
                </c:pt>
                <c:pt idx="4856">
                  <c:v>41516</c:v>
                </c:pt>
                <c:pt idx="4857">
                  <c:v>41519</c:v>
                </c:pt>
                <c:pt idx="4858">
                  <c:v>41520</c:v>
                </c:pt>
                <c:pt idx="4859">
                  <c:v>41521</c:v>
                </c:pt>
                <c:pt idx="4860">
                  <c:v>41522</c:v>
                </c:pt>
                <c:pt idx="4861">
                  <c:v>41523</c:v>
                </c:pt>
                <c:pt idx="4862">
                  <c:v>41526</c:v>
                </c:pt>
                <c:pt idx="4863">
                  <c:v>41527</c:v>
                </c:pt>
                <c:pt idx="4864">
                  <c:v>41528</c:v>
                </c:pt>
                <c:pt idx="4865">
                  <c:v>41529</c:v>
                </c:pt>
                <c:pt idx="4866">
                  <c:v>41530</c:v>
                </c:pt>
                <c:pt idx="4867">
                  <c:v>41533</c:v>
                </c:pt>
                <c:pt idx="4868">
                  <c:v>41534</c:v>
                </c:pt>
                <c:pt idx="4869">
                  <c:v>41535</c:v>
                </c:pt>
                <c:pt idx="4870">
                  <c:v>41536</c:v>
                </c:pt>
                <c:pt idx="4871">
                  <c:v>41537</c:v>
                </c:pt>
                <c:pt idx="4872">
                  <c:v>41540</c:v>
                </c:pt>
                <c:pt idx="4873">
                  <c:v>41541</c:v>
                </c:pt>
                <c:pt idx="4874">
                  <c:v>41542</c:v>
                </c:pt>
                <c:pt idx="4875">
                  <c:v>41543</c:v>
                </c:pt>
                <c:pt idx="4876">
                  <c:v>41544</c:v>
                </c:pt>
                <c:pt idx="4877">
                  <c:v>41547</c:v>
                </c:pt>
                <c:pt idx="4878">
                  <c:v>41548</c:v>
                </c:pt>
                <c:pt idx="4879">
                  <c:v>41549</c:v>
                </c:pt>
                <c:pt idx="4880">
                  <c:v>41550</c:v>
                </c:pt>
                <c:pt idx="4881">
                  <c:v>41551</c:v>
                </c:pt>
                <c:pt idx="4882">
                  <c:v>41554</c:v>
                </c:pt>
                <c:pt idx="4883">
                  <c:v>41555</c:v>
                </c:pt>
                <c:pt idx="4884">
                  <c:v>41556</c:v>
                </c:pt>
                <c:pt idx="4885">
                  <c:v>41557</c:v>
                </c:pt>
                <c:pt idx="4886">
                  <c:v>41558</c:v>
                </c:pt>
                <c:pt idx="4887">
                  <c:v>41561</c:v>
                </c:pt>
                <c:pt idx="4888">
                  <c:v>41562</c:v>
                </c:pt>
                <c:pt idx="4889">
                  <c:v>41563</c:v>
                </c:pt>
                <c:pt idx="4890">
                  <c:v>41564</c:v>
                </c:pt>
                <c:pt idx="4891">
                  <c:v>41565</c:v>
                </c:pt>
                <c:pt idx="4892">
                  <c:v>41568</c:v>
                </c:pt>
                <c:pt idx="4893">
                  <c:v>41569</c:v>
                </c:pt>
                <c:pt idx="4894">
                  <c:v>41570</c:v>
                </c:pt>
                <c:pt idx="4895">
                  <c:v>41571</c:v>
                </c:pt>
                <c:pt idx="4896">
                  <c:v>41572</c:v>
                </c:pt>
                <c:pt idx="4897">
                  <c:v>41575</c:v>
                </c:pt>
                <c:pt idx="4898">
                  <c:v>41576</c:v>
                </c:pt>
                <c:pt idx="4899">
                  <c:v>41577</c:v>
                </c:pt>
                <c:pt idx="4900">
                  <c:v>41578</c:v>
                </c:pt>
                <c:pt idx="4901">
                  <c:v>41579</c:v>
                </c:pt>
                <c:pt idx="4902">
                  <c:v>41582</c:v>
                </c:pt>
                <c:pt idx="4903">
                  <c:v>41583</c:v>
                </c:pt>
                <c:pt idx="4904">
                  <c:v>41584</c:v>
                </c:pt>
                <c:pt idx="4905">
                  <c:v>41585</c:v>
                </c:pt>
                <c:pt idx="4906">
                  <c:v>41586</c:v>
                </c:pt>
                <c:pt idx="4907">
                  <c:v>41589</c:v>
                </c:pt>
                <c:pt idx="4908">
                  <c:v>41590</c:v>
                </c:pt>
                <c:pt idx="4909">
                  <c:v>41591</c:v>
                </c:pt>
                <c:pt idx="4910">
                  <c:v>41592</c:v>
                </c:pt>
                <c:pt idx="4911">
                  <c:v>41593</c:v>
                </c:pt>
                <c:pt idx="4912">
                  <c:v>41596</c:v>
                </c:pt>
                <c:pt idx="4913">
                  <c:v>41597</c:v>
                </c:pt>
                <c:pt idx="4914">
                  <c:v>41598</c:v>
                </c:pt>
                <c:pt idx="4915">
                  <c:v>41599</c:v>
                </c:pt>
                <c:pt idx="4916">
                  <c:v>41600</c:v>
                </c:pt>
                <c:pt idx="4917">
                  <c:v>41603</c:v>
                </c:pt>
                <c:pt idx="4918">
                  <c:v>41604</c:v>
                </c:pt>
                <c:pt idx="4919">
                  <c:v>41605</c:v>
                </c:pt>
                <c:pt idx="4920">
                  <c:v>41606</c:v>
                </c:pt>
                <c:pt idx="4921">
                  <c:v>41607</c:v>
                </c:pt>
                <c:pt idx="4922">
                  <c:v>41610</c:v>
                </c:pt>
                <c:pt idx="4923">
                  <c:v>41611</c:v>
                </c:pt>
                <c:pt idx="4924">
                  <c:v>41612</c:v>
                </c:pt>
                <c:pt idx="4925">
                  <c:v>41613</c:v>
                </c:pt>
                <c:pt idx="4926">
                  <c:v>41614</c:v>
                </c:pt>
                <c:pt idx="4927">
                  <c:v>41617</c:v>
                </c:pt>
                <c:pt idx="4928">
                  <c:v>41618</c:v>
                </c:pt>
                <c:pt idx="4929">
                  <c:v>41619</c:v>
                </c:pt>
                <c:pt idx="4930">
                  <c:v>41620</c:v>
                </c:pt>
                <c:pt idx="4931">
                  <c:v>41621</c:v>
                </c:pt>
                <c:pt idx="4932">
                  <c:v>41624</c:v>
                </c:pt>
                <c:pt idx="4933">
                  <c:v>41625</c:v>
                </c:pt>
                <c:pt idx="4934">
                  <c:v>41626</c:v>
                </c:pt>
                <c:pt idx="4935">
                  <c:v>41627</c:v>
                </c:pt>
                <c:pt idx="4936">
                  <c:v>41628</c:v>
                </c:pt>
                <c:pt idx="4937">
                  <c:v>41631</c:v>
                </c:pt>
                <c:pt idx="4938">
                  <c:v>41632</c:v>
                </c:pt>
                <c:pt idx="4939">
                  <c:v>41633</c:v>
                </c:pt>
                <c:pt idx="4940">
                  <c:v>41634</c:v>
                </c:pt>
                <c:pt idx="4941">
                  <c:v>41635</c:v>
                </c:pt>
                <c:pt idx="4942">
                  <c:v>41638</c:v>
                </c:pt>
                <c:pt idx="4943">
                  <c:v>41639</c:v>
                </c:pt>
                <c:pt idx="4944">
                  <c:v>41640</c:v>
                </c:pt>
                <c:pt idx="4945">
                  <c:v>41641</c:v>
                </c:pt>
                <c:pt idx="4946">
                  <c:v>41642</c:v>
                </c:pt>
                <c:pt idx="4947">
                  <c:v>41645</c:v>
                </c:pt>
                <c:pt idx="4948">
                  <c:v>41646</c:v>
                </c:pt>
                <c:pt idx="4949">
                  <c:v>41647</c:v>
                </c:pt>
                <c:pt idx="4950">
                  <c:v>41648</c:v>
                </c:pt>
                <c:pt idx="4951">
                  <c:v>41649</c:v>
                </c:pt>
                <c:pt idx="4952">
                  <c:v>41652</c:v>
                </c:pt>
                <c:pt idx="4953">
                  <c:v>41653</c:v>
                </c:pt>
                <c:pt idx="4954">
                  <c:v>41654</c:v>
                </c:pt>
                <c:pt idx="4955">
                  <c:v>41655</c:v>
                </c:pt>
                <c:pt idx="4956">
                  <c:v>41656</c:v>
                </c:pt>
                <c:pt idx="4957">
                  <c:v>41659</c:v>
                </c:pt>
                <c:pt idx="4958">
                  <c:v>41660</c:v>
                </c:pt>
                <c:pt idx="4959">
                  <c:v>41661</c:v>
                </c:pt>
                <c:pt idx="4960">
                  <c:v>41662</c:v>
                </c:pt>
                <c:pt idx="4961">
                  <c:v>41663</c:v>
                </c:pt>
                <c:pt idx="4962">
                  <c:v>41666</c:v>
                </c:pt>
                <c:pt idx="4963">
                  <c:v>41667</c:v>
                </c:pt>
                <c:pt idx="4964">
                  <c:v>41668</c:v>
                </c:pt>
                <c:pt idx="4965">
                  <c:v>41669</c:v>
                </c:pt>
                <c:pt idx="4966">
                  <c:v>41670</c:v>
                </c:pt>
                <c:pt idx="4967">
                  <c:v>41673</c:v>
                </c:pt>
                <c:pt idx="4968">
                  <c:v>41674</c:v>
                </c:pt>
                <c:pt idx="4969">
                  <c:v>41675</c:v>
                </c:pt>
                <c:pt idx="4970">
                  <c:v>41676</c:v>
                </c:pt>
                <c:pt idx="4971">
                  <c:v>41677</c:v>
                </c:pt>
                <c:pt idx="4972">
                  <c:v>41680</c:v>
                </c:pt>
                <c:pt idx="4973">
                  <c:v>41681</c:v>
                </c:pt>
                <c:pt idx="4974">
                  <c:v>41682</c:v>
                </c:pt>
                <c:pt idx="4975">
                  <c:v>41683</c:v>
                </c:pt>
                <c:pt idx="4976">
                  <c:v>41684</c:v>
                </c:pt>
                <c:pt idx="4977">
                  <c:v>41687</c:v>
                </c:pt>
                <c:pt idx="4978">
                  <c:v>41688</c:v>
                </c:pt>
                <c:pt idx="4979">
                  <c:v>41689</c:v>
                </c:pt>
                <c:pt idx="4980">
                  <c:v>41690</c:v>
                </c:pt>
                <c:pt idx="4981">
                  <c:v>41691</c:v>
                </c:pt>
                <c:pt idx="4982">
                  <c:v>41694</c:v>
                </c:pt>
                <c:pt idx="4983">
                  <c:v>41695</c:v>
                </c:pt>
                <c:pt idx="4984">
                  <c:v>41696</c:v>
                </c:pt>
                <c:pt idx="4985">
                  <c:v>41697</c:v>
                </c:pt>
                <c:pt idx="4986">
                  <c:v>41698</c:v>
                </c:pt>
                <c:pt idx="4987">
                  <c:v>41701</c:v>
                </c:pt>
                <c:pt idx="4988">
                  <c:v>41702</c:v>
                </c:pt>
                <c:pt idx="4989">
                  <c:v>41703</c:v>
                </c:pt>
                <c:pt idx="4990">
                  <c:v>41704</c:v>
                </c:pt>
                <c:pt idx="4991">
                  <c:v>41705</c:v>
                </c:pt>
                <c:pt idx="4992">
                  <c:v>41708</c:v>
                </c:pt>
                <c:pt idx="4993">
                  <c:v>41709</c:v>
                </c:pt>
                <c:pt idx="4994">
                  <c:v>41710</c:v>
                </c:pt>
                <c:pt idx="4995">
                  <c:v>41711</c:v>
                </c:pt>
                <c:pt idx="4996">
                  <c:v>41712</c:v>
                </c:pt>
                <c:pt idx="4997">
                  <c:v>41715</c:v>
                </c:pt>
                <c:pt idx="4998">
                  <c:v>41716</c:v>
                </c:pt>
                <c:pt idx="4999">
                  <c:v>41717</c:v>
                </c:pt>
                <c:pt idx="5000">
                  <c:v>41718</c:v>
                </c:pt>
                <c:pt idx="5001">
                  <c:v>41719</c:v>
                </c:pt>
                <c:pt idx="5002">
                  <c:v>41722</c:v>
                </c:pt>
                <c:pt idx="5003">
                  <c:v>41723</c:v>
                </c:pt>
                <c:pt idx="5004">
                  <c:v>41724</c:v>
                </c:pt>
                <c:pt idx="5005">
                  <c:v>41725</c:v>
                </c:pt>
                <c:pt idx="5006">
                  <c:v>41726</c:v>
                </c:pt>
                <c:pt idx="5007">
                  <c:v>41729</c:v>
                </c:pt>
                <c:pt idx="5008">
                  <c:v>41730</c:v>
                </c:pt>
                <c:pt idx="5009">
                  <c:v>41731</c:v>
                </c:pt>
                <c:pt idx="5010">
                  <c:v>41732</c:v>
                </c:pt>
                <c:pt idx="5011">
                  <c:v>41733</c:v>
                </c:pt>
                <c:pt idx="5012">
                  <c:v>41736</c:v>
                </c:pt>
                <c:pt idx="5013">
                  <c:v>41737</c:v>
                </c:pt>
                <c:pt idx="5014">
                  <c:v>41738</c:v>
                </c:pt>
                <c:pt idx="5015">
                  <c:v>41739</c:v>
                </c:pt>
                <c:pt idx="5016">
                  <c:v>41740</c:v>
                </c:pt>
                <c:pt idx="5017">
                  <c:v>41743</c:v>
                </c:pt>
                <c:pt idx="5018">
                  <c:v>41744</c:v>
                </c:pt>
                <c:pt idx="5019">
                  <c:v>41745</c:v>
                </c:pt>
                <c:pt idx="5020">
                  <c:v>41746</c:v>
                </c:pt>
                <c:pt idx="5021">
                  <c:v>41747</c:v>
                </c:pt>
                <c:pt idx="5022">
                  <c:v>41750</c:v>
                </c:pt>
                <c:pt idx="5023">
                  <c:v>41751</c:v>
                </c:pt>
                <c:pt idx="5024">
                  <c:v>41752</c:v>
                </c:pt>
                <c:pt idx="5025">
                  <c:v>41753</c:v>
                </c:pt>
                <c:pt idx="5026">
                  <c:v>41754</c:v>
                </c:pt>
                <c:pt idx="5027">
                  <c:v>41757</c:v>
                </c:pt>
                <c:pt idx="5028">
                  <c:v>41758</c:v>
                </c:pt>
                <c:pt idx="5029">
                  <c:v>41759</c:v>
                </c:pt>
                <c:pt idx="5030">
                  <c:v>41760</c:v>
                </c:pt>
                <c:pt idx="5031">
                  <c:v>41761</c:v>
                </c:pt>
                <c:pt idx="5032">
                  <c:v>41764</c:v>
                </c:pt>
                <c:pt idx="5033">
                  <c:v>41765</c:v>
                </c:pt>
                <c:pt idx="5034">
                  <c:v>41766</c:v>
                </c:pt>
                <c:pt idx="5035">
                  <c:v>41767</c:v>
                </c:pt>
                <c:pt idx="5036">
                  <c:v>41768</c:v>
                </c:pt>
                <c:pt idx="5037">
                  <c:v>41771</c:v>
                </c:pt>
                <c:pt idx="5038">
                  <c:v>41772</c:v>
                </c:pt>
                <c:pt idx="5039">
                  <c:v>41773</c:v>
                </c:pt>
                <c:pt idx="5040">
                  <c:v>41774</c:v>
                </c:pt>
                <c:pt idx="5041">
                  <c:v>41775</c:v>
                </c:pt>
                <c:pt idx="5042">
                  <c:v>41778</c:v>
                </c:pt>
                <c:pt idx="5043">
                  <c:v>41779</c:v>
                </c:pt>
                <c:pt idx="5044">
                  <c:v>41780</c:v>
                </c:pt>
                <c:pt idx="5045">
                  <c:v>41781</c:v>
                </c:pt>
                <c:pt idx="5046">
                  <c:v>41782</c:v>
                </c:pt>
                <c:pt idx="5047">
                  <c:v>41785</c:v>
                </c:pt>
                <c:pt idx="5048">
                  <c:v>41786</c:v>
                </c:pt>
                <c:pt idx="5049">
                  <c:v>41787</c:v>
                </c:pt>
                <c:pt idx="5050">
                  <c:v>41788</c:v>
                </c:pt>
                <c:pt idx="5051">
                  <c:v>41789</c:v>
                </c:pt>
                <c:pt idx="5052">
                  <c:v>41792</c:v>
                </c:pt>
                <c:pt idx="5053">
                  <c:v>41793</c:v>
                </c:pt>
                <c:pt idx="5054">
                  <c:v>41794</c:v>
                </c:pt>
                <c:pt idx="5055">
                  <c:v>41795</c:v>
                </c:pt>
                <c:pt idx="5056">
                  <c:v>41796</c:v>
                </c:pt>
                <c:pt idx="5057">
                  <c:v>41799</c:v>
                </c:pt>
                <c:pt idx="5058">
                  <c:v>41800</c:v>
                </c:pt>
                <c:pt idx="5059">
                  <c:v>41801</c:v>
                </c:pt>
                <c:pt idx="5060">
                  <c:v>41802</c:v>
                </c:pt>
                <c:pt idx="5061">
                  <c:v>41803</c:v>
                </c:pt>
                <c:pt idx="5062">
                  <c:v>41806</c:v>
                </c:pt>
                <c:pt idx="5063">
                  <c:v>41807</c:v>
                </c:pt>
                <c:pt idx="5064">
                  <c:v>41808</c:v>
                </c:pt>
                <c:pt idx="5065">
                  <c:v>41809</c:v>
                </c:pt>
                <c:pt idx="5066">
                  <c:v>41810</c:v>
                </c:pt>
                <c:pt idx="5067">
                  <c:v>41813</c:v>
                </c:pt>
                <c:pt idx="5068">
                  <c:v>41814</c:v>
                </c:pt>
                <c:pt idx="5069">
                  <c:v>41815</c:v>
                </c:pt>
                <c:pt idx="5070">
                  <c:v>41816</c:v>
                </c:pt>
                <c:pt idx="5071">
                  <c:v>41817</c:v>
                </c:pt>
                <c:pt idx="5072">
                  <c:v>41820</c:v>
                </c:pt>
                <c:pt idx="5073">
                  <c:v>41821</c:v>
                </c:pt>
                <c:pt idx="5074">
                  <c:v>41822</c:v>
                </c:pt>
                <c:pt idx="5075">
                  <c:v>41823</c:v>
                </c:pt>
                <c:pt idx="5076">
                  <c:v>41824</c:v>
                </c:pt>
                <c:pt idx="5077">
                  <c:v>41827</c:v>
                </c:pt>
                <c:pt idx="5078">
                  <c:v>41828</c:v>
                </c:pt>
                <c:pt idx="5079">
                  <c:v>41829</c:v>
                </c:pt>
                <c:pt idx="5080">
                  <c:v>41830</c:v>
                </c:pt>
                <c:pt idx="5081">
                  <c:v>41831</c:v>
                </c:pt>
                <c:pt idx="5082">
                  <c:v>41834</c:v>
                </c:pt>
                <c:pt idx="5083">
                  <c:v>41835</c:v>
                </c:pt>
                <c:pt idx="5084">
                  <c:v>41836</c:v>
                </c:pt>
                <c:pt idx="5085">
                  <c:v>41837</c:v>
                </c:pt>
                <c:pt idx="5086">
                  <c:v>41838</c:v>
                </c:pt>
                <c:pt idx="5087">
                  <c:v>41841</c:v>
                </c:pt>
                <c:pt idx="5088">
                  <c:v>41842</c:v>
                </c:pt>
                <c:pt idx="5089">
                  <c:v>41843</c:v>
                </c:pt>
                <c:pt idx="5090">
                  <c:v>41844</c:v>
                </c:pt>
                <c:pt idx="5091">
                  <c:v>41845</c:v>
                </c:pt>
                <c:pt idx="5092">
                  <c:v>41848</c:v>
                </c:pt>
                <c:pt idx="5093">
                  <c:v>41849</c:v>
                </c:pt>
                <c:pt idx="5094">
                  <c:v>41850</c:v>
                </c:pt>
                <c:pt idx="5095">
                  <c:v>41851</c:v>
                </c:pt>
                <c:pt idx="5096">
                  <c:v>41852</c:v>
                </c:pt>
                <c:pt idx="5097">
                  <c:v>41855</c:v>
                </c:pt>
                <c:pt idx="5098">
                  <c:v>41856</c:v>
                </c:pt>
                <c:pt idx="5099">
                  <c:v>41857</c:v>
                </c:pt>
                <c:pt idx="5100">
                  <c:v>41858</c:v>
                </c:pt>
                <c:pt idx="5101">
                  <c:v>41859</c:v>
                </c:pt>
                <c:pt idx="5102">
                  <c:v>41862</c:v>
                </c:pt>
                <c:pt idx="5103">
                  <c:v>41863</c:v>
                </c:pt>
                <c:pt idx="5104">
                  <c:v>41864</c:v>
                </c:pt>
                <c:pt idx="5105">
                  <c:v>41865</c:v>
                </c:pt>
                <c:pt idx="5106">
                  <c:v>41866</c:v>
                </c:pt>
                <c:pt idx="5107">
                  <c:v>41869</c:v>
                </c:pt>
                <c:pt idx="5108">
                  <c:v>41870</c:v>
                </c:pt>
                <c:pt idx="5109">
                  <c:v>41871</c:v>
                </c:pt>
                <c:pt idx="5110">
                  <c:v>41872</c:v>
                </c:pt>
                <c:pt idx="5111">
                  <c:v>41873</c:v>
                </c:pt>
                <c:pt idx="5112">
                  <c:v>41876</c:v>
                </c:pt>
                <c:pt idx="5113">
                  <c:v>41877</c:v>
                </c:pt>
                <c:pt idx="5114">
                  <c:v>41878</c:v>
                </c:pt>
                <c:pt idx="5115">
                  <c:v>41879</c:v>
                </c:pt>
                <c:pt idx="5116">
                  <c:v>41880</c:v>
                </c:pt>
                <c:pt idx="5117">
                  <c:v>41883</c:v>
                </c:pt>
                <c:pt idx="5118">
                  <c:v>41884</c:v>
                </c:pt>
                <c:pt idx="5119">
                  <c:v>41885</c:v>
                </c:pt>
                <c:pt idx="5120">
                  <c:v>41886</c:v>
                </c:pt>
                <c:pt idx="5121">
                  <c:v>41887</c:v>
                </c:pt>
                <c:pt idx="5122">
                  <c:v>41890</c:v>
                </c:pt>
                <c:pt idx="5123">
                  <c:v>41891</c:v>
                </c:pt>
                <c:pt idx="5124">
                  <c:v>41892</c:v>
                </c:pt>
                <c:pt idx="5125">
                  <c:v>41893</c:v>
                </c:pt>
                <c:pt idx="5126">
                  <c:v>41894</c:v>
                </c:pt>
                <c:pt idx="5127">
                  <c:v>41897</c:v>
                </c:pt>
                <c:pt idx="5128">
                  <c:v>41898</c:v>
                </c:pt>
                <c:pt idx="5129">
                  <c:v>41899</c:v>
                </c:pt>
                <c:pt idx="5130">
                  <c:v>41900</c:v>
                </c:pt>
                <c:pt idx="5131">
                  <c:v>41901</c:v>
                </c:pt>
                <c:pt idx="5132">
                  <c:v>41904</c:v>
                </c:pt>
                <c:pt idx="5133">
                  <c:v>41905</c:v>
                </c:pt>
                <c:pt idx="5134">
                  <c:v>41906</c:v>
                </c:pt>
                <c:pt idx="5135">
                  <c:v>41907</c:v>
                </c:pt>
                <c:pt idx="5136">
                  <c:v>41908</c:v>
                </c:pt>
                <c:pt idx="5137">
                  <c:v>41911</c:v>
                </c:pt>
                <c:pt idx="5138">
                  <c:v>41912</c:v>
                </c:pt>
                <c:pt idx="5139">
                  <c:v>41913</c:v>
                </c:pt>
                <c:pt idx="5140">
                  <c:v>41914</c:v>
                </c:pt>
                <c:pt idx="5141">
                  <c:v>41915</c:v>
                </c:pt>
                <c:pt idx="5142">
                  <c:v>41918</c:v>
                </c:pt>
                <c:pt idx="5143">
                  <c:v>41919</c:v>
                </c:pt>
                <c:pt idx="5144">
                  <c:v>41920</c:v>
                </c:pt>
                <c:pt idx="5145">
                  <c:v>41921</c:v>
                </c:pt>
                <c:pt idx="5146">
                  <c:v>41922</c:v>
                </c:pt>
                <c:pt idx="5147">
                  <c:v>41925</c:v>
                </c:pt>
                <c:pt idx="5148">
                  <c:v>41926</c:v>
                </c:pt>
                <c:pt idx="5149">
                  <c:v>41927</c:v>
                </c:pt>
                <c:pt idx="5150">
                  <c:v>41928</c:v>
                </c:pt>
                <c:pt idx="5151">
                  <c:v>41929</c:v>
                </c:pt>
                <c:pt idx="5152">
                  <c:v>41932</c:v>
                </c:pt>
                <c:pt idx="5153">
                  <c:v>41933</c:v>
                </c:pt>
                <c:pt idx="5154">
                  <c:v>41934</c:v>
                </c:pt>
                <c:pt idx="5155">
                  <c:v>41935</c:v>
                </c:pt>
                <c:pt idx="5156">
                  <c:v>41936</c:v>
                </c:pt>
                <c:pt idx="5157">
                  <c:v>41939</c:v>
                </c:pt>
                <c:pt idx="5158">
                  <c:v>41940</c:v>
                </c:pt>
                <c:pt idx="5159">
                  <c:v>41941</c:v>
                </c:pt>
                <c:pt idx="5160">
                  <c:v>41942</c:v>
                </c:pt>
                <c:pt idx="5161">
                  <c:v>41943</c:v>
                </c:pt>
                <c:pt idx="5162">
                  <c:v>41946</c:v>
                </c:pt>
                <c:pt idx="5163">
                  <c:v>41947</c:v>
                </c:pt>
                <c:pt idx="5164">
                  <c:v>41948</c:v>
                </c:pt>
                <c:pt idx="5165">
                  <c:v>41949</c:v>
                </c:pt>
                <c:pt idx="5166">
                  <c:v>41950</c:v>
                </c:pt>
                <c:pt idx="5167">
                  <c:v>41953</c:v>
                </c:pt>
                <c:pt idx="5168">
                  <c:v>41954</c:v>
                </c:pt>
                <c:pt idx="5169">
                  <c:v>41955</c:v>
                </c:pt>
                <c:pt idx="5170">
                  <c:v>41956</c:v>
                </c:pt>
                <c:pt idx="5171">
                  <c:v>41957</c:v>
                </c:pt>
                <c:pt idx="5172">
                  <c:v>41960</c:v>
                </c:pt>
                <c:pt idx="5173">
                  <c:v>41961</c:v>
                </c:pt>
                <c:pt idx="5174">
                  <c:v>41962</c:v>
                </c:pt>
                <c:pt idx="5175">
                  <c:v>41963</c:v>
                </c:pt>
                <c:pt idx="5176">
                  <c:v>41964</c:v>
                </c:pt>
                <c:pt idx="5177">
                  <c:v>41967</c:v>
                </c:pt>
                <c:pt idx="5178">
                  <c:v>41968</c:v>
                </c:pt>
                <c:pt idx="5179">
                  <c:v>41969</c:v>
                </c:pt>
                <c:pt idx="5180">
                  <c:v>41970</c:v>
                </c:pt>
                <c:pt idx="5181">
                  <c:v>41971</c:v>
                </c:pt>
                <c:pt idx="5182">
                  <c:v>41974</c:v>
                </c:pt>
                <c:pt idx="5183">
                  <c:v>41975</c:v>
                </c:pt>
                <c:pt idx="5184">
                  <c:v>41976</c:v>
                </c:pt>
                <c:pt idx="5185">
                  <c:v>41977</c:v>
                </c:pt>
                <c:pt idx="5186">
                  <c:v>41978</c:v>
                </c:pt>
                <c:pt idx="5187">
                  <c:v>41981</c:v>
                </c:pt>
                <c:pt idx="5188">
                  <c:v>41982</c:v>
                </c:pt>
                <c:pt idx="5189">
                  <c:v>41983</c:v>
                </c:pt>
                <c:pt idx="5190">
                  <c:v>41984</c:v>
                </c:pt>
                <c:pt idx="5191">
                  <c:v>41985</c:v>
                </c:pt>
                <c:pt idx="5192">
                  <c:v>41988</c:v>
                </c:pt>
                <c:pt idx="5193">
                  <c:v>41989</c:v>
                </c:pt>
                <c:pt idx="5194">
                  <c:v>41990</c:v>
                </c:pt>
                <c:pt idx="5195">
                  <c:v>41991</c:v>
                </c:pt>
                <c:pt idx="5196">
                  <c:v>41992</c:v>
                </c:pt>
                <c:pt idx="5197">
                  <c:v>41995</c:v>
                </c:pt>
                <c:pt idx="5198">
                  <c:v>41996</c:v>
                </c:pt>
                <c:pt idx="5199">
                  <c:v>41997</c:v>
                </c:pt>
                <c:pt idx="5200">
                  <c:v>41998</c:v>
                </c:pt>
                <c:pt idx="5201">
                  <c:v>41999</c:v>
                </c:pt>
                <c:pt idx="5202">
                  <c:v>42002</c:v>
                </c:pt>
                <c:pt idx="5203">
                  <c:v>42003</c:v>
                </c:pt>
                <c:pt idx="5204">
                  <c:v>42004</c:v>
                </c:pt>
                <c:pt idx="5205">
                  <c:v>42005</c:v>
                </c:pt>
                <c:pt idx="5206">
                  <c:v>42006</c:v>
                </c:pt>
                <c:pt idx="5207">
                  <c:v>42009</c:v>
                </c:pt>
                <c:pt idx="5208">
                  <c:v>42010</c:v>
                </c:pt>
                <c:pt idx="5209">
                  <c:v>42011</c:v>
                </c:pt>
                <c:pt idx="5210">
                  <c:v>42012</c:v>
                </c:pt>
                <c:pt idx="5211">
                  <c:v>42013</c:v>
                </c:pt>
                <c:pt idx="5212">
                  <c:v>42016</c:v>
                </c:pt>
                <c:pt idx="5213">
                  <c:v>42017</c:v>
                </c:pt>
                <c:pt idx="5214">
                  <c:v>42018</c:v>
                </c:pt>
                <c:pt idx="5215">
                  <c:v>42019</c:v>
                </c:pt>
                <c:pt idx="5216">
                  <c:v>42020</c:v>
                </c:pt>
                <c:pt idx="5217">
                  <c:v>42023</c:v>
                </c:pt>
                <c:pt idx="5218">
                  <c:v>42024</c:v>
                </c:pt>
                <c:pt idx="5219">
                  <c:v>42025</c:v>
                </c:pt>
                <c:pt idx="5220">
                  <c:v>42026</c:v>
                </c:pt>
                <c:pt idx="5221">
                  <c:v>42027</c:v>
                </c:pt>
                <c:pt idx="5222">
                  <c:v>42030</c:v>
                </c:pt>
                <c:pt idx="5223">
                  <c:v>42031</c:v>
                </c:pt>
                <c:pt idx="5224">
                  <c:v>42032</c:v>
                </c:pt>
                <c:pt idx="5225">
                  <c:v>42033</c:v>
                </c:pt>
                <c:pt idx="5226">
                  <c:v>42034</c:v>
                </c:pt>
                <c:pt idx="5227">
                  <c:v>42037</c:v>
                </c:pt>
                <c:pt idx="5228">
                  <c:v>42038</c:v>
                </c:pt>
                <c:pt idx="5229">
                  <c:v>42039</c:v>
                </c:pt>
                <c:pt idx="5230">
                  <c:v>42040</c:v>
                </c:pt>
                <c:pt idx="5231">
                  <c:v>42041</c:v>
                </c:pt>
                <c:pt idx="5232">
                  <c:v>42044</c:v>
                </c:pt>
                <c:pt idx="5233">
                  <c:v>42045</c:v>
                </c:pt>
                <c:pt idx="5234">
                  <c:v>42046</c:v>
                </c:pt>
                <c:pt idx="5235">
                  <c:v>42047</c:v>
                </c:pt>
                <c:pt idx="5236">
                  <c:v>42048</c:v>
                </c:pt>
                <c:pt idx="5237">
                  <c:v>42051</c:v>
                </c:pt>
                <c:pt idx="5238">
                  <c:v>42052</c:v>
                </c:pt>
                <c:pt idx="5239">
                  <c:v>42053</c:v>
                </c:pt>
                <c:pt idx="5240">
                  <c:v>42054</c:v>
                </c:pt>
                <c:pt idx="5241">
                  <c:v>42055</c:v>
                </c:pt>
                <c:pt idx="5242">
                  <c:v>42058</c:v>
                </c:pt>
                <c:pt idx="5243">
                  <c:v>42059</c:v>
                </c:pt>
                <c:pt idx="5244">
                  <c:v>42060</c:v>
                </c:pt>
                <c:pt idx="5245">
                  <c:v>42061</c:v>
                </c:pt>
                <c:pt idx="5246">
                  <c:v>42062</c:v>
                </c:pt>
                <c:pt idx="5247">
                  <c:v>42065</c:v>
                </c:pt>
                <c:pt idx="5248">
                  <c:v>42066</c:v>
                </c:pt>
                <c:pt idx="5249">
                  <c:v>42067</c:v>
                </c:pt>
                <c:pt idx="5250">
                  <c:v>42068</c:v>
                </c:pt>
                <c:pt idx="5251">
                  <c:v>42069</c:v>
                </c:pt>
                <c:pt idx="5252">
                  <c:v>42072</c:v>
                </c:pt>
                <c:pt idx="5253">
                  <c:v>42073</c:v>
                </c:pt>
                <c:pt idx="5254">
                  <c:v>42074</c:v>
                </c:pt>
                <c:pt idx="5255">
                  <c:v>42075</c:v>
                </c:pt>
                <c:pt idx="5256">
                  <c:v>42076</c:v>
                </c:pt>
                <c:pt idx="5257">
                  <c:v>42079</c:v>
                </c:pt>
                <c:pt idx="5258">
                  <c:v>42080</c:v>
                </c:pt>
                <c:pt idx="5259">
                  <c:v>42081</c:v>
                </c:pt>
                <c:pt idx="5260">
                  <c:v>42082</c:v>
                </c:pt>
                <c:pt idx="5261">
                  <c:v>42083</c:v>
                </c:pt>
                <c:pt idx="5262">
                  <c:v>42086</c:v>
                </c:pt>
                <c:pt idx="5263">
                  <c:v>42087</c:v>
                </c:pt>
                <c:pt idx="5264">
                  <c:v>42088</c:v>
                </c:pt>
                <c:pt idx="5265">
                  <c:v>42089</c:v>
                </c:pt>
                <c:pt idx="5266">
                  <c:v>42090</c:v>
                </c:pt>
                <c:pt idx="5267">
                  <c:v>42093</c:v>
                </c:pt>
                <c:pt idx="5268">
                  <c:v>42094</c:v>
                </c:pt>
                <c:pt idx="5269">
                  <c:v>42095</c:v>
                </c:pt>
                <c:pt idx="5270">
                  <c:v>42096</c:v>
                </c:pt>
                <c:pt idx="5271">
                  <c:v>42097</c:v>
                </c:pt>
                <c:pt idx="5272">
                  <c:v>42100</c:v>
                </c:pt>
                <c:pt idx="5273">
                  <c:v>42101</c:v>
                </c:pt>
                <c:pt idx="5274">
                  <c:v>42102</c:v>
                </c:pt>
                <c:pt idx="5275">
                  <c:v>42103</c:v>
                </c:pt>
                <c:pt idx="5276">
                  <c:v>42104</c:v>
                </c:pt>
                <c:pt idx="5277">
                  <c:v>42107</c:v>
                </c:pt>
                <c:pt idx="5278">
                  <c:v>42108</c:v>
                </c:pt>
                <c:pt idx="5279">
                  <c:v>42109</c:v>
                </c:pt>
                <c:pt idx="5280">
                  <c:v>42110</c:v>
                </c:pt>
                <c:pt idx="5281">
                  <c:v>42111</c:v>
                </c:pt>
                <c:pt idx="5282">
                  <c:v>42114</c:v>
                </c:pt>
                <c:pt idx="5283">
                  <c:v>42115</c:v>
                </c:pt>
                <c:pt idx="5284">
                  <c:v>42116</c:v>
                </c:pt>
                <c:pt idx="5285">
                  <c:v>42117</c:v>
                </c:pt>
                <c:pt idx="5286">
                  <c:v>42118</c:v>
                </c:pt>
                <c:pt idx="5287">
                  <c:v>42121</c:v>
                </c:pt>
                <c:pt idx="5288">
                  <c:v>42122</c:v>
                </c:pt>
                <c:pt idx="5289">
                  <c:v>42123</c:v>
                </c:pt>
                <c:pt idx="5290">
                  <c:v>42124</c:v>
                </c:pt>
                <c:pt idx="5291">
                  <c:v>42125</c:v>
                </c:pt>
                <c:pt idx="5292">
                  <c:v>42128</c:v>
                </c:pt>
                <c:pt idx="5293">
                  <c:v>42129</c:v>
                </c:pt>
                <c:pt idx="5294">
                  <c:v>42130</c:v>
                </c:pt>
                <c:pt idx="5295">
                  <c:v>42131</c:v>
                </c:pt>
                <c:pt idx="5296">
                  <c:v>42132</c:v>
                </c:pt>
                <c:pt idx="5297">
                  <c:v>42135</c:v>
                </c:pt>
                <c:pt idx="5298">
                  <c:v>42136</c:v>
                </c:pt>
                <c:pt idx="5299">
                  <c:v>42137</c:v>
                </c:pt>
                <c:pt idx="5300">
                  <c:v>42138</c:v>
                </c:pt>
                <c:pt idx="5301">
                  <c:v>42139</c:v>
                </c:pt>
                <c:pt idx="5302">
                  <c:v>42142</c:v>
                </c:pt>
                <c:pt idx="5303">
                  <c:v>42143</c:v>
                </c:pt>
                <c:pt idx="5304">
                  <c:v>42144</c:v>
                </c:pt>
                <c:pt idx="5305">
                  <c:v>42145</c:v>
                </c:pt>
                <c:pt idx="5306">
                  <c:v>42146</c:v>
                </c:pt>
                <c:pt idx="5307">
                  <c:v>42149</c:v>
                </c:pt>
                <c:pt idx="5308">
                  <c:v>42150</c:v>
                </c:pt>
                <c:pt idx="5309">
                  <c:v>42151</c:v>
                </c:pt>
                <c:pt idx="5310">
                  <c:v>42152</c:v>
                </c:pt>
                <c:pt idx="5311">
                  <c:v>42153</c:v>
                </c:pt>
                <c:pt idx="5312">
                  <c:v>42156</c:v>
                </c:pt>
                <c:pt idx="5313">
                  <c:v>42157</c:v>
                </c:pt>
                <c:pt idx="5314">
                  <c:v>42158</c:v>
                </c:pt>
                <c:pt idx="5315">
                  <c:v>42159</c:v>
                </c:pt>
                <c:pt idx="5316">
                  <c:v>42160</c:v>
                </c:pt>
                <c:pt idx="5317">
                  <c:v>42163</c:v>
                </c:pt>
                <c:pt idx="5318">
                  <c:v>42164</c:v>
                </c:pt>
                <c:pt idx="5319">
                  <c:v>42165</c:v>
                </c:pt>
                <c:pt idx="5320">
                  <c:v>42166</c:v>
                </c:pt>
                <c:pt idx="5321">
                  <c:v>42167</c:v>
                </c:pt>
                <c:pt idx="5322">
                  <c:v>42170</c:v>
                </c:pt>
                <c:pt idx="5323">
                  <c:v>42171</c:v>
                </c:pt>
                <c:pt idx="5324">
                  <c:v>42172</c:v>
                </c:pt>
                <c:pt idx="5325">
                  <c:v>42173</c:v>
                </c:pt>
                <c:pt idx="5326">
                  <c:v>42174</c:v>
                </c:pt>
                <c:pt idx="5327">
                  <c:v>42177</c:v>
                </c:pt>
                <c:pt idx="5328">
                  <c:v>42178</c:v>
                </c:pt>
                <c:pt idx="5329">
                  <c:v>42179</c:v>
                </c:pt>
                <c:pt idx="5330">
                  <c:v>42180</c:v>
                </c:pt>
                <c:pt idx="5331">
                  <c:v>42181</c:v>
                </c:pt>
                <c:pt idx="5332">
                  <c:v>42184</c:v>
                </c:pt>
                <c:pt idx="5333">
                  <c:v>42185</c:v>
                </c:pt>
                <c:pt idx="5334">
                  <c:v>42186</c:v>
                </c:pt>
                <c:pt idx="5335">
                  <c:v>42187</c:v>
                </c:pt>
                <c:pt idx="5336">
                  <c:v>42188</c:v>
                </c:pt>
                <c:pt idx="5337">
                  <c:v>42191</c:v>
                </c:pt>
                <c:pt idx="5338">
                  <c:v>42192</c:v>
                </c:pt>
                <c:pt idx="5339">
                  <c:v>42193</c:v>
                </c:pt>
                <c:pt idx="5340">
                  <c:v>42194</c:v>
                </c:pt>
                <c:pt idx="5341">
                  <c:v>42195</c:v>
                </c:pt>
                <c:pt idx="5342">
                  <c:v>42198</c:v>
                </c:pt>
                <c:pt idx="5343">
                  <c:v>42199</c:v>
                </c:pt>
                <c:pt idx="5344">
                  <c:v>42200</c:v>
                </c:pt>
                <c:pt idx="5345">
                  <c:v>42201</c:v>
                </c:pt>
                <c:pt idx="5346">
                  <c:v>42202</c:v>
                </c:pt>
                <c:pt idx="5347">
                  <c:v>42205</c:v>
                </c:pt>
                <c:pt idx="5348">
                  <c:v>42206</c:v>
                </c:pt>
                <c:pt idx="5349">
                  <c:v>42207</c:v>
                </c:pt>
                <c:pt idx="5350">
                  <c:v>42208</c:v>
                </c:pt>
                <c:pt idx="5351">
                  <c:v>42209</c:v>
                </c:pt>
                <c:pt idx="5352">
                  <c:v>42212</c:v>
                </c:pt>
                <c:pt idx="5353">
                  <c:v>42213</c:v>
                </c:pt>
                <c:pt idx="5354">
                  <c:v>42214</c:v>
                </c:pt>
                <c:pt idx="5355">
                  <c:v>42215</c:v>
                </c:pt>
                <c:pt idx="5356">
                  <c:v>42216</c:v>
                </c:pt>
                <c:pt idx="5357">
                  <c:v>42219</c:v>
                </c:pt>
                <c:pt idx="5358">
                  <c:v>42220</c:v>
                </c:pt>
                <c:pt idx="5359">
                  <c:v>42221</c:v>
                </c:pt>
                <c:pt idx="5360">
                  <c:v>42222</c:v>
                </c:pt>
                <c:pt idx="5361">
                  <c:v>42223</c:v>
                </c:pt>
                <c:pt idx="5362">
                  <c:v>42226</c:v>
                </c:pt>
                <c:pt idx="5363">
                  <c:v>42227</c:v>
                </c:pt>
                <c:pt idx="5364">
                  <c:v>42228</c:v>
                </c:pt>
                <c:pt idx="5365">
                  <c:v>42229</c:v>
                </c:pt>
                <c:pt idx="5366">
                  <c:v>42230</c:v>
                </c:pt>
                <c:pt idx="5367">
                  <c:v>42233</c:v>
                </c:pt>
                <c:pt idx="5368">
                  <c:v>42234</c:v>
                </c:pt>
                <c:pt idx="5369">
                  <c:v>42235</c:v>
                </c:pt>
                <c:pt idx="5370">
                  <c:v>42236</c:v>
                </c:pt>
                <c:pt idx="5371">
                  <c:v>42237</c:v>
                </c:pt>
                <c:pt idx="5372">
                  <c:v>42240</c:v>
                </c:pt>
                <c:pt idx="5373">
                  <c:v>42241</c:v>
                </c:pt>
                <c:pt idx="5374">
                  <c:v>42242</c:v>
                </c:pt>
                <c:pt idx="5375">
                  <c:v>42243</c:v>
                </c:pt>
                <c:pt idx="5376">
                  <c:v>42244</c:v>
                </c:pt>
                <c:pt idx="5377">
                  <c:v>42247</c:v>
                </c:pt>
                <c:pt idx="5378">
                  <c:v>42248</c:v>
                </c:pt>
                <c:pt idx="5379">
                  <c:v>42249</c:v>
                </c:pt>
                <c:pt idx="5380">
                  <c:v>42250</c:v>
                </c:pt>
                <c:pt idx="5381">
                  <c:v>42251</c:v>
                </c:pt>
                <c:pt idx="5382">
                  <c:v>42254</c:v>
                </c:pt>
                <c:pt idx="5383">
                  <c:v>42255</c:v>
                </c:pt>
                <c:pt idx="5384">
                  <c:v>42256</c:v>
                </c:pt>
                <c:pt idx="5385">
                  <c:v>42257</c:v>
                </c:pt>
                <c:pt idx="5386">
                  <c:v>42258</c:v>
                </c:pt>
                <c:pt idx="5387">
                  <c:v>42261</c:v>
                </c:pt>
                <c:pt idx="5388">
                  <c:v>42262</c:v>
                </c:pt>
                <c:pt idx="5389">
                  <c:v>42263</c:v>
                </c:pt>
                <c:pt idx="5390">
                  <c:v>42264</c:v>
                </c:pt>
                <c:pt idx="5391">
                  <c:v>42265</c:v>
                </c:pt>
                <c:pt idx="5392">
                  <c:v>42268</c:v>
                </c:pt>
                <c:pt idx="5393">
                  <c:v>42269</c:v>
                </c:pt>
                <c:pt idx="5394">
                  <c:v>42270</c:v>
                </c:pt>
                <c:pt idx="5395">
                  <c:v>42271</c:v>
                </c:pt>
                <c:pt idx="5396">
                  <c:v>42272</c:v>
                </c:pt>
                <c:pt idx="5397">
                  <c:v>42275</c:v>
                </c:pt>
                <c:pt idx="5398">
                  <c:v>42276</c:v>
                </c:pt>
                <c:pt idx="5399">
                  <c:v>42277</c:v>
                </c:pt>
                <c:pt idx="5400">
                  <c:v>42278</c:v>
                </c:pt>
                <c:pt idx="5401">
                  <c:v>42279</c:v>
                </c:pt>
                <c:pt idx="5402">
                  <c:v>42282</c:v>
                </c:pt>
                <c:pt idx="5403">
                  <c:v>42283</c:v>
                </c:pt>
                <c:pt idx="5404">
                  <c:v>42284</c:v>
                </c:pt>
                <c:pt idx="5405">
                  <c:v>42285</c:v>
                </c:pt>
                <c:pt idx="5406">
                  <c:v>42286</c:v>
                </c:pt>
                <c:pt idx="5407">
                  <c:v>42289</c:v>
                </c:pt>
                <c:pt idx="5408">
                  <c:v>42290</c:v>
                </c:pt>
                <c:pt idx="5409">
                  <c:v>42291</c:v>
                </c:pt>
                <c:pt idx="5410">
                  <c:v>42292</c:v>
                </c:pt>
                <c:pt idx="5411">
                  <c:v>42293</c:v>
                </c:pt>
                <c:pt idx="5412">
                  <c:v>42296</c:v>
                </c:pt>
                <c:pt idx="5413">
                  <c:v>42297</c:v>
                </c:pt>
                <c:pt idx="5414">
                  <c:v>42298</c:v>
                </c:pt>
                <c:pt idx="5415">
                  <c:v>42299</c:v>
                </c:pt>
                <c:pt idx="5416">
                  <c:v>42300</c:v>
                </c:pt>
                <c:pt idx="5417">
                  <c:v>42303</c:v>
                </c:pt>
                <c:pt idx="5418">
                  <c:v>42304</c:v>
                </c:pt>
                <c:pt idx="5419">
                  <c:v>42305</c:v>
                </c:pt>
                <c:pt idx="5420">
                  <c:v>42306</c:v>
                </c:pt>
                <c:pt idx="5421">
                  <c:v>42307</c:v>
                </c:pt>
                <c:pt idx="5422">
                  <c:v>42310</c:v>
                </c:pt>
                <c:pt idx="5423">
                  <c:v>42311</c:v>
                </c:pt>
                <c:pt idx="5424">
                  <c:v>42312</c:v>
                </c:pt>
                <c:pt idx="5425">
                  <c:v>42313</c:v>
                </c:pt>
                <c:pt idx="5426">
                  <c:v>42314</c:v>
                </c:pt>
                <c:pt idx="5427">
                  <c:v>42317</c:v>
                </c:pt>
                <c:pt idx="5428">
                  <c:v>42318</c:v>
                </c:pt>
                <c:pt idx="5429">
                  <c:v>42319</c:v>
                </c:pt>
                <c:pt idx="5430">
                  <c:v>42320</c:v>
                </c:pt>
                <c:pt idx="5431">
                  <c:v>42321</c:v>
                </c:pt>
                <c:pt idx="5432">
                  <c:v>42324</c:v>
                </c:pt>
                <c:pt idx="5433">
                  <c:v>42325</c:v>
                </c:pt>
                <c:pt idx="5434">
                  <c:v>42326</c:v>
                </c:pt>
                <c:pt idx="5435">
                  <c:v>42327</c:v>
                </c:pt>
                <c:pt idx="5436">
                  <c:v>42328</c:v>
                </c:pt>
                <c:pt idx="5437">
                  <c:v>42331</c:v>
                </c:pt>
                <c:pt idx="5438">
                  <c:v>42332</c:v>
                </c:pt>
                <c:pt idx="5439">
                  <c:v>42333</c:v>
                </c:pt>
                <c:pt idx="5440">
                  <c:v>42334</c:v>
                </c:pt>
                <c:pt idx="5441">
                  <c:v>42335</c:v>
                </c:pt>
                <c:pt idx="5442">
                  <c:v>42338</c:v>
                </c:pt>
                <c:pt idx="5443">
                  <c:v>42339</c:v>
                </c:pt>
                <c:pt idx="5444">
                  <c:v>42340</c:v>
                </c:pt>
                <c:pt idx="5445">
                  <c:v>42341</c:v>
                </c:pt>
                <c:pt idx="5446">
                  <c:v>42342</c:v>
                </c:pt>
                <c:pt idx="5447">
                  <c:v>42345</c:v>
                </c:pt>
                <c:pt idx="5448">
                  <c:v>42346</c:v>
                </c:pt>
                <c:pt idx="5449">
                  <c:v>42347</c:v>
                </c:pt>
                <c:pt idx="5450">
                  <c:v>42348</c:v>
                </c:pt>
                <c:pt idx="5451">
                  <c:v>42349</c:v>
                </c:pt>
                <c:pt idx="5452">
                  <c:v>42352</c:v>
                </c:pt>
                <c:pt idx="5453">
                  <c:v>42353</c:v>
                </c:pt>
                <c:pt idx="5454">
                  <c:v>42354</c:v>
                </c:pt>
                <c:pt idx="5455">
                  <c:v>42355</c:v>
                </c:pt>
                <c:pt idx="5456">
                  <c:v>42356</c:v>
                </c:pt>
                <c:pt idx="5457">
                  <c:v>42359</c:v>
                </c:pt>
                <c:pt idx="5458">
                  <c:v>42360</c:v>
                </c:pt>
                <c:pt idx="5459">
                  <c:v>42361</c:v>
                </c:pt>
                <c:pt idx="5460">
                  <c:v>42362</c:v>
                </c:pt>
                <c:pt idx="5461">
                  <c:v>42363</c:v>
                </c:pt>
                <c:pt idx="5462">
                  <c:v>42366</c:v>
                </c:pt>
                <c:pt idx="5463">
                  <c:v>42367</c:v>
                </c:pt>
                <c:pt idx="5464">
                  <c:v>42368</c:v>
                </c:pt>
                <c:pt idx="5465">
                  <c:v>42369</c:v>
                </c:pt>
                <c:pt idx="5466">
                  <c:v>42370</c:v>
                </c:pt>
                <c:pt idx="5467">
                  <c:v>42373</c:v>
                </c:pt>
                <c:pt idx="5468">
                  <c:v>42374</c:v>
                </c:pt>
                <c:pt idx="5469">
                  <c:v>42375</c:v>
                </c:pt>
                <c:pt idx="5470">
                  <c:v>42376</c:v>
                </c:pt>
                <c:pt idx="5471">
                  <c:v>42377</c:v>
                </c:pt>
                <c:pt idx="5472">
                  <c:v>42380</c:v>
                </c:pt>
                <c:pt idx="5473">
                  <c:v>42381</c:v>
                </c:pt>
                <c:pt idx="5474">
                  <c:v>42382</c:v>
                </c:pt>
                <c:pt idx="5475">
                  <c:v>42383</c:v>
                </c:pt>
                <c:pt idx="5476">
                  <c:v>42384</c:v>
                </c:pt>
                <c:pt idx="5477">
                  <c:v>42387</c:v>
                </c:pt>
                <c:pt idx="5478">
                  <c:v>42388</c:v>
                </c:pt>
                <c:pt idx="5479">
                  <c:v>42389</c:v>
                </c:pt>
                <c:pt idx="5480">
                  <c:v>42390</c:v>
                </c:pt>
                <c:pt idx="5481">
                  <c:v>42391</c:v>
                </c:pt>
                <c:pt idx="5482">
                  <c:v>42394</c:v>
                </c:pt>
                <c:pt idx="5483">
                  <c:v>42395</c:v>
                </c:pt>
                <c:pt idx="5484">
                  <c:v>42396</c:v>
                </c:pt>
                <c:pt idx="5485">
                  <c:v>42397</c:v>
                </c:pt>
                <c:pt idx="5486">
                  <c:v>42398</c:v>
                </c:pt>
                <c:pt idx="5487">
                  <c:v>42401</c:v>
                </c:pt>
                <c:pt idx="5488">
                  <c:v>42402</c:v>
                </c:pt>
                <c:pt idx="5489">
                  <c:v>42403</c:v>
                </c:pt>
                <c:pt idx="5490">
                  <c:v>42404</c:v>
                </c:pt>
                <c:pt idx="5491">
                  <c:v>42405</c:v>
                </c:pt>
                <c:pt idx="5492">
                  <c:v>42408</c:v>
                </c:pt>
                <c:pt idx="5493">
                  <c:v>42409</c:v>
                </c:pt>
                <c:pt idx="5494">
                  <c:v>42410</c:v>
                </c:pt>
                <c:pt idx="5495">
                  <c:v>42411</c:v>
                </c:pt>
                <c:pt idx="5496">
                  <c:v>42412</c:v>
                </c:pt>
                <c:pt idx="5497">
                  <c:v>42415</c:v>
                </c:pt>
                <c:pt idx="5498">
                  <c:v>42416</c:v>
                </c:pt>
                <c:pt idx="5499">
                  <c:v>42417</c:v>
                </c:pt>
                <c:pt idx="5500">
                  <c:v>42418</c:v>
                </c:pt>
                <c:pt idx="5501">
                  <c:v>42419</c:v>
                </c:pt>
                <c:pt idx="5502">
                  <c:v>42422</c:v>
                </c:pt>
                <c:pt idx="5503">
                  <c:v>42423</c:v>
                </c:pt>
                <c:pt idx="5504">
                  <c:v>42424</c:v>
                </c:pt>
                <c:pt idx="5505">
                  <c:v>42425</c:v>
                </c:pt>
                <c:pt idx="5506">
                  <c:v>42426</c:v>
                </c:pt>
                <c:pt idx="5507">
                  <c:v>42429</c:v>
                </c:pt>
                <c:pt idx="5508">
                  <c:v>42430</c:v>
                </c:pt>
                <c:pt idx="5509">
                  <c:v>42431</c:v>
                </c:pt>
                <c:pt idx="5510">
                  <c:v>42432</c:v>
                </c:pt>
                <c:pt idx="5511">
                  <c:v>42433</c:v>
                </c:pt>
                <c:pt idx="5512">
                  <c:v>42436</c:v>
                </c:pt>
                <c:pt idx="5513">
                  <c:v>42437</c:v>
                </c:pt>
                <c:pt idx="5514">
                  <c:v>42438</c:v>
                </c:pt>
                <c:pt idx="5515">
                  <c:v>42439</c:v>
                </c:pt>
                <c:pt idx="5516">
                  <c:v>42440</c:v>
                </c:pt>
                <c:pt idx="5517">
                  <c:v>42443</c:v>
                </c:pt>
                <c:pt idx="5518">
                  <c:v>42444</c:v>
                </c:pt>
                <c:pt idx="5519">
                  <c:v>42445</c:v>
                </c:pt>
                <c:pt idx="5520">
                  <c:v>42446</c:v>
                </c:pt>
                <c:pt idx="5521">
                  <c:v>42447</c:v>
                </c:pt>
                <c:pt idx="5522">
                  <c:v>42450</c:v>
                </c:pt>
                <c:pt idx="5523">
                  <c:v>42451</c:v>
                </c:pt>
                <c:pt idx="5524">
                  <c:v>42452</c:v>
                </c:pt>
                <c:pt idx="5525">
                  <c:v>42453</c:v>
                </c:pt>
                <c:pt idx="5526">
                  <c:v>42454</c:v>
                </c:pt>
                <c:pt idx="5527">
                  <c:v>42457</c:v>
                </c:pt>
                <c:pt idx="5528">
                  <c:v>42458</c:v>
                </c:pt>
                <c:pt idx="5529">
                  <c:v>42459</c:v>
                </c:pt>
                <c:pt idx="5530">
                  <c:v>42460</c:v>
                </c:pt>
                <c:pt idx="5531">
                  <c:v>42461</c:v>
                </c:pt>
                <c:pt idx="5532">
                  <c:v>42464</c:v>
                </c:pt>
                <c:pt idx="5533">
                  <c:v>42465</c:v>
                </c:pt>
                <c:pt idx="5534">
                  <c:v>42466</c:v>
                </c:pt>
                <c:pt idx="5535">
                  <c:v>42467</c:v>
                </c:pt>
                <c:pt idx="5536">
                  <c:v>42468</c:v>
                </c:pt>
                <c:pt idx="5537">
                  <c:v>42471</c:v>
                </c:pt>
                <c:pt idx="5538">
                  <c:v>42472</c:v>
                </c:pt>
                <c:pt idx="5539">
                  <c:v>42473</c:v>
                </c:pt>
                <c:pt idx="5540">
                  <c:v>42474</c:v>
                </c:pt>
                <c:pt idx="5541">
                  <c:v>42475</c:v>
                </c:pt>
                <c:pt idx="5542">
                  <c:v>42478</c:v>
                </c:pt>
                <c:pt idx="5543">
                  <c:v>42479</c:v>
                </c:pt>
                <c:pt idx="5544">
                  <c:v>42480</c:v>
                </c:pt>
                <c:pt idx="5545">
                  <c:v>42481</c:v>
                </c:pt>
                <c:pt idx="5546">
                  <c:v>42482</c:v>
                </c:pt>
                <c:pt idx="5547">
                  <c:v>42485</c:v>
                </c:pt>
                <c:pt idx="5548">
                  <c:v>42486</c:v>
                </c:pt>
                <c:pt idx="5549">
                  <c:v>42487</c:v>
                </c:pt>
                <c:pt idx="5550">
                  <c:v>42488</c:v>
                </c:pt>
                <c:pt idx="5551">
                  <c:v>42489</c:v>
                </c:pt>
                <c:pt idx="5552">
                  <c:v>42492</c:v>
                </c:pt>
                <c:pt idx="5553">
                  <c:v>42493</c:v>
                </c:pt>
                <c:pt idx="5554">
                  <c:v>42494</c:v>
                </c:pt>
                <c:pt idx="5555">
                  <c:v>42495</c:v>
                </c:pt>
                <c:pt idx="5556">
                  <c:v>42496</c:v>
                </c:pt>
                <c:pt idx="5557">
                  <c:v>42499</c:v>
                </c:pt>
                <c:pt idx="5558">
                  <c:v>42500</c:v>
                </c:pt>
                <c:pt idx="5559">
                  <c:v>42501</c:v>
                </c:pt>
                <c:pt idx="5560">
                  <c:v>42502</c:v>
                </c:pt>
                <c:pt idx="5561">
                  <c:v>42503</c:v>
                </c:pt>
                <c:pt idx="5562">
                  <c:v>42506</c:v>
                </c:pt>
                <c:pt idx="5563">
                  <c:v>42507</c:v>
                </c:pt>
                <c:pt idx="5564">
                  <c:v>42508</c:v>
                </c:pt>
                <c:pt idx="5565">
                  <c:v>42509</c:v>
                </c:pt>
                <c:pt idx="5566">
                  <c:v>42510</c:v>
                </c:pt>
                <c:pt idx="5567">
                  <c:v>42513</c:v>
                </c:pt>
                <c:pt idx="5568">
                  <c:v>42514</c:v>
                </c:pt>
                <c:pt idx="5569">
                  <c:v>42515</c:v>
                </c:pt>
                <c:pt idx="5570">
                  <c:v>42516</c:v>
                </c:pt>
                <c:pt idx="5571">
                  <c:v>42517</c:v>
                </c:pt>
                <c:pt idx="5572">
                  <c:v>42520</c:v>
                </c:pt>
                <c:pt idx="5573">
                  <c:v>42521</c:v>
                </c:pt>
                <c:pt idx="5574">
                  <c:v>42522</c:v>
                </c:pt>
                <c:pt idx="5575">
                  <c:v>42523</c:v>
                </c:pt>
                <c:pt idx="5576">
                  <c:v>42524</c:v>
                </c:pt>
                <c:pt idx="5577">
                  <c:v>42527</c:v>
                </c:pt>
                <c:pt idx="5578">
                  <c:v>42528</c:v>
                </c:pt>
                <c:pt idx="5579">
                  <c:v>42529</c:v>
                </c:pt>
                <c:pt idx="5580">
                  <c:v>42530</c:v>
                </c:pt>
                <c:pt idx="5581">
                  <c:v>42531</c:v>
                </c:pt>
                <c:pt idx="5582">
                  <c:v>42534</c:v>
                </c:pt>
                <c:pt idx="5583">
                  <c:v>42535</c:v>
                </c:pt>
                <c:pt idx="5584">
                  <c:v>42536</c:v>
                </c:pt>
                <c:pt idx="5585">
                  <c:v>42537</c:v>
                </c:pt>
                <c:pt idx="5586">
                  <c:v>42538</c:v>
                </c:pt>
                <c:pt idx="5587">
                  <c:v>42541</c:v>
                </c:pt>
                <c:pt idx="5588">
                  <c:v>42542</c:v>
                </c:pt>
                <c:pt idx="5589">
                  <c:v>42543</c:v>
                </c:pt>
                <c:pt idx="5590">
                  <c:v>42544</c:v>
                </c:pt>
                <c:pt idx="5591">
                  <c:v>42545</c:v>
                </c:pt>
                <c:pt idx="5592">
                  <c:v>42548</c:v>
                </c:pt>
                <c:pt idx="5593">
                  <c:v>42549</c:v>
                </c:pt>
                <c:pt idx="5594">
                  <c:v>42550</c:v>
                </c:pt>
                <c:pt idx="5595">
                  <c:v>42551</c:v>
                </c:pt>
                <c:pt idx="5596">
                  <c:v>42552</c:v>
                </c:pt>
                <c:pt idx="5597">
                  <c:v>42555</c:v>
                </c:pt>
                <c:pt idx="5598">
                  <c:v>42556</c:v>
                </c:pt>
                <c:pt idx="5599">
                  <c:v>42557</c:v>
                </c:pt>
                <c:pt idx="5600">
                  <c:v>42558</c:v>
                </c:pt>
                <c:pt idx="5601">
                  <c:v>42559</c:v>
                </c:pt>
                <c:pt idx="5602">
                  <c:v>42562</c:v>
                </c:pt>
                <c:pt idx="5603">
                  <c:v>42563</c:v>
                </c:pt>
                <c:pt idx="5604">
                  <c:v>42564</c:v>
                </c:pt>
                <c:pt idx="5605">
                  <c:v>42565</c:v>
                </c:pt>
                <c:pt idx="5606">
                  <c:v>42566</c:v>
                </c:pt>
                <c:pt idx="5607">
                  <c:v>42569</c:v>
                </c:pt>
                <c:pt idx="5608">
                  <c:v>42570</c:v>
                </c:pt>
                <c:pt idx="5609">
                  <c:v>42571</c:v>
                </c:pt>
                <c:pt idx="5610">
                  <c:v>42572</c:v>
                </c:pt>
                <c:pt idx="5611">
                  <c:v>42573</c:v>
                </c:pt>
                <c:pt idx="5612">
                  <c:v>42576</c:v>
                </c:pt>
                <c:pt idx="5613">
                  <c:v>42577</c:v>
                </c:pt>
                <c:pt idx="5614">
                  <c:v>42578</c:v>
                </c:pt>
                <c:pt idx="5615">
                  <c:v>42579</c:v>
                </c:pt>
                <c:pt idx="5616">
                  <c:v>42580</c:v>
                </c:pt>
                <c:pt idx="5617">
                  <c:v>42583</c:v>
                </c:pt>
                <c:pt idx="5618">
                  <c:v>42584</c:v>
                </c:pt>
                <c:pt idx="5619">
                  <c:v>42585</c:v>
                </c:pt>
                <c:pt idx="5620">
                  <c:v>42586</c:v>
                </c:pt>
                <c:pt idx="5621">
                  <c:v>42587</c:v>
                </c:pt>
                <c:pt idx="5622">
                  <c:v>42590</c:v>
                </c:pt>
                <c:pt idx="5623">
                  <c:v>42591</c:v>
                </c:pt>
                <c:pt idx="5624">
                  <c:v>42592</c:v>
                </c:pt>
                <c:pt idx="5625">
                  <c:v>42593</c:v>
                </c:pt>
                <c:pt idx="5626">
                  <c:v>42594</c:v>
                </c:pt>
                <c:pt idx="5627">
                  <c:v>42597</c:v>
                </c:pt>
                <c:pt idx="5628">
                  <c:v>42598</c:v>
                </c:pt>
                <c:pt idx="5629">
                  <c:v>42599</c:v>
                </c:pt>
                <c:pt idx="5630">
                  <c:v>42600</c:v>
                </c:pt>
                <c:pt idx="5631">
                  <c:v>42601</c:v>
                </c:pt>
                <c:pt idx="5632">
                  <c:v>42604</c:v>
                </c:pt>
                <c:pt idx="5633">
                  <c:v>42605</c:v>
                </c:pt>
                <c:pt idx="5634">
                  <c:v>42606</c:v>
                </c:pt>
                <c:pt idx="5635">
                  <c:v>42607</c:v>
                </c:pt>
                <c:pt idx="5636">
                  <c:v>42608</c:v>
                </c:pt>
                <c:pt idx="5637">
                  <c:v>42611</c:v>
                </c:pt>
                <c:pt idx="5638">
                  <c:v>42612</c:v>
                </c:pt>
                <c:pt idx="5639">
                  <c:v>42613</c:v>
                </c:pt>
                <c:pt idx="5640">
                  <c:v>42614</c:v>
                </c:pt>
                <c:pt idx="5641">
                  <c:v>42615</c:v>
                </c:pt>
                <c:pt idx="5642">
                  <c:v>42618</c:v>
                </c:pt>
                <c:pt idx="5643">
                  <c:v>42619</c:v>
                </c:pt>
                <c:pt idx="5644">
                  <c:v>42620</c:v>
                </c:pt>
                <c:pt idx="5645">
                  <c:v>42621</c:v>
                </c:pt>
                <c:pt idx="5646">
                  <c:v>42622</c:v>
                </c:pt>
                <c:pt idx="5647">
                  <c:v>42625</c:v>
                </c:pt>
                <c:pt idx="5648">
                  <c:v>42626</c:v>
                </c:pt>
                <c:pt idx="5649">
                  <c:v>42627</c:v>
                </c:pt>
                <c:pt idx="5650">
                  <c:v>42628</c:v>
                </c:pt>
                <c:pt idx="5651">
                  <c:v>42629</c:v>
                </c:pt>
                <c:pt idx="5652">
                  <c:v>42632</c:v>
                </c:pt>
                <c:pt idx="5653">
                  <c:v>42633</c:v>
                </c:pt>
                <c:pt idx="5654">
                  <c:v>42634</c:v>
                </c:pt>
                <c:pt idx="5655">
                  <c:v>42635</c:v>
                </c:pt>
                <c:pt idx="5656">
                  <c:v>42636</c:v>
                </c:pt>
                <c:pt idx="5657">
                  <c:v>42639</c:v>
                </c:pt>
                <c:pt idx="5658">
                  <c:v>42640</c:v>
                </c:pt>
                <c:pt idx="5659">
                  <c:v>42641</c:v>
                </c:pt>
                <c:pt idx="5660">
                  <c:v>42642</c:v>
                </c:pt>
                <c:pt idx="5661">
                  <c:v>42643</c:v>
                </c:pt>
                <c:pt idx="5662">
                  <c:v>42646</c:v>
                </c:pt>
                <c:pt idx="5663">
                  <c:v>42647</c:v>
                </c:pt>
                <c:pt idx="5664">
                  <c:v>42648</c:v>
                </c:pt>
                <c:pt idx="5665">
                  <c:v>42649</c:v>
                </c:pt>
                <c:pt idx="5666">
                  <c:v>42650</c:v>
                </c:pt>
                <c:pt idx="5667">
                  <c:v>42653</c:v>
                </c:pt>
                <c:pt idx="5668">
                  <c:v>42654</c:v>
                </c:pt>
                <c:pt idx="5669">
                  <c:v>42655</c:v>
                </c:pt>
                <c:pt idx="5670">
                  <c:v>42656</c:v>
                </c:pt>
                <c:pt idx="5671">
                  <c:v>42657</c:v>
                </c:pt>
                <c:pt idx="5672">
                  <c:v>42660</c:v>
                </c:pt>
                <c:pt idx="5673">
                  <c:v>42661</c:v>
                </c:pt>
                <c:pt idx="5674">
                  <c:v>42662</c:v>
                </c:pt>
                <c:pt idx="5675">
                  <c:v>42663</c:v>
                </c:pt>
                <c:pt idx="5676">
                  <c:v>42664</c:v>
                </c:pt>
                <c:pt idx="5677">
                  <c:v>42667</c:v>
                </c:pt>
                <c:pt idx="5678">
                  <c:v>42668</c:v>
                </c:pt>
                <c:pt idx="5679">
                  <c:v>42669</c:v>
                </c:pt>
                <c:pt idx="5680">
                  <c:v>42670</c:v>
                </c:pt>
                <c:pt idx="5681">
                  <c:v>42671</c:v>
                </c:pt>
                <c:pt idx="5682">
                  <c:v>42674</c:v>
                </c:pt>
                <c:pt idx="5683">
                  <c:v>42675</c:v>
                </c:pt>
                <c:pt idx="5684">
                  <c:v>42676</c:v>
                </c:pt>
                <c:pt idx="5685">
                  <c:v>42677</c:v>
                </c:pt>
                <c:pt idx="5686">
                  <c:v>42678</c:v>
                </c:pt>
                <c:pt idx="5687">
                  <c:v>42681</c:v>
                </c:pt>
                <c:pt idx="5688">
                  <c:v>42682</c:v>
                </c:pt>
                <c:pt idx="5689">
                  <c:v>42683</c:v>
                </c:pt>
                <c:pt idx="5690">
                  <c:v>42684</c:v>
                </c:pt>
                <c:pt idx="5691">
                  <c:v>42685</c:v>
                </c:pt>
                <c:pt idx="5692">
                  <c:v>42688</c:v>
                </c:pt>
                <c:pt idx="5693">
                  <c:v>42689</c:v>
                </c:pt>
                <c:pt idx="5694">
                  <c:v>42690</c:v>
                </c:pt>
                <c:pt idx="5695">
                  <c:v>42691</c:v>
                </c:pt>
                <c:pt idx="5696">
                  <c:v>42692</c:v>
                </c:pt>
                <c:pt idx="5697">
                  <c:v>42695</c:v>
                </c:pt>
                <c:pt idx="5698">
                  <c:v>42696</c:v>
                </c:pt>
                <c:pt idx="5699">
                  <c:v>42697</c:v>
                </c:pt>
                <c:pt idx="5700">
                  <c:v>42698</c:v>
                </c:pt>
                <c:pt idx="5701">
                  <c:v>42699</c:v>
                </c:pt>
                <c:pt idx="5702">
                  <c:v>42702</c:v>
                </c:pt>
                <c:pt idx="5703">
                  <c:v>42703</c:v>
                </c:pt>
                <c:pt idx="5704">
                  <c:v>42704</c:v>
                </c:pt>
                <c:pt idx="5705">
                  <c:v>42705</c:v>
                </c:pt>
                <c:pt idx="5706">
                  <c:v>42706</c:v>
                </c:pt>
                <c:pt idx="5707">
                  <c:v>42709</c:v>
                </c:pt>
                <c:pt idx="5708">
                  <c:v>42710</c:v>
                </c:pt>
                <c:pt idx="5709">
                  <c:v>42711</c:v>
                </c:pt>
                <c:pt idx="5710">
                  <c:v>42712</c:v>
                </c:pt>
                <c:pt idx="5711">
                  <c:v>42713</c:v>
                </c:pt>
                <c:pt idx="5712">
                  <c:v>42716</c:v>
                </c:pt>
                <c:pt idx="5713">
                  <c:v>42717</c:v>
                </c:pt>
                <c:pt idx="5714">
                  <c:v>42718</c:v>
                </c:pt>
                <c:pt idx="5715">
                  <c:v>42719</c:v>
                </c:pt>
                <c:pt idx="5716">
                  <c:v>42720</c:v>
                </c:pt>
                <c:pt idx="5717">
                  <c:v>42723</c:v>
                </c:pt>
                <c:pt idx="5718">
                  <c:v>42724</c:v>
                </c:pt>
                <c:pt idx="5719">
                  <c:v>42725</c:v>
                </c:pt>
                <c:pt idx="5720">
                  <c:v>42726</c:v>
                </c:pt>
                <c:pt idx="5721">
                  <c:v>42727</c:v>
                </c:pt>
                <c:pt idx="5722">
                  <c:v>42730</c:v>
                </c:pt>
                <c:pt idx="5723">
                  <c:v>42731</c:v>
                </c:pt>
                <c:pt idx="5724">
                  <c:v>42732</c:v>
                </c:pt>
                <c:pt idx="5725">
                  <c:v>42733</c:v>
                </c:pt>
                <c:pt idx="5726">
                  <c:v>42734</c:v>
                </c:pt>
                <c:pt idx="5727">
                  <c:v>42737</c:v>
                </c:pt>
                <c:pt idx="5728">
                  <c:v>42738</c:v>
                </c:pt>
                <c:pt idx="5729">
                  <c:v>42739</c:v>
                </c:pt>
                <c:pt idx="5730">
                  <c:v>42740</c:v>
                </c:pt>
                <c:pt idx="5731">
                  <c:v>42741</c:v>
                </c:pt>
                <c:pt idx="5732">
                  <c:v>42744</c:v>
                </c:pt>
                <c:pt idx="5733">
                  <c:v>42745</c:v>
                </c:pt>
                <c:pt idx="5734">
                  <c:v>42746</c:v>
                </c:pt>
                <c:pt idx="5735">
                  <c:v>42747</c:v>
                </c:pt>
                <c:pt idx="5736">
                  <c:v>42748</c:v>
                </c:pt>
                <c:pt idx="5737">
                  <c:v>42751</c:v>
                </c:pt>
                <c:pt idx="5738">
                  <c:v>42752</c:v>
                </c:pt>
                <c:pt idx="5739">
                  <c:v>42753</c:v>
                </c:pt>
                <c:pt idx="5740">
                  <c:v>42754</c:v>
                </c:pt>
                <c:pt idx="5741">
                  <c:v>42755</c:v>
                </c:pt>
                <c:pt idx="5742">
                  <c:v>42758</c:v>
                </c:pt>
                <c:pt idx="5743">
                  <c:v>42759</c:v>
                </c:pt>
                <c:pt idx="5744">
                  <c:v>42760</c:v>
                </c:pt>
                <c:pt idx="5745">
                  <c:v>42761</c:v>
                </c:pt>
                <c:pt idx="5746">
                  <c:v>42762</c:v>
                </c:pt>
                <c:pt idx="5747">
                  <c:v>42765</c:v>
                </c:pt>
                <c:pt idx="5748">
                  <c:v>42766</c:v>
                </c:pt>
                <c:pt idx="5749">
                  <c:v>42767</c:v>
                </c:pt>
                <c:pt idx="5750">
                  <c:v>42768</c:v>
                </c:pt>
                <c:pt idx="5751">
                  <c:v>42769</c:v>
                </c:pt>
                <c:pt idx="5752">
                  <c:v>42772</c:v>
                </c:pt>
                <c:pt idx="5753">
                  <c:v>42773</c:v>
                </c:pt>
                <c:pt idx="5754">
                  <c:v>42774</c:v>
                </c:pt>
                <c:pt idx="5755">
                  <c:v>42775</c:v>
                </c:pt>
                <c:pt idx="5756">
                  <c:v>42776</c:v>
                </c:pt>
                <c:pt idx="5757">
                  <c:v>42779</c:v>
                </c:pt>
                <c:pt idx="5758">
                  <c:v>42780</c:v>
                </c:pt>
                <c:pt idx="5759">
                  <c:v>42781</c:v>
                </c:pt>
                <c:pt idx="5760">
                  <c:v>42782</c:v>
                </c:pt>
                <c:pt idx="5761">
                  <c:v>42783</c:v>
                </c:pt>
                <c:pt idx="5762">
                  <c:v>42786</c:v>
                </c:pt>
                <c:pt idx="5763">
                  <c:v>42787</c:v>
                </c:pt>
                <c:pt idx="5764">
                  <c:v>42788</c:v>
                </c:pt>
                <c:pt idx="5765">
                  <c:v>42789</c:v>
                </c:pt>
                <c:pt idx="5766">
                  <c:v>42790</c:v>
                </c:pt>
                <c:pt idx="5767">
                  <c:v>42793</c:v>
                </c:pt>
                <c:pt idx="5768">
                  <c:v>42794</c:v>
                </c:pt>
                <c:pt idx="5769">
                  <c:v>42795</c:v>
                </c:pt>
                <c:pt idx="5770">
                  <c:v>42796</c:v>
                </c:pt>
                <c:pt idx="5771">
                  <c:v>42797</c:v>
                </c:pt>
                <c:pt idx="5772">
                  <c:v>42800</c:v>
                </c:pt>
                <c:pt idx="5773">
                  <c:v>42801</c:v>
                </c:pt>
                <c:pt idx="5774">
                  <c:v>42802</c:v>
                </c:pt>
                <c:pt idx="5775">
                  <c:v>42803</c:v>
                </c:pt>
                <c:pt idx="5776">
                  <c:v>42804</c:v>
                </c:pt>
                <c:pt idx="5777">
                  <c:v>42807</c:v>
                </c:pt>
                <c:pt idx="5778">
                  <c:v>42808</c:v>
                </c:pt>
                <c:pt idx="5779">
                  <c:v>42809</c:v>
                </c:pt>
                <c:pt idx="5780">
                  <c:v>42810</c:v>
                </c:pt>
                <c:pt idx="5781">
                  <c:v>42811</c:v>
                </c:pt>
                <c:pt idx="5782">
                  <c:v>42814</c:v>
                </c:pt>
                <c:pt idx="5783">
                  <c:v>42815</c:v>
                </c:pt>
                <c:pt idx="5784">
                  <c:v>42816</c:v>
                </c:pt>
                <c:pt idx="5785">
                  <c:v>42817</c:v>
                </c:pt>
                <c:pt idx="5786">
                  <c:v>42818</c:v>
                </c:pt>
                <c:pt idx="5787">
                  <c:v>42821</c:v>
                </c:pt>
                <c:pt idx="5788">
                  <c:v>42822</c:v>
                </c:pt>
                <c:pt idx="5789">
                  <c:v>42823</c:v>
                </c:pt>
                <c:pt idx="5790">
                  <c:v>42824</c:v>
                </c:pt>
                <c:pt idx="5791">
                  <c:v>42825</c:v>
                </c:pt>
                <c:pt idx="5792">
                  <c:v>42828</c:v>
                </c:pt>
                <c:pt idx="5793">
                  <c:v>42829</c:v>
                </c:pt>
                <c:pt idx="5794">
                  <c:v>42830</c:v>
                </c:pt>
                <c:pt idx="5795">
                  <c:v>42831</c:v>
                </c:pt>
                <c:pt idx="5796">
                  <c:v>42832</c:v>
                </c:pt>
                <c:pt idx="5797">
                  <c:v>42835</c:v>
                </c:pt>
                <c:pt idx="5798">
                  <c:v>42836</c:v>
                </c:pt>
                <c:pt idx="5799">
                  <c:v>42837</c:v>
                </c:pt>
                <c:pt idx="5800">
                  <c:v>42838</c:v>
                </c:pt>
                <c:pt idx="5801">
                  <c:v>42839</c:v>
                </c:pt>
                <c:pt idx="5802">
                  <c:v>42842</c:v>
                </c:pt>
                <c:pt idx="5803">
                  <c:v>42843</c:v>
                </c:pt>
                <c:pt idx="5804">
                  <c:v>42844</c:v>
                </c:pt>
                <c:pt idx="5805">
                  <c:v>42845</c:v>
                </c:pt>
                <c:pt idx="5806">
                  <c:v>42846</c:v>
                </c:pt>
                <c:pt idx="5807">
                  <c:v>42849</c:v>
                </c:pt>
                <c:pt idx="5808">
                  <c:v>42850</c:v>
                </c:pt>
                <c:pt idx="5809">
                  <c:v>42851</c:v>
                </c:pt>
                <c:pt idx="5810">
                  <c:v>42852</c:v>
                </c:pt>
                <c:pt idx="5811">
                  <c:v>42853</c:v>
                </c:pt>
                <c:pt idx="5812">
                  <c:v>42856</c:v>
                </c:pt>
                <c:pt idx="5813">
                  <c:v>42857</c:v>
                </c:pt>
                <c:pt idx="5814">
                  <c:v>42858</c:v>
                </c:pt>
                <c:pt idx="5815">
                  <c:v>42859</c:v>
                </c:pt>
                <c:pt idx="5816">
                  <c:v>42860</c:v>
                </c:pt>
                <c:pt idx="5817">
                  <c:v>42863</c:v>
                </c:pt>
                <c:pt idx="5818">
                  <c:v>42864</c:v>
                </c:pt>
                <c:pt idx="5819">
                  <c:v>42865</c:v>
                </c:pt>
                <c:pt idx="5820">
                  <c:v>42866</c:v>
                </c:pt>
                <c:pt idx="5821">
                  <c:v>42867</c:v>
                </c:pt>
                <c:pt idx="5822">
                  <c:v>42870</c:v>
                </c:pt>
                <c:pt idx="5823">
                  <c:v>42871</c:v>
                </c:pt>
                <c:pt idx="5824">
                  <c:v>42872</c:v>
                </c:pt>
                <c:pt idx="5825">
                  <c:v>42873</c:v>
                </c:pt>
                <c:pt idx="5826">
                  <c:v>42874</c:v>
                </c:pt>
                <c:pt idx="5827">
                  <c:v>42877</c:v>
                </c:pt>
                <c:pt idx="5828">
                  <c:v>42878</c:v>
                </c:pt>
                <c:pt idx="5829">
                  <c:v>42879</c:v>
                </c:pt>
                <c:pt idx="5830">
                  <c:v>42880</c:v>
                </c:pt>
                <c:pt idx="5831">
                  <c:v>42881</c:v>
                </c:pt>
                <c:pt idx="5832">
                  <c:v>42884</c:v>
                </c:pt>
                <c:pt idx="5833">
                  <c:v>42885</c:v>
                </c:pt>
                <c:pt idx="5834">
                  <c:v>42886</c:v>
                </c:pt>
                <c:pt idx="5835">
                  <c:v>42887</c:v>
                </c:pt>
                <c:pt idx="5836">
                  <c:v>42888</c:v>
                </c:pt>
                <c:pt idx="5837">
                  <c:v>42891</c:v>
                </c:pt>
                <c:pt idx="5838">
                  <c:v>42892</c:v>
                </c:pt>
                <c:pt idx="5839">
                  <c:v>42893</c:v>
                </c:pt>
                <c:pt idx="5840">
                  <c:v>42894</c:v>
                </c:pt>
                <c:pt idx="5841">
                  <c:v>42895</c:v>
                </c:pt>
                <c:pt idx="5842">
                  <c:v>42898</c:v>
                </c:pt>
                <c:pt idx="5843">
                  <c:v>42899</c:v>
                </c:pt>
                <c:pt idx="5844">
                  <c:v>42900</c:v>
                </c:pt>
                <c:pt idx="5845">
                  <c:v>42901</c:v>
                </c:pt>
                <c:pt idx="5846">
                  <c:v>42902</c:v>
                </c:pt>
                <c:pt idx="5847">
                  <c:v>42905</c:v>
                </c:pt>
                <c:pt idx="5848">
                  <c:v>42906</c:v>
                </c:pt>
                <c:pt idx="5849">
                  <c:v>42907</c:v>
                </c:pt>
                <c:pt idx="5850">
                  <c:v>42908</c:v>
                </c:pt>
                <c:pt idx="5851">
                  <c:v>42909</c:v>
                </c:pt>
                <c:pt idx="5852">
                  <c:v>42912</c:v>
                </c:pt>
                <c:pt idx="5853">
                  <c:v>42913</c:v>
                </c:pt>
                <c:pt idx="5854">
                  <c:v>42914</c:v>
                </c:pt>
                <c:pt idx="5855">
                  <c:v>42915</c:v>
                </c:pt>
                <c:pt idx="5856">
                  <c:v>42916</c:v>
                </c:pt>
                <c:pt idx="5857">
                  <c:v>42919</c:v>
                </c:pt>
                <c:pt idx="5858">
                  <c:v>42920</c:v>
                </c:pt>
                <c:pt idx="5859">
                  <c:v>42921</c:v>
                </c:pt>
                <c:pt idx="5860">
                  <c:v>42922</c:v>
                </c:pt>
                <c:pt idx="5861">
                  <c:v>42923</c:v>
                </c:pt>
                <c:pt idx="5862">
                  <c:v>42926</c:v>
                </c:pt>
                <c:pt idx="5863">
                  <c:v>42927</c:v>
                </c:pt>
                <c:pt idx="5864">
                  <c:v>42928</c:v>
                </c:pt>
                <c:pt idx="5865">
                  <c:v>42929</c:v>
                </c:pt>
                <c:pt idx="5866">
                  <c:v>42930</c:v>
                </c:pt>
                <c:pt idx="5867">
                  <c:v>42933</c:v>
                </c:pt>
                <c:pt idx="5868">
                  <c:v>42934</c:v>
                </c:pt>
                <c:pt idx="5869">
                  <c:v>42935</c:v>
                </c:pt>
                <c:pt idx="5870">
                  <c:v>42936</c:v>
                </c:pt>
                <c:pt idx="5871">
                  <c:v>42937</c:v>
                </c:pt>
                <c:pt idx="5872">
                  <c:v>42940</c:v>
                </c:pt>
                <c:pt idx="5873">
                  <c:v>42941</c:v>
                </c:pt>
                <c:pt idx="5874">
                  <c:v>42942</c:v>
                </c:pt>
                <c:pt idx="5875">
                  <c:v>42943</c:v>
                </c:pt>
                <c:pt idx="5876">
                  <c:v>42944</c:v>
                </c:pt>
                <c:pt idx="5877">
                  <c:v>42947</c:v>
                </c:pt>
                <c:pt idx="5878">
                  <c:v>42948</c:v>
                </c:pt>
                <c:pt idx="5879">
                  <c:v>42949</c:v>
                </c:pt>
                <c:pt idx="5880">
                  <c:v>42950</c:v>
                </c:pt>
                <c:pt idx="5881">
                  <c:v>42951</c:v>
                </c:pt>
                <c:pt idx="5882">
                  <c:v>42954</c:v>
                </c:pt>
                <c:pt idx="5883">
                  <c:v>42955</c:v>
                </c:pt>
                <c:pt idx="5884">
                  <c:v>42956</c:v>
                </c:pt>
                <c:pt idx="5885">
                  <c:v>42957</c:v>
                </c:pt>
                <c:pt idx="5886">
                  <c:v>42958</c:v>
                </c:pt>
                <c:pt idx="5887">
                  <c:v>42961</c:v>
                </c:pt>
                <c:pt idx="5888">
                  <c:v>42962</c:v>
                </c:pt>
                <c:pt idx="5889">
                  <c:v>42963</c:v>
                </c:pt>
                <c:pt idx="5890">
                  <c:v>42964</c:v>
                </c:pt>
                <c:pt idx="5891">
                  <c:v>42965</c:v>
                </c:pt>
                <c:pt idx="5892">
                  <c:v>42968</c:v>
                </c:pt>
                <c:pt idx="5893">
                  <c:v>42969</c:v>
                </c:pt>
                <c:pt idx="5894">
                  <c:v>42970</c:v>
                </c:pt>
                <c:pt idx="5895">
                  <c:v>42971</c:v>
                </c:pt>
                <c:pt idx="5896">
                  <c:v>42972</c:v>
                </c:pt>
                <c:pt idx="5897">
                  <c:v>42975</c:v>
                </c:pt>
                <c:pt idx="5898">
                  <c:v>42976</c:v>
                </c:pt>
                <c:pt idx="5899">
                  <c:v>42977</c:v>
                </c:pt>
                <c:pt idx="5900">
                  <c:v>42978</c:v>
                </c:pt>
                <c:pt idx="5901">
                  <c:v>42979</c:v>
                </c:pt>
                <c:pt idx="5902">
                  <c:v>42982</c:v>
                </c:pt>
                <c:pt idx="5903">
                  <c:v>42983</c:v>
                </c:pt>
                <c:pt idx="5904">
                  <c:v>42984</c:v>
                </c:pt>
                <c:pt idx="5905">
                  <c:v>42985</c:v>
                </c:pt>
                <c:pt idx="5906">
                  <c:v>42986</c:v>
                </c:pt>
                <c:pt idx="5907">
                  <c:v>42989</c:v>
                </c:pt>
                <c:pt idx="5908">
                  <c:v>42990</c:v>
                </c:pt>
                <c:pt idx="5909">
                  <c:v>42991</c:v>
                </c:pt>
                <c:pt idx="5910">
                  <c:v>42992</c:v>
                </c:pt>
                <c:pt idx="5911">
                  <c:v>42993</c:v>
                </c:pt>
                <c:pt idx="5912">
                  <c:v>42996</c:v>
                </c:pt>
                <c:pt idx="5913">
                  <c:v>42997</c:v>
                </c:pt>
                <c:pt idx="5914">
                  <c:v>42998</c:v>
                </c:pt>
                <c:pt idx="5915">
                  <c:v>42999</c:v>
                </c:pt>
                <c:pt idx="5916">
                  <c:v>43000</c:v>
                </c:pt>
                <c:pt idx="5917">
                  <c:v>43003</c:v>
                </c:pt>
                <c:pt idx="5918">
                  <c:v>43004</c:v>
                </c:pt>
                <c:pt idx="5919">
                  <c:v>43005</c:v>
                </c:pt>
                <c:pt idx="5920">
                  <c:v>43006</c:v>
                </c:pt>
                <c:pt idx="5921">
                  <c:v>43007</c:v>
                </c:pt>
                <c:pt idx="5922">
                  <c:v>43010</c:v>
                </c:pt>
                <c:pt idx="5923">
                  <c:v>43011</c:v>
                </c:pt>
                <c:pt idx="5924">
                  <c:v>43012</c:v>
                </c:pt>
                <c:pt idx="5925">
                  <c:v>43013</c:v>
                </c:pt>
                <c:pt idx="5926">
                  <c:v>43014</c:v>
                </c:pt>
                <c:pt idx="5927">
                  <c:v>43017</c:v>
                </c:pt>
                <c:pt idx="5928">
                  <c:v>43018</c:v>
                </c:pt>
                <c:pt idx="5929">
                  <c:v>43019</c:v>
                </c:pt>
                <c:pt idx="5930">
                  <c:v>43020</c:v>
                </c:pt>
                <c:pt idx="5931">
                  <c:v>43021</c:v>
                </c:pt>
                <c:pt idx="5932">
                  <c:v>43024</c:v>
                </c:pt>
                <c:pt idx="5933">
                  <c:v>43025</c:v>
                </c:pt>
                <c:pt idx="5934">
                  <c:v>43026</c:v>
                </c:pt>
                <c:pt idx="5935">
                  <c:v>43027</c:v>
                </c:pt>
                <c:pt idx="5936">
                  <c:v>43028</c:v>
                </c:pt>
                <c:pt idx="5937">
                  <c:v>43031</c:v>
                </c:pt>
                <c:pt idx="5938">
                  <c:v>43032</c:v>
                </c:pt>
                <c:pt idx="5939">
                  <c:v>43033</c:v>
                </c:pt>
                <c:pt idx="5940">
                  <c:v>43034</c:v>
                </c:pt>
                <c:pt idx="5941">
                  <c:v>43035</c:v>
                </c:pt>
                <c:pt idx="5942">
                  <c:v>43038</c:v>
                </c:pt>
                <c:pt idx="5943">
                  <c:v>43039</c:v>
                </c:pt>
                <c:pt idx="5944">
                  <c:v>43040</c:v>
                </c:pt>
                <c:pt idx="5945">
                  <c:v>43041</c:v>
                </c:pt>
                <c:pt idx="5946">
                  <c:v>43042</c:v>
                </c:pt>
                <c:pt idx="5947">
                  <c:v>43045</c:v>
                </c:pt>
                <c:pt idx="5948">
                  <c:v>43046</c:v>
                </c:pt>
                <c:pt idx="5949">
                  <c:v>43047</c:v>
                </c:pt>
                <c:pt idx="5950">
                  <c:v>43048</c:v>
                </c:pt>
                <c:pt idx="5951">
                  <c:v>43049</c:v>
                </c:pt>
                <c:pt idx="5952">
                  <c:v>43052</c:v>
                </c:pt>
                <c:pt idx="5953">
                  <c:v>43053</c:v>
                </c:pt>
                <c:pt idx="5954">
                  <c:v>43054</c:v>
                </c:pt>
                <c:pt idx="5955">
                  <c:v>43055</c:v>
                </c:pt>
                <c:pt idx="5956">
                  <c:v>43056</c:v>
                </c:pt>
                <c:pt idx="5957">
                  <c:v>43059</c:v>
                </c:pt>
                <c:pt idx="5958">
                  <c:v>43060</c:v>
                </c:pt>
                <c:pt idx="5959">
                  <c:v>43061</c:v>
                </c:pt>
                <c:pt idx="5960">
                  <c:v>43062</c:v>
                </c:pt>
                <c:pt idx="5961">
                  <c:v>43063</c:v>
                </c:pt>
                <c:pt idx="5962">
                  <c:v>43066</c:v>
                </c:pt>
                <c:pt idx="5963">
                  <c:v>43067</c:v>
                </c:pt>
                <c:pt idx="5964">
                  <c:v>43068</c:v>
                </c:pt>
                <c:pt idx="5965">
                  <c:v>43069</c:v>
                </c:pt>
                <c:pt idx="5966">
                  <c:v>43070</c:v>
                </c:pt>
                <c:pt idx="5967">
                  <c:v>43073</c:v>
                </c:pt>
                <c:pt idx="5968">
                  <c:v>43074</c:v>
                </c:pt>
                <c:pt idx="5969">
                  <c:v>43075</c:v>
                </c:pt>
                <c:pt idx="5970">
                  <c:v>43076</c:v>
                </c:pt>
                <c:pt idx="5971">
                  <c:v>43077</c:v>
                </c:pt>
                <c:pt idx="5972">
                  <c:v>43080</c:v>
                </c:pt>
                <c:pt idx="5973">
                  <c:v>43081</c:v>
                </c:pt>
                <c:pt idx="5974">
                  <c:v>43082</c:v>
                </c:pt>
                <c:pt idx="5975">
                  <c:v>43083</c:v>
                </c:pt>
                <c:pt idx="5976">
                  <c:v>43084</c:v>
                </c:pt>
                <c:pt idx="5977">
                  <c:v>43087</c:v>
                </c:pt>
                <c:pt idx="5978">
                  <c:v>43088</c:v>
                </c:pt>
                <c:pt idx="5979">
                  <c:v>43089</c:v>
                </c:pt>
                <c:pt idx="5980">
                  <c:v>43090</c:v>
                </c:pt>
                <c:pt idx="5981">
                  <c:v>43091</c:v>
                </c:pt>
                <c:pt idx="5982">
                  <c:v>43094</c:v>
                </c:pt>
                <c:pt idx="5983">
                  <c:v>43095</c:v>
                </c:pt>
                <c:pt idx="5984">
                  <c:v>43096</c:v>
                </c:pt>
                <c:pt idx="5985">
                  <c:v>43097</c:v>
                </c:pt>
                <c:pt idx="5986">
                  <c:v>43098</c:v>
                </c:pt>
                <c:pt idx="5987">
                  <c:v>43101</c:v>
                </c:pt>
                <c:pt idx="5988">
                  <c:v>43102</c:v>
                </c:pt>
                <c:pt idx="5989">
                  <c:v>43103</c:v>
                </c:pt>
                <c:pt idx="5990">
                  <c:v>43104</c:v>
                </c:pt>
                <c:pt idx="5991">
                  <c:v>43105</c:v>
                </c:pt>
                <c:pt idx="5992">
                  <c:v>43108</c:v>
                </c:pt>
                <c:pt idx="5993">
                  <c:v>43109</c:v>
                </c:pt>
                <c:pt idx="5994">
                  <c:v>43110</c:v>
                </c:pt>
                <c:pt idx="5995">
                  <c:v>43111</c:v>
                </c:pt>
                <c:pt idx="5996">
                  <c:v>43112</c:v>
                </c:pt>
                <c:pt idx="5997">
                  <c:v>43115</c:v>
                </c:pt>
                <c:pt idx="5998">
                  <c:v>43116</c:v>
                </c:pt>
                <c:pt idx="5999">
                  <c:v>43117</c:v>
                </c:pt>
                <c:pt idx="6000">
                  <c:v>43118</c:v>
                </c:pt>
                <c:pt idx="6001">
                  <c:v>43119</c:v>
                </c:pt>
                <c:pt idx="6002">
                  <c:v>43122</c:v>
                </c:pt>
                <c:pt idx="6003">
                  <c:v>43123</c:v>
                </c:pt>
                <c:pt idx="6004">
                  <c:v>43124</c:v>
                </c:pt>
                <c:pt idx="6005">
                  <c:v>43125</c:v>
                </c:pt>
                <c:pt idx="6006">
                  <c:v>43126</c:v>
                </c:pt>
                <c:pt idx="6007">
                  <c:v>43129</c:v>
                </c:pt>
                <c:pt idx="6008">
                  <c:v>43130</c:v>
                </c:pt>
                <c:pt idx="6009">
                  <c:v>43131</c:v>
                </c:pt>
                <c:pt idx="6010">
                  <c:v>43132</c:v>
                </c:pt>
                <c:pt idx="6011">
                  <c:v>43133</c:v>
                </c:pt>
                <c:pt idx="6012">
                  <c:v>43136</c:v>
                </c:pt>
                <c:pt idx="6013">
                  <c:v>43137</c:v>
                </c:pt>
                <c:pt idx="6014">
                  <c:v>43138</c:v>
                </c:pt>
                <c:pt idx="6015">
                  <c:v>43139</c:v>
                </c:pt>
                <c:pt idx="6016">
                  <c:v>43140</c:v>
                </c:pt>
                <c:pt idx="6017">
                  <c:v>43143</c:v>
                </c:pt>
                <c:pt idx="6018">
                  <c:v>43144</c:v>
                </c:pt>
                <c:pt idx="6019">
                  <c:v>43145</c:v>
                </c:pt>
                <c:pt idx="6020">
                  <c:v>43146</c:v>
                </c:pt>
                <c:pt idx="6021">
                  <c:v>43147</c:v>
                </c:pt>
                <c:pt idx="6022">
                  <c:v>43150</c:v>
                </c:pt>
                <c:pt idx="6023">
                  <c:v>43151</c:v>
                </c:pt>
                <c:pt idx="6024">
                  <c:v>43152</c:v>
                </c:pt>
                <c:pt idx="6025">
                  <c:v>43153</c:v>
                </c:pt>
                <c:pt idx="6026">
                  <c:v>43154</c:v>
                </c:pt>
                <c:pt idx="6027">
                  <c:v>43157</c:v>
                </c:pt>
                <c:pt idx="6028">
                  <c:v>43158</c:v>
                </c:pt>
                <c:pt idx="6029">
                  <c:v>43159</c:v>
                </c:pt>
                <c:pt idx="6030">
                  <c:v>43160</c:v>
                </c:pt>
                <c:pt idx="6031">
                  <c:v>43161</c:v>
                </c:pt>
                <c:pt idx="6032">
                  <c:v>43164</c:v>
                </c:pt>
                <c:pt idx="6033">
                  <c:v>43165</c:v>
                </c:pt>
                <c:pt idx="6034">
                  <c:v>43166</c:v>
                </c:pt>
                <c:pt idx="6035">
                  <c:v>43167</c:v>
                </c:pt>
                <c:pt idx="6036">
                  <c:v>43168</c:v>
                </c:pt>
                <c:pt idx="6037">
                  <c:v>43171</c:v>
                </c:pt>
                <c:pt idx="6038">
                  <c:v>43172</c:v>
                </c:pt>
                <c:pt idx="6039">
                  <c:v>43173</c:v>
                </c:pt>
                <c:pt idx="6040">
                  <c:v>43174</c:v>
                </c:pt>
                <c:pt idx="6041">
                  <c:v>43175</c:v>
                </c:pt>
                <c:pt idx="6042">
                  <c:v>43178</c:v>
                </c:pt>
                <c:pt idx="6043">
                  <c:v>43179</c:v>
                </c:pt>
                <c:pt idx="6044">
                  <c:v>43180</c:v>
                </c:pt>
                <c:pt idx="6045">
                  <c:v>43181</c:v>
                </c:pt>
                <c:pt idx="6046">
                  <c:v>43182</c:v>
                </c:pt>
                <c:pt idx="6047">
                  <c:v>43185</c:v>
                </c:pt>
                <c:pt idx="6048">
                  <c:v>43186</c:v>
                </c:pt>
                <c:pt idx="6049">
                  <c:v>43187</c:v>
                </c:pt>
                <c:pt idx="6050">
                  <c:v>43188</c:v>
                </c:pt>
                <c:pt idx="6051">
                  <c:v>43189</c:v>
                </c:pt>
                <c:pt idx="6052">
                  <c:v>43192</c:v>
                </c:pt>
                <c:pt idx="6053">
                  <c:v>43193</c:v>
                </c:pt>
                <c:pt idx="6054">
                  <c:v>43194</c:v>
                </c:pt>
                <c:pt idx="6055">
                  <c:v>43195</c:v>
                </c:pt>
                <c:pt idx="6056">
                  <c:v>43196</c:v>
                </c:pt>
                <c:pt idx="6057">
                  <c:v>43199</c:v>
                </c:pt>
                <c:pt idx="6058">
                  <c:v>43200</c:v>
                </c:pt>
                <c:pt idx="6059">
                  <c:v>43201</c:v>
                </c:pt>
                <c:pt idx="6060">
                  <c:v>43202</c:v>
                </c:pt>
                <c:pt idx="6061">
                  <c:v>43203</c:v>
                </c:pt>
                <c:pt idx="6062">
                  <c:v>43206</c:v>
                </c:pt>
                <c:pt idx="6063">
                  <c:v>43207</c:v>
                </c:pt>
                <c:pt idx="6064">
                  <c:v>43208</c:v>
                </c:pt>
                <c:pt idx="6065">
                  <c:v>43209</c:v>
                </c:pt>
                <c:pt idx="6066">
                  <c:v>43210</c:v>
                </c:pt>
                <c:pt idx="6067">
                  <c:v>43213</c:v>
                </c:pt>
                <c:pt idx="6068">
                  <c:v>43214</c:v>
                </c:pt>
                <c:pt idx="6069">
                  <c:v>43215</c:v>
                </c:pt>
                <c:pt idx="6070">
                  <c:v>43216</c:v>
                </c:pt>
                <c:pt idx="6071">
                  <c:v>43217</c:v>
                </c:pt>
                <c:pt idx="6072">
                  <c:v>43220</c:v>
                </c:pt>
                <c:pt idx="6073">
                  <c:v>43221</c:v>
                </c:pt>
                <c:pt idx="6074">
                  <c:v>43222</c:v>
                </c:pt>
                <c:pt idx="6075">
                  <c:v>43223</c:v>
                </c:pt>
                <c:pt idx="6076">
                  <c:v>43224</c:v>
                </c:pt>
                <c:pt idx="6077">
                  <c:v>43227</c:v>
                </c:pt>
                <c:pt idx="6078">
                  <c:v>43228</c:v>
                </c:pt>
                <c:pt idx="6079">
                  <c:v>43229</c:v>
                </c:pt>
                <c:pt idx="6080">
                  <c:v>43230</c:v>
                </c:pt>
                <c:pt idx="6081">
                  <c:v>43231</c:v>
                </c:pt>
                <c:pt idx="6082">
                  <c:v>43234</c:v>
                </c:pt>
                <c:pt idx="6083">
                  <c:v>43235</c:v>
                </c:pt>
                <c:pt idx="6084">
                  <c:v>43236</c:v>
                </c:pt>
                <c:pt idx="6085">
                  <c:v>43237</c:v>
                </c:pt>
                <c:pt idx="6086">
                  <c:v>43238</c:v>
                </c:pt>
                <c:pt idx="6087">
                  <c:v>43241</c:v>
                </c:pt>
                <c:pt idx="6088">
                  <c:v>43242</c:v>
                </c:pt>
                <c:pt idx="6089">
                  <c:v>43243</c:v>
                </c:pt>
                <c:pt idx="6090">
                  <c:v>43244</c:v>
                </c:pt>
                <c:pt idx="6091">
                  <c:v>43245</c:v>
                </c:pt>
                <c:pt idx="6092">
                  <c:v>43248</c:v>
                </c:pt>
                <c:pt idx="6093">
                  <c:v>43249</c:v>
                </c:pt>
                <c:pt idx="6094">
                  <c:v>43250</c:v>
                </c:pt>
                <c:pt idx="6095">
                  <c:v>43251</c:v>
                </c:pt>
                <c:pt idx="6096">
                  <c:v>43252</c:v>
                </c:pt>
                <c:pt idx="6097">
                  <c:v>43255</c:v>
                </c:pt>
                <c:pt idx="6098">
                  <c:v>43256</c:v>
                </c:pt>
                <c:pt idx="6099">
                  <c:v>43257</c:v>
                </c:pt>
                <c:pt idx="6100">
                  <c:v>43258</c:v>
                </c:pt>
                <c:pt idx="6101">
                  <c:v>43259</c:v>
                </c:pt>
                <c:pt idx="6102">
                  <c:v>43262</c:v>
                </c:pt>
                <c:pt idx="6103">
                  <c:v>43263</c:v>
                </c:pt>
                <c:pt idx="6104">
                  <c:v>43264</c:v>
                </c:pt>
                <c:pt idx="6105">
                  <c:v>43265</c:v>
                </c:pt>
                <c:pt idx="6106">
                  <c:v>43266</c:v>
                </c:pt>
                <c:pt idx="6107">
                  <c:v>43269</c:v>
                </c:pt>
                <c:pt idx="6108">
                  <c:v>43270</c:v>
                </c:pt>
                <c:pt idx="6109">
                  <c:v>43271</c:v>
                </c:pt>
                <c:pt idx="6110">
                  <c:v>43272</c:v>
                </c:pt>
                <c:pt idx="6111">
                  <c:v>43273</c:v>
                </c:pt>
                <c:pt idx="6112">
                  <c:v>43276</c:v>
                </c:pt>
                <c:pt idx="6113">
                  <c:v>43277</c:v>
                </c:pt>
                <c:pt idx="6114">
                  <c:v>43278</c:v>
                </c:pt>
                <c:pt idx="6115">
                  <c:v>43279</c:v>
                </c:pt>
                <c:pt idx="6116">
                  <c:v>43280</c:v>
                </c:pt>
                <c:pt idx="6117">
                  <c:v>43283</c:v>
                </c:pt>
                <c:pt idx="6118">
                  <c:v>43284</c:v>
                </c:pt>
                <c:pt idx="6119">
                  <c:v>43285</c:v>
                </c:pt>
                <c:pt idx="6120">
                  <c:v>43286</c:v>
                </c:pt>
                <c:pt idx="6121">
                  <c:v>43287</c:v>
                </c:pt>
                <c:pt idx="6122">
                  <c:v>43290</c:v>
                </c:pt>
                <c:pt idx="6123">
                  <c:v>43291</c:v>
                </c:pt>
                <c:pt idx="6124">
                  <c:v>43292</c:v>
                </c:pt>
                <c:pt idx="6125">
                  <c:v>43293</c:v>
                </c:pt>
                <c:pt idx="6126">
                  <c:v>43294</c:v>
                </c:pt>
                <c:pt idx="6127">
                  <c:v>43297</c:v>
                </c:pt>
                <c:pt idx="6128">
                  <c:v>43298</c:v>
                </c:pt>
                <c:pt idx="6129">
                  <c:v>43299</c:v>
                </c:pt>
                <c:pt idx="6130">
                  <c:v>43300</c:v>
                </c:pt>
                <c:pt idx="6131">
                  <c:v>43301</c:v>
                </c:pt>
                <c:pt idx="6132">
                  <c:v>43304</c:v>
                </c:pt>
                <c:pt idx="6133">
                  <c:v>43305</c:v>
                </c:pt>
                <c:pt idx="6134">
                  <c:v>43306</c:v>
                </c:pt>
                <c:pt idx="6135">
                  <c:v>43307</c:v>
                </c:pt>
                <c:pt idx="6136">
                  <c:v>43308</c:v>
                </c:pt>
                <c:pt idx="6137">
                  <c:v>43311</c:v>
                </c:pt>
                <c:pt idx="6138">
                  <c:v>43312</c:v>
                </c:pt>
                <c:pt idx="6139">
                  <c:v>43313</c:v>
                </c:pt>
                <c:pt idx="6140">
                  <c:v>43314</c:v>
                </c:pt>
                <c:pt idx="6141">
                  <c:v>43315</c:v>
                </c:pt>
                <c:pt idx="6142">
                  <c:v>43318</c:v>
                </c:pt>
                <c:pt idx="6143">
                  <c:v>43319</c:v>
                </c:pt>
                <c:pt idx="6144">
                  <c:v>43320</c:v>
                </c:pt>
                <c:pt idx="6145">
                  <c:v>43321</c:v>
                </c:pt>
                <c:pt idx="6146">
                  <c:v>43322</c:v>
                </c:pt>
                <c:pt idx="6147">
                  <c:v>43325</c:v>
                </c:pt>
                <c:pt idx="6148">
                  <c:v>43326</c:v>
                </c:pt>
                <c:pt idx="6149">
                  <c:v>43327</c:v>
                </c:pt>
                <c:pt idx="6150">
                  <c:v>43328</c:v>
                </c:pt>
                <c:pt idx="6151">
                  <c:v>43329</c:v>
                </c:pt>
                <c:pt idx="6152">
                  <c:v>43332</c:v>
                </c:pt>
                <c:pt idx="6153">
                  <c:v>43333</c:v>
                </c:pt>
                <c:pt idx="6154">
                  <c:v>43334</c:v>
                </c:pt>
                <c:pt idx="6155">
                  <c:v>43335</c:v>
                </c:pt>
                <c:pt idx="6156">
                  <c:v>43336</c:v>
                </c:pt>
                <c:pt idx="6157">
                  <c:v>43339</c:v>
                </c:pt>
                <c:pt idx="6158">
                  <c:v>43340</c:v>
                </c:pt>
                <c:pt idx="6159">
                  <c:v>43341</c:v>
                </c:pt>
                <c:pt idx="6160">
                  <c:v>43342</c:v>
                </c:pt>
                <c:pt idx="6161">
                  <c:v>43343</c:v>
                </c:pt>
                <c:pt idx="6162">
                  <c:v>43346</c:v>
                </c:pt>
                <c:pt idx="6163">
                  <c:v>43347</c:v>
                </c:pt>
                <c:pt idx="6164">
                  <c:v>43348</c:v>
                </c:pt>
                <c:pt idx="6165">
                  <c:v>43349</c:v>
                </c:pt>
                <c:pt idx="6166">
                  <c:v>43350</c:v>
                </c:pt>
                <c:pt idx="6167">
                  <c:v>43353</c:v>
                </c:pt>
                <c:pt idx="6168">
                  <c:v>43354</c:v>
                </c:pt>
                <c:pt idx="6169">
                  <c:v>43355</c:v>
                </c:pt>
                <c:pt idx="6170">
                  <c:v>43356</c:v>
                </c:pt>
                <c:pt idx="6171">
                  <c:v>43357</c:v>
                </c:pt>
                <c:pt idx="6172">
                  <c:v>43360</c:v>
                </c:pt>
                <c:pt idx="6173">
                  <c:v>43361</c:v>
                </c:pt>
                <c:pt idx="6174">
                  <c:v>43362</c:v>
                </c:pt>
                <c:pt idx="6175">
                  <c:v>43363</c:v>
                </c:pt>
                <c:pt idx="6176">
                  <c:v>43364</c:v>
                </c:pt>
                <c:pt idx="6177">
                  <c:v>43367</c:v>
                </c:pt>
                <c:pt idx="6178">
                  <c:v>43368</c:v>
                </c:pt>
                <c:pt idx="6179">
                  <c:v>43369</c:v>
                </c:pt>
                <c:pt idx="6180">
                  <c:v>43370</c:v>
                </c:pt>
                <c:pt idx="6181">
                  <c:v>43371</c:v>
                </c:pt>
                <c:pt idx="6182">
                  <c:v>43374</c:v>
                </c:pt>
                <c:pt idx="6183">
                  <c:v>43375</c:v>
                </c:pt>
                <c:pt idx="6184">
                  <c:v>43376</c:v>
                </c:pt>
                <c:pt idx="6185">
                  <c:v>43377</c:v>
                </c:pt>
                <c:pt idx="6186">
                  <c:v>43378</c:v>
                </c:pt>
                <c:pt idx="6187">
                  <c:v>43381</c:v>
                </c:pt>
                <c:pt idx="6188">
                  <c:v>43382</c:v>
                </c:pt>
                <c:pt idx="6189">
                  <c:v>43383</c:v>
                </c:pt>
                <c:pt idx="6190">
                  <c:v>43384</c:v>
                </c:pt>
                <c:pt idx="6191">
                  <c:v>43385</c:v>
                </c:pt>
                <c:pt idx="6192">
                  <c:v>43388</c:v>
                </c:pt>
                <c:pt idx="6193">
                  <c:v>43389</c:v>
                </c:pt>
                <c:pt idx="6194">
                  <c:v>43390</c:v>
                </c:pt>
                <c:pt idx="6195">
                  <c:v>43391</c:v>
                </c:pt>
                <c:pt idx="6196">
                  <c:v>43392</c:v>
                </c:pt>
                <c:pt idx="6197">
                  <c:v>43395</c:v>
                </c:pt>
                <c:pt idx="6198">
                  <c:v>43396</c:v>
                </c:pt>
                <c:pt idx="6199">
                  <c:v>43397</c:v>
                </c:pt>
                <c:pt idx="6200">
                  <c:v>43398</c:v>
                </c:pt>
                <c:pt idx="6201">
                  <c:v>43399</c:v>
                </c:pt>
                <c:pt idx="6202">
                  <c:v>43402</c:v>
                </c:pt>
                <c:pt idx="6203">
                  <c:v>43403</c:v>
                </c:pt>
                <c:pt idx="6204">
                  <c:v>43404</c:v>
                </c:pt>
                <c:pt idx="6205">
                  <c:v>43405</c:v>
                </c:pt>
                <c:pt idx="6206">
                  <c:v>43406</c:v>
                </c:pt>
                <c:pt idx="6207">
                  <c:v>43409</c:v>
                </c:pt>
                <c:pt idx="6208">
                  <c:v>43410</c:v>
                </c:pt>
                <c:pt idx="6209">
                  <c:v>43411</c:v>
                </c:pt>
                <c:pt idx="6210">
                  <c:v>43412</c:v>
                </c:pt>
                <c:pt idx="6211">
                  <c:v>43413</c:v>
                </c:pt>
                <c:pt idx="6212">
                  <c:v>43416</c:v>
                </c:pt>
                <c:pt idx="6213">
                  <c:v>43417</c:v>
                </c:pt>
                <c:pt idx="6214">
                  <c:v>43418</c:v>
                </c:pt>
                <c:pt idx="6215">
                  <c:v>43419</c:v>
                </c:pt>
                <c:pt idx="6216">
                  <c:v>43420</c:v>
                </c:pt>
                <c:pt idx="6217">
                  <c:v>43423</c:v>
                </c:pt>
                <c:pt idx="6218">
                  <c:v>43424</c:v>
                </c:pt>
                <c:pt idx="6219">
                  <c:v>43425</c:v>
                </c:pt>
                <c:pt idx="6220">
                  <c:v>43426</c:v>
                </c:pt>
                <c:pt idx="6221">
                  <c:v>43427</c:v>
                </c:pt>
                <c:pt idx="6222">
                  <c:v>43430</c:v>
                </c:pt>
                <c:pt idx="6223">
                  <c:v>43431</c:v>
                </c:pt>
                <c:pt idx="6224">
                  <c:v>43432</c:v>
                </c:pt>
                <c:pt idx="6225">
                  <c:v>43433</c:v>
                </c:pt>
                <c:pt idx="6226">
                  <c:v>43434</c:v>
                </c:pt>
                <c:pt idx="6227">
                  <c:v>43437</c:v>
                </c:pt>
                <c:pt idx="6228">
                  <c:v>43438</c:v>
                </c:pt>
                <c:pt idx="6229">
                  <c:v>43439</c:v>
                </c:pt>
                <c:pt idx="6230">
                  <c:v>43440</c:v>
                </c:pt>
                <c:pt idx="6231">
                  <c:v>43441</c:v>
                </c:pt>
                <c:pt idx="6232">
                  <c:v>43444</c:v>
                </c:pt>
                <c:pt idx="6233">
                  <c:v>43445</c:v>
                </c:pt>
                <c:pt idx="6234">
                  <c:v>43446</c:v>
                </c:pt>
                <c:pt idx="6235">
                  <c:v>43447</c:v>
                </c:pt>
                <c:pt idx="6236">
                  <c:v>43448</c:v>
                </c:pt>
                <c:pt idx="6237">
                  <c:v>43451</c:v>
                </c:pt>
                <c:pt idx="6238">
                  <c:v>43452</c:v>
                </c:pt>
                <c:pt idx="6239">
                  <c:v>43453</c:v>
                </c:pt>
                <c:pt idx="6240">
                  <c:v>43454</c:v>
                </c:pt>
                <c:pt idx="6241">
                  <c:v>43455</c:v>
                </c:pt>
                <c:pt idx="6242">
                  <c:v>43458</c:v>
                </c:pt>
                <c:pt idx="6243">
                  <c:v>43459</c:v>
                </c:pt>
                <c:pt idx="6244">
                  <c:v>43460</c:v>
                </c:pt>
                <c:pt idx="6245">
                  <c:v>43461</c:v>
                </c:pt>
                <c:pt idx="6246">
                  <c:v>43462</c:v>
                </c:pt>
                <c:pt idx="6247">
                  <c:v>43465</c:v>
                </c:pt>
                <c:pt idx="6248">
                  <c:v>43466</c:v>
                </c:pt>
                <c:pt idx="6249">
                  <c:v>43467</c:v>
                </c:pt>
                <c:pt idx="6250">
                  <c:v>43468</c:v>
                </c:pt>
                <c:pt idx="6251">
                  <c:v>43469</c:v>
                </c:pt>
                <c:pt idx="6252">
                  <c:v>43472</c:v>
                </c:pt>
                <c:pt idx="6253">
                  <c:v>43473</c:v>
                </c:pt>
                <c:pt idx="6254">
                  <c:v>43474</c:v>
                </c:pt>
                <c:pt idx="6255">
                  <c:v>43475</c:v>
                </c:pt>
                <c:pt idx="6256">
                  <c:v>43476</c:v>
                </c:pt>
                <c:pt idx="6257">
                  <c:v>43479</c:v>
                </c:pt>
                <c:pt idx="6258">
                  <c:v>43480</c:v>
                </c:pt>
                <c:pt idx="6259">
                  <c:v>43481</c:v>
                </c:pt>
                <c:pt idx="6260">
                  <c:v>43482</c:v>
                </c:pt>
                <c:pt idx="6261">
                  <c:v>43483</c:v>
                </c:pt>
                <c:pt idx="6262">
                  <c:v>43486</c:v>
                </c:pt>
                <c:pt idx="6263">
                  <c:v>43487</c:v>
                </c:pt>
                <c:pt idx="6264">
                  <c:v>43488</c:v>
                </c:pt>
                <c:pt idx="6265">
                  <c:v>43489</c:v>
                </c:pt>
                <c:pt idx="6266">
                  <c:v>43490</c:v>
                </c:pt>
                <c:pt idx="6267">
                  <c:v>43493</c:v>
                </c:pt>
                <c:pt idx="6268">
                  <c:v>43494</c:v>
                </c:pt>
                <c:pt idx="6269">
                  <c:v>43495</c:v>
                </c:pt>
                <c:pt idx="6270">
                  <c:v>43496</c:v>
                </c:pt>
                <c:pt idx="6271">
                  <c:v>43497</c:v>
                </c:pt>
                <c:pt idx="6272">
                  <c:v>43500</c:v>
                </c:pt>
                <c:pt idx="6273">
                  <c:v>43501</c:v>
                </c:pt>
                <c:pt idx="6274">
                  <c:v>43502</c:v>
                </c:pt>
                <c:pt idx="6275">
                  <c:v>43503</c:v>
                </c:pt>
                <c:pt idx="6276">
                  <c:v>43504</c:v>
                </c:pt>
                <c:pt idx="6277">
                  <c:v>43507</c:v>
                </c:pt>
                <c:pt idx="6278">
                  <c:v>43508</c:v>
                </c:pt>
                <c:pt idx="6279">
                  <c:v>43509</c:v>
                </c:pt>
                <c:pt idx="6280">
                  <c:v>43510</c:v>
                </c:pt>
                <c:pt idx="6281">
                  <c:v>43511</c:v>
                </c:pt>
                <c:pt idx="6282">
                  <c:v>43514</c:v>
                </c:pt>
                <c:pt idx="6283">
                  <c:v>43515</c:v>
                </c:pt>
                <c:pt idx="6284">
                  <c:v>43516</c:v>
                </c:pt>
                <c:pt idx="6285">
                  <c:v>43517</c:v>
                </c:pt>
                <c:pt idx="6286">
                  <c:v>43518</c:v>
                </c:pt>
                <c:pt idx="6287">
                  <c:v>43521</c:v>
                </c:pt>
                <c:pt idx="6288">
                  <c:v>43522</c:v>
                </c:pt>
                <c:pt idx="6289">
                  <c:v>43523</c:v>
                </c:pt>
                <c:pt idx="6290">
                  <c:v>43524</c:v>
                </c:pt>
                <c:pt idx="6291">
                  <c:v>43525</c:v>
                </c:pt>
                <c:pt idx="6292">
                  <c:v>43528</c:v>
                </c:pt>
                <c:pt idx="6293">
                  <c:v>43529</c:v>
                </c:pt>
                <c:pt idx="6294">
                  <c:v>43530</c:v>
                </c:pt>
                <c:pt idx="6295">
                  <c:v>43531</c:v>
                </c:pt>
                <c:pt idx="6296">
                  <c:v>43532</c:v>
                </c:pt>
                <c:pt idx="6297">
                  <c:v>43535</c:v>
                </c:pt>
                <c:pt idx="6298">
                  <c:v>43536</c:v>
                </c:pt>
                <c:pt idx="6299">
                  <c:v>43537</c:v>
                </c:pt>
                <c:pt idx="6300">
                  <c:v>43538</c:v>
                </c:pt>
                <c:pt idx="6301">
                  <c:v>43539</c:v>
                </c:pt>
                <c:pt idx="6302">
                  <c:v>43542</c:v>
                </c:pt>
                <c:pt idx="6303">
                  <c:v>43543</c:v>
                </c:pt>
                <c:pt idx="6304">
                  <c:v>43544</c:v>
                </c:pt>
                <c:pt idx="6305">
                  <c:v>43545</c:v>
                </c:pt>
                <c:pt idx="6306">
                  <c:v>43546</c:v>
                </c:pt>
                <c:pt idx="6307">
                  <c:v>43549</c:v>
                </c:pt>
                <c:pt idx="6308">
                  <c:v>43550</c:v>
                </c:pt>
                <c:pt idx="6309">
                  <c:v>43551</c:v>
                </c:pt>
                <c:pt idx="6310">
                  <c:v>43552</c:v>
                </c:pt>
                <c:pt idx="6311">
                  <c:v>43553</c:v>
                </c:pt>
                <c:pt idx="6312">
                  <c:v>43556</c:v>
                </c:pt>
                <c:pt idx="6313">
                  <c:v>43557</c:v>
                </c:pt>
                <c:pt idx="6314">
                  <c:v>43558</c:v>
                </c:pt>
                <c:pt idx="6315">
                  <c:v>43559</c:v>
                </c:pt>
                <c:pt idx="6316">
                  <c:v>43560</c:v>
                </c:pt>
                <c:pt idx="6317">
                  <c:v>43563</c:v>
                </c:pt>
                <c:pt idx="6318">
                  <c:v>43564</c:v>
                </c:pt>
                <c:pt idx="6319">
                  <c:v>43565</c:v>
                </c:pt>
                <c:pt idx="6320">
                  <c:v>43566</c:v>
                </c:pt>
                <c:pt idx="6321">
                  <c:v>43567</c:v>
                </c:pt>
                <c:pt idx="6322">
                  <c:v>43570</c:v>
                </c:pt>
                <c:pt idx="6323">
                  <c:v>43571</c:v>
                </c:pt>
                <c:pt idx="6324">
                  <c:v>43572</c:v>
                </c:pt>
                <c:pt idx="6325">
                  <c:v>43573</c:v>
                </c:pt>
                <c:pt idx="6326">
                  <c:v>43574</c:v>
                </c:pt>
                <c:pt idx="6327">
                  <c:v>43577</c:v>
                </c:pt>
                <c:pt idx="6328">
                  <c:v>43578</c:v>
                </c:pt>
                <c:pt idx="6329">
                  <c:v>43579</c:v>
                </c:pt>
                <c:pt idx="6330">
                  <c:v>43580</c:v>
                </c:pt>
                <c:pt idx="6331">
                  <c:v>43581</c:v>
                </c:pt>
                <c:pt idx="6332">
                  <c:v>43584</c:v>
                </c:pt>
                <c:pt idx="6333">
                  <c:v>43585</c:v>
                </c:pt>
                <c:pt idx="6334">
                  <c:v>43586</c:v>
                </c:pt>
                <c:pt idx="6335">
                  <c:v>43587</c:v>
                </c:pt>
                <c:pt idx="6336">
                  <c:v>43588</c:v>
                </c:pt>
                <c:pt idx="6337">
                  <c:v>43591</c:v>
                </c:pt>
                <c:pt idx="6338">
                  <c:v>43592</c:v>
                </c:pt>
                <c:pt idx="6339">
                  <c:v>43593</c:v>
                </c:pt>
                <c:pt idx="6340">
                  <c:v>43594</c:v>
                </c:pt>
                <c:pt idx="6341">
                  <c:v>43595</c:v>
                </c:pt>
                <c:pt idx="6342">
                  <c:v>43598</c:v>
                </c:pt>
                <c:pt idx="6343">
                  <c:v>43599</c:v>
                </c:pt>
                <c:pt idx="6344">
                  <c:v>43600</c:v>
                </c:pt>
                <c:pt idx="6345">
                  <c:v>43601</c:v>
                </c:pt>
                <c:pt idx="6346">
                  <c:v>43602</c:v>
                </c:pt>
                <c:pt idx="6347">
                  <c:v>43605</c:v>
                </c:pt>
                <c:pt idx="6348">
                  <c:v>43606</c:v>
                </c:pt>
                <c:pt idx="6349">
                  <c:v>43607</c:v>
                </c:pt>
                <c:pt idx="6350">
                  <c:v>43608</c:v>
                </c:pt>
                <c:pt idx="6351">
                  <c:v>43609</c:v>
                </c:pt>
                <c:pt idx="6352">
                  <c:v>43612</c:v>
                </c:pt>
                <c:pt idx="6353">
                  <c:v>43613</c:v>
                </c:pt>
                <c:pt idx="6354">
                  <c:v>43614</c:v>
                </c:pt>
                <c:pt idx="6355">
                  <c:v>43615</c:v>
                </c:pt>
                <c:pt idx="6356">
                  <c:v>43616</c:v>
                </c:pt>
                <c:pt idx="6357">
                  <c:v>43619</c:v>
                </c:pt>
                <c:pt idx="6358">
                  <c:v>43620</c:v>
                </c:pt>
                <c:pt idx="6359">
                  <c:v>43621</c:v>
                </c:pt>
                <c:pt idx="6360">
                  <c:v>43622</c:v>
                </c:pt>
                <c:pt idx="6361">
                  <c:v>43623</c:v>
                </c:pt>
                <c:pt idx="6362">
                  <c:v>43626</c:v>
                </c:pt>
                <c:pt idx="6363">
                  <c:v>43627</c:v>
                </c:pt>
                <c:pt idx="6364">
                  <c:v>43628</c:v>
                </c:pt>
                <c:pt idx="6365">
                  <c:v>43629</c:v>
                </c:pt>
                <c:pt idx="6366">
                  <c:v>43630</c:v>
                </c:pt>
                <c:pt idx="6367">
                  <c:v>43633</c:v>
                </c:pt>
                <c:pt idx="6368">
                  <c:v>43634</c:v>
                </c:pt>
                <c:pt idx="6369">
                  <c:v>43635</c:v>
                </c:pt>
                <c:pt idx="6370">
                  <c:v>43636</c:v>
                </c:pt>
                <c:pt idx="6371">
                  <c:v>43637</c:v>
                </c:pt>
                <c:pt idx="6372">
                  <c:v>43640</c:v>
                </c:pt>
                <c:pt idx="6373">
                  <c:v>43641</c:v>
                </c:pt>
                <c:pt idx="6374">
                  <c:v>43642</c:v>
                </c:pt>
                <c:pt idx="6375">
                  <c:v>43643</c:v>
                </c:pt>
                <c:pt idx="6376">
                  <c:v>43644</c:v>
                </c:pt>
                <c:pt idx="6377">
                  <c:v>43647</c:v>
                </c:pt>
                <c:pt idx="6378">
                  <c:v>43648</c:v>
                </c:pt>
                <c:pt idx="6379">
                  <c:v>43649</c:v>
                </c:pt>
                <c:pt idx="6380">
                  <c:v>43650</c:v>
                </c:pt>
                <c:pt idx="6381">
                  <c:v>43651</c:v>
                </c:pt>
                <c:pt idx="6382">
                  <c:v>43654</c:v>
                </c:pt>
                <c:pt idx="6383">
                  <c:v>43655</c:v>
                </c:pt>
                <c:pt idx="6384">
                  <c:v>43656</c:v>
                </c:pt>
                <c:pt idx="6385">
                  <c:v>43657</c:v>
                </c:pt>
                <c:pt idx="6386">
                  <c:v>43658</c:v>
                </c:pt>
                <c:pt idx="6387">
                  <c:v>43661</c:v>
                </c:pt>
                <c:pt idx="6388">
                  <c:v>43662</c:v>
                </c:pt>
                <c:pt idx="6389">
                  <c:v>43663</c:v>
                </c:pt>
                <c:pt idx="6390">
                  <c:v>43664</c:v>
                </c:pt>
                <c:pt idx="6391">
                  <c:v>43665</c:v>
                </c:pt>
                <c:pt idx="6392">
                  <c:v>43668</c:v>
                </c:pt>
                <c:pt idx="6393">
                  <c:v>43669</c:v>
                </c:pt>
                <c:pt idx="6394">
                  <c:v>43670</c:v>
                </c:pt>
                <c:pt idx="6395">
                  <c:v>43671</c:v>
                </c:pt>
                <c:pt idx="6396">
                  <c:v>43672</c:v>
                </c:pt>
                <c:pt idx="6397">
                  <c:v>43675</c:v>
                </c:pt>
                <c:pt idx="6398">
                  <c:v>43676</c:v>
                </c:pt>
                <c:pt idx="6399">
                  <c:v>43677</c:v>
                </c:pt>
                <c:pt idx="6400">
                  <c:v>43678</c:v>
                </c:pt>
                <c:pt idx="6401">
                  <c:v>43679</c:v>
                </c:pt>
                <c:pt idx="6402">
                  <c:v>43682</c:v>
                </c:pt>
                <c:pt idx="6403">
                  <c:v>43683</c:v>
                </c:pt>
                <c:pt idx="6404">
                  <c:v>43684</c:v>
                </c:pt>
                <c:pt idx="6405">
                  <c:v>43685</c:v>
                </c:pt>
                <c:pt idx="6406">
                  <c:v>43686</c:v>
                </c:pt>
                <c:pt idx="6407">
                  <c:v>43689</c:v>
                </c:pt>
                <c:pt idx="6408">
                  <c:v>43690</c:v>
                </c:pt>
                <c:pt idx="6409">
                  <c:v>43691</c:v>
                </c:pt>
                <c:pt idx="6410">
                  <c:v>43692</c:v>
                </c:pt>
                <c:pt idx="6411">
                  <c:v>43693</c:v>
                </c:pt>
                <c:pt idx="6412">
                  <c:v>43696</c:v>
                </c:pt>
                <c:pt idx="6413">
                  <c:v>43697</c:v>
                </c:pt>
                <c:pt idx="6414">
                  <c:v>43698</c:v>
                </c:pt>
                <c:pt idx="6415">
                  <c:v>43699</c:v>
                </c:pt>
                <c:pt idx="6416">
                  <c:v>43700</c:v>
                </c:pt>
                <c:pt idx="6417">
                  <c:v>43703</c:v>
                </c:pt>
                <c:pt idx="6418">
                  <c:v>43704</c:v>
                </c:pt>
                <c:pt idx="6419">
                  <c:v>43705</c:v>
                </c:pt>
                <c:pt idx="6420">
                  <c:v>43706</c:v>
                </c:pt>
                <c:pt idx="6421">
                  <c:v>43707</c:v>
                </c:pt>
                <c:pt idx="6422">
                  <c:v>43710</c:v>
                </c:pt>
                <c:pt idx="6423">
                  <c:v>43711</c:v>
                </c:pt>
                <c:pt idx="6424">
                  <c:v>43712</c:v>
                </c:pt>
                <c:pt idx="6425">
                  <c:v>43713</c:v>
                </c:pt>
                <c:pt idx="6426">
                  <c:v>43714</c:v>
                </c:pt>
                <c:pt idx="6427">
                  <c:v>43717</c:v>
                </c:pt>
                <c:pt idx="6428">
                  <c:v>43718</c:v>
                </c:pt>
                <c:pt idx="6429">
                  <c:v>43719</c:v>
                </c:pt>
                <c:pt idx="6430">
                  <c:v>43720</c:v>
                </c:pt>
                <c:pt idx="6431">
                  <c:v>43721</c:v>
                </c:pt>
                <c:pt idx="6432">
                  <c:v>43724</c:v>
                </c:pt>
                <c:pt idx="6433">
                  <c:v>43725</c:v>
                </c:pt>
                <c:pt idx="6434">
                  <c:v>43726</c:v>
                </c:pt>
                <c:pt idx="6435">
                  <c:v>43727</c:v>
                </c:pt>
                <c:pt idx="6436">
                  <c:v>43728</c:v>
                </c:pt>
                <c:pt idx="6437">
                  <c:v>43731</c:v>
                </c:pt>
                <c:pt idx="6438">
                  <c:v>43732</c:v>
                </c:pt>
                <c:pt idx="6439">
                  <c:v>43733</c:v>
                </c:pt>
                <c:pt idx="6440">
                  <c:v>43734</c:v>
                </c:pt>
                <c:pt idx="6441">
                  <c:v>43735</c:v>
                </c:pt>
                <c:pt idx="6442">
                  <c:v>43738</c:v>
                </c:pt>
                <c:pt idx="6443">
                  <c:v>43739</c:v>
                </c:pt>
                <c:pt idx="6444">
                  <c:v>43740</c:v>
                </c:pt>
                <c:pt idx="6445">
                  <c:v>43741</c:v>
                </c:pt>
                <c:pt idx="6446">
                  <c:v>43742</c:v>
                </c:pt>
                <c:pt idx="6447">
                  <c:v>43745</c:v>
                </c:pt>
                <c:pt idx="6448">
                  <c:v>43746</c:v>
                </c:pt>
                <c:pt idx="6449">
                  <c:v>43747</c:v>
                </c:pt>
                <c:pt idx="6450">
                  <c:v>43748</c:v>
                </c:pt>
                <c:pt idx="6451">
                  <c:v>43749</c:v>
                </c:pt>
                <c:pt idx="6452">
                  <c:v>43752</c:v>
                </c:pt>
                <c:pt idx="6453">
                  <c:v>43753</c:v>
                </c:pt>
                <c:pt idx="6454">
                  <c:v>43754</c:v>
                </c:pt>
                <c:pt idx="6455">
                  <c:v>43755</c:v>
                </c:pt>
                <c:pt idx="6456">
                  <c:v>43756</c:v>
                </c:pt>
                <c:pt idx="6457">
                  <c:v>43759</c:v>
                </c:pt>
                <c:pt idx="6458">
                  <c:v>43760</c:v>
                </c:pt>
                <c:pt idx="6459">
                  <c:v>43761</c:v>
                </c:pt>
                <c:pt idx="6460">
                  <c:v>43762</c:v>
                </c:pt>
                <c:pt idx="6461">
                  <c:v>43763</c:v>
                </c:pt>
                <c:pt idx="6462">
                  <c:v>43766</c:v>
                </c:pt>
                <c:pt idx="6463">
                  <c:v>43767</c:v>
                </c:pt>
                <c:pt idx="6464">
                  <c:v>43768</c:v>
                </c:pt>
                <c:pt idx="6465">
                  <c:v>43769</c:v>
                </c:pt>
                <c:pt idx="6466">
                  <c:v>43770</c:v>
                </c:pt>
                <c:pt idx="6467">
                  <c:v>43773</c:v>
                </c:pt>
                <c:pt idx="6468">
                  <c:v>43774</c:v>
                </c:pt>
                <c:pt idx="6469">
                  <c:v>43775</c:v>
                </c:pt>
                <c:pt idx="6470">
                  <c:v>43776</c:v>
                </c:pt>
                <c:pt idx="6471">
                  <c:v>43777</c:v>
                </c:pt>
                <c:pt idx="6472">
                  <c:v>43780</c:v>
                </c:pt>
                <c:pt idx="6473">
                  <c:v>43781</c:v>
                </c:pt>
                <c:pt idx="6474">
                  <c:v>43782</c:v>
                </c:pt>
                <c:pt idx="6475">
                  <c:v>43783</c:v>
                </c:pt>
                <c:pt idx="6476">
                  <c:v>43784</c:v>
                </c:pt>
                <c:pt idx="6477">
                  <c:v>43787</c:v>
                </c:pt>
                <c:pt idx="6478">
                  <c:v>43788</c:v>
                </c:pt>
                <c:pt idx="6479">
                  <c:v>43789</c:v>
                </c:pt>
                <c:pt idx="6480">
                  <c:v>43790</c:v>
                </c:pt>
                <c:pt idx="6481">
                  <c:v>43791</c:v>
                </c:pt>
                <c:pt idx="6482">
                  <c:v>43794</c:v>
                </c:pt>
                <c:pt idx="6483">
                  <c:v>43795</c:v>
                </c:pt>
                <c:pt idx="6484">
                  <c:v>43796</c:v>
                </c:pt>
                <c:pt idx="6485">
                  <c:v>43797</c:v>
                </c:pt>
                <c:pt idx="6486">
                  <c:v>43798</c:v>
                </c:pt>
                <c:pt idx="6487">
                  <c:v>43801</c:v>
                </c:pt>
                <c:pt idx="6488">
                  <c:v>43802</c:v>
                </c:pt>
                <c:pt idx="6489">
                  <c:v>43803</c:v>
                </c:pt>
                <c:pt idx="6490">
                  <c:v>43804</c:v>
                </c:pt>
                <c:pt idx="6491">
                  <c:v>43805</c:v>
                </c:pt>
                <c:pt idx="6492">
                  <c:v>43808</c:v>
                </c:pt>
                <c:pt idx="6493">
                  <c:v>43809</c:v>
                </c:pt>
                <c:pt idx="6494">
                  <c:v>43810</c:v>
                </c:pt>
                <c:pt idx="6495">
                  <c:v>43811</c:v>
                </c:pt>
                <c:pt idx="6496">
                  <c:v>43812</c:v>
                </c:pt>
                <c:pt idx="6497">
                  <c:v>43815</c:v>
                </c:pt>
                <c:pt idx="6498">
                  <c:v>43816</c:v>
                </c:pt>
                <c:pt idx="6499">
                  <c:v>43817</c:v>
                </c:pt>
                <c:pt idx="6500">
                  <c:v>43818</c:v>
                </c:pt>
                <c:pt idx="6501">
                  <c:v>43819</c:v>
                </c:pt>
                <c:pt idx="6502">
                  <c:v>43822</c:v>
                </c:pt>
                <c:pt idx="6503">
                  <c:v>43823</c:v>
                </c:pt>
                <c:pt idx="6504">
                  <c:v>43824</c:v>
                </c:pt>
                <c:pt idx="6505">
                  <c:v>43825</c:v>
                </c:pt>
                <c:pt idx="6506">
                  <c:v>43826</c:v>
                </c:pt>
                <c:pt idx="6507">
                  <c:v>43829</c:v>
                </c:pt>
                <c:pt idx="6508">
                  <c:v>43830</c:v>
                </c:pt>
                <c:pt idx="6509">
                  <c:v>43831</c:v>
                </c:pt>
                <c:pt idx="6510">
                  <c:v>43832</c:v>
                </c:pt>
                <c:pt idx="6511">
                  <c:v>43833</c:v>
                </c:pt>
                <c:pt idx="6512">
                  <c:v>43836</c:v>
                </c:pt>
                <c:pt idx="6513">
                  <c:v>43837</c:v>
                </c:pt>
                <c:pt idx="6514">
                  <c:v>43838</c:v>
                </c:pt>
                <c:pt idx="6515">
                  <c:v>43839</c:v>
                </c:pt>
                <c:pt idx="6516">
                  <c:v>43840</c:v>
                </c:pt>
                <c:pt idx="6517">
                  <c:v>43843</c:v>
                </c:pt>
                <c:pt idx="6518">
                  <c:v>43844</c:v>
                </c:pt>
                <c:pt idx="6519">
                  <c:v>43845</c:v>
                </c:pt>
                <c:pt idx="6520">
                  <c:v>43846</c:v>
                </c:pt>
                <c:pt idx="6521">
                  <c:v>43847</c:v>
                </c:pt>
                <c:pt idx="6522">
                  <c:v>43850</c:v>
                </c:pt>
                <c:pt idx="6523">
                  <c:v>43851</c:v>
                </c:pt>
                <c:pt idx="6524">
                  <c:v>43852</c:v>
                </c:pt>
                <c:pt idx="6525">
                  <c:v>43853</c:v>
                </c:pt>
                <c:pt idx="6526">
                  <c:v>43854</c:v>
                </c:pt>
                <c:pt idx="6527">
                  <c:v>43857</c:v>
                </c:pt>
                <c:pt idx="6528">
                  <c:v>43858</c:v>
                </c:pt>
                <c:pt idx="6529">
                  <c:v>43859</c:v>
                </c:pt>
                <c:pt idx="6530">
                  <c:v>43860</c:v>
                </c:pt>
                <c:pt idx="6531">
                  <c:v>43861</c:v>
                </c:pt>
                <c:pt idx="6532">
                  <c:v>43864</c:v>
                </c:pt>
                <c:pt idx="6533">
                  <c:v>43865</c:v>
                </c:pt>
                <c:pt idx="6534">
                  <c:v>43866</c:v>
                </c:pt>
                <c:pt idx="6535">
                  <c:v>43867</c:v>
                </c:pt>
                <c:pt idx="6536">
                  <c:v>43868</c:v>
                </c:pt>
                <c:pt idx="6537">
                  <c:v>43871</c:v>
                </c:pt>
                <c:pt idx="6538">
                  <c:v>43872</c:v>
                </c:pt>
                <c:pt idx="6539">
                  <c:v>43873</c:v>
                </c:pt>
                <c:pt idx="6540">
                  <c:v>43874</c:v>
                </c:pt>
                <c:pt idx="6541">
                  <c:v>43875</c:v>
                </c:pt>
                <c:pt idx="6542">
                  <c:v>43878</c:v>
                </c:pt>
                <c:pt idx="6543">
                  <c:v>43879</c:v>
                </c:pt>
                <c:pt idx="6544">
                  <c:v>43880</c:v>
                </c:pt>
                <c:pt idx="6545">
                  <c:v>43881</c:v>
                </c:pt>
                <c:pt idx="6546">
                  <c:v>43882</c:v>
                </c:pt>
                <c:pt idx="6547">
                  <c:v>43885</c:v>
                </c:pt>
                <c:pt idx="6548">
                  <c:v>43886</c:v>
                </c:pt>
                <c:pt idx="6549">
                  <c:v>43887</c:v>
                </c:pt>
                <c:pt idx="6550">
                  <c:v>43888</c:v>
                </c:pt>
                <c:pt idx="6551">
                  <c:v>43889</c:v>
                </c:pt>
                <c:pt idx="6552">
                  <c:v>43892</c:v>
                </c:pt>
                <c:pt idx="6553">
                  <c:v>43893</c:v>
                </c:pt>
                <c:pt idx="6554">
                  <c:v>43894</c:v>
                </c:pt>
                <c:pt idx="6555">
                  <c:v>43895</c:v>
                </c:pt>
                <c:pt idx="6556">
                  <c:v>43896</c:v>
                </c:pt>
                <c:pt idx="6557">
                  <c:v>43899</c:v>
                </c:pt>
                <c:pt idx="6558">
                  <c:v>43900</c:v>
                </c:pt>
                <c:pt idx="6559">
                  <c:v>43901</c:v>
                </c:pt>
                <c:pt idx="6560">
                  <c:v>43902</c:v>
                </c:pt>
                <c:pt idx="6561">
                  <c:v>43903</c:v>
                </c:pt>
                <c:pt idx="6562">
                  <c:v>43906</c:v>
                </c:pt>
                <c:pt idx="6563">
                  <c:v>43907</c:v>
                </c:pt>
                <c:pt idx="6564">
                  <c:v>43908</c:v>
                </c:pt>
                <c:pt idx="6565">
                  <c:v>43909</c:v>
                </c:pt>
                <c:pt idx="6566">
                  <c:v>43910</c:v>
                </c:pt>
                <c:pt idx="6567">
                  <c:v>43913</c:v>
                </c:pt>
                <c:pt idx="6568">
                  <c:v>43914</c:v>
                </c:pt>
                <c:pt idx="6569">
                  <c:v>43915</c:v>
                </c:pt>
                <c:pt idx="6570">
                  <c:v>43916</c:v>
                </c:pt>
                <c:pt idx="6571">
                  <c:v>43917</c:v>
                </c:pt>
                <c:pt idx="6572">
                  <c:v>43920</c:v>
                </c:pt>
                <c:pt idx="6573">
                  <c:v>43921</c:v>
                </c:pt>
                <c:pt idx="6574">
                  <c:v>43922</c:v>
                </c:pt>
                <c:pt idx="6575">
                  <c:v>43923</c:v>
                </c:pt>
                <c:pt idx="6576">
                  <c:v>43924</c:v>
                </c:pt>
                <c:pt idx="6577">
                  <c:v>43927</c:v>
                </c:pt>
                <c:pt idx="6578">
                  <c:v>43928</c:v>
                </c:pt>
                <c:pt idx="6579">
                  <c:v>43929</c:v>
                </c:pt>
                <c:pt idx="6580">
                  <c:v>43930</c:v>
                </c:pt>
                <c:pt idx="6581">
                  <c:v>43931</c:v>
                </c:pt>
                <c:pt idx="6582">
                  <c:v>43934</c:v>
                </c:pt>
                <c:pt idx="6583">
                  <c:v>43935</c:v>
                </c:pt>
                <c:pt idx="6584">
                  <c:v>43936</c:v>
                </c:pt>
                <c:pt idx="6585">
                  <c:v>43937</c:v>
                </c:pt>
                <c:pt idx="6586">
                  <c:v>43938</c:v>
                </c:pt>
                <c:pt idx="6587">
                  <c:v>43941</c:v>
                </c:pt>
                <c:pt idx="6588">
                  <c:v>43942</c:v>
                </c:pt>
                <c:pt idx="6589">
                  <c:v>43943</c:v>
                </c:pt>
                <c:pt idx="6590">
                  <c:v>43944</c:v>
                </c:pt>
                <c:pt idx="6591">
                  <c:v>43945</c:v>
                </c:pt>
                <c:pt idx="6592">
                  <c:v>43948</c:v>
                </c:pt>
                <c:pt idx="6593">
                  <c:v>43949</c:v>
                </c:pt>
                <c:pt idx="6594">
                  <c:v>43950</c:v>
                </c:pt>
                <c:pt idx="6595">
                  <c:v>43951</c:v>
                </c:pt>
                <c:pt idx="6596">
                  <c:v>43952</c:v>
                </c:pt>
                <c:pt idx="6597">
                  <c:v>43955</c:v>
                </c:pt>
                <c:pt idx="6598">
                  <c:v>43956</c:v>
                </c:pt>
                <c:pt idx="6599">
                  <c:v>43957</c:v>
                </c:pt>
                <c:pt idx="6600">
                  <c:v>43958</c:v>
                </c:pt>
                <c:pt idx="6601">
                  <c:v>43959</c:v>
                </c:pt>
                <c:pt idx="6602">
                  <c:v>43962</c:v>
                </c:pt>
                <c:pt idx="6603">
                  <c:v>43963</c:v>
                </c:pt>
                <c:pt idx="6604">
                  <c:v>43964</c:v>
                </c:pt>
                <c:pt idx="6605">
                  <c:v>43965</c:v>
                </c:pt>
                <c:pt idx="6606">
                  <c:v>43966</c:v>
                </c:pt>
                <c:pt idx="6607">
                  <c:v>43969</c:v>
                </c:pt>
                <c:pt idx="6608">
                  <c:v>43970</c:v>
                </c:pt>
                <c:pt idx="6609">
                  <c:v>43971</c:v>
                </c:pt>
                <c:pt idx="6610">
                  <c:v>43972</c:v>
                </c:pt>
                <c:pt idx="6611">
                  <c:v>43973</c:v>
                </c:pt>
                <c:pt idx="6612">
                  <c:v>43976</c:v>
                </c:pt>
                <c:pt idx="6613">
                  <c:v>43977</c:v>
                </c:pt>
                <c:pt idx="6614">
                  <c:v>43978</c:v>
                </c:pt>
                <c:pt idx="6615">
                  <c:v>43979</c:v>
                </c:pt>
                <c:pt idx="6616">
                  <c:v>43980</c:v>
                </c:pt>
                <c:pt idx="6617">
                  <c:v>43983</c:v>
                </c:pt>
                <c:pt idx="6618">
                  <c:v>43984</c:v>
                </c:pt>
                <c:pt idx="6619">
                  <c:v>43985</c:v>
                </c:pt>
                <c:pt idx="6620">
                  <c:v>43986</c:v>
                </c:pt>
                <c:pt idx="6621">
                  <c:v>43987</c:v>
                </c:pt>
                <c:pt idx="6622">
                  <c:v>43990</c:v>
                </c:pt>
                <c:pt idx="6623">
                  <c:v>43991</c:v>
                </c:pt>
                <c:pt idx="6624">
                  <c:v>43992</c:v>
                </c:pt>
                <c:pt idx="6625">
                  <c:v>43993</c:v>
                </c:pt>
                <c:pt idx="6626">
                  <c:v>43994</c:v>
                </c:pt>
                <c:pt idx="6627">
                  <c:v>43997</c:v>
                </c:pt>
                <c:pt idx="6628">
                  <c:v>43998</c:v>
                </c:pt>
                <c:pt idx="6629">
                  <c:v>43999</c:v>
                </c:pt>
                <c:pt idx="6630">
                  <c:v>44000</c:v>
                </c:pt>
                <c:pt idx="6631">
                  <c:v>44001</c:v>
                </c:pt>
                <c:pt idx="6632">
                  <c:v>44004</c:v>
                </c:pt>
                <c:pt idx="6633">
                  <c:v>44005</c:v>
                </c:pt>
                <c:pt idx="6634">
                  <c:v>44006</c:v>
                </c:pt>
                <c:pt idx="6635">
                  <c:v>44007</c:v>
                </c:pt>
                <c:pt idx="6636">
                  <c:v>44008</c:v>
                </c:pt>
                <c:pt idx="6637">
                  <c:v>44011</c:v>
                </c:pt>
                <c:pt idx="6638">
                  <c:v>44012</c:v>
                </c:pt>
                <c:pt idx="6639">
                  <c:v>44013</c:v>
                </c:pt>
                <c:pt idx="6640">
                  <c:v>44014</c:v>
                </c:pt>
                <c:pt idx="6641">
                  <c:v>44015</c:v>
                </c:pt>
                <c:pt idx="6642">
                  <c:v>44018</c:v>
                </c:pt>
                <c:pt idx="6643">
                  <c:v>44019</c:v>
                </c:pt>
                <c:pt idx="6644">
                  <c:v>44020</c:v>
                </c:pt>
                <c:pt idx="6645">
                  <c:v>44021</c:v>
                </c:pt>
                <c:pt idx="6646">
                  <c:v>44022</c:v>
                </c:pt>
                <c:pt idx="6647">
                  <c:v>44025</c:v>
                </c:pt>
                <c:pt idx="6648">
                  <c:v>44026</c:v>
                </c:pt>
                <c:pt idx="6649">
                  <c:v>44027</c:v>
                </c:pt>
                <c:pt idx="6650">
                  <c:v>44028</c:v>
                </c:pt>
                <c:pt idx="6651">
                  <c:v>44029</c:v>
                </c:pt>
                <c:pt idx="6652">
                  <c:v>44032</c:v>
                </c:pt>
                <c:pt idx="6653">
                  <c:v>44033</c:v>
                </c:pt>
                <c:pt idx="6654">
                  <c:v>44034</c:v>
                </c:pt>
                <c:pt idx="6655">
                  <c:v>44035</c:v>
                </c:pt>
                <c:pt idx="6656">
                  <c:v>44036</c:v>
                </c:pt>
                <c:pt idx="6657">
                  <c:v>44039</c:v>
                </c:pt>
                <c:pt idx="6658">
                  <c:v>44040</c:v>
                </c:pt>
                <c:pt idx="6659">
                  <c:v>44041</c:v>
                </c:pt>
                <c:pt idx="6660">
                  <c:v>44042</c:v>
                </c:pt>
                <c:pt idx="6661">
                  <c:v>44043</c:v>
                </c:pt>
                <c:pt idx="6662">
                  <c:v>44046</c:v>
                </c:pt>
                <c:pt idx="6663">
                  <c:v>44047</c:v>
                </c:pt>
                <c:pt idx="6664">
                  <c:v>44048</c:v>
                </c:pt>
                <c:pt idx="6665">
                  <c:v>44049</c:v>
                </c:pt>
                <c:pt idx="6666">
                  <c:v>44050</c:v>
                </c:pt>
                <c:pt idx="6667">
                  <c:v>44053</c:v>
                </c:pt>
                <c:pt idx="6668">
                  <c:v>44054</c:v>
                </c:pt>
                <c:pt idx="6669">
                  <c:v>44055</c:v>
                </c:pt>
                <c:pt idx="6670">
                  <c:v>44056</c:v>
                </c:pt>
                <c:pt idx="6671">
                  <c:v>44057</c:v>
                </c:pt>
                <c:pt idx="6672">
                  <c:v>44060</c:v>
                </c:pt>
                <c:pt idx="6673">
                  <c:v>44061</c:v>
                </c:pt>
                <c:pt idx="6674">
                  <c:v>44062</c:v>
                </c:pt>
                <c:pt idx="6675">
                  <c:v>44063</c:v>
                </c:pt>
                <c:pt idx="6676">
                  <c:v>44064</c:v>
                </c:pt>
                <c:pt idx="6677">
                  <c:v>44067</c:v>
                </c:pt>
                <c:pt idx="6678">
                  <c:v>44068</c:v>
                </c:pt>
                <c:pt idx="6679">
                  <c:v>44069</c:v>
                </c:pt>
                <c:pt idx="6680">
                  <c:v>44070</c:v>
                </c:pt>
                <c:pt idx="6681">
                  <c:v>44071</c:v>
                </c:pt>
                <c:pt idx="6682">
                  <c:v>44074</c:v>
                </c:pt>
                <c:pt idx="6683">
                  <c:v>44075</c:v>
                </c:pt>
                <c:pt idx="6684">
                  <c:v>44076</c:v>
                </c:pt>
                <c:pt idx="6685">
                  <c:v>44077</c:v>
                </c:pt>
                <c:pt idx="6686">
                  <c:v>44078</c:v>
                </c:pt>
                <c:pt idx="6687">
                  <c:v>44081</c:v>
                </c:pt>
                <c:pt idx="6688">
                  <c:v>44082</c:v>
                </c:pt>
                <c:pt idx="6689">
                  <c:v>44083</c:v>
                </c:pt>
                <c:pt idx="6690">
                  <c:v>44084</c:v>
                </c:pt>
                <c:pt idx="6691">
                  <c:v>44085</c:v>
                </c:pt>
                <c:pt idx="6692">
                  <c:v>44088</c:v>
                </c:pt>
                <c:pt idx="6693">
                  <c:v>44089</c:v>
                </c:pt>
                <c:pt idx="6694">
                  <c:v>44090</c:v>
                </c:pt>
                <c:pt idx="6695">
                  <c:v>44091</c:v>
                </c:pt>
                <c:pt idx="6696">
                  <c:v>44092</c:v>
                </c:pt>
                <c:pt idx="6697">
                  <c:v>44095</c:v>
                </c:pt>
                <c:pt idx="6698">
                  <c:v>44096</c:v>
                </c:pt>
                <c:pt idx="6699">
                  <c:v>44097</c:v>
                </c:pt>
                <c:pt idx="6700">
                  <c:v>44098</c:v>
                </c:pt>
                <c:pt idx="6701">
                  <c:v>44099</c:v>
                </c:pt>
                <c:pt idx="6702">
                  <c:v>44102</c:v>
                </c:pt>
                <c:pt idx="6703">
                  <c:v>44103</c:v>
                </c:pt>
                <c:pt idx="6704">
                  <c:v>44104</c:v>
                </c:pt>
                <c:pt idx="6705">
                  <c:v>44105</c:v>
                </c:pt>
                <c:pt idx="6706">
                  <c:v>44106</c:v>
                </c:pt>
                <c:pt idx="6707">
                  <c:v>44109</c:v>
                </c:pt>
                <c:pt idx="6708">
                  <c:v>44110</c:v>
                </c:pt>
                <c:pt idx="6709">
                  <c:v>44111</c:v>
                </c:pt>
                <c:pt idx="6710">
                  <c:v>44112</c:v>
                </c:pt>
                <c:pt idx="6711">
                  <c:v>44113</c:v>
                </c:pt>
                <c:pt idx="6712">
                  <c:v>44116</c:v>
                </c:pt>
                <c:pt idx="6713">
                  <c:v>44117</c:v>
                </c:pt>
                <c:pt idx="6714">
                  <c:v>44118</c:v>
                </c:pt>
                <c:pt idx="6715">
                  <c:v>44119</c:v>
                </c:pt>
                <c:pt idx="6716">
                  <c:v>44120</c:v>
                </c:pt>
                <c:pt idx="6717">
                  <c:v>44123</c:v>
                </c:pt>
                <c:pt idx="6718">
                  <c:v>44124</c:v>
                </c:pt>
                <c:pt idx="6719">
                  <c:v>44125</c:v>
                </c:pt>
                <c:pt idx="6720">
                  <c:v>44126</c:v>
                </c:pt>
                <c:pt idx="6721">
                  <c:v>44127</c:v>
                </c:pt>
                <c:pt idx="6722">
                  <c:v>44130</c:v>
                </c:pt>
                <c:pt idx="6723">
                  <c:v>44131</c:v>
                </c:pt>
                <c:pt idx="6724">
                  <c:v>44132</c:v>
                </c:pt>
                <c:pt idx="6725">
                  <c:v>44133</c:v>
                </c:pt>
                <c:pt idx="6726">
                  <c:v>44134</c:v>
                </c:pt>
                <c:pt idx="6727">
                  <c:v>44137</c:v>
                </c:pt>
                <c:pt idx="6728">
                  <c:v>44138</c:v>
                </c:pt>
                <c:pt idx="6729">
                  <c:v>44139</c:v>
                </c:pt>
                <c:pt idx="6730">
                  <c:v>44140</c:v>
                </c:pt>
                <c:pt idx="6731">
                  <c:v>44141</c:v>
                </c:pt>
                <c:pt idx="6732">
                  <c:v>44144</c:v>
                </c:pt>
                <c:pt idx="6733">
                  <c:v>44145</c:v>
                </c:pt>
                <c:pt idx="6734">
                  <c:v>44146</c:v>
                </c:pt>
                <c:pt idx="6735">
                  <c:v>44147</c:v>
                </c:pt>
                <c:pt idx="6736">
                  <c:v>44148</c:v>
                </c:pt>
                <c:pt idx="6737">
                  <c:v>44151</c:v>
                </c:pt>
                <c:pt idx="6738">
                  <c:v>44152</c:v>
                </c:pt>
                <c:pt idx="6739">
                  <c:v>44153</c:v>
                </c:pt>
                <c:pt idx="6740">
                  <c:v>44154</c:v>
                </c:pt>
                <c:pt idx="6741">
                  <c:v>44155</c:v>
                </c:pt>
                <c:pt idx="6742">
                  <c:v>44158</c:v>
                </c:pt>
                <c:pt idx="6743">
                  <c:v>44159</c:v>
                </c:pt>
                <c:pt idx="6744">
                  <c:v>44160</c:v>
                </c:pt>
                <c:pt idx="6745">
                  <c:v>44161</c:v>
                </c:pt>
                <c:pt idx="6746">
                  <c:v>44162</c:v>
                </c:pt>
                <c:pt idx="6747">
                  <c:v>44165</c:v>
                </c:pt>
                <c:pt idx="6748">
                  <c:v>44166</c:v>
                </c:pt>
                <c:pt idx="6749">
                  <c:v>44167</c:v>
                </c:pt>
                <c:pt idx="6750">
                  <c:v>44168</c:v>
                </c:pt>
                <c:pt idx="6751">
                  <c:v>44169</c:v>
                </c:pt>
                <c:pt idx="6752">
                  <c:v>44172</c:v>
                </c:pt>
                <c:pt idx="6753">
                  <c:v>44173</c:v>
                </c:pt>
                <c:pt idx="6754">
                  <c:v>44174</c:v>
                </c:pt>
                <c:pt idx="6755">
                  <c:v>44175</c:v>
                </c:pt>
                <c:pt idx="6756">
                  <c:v>44176</c:v>
                </c:pt>
                <c:pt idx="6757">
                  <c:v>44179</c:v>
                </c:pt>
                <c:pt idx="6758">
                  <c:v>44180</c:v>
                </c:pt>
                <c:pt idx="6759">
                  <c:v>44181</c:v>
                </c:pt>
                <c:pt idx="6760">
                  <c:v>44182</c:v>
                </c:pt>
                <c:pt idx="6761">
                  <c:v>44183</c:v>
                </c:pt>
                <c:pt idx="6762">
                  <c:v>44186</c:v>
                </c:pt>
                <c:pt idx="6763">
                  <c:v>44187</c:v>
                </c:pt>
                <c:pt idx="6764">
                  <c:v>44188</c:v>
                </c:pt>
                <c:pt idx="6765">
                  <c:v>44189</c:v>
                </c:pt>
                <c:pt idx="6766">
                  <c:v>44190</c:v>
                </c:pt>
                <c:pt idx="6767">
                  <c:v>44193</c:v>
                </c:pt>
                <c:pt idx="6768">
                  <c:v>44194</c:v>
                </c:pt>
                <c:pt idx="6769">
                  <c:v>44195</c:v>
                </c:pt>
                <c:pt idx="6770">
                  <c:v>44196</c:v>
                </c:pt>
                <c:pt idx="6771">
                  <c:v>44197</c:v>
                </c:pt>
                <c:pt idx="6772">
                  <c:v>44200</c:v>
                </c:pt>
                <c:pt idx="6773">
                  <c:v>44201</c:v>
                </c:pt>
                <c:pt idx="6774">
                  <c:v>44202</c:v>
                </c:pt>
                <c:pt idx="6775">
                  <c:v>44203</c:v>
                </c:pt>
                <c:pt idx="6776">
                  <c:v>44204</c:v>
                </c:pt>
                <c:pt idx="6777">
                  <c:v>44207</c:v>
                </c:pt>
                <c:pt idx="6778">
                  <c:v>44208</c:v>
                </c:pt>
                <c:pt idx="6779">
                  <c:v>44209</c:v>
                </c:pt>
                <c:pt idx="6780">
                  <c:v>44210</c:v>
                </c:pt>
                <c:pt idx="6781">
                  <c:v>44211</c:v>
                </c:pt>
                <c:pt idx="6782">
                  <c:v>44214</c:v>
                </c:pt>
                <c:pt idx="6783">
                  <c:v>44215</c:v>
                </c:pt>
                <c:pt idx="6784">
                  <c:v>44216</c:v>
                </c:pt>
                <c:pt idx="6785">
                  <c:v>44217</c:v>
                </c:pt>
                <c:pt idx="6786">
                  <c:v>44218</c:v>
                </c:pt>
                <c:pt idx="6787">
                  <c:v>44221</c:v>
                </c:pt>
                <c:pt idx="6788">
                  <c:v>44222</c:v>
                </c:pt>
                <c:pt idx="6789">
                  <c:v>44223</c:v>
                </c:pt>
                <c:pt idx="6790">
                  <c:v>44224</c:v>
                </c:pt>
                <c:pt idx="6791">
                  <c:v>44225</c:v>
                </c:pt>
                <c:pt idx="6792">
                  <c:v>44228</c:v>
                </c:pt>
                <c:pt idx="6793">
                  <c:v>44229</c:v>
                </c:pt>
                <c:pt idx="6794">
                  <c:v>44230</c:v>
                </c:pt>
                <c:pt idx="6795">
                  <c:v>44231</c:v>
                </c:pt>
                <c:pt idx="6796">
                  <c:v>44232</c:v>
                </c:pt>
                <c:pt idx="6797">
                  <c:v>44235</c:v>
                </c:pt>
                <c:pt idx="6798">
                  <c:v>44236</c:v>
                </c:pt>
                <c:pt idx="6799">
                  <c:v>44237</c:v>
                </c:pt>
                <c:pt idx="6800">
                  <c:v>44238</c:v>
                </c:pt>
                <c:pt idx="6801">
                  <c:v>44239</c:v>
                </c:pt>
                <c:pt idx="6802">
                  <c:v>44242</c:v>
                </c:pt>
                <c:pt idx="6803">
                  <c:v>44243</c:v>
                </c:pt>
                <c:pt idx="6804">
                  <c:v>44244</c:v>
                </c:pt>
                <c:pt idx="6805">
                  <c:v>44245</c:v>
                </c:pt>
                <c:pt idx="6806">
                  <c:v>44246</c:v>
                </c:pt>
                <c:pt idx="6807">
                  <c:v>44249</c:v>
                </c:pt>
                <c:pt idx="6808">
                  <c:v>44250</c:v>
                </c:pt>
                <c:pt idx="6809">
                  <c:v>44251</c:v>
                </c:pt>
                <c:pt idx="6810">
                  <c:v>44252</c:v>
                </c:pt>
                <c:pt idx="6811">
                  <c:v>44253</c:v>
                </c:pt>
                <c:pt idx="6812">
                  <c:v>44256</c:v>
                </c:pt>
                <c:pt idx="6813">
                  <c:v>44257</c:v>
                </c:pt>
                <c:pt idx="6814">
                  <c:v>44258</c:v>
                </c:pt>
                <c:pt idx="6815">
                  <c:v>44259</c:v>
                </c:pt>
                <c:pt idx="6816">
                  <c:v>44260</c:v>
                </c:pt>
                <c:pt idx="6817">
                  <c:v>44263</c:v>
                </c:pt>
                <c:pt idx="6818">
                  <c:v>44264</c:v>
                </c:pt>
                <c:pt idx="6819">
                  <c:v>44265</c:v>
                </c:pt>
                <c:pt idx="6820">
                  <c:v>44266</c:v>
                </c:pt>
                <c:pt idx="6821">
                  <c:v>44267</c:v>
                </c:pt>
                <c:pt idx="6822">
                  <c:v>44270</c:v>
                </c:pt>
                <c:pt idx="6823">
                  <c:v>44271</c:v>
                </c:pt>
                <c:pt idx="6824">
                  <c:v>44272</c:v>
                </c:pt>
                <c:pt idx="6825">
                  <c:v>44273</c:v>
                </c:pt>
                <c:pt idx="6826">
                  <c:v>44274</c:v>
                </c:pt>
                <c:pt idx="6827">
                  <c:v>44277</c:v>
                </c:pt>
                <c:pt idx="6828">
                  <c:v>44278</c:v>
                </c:pt>
                <c:pt idx="6829">
                  <c:v>44279</c:v>
                </c:pt>
                <c:pt idx="6830">
                  <c:v>44280</c:v>
                </c:pt>
                <c:pt idx="6831">
                  <c:v>44281</c:v>
                </c:pt>
                <c:pt idx="6832">
                  <c:v>44284</c:v>
                </c:pt>
                <c:pt idx="6833">
                  <c:v>44285</c:v>
                </c:pt>
                <c:pt idx="6834">
                  <c:v>44286</c:v>
                </c:pt>
                <c:pt idx="6835">
                  <c:v>44287</c:v>
                </c:pt>
                <c:pt idx="6836">
                  <c:v>44288</c:v>
                </c:pt>
                <c:pt idx="6837">
                  <c:v>44291</c:v>
                </c:pt>
                <c:pt idx="6838">
                  <c:v>44292</c:v>
                </c:pt>
                <c:pt idx="6839">
                  <c:v>44293</c:v>
                </c:pt>
                <c:pt idx="6840">
                  <c:v>44294</c:v>
                </c:pt>
                <c:pt idx="6841">
                  <c:v>44295</c:v>
                </c:pt>
                <c:pt idx="6842">
                  <c:v>44298</c:v>
                </c:pt>
                <c:pt idx="6843">
                  <c:v>44299</c:v>
                </c:pt>
                <c:pt idx="6844">
                  <c:v>44300</c:v>
                </c:pt>
                <c:pt idx="6845">
                  <c:v>44301</c:v>
                </c:pt>
                <c:pt idx="6846">
                  <c:v>44302</c:v>
                </c:pt>
                <c:pt idx="6847">
                  <c:v>44305</c:v>
                </c:pt>
                <c:pt idx="6848">
                  <c:v>44306</c:v>
                </c:pt>
                <c:pt idx="6849">
                  <c:v>44307</c:v>
                </c:pt>
                <c:pt idx="6850">
                  <c:v>44308</c:v>
                </c:pt>
                <c:pt idx="6851">
                  <c:v>44309</c:v>
                </c:pt>
                <c:pt idx="6852">
                  <c:v>44312</c:v>
                </c:pt>
                <c:pt idx="6853">
                  <c:v>44313</c:v>
                </c:pt>
                <c:pt idx="6854">
                  <c:v>44314</c:v>
                </c:pt>
                <c:pt idx="6855">
                  <c:v>44315</c:v>
                </c:pt>
                <c:pt idx="6856">
                  <c:v>44316</c:v>
                </c:pt>
                <c:pt idx="6857">
                  <c:v>44319</c:v>
                </c:pt>
                <c:pt idx="6858">
                  <c:v>44320</c:v>
                </c:pt>
                <c:pt idx="6859">
                  <c:v>44321</c:v>
                </c:pt>
                <c:pt idx="6860">
                  <c:v>44322</c:v>
                </c:pt>
                <c:pt idx="6861">
                  <c:v>44323</c:v>
                </c:pt>
                <c:pt idx="6862">
                  <c:v>44326</c:v>
                </c:pt>
                <c:pt idx="6863">
                  <c:v>44327</c:v>
                </c:pt>
                <c:pt idx="6864">
                  <c:v>44328</c:v>
                </c:pt>
                <c:pt idx="6865">
                  <c:v>44329</c:v>
                </c:pt>
                <c:pt idx="6866">
                  <c:v>44330</c:v>
                </c:pt>
                <c:pt idx="6867">
                  <c:v>44333</c:v>
                </c:pt>
                <c:pt idx="6868">
                  <c:v>44334</c:v>
                </c:pt>
                <c:pt idx="6869">
                  <c:v>44335</c:v>
                </c:pt>
                <c:pt idx="6870">
                  <c:v>44336</c:v>
                </c:pt>
                <c:pt idx="6871">
                  <c:v>44337</c:v>
                </c:pt>
                <c:pt idx="6872">
                  <c:v>44340</c:v>
                </c:pt>
                <c:pt idx="6873">
                  <c:v>44341</c:v>
                </c:pt>
                <c:pt idx="6874">
                  <c:v>44342</c:v>
                </c:pt>
                <c:pt idx="6875">
                  <c:v>44343</c:v>
                </c:pt>
                <c:pt idx="6876">
                  <c:v>44344</c:v>
                </c:pt>
                <c:pt idx="6877">
                  <c:v>44347</c:v>
                </c:pt>
                <c:pt idx="6878">
                  <c:v>44348</c:v>
                </c:pt>
                <c:pt idx="6879">
                  <c:v>44349</c:v>
                </c:pt>
                <c:pt idx="6880">
                  <c:v>44350</c:v>
                </c:pt>
                <c:pt idx="6881">
                  <c:v>44351</c:v>
                </c:pt>
                <c:pt idx="6882">
                  <c:v>44354</c:v>
                </c:pt>
                <c:pt idx="6883">
                  <c:v>44355</c:v>
                </c:pt>
                <c:pt idx="6884">
                  <c:v>44356</c:v>
                </c:pt>
                <c:pt idx="6885">
                  <c:v>44357</c:v>
                </c:pt>
                <c:pt idx="6886">
                  <c:v>44358</c:v>
                </c:pt>
                <c:pt idx="6887">
                  <c:v>44361</c:v>
                </c:pt>
                <c:pt idx="6888">
                  <c:v>44362</c:v>
                </c:pt>
                <c:pt idx="6889">
                  <c:v>44363</c:v>
                </c:pt>
                <c:pt idx="6890">
                  <c:v>44364</c:v>
                </c:pt>
                <c:pt idx="6891">
                  <c:v>44365</c:v>
                </c:pt>
                <c:pt idx="6892">
                  <c:v>44368</c:v>
                </c:pt>
                <c:pt idx="6893">
                  <c:v>44369</c:v>
                </c:pt>
                <c:pt idx="6894">
                  <c:v>44370</c:v>
                </c:pt>
                <c:pt idx="6895">
                  <c:v>44371</c:v>
                </c:pt>
                <c:pt idx="6896">
                  <c:v>44372</c:v>
                </c:pt>
                <c:pt idx="6897">
                  <c:v>44375</c:v>
                </c:pt>
                <c:pt idx="6898">
                  <c:v>44376</c:v>
                </c:pt>
                <c:pt idx="6899">
                  <c:v>44377</c:v>
                </c:pt>
                <c:pt idx="6900">
                  <c:v>44378</c:v>
                </c:pt>
                <c:pt idx="6901">
                  <c:v>44379</c:v>
                </c:pt>
                <c:pt idx="6902">
                  <c:v>44382</c:v>
                </c:pt>
                <c:pt idx="6903">
                  <c:v>44383</c:v>
                </c:pt>
                <c:pt idx="6904">
                  <c:v>44384</c:v>
                </c:pt>
                <c:pt idx="6905">
                  <c:v>44385</c:v>
                </c:pt>
                <c:pt idx="6906">
                  <c:v>44386</c:v>
                </c:pt>
                <c:pt idx="6907">
                  <c:v>44389</c:v>
                </c:pt>
                <c:pt idx="6908">
                  <c:v>44390</c:v>
                </c:pt>
                <c:pt idx="6909">
                  <c:v>44391</c:v>
                </c:pt>
                <c:pt idx="6910">
                  <c:v>44392</c:v>
                </c:pt>
                <c:pt idx="6911">
                  <c:v>44393</c:v>
                </c:pt>
                <c:pt idx="6912">
                  <c:v>44396</c:v>
                </c:pt>
                <c:pt idx="6913">
                  <c:v>44397</c:v>
                </c:pt>
                <c:pt idx="6914">
                  <c:v>44398</c:v>
                </c:pt>
                <c:pt idx="6915">
                  <c:v>44399</c:v>
                </c:pt>
                <c:pt idx="6916">
                  <c:v>44400</c:v>
                </c:pt>
                <c:pt idx="6917">
                  <c:v>44403</c:v>
                </c:pt>
                <c:pt idx="6918">
                  <c:v>44404</c:v>
                </c:pt>
                <c:pt idx="6919">
                  <c:v>44405</c:v>
                </c:pt>
                <c:pt idx="6920">
                  <c:v>44406</c:v>
                </c:pt>
                <c:pt idx="6921">
                  <c:v>44407</c:v>
                </c:pt>
                <c:pt idx="6922">
                  <c:v>44410</c:v>
                </c:pt>
                <c:pt idx="6923">
                  <c:v>44411</c:v>
                </c:pt>
                <c:pt idx="6924">
                  <c:v>44412</c:v>
                </c:pt>
                <c:pt idx="6925">
                  <c:v>44413</c:v>
                </c:pt>
                <c:pt idx="6926">
                  <c:v>44414</c:v>
                </c:pt>
                <c:pt idx="6927">
                  <c:v>44417</c:v>
                </c:pt>
                <c:pt idx="6928">
                  <c:v>44418</c:v>
                </c:pt>
                <c:pt idx="6929">
                  <c:v>44419</c:v>
                </c:pt>
                <c:pt idx="6930">
                  <c:v>44420</c:v>
                </c:pt>
                <c:pt idx="6931">
                  <c:v>44421</c:v>
                </c:pt>
                <c:pt idx="6932">
                  <c:v>44424</c:v>
                </c:pt>
                <c:pt idx="6933">
                  <c:v>44425</c:v>
                </c:pt>
                <c:pt idx="6934">
                  <c:v>44426</c:v>
                </c:pt>
                <c:pt idx="6935">
                  <c:v>44427</c:v>
                </c:pt>
                <c:pt idx="6936">
                  <c:v>44428</c:v>
                </c:pt>
                <c:pt idx="6937">
                  <c:v>44431</c:v>
                </c:pt>
                <c:pt idx="6938">
                  <c:v>44432</c:v>
                </c:pt>
                <c:pt idx="6939">
                  <c:v>44433</c:v>
                </c:pt>
                <c:pt idx="6940">
                  <c:v>44434</c:v>
                </c:pt>
                <c:pt idx="6941">
                  <c:v>44435</c:v>
                </c:pt>
                <c:pt idx="6942">
                  <c:v>44438</c:v>
                </c:pt>
                <c:pt idx="6943">
                  <c:v>44439</c:v>
                </c:pt>
                <c:pt idx="6944">
                  <c:v>44440</c:v>
                </c:pt>
                <c:pt idx="6945">
                  <c:v>44441</c:v>
                </c:pt>
                <c:pt idx="6946">
                  <c:v>44442</c:v>
                </c:pt>
                <c:pt idx="6947">
                  <c:v>44445</c:v>
                </c:pt>
                <c:pt idx="6948">
                  <c:v>44446</c:v>
                </c:pt>
                <c:pt idx="6949">
                  <c:v>44447</c:v>
                </c:pt>
                <c:pt idx="6950">
                  <c:v>44448</c:v>
                </c:pt>
                <c:pt idx="6951">
                  <c:v>44449</c:v>
                </c:pt>
                <c:pt idx="6952">
                  <c:v>44452</c:v>
                </c:pt>
                <c:pt idx="6953">
                  <c:v>44453</c:v>
                </c:pt>
                <c:pt idx="6954">
                  <c:v>44454</c:v>
                </c:pt>
                <c:pt idx="6955">
                  <c:v>44455</c:v>
                </c:pt>
                <c:pt idx="6956">
                  <c:v>44456</c:v>
                </c:pt>
                <c:pt idx="6957">
                  <c:v>44459</c:v>
                </c:pt>
                <c:pt idx="6958">
                  <c:v>44460</c:v>
                </c:pt>
                <c:pt idx="6959">
                  <c:v>44461</c:v>
                </c:pt>
                <c:pt idx="6960">
                  <c:v>44462</c:v>
                </c:pt>
                <c:pt idx="6961">
                  <c:v>44463</c:v>
                </c:pt>
                <c:pt idx="6962">
                  <c:v>44466</c:v>
                </c:pt>
                <c:pt idx="6963">
                  <c:v>44467</c:v>
                </c:pt>
                <c:pt idx="6964">
                  <c:v>44468</c:v>
                </c:pt>
                <c:pt idx="6965">
                  <c:v>44469</c:v>
                </c:pt>
                <c:pt idx="6966">
                  <c:v>44470</c:v>
                </c:pt>
                <c:pt idx="6967">
                  <c:v>44473</c:v>
                </c:pt>
                <c:pt idx="6968">
                  <c:v>44474</c:v>
                </c:pt>
                <c:pt idx="6969">
                  <c:v>44475</c:v>
                </c:pt>
                <c:pt idx="6970">
                  <c:v>44476</c:v>
                </c:pt>
                <c:pt idx="6971">
                  <c:v>44477</c:v>
                </c:pt>
                <c:pt idx="6972">
                  <c:v>44480</c:v>
                </c:pt>
                <c:pt idx="6973">
                  <c:v>44481</c:v>
                </c:pt>
                <c:pt idx="6974">
                  <c:v>44482</c:v>
                </c:pt>
                <c:pt idx="6975">
                  <c:v>44483</c:v>
                </c:pt>
                <c:pt idx="6976">
                  <c:v>44484</c:v>
                </c:pt>
                <c:pt idx="6977">
                  <c:v>44487</c:v>
                </c:pt>
                <c:pt idx="6978">
                  <c:v>44488</c:v>
                </c:pt>
                <c:pt idx="6979">
                  <c:v>44489</c:v>
                </c:pt>
                <c:pt idx="6980">
                  <c:v>44490</c:v>
                </c:pt>
                <c:pt idx="6981">
                  <c:v>44491</c:v>
                </c:pt>
                <c:pt idx="6982">
                  <c:v>44494</c:v>
                </c:pt>
                <c:pt idx="6983">
                  <c:v>44495</c:v>
                </c:pt>
                <c:pt idx="6984">
                  <c:v>44496</c:v>
                </c:pt>
                <c:pt idx="6985">
                  <c:v>44497</c:v>
                </c:pt>
                <c:pt idx="6986">
                  <c:v>44498</c:v>
                </c:pt>
                <c:pt idx="6987">
                  <c:v>44501</c:v>
                </c:pt>
                <c:pt idx="6988">
                  <c:v>44502</c:v>
                </c:pt>
                <c:pt idx="6989">
                  <c:v>44503</c:v>
                </c:pt>
                <c:pt idx="6990">
                  <c:v>44504</c:v>
                </c:pt>
                <c:pt idx="6991">
                  <c:v>44505</c:v>
                </c:pt>
                <c:pt idx="6992">
                  <c:v>44508</c:v>
                </c:pt>
                <c:pt idx="6993">
                  <c:v>44509</c:v>
                </c:pt>
                <c:pt idx="6994">
                  <c:v>44510</c:v>
                </c:pt>
                <c:pt idx="6995">
                  <c:v>44511</c:v>
                </c:pt>
                <c:pt idx="6996">
                  <c:v>44512</c:v>
                </c:pt>
                <c:pt idx="6997">
                  <c:v>44515</c:v>
                </c:pt>
                <c:pt idx="6998">
                  <c:v>44516</c:v>
                </c:pt>
                <c:pt idx="6999">
                  <c:v>44517</c:v>
                </c:pt>
                <c:pt idx="7000">
                  <c:v>44518</c:v>
                </c:pt>
                <c:pt idx="7001">
                  <c:v>44519</c:v>
                </c:pt>
                <c:pt idx="7002">
                  <c:v>44522</c:v>
                </c:pt>
                <c:pt idx="7003">
                  <c:v>44523</c:v>
                </c:pt>
                <c:pt idx="7004">
                  <c:v>44524</c:v>
                </c:pt>
                <c:pt idx="7005">
                  <c:v>44525</c:v>
                </c:pt>
                <c:pt idx="7006">
                  <c:v>44526</c:v>
                </c:pt>
                <c:pt idx="7007">
                  <c:v>44529</c:v>
                </c:pt>
                <c:pt idx="7008">
                  <c:v>44530</c:v>
                </c:pt>
                <c:pt idx="7009">
                  <c:v>44531</c:v>
                </c:pt>
                <c:pt idx="7010">
                  <c:v>44532</c:v>
                </c:pt>
                <c:pt idx="7011">
                  <c:v>44533</c:v>
                </c:pt>
                <c:pt idx="7012">
                  <c:v>44536</c:v>
                </c:pt>
                <c:pt idx="7013">
                  <c:v>44537</c:v>
                </c:pt>
                <c:pt idx="7014">
                  <c:v>44538</c:v>
                </c:pt>
                <c:pt idx="7015">
                  <c:v>44539</c:v>
                </c:pt>
                <c:pt idx="7016">
                  <c:v>44540</c:v>
                </c:pt>
                <c:pt idx="7017">
                  <c:v>44543</c:v>
                </c:pt>
                <c:pt idx="7018">
                  <c:v>44544</c:v>
                </c:pt>
                <c:pt idx="7019">
                  <c:v>44545</c:v>
                </c:pt>
                <c:pt idx="7020">
                  <c:v>44546</c:v>
                </c:pt>
                <c:pt idx="7021">
                  <c:v>44547</c:v>
                </c:pt>
                <c:pt idx="7022">
                  <c:v>44550</c:v>
                </c:pt>
                <c:pt idx="7023">
                  <c:v>44551</c:v>
                </c:pt>
                <c:pt idx="7024">
                  <c:v>44552</c:v>
                </c:pt>
                <c:pt idx="7025">
                  <c:v>44553</c:v>
                </c:pt>
                <c:pt idx="7026">
                  <c:v>44554</c:v>
                </c:pt>
                <c:pt idx="7027">
                  <c:v>44557</c:v>
                </c:pt>
                <c:pt idx="7028">
                  <c:v>44558</c:v>
                </c:pt>
                <c:pt idx="7029">
                  <c:v>44559</c:v>
                </c:pt>
                <c:pt idx="7030">
                  <c:v>44560</c:v>
                </c:pt>
                <c:pt idx="7031">
                  <c:v>44561</c:v>
                </c:pt>
                <c:pt idx="7032">
                  <c:v>44564</c:v>
                </c:pt>
                <c:pt idx="7033">
                  <c:v>44565</c:v>
                </c:pt>
                <c:pt idx="7034">
                  <c:v>44566</c:v>
                </c:pt>
                <c:pt idx="7035">
                  <c:v>44567</c:v>
                </c:pt>
                <c:pt idx="7036">
                  <c:v>44568</c:v>
                </c:pt>
                <c:pt idx="7037">
                  <c:v>44571</c:v>
                </c:pt>
                <c:pt idx="7038">
                  <c:v>44572</c:v>
                </c:pt>
                <c:pt idx="7039">
                  <c:v>44573</c:v>
                </c:pt>
                <c:pt idx="7040">
                  <c:v>44574</c:v>
                </c:pt>
                <c:pt idx="7041">
                  <c:v>44575</c:v>
                </c:pt>
                <c:pt idx="7042">
                  <c:v>44578</c:v>
                </c:pt>
                <c:pt idx="7043">
                  <c:v>44579</c:v>
                </c:pt>
                <c:pt idx="7044">
                  <c:v>44580</c:v>
                </c:pt>
                <c:pt idx="7045">
                  <c:v>44581</c:v>
                </c:pt>
                <c:pt idx="7046">
                  <c:v>44582</c:v>
                </c:pt>
                <c:pt idx="7047">
                  <c:v>44585</c:v>
                </c:pt>
                <c:pt idx="7048">
                  <c:v>44586</c:v>
                </c:pt>
                <c:pt idx="7049">
                  <c:v>44587</c:v>
                </c:pt>
                <c:pt idx="7050">
                  <c:v>44588</c:v>
                </c:pt>
                <c:pt idx="7051">
                  <c:v>44589</c:v>
                </c:pt>
                <c:pt idx="7052">
                  <c:v>44592</c:v>
                </c:pt>
                <c:pt idx="7053">
                  <c:v>44593</c:v>
                </c:pt>
                <c:pt idx="7054">
                  <c:v>44594</c:v>
                </c:pt>
                <c:pt idx="7055">
                  <c:v>44595</c:v>
                </c:pt>
                <c:pt idx="7056">
                  <c:v>44596</c:v>
                </c:pt>
                <c:pt idx="7057">
                  <c:v>44599</c:v>
                </c:pt>
                <c:pt idx="7058">
                  <c:v>44600</c:v>
                </c:pt>
                <c:pt idx="7059">
                  <c:v>44601</c:v>
                </c:pt>
                <c:pt idx="7060">
                  <c:v>44602</c:v>
                </c:pt>
                <c:pt idx="7061">
                  <c:v>44603</c:v>
                </c:pt>
                <c:pt idx="7062">
                  <c:v>44606</c:v>
                </c:pt>
                <c:pt idx="7063">
                  <c:v>44607</c:v>
                </c:pt>
                <c:pt idx="7064">
                  <c:v>44608</c:v>
                </c:pt>
                <c:pt idx="7065">
                  <c:v>44609</c:v>
                </c:pt>
                <c:pt idx="7066">
                  <c:v>44610</c:v>
                </c:pt>
                <c:pt idx="7067">
                  <c:v>44613</c:v>
                </c:pt>
                <c:pt idx="7068">
                  <c:v>44614</c:v>
                </c:pt>
                <c:pt idx="7069">
                  <c:v>44615</c:v>
                </c:pt>
                <c:pt idx="7070">
                  <c:v>44616</c:v>
                </c:pt>
                <c:pt idx="7071">
                  <c:v>44617</c:v>
                </c:pt>
                <c:pt idx="7072">
                  <c:v>44620</c:v>
                </c:pt>
                <c:pt idx="7073">
                  <c:v>44621</c:v>
                </c:pt>
                <c:pt idx="7074">
                  <c:v>44622</c:v>
                </c:pt>
                <c:pt idx="7075">
                  <c:v>44623</c:v>
                </c:pt>
                <c:pt idx="7076">
                  <c:v>44624</c:v>
                </c:pt>
                <c:pt idx="7077">
                  <c:v>44627</c:v>
                </c:pt>
                <c:pt idx="7078">
                  <c:v>44628</c:v>
                </c:pt>
                <c:pt idx="7079">
                  <c:v>44629</c:v>
                </c:pt>
                <c:pt idx="7080">
                  <c:v>44630</c:v>
                </c:pt>
                <c:pt idx="7081">
                  <c:v>44631</c:v>
                </c:pt>
                <c:pt idx="7082">
                  <c:v>44634</c:v>
                </c:pt>
                <c:pt idx="7083">
                  <c:v>44635</c:v>
                </c:pt>
                <c:pt idx="7084">
                  <c:v>44636</c:v>
                </c:pt>
                <c:pt idx="7085">
                  <c:v>44637</c:v>
                </c:pt>
                <c:pt idx="7086">
                  <c:v>44638</c:v>
                </c:pt>
                <c:pt idx="7087">
                  <c:v>44641</c:v>
                </c:pt>
                <c:pt idx="7088">
                  <c:v>44642</c:v>
                </c:pt>
                <c:pt idx="7089">
                  <c:v>44643</c:v>
                </c:pt>
                <c:pt idx="7090">
                  <c:v>44644</c:v>
                </c:pt>
                <c:pt idx="7091">
                  <c:v>44645</c:v>
                </c:pt>
                <c:pt idx="7092">
                  <c:v>44648</c:v>
                </c:pt>
                <c:pt idx="7093">
                  <c:v>44649</c:v>
                </c:pt>
                <c:pt idx="7094">
                  <c:v>44650</c:v>
                </c:pt>
                <c:pt idx="7095">
                  <c:v>44651</c:v>
                </c:pt>
                <c:pt idx="7096">
                  <c:v>44652</c:v>
                </c:pt>
                <c:pt idx="7097">
                  <c:v>44655</c:v>
                </c:pt>
                <c:pt idx="7098">
                  <c:v>44656</c:v>
                </c:pt>
                <c:pt idx="7099">
                  <c:v>44657</c:v>
                </c:pt>
                <c:pt idx="7100">
                  <c:v>44658</c:v>
                </c:pt>
                <c:pt idx="7101">
                  <c:v>44659</c:v>
                </c:pt>
                <c:pt idx="7102">
                  <c:v>44662</c:v>
                </c:pt>
                <c:pt idx="7103">
                  <c:v>44663</c:v>
                </c:pt>
                <c:pt idx="7104">
                  <c:v>44664</c:v>
                </c:pt>
                <c:pt idx="7105">
                  <c:v>44665</c:v>
                </c:pt>
                <c:pt idx="7106">
                  <c:v>44666</c:v>
                </c:pt>
                <c:pt idx="7107">
                  <c:v>44669</c:v>
                </c:pt>
                <c:pt idx="7108">
                  <c:v>44670</c:v>
                </c:pt>
                <c:pt idx="7109">
                  <c:v>44671</c:v>
                </c:pt>
                <c:pt idx="7110">
                  <c:v>44672</c:v>
                </c:pt>
                <c:pt idx="7111">
                  <c:v>44673</c:v>
                </c:pt>
                <c:pt idx="7112">
                  <c:v>44676</c:v>
                </c:pt>
                <c:pt idx="7113">
                  <c:v>44677</c:v>
                </c:pt>
                <c:pt idx="7114">
                  <c:v>44678</c:v>
                </c:pt>
                <c:pt idx="7115">
                  <c:v>44679</c:v>
                </c:pt>
                <c:pt idx="7116">
                  <c:v>44680</c:v>
                </c:pt>
                <c:pt idx="7117">
                  <c:v>44683</c:v>
                </c:pt>
                <c:pt idx="7118">
                  <c:v>44684</c:v>
                </c:pt>
                <c:pt idx="7119">
                  <c:v>44685</c:v>
                </c:pt>
                <c:pt idx="7120">
                  <c:v>44686</c:v>
                </c:pt>
                <c:pt idx="7121">
                  <c:v>44687</c:v>
                </c:pt>
                <c:pt idx="7122">
                  <c:v>44690</c:v>
                </c:pt>
                <c:pt idx="7123">
                  <c:v>44691</c:v>
                </c:pt>
                <c:pt idx="7124">
                  <c:v>44692</c:v>
                </c:pt>
                <c:pt idx="7125">
                  <c:v>44693</c:v>
                </c:pt>
                <c:pt idx="7126">
                  <c:v>44694</c:v>
                </c:pt>
                <c:pt idx="7127">
                  <c:v>44697</c:v>
                </c:pt>
                <c:pt idx="7128">
                  <c:v>44698</c:v>
                </c:pt>
                <c:pt idx="7129">
                  <c:v>44699</c:v>
                </c:pt>
                <c:pt idx="7130">
                  <c:v>44700</c:v>
                </c:pt>
                <c:pt idx="7131">
                  <c:v>44701</c:v>
                </c:pt>
                <c:pt idx="7132">
                  <c:v>44704</c:v>
                </c:pt>
                <c:pt idx="7133">
                  <c:v>44705</c:v>
                </c:pt>
                <c:pt idx="7134">
                  <c:v>44706</c:v>
                </c:pt>
                <c:pt idx="7135">
                  <c:v>44707</c:v>
                </c:pt>
                <c:pt idx="7136">
                  <c:v>44708</c:v>
                </c:pt>
                <c:pt idx="7137">
                  <c:v>44711</c:v>
                </c:pt>
                <c:pt idx="7138">
                  <c:v>44712</c:v>
                </c:pt>
                <c:pt idx="7139">
                  <c:v>44713</c:v>
                </c:pt>
                <c:pt idx="7140">
                  <c:v>44714</c:v>
                </c:pt>
                <c:pt idx="7141">
                  <c:v>44715</c:v>
                </c:pt>
                <c:pt idx="7142">
                  <c:v>44718</c:v>
                </c:pt>
                <c:pt idx="7143">
                  <c:v>44719</c:v>
                </c:pt>
                <c:pt idx="7144">
                  <c:v>44720</c:v>
                </c:pt>
                <c:pt idx="7145">
                  <c:v>44721</c:v>
                </c:pt>
                <c:pt idx="7146">
                  <c:v>44722</c:v>
                </c:pt>
                <c:pt idx="7147">
                  <c:v>44725</c:v>
                </c:pt>
                <c:pt idx="7148">
                  <c:v>44726</c:v>
                </c:pt>
                <c:pt idx="7149">
                  <c:v>44727</c:v>
                </c:pt>
                <c:pt idx="7150">
                  <c:v>44728</c:v>
                </c:pt>
                <c:pt idx="7151">
                  <c:v>44729</c:v>
                </c:pt>
                <c:pt idx="7152">
                  <c:v>44732</c:v>
                </c:pt>
                <c:pt idx="7153">
                  <c:v>44733</c:v>
                </c:pt>
                <c:pt idx="7154">
                  <c:v>44734</c:v>
                </c:pt>
                <c:pt idx="7155">
                  <c:v>44735</c:v>
                </c:pt>
                <c:pt idx="7156">
                  <c:v>44736</c:v>
                </c:pt>
                <c:pt idx="7157">
                  <c:v>44739</c:v>
                </c:pt>
                <c:pt idx="7158">
                  <c:v>44740</c:v>
                </c:pt>
                <c:pt idx="7159">
                  <c:v>44741</c:v>
                </c:pt>
                <c:pt idx="7160">
                  <c:v>44742</c:v>
                </c:pt>
                <c:pt idx="7161">
                  <c:v>44743</c:v>
                </c:pt>
                <c:pt idx="7162">
                  <c:v>44746</c:v>
                </c:pt>
                <c:pt idx="7163">
                  <c:v>44747</c:v>
                </c:pt>
                <c:pt idx="7164">
                  <c:v>44748</c:v>
                </c:pt>
                <c:pt idx="7165">
                  <c:v>44749</c:v>
                </c:pt>
                <c:pt idx="7166">
                  <c:v>44750</c:v>
                </c:pt>
                <c:pt idx="7167">
                  <c:v>44753</c:v>
                </c:pt>
                <c:pt idx="7168">
                  <c:v>44754</c:v>
                </c:pt>
                <c:pt idx="7169">
                  <c:v>44755</c:v>
                </c:pt>
                <c:pt idx="7170">
                  <c:v>44756</c:v>
                </c:pt>
                <c:pt idx="7171">
                  <c:v>44757</c:v>
                </c:pt>
                <c:pt idx="7172">
                  <c:v>44760</c:v>
                </c:pt>
                <c:pt idx="7173">
                  <c:v>44761</c:v>
                </c:pt>
                <c:pt idx="7174">
                  <c:v>44762</c:v>
                </c:pt>
                <c:pt idx="7175">
                  <c:v>44763</c:v>
                </c:pt>
                <c:pt idx="7176">
                  <c:v>44764</c:v>
                </c:pt>
                <c:pt idx="7177">
                  <c:v>44767</c:v>
                </c:pt>
                <c:pt idx="7178">
                  <c:v>44768</c:v>
                </c:pt>
                <c:pt idx="7179">
                  <c:v>44769</c:v>
                </c:pt>
                <c:pt idx="7180">
                  <c:v>44770</c:v>
                </c:pt>
                <c:pt idx="7181">
                  <c:v>44771</c:v>
                </c:pt>
                <c:pt idx="7182">
                  <c:v>44774</c:v>
                </c:pt>
                <c:pt idx="7183">
                  <c:v>44775</c:v>
                </c:pt>
                <c:pt idx="7184">
                  <c:v>44776</c:v>
                </c:pt>
                <c:pt idx="7185">
                  <c:v>44777</c:v>
                </c:pt>
                <c:pt idx="7186">
                  <c:v>44778</c:v>
                </c:pt>
                <c:pt idx="7187">
                  <c:v>44781</c:v>
                </c:pt>
                <c:pt idx="7188">
                  <c:v>44782</c:v>
                </c:pt>
                <c:pt idx="7189">
                  <c:v>44783</c:v>
                </c:pt>
                <c:pt idx="7190">
                  <c:v>44784</c:v>
                </c:pt>
                <c:pt idx="7191">
                  <c:v>44785</c:v>
                </c:pt>
                <c:pt idx="7192">
                  <c:v>44788</c:v>
                </c:pt>
                <c:pt idx="7193">
                  <c:v>44789</c:v>
                </c:pt>
                <c:pt idx="7194">
                  <c:v>44790</c:v>
                </c:pt>
                <c:pt idx="7195">
                  <c:v>44791</c:v>
                </c:pt>
                <c:pt idx="7196">
                  <c:v>44792</c:v>
                </c:pt>
                <c:pt idx="7197">
                  <c:v>44795</c:v>
                </c:pt>
                <c:pt idx="7198">
                  <c:v>44796</c:v>
                </c:pt>
                <c:pt idx="7199">
                  <c:v>44797</c:v>
                </c:pt>
                <c:pt idx="7200">
                  <c:v>44798</c:v>
                </c:pt>
                <c:pt idx="7201">
                  <c:v>44799</c:v>
                </c:pt>
                <c:pt idx="7202">
                  <c:v>44802</c:v>
                </c:pt>
                <c:pt idx="7203">
                  <c:v>44803</c:v>
                </c:pt>
                <c:pt idx="7204">
                  <c:v>44804</c:v>
                </c:pt>
                <c:pt idx="7205">
                  <c:v>44805</c:v>
                </c:pt>
                <c:pt idx="7206">
                  <c:v>44806</c:v>
                </c:pt>
                <c:pt idx="7207">
                  <c:v>44809</c:v>
                </c:pt>
                <c:pt idx="7208">
                  <c:v>44810</c:v>
                </c:pt>
                <c:pt idx="7209">
                  <c:v>44811</c:v>
                </c:pt>
                <c:pt idx="7210">
                  <c:v>44812</c:v>
                </c:pt>
                <c:pt idx="7211">
                  <c:v>44813</c:v>
                </c:pt>
                <c:pt idx="7212">
                  <c:v>44816</c:v>
                </c:pt>
                <c:pt idx="7213">
                  <c:v>44817</c:v>
                </c:pt>
                <c:pt idx="7214">
                  <c:v>44818</c:v>
                </c:pt>
                <c:pt idx="7215">
                  <c:v>44819</c:v>
                </c:pt>
                <c:pt idx="7216">
                  <c:v>44820</c:v>
                </c:pt>
                <c:pt idx="7217">
                  <c:v>44823</c:v>
                </c:pt>
                <c:pt idx="7218">
                  <c:v>44824</c:v>
                </c:pt>
                <c:pt idx="7219">
                  <c:v>44825</c:v>
                </c:pt>
                <c:pt idx="7220">
                  <c:v>44826</c:v>
                </c:pt>
                <c:pt idx="7221">
                  <c:v>44827</c:v>
                </c:pt>
                <c:pt idx="7222">
                  <c:v>44830</c:v>
                </c:pt>
                <c:pt idx="7223">
                  <c:v>44831</c:v>
                </c:pt>
                <c:pt idx="7224">
                  <c:v>44832</c:v>
                </c:pt>
                <c:pt idx="7225">
                  <c:v>44833</c:v>
                </c:pt>
                <c:pt idx="7226">
                  <c:v>44834</c:v>
                </c:pt>
                <c:pt idx="7227">
                  <c:v>44837</c:v>
                </c:pt>
                <c:pt idx="7228">
                  <c:v>44838</c:v>
                </c:pt>
                <c:pt idx="7229">
                  <c:v>44839</c:v>
                </c:pt>
                <c:pt idx="7230">
                  <c:v>44840</c:v>
                </c:pt>
                <c:pt idx="7231">
                  <c:v>44841</c:v>
                </c:pt>
                <c:pt idx="7232">
                  <c:v>44844</c:v>
                </c:pt>
                <c:pt idx="7233">
                  <c:v>44845</c:v>
                </c:pt>
                <c:pt idx="7234">
                  <c:v>44846</c:v>
                </c:pt>
                <c:pt idx="7235">
                  <c:v>44847</c:v>
                </c:pt>
                <c:pt idx="7236">
                  <c:v>44848</c:v>
                </c:pt>
                <c:pt idx="7237">
                  <c:v>44851</c:v>
                </c:pt>
                <c:pt idx="7238">
                  <c:v>44852</c:v>
                </c:pt>
                <c:pt idx="7239">
                  <c:v>44853</c:v>
                </c:pt>
                <c:pt idx="7240">
                  <c:v>44854</c:v>
                </c:pt>
                <c:pt idx="7241">
                  <c:v>44855</c:v>
                </c:pt>
                <c:pt idx="7242">
                  <c:v>44858</c:v>
                </c:pt>
                <c:pt idx="7243">
                  <c:v>44859</c:v>
                </c:pt>
                <c:pt idx="7244">
                  <c:v>44860</c:v>
                </c:pt>
                <c:pt idx="7245">
                  <c:v>44861</c:v>
                </c:pt>
                <c:pt idx="7246">
                  <c:v>44862</c:v>
                </c:pt>
                <c:pt idx="7247">
                  <c:v>44865</c:v>
                </c:pt>
                <c:pt idx="7248">
                  <c:v>44866</c:v>
                </c:pt>
                <c:pt idx="7249">
                  <c:v>44867</c:v>
                </c:pt>
                <c:pt idx="7250">
                  <c:v>44868</c:v>
                </c:pt>
                <c:pt idx="7251">
                  <c:v>44869</c:v>
                </c:pt>
                <c:pt idx="7252">
                  <c:v>44872</c:v>
                </c:pt>
                <c:pt idx="7253">
                  <c:v>44873</c:v>
                </c:pt>
                <c:pt idx="7254">
                  <c:v>44874</c:v>
                </c:pt>
                <c:pt idx="7255">
                  <c:v>44875</c:v>
                </c:pt>
                <c:pt idx="7256">
                  <c:v>44876</c:v>
                </c:pt>
                <c:pt idx="7257">
                  <c:v>44879</c:v>
                </c:pt>
                <c:pt idx="7258">
                  <c:v>44880</c:v>
                </c:pt>
                <c:pt idx="7259">
                  <c:v>44881</c:v>
                </c:pt>
                <c:pt idx="7260">
                  <c:v>44882</c:v>
                </c:pt>
                <c:pt idx="7261">
                  <c:v>44883</c:v>
                </c:pt>
                <c:pt idx="7262">
                  <c:v>44886</c:v>
                </c:pt>
                <c:pt idx="7263">
                  <c:v>44887</c:v>
                </c:pt>
                <c:pt idx="7264">
                  <c:v>44888</c:v>
                </c:pt>
                <c:pt idx="7265">
                  <c:v>44889</c:v>
                </c:pt>
                <c:pt idx="7266">
                  <c:v>44890</c:v>
                </c:pt>
                <c:pt idx="7267">
                  <c:v>44893</c:v>
                </c:pt>
                <c:pt idx="7268">
                  <c:v>44894</c:v>
                </c:pt>
                <c:pt idx="7269">
                  <c:v>44895</c:v>
                </c:pt>
                <c:pt idx="7270">
                  <c:v>44896</c:v>
                </c:pt>
                <c:pt idx="7271">
                  <c:v>44897</c:v>
                </c:pt>
                <c:pt idx="7272">
                  <c:v>44900</c:v>
                </c:pt>
                <c:pt idx="7273">
                  <c:v>44901</c:v>
                </c:pt>
                <c:pt idx="7274">
                  <c:v>44902</c:v>
                </c:pt>
                <c:pt idx="7275">
                  <c:v>44903</c:v>
                </c:pt>
                <c:pt idx="7276">
                  <c:v>44904</c:v>
                </c:pt>
                <c:pt idx="7277">
                  <c:v>44907</c:v>
                </c:pt>
                <c:pt idx="7278">
                  <c:v>44908</c:v>
                </c:pt>
                <c:pt idx="7279">
                  <c:v>44909</c:v>
                </c:pt>
                <c:pt idx="7280">
                  <c:v>44910</c:v>
                </c:pt>
                <c:pt idx="7281">
                  <c:v>44911</c:v>
                </c:pt>
                <c:pt idx="7282">
                  <c:v>44914</c:v>
                </c:pt>
                <c:pt idx="7283">
                  <c:v>44915</c:v>
                </c:pt>
                <c:pt idx="7284">
                  <c:v>44916</c:v>
                </c:pt>
                <c:pt idx="7285">
                  <c:v>44917</c:v>
                </c:pt>
                <c:pt idx="7286">
                  <c:v>44918</c:v>
                </c:pt>
                <c:pt idx="7287">
                  <c:v>44921</c:v>
                </c:pt>
                <c:pt idx="7288">
                  <c:v>44922</c:v>
                </c:pt>
                <c:pt idx="7289">
                  <c:v>44923</c:v>
                </c:pt>
                <c:pt idx="7290">
                  <c:v>44924</c:v>
                </c:pt>
                <c:pt idx="7291">
                  <c:v>44925</c:v>
                </c:pt>
                <c:pt idx="7292">
                  <c:v>44928</c:v>
                </c:pt>
                <c:pt idx="7293">
                  <c:v>44929</c:v>
                </c:pt>
                <c:pt idx="7294">
                  <c:v>44930</c:v>
                </c:pt>
                <c:pt idx="7295">
                  <c:v>44931</c:v>
                </c:pt>
                <c:pt idx="7296">
                  <c:v>44932</c:v>
                </c:pt>
                <c:pt idx="7297">
                  <c:v>44935</c:v>
                </c:pt>
                <c:pt idx="7298">
                  <c:v>44936</c:v>
                </c:pt>
                <c:pt idx="7299">
                  <c:v>44937</c:v>
                </c:pt>
                <c:pt idx="7300">
                  <c:v>44938</c:v>
                </c:pt>
                <c:pt idx="7301">
                  <c:v>44939</c:v>
                </c:pt>
                <c:pt idx="7302">
                  <c:v>44942</c:v>
                </c:pt>
                <c:pt idx="7303">
                  <c:v>44943</c:v>
                </c:pt>
                <c:pt idx="7304">
                  <c:v>44944</c:v>
                </c:pt>
                <c:pt idx="7305">
                  <c:v>44945</c:v>
                </c:pt>
                <c:pt idx="7306">
                  <c:v>44946</c:v>
                </c:pt>
                <c:pt idx="7307">
                  <c:v>44949</c:v>
                </c:pt>
                <c:pt idx="7308">
                  <c:v>44950</c:v>
                </c:pt>
                <c:pt idx="7309">
                  <c:v>44951</c:v>
                </c:pt>
                <c:pt idx="7310">
                  <c:v>44952</c:v>
                </c:pt>
                <c:pt idx="7311">
                  <c:v>44953</c:v>
                </c:pt>
                <c:pt idx="7312">
                  <c:v>44956</c:v>
                </c:pt>
                <c:pt idx="7313">
                  <c:v>44957</c:v>
                </c:pt>
                <c:pt idx="7314">
                  <c:v>44958</c:v>
                </c:pt>
                <c:pt idx="7315">
                  <c:v>44959</c:v>
                </c:pt>
                <c:pt idx="7316">
                  <c:v>44960</c:v>
                </c:pt>
                <c:pt idx="7317">
                  <c:v>44963</c:v>
                </c:pt>
                <c:pt idx="7318">
                  <c:v>44964</c:v>
                </c:pt>
                <c:pt idx="7319">
                  <c:v>44965</c:v>
                </c:pt>
                <c:pt idx="7320">
                  <c:v>44966</c:v>
                </c:pt>
                <c:pt idx="7321">
                  <c:v>44967</c:v>
                </c:pt>
                <c:pt idx="7322">
                  <c:v>44970</c:v>
                </c:pt>
                <c:pt idx="7323">
                  <c:v>44971</c:v>
                </c:pt>
                <c:pt idx="7324">
                  <c:v>44972</c:v>
                </c:pt>
                <c:pt idx="7325">
                  <c:v>44973</c:v>
                </c:pt>
                <c:pt idx="7326">
                  <c:v>44974</c:v>
                </c:pt>
                <c:pt idx="7327">
                  <c:v>44977</c:v>
                </c:pt>
                <c:pt idx="7328">
                  <c:v>44978</c:v>
                </c:pt>
                <c:pt idx="7329">
                  <c:v>44979</c:v>
                </c:pt>
                <c:pt idx="7330">
                  <c:v>44980</c:v>
                </c:pt>
                <c:pt idx="7331">
                  <c:v>44981</c:v>
                </c:pt>
                <c:pt idx="7332">
                  <c:v>44984</c:v>
                </c:pt>
                <c:pt idx="7333">
                  <c:v>44985</c:v>
                </c:pt>
                <c:pt idx="7334">
                  <c:v>44986</c:v>
                </c:pt>
                <c:pt idx="7335">
                  <c:v>44987</c:v>
                </c:pt>
                <c:pt idx="7336">
                  <c:v>44988</c:v>
                </c:pt>
                <c:pt idx="7337">
                  <c:v>44991</c:v>
                </c:pt>
                <c:pt idx="7338">
                  <c:v>44992</c:v>
                </c:pt>
                <c:pt idx="7339">
                  <c:v>44993</c:v>
                </c:pt>
                <c:pt idx="7340">
                  <c:v>44994</c:v>
                </c:pt>
                <c:pt idx="7341">
                  <c:v>44995</c:v>
                </c:pt>
                <c:pt idx="7342">
                  <c:v>44998</c:v>
                </c:pt>
                <c:pt idx="7343">
                  <c:v>44999</c:v>
                </c:pt>
                <c:pt idx="7344">
                  <c:v>45000</c:v>
                </c:pt>
                <c:pt idx="7345">
                  <c:v>45001</c:v>
                </c:pt>
                <c:pt idx="7346">
                  <c:v>45002</c:v>
                </c:pt>
                <c:pt idx="7347">
                  <c:v>45005</c:v>
                </c:pt>
                <c:pt idx="7348">
                  <c:v>45006</c:v>
                </c:pt>
                <c:pt idx="7349">
                  <c:v>45007</c:v>
                </c:pt>
                <c:pt idx="7350">
                  <c:v>45008</c:v>
                </c:pt>
                <c:pt idx="7351">
                  <c:v>45009</c:v>
                </c:pt>
                <c:pt idx="7352">
                  <c:v>45012</c:v>
                </c:pt>
                <c:pt idx="7353">
                  <c:v>45013</c:v>
                </c:pt>
                <c:pt idx="7354">
                  <c:v>45014</c:v>
                </c:pt>
                <c:pt idx="7355">
                  <c:v>45015</c:v>
                </c:pt>
                <c:pt idx="7356">
                  <c:v>45016</c:v>
                </c:pt>
                <c:pt idx="7357">
                  <c:v>45019</c:v>
                </c:pt>
                <c:pt idx="7358">
                  <c:v>45020</c:v>
                </c:pt>
                <c:pt idx="7359">
                  <c:v>45021</c:v>
                </c:pt>
                <c:pt idx="7360">
                  <c:v>45022</c:v>
                </c:pt>
                <c:pt idx="7361">
                  <c:v>45023</c:v>
                </c:pt>
                <c:pt idx="7362">
                  <c:v>45026</c:v>
                </c:pt>
                <c:pt idx="7363">
                  <c:v>45027</c:v>
                </c:pt>
                <c:pt idx="7364">
                  <c:v>45028</c:v>
                </c:pt>
                <c:pt idx="7365">
                  <c:v>45029</c:v>
                </c:pt>
                <c:pt idx="7366">
                  <c:v>45030</c:v>
                </c:pt>
                <c:pt idx="7367">
                  <c:v>45033</c:v>
                </c:pt>
                <c:pt idx="7368">
                  <c:v>45034</c:v>
                </c:pt>
                <c:pt idx="7369">
                  <c:v>45035</c:v>
                </c:pt>
                <c:pt idx="7370">
                  <c:v>45036</c:v>
                </c:pt>
                <c:pt idx="7371">
                  <c:v>45037</c:v>
                </c:pt>
                <c:pt idx="7372">
                  <c:v>45040</c:v>
                </c:pt>
                <c:pt idx="7373">
                  <c:v>45041</c:v>
                </c:pt>
                <c:pt idx="7374">
                  <c:v>45042</c:v>
                </c:pt>
                <c:pt idx="7375">
                  <c:v>45043</c:v>
                </c:pt>
                <c:pt idx="7376">
                  <c:v>45044</c:v>
                </c:pt>
                <c:pt idx="7377">
                  <c:v>45047</c:v>
                </c:pt>
                <c:pt idx="7378">
                  <c:v>45048</c:v>
                </c:pt>
                <c:pt idx="7379">
                  <c:v>45049</c:v>
                </c:pt>
                <c:pt idx="7380">
                  <c:v>45050</c:v>
                </c:pt>
                <c:pt idx="7381">
                  <c:v>45051</c:v>
                </c:pt>
                <c:pt idx="7382">
                  <c:v>45054</c:v>
                </c:pt>
                <c:pt idx="7383">
                  <c:v>45055</c:v>
                </c:pt>
                <c:pt idx="7384">
                  <c:v>45056</c:v>
                </c:pt>
                <c:pt idx="7385">
                  <c:v>45057</c:v>
                </c:pt>
                <c:pt idx="7386">
                  <c:v>45058</c:v>
                </c:pt>
                <c:pt idx="7387">
                  <c:v>45061</c:v>
                </c:pt>
                <c:pt idx="7388">
                  <c:v>45062</c:v>
                </c:pt>
                <c:pt idx="7389">
                  <c:v>45063</c:v>
                </c:pt>
                <c:pt idx="7390">
                  <c:v>45064</c:v>
                </c:pt>
                <c:pt idx="7391">
                  <c:v>45065</c:v>
                </c:pt>
                <c:pt idx="7392">
                  <c:v>45068</c:v>
                </c:pt>
                <c:pt idx="7393">
                  <c:v>45069</c:v>
                </c:pt>
                <c:pt idx="7394">
                  <c:v>45070</c:v>
                </c:pt>
                <c:pt idx="7395">
                  <c:v>45071</c:v>
                </c:pt>
                <c:pt idx="7396">
                  <c:v>45072</c:v>
                </c:pt>
                <c:pt idx="7397">
                  <c:v>45075</c:v>
                </c:pt>
                <c:pt idx="7398">
                  <c:v>45076</c:v>
                </c:pt>
                <c:pt idx="7399">
                  <c:v>45077</c:v>
                </c:pt>
                <c:pt idx="7400">
                  <c:v>45078</c:v>
                </c:pt>
                <c:pt idx="7401">
                  <c:v>45079</c:v>
                </c:pt>
                <c:pt idx="7402">
                  <c:v>45082</c:v>
                </c:pt>
                <c:pt idx="7403">
                  <c:v>45083</c:v>
                </c:pt>
                <c:pt idx="7404">
                  <c:v>45084</c:v>
                </c:pt>
                <c:pt idx="7405">
                  <c:v>45085</c:v>
                </c:pt>
                <c:pt idx="7406">
                  <c:v>45086</c:v>
                </c:pt>
                <c:pt idx="7407">
                  <c:v>45089</c:v>
                </c:pt>
                <c:pt idx="7408">
                  <c:v>45090</c:v>
                </c:pt>
                <c:pt idx="7409">
                  <c:v>45091</c:v>
                </c:pt>
                <c:pt idx="7410">
                  <c:v>45092</c:v>
                </c:pt>
                <c:pt idx="7411">
                  <c:v>45093</c:v>
                </c:pt>
                <c:pt idx="7412">
                  <c:v>45096</c:v>
                </c:pt>
                <c:pt idx="7413">
                  <c:v>45097</c:v>
                </c:pt>
                <c:pt idx="7414">
                  <c:v>45098</c:v>
                </c:pt>
                <c:pt idx="7415">
                  <c:v>45099</c:v>
                </c:pt>
                <c:pt idx="7416">
                  <c:v>45100</c:v>
                </c:pt>
                <c:pt idx="7417">
                  <c:v>45103</c:v>
                </c:pt>
                <c:pt idx="7418">
                  <c:v>45104</c:v>
                </c:pt>
                <c:pt idx="7419">
                  <c:v>45105</c:v>
                </c:pt>
                <c:pt idx="7420">
                  <c:v>45106</c:v>
                </c:pt>
                <c:pt idx="7421">
                  <c:v>45107</c:v>
                </c:pt>
                <c:pt idx="7422">
                  <c:v>45110</c:v>
                </c:pt>
                <c:pt idx="7423">
                  <c:v>45111</c:v>
                </c:pt>
                <c:pt idx="7424">
                  <c:v>45112</c:v>
                </c:pt>
                <c:pt idx="7425">
                  <c:v>45113</c:v>
                </c:pt>
                <c:pt idx="7426">
                  <c:v>45114</c:v>
                </c:pt>
                <c:pt idx="7427">
                  <c:v>45117</c:v>
                </c:pt>
                <c:pt idx="7428">
                  <c:v>45118</c:v>
                </c:pt>
                <c:pt idx="7429">
                  <c:v>45119</c:v>
                </c:pt>
                <c:pt idx="7430">
                  <c:v>45120</c:v>
                </c:pt>
                <c:pt idx="7431">
                  <c:v>45121</c:v>
                </c:pt>
                <c:pt idx="7432">
                  <c:v>45124</c:v>
                </c:pt>
                <c:pt idx="7433">
                  <c:v>45125</c:v>
                </c:pt>
                <c:pt idx="7434">
                  <c:v>45126</c:v>
                </c:pt>
                <c:pt idx="7435">
                  <c:v>45127</c:v>
                </c:pt>
                <c:pt idx="7436">
                  <c:v>45128</c:v>
                </c:pt>
                <c:pt idx="7437">
                  <c:v>45131</c:v>
                </c:pt>
                <c:pt idx="7438">
                  <c:v>45132</c:v>
                </c:pt>
                <c:pt idx="7439">
                  <c:v>45133</c:v>
                </c:pt>
                <c:pt idx="7440">
                  <c:v>45134</c:v>
                </c:pt>
                <c:pt idx="7441">
                  <c:v>45135</c:v>
                </c:pt>
                <c:pt idx="7442">
                  <c:v>45138</c:v>
                </c:pt>
                <c:pt idx="7443">
                  <c:v>45139</c:v>
                </c:pt>
                <c:pt idx="7444">
                  <c:v>45140</c:v>
                </c:pt>
                <c:pt idx="7445">
                  <c:v>45141</c:v>
                </c:pt>
                <c:pt idx="7446">
                  <c:v>45142</c:v>
                </c:pt>
                <c:pt idx="7447">
                  <c:v>45145</c:v>
                </c:pt>
                <c:pt idx="7448">
                  <c:v>45146</c:v>
                </c:pt>
                <c:pt idx="7449">
                  <c:v>45147</c:v>
                </c:pt>
                <c:pt idx="7450">
                  <c:v>45148</c:v>
                </c:pt>
                <c:pt idx="7451">
                  <c:v>45149</c:v>
                </c:pt>
                <c:pt idx="7452">
                  <c:v>45152</c:v>
                </c:pt>
                <c:pt idx="7453">
                  <c:v>45153</c:v>
                </c:pt>
                <c:pt idx="7454">
                  <c:v>45154</c:v>
                </c:pt>
                <c:pt idx="7455">
                  <c:v>45155</c:v>
                </c:pt>
                <c:pt idx="7456">
                  <c:v>45156</c:v>
                </c:pt>
                <c:pt idx="7457">
                  <c:v>45159</c:v>
                </c:pt>
                <c:pt idx="7458">
                  <c:v>45160</c:v>
                </c:pt>
                <c:pt idx="7459">
                  <c:v>45161</c:v>
                </c:pt>
                <c:pt idx="7460">
                  <c:v>45162</c:v>
                </c:pt>
                <c:pt idx="7461">
                  <c:v>45163</c:v>
                </c:pt>
                <c:pt idx="7462">
                  <c:v>45166</c:v>
                </c:pt>
                <c:pt idx="7463">
                  <c:v>45167</c:v>
                </c:pt>
                <c:pt idx="7464">
                  <c:v>45168</c:v>
                </c:pt>
                <c:pt idx="7465">
                  <c:v>45169</c:v>
                </c:pt>
                <c:pt idx="7466">
                  <c:v>45170</c:v>
                </c:pt>
                <c:pt idx="7467">
                  <c:v>45173</c:v>
                </c:pt>
                <c:pt idx="7468">
                  <c:v>45174</c:v>
                </c:pt>
                <c:pt idx="7469">
                  <c:v>45175</c:v>
                </c:pt>
                <c:pt idx="7470">
                  <c:v>45176</c:v>
                </c:pt>
                <c:pt idx="7471">
                  <c:v>45177</c:v>
                </c:pt>
                <c:pt idx="7472">
                  <c:v>45180</c:v>
                </c:pt>
                <c:pt idx="7473">
                  <c:v>45181</c:v>
                </c:pt>
                <c:pt idx="7474">
                  <c:v>45182</c:v>
                </c:pt>
                <c:pt idx="7475">
                  <c:v>45183</c:v>
                </c:pt>
                <c:pt idx="7476">
                  <c:v>45184</c:v>
                </c:pt>
                <c:pt idx="7477">
                  <c:v>45187</c:v>
                </c:pt>
                <c:pt idx="7478">
                  <c:v>45188</c:v>
                </c:pt>
                <c:pt idx="7479">
                  <c:v>45189</c:v>
                </c:pt>
                <c:pt idx="7480">
                  <c:v>45190</c:v>
                </c:pt>
                <c:pt idx="7481">
                  <c:v>45191</c:v>
                </c:pt>
                <c:pt idx="7482">
                  <c:v>45194</c:v>
                </c:pt>
                <c:pt idx="7483">
                  <c:v>45195</c:v>
                </c:pt>
                <c:pt idx="7484">
                  <c:v>45196</c:v>
                </c:pt>
                <c:pt idx="7485">
                  <c:v>45197</c:v>
                </c:pt>
                <c:pt idx="7486">
                  <c:v>45198</c:v>
                </c:pt>
                <c:pt idx="7487">
                  <c:v>45201</c:v>
                </c:pt>
                <c:pt idx="7488">
                  <c:v>45202</c:v>
                </c:pt>
                <c:pt idx="7489">
                  <c:v>45203</c:v>
                </c:pt>
                <c:pt idx="7490">
                  <c:v>45204</c:v>
                </c:pt>
                <c:pt idx="7491">
                  <c:v>45205</c:v>
                </c:pt>
                <c:pt idx="7492">
                  <c:v>45208</c:v>
                </c:pt>
                <c:pt idx="7493">
                  <c:v>45209</c:v>
                </c:pt>
                <c:pt idx="7494">
                  <c:v>45210</c:v>
                </c:pt>
                <c:pt idx="7495">
                  <c:v>45211</c:v>
                </c:pt>
                <c:pt idx="7496">
                  <c:v>45212</c:v>
                </c:pt>
                <c:pt idx="7497">
                  <c:v>45215</c:v>
                </c:pt>
                <c:pt idx="7498">
                  <c:v>45216</c:v>
                </c:pt>
                <c:pt idx="7499">
                  <c:v>45217</c:v>
                </c:pt>
                <c:pt idx="7500">
                  <c:v>45218</c:v>
                </c:pt>
                <c:pt idx="7501">
                  <c:v>45219</c:v>
                </c:pt>
                <c:pt idx="7502">
                  <c:v>45222</c:v>
                </c:pt>
                <c:pt idx="7503">
                  <c:v>45223</c:v>
                </c:pt>
                <c:pt idx="7504">
                  <c:v>45224</c:v>
                </c:pt>
                <c:pt idx="7505">
                  <c:v>45225</c:v>
                </c:pt>
                <c:pt idx="7506">
                  <c:v>45226</c:v>
                </c:pt>
                <c:pt idx="7507">
                  <c:v>45229</c:v>
                </c:pt>
                <c:pt idx="7508">
                  <c:v>45230</c:v>
                </c:pt>
                <c:pt idx="7509">
                  <c:v>45231</c:v>
                </c:pt>
                <c:pt idx="7510">
                  <c:v>45232</c:v>
                </c:pt>
                <c:pt idx="7511">
                  <c:v>45233</c:v>
                </c:pt>
                <c:pt idx="7512">
                  <c:v>45236</c:v>
                </c:pt>
                <c:pt idx="7513">
                  <c:v>45237</c:v>
                </c:pt>
                <c:pt idx="7514">
                  <c:v>45238</c:v>
                </c:pt>
                <c:pt idx="7515">
                  <c:v>45239</c:v>
                </c:pt>
                <c:pt idx="7516">
                  <c:v>45240</c:v>
                </c:pt>
                <c:pt idx="7517">
                  <c:v>45243</c:v>
                </c:pt>
                <c:pt idx="7518">
                  <c:v>45244</c:v>
                </c:pt>
                <c:pt idx="7519">
                  <c:v>45245</c:v>
                </c:pt>
                <c:pt idx="7520">
                  <c:v>45246</c:v>
                </c:pt>
                <c:pt idx="7521">
                  <c:v>45247</c:v>
                </c:pt>
                <c:pt idx="7522">
                  <c:v>45250</c:v>
                </c:pt>
                <c:pt idx="7523">
                  <c:v>45251</c:v>
                </c:pt>
                <c:pt idx="7524">
                  <c:v>45252</c:v>
                </c:pt>
                <c:pt idx="7525">
                  <c:v>45253</c:v>
                </c:pt>
                <c:pt idx="7526">
                  <c:v>45254</c:v>
                </c:pt>
                <c:pt idx="7527">
                  <c:v>45257</c:v>
                </c:pt>
                <c:pt idx="7528">
                  <c:v>45258</c:v>
                </c:pt>
                <c:pt idx="7529">
                  <c:v>45259</c:v>
                </c:pt>
                <c:pt idx="7530">
                  <c:v>45260</c:v>
                </c:pt>
                <c:pt idx="7531">
                  <c:v>45261</c:v>
                </c:pt>
                <c:pt idx="7532">
                  <c:v>45264</c:v>
                </c:pt>
                <c:pt idx="7533">
                  <c:v>45265</c:v>
                </c:pt>
                <c:pt idx="7534">
                  <c:v>45266</c:v>
                </c:pt>
                <c:pt idx="7535">
                  <c:v>45267</c:v>
                </c:pt>
                <c:pt idx="7536">
                  <c:v>45268</c:v>
                </c:pt>
                <c:pt idx="7537">
                  <c:v>45271</c:v>
                </c:pt>
                <c:pt idx="7538">
                  <c:v>45272</c:v>
                </c:pt>
                <c:pt idx="7539">
                  <c:v>45273</c:v>
                </c:pt>
                <c:pt idx="7540">
                  <c:v>45274</c:v>
                </c:pt>
                <c:pt idx="7541">
                  <c:v>45275</c:v>
                </c:pt>
                <c:pt idx="7542">
                  <c:v>45278</c:v>
                </c:pt>
                <c:pt idx="7543">
                  <c:v>45279</c:v>
                </c:pt>
                <c:pt idx="7544">
                  <c:v>45280</c:v>
                </c:pt>
                <c:pt idx="7545">
                  <c:v>45281</c:v>
                </c:pt>
                <c:pt idx="7546">
                  <c:v>45282</c:v>
                </c:pt>
                <c:pt idx="7547">
                  <c:v>45285</c:v>
                </c:pt>
                <c:pt idx="7548">
                  <c:v>45286</c:v>
                </c:pt>
                <c:pt idx="7549">
                  <c:v>45287</c:v>
                </c:pt>
                <c:pt idx="7550">
                  <c:v>45288</c:v>
                </c:pt>
                <c:pt idx="7551">
                  <c:v>45289</c:v>
                </c:pt>
                <c:pt idx="7552">
                  <c:v>45292</c:v>
                </c:pt>
                <c:pt idx="7553">
                  <c:v>45293</c:v>
                </c:pt>
                <c:pt idx="7554">
                  <c:v>45294</c:v>
                </c:pt>
                <c:pt idx="7555">
                  <c:v>45295</c:v>
                </c:pt>
                <c:pt idx="7556">
                  <c:v>45296</c:v>
                </c:pt>
                <c:pt idx="7557">
                  <c:v>45299</c:v>
                </c:pt>
                <c:pt idx="7558">
                  <c:v>45300</c:v>
                </c:pt>
                <c:pt idx="7559">
                  <c:v>45301</c:v>
                </c:pt>
                <c:pt idx="7560">
                  <c:v>45302</c:v>
                </c:pt>
                <c:pt idx="7561">
                  <c:v>45303</c:v>
                </c:pt>
                <c:pt idx="7562">
                  <c:v>45306</c:v>
                </c:pt>
                <c:pt idx="7563">
                  <c:v>45307</c:v>
                </c:pt>
                <c:pt idx="7564">
                  <c:v>45308</c:v>
                </c:pt>
                <c:pt idx="7565">
                  <c:v>45309</c:v>
                </c:pt>
                <c:pt idx="7566">
                  <c:v>45310</c:v>
                </c:pt>
                <c:pt idx="7567">
                  <c:v>45313</c:v>
                </c:pt>
                <c:pt idx="7568">
                  <c:v>45314</c:v>
                </c:pt>
                <c:pt idx="7569">
                  <c:v>45315</c:v>
                </c:pt>
                <c:pt idx="7570">
                  <c:v>45316</c:v>
                </c:pt>
                <c:pt idx="7571">
                  <c:v>45317</c:v>
                </c:pt>
                <c:pt idx="7572">
                  <c:v>45320</c:v>
                </c:pt>
                <c:pt idx="7573">
                  <c:v>45321</c:v>
                </c:pt>
                <c:pt idx="7574">
                  <c:v>45322</c:v>
                </c:pt>
                <c:pt idx="7575">
                  <c:v>45323</c:v>
                </c:pt>
                <c:pt idx="7576">
                  <c:v>45324</c:v>
                </c:pt>
                <c:pt idx="7577">
                  <c:v>45327</c:v>
                </c:pt>
                <c:pt idx="7578">
                  <c:v>45328</c:v>
                </c:pt>
                <c:pt idx="7579">
                  <c:v>45329</c:v>
                </c:pt>
                <c:pt idx="7580">
                  <c:v>45330</c:v>
                </c:pt>
                <c:pt idx="7581">
                  <c:v>45331</c:v>
                </c:pt>
                <c:pt idx="7582">
                  <c:v>45334</c:v>
                </c:pt>
                <c:pt idx="7583">
                  <c:v>45335</c:v>
                </c:pt>
                <c:pt idx="7584">
                  <c:v>45336</c:v>
                </c:pt>
                <c:pt idx="7585">
                  <c:v>45337</c:v>
                </c:pt>
                <c:pt idx="7586">
                  <c:v>45338</c:v>
                </c:pt>
                <c:pt idx="7587">
                  <c:v>45341</c:v>
                </c:pt>
                <c:pt idx="7588">
                  <c:v>45342</c:v>
                </c:pt>
                <c:pt idx="7589">
                  <c:v>45343</c:v>
                </c:pt>
                <c:pt idx="7590">
                  <c:v>45344</c:v>
                </c:pt>
                <c:pt idx="7591">
                  <c:v>45345</c:v>
                </c:pt>
                <c:pt idx="7592">
                  <c:v>45348</c:v>
                </c:pt>
                <c:pt idx="7593">
                  <c:v>45349</c:v>
                </c:pt>
                <c:pt idx="7594">
                  <c:v>45350</c:v>
                </c:pt>
                <c:pt idx="7595">
                  <c:v>45351</c:v>
                </c:pt>
                <c:pt idx="7596">
                  <c:v>45352</c:v>
                </c:pt>
                <c:pt idx="7597">
                  <c:v>45355</c:v>
                </c:pt>
                <c:pt idx="7598">
                  <c:v>45356</c:v>
                </c:pt>
                <c:pt idx="7599">
                  <c:v>45357</c:v>
                </c:pt>
                <c:pt idx="7600">
                  <c:v>45358</c:v>
                </c:pt>
                <c:pt idx="7601">
                  <c:v>45359</c:v>
                </c:pt>
                <c:pt idx="7602">
                  <c:v>45362</c:v>
                </c:pt>
                <c:pt idx="7603">
                  <c:v>45363</c:v>
                </c:pt>
                <c:pt idx="7604">
                  <c:v>45364</c:v>
                </c:pt>
                <c:pt idx="7605">
                  <c:v>45365</c:v>
                </c:pt>
                <c:pt idx="7606">
                  <c:v>45366</c:v>
                </c:pt>
                <c:pt idx="7607">
                  <c:v>45369</c:v>
                </c:pt>
                <c:pt idx="7608">
                  <c:v>45370</c:v>
                </c:pt>
                <c:pt idx="7609">
                  <c:v>45371</c:v>
                </c:pt>
                <c:pt idx="7610">
                  <c:v>45372</c:v>
                </c:pt>
                <c:pt idx="7611">
                  <c:v>45373</c:v>
                </c:pt>
                <c:pt idx="7612">
                  <c:v>45376</c:v>
                </c:pt>
                <c:pt idx="7613">
                  <c:v>45377</c:v>
                </c:pt>
                <c:pt idx="7614">
                  <c:v>45378</c:v>
                </c:pt>
                <c:pt idx="7615">
                  <c:v>45379</c:v>
                </c:pt>
                <c:pt idx="7616">
                  <c:v>45380</c:v>
                </c:pt>
                <c:pt idx="7617">
                  <c:v>45383</c:v>
                </c:pt>
                <c:pt idx="7618">
                  <c:v>45384</c:v>
                </c:pt>
                <c:pt idx="7619">
                  <c:v>45385</c:v>
                </c:pt>
                <c:pt idx="7620">
                  <c:v>45386</c:v>
                </c:pt>
                <c:pt idx="7621">
                  <c:v>45387</c:v>
                </c:pt>
                <c:pt idx="7622">
                  <c:v>45390</c:v>
                </c:pt>
                <c:pt idx="7623">
                  <c:v>45391</c:v>
                </c:pt>
                <c:pt idx="7624">
                  <c:v>45392</c:v>
                </c:pt>
                <c:pt idx="7625">
                  <c:v>45393</c:v>
                </c:pt>
                <c:pt idx="7626">
                  <c:v>45394</c:v>
                </c:pt>
                <c:pt idx="7627">
                  <c:v>45397</c:v>
                </c:pt>
                <c:pt idx="7628">
                  <c:v>45398</c:v>
                </c:pt>
                <c:pt idx="7629">
                  <c:v>45399</c:v>
                </c:pt>
                <c:pt idx="7630">
                  <c:v>45400</c:v>
                </c:pt>
                <c:pt idx="7631">
                  <c:v>45401</c:v>
                </c:pt>
                <c:pt idx="7632">
                  <c:v>45404</c:v>
                </c:pt>
                <c:pt idx="7633">
                  <c:v>45405</c:v>
                </c:pt>
                <c:pt idx="7634">
                  <c:v>45406</c:v>
                </c:pt>
                <c:pt idx="7635">
                  <c:v>45407</c:v>
                </c:pt>
                <c:pt idx="7636">
                  <c:v>45408</c:v>
                </c:pt>
                <c:pt idx="7637">
                  <c:v>45411</c:v>
                </c:pt>
                <c:pt idx="7638">
                  <c:v>45412</c:v>
                </c:pt>
                <c:pt idx="7639">
                  <c:v>45413</c:v>
                </c:pt>
                <c:pt idx="7640">
                  <c:v>45414</c:v>
                </c:pt>
                <c:pt idx="7641">
                  <c:v>45415</c:v>
                </c:pt>
                <c:pt idx="7642">
                  <c:v>45418</c:v>
                </c:pt>
                <c:pt idx="7643">
                  <c:v>45419</c:v>
                </c:pt>
                <c:pt idx="7644">
                  <c:v>45420</c:v>
                </c:pt>
                <c:pt idx="7645">
                  <c:v>45421</c:v>
                </c:pt>
                <c:pt idx="7646">
                  <c:v>45422</c:v>
                </c:pt>
                <c:pt idx="7647">
                  <c:v>45425</c:v>
                </c:pt>
                <c:pt idx="7648">
                  <c:v>45426</c:v>
                </c:pt>
                <c:pt idx="7649">
                  <c:v>45427</c:v>
                </c:pt>
                <c:pt idx="7650">
                  <c:v>45428</c:v>
                </c:pt>
                <c:pt idx="7651">
                  <c:v>45429</c:v>
                </c:pt>
                <c:pt idx="7652">
                  <c:v>45432</c:v>
                </c:pt>
                <c:pt idx="7653">
                  <c:v>45433</c:v>
                </c:pt>
                <c:pt idx="7654">
                  <c:v>45434</c:v>
                </c:pt>
                <c:pt idx="7655">
                  <c:v>45435</c:v>
                </c:pt>
                <c:pt idx="7656">
                  <c:v>45436</c:v>
                </c:pt>
                <c:pt idx="7657">
                  <c:v>45439</c:v>
                </c:pt>
                <c:pt idx="7658">
                  <c:v>45440</c:v>
                </c:pt>
                <c:pt idx="7659">
                  <c:v>45441</c:v>
                </c:pt>
                <c:pt idx="7660">
                  <c:v>45442</c:v>
                </c:pt>
                <c:pt idx="7661">
                  <c:v>45443</c:v>
                </c:pt>
                <c:pt idx="7662">
                  <c:v>45446</c:v>
                </c:pt>
                <c:pt idx="7663">
                  <c:v>45447</c:v>
                </c:pt>
                <c:pt idx="7664">
                  <c:v>45448</c:v>
                </c:pt>
                <c:pt idx="7665">
                  <c:v>45449</c:v>
                </c:pt>
                <c:pt idx="7666">
                  <c:v>45450</c:v>
                </c:pt>
                <c:pt idx="7667">
                  <c:v>45453</c:v>
                </c:pt>
                <c:pt idx="7668">
                  <c:v>45454</c:v>
                </c:pt>
                <c:pt idx="7669">
                  <c:v>45455</c:v>
                </c:pt>
                <c:pt idx="7670">
                  <c:v>45456</c:v>
                </c:pt>
                <c:pt idx="7671">
                  <c:v>45457</c:v>
                </c:pt>
                <c:pt idx="7672">
                  <c:v>45460</c:v>
                </c:pt>
                <c:pt idx="7673">
                  <c:v>45461</c:v>
                </c:pt>
                <c:pt idx="7674">
                  <c:v>45462</c:v>
                </c:pt>
                <c:pt idx="7675">
                  <c:v>45463</c:v>
                </c:pt>
                <c:pt idx="7676">
                  <c:v>45464</c:v>
                </c:pt>
                <c:pt idx="7677">
                  <c:v>45467</c:v>
                </c:pt>
                <c:pt idx="7678">
                  <c:v>45468</c:v>
                </c:pt>
                <c:pt idx="7679">
                  <c:v>45469</c:v>
                </c:pt>
                <c:pt idx="7680">
                  <c:v>45470</c:v>
                </c:pt>
                <c:pt idx="7681">
                  <c:v>45471</c:v>
                </c:pt>
                <c:pt idx="7682">
                  <c:v>45474</c:v>
                </c:pt>
                <c:pt idx="7683">
                  <c:v>45475</c:v>
                </c:pt>
                <c:pt idx="7684">
                  <c:v>45476</c:v>
                </c:pt>
                <c:pt idx="7685">
                  <c:v>45477</c:v>
                </c:pt>
                <c:pt idx="7686">
                  <c:v>45478</c:v>
                </c:pt>
                <c:pt idx="7687">
                  <c:v>45481</c:v>
                </c:pt>
                <c:pt idx="7688">
                  <c:v>45482</c:v>
                </c:pt>
                <c:pt idx="7689">
                  <c:v>45483</c:v>
                </c:pt>
                <c:pt idx="7690">
                  <c:v>45484</c:v>
                </c:pt>
                <c:pt idx="7691">
                  <c:v>45485</c:v>
                </c:pt>
                <c:pt idx="7692">
                  <c:v>45488</c:v>
                </c:pt>
                <c:pt idx="7693">
                  <c:v>45489</c:v>
                </c:pt>
                <c:pt idx="7694">
                  <c:v>45490</c:v>
                </c:pt>
                <c:pt idx="7695">
                  <c:v>45491</c:v>
                </c:pt>
                <c:pt idx="7696">
                  <c:v>45492</c:v>
                </c:pt>
                <c:pt idx="7697">
                  <c:v>45495</c:v>
                </c:pt>
                <c:pt idx="7698">
                  <c:v>45496</c:v>
                </c:pt>
                <c:pt idx="7699">
                  <c:v>45497</c:v>
                </c:pt>
                <c:pt idx="7700">
                  <c:v>45498</c:v>
                </c:pt>
                <c:pt idx="7701">
                  <c:v>45499</c:v>
                </c:pt>
                <c:pt idx="7702">
                  <c:v>45502</c:v>
                </c:pt>
                <c:pt idx="7703">
                  <c:v>45503</c:v>
                </c:pt>
                <c:pt idx="7704">
                  <c:v>45504</c:v>
                </c:pt>
                <c:pt idx="7705">
                  <c:v>45505</c:v>
                </c:pt>
                <c:pt idx="7706">
                  <c:v>45506</c:v>
                </c:pt>
                <c:pt idx="7707">
                  <c:v>45509</c:v>
                </c:pt>
                <c:pt idx="7708">
                  <c:v>45510</c:v>
                </c:pt>
                <c:pt idx="7709">
                  <c:v>45511</c:v>
                </c:pt>
                <c:pt idx="7710">
                  <c:v>45512</c:v>
                </c:pt>
                <c:pt idx="7711">
                  <c:v>45513</c:v>
                </c:pt>
                <c:pt idx="7712">
                  <c:v>45516</c:v>
                </c:pt>
                <c:pt idx="7713">
                  <c:v>45517</c:v>
                </c:pt>
                <c:pt idx="7714">
                  <c:v>45518</c:v>
                </c:pt>
                <c:pt idx="7715">
                  <c:v>45519</c:v>
                </c:pt>
                <c:pt idx="7716">
                  <c:v>45520</c:v>
                </c:pt>
                <c:pt idx="7717">
                  <c:v>45523</c:v>
                </c:pt>
                <c:pt idx="7718">
                  <c:v>45524</c:v>
                </c:pt>
                <c:pt idx="7719">
                  <c:v>45525</c:v>
                </c:pt>
                <c:pt idx="7720">
                  <c:v>45526</c:v>
                </c:pt>
                <c:pt idx="7721">
                  <c:v>45527</c:v>
                </c:pt>
                <c:pt idx="7722">
                  <c:v>45530</c:v>
                </c:pt>
                <c:pt idx="7723">
                  <c:v>45531</c:v>
                </c:pt>
                <c:pt idx="7724">
                  <c:v>45532</c:v>
                </c:pt>
                <c:pt idx="7725">
                  <c:v>45533</c:v>
                </c:pt>
                <c:pt idx="7726">
                  <c:v>45534</c:v>
                </c:pt>
                <c:pt idx="7727">
                  <c:v>45537</c:v>
                </c:pt>
                <c:pt idx="7728">
                  <c:v>45538</c:v>
                </c:pt>
                <c:pt idx="7729">
                  <c:v>45539</c:v>
                </c:pt>
                <c:pt idx="7730">
                  <c:v>45540</c:v>
                </c:pt>
                <c:pt idx="7731">
                  <c:v>45541</c:v>
                </c:pt>
                <c:pt idx="7732">
                  <c:v>45544</c:v>
                </c:pt>
                <c:pt idx="7733">
                  <c:v>45545</c:v>
                </c:pt>
                <c:pt idx="7734">
                  <c:v>45546</c:v>
                </c:pt>
                <c:pt idx="7735">
                  <c:v>45547</c:v>
                </c:pt>
                <c:pt idx="7736">
                  <c:v>45548</c:v>
                </c:pt>
                <c:pt idx="7737">
                  <c:v>45551</c:v>
                </c:pt>
                <c:pt idx="7738">
                  <c:v>45552</c:v>
                </c:pt>
                <c:pt idx="7739">
                  <c:v>45553</c:v>
                </c:pt>
                <c:pt idx="7740">
                  <c:v>45554</c:v>
                </c:pt>
                <c:pt idx="7741">
                  <c:v>45555</c:v>
                </c:pt>
                <c:pt idx="7742">
                  <c:v>45558</c:v>
                </c:pt>
                <c:pt idx="7743">
                  <c:v>45559</c:v>
                </c:pt>
                <c:pt idx="7744">
                  <c:v>45560</c:v>
                </c:pt>
                <c:pt idx="7745">
                  <c:v>45561</c:v>
                </c:pt>
                <c:pt idx="7746">
                  <c:v>45562</c:v>
                </c:pt>
                <c:pt idx="7747">
                  <c:v>45565</c:v>
                </c:pt>
                <c:pt idx="7748">
                  <c:v>45566</c:v>
                </c:pt>
                <c:pt idx="7749">
                  <c:v>45567</c:v>
                </c:pt>
                <c:pt idx="7750">
                  <c:v>45568</c:v>
                </c:pt>
                <c:pt idx="7751">
                  <c:v>45569</c:v>
                </c:pt>
                <c:pt idx="7752">
                  <c:v>45572</c:v>
                </c:pt>
                <c:pt idx="7753">
                  <c:v>45573</c:v>
                </c:pt>
                <c:pt idx="7754">
                  <c:v>45574</c:v>
                </c:pt>
                <c:pt idx="7755">
                  <c:v>45575</c:v>
                </c:pt>
                <c:pt idx="7756">
                  <c:v>45576</c:v>
                </c:pt>
                <c:pt idx="7757">
                  <c:v>45579</c:v>
                </c:pt>
                <c:pt idx="7758">
                  <c:v>45580</c:v>
                </c:pt>
                <c:pt idx="7759">
                  <c:v>45581</c:v>
                </c:pt>
                <c:pt idx="7760">
                  <c:v>45582</c:v>
                </c:pt>
                <c:pt idx="7761">
                  <c:v>45583</c:v>
                </c:pt>
                <c:pt idx="7762">
                  <c:v>45586</c:v>
                </c:pt>
                <c:pt idx="7763">
                  <c:v>45587</c:v>
                </c:pt>
                <c:pt idx="7764">
                  <c:v>45588</c:v>
                </c:pt>
                <c:pt idx="7765">
                  <c:v>45589</c:v>
                </c:pt>
                <c:pt idx="7766">
                  <c:v>45590</c:v>
                </c:pt>
                <c:pt idx="7767">
                  <c:v>45593</c:v>
                </c:pt>
                <c:pt idx="7768">
                  <c:v>45594</c:v>
                </c:pt>
                <c:pt idx="7769">
                  <c:v>45595</c:v>
                </c:pt>
                <c:pt idx="7770">
                  <c:v>45596</c:v>
                </c:pt>
                <c:pt idx="7771">
                  <c:v>45597</c:v>
                </c:pt>
                <c:pt idx="7772">
                  <c:v>45600</c:v>
                </c:pt>
                <c:pt idx="7773">
                  <c:v>45601</c:v>
                </c:pt>
                <c:pt idx="7774">
                  <c:v>45602</c:v>
                </c:pt>
                <c:pt idx="7775">
                  <c:v>45603</c:v>
                </c:pt>
                <c:pt idx="7776">
                  <c:v>45604</c:v>
                </c:pt>
                <c:pt idx="7777">
                  <c:v>45607</c:v>
                </c:pt>
                <c:pt idx="7778">
                  <c:v>45608</c:v>
                </c:pt>
                <c:pt idx="7779">
                  <c:v>45609</c:v>
                </c:pt>
                <c:pt idx="7780">
                  <c:v>45610</c:v>
                </c:pt>
                <c:pt idx="7781">
                  <c:v>45611</c:v>
                </c:pt>
                <c:pt idx="7782">
                  <c:v>45614</c:v>
                </c:pt>
                <c:pt idx="7783">
                  <c:v>45615</c:v>
                </c:pt>
                <c:pt idx="7784">
                  <c:v>45616</c:v>
                </c:pt>
                <c:pt idx="7785">
                  <c:v>45617</c:v>
                </c:pt>
                <c:pt idx="7786">
                  <c:v>45618</c:v>
                </c:pt>
                <c:pt idx="7787">
                  <c:v>45621</c:v>
                </c:pt>
              </c:numCache>
            </c:numRef>
          </c:cat>
          <c:val>
            <c:numRef>
              <c:f>Sheet1!$G$3:$G$7790</c:f>
              <c:numCache>
                <c:formatCode>General</c:formatCode>
                <c:ptCount val="7788"/>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4.47635135135135</c:v>
                </c:pt>
                <c:pt idx="21">
                  <c:v>104.47635135135135</c:v>
                </c:pt>
                <c:pt idx="22">
                  <c:v>104.47635135135135</c:v>
                </c:pt>
                <c:pt idx="23">
                  <c:v>104.47635135135135</c:v>
                </c:pt>
                <c:pt idx="24">
                  <c:v>104.47635135135135</c:v>
                </c:pt>
                <c:pt idx="25">
                  <c:v>104.47635135135135</c:v>
                </c:pt>
                <c:pt idx="26">
                  <c:v>104.47635135135135</c:v>
                </c:pt>
                <c:pt idx="27">
                  <c:v>104.47635135135135</c:v>
                </c:pt>
                <c:pt idx="28">
                  <c:v>104.47635135135135</c:v>
                </c:pt>
                <c:pt idx="29">
                  <c:v>104.47635135135135</c:v>
                </c:pt>
                <c:pt idx="30">
                  <c:v>104.47635135135135</c:v>
                </c:pt>
                <c:pt idx="31">
                  <c:v>104.47635135135135</c:v>
                </c:pt>
                <c:pt idx="32">
                  <c:v>104.47635135135135</c:v>
                </c:pt>
                <c:pt idx="33">
                  <c:v>104.47635135135135</c:v>
                </c:pt>
                <c:pt idx="34">
                  <c:v>104.47635135135135</c:v>
                </c:pt>
                <c:pt idx="35">
                  <c:v>104.47635135135135</c:v>
                </c:pt>
                <c:pt idx="36">
                  <c:v>104.47635135135135</c:v>
                </c:pt>
                <c:pt idx="37">
                  <c:v>104.47635135135135</c:v>
                </c:pt>
                <c:pt idx="38">
                  <c:v>104.47635135135135</c:v>
                </c:pt>
                <c:pt idx="39">
                  <c:v>104.47635135135135</c:v>
                </c:pt>
                <c:pt idx="40">
                  <c:v>109.29054054054055</c:v>
                </c:pt>
                <c:pt idx="41">
                  <c:v>109.29054054054055</c:v>
                </c:pt>
                <c:pt idx="42">
                  <c:v>109.29054054054055</c:v>
                </c:pt>
                <c:pt idx="43">
                  <c:v>109.29054054054055</c:v>
                </c:pt>
                <c:pt idx="44">
                  <c:v>109.29054054054055</c:v>
                </c:pt>
                <c:pt idx="45">
                  <c:v>109.29054054054055</c:v>
                </c:pt>
                <c:pt idx="46">
                  <c:v>109.29054054054055</c:v>
                </c:pt>
                <c:pt idx="47">
                  <c:v>109.29054054054055</c:v>
                </c:pt>
                <c:pt idx="48">
                  <c:v>109.29054054054055</c:v>
                </c:pt>
                <c:pt idx="49">
                  <c:v>109.29054054054055</c:v>
                </c:pt>
                <c:pt idx="50">
                  <c:v>109.29054054054055</c:v>
                </c:pt>
                <c:pt idx="51">
                  <c:v>109.29054054054055</c:v>
                </c:pt>
                <c:pt idx="52">
                  <c:v>109.29054054054055</c:v>
                </c:pt>
                <c:pt idx="53">
                  <c:v>109.29054054054055</c:v>
                </c:pt>
                <c:pt idx="54">
                  <c:v>109.29054054054055</c:v>
                </c:pt>
                <c:pt idx="55">
                  <c:v>109.29054054054055</c:v>
                </c:pt>
                <c:pt idx="56">
                  <c:v>109.29054054054055</c:v>
                </c:pt>
                <c:pt idx="57">
                  <c:v>109.29054054054055</c:v>
                </c:pt>
                <c:pt idx="58">
                  <c:v>109.29054054054055</c:v>
                </c:pt>
                <c:pt idx="59">
                  <c:v>109.29054054054055</c:v>
                </c:pt>
                <c:pt idx="60">
                  <c:v>109.29054054054055</c:v>
                </c:pt>
                <c:pt idx="61">
                  <c:v>109.29054054054055</c:v>
                </c:pt>
                <c:pt idx="62">
                  <c:v>109.29054054054055</c:v>
                </c:pt>
                <c:pt idx="63">
                  <c:v>109.29054054054055</c:v>
                </c:pt>
                <c:pt idx="64">
                  <c:v>109.29054054054055</c:v>
                </c:pt>
                <c:pt idx="65">
                  <c:v>114.27364864864866</c:v>
                </c:pt>
                <c:pt idx="66">
                  <c:v>114.27364864864866</c:v>
                </c:pt>
                <c:pt idx="67">
                  <c:v>114.27364864864866</c:v>
                </c:pt>
                <c:pt idx="68">
                  <c:v>114.27364864864866</c:v>
                </c:pt>
                <c:pt idx="69">
                  <c:v>114.27364864864866</c:v>
                </c:pt>
                <c:pt idx="70">
                  <c:v>114.27364864864866</c:v>
                </c:pt>
                <c:pt idx="71">
                  <c:v>114.27364864864866</c:v>
                </c:pt>
                <c:pt idx="72">
                  <c:v>114.27364864864866</c:v>
                </c:pt>
                <c:pt idx="73">
                  <c:v>114.27364864864866</c:v>
                </c:pt>
                <c:pt idx="74">
                  <c:v>114.27364864864866</c:v>
                </c:pt>
                <c:pt idx="75">
                  <c:v>114.27364864864866</c:v>
                </c:pt>
                <c:pt idx="76">
                  <c:v>114.27364864864866</c:v>
                </c:pt>
                <c:pt idx="77">
                  <c:v>114.27364864864866</c:v>
                </c:pt>
                <c:pt idx="78">
                  <c:v>114.27364864864866</c:v>
                </c:pt>
                <c:pt idx="79">
                  <c:v>114.27364864864866</c:v>
                </c:pt>
                <c:pt idx="80">
                  <c:v>114.27364864864866</c:v>
                </c:pt>
                <c:pt idx="81">
                  <c:v>114.27364864864866</c:v>
                </c:pt>
                <c:pt idx="82">
                  <c:v>114.27364864864866</c:v>
                </c:pt>
                <c:pt idx="83">
                  <c:v>114.27364864864866</c:v>
                </c:pt>
                <c:pt idx="84">
                  <c:v>114.27364864864866</c:v>
                </c:pt>
                <c:pt idx="85">
                  <c:v>119.84797297297298</c:v>
                </c:pt>
                <c:pt idx="86">
                  <c:v>119.84797297297298</c:v>
                </c:pt>
                <c:pt idx="87">
                  <c:v>119.84797297297298</c:v>
                </c:pt>
                <c:pt idx="88">
                  <c:v>119.84797297297298</c:v>
                </c:pt>
                <c:pt idx="89">
                  <c:v>119.84797297297298</c:v>
                </c:pt>
                <c:pt idx="90">
                  <c:v>119.84797297297298</c:v>
                </c:pt>
                <c:pt idx="91">
                  <c:v>119.84797297297298</c:v>
                </c:pt>
                <c:pt idx="92">
                  <c:v>119.84797297297298</c:v>
                </c:pt>
                <c:pt idx="93">
                  <c:v>119.84797297297298</c:v>
                </c:pt>
                <c:pt idx="94">
                  <c:v>119.84797297297298</c:v>
                </c:pt>
                <c:pt idx="95">
                  <c:v>119.84797297297298</c:v>
                </c:pt>
                <c:pt idx="96">
                  <c:v>119.84797297297298</c:v>
                </c:pt>
                <c:pt idx="97">
                  <c:v>119.84797297297298</c:v>
                </c:pt>
                <c:pt idx="98">
                  <c:v>119.84797297297298</c:v>
                </c:pt>
                <c:pt idx="99">
                  <c:v>119.84797297297298</c:v>
                </c:pt>
                <c:pt idx="100">
                  <c:v>119.84797297297298</c:v>
                </c:pt>
                <c:pt idx="101">
                  <c:v>119.84797297297298</c:v>
                </c:pt>
                <c:pt idx="102">
                  <c:v>119.84797297297298</c:v>
                </c:pt>
                <c:pt idx="103">
                  <c:v>119.84797297297298</c:v>
                </c:pt>
                <c:pt idx="104">
                  <c:v>119.84797297297298</c:v>
                </c:pt>
                <c:pt idx="105">
                  <c:v>124.49324324324324</c:v>
                </c:pt>
                <c:pt idx="106">
                  <c:v>124.49324324324324</c:v>
                </c:pt>
                <c:pt idx="107">
                  <c:v>124.49324324324324</c:v>
                </c:pt>
                <c:pt idx="108">
                  <c:v>124.49324324324324</c:v>
                </c:pt>
                <c:pt idx="109">
                  <c:v>124.49324324324324</c:v>
                </c:pt>
                <c:pt idx="110">
                  <c:v>124.49324324324324</c:v>
                </c:pt>
                <c:pt idx="111">
                  <c:v>124.49324324324324</c:v>
                </c:pt>
                <c:pt idx="112">
                  <c:v>124.49324324324324</c:v>
                </c:pt>
                <c:pt idx="113">
                  <c:v>124.49324324324324</c:v>
                </c:pt>
                <c:pt idx="114">
                  <c:v>124.49324324324324</c:v>
                </c:pt>
                <c:pt idx="115">
                  <c:v>124.49324324324324</c:v>
                </c:pt>
                <c:pt idx="116">
                  <c:v>124.49324324324324</c:v>
                </c:pt>
                <c:pt idx="117">
                  <c:v>124.49324324324324</c:v>
                </c:pt>
                <c:pt idx="118">
                  <c:v>124.49324324324324</c:v>
                </c:pt>
                <c:pt idx="119">
                  <c:v>124.49324324324324</c:v>
                </c:pt>
                <c:pt idx="120">
                  <c:v>124.49324324324324</c:v>
                </c:pt>
                <c:pt idx="121">
                  <c:v>124.49324324324324</c:v>
                </c:pt>
                <c:pt idx="122">
                  <c:v>124.49324324324324</c:v>
                </c:pt>
                <c:pt idx="123">
                  <c:v>124.49324324324324</c:v>
                </c:pt>
                <c:pt idx="124">
                  <c:v>124.49324324324324</c:v>
                </c:pt>
                <c:pt idx="125">
                  <c:v>124.49324324324324</c:v>
                </c:pt>
                <c:pt idx="126">
                  <c:v>124.49324324324324</c:v>
                </c:pt>
                <c:pt idx="127">
                  <c:v>124.49324324324324</c:v>
                </c:pt>
                <c:pt idx="128">
                  <c:v>124.49324324324324</c:v>
                </c:pt>
                <c:pt idx="129">
                  <c:v>124.49324324324324</c:v>
                </c:pt>
                <c:pt idx="130">
                  <c:v>140.11824324324326</c:v>
                </c:pt>
                <c:pt idx="131">
                  <c:v>140.11824324324326</c:v>
                </c:pt>
                <c:pt idx="132">
                  <c:v>140.11824324324326</c:v>
                </c:pt>
                <c:pt idx="133">
                  <c:v>140.11824324324326</c:v>
                </c:pt>
                <c:pt idx="134">
                  <c:v>140.11824324324326</c:v>
                </c:pt>
                <c:pt idx="135">
                  <c:v>140.11824324324326</c:v>
                </c:pt>
                <c:pt idx="136">
                  <c:v>140.11824324324326</c:v>
                </c:pt>
                <c:pt idx="137">
                  <c:v>140.11824324324326</c:v>
                </c:pt>
                <c:pt idx="138">
                  <c:v>140.11824324324326</c:v>
                </c:pt>
                <c:pt idx="139">
                  <c:v>140.11824324324326</c:v>
                </c:pt>
                <c:pt idx="140">
                  <c:v>140.11824324324326</c:v>
                </c:pt>
                <c:pt idx="141">
                  <c:v>140.11824324324326</c:v>
                </c:pt>
                <c:pt idx="142">
                  <c:v>140.11824324324326</c:v>
                </c:pt>
                <c:pt idx="143">
                  <c:v>140.11824324324326</c:v>
                </c:pt>
                <c:pt idx="144">
                  <c:v>140.11824324324326</c:v>
                </c:pt>
                <c:pt idx="145">
                  <c:v>140.11824324324326</c:v>
                </c:pt>
                <c:pt idx="146">
                  <c:v>140.11824324324326</c:v>
                </c:pt>
                <c:pt idx="147">
                  <c:v>140.11824324324326</c:v>
                </c:pt>
                <c:pt idx="148">
                  <c:v>140.11824324324326</c:v>
                </c:pt>
                <c:pt idx="149">
                  <c:v>140.11824324324326</c:v>
                </c:pt>
                <c:pt idx="150">
                  <c:v>134.88175675675674</c:v>
                </c:pt>
                <c:pt idx="151">
                  <c:v>134.88175675675674</c:v>
                </c:pt>
                <c:pt idx="152">
                  <c:v>134.88175675675674</c:v>
                </c:pt>
                <c:pt idx="153">
                  <c:v>134.88175675675674</c:v>
                </c:pt>
                <c:pt idx="154">
                  <c:v>134.88175675675674</c:v>
                </c:pt>
                <c:pt idx="155">
                  <c:v>134.88175675675674</c:v>
                </c:pt>
                <c:pt idx="156">
                  <c:v>134.88175675675674</c:v>
                </c:pt>
                <c:pt idx="157">
                  <c:v>134.88175675675674</c:v>
                </c:pt>
                <c:pt idx="158">
                  <c:v>134.88175675675674</c:v>
                </c:pt>
                <c:pt idx="159">
                  <c:v>134.88175675675674</c:v>
                </c:pt>
                <c:pt idx="160">
                  <c:v>134.88175675675674</c:v>
                </c:pt>
                <c:pt idx="161">
                  <c:v>134.88175675675674</c:v>
                </c:pt>
                <c:pt idx="162">
                  <c:v>134.88175675675674</c:v>
                </c:pt>
                <c:pt idx="163">
                  <c:v>134.88175675675674</c:v>
                </c:pt>
                <c:pt idx="164">
                  <c:v>134.88175675675674</c:v>
                </c:pt>
                <c:pt idx="165">
                  <c:v>134.88175675675674</c:v>
                </c:pt>
                <c:pt idx="166">
                  <c:v>134.88175675675674</c:v>
                </c:pt>
                <c:pt idx="167">
                  <c:v>134.88175675675674</c:v>
                </c:pt>
                <c:pt idx="168">
                  <c:v>134.88175675675674</c:v>
                </c:pt>
                <c:pt idx="169">
                  <c:v>134.88175675675674</c:v>
                </c:pt>
                <c:pt idx="170">
                  <c:v>141.72297297297297</c:v>
                </c:pt>
                <c:pt idx="171">
                  <c:v>141.72297297297297</c:v>
                </c:pt>
                <c:pt idx="172">
                  <c:v>141.72297297297297</c:v>
                </c:pt>
                <c:pt idx="173">
                  <c:v>141.72297297297297</c:v>
                </c:pt>
                <c:pt idx="174">
                  <c:v>141.72297297297297</c:v>
                </c:pt>
                <c:pt idx="175">
                  <c:v>141.72297297297297</c:v>
                </c:pt>
                <c:pt idx="176">
                  <c:v>141.72297297297297</c:v>
                </c:pt>
                <c:pt idx="177">
                  <c:v>141.72297297297297</c:v>
                </c:pt>
                <c:pt idx="178">
                  <c:v>141.72297297297297</c:v>
                </c:pt>
                <c:pt idx="179">
                  <c:v>141.72297297297297</c:v>
                </c:pt>
                <c:pt idx="180">
                  <c:v>141.72297297297297</c:v>
                </c:pt>
                <c:pt idx="181">
                  <c:v>141.72297297297297</c:v>
                </c:pt>
                <c:pt idx="182">
                  <c:v>141.72297297297297</c:v>
                </c:pt>
                <c:pt idx="183">
                  <c:v>141.72297297297297</c:v>
                </c:pt>
                <c:pt idx="184">
                  <c:v>141.72297297297297</c:v>
                </c:pt>
                <c:pt idx="185">
                  <c:v>141.72297297297297</c:v>
                </c:pt>
                <c:pt idx="186">
                  <c:v>141.72297297297297</c:v>
                </c:pt>
                <c:pt idx="187">
                  <c:v>141.72297297297297</c:v>
                </c:pt>
                <c:pt idx="188">
                  <c:v>141.72297297297297</c:v>
                </c:pt>
                <c:pt idx="189">
                  <c:v>141.72297297297297</c:v>
                </c:pt>
                <c:pt idx="190">
                  <c:v>141.72297297297297</c:v>
                </c:pt>
                <c:pt idx="191">
                  <c:v>141.72297297297297</c:v>
                </c:pt>
                <c:pt idx="192">
                  <c:v>141.72297297297297</c:v>
                </c:pt>
                <c:pt idx="193">
                  <c:v>141.72297297297297</c:v>
                </c:pt>
                <c:pt idx="194">
                  <c:v>141.72297297297297</c:v>
                </c:pt>
                <c:pt idx="195">
                  <c:v>142.06081081081081</c:v>
                </c:pt>
                <c:pt idx="196">
                  <c:v>142.06081081081081</c:v>
                </c:pt>
                <c:pt idx="197">
                  <c:v>142.06081081081081</c:v>
                </c:pt>
                <c:pt idx="198">
                  <c:v>142.06081081081081</c:v>
                </c:pt>
                <c:pt idx="199">
                  <c:v>142.06081081081081</c:v>
                </c:pt>
                <c:pt idx="200">
                  <c:v>142.06081081081081</c:v>
                </c:pt>
                <c:pt idx="201">
                  <c:v>142.06081081081081</c:v>
                </c:pt>
                <c:pt idx="202">
                  <c:v>142.06081081081081</c:v>
                </c:pt>
                <c:pt idx="203">
                  <c:v>142.06081081081081</c:v>
                </c:pt>
                <c:pt idx="204">
                  <c:v>142.06081081081081</c:v>
                </c:pt>
                <c:pt idx="205">
                  <c:v>142.06081081081081</c:v>
                </c:pt>
                <c:pt idx="206">
                  <c:v>142.06081081081081</c:v>
                </c:pt>
                <c:pt idx="207">
                  <c:v>142.06081081081081</c:v>
                </c:pt>
                <c:pt idx="208">
                  <c:v>142.06081081081081</c:v>
                </c:pt>
                <c:pt idx="209">
                  <c:v>142.06081081081081</c:v>
                </c:pt>
                <c:pt idx="210">
                  <c:v>142.06081081081081</c:v>
                </c:pt>
                <c:pt idx="211">
                  <c:v>142.06081081081081</c:v>
                </c:pt>
                <c:pt idx="212">
                  <c:v>142.06081081081081</c:v>
                </c:pt>
                <c:pt idx="213">
                  <c:v>142.06081081081081</c:v>
                </c:pt>
                <c:pt idx="214">
                  <c:v>142.06081081081081</c:v>
                </c:pt>
                <c:pt idx="215">
                  <c:v>148.22635135135135</c:v>
                </c:pt>
                <c:pt idx="216">
                  <c:v>148.22635135135135</c:v>
                </c:pt>
                <c:pt idx="217">
                  <c:v>148.22635135135135</c:v>
                </c:pt>
                <c:pt idx="218">
                  <c:v>148.22635135135135</c:v>
                </c:pt>
                <c:pt idx="219">
                  <c:v>148.22635135135135</c:v>
                </c:pt>
                <c:pt idx="220">
                  <c:v>148.22635135135135</c:v>
                </c:pt>
                <c:pt idx="221">
                  <c:v>148.22635135135135</c:v>
                </c:pt>
                <c:pt idx="222">
                  <c:v>148.22635135135135</c:v>
                </c:pt>
                <c:pt idx="223">
                  <c:v>148.22635135135135</c:v>
                </c:pt>
                <c:pt idx="224">
                  <c:v>148.22635135135135</c:v>
                </c:pt>
                <c:pt idx="225">
                  <c:v>148.22635135135135</c:v>
                </c:pt>
                <c:pt idx="226">
                  <c:v>148.22635135135135</c:v>
                </c:pt>
                <c:pt idx="227">
                  <c:v>148.22635135135135</c:v>
                </c:pt>
                <c:pt idx="228">
                  <c:v>148.22635135135135</c:v>
                </c:pt>
                <c:pt idx="229">
                  <c:v>148.22635135135135</c:v>
                </c:pt>
                <c:pt idx="230">
                  <c:v>148.22635135135135</c:v>
                </c:pt>
                <c:pt idx="231">
                  <c:v>148.22635135135135</c:v>
                </c:pt>
                <c:pt idx="232">
                  <c:v>148.22635135135135</c:v>
                </c:pt>
                <c:pt idx="233">
                  <c:v>148.22635135135135</c:v>
                </c:pt>
                <c:pt idx="234">
                  <c:v>148.22635135135135</c:v>
                </c:pt>
                <c:pt idx="235">
                  <c:v>154.30743243243242</c:v>
                </c:pt>
                <c:pt idx="236">
                  <c:v>154.30743243243242</c:v>
                </c:pt>
                <c:pt idx="237">
                  <c:v>154.30743243243242</c:v>
                </c:pt>
                <c:pt idx="238">
                  <c:v>154.30743243243242</c:v>
                </c:pt>
                <c:pt idx="239">
                  <c:v>154.30743243243242</c:v>
                </c:pt>
                <c:pt idx="240">
                  <c:v>154.30743243243242</c:v>
                </c:pt>
                <c:pt idx="241">
                  <c:v>154.30743243243242</c:v>
                </c:pt>
                <c:pt idx="242">
                  <c:v>154.30743243243242</c:v>
                </c:pt>
                <c:pt idx="243">
                  <c:v>154.30743243243242</c:v>
                </c:pt>
                <c:pt idx="244">
                  <c:v>154.30743243243242</c:v>
                </c:pt>
                <c:pt idx="245">
                  <c:v>154.30743243243242</c:v>
                </c:pt>
                <c:pt idx="246">
                  <c:v>154.30743243243242</c:v>
                </c:pt>
                <c:pt idx="247">
                  <c:v>154.30743243243242</c:v>
                </c:pt>
                <c:pt idx="248">
                  <c:v>154.30743243243242</c:v>
                </c:pt>
                <c:pt idx="249">
                  <c:v>154.30743243243242</c:v>
                </c:pt>
                <c:pt idx="250">
                  <c:v>154.30743243243242</c:v>
                </c:pt>
                <c:pt idx="251">
                  <c:v>154.30743243243242</c:v>
                </c:pt>
                <c:pt idx="252">
                  <c:v>154.30743243243242</c:v>
                </c:pt>
                <c:pt idx="253">
                  <c:v>154.30743243243242</c:v>
                </c:pt>
                <c:pt idx="254">
                  <c:v>154.30743243243242</c:v>
                </c:pt>
                <c:pt idx="255">
                  <c:v>154.30743243243242</c:v>
                </c:pt>
                <c:pt idx="256">
                  <c:v>154.30743243243242</c:v>
                </c:pt>
                <c:pt idx="257">
                  <c:v>154.30743243243242</c:v>
                </c:pt>
                <c:pt idx="258">
                  <c:v>154.30743243243242</c:v>
                </c:pt>
                <c:pt idx="259">
                  <c:v>154.30743243243242</c:v>
                </c:pt>
                <c:pt idx="260">
                  <c:v>155.57432432432435</c:v>
                </c:pt>
                <c:pt idx="261">
                  <c:v>155.57432432432435</c:v>
                </c:pt>
                <c:pt idx="262">
                  <c:v>155.57432432432435</c:v>
                </c:pt>
                <c:pt idx="263">
                  <c:v>155.57432432432435</c:v>
                </c:pt>
                <c:pt idx="264">
                  <c:v>155.57432432432435</c:v>
                </c:pt>
                <c:pt idx="265">
                  <c:v>155.57432432432435</c:v>
                </c:pt>
                <c:pt idx="266">
                  <c:v>155.57432432432435</c:v>
                </c:pt>
                <c:pt idx="267">
                  <c:v>155.57432432432435</c:v>
                </c:pt>
                <c:pt idx="268">
                  <c:v>155.57432432432435</c:v>
                </c:pt>
                <c:pt idx="269">
                  <c:v>155.57432432432435</c:v>
                </c:pt>
                <c:pt idx="270">
                  <c:v>155.57432432432435</c:v>
                </c:pt>
                <c:pt idx="271">
                  <c:v>155.57432432432435</c:v>
                </c:pt>
                <c:pt idx="272">
                  <c:v>155.57432432432435</c:v>
                </c:pt>
                <c:pt idx="273">
                  <c:v>155.57432432432435</c:v>
                </c:pt>
                <c:pt idx="274">
                  <c:v>155.57432432432435</c:v>
                </c:pt>
                <c:pt idx="275">
                  <c:v>155.57432432432435</c:v>
                </c:pt>
                <c:pt idx="276">
                  <c:v>155.57432432432435</c:v>
                </c:pt>
                <c:pt idx="277">
                  <c:v>155.57432432432435</c:v>
                </c:pt>
                <c:pt idx="278">
                  <c:v>155.57432432432435</c:v>
                </c:pt>
                <c:pt idx="279">
                  <c:v>155.57432432432435</c:v>
                </c:pt>
                <c:pt idx="280">
                  <c:v>155.99662162162161</c:v>
                </c:pt>
                <c:pt idx="281">
                  <c:v>155.99662162162161</c:v>
                </c:pt>
                <c:pt idx="282">
                  <c:v>155.99662162162161</c:v>
                </c:pt>
                <c:pt idx="283">
                  <c:v>155.99662162162161</c:v>
                </c:pt>
                <c:pt idx="284">
                  <c:v>155.99662162162161</c:v>
                </c:pt>
                <c:pt idx="285">
                  <c:v>155.99662162162161</c:v>
                </c:pt>
                <c:pt idx="286">
                  <c:v>155.99662162162161</c:v>
                </c:pt>
                <c:pt idx="287">
                  <c:v>155.99662162162161</c:v>
                </c:pt>
                <c:pt idx="288">
                  <c:v>155.99662162162161</c:v>
                </c:pt>
                <c:pt idx="289">
                  <c:v>155.99662162162161</c:v>
                </c:pt>
                <c:pt idx="290">
                  <c:v>155.99662162162161</c:v>
                </c:pt>
                <c:pt idx="291">
                  <c:v>155.99662162162161</c:v>
                </c:pt>
                <c:pt idx="292">
                  <c:v>155.99662162162161</c:v>
                </c:pt>
                <c:pt idx="293">
                  <c:v>155.99662162162161</c:v>
                </c:pt>
                <c:pt idx="294">
                  <c:v>155.99662162162161</c:v>
                </c:pt>
                <c:pt idx="295">
                  <c:v>155.99662162162161</c:v>
                </c:pt>
                <c:pt idx="296">
                  <c:v>155.99662162162161</c:v>
                </c:pt>
                <c:pt idx="297">
                  <c:v>155.99662162162161</c:v>
                </c:pt>
                <c:pt idx="298">
                  <c:v>155.99662162162161</c:v>
                </c:pt>
                <c:pt idx="299">
                  <c:v>155.99662162162161</c:v>
                </c:pt>
                <c:pt idx="300">
                  <c:v>154.81418918918919</c:v>
                </c:pt>
                <c:pt idx="301">
                  <c:v>154.81418918918919</c:v>
                </c:pt>
                <c:pt idx="302">
                  <c:v>154.81418918918919</c:v>
                </c:pt>
                <c:pt idx="303">
                  <c:v>154.81418918918919</c:v>
                </c:pt>
                <c:pt idx="304">
                  <c:v>154.81418918918919</c:v>
                </c:pt>
                <c:pt idx="305">
                  <c:v>154.81418918918919</c:v>
                </c:pt>
                <c:pt idx="306">
                  <c:v>154.81418918918919</c:v>
                </c:pt>
                <c:pt idx="307">
                  <c:v>154.81418918918919</c:v>
                </c:pt>
                <c:pt idx="308">
                  <c:v>154.81418918918919</c:v>
                </c:pt>
                <c:pt idx="309">
                  <c:v>154.81418918918919</c:v>
                </c:pt>
                <c:pt idx="310">
                  <c:v>154.81418918918919</c:v>
                </c:pt>
                <c:pt idx="311">
                  <c:v>154.81418918918919</c:v>
                </c:pt>
                <c:pt idx="312">
                  <c:v>154.81418918918919</c:v>
                </c:pt>
                <c:pt idx="313">
                  <c:v>154.81418918918919</c:v>
                </c:pt>
                <c:pt idx="314">
                  <c:v>154.81418918918919</c:v>
                </c:pt>
                <c:pt idx="315">
                  <c:v>154.81418918918919</c:v>
                </c:pt>
                <c:pt idx="316">
                  <c:v>154.81418918918919</c:v>
                </c:pt>
                <c:pt idx="317">
                  <c:v>154.81418918918919</c:v>
                </c:pt>
                <c:pt idx="318">
                  <c:v>154.81418918918919</c:v>
                </c:pt>
                <c:pt idx="319">
                  <c:v>154.81418918918919</c:v>
                </c:pt>
                <c:pt idx="320">
                  <c:v>154.81418918918919</c:v>
                </c:pt>
                <c:pt idx="321">
                  <c:v>154.81418918918919</c:v>
                </c:pt>
                <c:pt idx="322">
                  <c:v>154.81418918918919</c:v>
                </c:pt>
                <c:pt idx="323">
                  <c:v>154.81418918918919</c:v>
                </c:pt>
                <c:pt idx="324">
                  <c:v>154.81418918918919</c:v>
                </c:pt>
                <c:pt idx="325">
                  <c:v>160.47297297297297</c:v>
                </c:pt>
                <c:pt idx="326">
                  <c:v>160.47297297297297</c:v>
                </c:pt>
                <c:pt idx="327">
                  <c:v>160.47297297297297</c:v>
                </c:pt>
                <c:pt idx="328">
                  <c:v>160.47297297297297</c:v>
                </c:pt>
                <c:pt idx="329">
                  <c:v>160.47297297297297</c:v>
                </c:pt>
                <c:pt idx="330">
                  <c:v>160.47297297297297</c:v>
                </c:pt>
                <c:pt idx="331">
                  <c:v>160.47297297297297</c:v>
                </c:pt>
                <c:pt idx="332">
                  <c:v>160.47297297297297</c:v>
                </c:pt>
                <c:pt idx="333">
                  <c:v>160.47297297297297</c:v>
                </c:pt>
                <c:pt idx="334">
                  <c:v>160.47297297297297</c:v>
                </c:pt>
                <c:pt idx="335">
                  <c:v>160.47297297297297</c:v>
                </c:pt>
                <c:pt idx="336">
                  <c:v>160.47297297297297</c:v>
                </c:pt>
                <c:pt idx="337">
                  <c:v>160.47297297297297</c:v>
                </c:pt>
                <c:pt idx="338">
                  <c:v>160.47297297297297</c:v>
                </c:pt>
                <c:pt idx="339">
                  <c:v>160.47297297297297</c:v>
                </c:pt>
                <c:pt idx="340">
                  <c:v>160.47297297297297</c:v>
                </c:pt>
                <c:pt idx="341">
                  <c:v>160.47297297297297</c:v>
                </c:pt>
                <c:pt idx="342">
                  <c:v>160.47297297297297</c:v>
                </c:pt>
                <c:pt idx="343">
                  <c:v>160.47297297297297</c:v>
                </c:pt>
                <c:pt idx="344">
                  <c:v>160.47297297297297</c:v>
                </c:pt>
                <c:pt idx="345">
                  <c:v>157.43243243243245</c:v>
                </c:pt>
                <c:pt idx="346">
                  <c:v>157.43243243243245</c:v>
                </c:pt>
                <c:pt idx="347">
                  <c:v>157.43243243243245</c:v>
                </c:pt>
                <c:pt idx="348">
                  <c:v>157.43243243243245</c:v>
                </c:pt>
                <c:pt idx="349">
                  <c:v>157.43243243243245</c:v>
                </c:pt>
                <c:pt idx="350">
                  <c:v>157.43243243243245</c:v>
                </c:pt>
                <c:pt idx="351">
                  <c:v>157.43243243243245</c:v>
                </c:pt>
                <c:pt idx="352">
                  <c:v>157.43243243243245</c:v>
                </c:pt>
                <c:pt idx="353">
                  <c:v>157.43243243243245</c:v>
                </c:pt>
                <c:pt idx="354">
                  <c:v>157.43243243243245</c:v>
                </c:pt>
                <c:pt idx="355">
                  <c:v>157.43243243243245</c:v>
                </c:pt>
                <c:pt idx="356">
                  <c:v>157.43243243243245</c:v>
                </c:pt>
                <c:pt idx="357">
                  <c:v>157.43243243243245</c:v>
                </c:pt>
                <c:pt idx="358">
                  <c:v>157.43243243243245</c:v>
                </c:pt>
                <c:pt idx="359">
                  <c:v>157.43243243243245</c:v>
                </c:pt>
                <c:pt idx="360">
                  <c:v>157.43243243243245</c:v>
                </c:pt>
                <c:pt idx="361">
                  <c:v>157.43243243243245</c:v>
                </c:pt>
                <c:pt idx="362">
                  <c:v>157.43243243243245</c:v>
                </c:pt>
                <c:pt idx="363">
                  <c:v>157.43243243243245</c:v>
                </c:pt>
                <c:pt idx="364">
                  <c:v>157.43243243243245</c:v>
                </c:pt>
                <c:pt idx="365">
                  <c:v>157.43243243243245</c:v>
                </c:pt>
                <c:pt idx="366">
                  <c:v>157.43243243243245</c:v>
                </c:pt>
                <c:pt idx="367">
                  <c:v>157.43243243243245</c:v>
                </c:pt>
                <c:pt idx="368">
                  <c:v>157.43243243243245</c:v>
                </c:pt>
                <c:pt idx="369">
                  <c:v>157.43243243243245</c:v>
                </c:pt>
                <c:pt idx="370">
                  <c:v>156.08108108108109</c:v>
                </c:pt>
                <c:pt idx="371">
                  <c:v>156.08108108108109</c:v>
                </c:pt>
                <c:pt idx="372">
                  <c:v>156.08108108108109</c:v>
                </c:pt>
                <c:pt idx="373">
                  <c:v>156.08108108108109</c:v>
                </c:pt>
                <c:pt idx="374">
                  <c:v>156.08108108108109</c:v>
                </c:pt>
                <c:pt idx="375">
                  <c:v>156.08108108108109</c:v>
                </c:pt>
                <c:pt idx="376">
                  <c:v>156.08108108108109</c:v>
                </c:pt>
                <c:pt idx="377">
                  <c:v>156.08108108108109</c:v>
                </c:pt>
                <c:pt idx="378">
                  <c:v>156.08108108108109</c:v>
                </c:pt>
                <c:pt idx="379">
                  <c:v>156.08108108108109</c:v>
                </c:pt>
                <c:pt idx="380">
                  <c:v>156.08108108108109</c:v>
                </c:pt>
                <c:pt idx="381">
                  <c:v>156.08108108108109</c:v>
                </c:pt>
                <c:pt idx="382">
                  <c:v>156.08108108108109</c:v>
                </c:pt>
                <c:pt idx="383">
                  <c:v>156.08108108108109</c:v>
                </c:pt>
                <c:pt idx="384">
                  <c:v>156.08108108108109</c:v>
                </c:pt>
                <c:pt idx="385">
                  <c:v>156.08108108108109</c:v>
                </c:pt>
                <c:pt idx="386">
                  <c:v>156.08108108108109</c:v>
                </c:pt>
                <c:pt idx="387">
                  <c:v>156.08108108108109</c:v>
                </c:pt>
                <c:pt idx="388">
                  <c:v>156.08108108108109</c:v>
                </c:pt>
                <c:pt idx="389">
                  <c:v>156.08108108108109</c:v>
                </c:pt>
                <c:pt idx="390">
                  <c:v>148.47972972972974</c:v>
                </c:pt>
                <c:pt idx="391">
                  <c:v>148.47972972972974</c:v>
                </c:pt>
                <c:pt idx="392">
                  <c:v>148.47972972972974</c:v>
                </c:pt>
                <c:pt idx="393">
                  <c:v>148.47972972972974</c:v>
                </c:pt>
                <c:pt idx="394">
                  <c:v>148.47972972972974</c:v>
                </c:pt>
                <c:pt idx="395">
                  <c:v>148.47972972972974</c:v>
                </c:pt>
                <c:pt idx="396">
                  <c:v>148.47972972972974</c:v>
                </c:pt>
                <c:pt idx="397">
                  <c:v>148.47972972972974</c:v>
                </c:pt>
                <c:pt idx="398">
                  <c:v>148.47972972972974</c:v>
                </c:pt>
                <c:pt idx="399">
                  <c:v>148.47972972972974</c:v>
                </c:pt>
                <c:pt idx="400">
                  <c:v>148.47972972972974</c:v>
                </c:pt>
                <c:pt idx="401">
                  <c:v>148.47972972972974</c:v>
                </c:pt>
                <c:pt idx="402">
                  <c:v>148.47972972972974</c:v>
                </c:pt>
                <c:pt idx="403">
                  <c:v>148.47972972972974</c:v>
                </c:pt>
                <c:pt idx="404">
                  <c:v>148.47972972972974</c:v>
                </c:pt>
                <c:pt idx="405">
                  <c:v>148.47972972972974</c:v>
                </c:pt>
                <c:pt idx="406">
                  <c:v>148.47972972972974</c:v>
                </c:pt>
                <c:pt idx="407">
                  <c:v>148.47972972972974</c:v>
                </c:pt>
                <c:pt idx="408">
                  <c:v>148.47972972972974</c:v>
                </c:pt>
                <c:pt idx="409">
                  <c:v>148.47972972972974</c:v>
                </c:pt>
                <c:pt idx="410">
                  <c:v>150.50675675675677</c:v>
                </c:pt>
                <c:pt idx="411">
                  <c:v>150.50675675675677</c:v>
                </c:pt>
                <c:pt idx="412">
                  <c:v>150.50675675675677</c:v>
                </c:pt>
                <c:pt idx="413">
                  <c:v>150.50675675675677</c:v>
                </c:pt>
                <c:pt idx="414">
                  <c:v>150.50675675675677</c:v>
                </c:pt>
                <c:pt idx="415">
                  <c:v>150.50675675675677</c:v>
                </c:pt>
                <c:pt idx="416">
                  <c:v>150.50675675675677</c:v>
                </c:pt>
                <c:pt idx="417">
                  <c:v>150.50675675675677</c:v>
                </c:pt>
                <c:pt idx="418">
                  <c:v>150.50675675675677</c:v>
                </c:pt>
                <c:pt idx="419">
                  <c:v>150.50675675675677</c:v>
                </c:pt>
                <c:pt idx="420">
                  <c:v>150.50675675675677</c:v>
                </c:pt>
                <c:pt idx="421">
                  <c:v>150.50675675675677</c:v>
                </c:pt>
                <c:pt idx="422">
                  <c:v>150.50675675675677</c:v>
                </c:pt>
                <c:pt idx="423">
                  <c:v>150.50675675675677</c:v>
                </c:pt>
                <c:pt idx="424">
                  <c:v>150.50675675675677</c:v>
                </c:pt>
                <c:pt idx="425">
                  <c:v>150.50675675675677</c:v>
                </c:pt>
                <c:pt idx="426">
                  <c:v>150.50675675675677</c:v>
                </c:pt>
                <c:pt idx="427">
                  <c:v>150.50675675675677</c:v>
                </c:pt>
                <c:pt idx="428">
                  <c:v>150.50675675675677</c:v>
                </c:pt>
                <c:pt idx="429">
                  <c:v>150.50675675675677</c:v>
                </c:pt>
                <c:pt idx="430">
                  <c:v>150.50675675675677</c:v>
                </c:pt>
                <c:pt idx="431">
                  <c:v>150.50675675675677</c:v>
                </c:pt>
                <c:pt idx="432">
                  <c:v>150.50675675675677</c:v>
                </c:pt>
                <c:pt idx="433">
                  <c:v>150.50675675675677</c:v>
                </c:pt>
                <c:pt idx="434">
                  <c:v>150.50675675675677</c:v>
                </c:pt>
                <c:pt idx="435">
                  <c:v>149.83108108108109</c:v>
                </c:pt>
                <c:pt idx="436">
                  <c:v>149.83108108108109</c:v>
                </c:pt>
                <c:pt idx="437">
                  <c:v>149.83108108108109</c:v>
                </c:pt>
                <c:pt idx="438">
                  <c:v>149.83108108108109</c:v>
                </c:pt>
                <c:pt idx="439">
                  <c:v>149.83108108108109</c:v>
                </c:pt>
                <c:pt idx="440">
                  <c:v>149.83108108108109</c:v>
                </c:pt>
                <c:pt idx="441">
                  <c:v>149.83108108108109</c:v>
                </c:pt>
                <c:pt idx="442">
                  <c:v>149.83108108108109</c:v>
                </c:pt>
                <c:pt idx="443">
                  <c:v>149.83108108108109</c:v>
                </c:pt>
                <c:pt idx="444">
                  <c:v>149.83108108108109</c:v>
                </c:pt>
                <c:pt idx="445">
                  <c:v>149.83108108108109</c:v>
                </c:pt>
                <c:pt idx="446">
                  <c:v>149.83108108108109</c:v>
                </c:pt>
                <c:pt idx="447">
                  <c:v>149.83108108108109</c:v>
                </c:pt>
                <c:pt idx="448">
                  <c:v>149.83108108108109</c:v>
                </c:pt>
                <c:pt idx="449">
                  <c:v>149.83108108108109</c:v>
                </c:pt>
                <c:pt idx="450">
                  <c:v>149.83108108108109</c:v>
                </c:pt>
                <c:pt idx="451">
                  <c:v>149.83108108108109</c:v>
                </c:pt>
                <c:pt idx="452">
                  <c:v>149.83108108108109</c:v>
                </c:pt>
                <c:pt idx="453">
                  <c:v>149.83108108108109</c:v>
                </c:pt>
                <c:pt idx="454">
                  <c:v>149.83108108108109</c:v>
                </c:pt>
                <c:pt idx="455">
                  <c:v>153.71621621621622</c:v>
                </c:pt>
                <c:pt idx="456">
                  <c:v>153.71621621621622</c:v>
                </c:pt>
                <c:pt idx="457">
                  <c:v>153.71621621621622</c:v>
                </c:pt>
                <c:pt idx="458">
                  <c:v>153.71621621621622</c:v>
                </c:pt>
                <c:pt idx="459">
                  <c:v>153.71621621621622</c:v>
                </c:pt>
                <c:pt idx="460">
                  <c:v>153.71621621621622</c:v>
                </c:pt>
                <c:pt idx="461">
                  <c:v>153.71621621621622</c:v>
                </c:pt>
                <c:pt idx="462">
                  <c:v>153.71621621621622</c:v>
                </c:pt>
                <c:pt idx="463">
                  <c:v>153.71621621621622</c:v>
                </c:pt>
                <c:pt idx="464">
                  <c:v>153.71621621621622</c:v>
                </c:pt>
                <c:pt idx="465">
                  <c:v>153.71621621621622</c:v>
                </c:pt>
                <c:pt idx="466">
                  <c:v>153.71621621621622</c:v>
                </c:pt>
                <c:pt idx="467">
                  <c:v>153.71621621621622</c:v>
                </c:pt>
                <c:pt idx="468">
                  <c:v>153.71621621621622</c:v>
                </c:pt>
                <c:pt idx="469">
                  <c:v>153.71621621621622</c:v>
                </c:pt>
                <c:pt idx="470">
                  <c:v>153.71621621621622</c:v>
                </c:pt>
                <c:pt idx="471">
                  <c:v>153.71621621621622</c:v>
                </c:pt>
                <c:pt idx="472">
                  <c:v>153.71621621621622</c:v>
                </c:pt>
                <c:pt idx="473">
                  <c:v>153.71621621621622</c:v>
                </c:pt>
                <c:pt idx="474">
                  <c:v>153.71621621621622</c:v>
                </c:pt>
                <c:pt idx="475">
                  <c:v>151.01351351351354</c:v>
                </c:pt>
                <c:pt idx="476">
                  <c:v>151.01351351351354</c:v>
                </c:pt>
                <c:pt idx="477">
                  <c:v>151.01351351351354</c:v>
                </c:pt>
                <c:pt idx="478">
                  <c:v>151.01351351351354</c:v>
                </c:pt>
                <c:pt idx="479">
                  <c:v>151.01351351351354</c:v>
                </c:pt>
                <c:pt idx="480">
                  <c:v>151.01351351351354</c:v>
                </c:pt>
                <c:pt idx="481">
                  <c:v>151.01351351351354</c:v>
                </c:pt>
                <c:pt idx="482">
                  <c:v>151.01351351351354</c:v>
                </c:pt>
                <c:pt idx="483">
                  <c:v>151.01351351351354</c:v>
                </c:pt>
                <c:pt idx="484">
                  <c:v>151.01351351351354</c:v>
                </c:pt>
                <c:pt idx="485">
                  <c:v>151.01351351351354</c:v>
                </c:pt>
                <c:pt idx="486">
                  <c:v>151.01351351351354</c:v>
                </c:pt>
                <c:pt idx="487">
                  <c:v>151.01351351351354</c:v>
                </c:pt>
                <c:pt idx="488">
                  <c:v>151.01351351351354</c:v>
                </c:pt>
                <c:pt idx="489">
                  <c:v>151.01351351351354</c:v>
                </c:pt>
                <c:pt idx="490">
                  <c:v>151.01351351351354</c:v>
                </c:pt>
                <c:pt idx="491">
                  <c:v>151.01351351351354</c:v>
                </c:pt>
                <c:pt idx="492">
                  <c:v>151.01351351351354</c:v>
                </c:pt>
                <c:pt idx="493">
                  <c:v>151.01351351351354</c:v>
                </c:pt>
                <c:pt idx="494">
                  <c:v>151.01351351351354</c:v>
                </c:pt>
                <c:pt idx="495">
                  <c:v>151.01351351351354</c:v>
                </c:pt>
                <c:pt idx="496">
                  <c:v>151.01351351351354</c:v>
                </c:pt>
                <c:pt idx="497">
                  <c:v>151.01351351351354</c:v>
                </c:pt>
                <c:pt idx="498">
                  <c:v>151.01351351351354</c:v>
                </c:pt>
                <c:pt idx="499">
                  <c:v>151.01351351351354</c:v>
                </c:pt>
                <c:pt idx="500">
                  <c:v>148.64864864864867</c:v>
                </c:pt>
                <c:pt idx="501">
                  <c:v>148.64864864864867</c:v>
                </c:pt>
                <c:pt idx="502">
                  <c:v>148.64864864864867</c:v>
                </c:pt>
                <c:pt idx="503">
                  <c:v>148.64864864864867</c:v>
                </c:pt>
                <c:pt idx="504">
                  <c:v>148.64864864864867</c:v>
                </c:pt>
                <c:pt idx="505">
                  <c:v>148.64864864864867</c:v>
                </c:pt>
                <c:pt idx="506">
                  <c:v>148.64864864864867</c:v>
                </c:pt>
                <c:pt idx="507">
                  <c:v>148.64864864864867</c:v>
                </c:pt>
                <c:pt idx="508">
                  <c:v>148.64864864864867</c:v>
                </c:pt>
                <c:pt idx="509">
                  <c:v>148.64864864864867</c:v>
                </c:pt>
                <c:pt idx="510">
                  <c:v>148.64864864864867</c:v>
                </c:pt>
                <c:pt idx="511">
                  <c:v>148.64864864864867</c:v>
                </c:pt>
                <c:pt idx="512">
                  <c:v>148.64864864864867</c:v>
                </c:pt>
                <c:pt idx="513">
                  <c:v>148.64864864864867</c:v>
                </c:pt>
                <c:pt idx="514">
                  <c:v>148.64864864864867</c:v>
                </c:pt>
                <c:pt idx="515">
                  <c:v>148.64864864864867</c:v>
                </c:pt>
                <c:pt idx="516">
                  <c:v>148.64864864864867</c:v>
                </c:pt>
                <c:pt idx="517">
                  <c:v>148.64864864864867</c:v>
                </c:pt>
                <c:pt idx="518">
                  <c:v>148.64864864864867</c:v>
                </c:pt>
                <c:pt idx="519">
                  <c:v>148.64864864864867</c:v>
                </c:pt>
                <c:pt idx="520">
                  <c:v>159.88175675675677</c:v>
                </c:pt>
                <c:pt idx="521">
                  <c:v>159.88175675675677</c:v>
                </c:pt>
                <c:pt idx="522">
                  <c:v>159.88175675675677</c:v>
                </c:pt>
                <c:pt idx="523">
                  <c:v>159.88175675675677</c:v>
                </c:pt>
                <c:pt idx="524">
                  <c:v>159.88175675675677</c:v>
                </c:pt>
                <c:pt idx="525">
                  <c:v>159.88175675675677</c:v>
                </c:pt>
                <c:pt idx="526">
                  <c:v>159.88175675675677</c:v>
                </c:pt>
                <c:pt idx="527">
                  <c:v>159.88175675675677</c:v>
                </c:pt>
                <c:pt idx="528">
                  <c:v>159.88175675675677</c:v>
                </c:pt>
                <c:pt idx="529">
                  <c:v>159.88175675675677</c:v>
                </c:pt>
                <c:pt idx="530">
                  <c:v>159.88175675675677</c:v>
                </c:pt>
                <c:pt idx="531">
                  <c:v>159.88175675675677</c:v>
                </c:pt>
                <c:pt idx="532">
                  <c:v>159.88175675675677</c:v>
                </c:pt>
                <c:pt idx="533">
                  <c:v>159.88175675675677</c:v>
                </c:pt>
                <c:pt idx="534">
                  <c:v>159.88175675675677</c:v>
                </c:pt>
                <c:pt idx="535">
                  <c:v>159.88175675675677</c:v>
                </c:pt>
                <c:pt idx="536">
                  <c:v>159.88175675675677</c:v>
                </c:pt>
                <c:pt idx="537">
                  <c:v>159.88175675675677</c:v>
                </c:pt>
                <c:pt idx="538">
                  <c:v>159.88175675675677</c:v>
                </c:pt>
                <c:pt idx="539">
                  <c:v>159.88175675675677</c:v>
                </c:pt>
                <c:pt idx="540">
                  <c:v>159.88175675675677</c:v>
                </c:pt>
                <c:pt idx="541">
                  <c:v>159.88175675675677</c:v>
                </c:pt>
                <c:pt idx="542">
                  <c:v>159.88175675675677</c:v>
                </c:pt>
                <c:pt idx="543">
                  <c:v>159.88175675675677</c:v>
                </c:pt>
                <c:pt idx="544">
                  <c:v>159.88175675675677</c:v>
                </c:pt>
                <c:pt idx="545">
                  <c:v>160.81081081081081</c:v>
                </c:pt>
                <c:pt idx="546">
                  <c:v>160.81081081081081</c:v>
                </c:pt>
                <c:pt idx="547">
                  <c:v>160.81081081081081</c:v>
                </c:pt>
                <c:pt idx="548">
                  <c:v>160.81081081081081</c:v>
                </c:pt>
                <c:pt idx="549">
                  <c:v>160.81081081081081</c:v>
                </c:pt>
                <c:pt idx="550">
                  <c:v>160.81081081081081</c:v>
                </c:pt>
                <c:pt idx="551">
                  <c:v>160.81081081081081</c:v>
                </c:pt>
                <c:pt idx="552">
                  <c:v>160.81081081081081</c:v>
                </c:pt>
                <c:pt idx="553">
                  <c:v>160.81081081081081</c:v>
                </c:pt>
                <c:pt idx="554">
                  <c:v>160.81081081081081</c:v>
                </c:pt>
                <c:pt idx="555">
                  <c:v>160.81081081081081</c:v>
                </c:pt>
                <c:pt idx="556">
                  <c:v>160.81081081081081</c:v>
                </c:pt>
                <c:pt idx="557">
                  <c:v>160.81081081081081</c:v>
                </c:pt>
                <c:pt idx="558">
                  <c:v>160.81081081081081</c:v>
                </c:pt>
                <c:pt idx="559">
                  <c:v>160.81081081081081</c:v>
                </c:pt>
                <c:pt idx="560">
                  <c:v>160.81081081081081</c:v>
                </c:pt>
                <c:pt idx="561">
                  <c:v>160.81081081081081</c:v>
                </c:pt>
                <c:pt idx="562">
                  <c:v>160.81081081081081</c:v>
                </c:pt>
                <c:pt idx="563">
                  <c:v>160.81081081081081</c:v>
                </c:pt>
                <c:pt idx="564">
                  <c:v>160.81081081081081</c:v>
                </c:pt>
                <c:pt idx="565">
                  <c:v>168.83445945945948</c:v>
                </c:pt>
                <c:pt idx="566">
                  <c:v>168.83445945945948</c:v>
                </c:pt>
                <c:pt idx="567">
                  <c:v>168.83445945945948</c:v>
                </c:pt>
                <c:pt idx="568">
                  <c:v>168.83445945945948</c:v>
                </c:pt>
                <c:pt idx="569">
                  <c:v>168.83445945945948</c:v>
                </c:pt>
                <c:pt idx="570">
                  <c:v>168.83445945945948</c:v>
                </c:pt>
                <c:pt idx="571">
                  <c:v>168.83445945945948</c:v>
                </c:pt>
                <c:pt idx="572">
                  <c:v>168.83445945945948</c:v>
                </c:pt>
                <c:pt idx="573">
                  <c:v>168.83445945945948</c:v>
                </c:pt>
                <c:pt idx="574">
                  <c:v>168.83445945945948</c:v>
                </c:pt>
                <c:pt idx="575">
                  <c:v>168.83445945945948</c:v>
                </c:pt>
                <c:pt idx="576">
                  <c:v>168.83445945945948</c:v>
                </c:pt>
                <c:pt idx="577">
                  <c:v>168.83445945945948</c:v>
                </c:pt>
                <c:pt idx="578">
                  <c:v>168.83445945945948</c:v>
                </c:pt>
                <c:pt idx="579">
                  <c:v>168.83445945945948</c:v>
                </c:pt>
                <c:pt idx="580">
                  <c:v>168.83445945945948</c:v>
                </c:pt>
                <c:pt idx="581">
                  <c:v>168.83445945945948</c:v>
                </c:pt>
                <c:pt idx="582">
                  <c:v>168.83445945945948</c:v>
                </c:pt>
                <c:pt idx="583">
                  <c:v>168.83445945945948</c:v>
                </c:pt>
                <c:pt idx="584">
                  <c:v>168.83445945945948</c:v>
                </c:pt>
                <c:pt idx="585">
                  <c:v>167.22972972972974</c:v>
                </c:pt>
                <c:pt idx="586">
                  <c:v>167.22972972972974</c:v>
                </c:pt>
                <c:pt idx="587">
                  <c:v>167.22972972972974</c:v>
                </c:pt>
                <c:pt idx="588">
                  <c:v>167.22972972972974</c:v>
                </c:pt>
                <c:pt idx="589">
                  <c:v>167.22972972972974</c:v>
                </c:pt>
                <c:pt idx="590">
                  <c:v>167.22972972972974</c:v>
                </c:pt>
                <c:pt idx="591">
                  <c:v>167.22972972972974</c:v>
                </c:pt>
                <c:pt idx="592">
                  <c:v>167.22972972972974</c:v>
                </c:pt>
                <c:pt idx="593">
                  <c:v>167.22972972972974</c:v>
                </c:pt>
                <c:pt idx="594">
                  <c:v>167.22972972972974</c:v>
                </c:pt>
                <c:pt idx="595">
                  <c:v>167.22972972972974</c:v>
                </c:pt>
                <c:pt idx="596">
                  <c:v>167.22972972972974</c:v>
                </c:pt>
                <c:pt idx="597">
                  <c:v>167.22972972972974</c:v>
                </c:pt>
                <c:pt idx="598">
                  <c:v>167.22972972972974</c:v>
                </c:pt>
                <c:pt idx="599">
                  <c:v>167.22972972972974</c:v>
                </c:pt>
                <c:pt idx="600">
                  <c:v>167.22972972972974</c:v>
                </c:pt>
                <c:pt idx="601">
                  <c:v>167.22972972972974</c:v>
                </c:pt>
                <c:pt idx="602">
                  <c:v>167.22972972972974</c:v>
                </c:pt>
                <c:pt idx="603">
                  <c:v>167.22972972972974</c:v>
                </c:pt>
                <c:pt idx="604">
                  <c:v>167.22972972972974</c:v>
                </c:pt>
                <c:pt idx="605">
                  <c:v>173.98648648648648</c:v>
                </c:pt>
                <c:pt idx="606">
                  <c:v>173.98648648648648</c:v>
                </c:pt>
                <c:pt idx="607">
                  <c:v>173.98648648648648</c:v>
                </c:pt>
                <c:pt idx="608">
                  <c:v>173.98648648648648</c:v>
                </c:pt>
                <c:pt idx="609">
                  <c:v>173.98648648648648</c:v>
                </c:pt>
                <c:pt idx="610">
                  <c:v>173.98648648648648</c:v>
                </c:pt>
                <c:pt idx="611">
                  <c:v>173.98648648648648</c:v>
                </c:pt>
                <c:pt idx="612">
                  <c:v>173.98648648648648</c:v>
                </c:pt>
                <c:pt idx="613">
                  <c:v>173.98648648648648</c:v>
                </c:pt>
                <c:pt idx="614">
                  <c:v>173.98648648648648</c:v>
                </c:pt>
                <c:pt idx="615">
                  <c:v>173.98648648648648</c:v>
                </c:pt>
                <c:pt idx="616">
                  <c:v>173.98648648648648</c:v>
                </c:pt>
                <c:pt idx="617">
                  <c:v>173.98648648648648</c:v>
                </c:pt>
                <c:pt idx="618">
                  <c:v>173.98648648648648</c:v>
                </c:pt>
                <c:pt idx="619">
                  <c:v>173.98648648648648</c:v>
                </c:pt>
                <c:pt idx="620">
                  <c:v>173.98648648648648</c:v>
                </c:pt>
                <c:pt idx="621">
                  <c:v>173.98648648648648</c:v>
                </c:pt>
                <c:pt idx="622">
                  <c:v>173.98648648648648</c:v>
                </c:pt>
                <c:pt idx="623">
                  <c:v>173.98648648648648</c:v>
                </c:pt>
                <c:pt idx="624">
                  <c:v>173.98648648648648</c:v>
                </c:pt>
                <c:pt idx="625">
                  <c:v>173.98648648648648</c:v>
                </c:pt>
                <c:pt idx="626">
                  <c:v>173.98648648648648</c:v>
                </c:pt>
                <c:pt idx="627">
                  <c:v>173.98648648648648</c:v>
                </c:pt>
                <c:pt idx="628">
                  <c:v>173.98648648648648</c:v>
                </c:pt>
                <c:pt idx="629">
                  <c:v>173.98648648648648</c:v>
                </c:pt>
                <c:pt idx="630">
                  <c:v>175.50675675675674</c:v>
                </c:pt>
                <c:pt idx="631">
                  <c:v>175.50675675675674</c:v>
                </c:pt>
                <c:pt idx="632">
                  <c:v>175.50675675675674</c:v>
                </c:pt>
                <c:pt idx="633">
                  <c:v>175.50675675675674</c:v>
                </c:pt>
                <c:pt idx="634">
                  <c:v>175.50675675675674</c:v>
                </c:pt>
                <c:pt idx="635">
                  <c:v>175.50675675675674</c:v>
                </c:pt>
                <c:pt idx="636">
                  <c:v>175.50675675675674</c:v>
                </c:pt>
                <c:pt idx="637">
                  <c:v>175.50675675675674</c:v>
                </c:pt>
                <c:pt idx="638">
                  <c:v>175.50675675675674</c:v>
                </c:pt>
                <c:pt idx="639">
                  <c:v>175.50675675675674</c:v>
                </c:pt>
                <c:pt idx="640">
                  <c:v>175.50675675675674</c:v>
                </c:pt>
                <c:pt idx="641">
                  <c:v>175.50675675675674</c:v>
                </c:pt>
                <c:pt idx="642">
                  <c:v>175.50675675675674</c:v>
                </c:pt>
                <c:pt idx="643">
                  <c:v>175.50675675675674</c:v>
                </c:pt>
                <c:pt idx="644">
                  <c:v>175.50675675675674</c:v>
                </c:pt>
                <c:pt idx="645">
                  <c:v>175.50675675675674</c:v>
                </c:pt>
                <c:pt idx="646">
                  <c:v>175.50675675675674</c:v>
                </c:pt>
                <c:pt idx="647">
                  <c:v>175.50675675675674</c:v>
                </c:pt>
                <c:pt idx="648">
                  <c:v>175.50675675675674</c:v>
                </c:pt>
                <c:pt idx="649">
                  <c:v>175.50675675675674</c:v>
                </c:pt>
                <c:pt idx="650">
                  <c:v>168.32770270270271</c:v>
                </c:pt>
                <c:pt idx="651">
                  <c:v>168.32770270270271</c:v>
                </c:pt>
                <c:pt idx="652">
                  <c:v>168.32770270270271</c:v>
                </c:pt>
                <c:pt idx="653">
                  <c:v>168.32770270270271</c:v>
                </c:pt>
                <c:pt idx="654">
                  <c:v>168.32770270270271</c:v>
                </c:pt>
                <c:pt idx="655">
                  <c:v>168.32770270270271</c:v>
                </c:pt>
                <c:pt idx="656">
                  <c:v>168.32770270270271</c:v>
                </c:pt>
                <c:pt idx="657">
                  <c:v>168.32770270270271</c:v>
                </c:pt>
                <c:pt idx="658">
                  <c:v>168.32770270270271</c:v>
                </c:pt>
                <c:pt idx="659">
                  <c:v>168.32770270270271</c:v>
                </c:pt>
                <c:pt idx="660">
                  <c:v>168.32770270270271</c:v>
                </c:pt>
                <c:pt idx="661">
                  <c:v>168.32770270270271</c:v>
                </c:pt>
                <c:pt idx="662">
                  <c:v>168.32770270270271</c:v>
                </c:pt>
                <c:pt idx="663">
                  <c:v>168.32770270270271</c:v>
                </c:pt>
                <c:pt idx="664">
                  <c:v>168.32770270270271</c:v>
                </c:pt>
                <c:pt idx="665">
                  <c:v>168.32770270270271</c:v>
                </c:pt>
                <c:pt idx="666">
                  <c:v>168.32770270270271</c:v>
                </c:pt>
                <c:pt idx="667">
                  <c:v>168.32770270270271</c:v>
                </c:pt>
                <c:pt idx="668">
                  <c:v>168.32770270270271</c:v>
                </c:pt>
                <c:pt idx="669">
                  <c:v>168.32770270270271</c:v>
                </c:pt>
                <c:pt idx="670">
                  <c:v>177.28040540540545</c:v>
                </c:pt>
                <c:pt idx="671">
                  <c:v>177.28040540540545</c:v>
                </c:pt>
                <c:pt idx="672">
                  <c:v>177.28040540540545</c:v>
                </c:pt>
                <c:pt idx="673">
                  <c:v>177.28040540540545</c:v>
                </c:pt>
                <c:pt idx="674">
                  <c:v>177.28040540540545</c:v>
                </c:pt>
                <c:pt idx="675">
                  <c:v>177.28040540540545</c:v>
                </c:pt>
                <c:pt idx="676">
                  <c:v>177.28040540540545</c:v>
                </c:pt>
                <c:pt idx="677">
                  <c:v>177.28040540540545</c:v>
                </c:pt>
                <c:pt idx="678">
                  <c:v>177.28040540540545</c:v>
                </c:pt>
                <c:pt idx="679">
                  <c:v>177.28040540540545</c:v>
                </c:pt>
                <c:pt idx="680">
                  <c:v>177.28040540540545</c:v>
                </c:pt>
                <c:pt idx="681">
                  <c:v>177.28040540540545</c:v>
                </c:pt>
                <c:pt idx="682">
                  <c:v>177.28040540540545</c:v>
                </c:pt>
                <c:pt idx="683">
                  <c:v>177.28040540540545</c:v>
                </c:pt>
                <c:pt idx="684">
                  <c:v>177.28040540540545</c:v>
                </c:pt>
                <c:pt idx="685">
                  <c:v>177.28040540540545</c:v>
                </c:pt>
                <c:pt idx="686">
                  <c:v>177.28040540540545</c:v>
                </c:pt>
                <c:pt idx="687">
                  <c:v>177.28040540540545</c:v>
                </c:pt>
                <c:pt idx="688">
                  <c:v>177.28040540540545</c:v>
                </c:pt>
                <c:pt idx="689">
                  <c:v>177.28040540540545</c:v>
                </c:pt>
                <c:pt idx="690">
                  <c:v>177.28040540540545</c:v>
                </c:pt>
                <c:pt idx="691">
                  <c:v>177.28040540540545</c:v>
                </c:pt>
                <c:pt idx="692">
                  <c:v>177.28040540540545</c:v>
                </c:pt>
                <c:pt idx="693">
                  <c:v>177.28040540540545</c:v>
                </c:pt>
                <c:pt idx="694">
                  <c:v>177.28040540540545</c:v>
                </c:pt>
                <c:pt idx="695">
                  <c:v>180.99662162162161</c:v>
                </c:pt>
                <c:pt idx="696">
                  <c:v>180.99662162162161</c:v>
                </c:pt>
                <c:pt idx="697">
                  <c:v>180.99662162162161</c:v>
                </c:pt>
                <c:pt idx="698">
                  <c:v>180.99662162162161</c:v>
                </c:pt>
                <c:pt idx="699">
                  <c:v>180.99662162162161</c:v>
                </c:pt>
                <c:pt idx="700">
                  <c:v>180.99662162162161</c:v>
                </c:pt>
                <c:pt idx="701">
                  <c:v>180.99662162162161</c:v>
                </c:pt>
                <c:pt idx="702">
                  <c:v>180.99662162162161</c:v>
                </c:pt>
                <c:pt idx="703">
                  <c:v>180.99662162162161</c:v>
                </c:pt>
                <c:pt idx="704">
                  <c:v>180.99662162162161</c:v>
                </c:pt>
                <c:pt idx="705">
                  <c:v>180.99662162162161</c:v>
                </c:pt>
                <c:pt idx="706">
                  <c:v>180.99662162162161</c:v>
                </c:pt>
                <c:pt idx="707">
                  <c:v>180.99662162162161</c:v>
                </c:pt>
                <c:pt idx="708">
                  <c:v>180.99662162162161</c:v>
                </c:pt>
                <c:pt idx="709">
                  <c:v>180.99662162162161</c:v>
                </c:pt>
                <c:pt idx="710">
                  <c:v>180.99662162162161</c:v>
                </c:pt>
                <c:pt idx="711">
                  <c:v>180.99662162162161</c:v>
                </c:pt>
                <c:pt idx="712">
                  <c:v>180.99662162162161</c:v>
                </c:pt>
                <c:pt idx="713">
                  <c:v>180.99662162162161</c:v>
                </c:pt>
                <c:pt idx="714">
                  <c:v>180.99662162162161</c:v>
                </c:pt>
                <c:pt idx="715">
                  <c:v>183.7837837837838</c:v>
                </c:pt>
                <c:pt idx="716">
                  <c:v>183.7837837837838</c:v>
                </c:pt>
                <c:pt idx="717">
                  <c:v>183.7837837837838</c:v>
                </c:pt>
                <c:pt idx="718">
                  <c:v>183.7837837837838</c:v>
                </c:pt>
                <c:pt idx="719">
                  <c:v>183.7837837837838</c:v>
                </c:pt>
                <c:pt idx="720">
                  <c:v>183.7837837837838</c:v>
                </c:pt>
                <c:pt idx="721">
                  <c:v>183.7837837837838</c:v>
                </c:pt>
                <c:pt idx="722">
                  <c:v>183.7837837837838</c:v>
                </c:pt>
                <c:pt idx="723">
                  <c:v>183.7837837837838</c:v>
                </c:pt>
                <c:pt idx="724">
                  <c:v>183.7837837837838</c:v>
                </c:pt>
                <c:pt idx="725">
                  <c:v>183.7837837837838</c:v>
                </c:pt>
                <c:pt idx="726">
                  <c:v>183.7837837837838</c:v>
                </c:pt>
                <c:pt idx="727">
                  <c:v>183.7837837837838</c:v>
                </c:pt>
                <c:pt idx="728">
                  <c:v>183.7837837837838</c:v>
                </c:pt>
                <c:pt idx="729">
                  <c:v>183.7837837837838</c:v>
                </c:pt>
                <c:pt idx="730">
                  <c:v>183.7837837837838</c:v>
                </c:pt>
                <c:pt idx="731">
                  <c:v>183.7837837837838</c:v>
                </c:pt>
                <c:pt idx="732">
                  <c:v>183.7837837837838</c:v>
                </c:pt>
                <c:pt idx="733">
                  <c:v>183.7837837837838</c:v>
                </c:pt>
                <c:pt idx="734">
                  <c:v>183.7837837837838</c:v>
                </c:pt>
                <c:pt idx="735">
                  <c:v>183.7837837837838</c:v>
                </c:pt>
                <c:pt idx="736">
                  <c:v>183.7837837837838</c:v>
                </c:pt>
                <c:pt idx="737">
                  <c:v>183.7837837837838</c:v>
                </c:pt>
                <c:pt idx="738">
                  <c:v>183.7837837837838</c:v>
                </c:pt>
                <c:pt idx="739">
                  <c:v>183.7837837837838</c:v>
                </c:pt>
                <c:pt idx="740">
                  <c:v>183.02364864864865</c:v>
                </c:pt>
                <c:pt idx="741">
                  <c:v>183.02364864864865</c:v>
                </c:pt>
                <c:pt idx="742">
                  <c:v>183.02364864864865</c:v>
                </c:pt>
                <c:pt idx="743">
                  <c:v>183.02364864864865</c:v>
                </c:pt>
                <c:pt idx="744">
                  <c:v>183.02364864864865</c:v>
                </c:pt>
                <c:pt idx="745">
                  <c:v>183.02364864864865</c:v>
                </c:pt>
                <c:pt idx="746">
                  <c:v>183.02364864864865</c:v>
                </c:pt>
                <c:pt idx="747">
                  <c:v>183.02364864864865</c:v>
                </c:pt>
                <c:pt idx="748">
                  <c:v>183.02364864864865</c:v>
                </c:pt>
                <c:pt idx="749">
                  <c:v>183.02364864864865</c:v>
                </c:pt>
                <c:pt idx="750">
                  <c:v>183.02364864864865</c:v>
                </c:pt>
                <c:pt idx="751">
                  <c:v>183.02364864864865</c:v>
                </c:pt>
                <c:pt idx="752">
                  <c:v>183.02364864864865</c:v>
                </c:pt>
                <c:pt idx="753">
                  <c:v>183.02364864864865</c:v>
                </c:pt>
                <c:pt idx="754">
                  <c:v>183.02364864864865</c:v>
                </c:pt>
                <c:pt idx="755">
                  <c:v>183.02364864864865</c:v>
                </c:pt>
                <c:pt idx="756">
                  <c:v>183.02364864864865</c:v>
                </c:pt>
                <c:pt idx="757">
                  <c:v>183.02364864864865</c:v>
                </c:pt>
                <c:pt idx="758">
                  <c:v>183.02364864864865</c:v>
                </c:pt>
                <c:pt idx="759">
                  <c:v>183.02364864864865</c:v>
                </c:pt>
                <c:pt idx="760">
                  <c:v>188.42905405405406</c:v>
                </c:pt>
                <c:pt idx="761">
                  <c:v>188.42905405405406</c:v>
                </c:pt>
                <c:pt idx="762">
                  <c:v>188.42905405405406</c:v>
                </c:pt>
                <c:pt idx="763">
                  <c:v>188.42905405405406</c:v>
                </c:pt>
                <c:pt idx="764">
                  <c:v>188.42905405405406</c:v>
                </c:pt>
                <c:pt idx="765">
                  <c:v>188.42905405405406</c:v>
                </c:pt>
                <c:pt idx="766">
                  <c:v>188.42905405405406</c:v>
                </c:pt>
                <c:pt idx="767">
                  <c:v>188.42905405405406</c:v>
                </c:pt>
                <c:pt idx="768">
                  <c:v>188.42905405405406</c:v>
                </c:pt>
                <c:pt idx="769">
                  <c:v>188.42905405405406</c:v>
                </c:pt>
                <c:pt idx="770">
                  <c:v>188.42905405405406</c:v>
                </c:pt>
                <c:pt idx="771">
                  <c:v>188.42905405405406</c:v>
                </c:pt>
                <c:pt idx="772">
                  <c:v>188.42905405405406</c:v>
                </c:pt>
                <c:pt idx="773">
                  <c:v>188.42905405405406</c:v>
                </c:pt>
                <c:pt idx="774">
                  <c:v>188.42905405405406</c:v>
                </c:pt>
                <c:pt idx="775">
                  <c:v>188.42905405405406</c:v>
                </c:pt>
                <c:pt idx="776">
                  <c:v>188.42905405405406</c:v>
                </c:pt>
                <c:pt idx="777">
                  <c:v>188.42905405405406</c:v>
                </c:pt>
                <c:pt idx="778">
                  <c:v>188.42905405405406</c:v>
                </c:pt>
                <c:pt idx="779">
                  <c:v>188.42905405405406</c:v>
                </c:pt>
                <c:pt idx="780">
                  <c:v>191.30067567567571</c:v>
                </c:pt>
                <c:pt idx="781">
                  <c:v>191.30067567567571</c:v>
                </c:pt>
                <c:pt idx="782">
                  <c:v>191.30067567567571</c:v>
                </c:pt>
                <c:pt idx="783">
                  <c:v>191.30067567567571</c:v>
                </c:pt>
                <c:pt idx="784">
                  <c:v>191.30067567567571</c:v>
                </c:pt>
                <c:pt idx="785">
                  <c:v>191.30067567567571</c:v>
                </c:pt>
                <c:pt idx="786">
                  <c:v>191.30067567567571</c:v>
                </c:pt>
                <c:pt idx="787">
                  <c:v>191.30067567567571</c:v>
                </c:pt>
                <c:pt idx="788">
                  <c:v>191.30067567567571</c:v>
                </c:pt>
                <c:pt idx="789">
                  <c:v>191.30067567567571</c:v>
                </c:pt>
                <c:pt idx="790">
                  <c:v>191.30067567567571</c:v>
                </c:pt>
                <c:pt idx="791">
                  <c:v>191.30067567567571</c:v>
                </c:pt>
                <c:pt idx="792">
                  <c:v>191.30067567567571</c:v>
                </c:pt>
                <c:pt idx="793">
                  <c:v>191.30067567567571</c:v>
                </c:pt>
                <c:pt idx="794">
                  <c:v>191.30067567567571</c:v>
                </c:pt>
                <c:pt idx="795">
                  <c:v>191.30067567567571</c:v>
                </c:pt>
                <c:pt idx="796">
                  <c:v>191.30067567567571</c:v>
                </c:pt>
                <c:pt idx="797">
                  <c:v>191.30067567567571</c:v>
                </c:pt>
                <c:pt idx="798">
                  <c:v>191.30067567567571</c:v>
                </c:pt>
                <c:pt idx="799">
                  <c:v>191.30067567567571</c:v>
                </c:pt>
                <c:pt idx="800">
                  <c:v>191.30067567567571</c:v>
                </c:pt>
                <c:pt idx="801">
                  <c:v>191.30067567567571</c:v>
                </c:pt>
                <c:pt idx="802">
                  <c:v>191.30067567567571</c:v>
                </c:pt>
                <c:pt idx="803">
                  <c:v>191.30067567567571</c:v>
                </c:pt>
                <c:pt idx="804">
                  <c:v>191.30067567567571</c:v>
                </c:pt>
                <c:pt idx="805">
                  <c:v>190.0337837837838</c:v>
                </c:pt>
                <c:pt idx="806">
                  <c:v>190.0337837837838</c:v>
                </c:pt>
                <c:pt idx="807">
                  <c:v>190.0337837837838</c:v>
                </c:pt>
                <c:pt idx="808">
                  <c:v>190.0337837837838</c:v>
                </c:pt>
                <c:pt idx="809">
                  <c:v>190.0337837837838</c:v>
                </c:pt>
                <c:pt idx="810">
                  <c:v>190.0337837837838</c:v>
                </c:pt>
                <c:pt idx="811">
                  <c:v>190.0337837837838</c:v>
                </c:pt>
                <c:pt idx="812">
                  <c:v>190.0337837837838</c:v>
                </c:pt>
                <c:pt idx="813">
                  <c:v>190.0337837837838</c:v>
                </c:pt>
                <c:pt idx="814">
                  <c:v>190.0337837837838</c:v>
                </c:pt>
                <c:pt idx="815">
                  <c:v>190.0337837837838</c:v>
                </c:pt>
                <c:pt idx="816">
                  <c:v>190.0337837837838</c:v>
                </c:pt>
                <c:pt idx="817">
                  <c:v>190.0337837837838</c:v>
                </c:pt>
                <c:pt idx="818">
                  <c:v>190.0337837837838</c:v>
                </c:pt>
                <c:pt idx="819">
                  <c:v>190.0337837837838</c:v>
                </c:pt>
                <c:pt idx="820">
                  <c:v>190.0337837837838</c:v>
                </c:pt>
                <c:pt idx="821">
                  <c:v>190.0337837837838</c:v>
                </c:pt>
                <c:pt idx="822">
                  <c:v>190.0337837837838</c:v>
                </c:pt>
                <c:pt idx="823">
                  <c:v>190.0337837837838</c:v>
                </c:pt>
                <c:pt idx="824">
                  <c:v>190.0337837837838</c:v>
                </c:pt>
                <c:pt idx="825">
                  <c:v>189.27364864864867</c:v>
                </c:pt>
                <c:pt idx="826">
                  <c:v>189.27364864864867</c:v>
                </c:pt>
                <c:pt idx="827">
                  <c:v>189.27364864864867</c:v>
                </c:pt>
                <c:pt idx="828">
                  <c:v>189.27364864864867</c:v>
                </c:pt>
                <c:pt idx="829">
                  <c:v>189.27364864864867</c:v>
                </c:pt>
                <c:pt idx="830">
                  <c:v>189.27364864864867</c:v>
                </c:pt>
                <c:pt idx="831">
                  <c:v>189.27364864864867</c:v>
                </c:pt>
                <c:pt idx="832">
                  <c:v>189.27364864864867</c:v>
                </c:pt>
                <c:pt idx="833">
                  <c:v>189.27364864864867</c:v>
                </c:pt>
                <c:pt idx="834">
                  <c:v>189.27364864864867</c:v>
                </c:pt>
                <c:pt idx="835">
                  <c:v>189.27364864864867</c:v>
                </c:pt>
                <c:pt idx="836">
                  <c:v>189.27364864864867</c:v>
                </c:pt>
                <c:pt idx="837">
                  <c:v>189.27364864864867</c:v>
                </c:pt>
                <c:pt idx="838">
                  <c:v>189.27364864864867</c:v>
                </c:pt>
                <c:pt idx="839">
                  <c:v>189.27364864864867</c:v>
                </c:pt>
                <c:pt idx="840">
                  <c:v>189.27364864864867</c:v>
                </c:pt>
                <c:pt idx="841">
                  <c:v>189.27364864864867</c:v>
                </c:pt>
                <c:pt idx="842">
                  <c:v>189.27364864864867</c:v>
                </c:pt>
                <c:pt idx="843">
                  <c:v>189.27364864864867</c:v>
                </c:pt>
                <c:pt idx="844">
                  <c:v>189.27364864864867</c:v>
                </c:pt>
                <c:pt idx="845">
                  <c:v>187.75337837837839</c:v>
                </c:pt>
                <c:pt idx="846">
                  <c:v>187.75337837837839</c:v>
                </c:pt>
                <c:pt idx="847">
                  <c:v>187.75337837837839</c:v>
                </c:pt>
                <c:pt idx="848">
                  <c:v>187.75337837837839</c:v>
                </c:pt>
                <c:pt idx="849">
                  <c:v>187.75337837837839</c:v>
                </c:pt>
                <c:pt idx="850">
                  <c:v>187.75337837837839</c:v>
                </c:pt>
                <c:pt idx="851">
                  <c:v>187.75337837837839</c:v>
                </c:pt>
                <c:pt idx="852">
                  <c:v>187.75337837837839</c:v>
                </c:pt>
                <c:pt idx="853">
                  <c:v>187.75337837837839</c:v>
                </c:pt>
                <c:pt idx="854">
                  <c:v>187.75337837837839</c:v>
                </c:pt>
                <c:pt idx="855">
                  <c:v>187.75337837837839</c:v>
                </c:pt>
                <c:pt idx="856">
                  <c:v>187.75337837837839</c:v>
                </c:pt>
                <c:pt idx="857">
                  <c:v>187.75337837837839</c:v>
                </c:pt>
                <c:pt idx="858">
                  <c:v>187.75337837837839</c:v>
                </c:pt>
                <c:pt idx="859">
                  <c:v>187.75337837837839</c:v>
                </c:pt>
                <c:pt idx="860">
                  <c:v>187.75337837837839</c:v>
                </c:pt>
                <c:pt idx="861">
                  <c:v>187.75337837837839</c:v>
                </c:pt>
                <c:pt idx="862">
                  <c:v>187.75337837837839</c:v>
                </c:pt>
                <c:pt idx="863">
                  <c:v>187.75337837837839</c:v>
                </c:pt>
                <c:pt idx="864">
                  <c:v>187.75337837837839</c:v>
                </c:pt>
                <c:pt idx="865">
                  <c:v>189.78040540540539</c:v>
                </c:pt>
                <c:pt idx="866">
                  <c:v>189.78040540540539</c:v>
                </c:pt>
                <c:pt idx="867">
                  <c:v>189.78040540540539</c:v>
                </c:pt>
                <c:pt idx="868">
                  <c:v>189.78040540540539</c:v>
                </c:pt>
                <c:pt idx="869">
                  <c:v>189.78040540540539</c:v>
                </c:pt>
                <c:pt idx="870">
                  <c:v>189.78040540540539</c:v>
                </c:pt>
                <c:pt idx="871">
                  <c:v>189.78040540540539</c:v>
                </c:pt>
                <c:pt idx="872">
                  <c:v>189.78040540540539</c:v>
                </c:pt>
                <c:pt idx="873">
                  <c:v>189.78040540540539</c:v>
                </c:pt>
                <c:pt idx="874">
                  <c:v>189.78040540540539</c:v>
                </c:pt>
                <c:pt idx="875">
                  <c:v>189.78040540540539</c:v>
                </c:pt>
                <c:pt idx="876">
                  <c:v>189.78040540540539</c:v>
                </c:pt>
                <c:pt idx="877">
                  <c:v>189.78040540540539</c:v>
                </c:pt>
                <c:pt idx="878">
                  <c:v>189.78040540540539</c:v>
                </c:pt>
                <c:pt idx="879">
                  <c:v>189.78040540540539</c:v>
                </c:pt>
                <c:pt idx="880">
                  <c:v>189.78040540540539</c:v>
                </c:pt>
                <c:pt idx="881">
                  <c:v>189.78040540540539</c:v>
                </c:pt>
                <c:pt idx="882">
                  <c:v>189.78040540540539</c:v>
                </c:pt>
                <c:pt idx="883">
                  <c:v>189.78040540540539</c:v>
                </c:pt>
                <c:pt idx="884">
                  <c:v>189.78040540540539</c:v>
                </c:pt>
                <c:pt idx="885">
                  <c:v>189.78040540540539</c:v>
                </c:pt>
                <c:pt idx="886">
                  <c:v>189.78040540540539</c:v>
                </c:pt>
                <c:pt idx="887">
                  <c:v>189.78040540540539</c:v>
                </c:pt>
                <c:pt idx="888">
                  <c:v>189.78040540540539</c:v>
                </c:pt>
                <c:pt idx="889">
                  <c:v>189.78040540540539</c:v>
                </c:pt>
                <c:pt idx="890">
                  <c:v>187.50000000000003</c:v>
                </c:pt>
                <c:pt idx="891">
                  <c:v>187.50000000000003</c:v>
                </c:pt>
                <c:pt idx="892">
                  <c:v>187.50000000000003</c:v>
                </c:pt>
                <c:pt idx="893">
                  <c:v>187.50000000000003</c:v>
                </c:pt>
                <c:pt idx="894">
                  <c:v>187.50000000000003</c:v>
                </c:pt>
                <c:pt idx="895">
                  <c:v>187.50000000000003</c:v>
                </c:pt>
                <c:pt idx="896">
                  <c:v>187.50000000000003</c:v>
                </c:pt>
                <c:pt idx="897">
                  <c:v>187.50000000000003</c:v>
                </c:pt>
                <c:pt idx="898">
                  <c:v>187.50000000000003</c:v>
                </c:pt>
                <c:pt idx="899">
                  <c:v>187.50000000000003</c:v>
                </c:pt>
                <c:pt idx="900">
                  <c:v>187.50000000000003</c:v>
                </c:pt>
                <c:pt idx="901">
                  <c:v>187.50000000000003</c:v>
                </c:pt>
                <c:pt idx="902">
                  <c:v>187.50000000000003</c:v>
                </c:pt>
                <c:pt idx="903">
                  <c:v>187.50000000000003</c:v>
                </c:pt>
                <c:pt idx="904">
                  <c:v>187.50000000000003</c:v>
                </c:pt>
                <c:pt idx="905">
                  <c:v>187.50000000000003</c:v>
                </c:pt>
                <c:pt idx="906">
                  <c:v>187.50000000000003</c:v>
                </c:pt>
                <c:pt idx="907">
                  <c:v>187.50000000000003</c:v>
                </c:pt>
                <c:pt idx="908">
                  <c:v>187.50000000000003</c:v>
                </c:pt>
                <c:pt idx="909">
                  <c:v>187.50000000000003</c:v>
                </c:pt>
                <c:pt idx="910">
                  <c:v>184.375</c:v>
                </c:pt>
                <c:pt idx="911">
                  <c:v>184.375</c:v>
                </c:pt>
                <c:pt idx="912">
                  <c:v>184.375</c:v>
                </c:pt>
                <c:pt idx="913">
                  <c:v>184.375</c:v>
                </c:pt>
                <c:pt idx="914">
                  <c:v>184.375</c:v>
                </c:pt>
                <c:pt idx="915">
                  <c:v>184.375</c:v>
                </c:pt>
                <c:pt idx="916">
                  <c:v>184.375</c:v>
                </c:pt>
                <c:pt idx="917">
                  <c:v>184.375</c:v>
                </c:pt>
                <c:pt idx="918">
                  <c:v>184.375</c:v>
                </c:pt>
                <c:pt idx="919">
                  <c:v>184.375</c:v>
                </c:pt>
                <c:pt idx="920">
                  <c:v>184.375</c:v>
                </c:pt>
                <c:pt idx="921">
                  <c:v>184.375</c:v>
                </c:pt>
                <c:pt idx="922">
                  <c:v>184.375</c:v>
                </c:pt>
                <c:pt idx="923">
                  <c:v>184.375</c:v>
                </c:pt>
                <c:pt idx="924">
                  <c:v>184.375</c:v>
                </c:pt>
                <c:pt idx="925">
                  <c:v>184.375</c:v>
                </c:pt>
                <c:pt idx="926">
                  <c:v>184.375</c:v>
                </c:pt>
                <c:pt idx="927">
                  <c:v>184.375</c:v>
                </c:pt>
                <c:pt idx="928">
                  <c:v>184.375</c:v>
                </c:pt>
                <c:pt idx="929">
                  <c:v>184.375</c:v>
                </c:pt>
                <c:pt idx="930">
                  <c:v>184.375</c:v>
                </c:pt>
                <c:pt idx="931">
                  <c:v>184.375</c:v>
                </c:pt>
                <c:pt idx="932">
                  <c:v>184.375</c:v>
                </c:pt>
                <c:pt idx="933">
                  <c:v>184.375</c:v>
                </c:pt>
                <c:pt idx="934">
                  <c:v>184.375</c:v>
                </c:pt>
                <c:pt idx="935">
                  <c:v>190.0337837837838</c:v>
                </c:pt>
                <c:pt idx="936">
                  <c:v>190.0337837837838</c:v>
                </c:pt>
                <c:pt idx="937">
                  <c:v>190.0337837837838</c:v>
                </c:pt>
                <c:pt idx="938">
                  <c:v>190.0337837837838</c:v>
                </c:pt>
                <c:pt idx="939">
                  <c:v>190.0337837837838</c:v>
                </c:pt>
                <c:pt idx="940">
                  <c:v>190.0337837837838</c:v>
                </c:pt>
                <c:pt idx="941">
                  <c:v>190.0337837837838</c:v>
                </c:pt>
                <c:pt idx="942">
                  <c:v>190.0337837837838</c:v>
                </c:pt>
                <c:pt idx="943">
                  <c:v>190.0337837837838</c:v>
                </c:pt>
                <c:pt idx="944">
                  <c:v>190.0337837837838</c:v>
                </c:pt>
                <c:pt idx="945">
                  <c:v>190.0337837837838</c:v>
                </c:pt>
                <c:pt idx="946">
                  <c:v>190.0337837837838</c:v>
                </c:pt>
                <c:pt idx="947">
                  <c:v>190.0337837837838</c:v>
                </c:pt>
                <c:pt idx="948">
                  <c:v>190.0337837837838</c:v>
                </c:pt>
                <c:pt idx="949">
                  <c:v>190.0337837837838</c:v>
                </c:pt>
                <c:pt idx="950">
                  <c:v>190.0337837837838</c:v>
                </c:pt>
                <c:pt idx="951">
                  <c:v>190.0337837837838</c:v>
                </c:pt>
                <c:pt idx="952">
                  <c:v>190.0337837837838</c:v>
                </c:pt>
                <c:pt idx="953">
                  <c:v>190.0337837837838</c:v>
                </c:pt>
                <c:pt idx="954">
                  <c:v>190.0337837837838</c:v>
                </c:pt>
                <c:pt idx="955">
                  <c:v>192.39864864864867</c:v>
                </c:pt>
                <c:pt idx="956">
                  <c:v>192.39864864864867</c:v>
                </c:pt>
                <c:pt idx="957">
                  <c:v>192.39864864864867</c:v>
                </c:pt>
                <c:pt idx="958">
                  <c:v>192.39864864864867</c:v>
                </c:pt>
                <c:pt idx="959">
                  <c:v>192.39864864864867</c:v>
                </c:pt>
                <c:pt idx="960">
                  <c:v>192.39864864864867</c:v>
                </c:pt>
                <c:pt idx="961">
                  <c:v>192.39864864864867</c:v>
                </c:pt>
                <c:pt idx="962">
                  <c:v>192.39864864864867</c:v>
                </c:pt>
                <c:pt idx="963">
                  <c:v>192.39864864864867</c:v>
                </c:pt>
                <c:pt idx="964">
                  <c:v>192.39864864864867</c:v>
                </c:pt>
                <c:pt idx="965">
                  <c:v>192.39864864864867</c:v>
                </c:pt>
                <c:pt idx="966">
                  <c:v>192.39864864864867</c:v>
                </c:pt>
                <c:pt idx="967">
                  <c:v>192.39864864864867</c:v>
                </c:pt>
                <c:pt idx="968">
                  <c:v>192.39864864864867</c:v>
                </c:pt>
                <c:pt idx="969">
                  <c:v>192.39864864864867</c:v>
                </c:pt>
                <c:pt idx="970">
                  <c:v>192.39864864864867</c:v>
                </c:pt>
                <c:pt idx="971">
                  <c:v>192.39864864864867</c:v>
                </c:pt>
                <c:pt idx="972">
                  <c:v>192.39864864864867</c:v>
                </c:pt>
                <c:pt idx="973">
                  <c:v>192.39864864864867</c:v>
                </c:pt>
                <c:pt idx="974">
                  <c:v>192.39864864864867</c:v>
                </c:pt>
                <c:pt idx="975">
                  <c:v>187.75337837837839</c:v>
                </c:pt>
                <c:pt idx="976">
                  <c:v>187.75337837837839</c:v>
                </c:pt>
                <c:pt idx="977">
                  <c:v>187.75337837837839</c:v>
                </c:pt>
                <c:pt idx="978">
                  <c:v>187.75337837837839</c:v>
                </c:pt>
                <c:pt idx="979">
                  <c:v>187.75337837837839</c:v>
                </c:pt>
                <c:pt idx="980">
                  <c:v>187.75337837837839</c:v>
                </c:pt>
                <c:pt idx="981">
                  <c:v>187.75337837837839</c:v>
                </c:pt>
                <c:pt idx="982">
                  <c:v>187.75337837837839</c:v>
                </c:pt>
                <c:pt idx="983">
                  <c:v>187.75337837837839</c:v>
                </c:pt>
                <c:pt idx="984">
                  <c:v>187.75337837837839</c:v>
                </c:pt>
                <c:pt idx="985">
                  <c:v>187.75337837837839</c:v>
                </c:pt>
                <c:pt idx="986">
                  <c:v>187.75337837837839</c:v>
                </c:pt>
                <c:pt idx="987">
                  <c:v>187.75337837837839</c:v>
                </c:pt>
                <c:pt idx="988">
                  <c:v>187.75337837837839</c:v>
                </c:pt>
                <c:pt idx="989">
                  <c:v>187.75337837837839</c:v>
                </c:pt>
                <c:pt idx="990">
                  <c:v>187.75337837837839</c:v>
                </c:pt>
                <c:pt idx="991">
                  <c:v>187.75337837837839</c:v>
                </c:pt>
                <c:pt idx="992">
                  <c:v>187.75337837837839</c:v>
                </c:pt>
                <c:pt idx="993">
                  <c:v>187.75337837837839</c:v>
                </c:pt>
                <c:pt idx="994">
                  <c:v>187.75337837837839</c:v>
                </c:pt>
                <c:pt idx="995">
                  <c:v>187.75337837837839</c:v>
                </c:pt>
                <c:pt idx="996">
                  <c:v>187.75337837837839</c:v>
                </c:pt>
                <c:pt idx="997">
                  <c:v>187.75337837837839</c:v>
                </c:pt>
                <c:pt idx="998">
                  <c:v>187.75337837837839</c:v>
                </c:pt>
                <c:pt idx="999">
                  <c:v>187.75337837837839</c:v>
                </c:pt>
                <c:pt idx="1000">
                  <c:v>196.79054054054055</c:v>
                </c:pt>
                <c:pt idx="1001">
                  <c:v>196.79054054054055</c:v>
                </c:pt>
                <c:pt idx="1002">
                  <c:v>196.79054054054055</c:v>
                </c:pt>
                <c:pt idx="1003">
                  <c:v>196.79054054054055</c:v>
                </c:pt>
                <c:pt idx="1004">
                  <c:v>196.79054054054055</c:v>
                </c:pt>
                <c:pt idx="1005">
                  <c:v>196.79054054054055</c:v>
                </c:pt>
                <c:pt idx="1006">
                  <c:v>196.79054054054055</c:v>
                </c:pt>
                <c:pt idx="1007">
                  <c:v>196.79054054054055</c:v>
                </c:pt>
                <c:pt idx="1008">
                  <c:v>196.79054054054055</c:v>
                </c:pt>
                <c:pt idx="1009">
                  <c:v>196.79054054054055</c:v>
                </c:pt>
                <c:pt idx="1010">
                  <c:v>196.79054054054055</c:v>
                </c:pt>
                <c:pt idx="1011">
                  <c:v>196.79054054054055</c:v>
                </c:pt>
                <c:pt idx="1012">
                  <c:v>196.79054054054055</c:v>
                </c:pt>
                <c:pt idx="1013">
                  <c:v>196.79054054054055</c:v>
                </c:pt>
                <c:pt idx="1014">
                  <c:v>196.79054054054055</c:v>
                </c:pt>
                <c:pt idx="1015">
                  <c:v>196.79054054054055</c:v>
                </c:pt>
                <c:pt idx="1016">
                  <c:v>196.79054054054055</c:v>
                </c:pt>
                <c:pt idx="1017">
                  <c:v>196.79054054054055</c:v>
                </c:pt>
                <c:pt idx="1018">
                  <c:v>196.79054054054055</c:v>
                </c:pt>
                <c:pt idx="1019">
                  <c:v>196.79054054054055</c:v>
                </c:pt>
                <c:pt idx="1020">
                  <c:v>199.49324324324326</c:v>
                </c:pt>
                <c:pt idx="1021">
                  <c:v>199.49324324324326</c:v>
                </c:pt>
                <c:pt idx="1022">
                  <c:v>199.49324324324326</c:v>
                </c:pt>
                <c:pt idx="1023">
                  <c:v>199.49324324324326</c:v>
                </c:pt>
                <c:pt idx="1024">
                  <c:v>199.49324324324326</c:v>
                </c:pt>
                <c:pt idx="1025">
                  <c:v>199.49324324324326</c:v>
                </c:pt>
                <c:pt idx="1026">
                  <c:v>199.49324324324326</c:v>
                </c:pt>
                <c:pt idx="1027">
                  <c:v>199.49324324324326</c:v>
                </c:pt>
                <c:pt idx="1028">
                  <c:v>199.49324324324326</c:v>
                </c:pt>
                <c:pt idx="1029">
                  <c:v>199.49324324324326</c:v>
                </c:pt>
                <c:pt idx="1030">
                  <c:v>199.49324324324326</c:v>
                </c:pt>
                <c:pt idx="1031">
                  <c:v>199.49324324324326</c:v>
                </c:pt>
                <c:pt idx="1032">
                  <c:v>199.49324324324326</c:v>
                </c:pt>
                <c:pt idx="1033">
                  <c:v>199.49324324324326</c:v>
                </c:pt>
                <c:pt idx="1034">
                  <c:v>199.49324324324326</c:v>
                </c:pt>
                <c:pt idx="1035">
                  <c:v>199.49324324324326</c:v>
                </c:pt>
                <c:pt idx="1036">
                  <c:v>199.49324324324326</c:v>
                </c:pt>
                <c:pt idx="1037">
                  <c:v>199.49324324324326</c:v>
                </c:pt>
                <c:pt idx="1038">
                  <c:v>199.49324324324326</c:v>
                </c:pt>
                <c:pt idx="1039">
                  <c:v>199.49324324324326</c:v>
                </c:pt>
                <c:pt idx="1040">
                  <c:v>201.77364864864865</c:v>
                </c:pt>
                <c:pt idx="1041">
                  <c:v>201.77364864864865</c:v>
                </c:pt>
                <c:pt idx="1042">
                  <c:v>201.77364864864865</c:v>
                </c:pt>
                <c:pt idx="1043">
                  <c:v>201.77364864864865</c:v>
                </c:pt>
                <c:pt idx="1044">
                  <c:v>201.77364864864865</c:v>
                </c:pt>
                <c:pt idx="1045">
                  <c:v>201.77364864864865</c:v>
                </c:pt>
                <c:pt idx="1046">
                  <c:v>201.77364864864865</c:v>
                </c:pt>
                <c:pt idx="1047">
                  <c:v>201.77364864864865</c:v>
                </c:pt>
                <c:pt idx="1048">
                  <c:v>201.77364864864865</c:v>
                </c:pt>
                <c:pt idx="1049">
                  <c:v>201.77364864864865</c:v>
                </c:pt>
                <c:pt idx="1050">
                  <c:v>201.77364864864865</c:v>
                </c:pt>
                <c:pt idx="1051">
                  <c:v>201.77364864864865</c:v>
                </c:pt>
                <c:pt idx="1052">
                  <c:v>201.77364864864865</c:v>
                </c:pt>
                <c:pt idx="1053">
                  <c:v>201.77364864864865</c:v>
                </c:pt>
                <c:pt idx="1054">
                  <c:v>201.77364864864865</c:v>
                </c:pt>
                <c:pt idx="1055">
                  <c:v>201.77364864864865</c:v>
                </c:pt>
                <c:pt idx="1056">
                  <c:v>201.77364864864865</c:v>
                </c:pt>
                <c:pt idx="1057">
                  <c:v>201.77364864864865</c:v>
                </c:pt>
                <c:pt idx="1058">
                  <c:v>201.77364864864865</c:v>
                </c:pt>
                <c:pt idx="1059">
                  <c:v>201.77364864864865</c:v>
                </c:pt>
                <c:pt idx="1060">
                  <c:v>201.77364864864865</c:v>
                </c:pt>
                <c:pt idx="1061">
                  <c:v>201.77364864864865</c:v>
                </c:pt>
                <c:pt idx="1062">
                  <c:v>201.77364864864865</c:v>
                </c:pt>
                <c:pt idx="1063">
                  <c:v>201.77364864864865</c:v>
                </c:pt>
                <c:pt idx="1064">
                  <c:v>201.77364864864865</c:v>
                </c:pt>
                <c:pt idx="1065">
                  <c:v>217.65202702702703</c:v>
                </c:pt>
                <c:pt idx="1066">
                  <c:v>217.65202702702703</c:v>
                </c:pt>
                <c:pt idx="1067">
                  <c:v>217.65202702702703</c:v>
                </c:pt>
                <c:pt idx="1068">
                  <c:v>217.65202702702703</c:v>
                </c:pt>
                <c:pt idx="1069">
                  <c:v>217.65202702702703</c:v>
                </c:pt>
                <c:pt idx="1070">
                  <c:v>217.65202702702703</c:v>
                </c:pt>
                <c:pt idx="1071">
                  <c:v>217.65202702702703</c:v>
                </c:pt>
                <c:pt idx="1072">
                  <c:v>217.65202702702703</c:v>
                </c:pt>
                <c:pt idx="1073">
                  <c:v>217.65202702702703</c:v>
                </c:pt>
                <c:pt idx="1074">
                  <c:v>217.65202702702703</c:v>
                </c:pt>
                <c:pt idx="1075">
                  <c:v>217.65202702702703</c:v>
                </c:pt>
                <c:pt idx="1076">
                  <c:v>217.65202702702703</c:v>
                </c:pt>
                <c:pt idx="1077">
                  <c:v>217.65202702702703</c:v>
                </c:pt>
                <c:pt idx="1078">
                  <c:v>217.65202702702703</c:v>
                </c:pt>
                <c:pt idx="1079">
                  <c:v>217.65202702702703</c:v>
                </c:pt>
                <c:pt idx="1080">
                  <c:v>217.65202702702703</c:v>
                </c:pt>
                <c:pt idx="1081">
                  <c:v>217.65202702702703</c:v>
                </c:pt>
                <c:pt idx="1082">
                  <c:v>217.65202702702703</c:v>
                </c:pt>
                <c:pt idx="1083">
                  <c:v>217.65202702702703</c:v>
                </c:pt>
                <c:pt idx="1084">
                  <c:v>217.65202702702703</c:v>
                </c:pt>
                <c:pt idx="1085">
                  <c:v>218.32770270270271</c:v>
                </c:pt>
                <c:pt idx="1086">
                  <c:v>218.32770270270271</c:v>
                </c:pt>
                <c:pt idx="1087">
                  <c:v>218.32770270270271</c:v>
                </c:pt>
                <c:pt idx="1088">
                  <c:v>218.32770270270271</c:v>
                </c:pt>
                <c:pt idx="1089">
                  <c:v>218.32770270270271</c:v>
                </c:pt>
                <c:pt idx="1090">
                  <c:v>218.32770270270271</c:v>
                </c:pt>
                <c:pt idx="1091">
                  <c:v>218.32770270270271</c:v>
                </c:pt>
                <c:pt idx="1092">
                  <c:v>218.32770270270271</c:v>
                </c:pt>
                <c:pt idx="1093">
                  <c:v>218.32770270270271</c:v>
                </c:pt>
                <c:pt idx="1094">
                  <c:v>218.32770270270271</c:v>
                </c:pt>
                <c:pt idx="1095">
                  <c:v>218.32770270270271</c:v>
                </c:pt>
                <c:pt idx="1096">
                  <c:v>218.32770270270271</c:v>
                </c:pt>
                <c:pt idx="1097">
                  <c:v>218.32770270270271</c:v>
                </c:pt>
                <c:pt idx="1098">
                  <c:v>218.32770270270271</c:v>
                </c:pt>
                <c:pt idx="1099">
                  <c:v>218.32770270270271</c:v>
                </c:pt>
                <c:pt idx="1100">
                  <c:v>218.32770270270271</c:v>
                </c:pt>
                <c:pt idx="1101">
                  <c:v>218.32770270270271</c:v>
                </c:pt>
                <c:pt idx="1102">
                  <c:v>218.32770270270271</c:v>
                </c:pt>
                <c:pt idx="1103">
                  <c:v>218.32770270270271</c:v>
                </c:pt>
                <c:pt idx="1104">
                  <c:v>218.32770270270271</c:v>
                </c:pt>
                <c:pt idx="1105">
                  <c:v>226.43581081081084</c:v>
                </c:pt>
                <c:pt idx="1106">
                  <c:v>226.43581081081084</c:v>
                </c:pt>
                <c:pt idx="1107">
                  <c:v>226.43581081081084</c:v>
                </c:pt>
                <c:pt idx="1108">
                  <c:v>226.43581081081084</c:v>
                </c:pt>
                <c:pt idx="1109">
                  <c:v>226.43581081081084</c:v>
                </c:pt>
                <c:pt idx="1110">
                  <c:v>226.43581081081084</c:v>
                </c:pt>
                <c:pt idx="1111">
                  <c:v>226.43581081081084</c:v>
                </c:pt>
                <c:pt idx="1112">
                  <c:v>226.43581081081084</c:v>
                </c:pt>
                <c:pt idx="1113">
                  <c:v>226.43581081081084</c:v>
                </c:pt>
                <c:pt idx="1114">
                  <c:v>226.43581081081084</c:v>
                </c:pt>
                <c:pt idx="1115">
                  <c:v>226.43581081081084</c:v>
                </c:pt>
                <c:pt idx="1116">
                  <c:v>226.43581081081084</c:v>
                </c:pt>
                <c:pt idx="1117">
                  <c:v>226.43581081081084</c:v>
                </c:pt>
                <c:pt idx="1118">
                  <c:v>226.43581081081084</c:v>
                </c:pt>
                <c:pt idx="1119">
                  <c:v>226.43581081081084</c:v>
                </c:pt>
                <c:pt idx="1120">
                  <c:v>226.43581081081084</c:v>
                </c:pt>
                <c:pt idx="1121">
                  <c:v>226.43581081081084</c:v>
                </c:pt>
                <c:pt idx="1122">
                  <c:v>226.43581081081084</c:v>
                </c:pt>
                <c:pt idx="1123">
                  <c:v>226.43581081081084</c:v>
                </c:pt>
                <c:pt idx="1124">
                  <c:v>226.43581081081084</c:v>
                </c:pt>
                <c:pt idx="1125">
                  <c:v>226.43581081081084</c:v>
                </c:pt>
                <c:pt idx="1126">
                  <c:v>226.43581081081084</c:v>
                </c:pt>
                <c:pt idx="1127">
                  <c:v>226.43581081081084</c:v>
                </c:pt>
                <c:pt idx="1128">
                  <c:v>226.43581081081084</c:v>
                </c:pt>
                <c:pt idx="1129">
                  <c:v>226.43581081081084</c:v>
                </c:pt>
                <c:pt idx="1130">
                  <c:v>226.52027027027026</c:v>
                </c:pt>
                <c:pt idx="1131">
                  <c:v>226.52027027027026</c:v>
                </c:pt>
                <c:pt idx="1132">
                  <c:v>226.52027027027026</c:v>
                </c:pt>
                <c:pt idx="1133">
                  <c:v>226.52027027027026</c:v>
                </c:pt>
                <c:pt idx="1134">
                  <c:v>226.52027027027026</c:v>
                </c:pt>
                <c:pt idx="1135">
                  <c:v>226.52027027027026</c:v>
                </c:pt>
                <c:pt idx="1136">
                  <c:v>226.52027027027026</c:v>
                </c:pt>
                <c:pt idx="1137">
                  <c:v>226.52027027027026</c:v>
                </c:pt>
                <c:pt idx="1138">
                  <c:v>226.52027027027026</c:v>
                </c:pt>
                <c:pt idx="1139">
                  <c:v>226.52027027027026</c:v>
                </c:pt>
                <c:pt idx="1140">
                  <c:v>226.52027027027026</c:v>
                </c:pt>
                <c:pt idx="1141">
                  <c:v>226.52027027027026</c:v>
                </c:pt>
                <c:pt idx="1142">
                  <c:v>226.52027027027026</c:v>
                </c:pt>
                <c:pt idx="1143">
                  <c:v>226.52027027027026</c:v>
                </c:pt>
                <c:pt idx="1144">
                  <c:v>226.52027027027026</c:v>
                </c:pt>
                <c:pt idx="1145">
                  <c:v>226.52027027027026</c:v>
                </c:pt>
                <c:pt idx="1146">
                  <c:v>226.52027027027026</c:v>
                </c:pt>
                <c:pt idx="1147">
                  <c:v>226.52027027027026</c:v>
                </c:pt>
                <c:pt idx="1148">
                  <c:v>226.52027027027026</c:v>
                </c:pt>
                <c:pt idx="1149">
                  <c:v>226.52027027027026</c:v>
                </c:pt>
                <c:pt idx="1150">
                  <c:v>220.77702702702703</c:v>
                </c:pt>
                <c:pt idx="1151">
                  <c:v>220.77702702702703</c:v>
                </c:pt>
                <c:pt idx="1152">
                  <c:v>220.77702702702703</c:v>
                </c:pt>
                <c:pt idx="1153">
                  <c:v>220.77702702702703</c:v>
                </c:pt>
                <c:pt idx="1154">
                  <c:v>220.77702702702703</c:v>
                </c:pt>
                <c:pt idx="1155">
                  <c:v>220.77702702702703</c:v>
                </c:pt>
                <c:pt idx="1156">
                  <c:v>220.77702702702703</c:v>
                </c:pt>
                <c:pt idx="1157">
                  <c:v>220.77702702702703</c:v>
                </c:pt>
                <c:pt idx="1158">
                  <c:v>220.77702702702703</c:v>
                </c:pt>
                <c:pt idx="1159">
                  <c:v>220.77702702702703</c:v>
                </c:pt>
                <c:pt idx="1160">
                  <c:v>220.77702702702703</c:v>
                </c:pt>
                <c:pt idx="1161">
                  <c:v>220.77702702702703</c:v>
                </c:pt>
                <c:pt idx="1162">
                  <c:v>220.77702702702703</c:v>
                </c:pt>
                <c:pt idx="1163">
                  <c:v>220.77702702702703</c:v>
                </c:pt>
                <c:pt idx="1164">
                  <c:v>220.77702702702703</c:v>
                </c:pt>
                <c:pt idx="1165">
                  <c:v>220.77702702702703</c:v>
                </c:pt>
                <c:pt idx="1166">
                  <c:v>220.77702702702703</c:v>
                </c:pt>
                <c:pt idx="1167">
                  <c:v>220.77702702702703</c:v>
                </c:pt>
                <c:pt idx="1168">
                  <c:v>220.77702702702703</c:v>
                </c:pt>
                <c:pt idx="1169">
                  <c:v>220.77702702702703</c:v>
                </c:pt>
                <c:pt idx="1170">
                  <c:v>234.12162162162161</c:v>
                </c:pt>
                <c:pt idx="1171">
                  <c:v>234.12162162162161</c:v>
                </c:pt>
                <c:pt idx="1172">
                  <c:v>234.12162162162161</c:v>
                </c:pt>
                <c:pt idx="1173">
                  <c:v>234.12162162162161</c:v>
                </c:pt>
                <c:pt idx="1174">
                  <c:v>234.12162162162161</c:v>
                </c:pt>
                <c:pt idx="1175">
                  <c:v>234.12162162162161</c:v>
                </c:pt>
                <c:pt idx="1176">
                  <c:v>234.12162162162161</c:v>
                </c:pt>
                <c:pt idx="1177">
                  <c:v>234.12162162162161</c:v>
                </c:pt>
                <c:pt idx="1178">
                  <c:v>234.12162162162161</c:v>
                </c:pt>
                <c:pt idx="1179">
                  <c:v>234.12162162162161</c:v>
                </c:pt>
                <c:pt idx="1180">
                  <c:v>234.12162162162161</c:v>
                </c:pt>
                <c:pt idx="1181">
                  <c:v>234.12162162162161</c:v>
                </c:pt>
                <c:pt idx="1182">
                  <c:v>234.12162162162161</c:v>
                </c:pt>
                <c:pt idx="1183">
                  <c:v>234.12162162162161</c:v>
                </c:pt>
                <c:pt idx="1184">
                  <c:v>234.12162162162161</c:v>
                </c:pt>
                <c:pt idx="1185">
                  <c:v>234.12162162162161</c:v>
                </c:pt>
                <c:pt idx="1186">
                  <c:v>234.12162162162161</c:v>
                </c:pt>
                <c:pt idx="1187">
                  <c:v>234.12162162162161</c:v>
                </c:pt>
                <c:pt idx="1188">
                  <c:v>234.12162162162161</c:v>
                </c:pt>
                <c:pt idx="1189">
                  <c:v>234.12162162162161</c:v>
                </c:pt>
                <c:pt idx="1190">
                  <c:v>234.12162162162161</c:v>
                </c:pt>
                <c:pt idx="1191">
                  <c:v>234.12162162162161</c:v>
                </c:pt>
                <c:pt idx="1192">
                  <c:v>234.12162162162161</c:v>
                </c:pt>
                <c:pt idx="1193">
                  <c:v>234.12162162162161</c:v>
                </c:pt>
                <c:pt idx="1194">
                  <c:v>234.12162162162161</c:v>
                </c:pt>
                <c:pt idx="1195">
                  <c:v>245.52364864864867</c:v>
                </c:pt>
                <c:pt idx="1196">
                  <c:v>245.52364864864867</c:v>
                </c:pt>
                <c:pt idx="1197">
                  <c:v>245.52364864864867</c:v>
                </c:pt>
                <c:pt idx="1198">
                  <c:v>245.52364864864867</c:v>
                </c:pt>
                <c:pt idx="1199">
                  <c:v>245.52364864864867</c:v>
                </c:pt>
                <c:pt idx="1200">
                  <c:v>245.52364864864867</c:v>
                </c:pt>
                <c:pt idx="1201">
                  <c:v>245.52364864864867</c:v>
                </c:pt>
                <c:pt idx="1202">
                  <c:v>245.52364864864867</c:v>
                </c:pt>
                <c:pt idx="1203">
                  <c:v>245.52364864864867</c:v>
                </c:pt>
                <c:pt idx="1204">
                  <c:v>245.52364864864867</c:v>
                </c:pt>
                <c:pt idx="1205">
                  <c:v>245.52364864864867</c:v>
                </c:pt>
                <c:pt idx="1206">
                  <c:v>245.52364864864867</c:v>
                </c:pt>
                <c:pt idx="1207">
                  <c:v>245.52364864864867</c:v>
                </c:pt>
                <c:pt idx="1208">
                  <c:v>245.52364864864867</c:v>
                </c:pt>
                <c:pt idx="1209">
                  <c:v>245.52364864864867</c:v>
                </c:pt>
                <c:pt idx="1210">
                  <c:v>245.52364864864867</c:v>
                </c:pt>
                <c:pt idx="1211">
                  <c:v>245.52364864864867</c:v>
                </c:pt>
                <c:pt idx="1212">
                  <c:v>245.52364864864867</c:v>
                </c:pt>
                <c:pt idx="1213">
                  <c:v>245.52364864864867</c:v>
                </c:pt>
                <c:pt idx="1214">
                  <c:v>245.52364864864867</c:v>
                </c:pt>
                <c:pt idx="1215">
                  <c:v>245.01689189189187</c:v>
                </c:pt>
                <c:pt idx="1216">
                  <c:v>245.01689189189187</c:v>
                </c:pt>
                <c:pt idx="1217">
                  <c:v>245.01689189189187</c:v>
                </c:pt>
                <c:pt idx="1218">
                  <c:v>245.01689189189187</c:v>
                </c:pt>
                <c:pt idx="1219">
                  <c:v>245.01689189189187</c:v>
                </c:pt>
                <c:pt idx="1220">
                  <c:v>245.01689189189187</c:v>
                </c:pt>
                <c:pt idx="1221">
                  <c:v>245.01689189189187</c:v>
                </c:pt>
                <c:pt idx="1222">
                  <c:v>245.01689189189187</c:v>
                </c:pt>
                <c:pt idx="1223">
                  <c:v>245.01689189189187</c:v>
                </c:pt>
                <c:pt idx="1224">
                  <c:v>245.01689189189187</c:v>
                </c:pt>
                <c:pt idx="1225">
                  <c:v>245.01689189189187</c:v>
                </c:pt>
                <c:pt idx="1226">
                  <c:v>245.01689189189187</c:v>
                </c:pt>
                <c:pt idx="1227">
                  <c:v>245.01689189189187</c:v>
                </c:pt>
                <c:pt idx="1228">
                  <c:v>245.01689189189187</c:v>
                </c:pt>
                <c:pt idx="1229">
                  <c:v>245.01689189189187</c:v>
                </c:pt>
                <c:pt idx="1230">
                  <c:v>245.01689189189187</c:v>
                </c:pt>
                <c:pt idx="1231">
                  <c:v>245.01689189189187</c:v>
                </c:pt>
                <c:pt idx="1232">
                  <c:v>245.01689189189187</c:v>
                </c:pt>
                <c:pt idx="1233">
                  <c:v>245.01689189189187</c:v>
                </c:pt>
                <c:pt idx="1234">
                  <c:v>245.01689189189187</c:v>
                </c:pt>
                <c:pt idx="1235">
                  <c:v>247.71959459459461</c:v>
                </c:pt>
                <c:pt idx="1236">
                  <c:v>247.71959459459461</c:v>
                </c:pt>
                <c:pt idx="1237">
                  <c:v>247.71959459459461</c:v>
                </c:pt>
                <c:pt idx="1238">
                  <c:v>247.71959459459461</c:v>
                </c:pt>
                <c:pt idx="1239">
                  <c:v>247.71959459459461</c:v>
                </c:pt>
                <c:pt idx="1240">
                  <c:v>247.71959459459461</c:v>
                </c:pt>
                <c:pt idx="1241">
                  <c:v>247.71959459459461</c:v>
                </c:pt>
                <c:pt idx="1242">
                  <c:v>247.71959459459461</c:v>
                </c:pt>
                <c:pt idx="1243">
                  <c:v>247.71959459459461</c:v>
                </c:pt>
                <c:pt idx="1244">
                  <c:v>247.71959459459461</c:v>
                </c:pt>
                <c:pt idx="1245">
                  <c:v>247.71959459459461</c:v>
                </c:pt>
                <c:pt idx="1246">
                  <c:v>247.71959459459461</c:v>
                </c:pt>
                <c:pt idx="1247">
                  <c:v>247.71959459459461</c:v>
                </c:pt>
                <c:pt idx="1248">
                  <c:v>247.71959459459461</c:v>
                </c:pt>
                <c:pt idx="1249">
                  <c:v>247.71959459459461</c:v>
                </c:pt>
                <c:pt idx="1250">
                  <c:v>247.71959459459461</c:v>
                </c:pt>
                <c:pt idx="1251">
                  <c:v>247.71959459459461</c:v>
                </c:pt>
                <c:pt idx="1252">
                  <c:v>247.71959459459461</c:v>
                </c:pt>
                <c:pt idx="1253">
                  <c:v>247.71959459459461</c:v>
                </c:pt>
                <c:pt idx="1254">
                  <c:v>247.71959459459461</c:v>
                </c:pt>
                <c:pt idx="1255">
                  <c:v>247.71959459459461</c:v>
                </c:pt>
                <c:pt idx="1256">
                  <c:v>247.71959459459461</c:v>
                </c:pt>
                <c:pt idx="1257">
                  <c:v>247.71959459459461</c:v>
                </c:pt>
                <c:pt idx="1258">
                  <c:v>247.71959459459461</c:v>
                </c:pt>
                <c:pt idx="1259">
                  <c:v>247.71959459459461</c:v>
                </c:pt>
                <c:pt idx="1260">
                  <c:v>248.98648648648648</c:v>
                </c:pt>
                <c:pt idx="1261">
                  <c:v>248.98648648648648</c:v>
                </c:pt>
                <c:pt idx="1262">
                  <c:v>248.98648648648648</c:v>
                </c:pt>
                <c:pt idx="1263">
                  <c:v>248.98648648648648</c:v>
                </c:pt>
                <c:pt idx="1264">
                  <c:v>248.98648648648648</c:v>
                </c:pt>
                <c:pt idx="1265">
                  <c:v>248.98648648648648</c:v>
                </c:pt>
                <c:pt idx="1266">
                  <c:v>248.98648648648648</c:v>
                </c:pt>
                <c:pt idx="1267">
                  <c:v>248.98648648648648</c:v>
                </c:pt>
                <c:pt idx="1268">
                  <c:v>248.98648648648648</c:v>
                </c:pt>
                <c:pt idx="1269">
                  <c:v>248.98648648648648</c:v>
                </c:pt>
                <c:pt idx="1270">
                  <c:v>248.98648648648648</c:v>
                </c:pt>
                <c:pt idx="1271">
                  <c:v>248.98648648648648</c:v>
                </c:pt>
                <c:pt idx="1272">
                  <c:v>248.98648648648648</c:v>
                </c:pt>
                <c:pt idx="1273">
                  <c:v>248.98648648648648</c:v>
                </c:pt>
                <c:pt idx="1274">
                  <c:v>248.98648648648648</c:v>
                </c:pt>
                <c:pt idx="1275">
                  <c:v>248.98648648648648</c:v>
                </c:pt>
                <c:pt idx="1276">
                  <c:v>248.98648648648648</c:v>
                </c:pt>
                <c:pt idx="1277">
                  <c:v>248.98648648648648</c:v>
                </c:pt>
                <c:pt idx="1278">
                  <c:v>248.98648648648648</c:v>
                </c:pt>
                <c:pt idx="1279">
                  <c:v>248.98648648648648</c:v>
                </c:pt>
                <c:pt idx="1280">
                  <c:v>240.28716216216219</c:v>
                </c:pt>
                <c:pt idx="1281">
                  <c:v>240.28716216216219</c:v>
                </c:pt>
                <c:pt idx="1282">
                  <c:v>240.28716216216219</c:v>
                </c:pt>
                <c:pt idx="1283">
                  <c:v>240.28716216216219</c:v>
                </c:pt>
                <c:pt idx="1284">
                  <c:v>240.28716216216219</c:v>
                </c:pt>
                <c:pt idx="1285">
                  <c:v>240.28716216216219</c:v>
                </c:pt>
                <c:pt idx="1286">
                  <c:v>240.28716216216219</c:v>
                </c:pt>
                <c:pt idx="1287">
                  <c:v>240.28716216216219</c:v>
                </c:pt>
                <c:pt idx="1288">
                  <c:v>240.28716216216219</c:v>
                </c:pt>
                <c:pt idx="1289">
                  <c:v>240.28716216216219</c:v>
                </c:pt>
                <c:pt idx="1290">
                  <c:v>240.28716216216219</c:v>
                </c:pt>
                <c:pt idx="1291">
                  <c:v>240.28716216216219</c:v>
                </c:pt>
                <c:pt idx="1292">
                  <c:v>240.28716216216219</c:v>
                </c:pt>
                <c:pt idx="1293">
                  <c:v>240.28716216216219</c:v>
                </c:pt>
                <c:pt idx="1294">
                  <c:v>240.28716216216219</c:v>
                </c:pt>
                <c:pt idx="1295">
                  <c:v>240.28716216216219</c:v>
                </c:pt>
                <c:pt idx="1296">
                  <c:v>240.28716216216219</c:v>
                </c:pt>
                <c:pt idx="1297">
                  <c:v>240.28716216216219</c:v>
                </c:pt>
                <c:pt idx="1298">
                  <c:v>240.28716216216219</c:v>
                </c:pt>
                <c:pt idx="1299">
                  <c:v>240.28716216216219</c:v>
                </c:pt>
                <c:pt idx="1300">
                  <c:v>240.28716216216219</c:v>
                </c:pt>
                <c:pt idx="1301">
                  <c:v>240.28716216216219</c:v>
                </c:pt>
                <c:pt idx="1302">
                  <c:v>240.28716216216219</c:v>
                </c:pt>
                <c:pt idx="1303">
                  <c:v>240.28716216216219</c:v>
                </c:pt>
                <c:pt idx="1304">
                  <c:v>240.28716216216219</c:v>
                </c:pt>
                <c:pt idx="1305">
                  <c:v>259.54391891891896</c:v>
                </c:pt>
                <c:pt idx="1306">
                  <c:v>259.54391891891896</c:v>
                </c:pt>
                <c:pt idx="1307">
                  <c:v>259.54391891891896</c:v>
                </c:pt>
                <c:pt idx="1308">
                  <c:v>259.54391891891896</c:v>
                </c:pt>
                <c:pt idx="1309">
                  <c:v>259.54391891891896</c:v>
                </c:pt>
                <c:pt idx="1310">
                  <c:v>259.54391891891896</c:v>
                </c:pt>
                <c:pt idx="1311">
                  <c:v>259.54391891891896</c:v>
                </c:pt>
                <c:pt idx="1312">
                  <c:v>259.54391891891896</c:v>
                </c:pt>
                <c:pt idx="1313">
                  <c:v>259.54391891891896</c:v>
                </c:pt>
                <c:pt idx="1314">
                  <c:v>259.54391891891896</c:v>
                </c:pt>
                <c:pt idx="1315">
                  <c:v>259.54391891891896</c:v>
                </c:pt>
                <c:pt idx="1316">
                  <c:v>259.54391891891896</c:v>
                </c:pt>
                <c:pt idx="1317">
                  <c:v>259.54391891891896</c:v>
                </c:pt>
                <c:pt idx="1318">
                  <c:v>259.54391891891896</c:v>
                </c:pt>
                <c:pt idx="1319">
                  <c:v>259.54391891891896</c:v>
                </c:pt>
                <c:pt idx="1320">
                  <c:v>259.54391891891896</c:v>
                </c:pt>
                <c:pt idx="1321">
                  <c:v>259.54391891891896</c:v>
                </c:pt>
                <c:pt idx="1322">
                  <c:v>259.54391891891896</c:v>
                </c:pt>
                <c:pt idx="1323">
                  <c:v>259.54391891891896</c:v>
                </c:pt>
                <c:pt idx="1324">
                  <c:v>259.54391891891896</c:v>
                </c:pt>
                <c:pt idx="1325">
                  <c:v>264.27364864864865</c:v>
                </c:pt>
                <c:pt idx="1326">
                  <c:v>264.27364864864865</c:v>
                </c:pt>
                <c:pt idx="1327">
                  <c:v>264.27364864864865</c:v>
                </c:pt>
                <c:pt idx="1328">
                  <c:v>264.27364864864865</c:v>
                </c:pt>
                <c:pt idx="1329">
                  <c:v>264.27364864864865</c:v>
                </c:pt>
                <c:pt idx="1330">
                  <c:v>264.27364864864865</c:v>
                </c:pt>
                <c:pt idx="1331">
                  <c:v>264.27364864864865</c:v>
                </c:pt>
                <c:pt idx="1332">
                  <c:v>264.27364864864865</c:v>
                </c:pt>
                <c:pt idx="1333">
                  <c:v>264.27364864864865</c:v>
                </c:pt>
                <c:pt idx="1334">
                  <c:v>264.27364864864865</c:v>
                </c:pt>
                <c:pt idx="1335">
                  <c:v>264.27364864864865</c:v>
                </c:pt>
                <c:pt idx="1336">
                  <c:v>264.27364864864865</c:v>
                </c:pt>
                <c:pt idx="1337">
                  <c:v>264.27364864864865</c:v>
                </c:pt>
                <c:pt idx="1338">
                  <c:v>264.27364864864865</c:v>
                </c:pt>
                <c:pt idx="1339">
                  <c:v>264.27364864864865</c:v>
                </c:pt>
                <c:pt idx="1340">
                  <c:v>264.27364864864865</c:v>
                </c:pt>
                <c:pt idx="1341">
                  <c:v>264.27364864864865</c:v>
                </c:pt>
                <c:pt idx="1342">
                  <c:v>264.27364864864865</c:v>
                </c:pt>
                <c:pt idx="1343">
                  <c:v>264.27364864864865</c:v>
                </c:pt>
                <c:pt idx="1344">
                  <c:v>264.27364864864865</c:v>
                </c:pt>
                <c:pt idx="1345">
                  <c:v>270.77702702702703</c:v>
                </c:pt>
                <c:pt idx="1346">
                  <c:v>270.77702702702703</c:v>
                </c:pt>
                <c:pt idx="1347">
                  <c:v>270.77702702702703</c:v>
                </c:pt>
                <c:pt idx="1348">
                  <c:v>270.77702702702703</c:v>
                </c:pt>
                <c:pt idx="1349">
                  <c:v>270.77702702702703</c:v>
                </c:pt>
                <c:pt idx="1350">
                  <c:v>270.77702702702703</c:v>
                </c:pt>
                <c:pt idx="1351">
                  <c:v>270.77702702702703</c:v>
                </c:pt>
                <c:pt idx="1352">
                  <c:v>270.77702702702703</c:v>
                </c:pt>
                <c:pt idx="1353">
                  <c:v>270.77702702702703</c:v>
                </c:pt>
                <c:pt idx="1354">
                  <c:v>270.77702702702703</c:v>
                </c:pt>
                <c:pt idx="1355">
                  <c:v>270.77702702702703</c:v>
                </c:pt>
                <c:pt idx="1356">
                  <c:v>270.77702702702703</c:v>
                </c:pt>
                <c:pt idx="1357">
                  <c:v>270.77702702702703</c:v>
                </c:pt>
                <c:pt idx="1358">
                  <c:v>270.77702702702703</c:v>
                </c:pt>
                <c:pt idx="1359">
                  <c:v>270.77702702702703</c:v>
                </c:pt>
                <c:pt idx="1360">
                  <c:v>270.77702702702703</c:v>
                </c:pt>
                <c:pt idx="1361">
                  <c:v>270.77702702702703</c:v>
                </c:pt>
                <c:pt idx="1362">
                  <c:v>270.77702702702703</c:v>
                </c:pt>
                <c:pt idx="1363">
                  <c:v>270.77702702702703</c:v>
                </c:pt>
                <c:pt idx="1364">
                  <c:v>270.77702702702703</c:v>
                </c:pt>
                <c:pt idx="1365">
                  <c:v>270.77702702702703</c:v>
                </c:pt>
                <c:pt idx="1366">
                  <c:v>270.77702702702703</c:v>
                </c:pt>
                <c:pt idx="1367">
                  <c:v>270.77702702702703</c:v>
                </c:pt>
                <c:pt idx="1368">
                  <c:v>270.77702702702703</c:v>
                </c:pt>
                <c:pt idx="1369">
                  <c:v>270.77702702702703</c:v>
                </c:pt>
                <c:pt idx="1370">
                  <c:v>283.95270270270271</c:v>
                </c:pt>
                <c:pt idx="1371">
                  <c:v>283.95270270270271</c:v>
                </c:pt>
                <c:pt idx="1372">
                  <c:v>283.95270270270271</c:v>
                </c:pt>
                <c:pt idx="1373">
                  <c:v>283.95270270270271</c:v>
                </c:pt>
                <c:pt idx="1374">
                  <c:v>283.95270270270271</c:v>
                </c:pt>
                <c:pt idx="1375">
                  <c:v>283.95270270270271</c:v>
                </c:pt>
                <c:pt idx="1376">
                  <c:v>283.95270270270271</c:v>
                </c:pt>
                <c:pt idx="1377">
                  <c:v>283.95270270270271</c:v>
                </c:pt>
                <c:pt idx="1378">
                  <c:v>283.95270270270271</c:v>
                </c:pt>
                <c:pt idx="1379">
                  <c:v>283.95270270270271</c:v>
                </c:pt>
                <c:pt idx="1380">
                  <c:v>283.95270270270271</c:v>
                </c:pt>
                <c:pt idx="1381">
                  <c:v>283.95270270270271</c:v>
                </c:pt>
                <c:pt idx="1382">
                  <c:v>283.95270270270271</c:v>
                </c:pt>
                <c:pt idx="1383">
                  <c:v>283.95270270270271</c:v>
                </c:pt>
                <c:pt idx="1384">
                  <c:v>283.95270270270271</c:v>
                </c:pt>
                <c:pt idx="1385">
                  <c:v>283.95270270270271</c:v>
                </c:pt>
                <c:pt idx="1386">
                  <c:v>283.95270270270271</c:v>
                </c:pt>
                <c:pt idx="1387">
                  <c:v>283.95270270270271</c:v>
                </c:pt>
                <c:pt idx="1388">
                  <c:v>283.95270270270271</c:v>
                </c:pt>
                <c:pt idx="1389">
                  <c:v>283.95270270270271</c:v>
                </c:pt>
                <c:pt idx="1390">
                  <c:v>275.50675675675677</c:v>
                </c:pt>
                <c:pt idx="1391">
                  <c:v>275.50675675675677</c:v>
                </c:pt>
                <c:pt idx="1392">
                  <c:v>275.50675675675677</c:v>
                </c:pt>
                <c:pt idx="1393">
                  <c:v>275.50675675675677</c:v>
                </c:pt>
                <c:pt idx="1394">
                  <c:v>275.50675675675677</c:v>
                </c:pt>
                <c:pt idx="1395">
                  <c:v>275.50675675675677</c:v>
                </c:pt>
                <c:pt idx="1396">
                  <c:v>275.50675675675677</c:v>
                </c:pt>
                <c:pt idx="1397">
                  <c:v>275.50675675675677</c:v>
                </c:pt>
                <c:pt idx="1398">
                  <c:v>275.50675675675677</c:v>
                </c:pt>
                <c:pt idx="1399">
                  <c:v>275.50675675675677</c:v>
                </c:pt>
                <c:pt idx="1400">
                  <c:v>275.50675675675677</c:v>
                </c:pt>
                <c:pt idx="1401">
                  <c:v>275.50675675675677</c:v>
                </c:pt>
                <c:pt idx="1402">
                  <c:v>275.50675675675677</c:v>
                </c:pt>
                <c:pt idx="1403">
                  <c:v>275.50675675675677</c:v>
                </c:pt>
                <c:pt idx="1404">
                  <c:v>275.50675675675677</c:v>
                </c:pt>
                <c:pt idx="1405">
                  <c:v>275.50675675675677</c:v>
                </c:pt>
                <c:pt idx="1406">
                  <c:v>275.50675675675677</c:v>
                </c:pt>
                <c:pt idx="1407">
                  <c:v>275.50675675675677</c:v>
                </c:pt>
                <c:pt idx="1408">
                  <c:v>275.50675675675677</c:v>
                </c:pt>
                <c:pt idx="1409">
                  <c:v>275.50675675675677</c:v>
                </c:pt>
                <c:pt idx="1410">
                  <c:v>280.23648648648651</c:v>
                </c:pt>
                <c:pt idx="1411">
                  <c:v>280.23648648648651</c:v>
                </c:pt>
                <c:pt idx="1412">
                  <c:v>280.23648648648651</c:v>
                </c:pt>
                <c:pt idx="1413">
                  <c:v>280.23648648648651</c:v>
                </c:pt>
                <c:pt idx="1414">
                  <c:v>280.23648648648651</c:v>
                </c:pt>
                <c:pt idx="1415">
                  <c:v>280.23648648648651</c:v>
                </c:pt>
                <c:pt idx="1416">
                  <c:v>280.23648648648651</c:v>
                </c:pt>
                <c:pt idx="1417">
                  <c:v>280.23648648648651</c:v>
                </c:pt>
                <c:pt idx="1418">
                  <c:v>280.23648648648651</c:v>
                </c:pt>
                <c:pt idx="1419">
                  <c:v>280.23648648648651</c:v>
                </c:pt>
                <c:pt idx="1420">
                  <c:v>280.23648648648651</c:v>
                </c:pt>
                <c:pt idx="1421">
                  <c:v>280.23648648648651</c:v>
                </c:pt>
                <c:pt idx="1422">
                  <c:v>280.23648648648651</c:v>
                </c:pt>
                <c:pt idx="1423">
                  <c:v>280.23648648648651</c:v>
                </c:pt>
                <c:pt idx="1424">
                  <c:v>280.23648648648651</c:v>
                </c:pt>
                <c:pt idx="1425">
                  <c:v>280.23648648648651</c:v>
                </c:pt>
                <c:pt idx="1426">
                  <c:v>280.23648648648651</c:v>
                </c:pt>
                <c:pt idx="1427">
                  <c:v>280.23648648648651</c:v>
                </c:pt>
                <c:pt idx="1428">
                  <c:v>280.23648648648651</c:v>
                </c:pt>
                <c:pt idx="1429">
                  <c:v>280.23648648648651</c:v>
                </c:pt>
                <c:pt idx="1430">
                  <c:v>280.23648648648651</c:v>
                </c:pt>
                <c:pt idx="1431">
                  <c:v>280.23648648648651</c:v>
                </c:pt>
                <c:pt idx="1432">
                  <c:v>280.23648648648651</c:v>
                </c:pt>
                <c:pt idx="1433">
                  <c:v>280.23648648648651</c:v>
                </c:pt>
                <c:pt idx="1434">
                  <c:v>280.23648648648651</c:v>
                </c:pt>
                <c:pt idx="1435">
                  <c:v>290.70945945945948</c:v>
                </c:pt>
                <c:pt idx="1436">
                  <c:v>290.70945945945948</c:v>
                </c:pt>
                <c:pt idx="1437">
                  <c:v>290.70945945945948</c:v>
                </c:pt>
                <c:pt idx="1438">
                  <c:v>290.70945945945948</c:v>
                </c:pt>
                <c:pt idx="1439">
                  <c:v>290.70945945945948</c:v>
                </c:pt>
                <c:pt idx="1440">
                  <c:v>290.70945945945948</c:v>
                </c:pt>
                <c:pt idx="1441">
                  <c:v>290.70945945945948</c:v>
                </c:pt>
                <c:pt idx="1442">
                  <c:v>290.70945945945948</c:v>
                </c:pt>
                <c:pt idx="1443">
                  <c:v>290.70945945945948</c:v>
                </c:pt>
                <c:pt idx="1444">
                  <c:v>290.70945945945948</c:v>
                </c:pt>
                <c:pt idx="1445">
                  <c:v>290.70945945945948</c:v>
                </c:pt>
                <c:pt idx="1446">
                  <c:v>290.70945945945948</c:v>
                </c:pt>
                <c:pt idx="1447">
                  <c:v>290.70945945945948</c:v>
                </c:pt>
                <c:pt idx="1448">
                  <c:v>290.70945945945948</c:v>
                </c:pt>
                <c:pt idx="1449">
                  <c:v>290.70945945945948</c:v>
                </c:pt>
                <c:pt idx="1450">
                  <c:v>290.70945945945948</c:v>
                </c:pt>
                <c:pt idx="1451">
                  <c:v>290.70945945945948</c:v>
                </c:pt>
                <c:pt idx="1452">
                  <c:v>290.70945945945948</c:v>
                </c:pt>
                <c:pt idx="1453">
                  <c:v>290.70945945945948</c:v>
                </c:pt>
                <c:pt idx="1454">
                  <c:v>290.70945945945948</c:v>
                </c:pt>
                <c:pt idx="1455">
                  <c:v>286.40202702702709</c:v>
                </c:pt>
                <c:pt idx="1456">
                  <c:v>286.40202702702709</c:v>
                </c:pt>
                <c:pt idx="1457">
                  <c:v>286.40202702702709</c:v>
                </c:pt>
                <c:pt idx="1458">
                  <c:v>286.40202702702709</c:v>
                </c:pt>
                <c:pt idx="1459">
                  <c:v>286.40202702702709</c:v>
                </c:pt>
                <c:pt idx="1460">
                  <c:v>286.40202702702709</c:v>
                </c:pt>
                <c:pt idx="1461">
                  <c:v>286.40202702702709</c:v>
                </c:pt>
                <c:pt idx="1462">
                  <c:v>286.40202702702709</c:v>
                </c:pt>
                <c:pt idx="1463">
                  <c:v>286.40202702702709</c:v>
                </c:pt>
                <c:pt idx="1464">
                  <c:v>286.40202702702709</c:v>
                </c:pt>
                <c:pt idx="1465">
                  <c:v>286.40202702702709</c:v>
                </c:pt>
                <c:pt idx="1466">
                  <c:v>286.40202702702709</c:v>
                </c:pt>
                <c:pt idx="1467">
                  <c:v>286.40202702702709</c:v>
                </c:pt>
                <c:pt idx="1468">
                  <c:v>286.40202702702709</c:v>
                </c:pt>
                <c:pt idx="1469">
                  <c:v>286.40202702702709</c:v>
                </c:pt>
                <c:pt idx="1470">
                  <c:v>286.40202702702709</c:v>
                </c:pt>
                <c:pt idx="1471">
                  <c:v>286.40202702702709</c:v>
                </c:pt>
                <c:pt idx="1472">
                  <c:v>286.40202702702709</c:v>
                </c:pt>
                <c:pt idx="1473">
                  <c:v>286.40202702702709</c:v>
                </c:pt>
                <c:pt idx="1474">
                  <c:v>286.40202702702709</c:v>
                </c:pt>
                <c:pt idx="1475">
                  <c:v>259.96621621621625</c:v>
                </c:pt>
                <c:pt idx="1476">
                  <c:v>259.96621621621625</c:v>
                </c:pt>
                <c:pt idx="1477">
                  <c:v>259.96621621621625</c:v>
                </c:pt>
                <c:pt idx="1478">
                  <c:v>259.96621621621625</c:v>
                </c:pt>
                <c:pt idx="1479">
                  <c:v>259.96621621621625</c:v>
                </c:pt>
                <c:pt idx="1480">
                  <c:v>259.96621621621625</c:v>
                </c:pt>
                <c:pt idx="1481">
                  <c:v>259.96621621621625</c:v>
                </c:pt>
                <c:pt idx="1482">
                  <c:v>259.96621621621625</c:v>
                </c:pt>
                <c:pt idx="1483">
                  <c:v>259.96621621621625</c:v>
                </c:pt>
                <c:pt idx="1484">
                  <c:v>259.96621621621625</c:v>
                </c:pt>
                <c:pt idx="1485">
                  <c:v>259.96621621621625</c:v>
                </c:pt>
                <c:pt idx="1486">
                  <c:v>259.96621621621625</c:v>
                </c:pt>
                <c:pt idx="1487">
                  <c:v>259.96621621621625</c:v>
                </c:pt>
                <c:pt idx="1488">
                  <c:v>259.96621621621625</c:v>
                </c:pt>
                <c:pt idx="1489">
                  <c:v>259.96621621621625</c:v>
                </c:pt>
                <c:pt idx="1490">
                  <c:v>259.96621621621625</c:v>
                </c:pt>
                <c:pt idx="1491">
                  <c:v>259.96621621621625</c:v>
                </c:pt>
                <c:pt idx="1492">
                  <c:v>259.96621621621625</c:v>
                </c:pt>
                <c:pt idx="1493">
                  <c:v>259.96621621621625</c:v>
                </c:pt>
                <c:pt idx="1494">
                  <c:v>259.96621621621625</c:v>
                </c:pt>
                <c:pt idx="1495">
                  <c:v>259.96621621621625</c:v>
                </c:pt>
                <c:pt idx="1496">
                  <c:v>259.96621621621625</c:v>
                </c:pt>
                <c:pt idx="1497">
                  <c:v>259.96621621621625</c:v>
                </c:pt>
                <c:pt idx="1498">
                  <c:v>259.96621621621625</c:v>
                </c:pt>
                <c:pt idx="1499">
                  <c:v>259.96621621621625</c:v>
                </c:pt>
                <c:pt idx="1500">
                  <c:v>269.08783783783787</c:v>
                </c:pt>
                <c:pt idx="1501">
                  <c:v>269.08783783783787</c:v>
                </c:pt>
                <c:pt idx="1502">
                  <c:v>269.08783783783787</c:v>
                </c:pt>
                <c:pt idx="1503">
                  <c:v>269.08783783783787</c:v>
                </c:pt>
                <c:pt idx="1504">
                  <c:v>269.08783783783787</c:v>
                </c:pt>
                <c:pt idx="1505">
                  <c:v>269.08783783783787</c:v>
                </c:pt>
                <c:pt idx="1506">
                  <c:v>269.08783783783787</c:v>
                </c:pt>
                <c:pt idx="1507">
                  <c:v>269.08783783783787</c:v>
                </c:pt>
                <c:pt idx="1508">
                  <c:v>269.08783783783787</c:v>
                </c:pt>
                <c:pt idx="1509">
                  <c:v>269.08783783783787</c:v>
                </c:pt>
                <c:pt idx="1510">
                  <c:v>269.08783783783787</c:v>
                </c:pt>
                <c:pt idx="1511">
                  <c:v>269.08783783783787</c:v>
                </c:pt>
                <c:pt idx="1512">
                  <c:v>269.08783783783787</c:v>
                </c:pt>
                <c:pt idx="1513">
                  <c:v>269.08783783783787</c:v>
                </c:pt>
                <c:pt idx="1514">
                  <c:v>269.08783783783787</c:v>
                </c:pt>
                <c:pt idx="1515">
                  <c:v>269.08783783783787</c:v>
                </c:pt>
                <c:pt idx="1516">
                  <c:v>269.08783783783787</c:v>
                </c:pt>
                <c:pt idx="1517">
                  <c:v>269.08783783783787</c:v>
                </c:pt>
                <c:pt idx="1518">
                  <c:v>269.08783783783787</c:v>
                </c:pt>
                <c:pt idx="1519">
                  <c:v>269.08783783783787</c:v>
                </c:pt>
                <c:pt idx="1520">
                  <c:v>263.00675675675677</c:v>
                </c:pt>
                <c:pt idx="1521">
                  <c:v>263.00675675675677</c:v>
                </c:pt>
                <c:pt idx="1522">
                  <c:v>263.00675675675677</c:v>
                </c:pt>
                <c:pt idx="1523">
                  <c:v>263.00675675675677</c:v>
                </c:pt>
                <c:pt idx="1524">
                  <c:v>263.00675675675677</c:v>
                </c:pt>
                <c:pt idx="1525">
                  <c:v>263.00675675675677</c:v>
                </c:pt>
                <c:pt idx="1526">
                  <c:v>263.00675675675677</c:v>
                </c:pt>
                <c:pt idx="1527">
                  <c:v>263.00675675675677</c:v>
                </c:pt>
                <c:pt idx="1528">
                  <c:v>263.00675675675677</c:v>
                </c:pt>
                <c:pt idx="1529">
                  <c:v>263.00675675675677</c:v>
                </c:pt>
                <c:pt idx="1530">
                  <c:v>263.00675675675677</c:v>
                </c:pt>
                <c:pt idx="1531">
                  <c:v>263.00675675675677</c:v>
                </c:pt>
                <c:pt idx="1532">
                  <c:v>263.00675675675677</c:v>
                </c:pt>
                <c:pt idx="1533">
                  <c:v>263.00675675675677</c:v>
                </c:pt>
                <c:pt idx="1534">
                  <c:v>263.00675675675677</c:v>
                </c:pt>
                <c:pt idx="1535">
                  <c:v>263.00675675675677</c:v>
                </c:pt>
                <c:pt idx="1536">
                  <c:v>263.00675675675677</c:v>
                </c:pt>
                <c:pt idx="1537">
                  <c:v>263.00675675675677</c:v>
                </c:pt>
                <c:pt idx="1538">
                  <c:v>263.00675675675677</c:v>
                </c:pt>
                <c:pt idx="1539">
                  <c:v>263.00675675675677</c:v>
                </c:pt>
                <c:pt idx="1540">
                  <c:v>275.92905405405406</c:v>
                </c:pt>
                <c:pt idx="1541">
                  <c:v>275.92905405405406</c:v>
                </c:pt>
                <c:pt idx="1542">
                  <c:v>275.92905405405406</c:v>
                </c:pt>
                <c:pt idx="1543">
                  <c:v>275.92905405405406</c:v>
                </c:pt>
                <c:pt idx="1544">
                  <c:v>275.92905405405406</c:v>
                </c:pt>
                <c:pt idx="1545">
                  <c:v>275.92905405405406</c:v>
                </c:pt>
                <c:pt idx="1546">
                  <c:v>275.92905405405406</c:v>
                </c:pt>
                <c:pt idx="1547">
                  <c:v>275.92905405405406</c:v>
                </c:pt>
                <c:pt idx="1548">
                  <c:v>275.92905405405406</c:v>
                </c:pt>
                <c:pt idx="1549">
                  <c:v>275.92905405405406</c:v>
                </c:pt>
                <c:pt idx="1550">
                  <c:v>275.92905405405406</c:v>
                </c:pt>
                <c:pt idx="1551">
                  <c:v>275.92905405405406</c:v>
                </c:pt>
                <c:pt idx="1552">
                  <c:v>275.92905405405406</c:v>
                </c:pt>
                <c:pt idx="1553">
                  <c:v>275.92905405405406</c:v>
                </c:pt>
                <c:pt idx="1554">
                  <c:v>275.92905405405406</c:v>
                </c:pt>
                <c:pt idx="1555">
                  <c:v>275.92905405405406</c:v>
                </c:pt>
                <c:pt idx="1556">
                  <c:v>275.92905405405406</c:v>
                </c:pt>
                <c:pt idx="1557">
                  <c:v>275.92905405405406</c:v>
                </c:pt>
                <c:pt idx="1558">
                  <c:v>275.92905405405406</c:v>
                </c:pt>
                <c:pt idx="1559">
                  <c:v>275.92905405405406</c:v>
                </c:pt>
                <c:pt idx="1560">
                  <c:v>275.92905405405406</c:v>
                </c:pt>
                <c:pt idx="1561">
                  <c:v>275.92905405405406</c:v>
                </c:pt>
                <c:pt idx="1562">
                  <c:v>275.92905405405406</c:v>
                </c:pt>
                <c:pt idx="1563">
                  <c:v>275.92905405405406</c:v>
                </c:pt>
                <c:pt idx="1564">
                  <c:v>275.92905405405406</c:v>
                </c:pt>
                <c:pt idx="1565">
                  <c:v>257.85472972972974</c:v>
                </c:pt>
                <c:pt idx="1566">
                  <c:v>257.85472972972974</c:v>
                </c:pt>
                <c:pt idx="1567">
                  <c:v>257.85472972972974</c:v>
                </c:pt>
                <c:pt idx="1568">
                  <c:v>257.85472972972974</c:v>
                </c:pt>
                <c:pt idx="1569">
                  <c:v>257.85472972972974</c:v>
                </c:pt>
                <c:pt idx="1570">
                  <c:v>257.85472972972974</c:v>
                </c:pt>
                <c:pt idx="1571">
                  <c:v>257.85472972972974</c:v>
                </c:pt>
                <c:pt idx="1572">
                  <c:v>257.85472972972974</c:v>
                </c:pt>
                <c:pt idx="1573">
                  <c:v>257.85472972972974</c:v>
                </c:pt>
                <c:pt idx="1574">
                  <c:v>257.85472972972974</c:v>
                </c:pt>
                <c:pt idx="1575">
                  <c:v>257.85472972972974</c:v>
                </c:pt>
                <c:pt idx="1576">
                  <c:v>257.85472972972974</c:v>
                </c:pt>
                <c:pt idx="1577">
                  <c:v>257.85472972972974</c:v>
                </c:pt>
                <c:pt idx="1578">
                  <c:v>257.85472972972974</c:v>
                </c:pt>
                <c:pt idx="1579">
                  <c:v>257.85472972972974</c:v>
                </c:pt>
                <c:pt idx="1580">
                  <c:v>257.85472972972974</c:v>
                </c:pt>
                <c:pt idx="1581">
                  <c:v>257.85472972972974</c:v>
                </c:pt>
                <c:pt idx="1582">
                  <c:v>257.85472972972974</c:v>
                </c:pt>
                <c:pt idx="1583">
                  <c:v>257.85472972972974</c:v>
                </c:pt>
                <c:pt idx="1584">
                  <c:v>257.85472972972974</c:v>
                </c:pt>
                <c:pt idx="1585">
                  <c:v>247.38175675675674</c:v>
                </c:pt>
                <c:pt idx="1586">
                  <c:v>247.38175675675674</c:v>
                </c:pt>
                <c:pt idx="1587">
                  <c:v>247.38175675675674</c:v>
                </c:pt>
                <c:pt idx="1588">
                  <c:v>247.38175675675674</c:v>
                </c:pt>
                <c:pt idx="1589">
                  <c:v>247.38175675675674</c:v>
                </c:pt>
                <c:pt idx="1590">
                  <c:v>247.38175675675674</c:v>
                </c:pt>
                <c:pt idx="1591">
                  <c:v>247.38175675675674</c:v>
                </c:pt>
                <c:pt idx="1592">
                  <c:v>247.38175675675674</c:v>
                </c:pt>
                <c:pt idx="1593">
                  <c:v>247.38175675675674</c:v>
                </c:pt>
                <c:pt idx="1594">
                  <c:v>247.38175675675674</c:v>
                </c:pt>
                <c:pt idx="1595">
                  <c:v>247.38175675675674</c:v>
                </c:pt>
                <c:pt idx="1596">
                  <c:v>247.38175675675674</c:v>
                </c:pt>
                <c:pt idx="1597">
                  <c:v>247.38175675675674</c:v>
                </c:pt>
                <c:pt idx="1598">
                  <c:v>247.38175675675674</c:v>
                </c:pt>
                <c:pt idx="1599">
                  <c:v>247.38175675675674</c:v>
                </c:pt>
                <c:pt idx="1600">
                  <c:v>247.38175675675674</c:v>
                </c:pt>
                <c:pt idx="1601">
                  <c:v>247.38175675675674</c:v>
                </c:pt>
                <c:pt idx="1602">
                  <c:v>247.38175675675674</c:v>
                </c:pt>
                <c:pt idx="1603">
                  <c:v>247.38175675675674</c:v>
                </c:pt>
                <c:pt idx="1604">
                  <c:v>247.38175675675674</c:v>
                </c:pt>
                <c:pt idx="1605">
                  <c:v>250.84459459459461</c:v>
                </c:pt>
                <c:pt idx="1606">
                  <c:v>250.84459459459461</c:v>
                </c:pt>
                <c:pt idx="1607">
                  <c:v>250.84459459459461</c:v>
                </c:pt>
                <c:pt idx="1608">
                  <c:v>250.84459459459461</c:v>
                </c:pt>
                <c:pt idx="1609">
                  <c:v>250.84459459459461</c:v>
                </c:pt>
                <c:pt idx="1610">
                  <c:v>250.84459459459461</c:v>
                </c:pt>
                <c:pt idx="1611">
                  <c:v>250.84459459459461</c:v>
                </c:pt>
                <c:pt idx="1612">
                  <c:v>250.84459459459461</c:v>
                </c:pt>
                <c:pt idx="1613">
                  <c:v>250.84459459459461</c:v>
                </c:pt>
                <c:pt idx="1614">
                  <c:v>250.84459459459461</c:v>
                </c:pt>
                <c:pt idx="1615">
                  <c:v>250.84459459459461</c:v>
                </c:pt>
                <c:pt idx="1616">
                  <c:v>250.84459459459461</c:v>
                </c:pt>
                <c:pt idx="1617">
                  <c:v>250.84459459459461</c:v>
                </c:pt>
                <c:pt idx="1618">
                  <c:v>250.84459459459461</c:v>
                </c:pt>
                <c:pt idx="1619">
                  <c:v>250.84459459459461</c:v>
                </c:pt>
                <c:pt idx="1620">
                  <c:v>250.84459459459461</c:v>
                </c:pt>
                <c:pt idx="1621">
                  <c:v>250.84459459459461</c:v>
                </c:pt>
                <c:pt idx="1622">
                  <c:v>250.84459459459461</c:v>
                </c:pt>
                <c:pt idx="1623">
                  <c:v>250.84459459459461</c:v>
                </c:pt>
                <c:pt idx="1624">
                  <c:v>250.84459459459461</c:v>
                </c:pt>
                <c:pt idx="1625">
                  <c:v>250.84459459459461</c:v>
                </c:pt>
                <c:pt idx="1626">
                  <c:v>250.84459459459461</c:v>
                </c:pt>
                <c:pt idx="1627">
                  <c:v>250.84459459459461</c:v>
                </c:pt>
                <c:pt idx="1628">
                  <c:v>250.84459459459461</c:v>
                </c:pt>
                <c:pt idx="1629">
                  <c:v>250.84459459459461</c:v>
                </c:pt>
                <c:pt idx="1630">
                  <c:v>206.75675675675674</c:v>
                </c:pt>
                <c:pt idx="1631">
                  <c:v>206.75675675675674</c:v>
                </c:pt>
                <c:pt idx="1632">
                  <c:v>206.75675675675674</c:v>
                </c:pt>
                <c:pt idx="1633">
                  <c:v>206.75675675675674</c:v>
                </c:pt>
                <c:pt idx="1634">
                  <c:v>206.75675675675674</c:v>
                </c:pt>
                <c:pt idx="1635">
                  <c:v>206.75675675675674</c:v>
                </c:pt>
                <c:pt idx="1636">
                  <c:v>206.75675675675674</c:v>
                </c:pt>
                <c:pt idx="1637">
                  <c:v>206.75675675675674</c:v>
                </c:pt>
                <c:pt idx="1638">
                  <c:v>206.75675675675674</c:v>
                </c:pt>
                <c:pt idx="1639">
                  <c:v>206.75675675675674</c:v>
                </c:pt>
                <c:pt idx="1640">
                  <c:v>206.75675675675674</c:v>
                </c:pt>
                <c:pt idx="1641">
                  <c:v>206.75675675675674</c:v>
                </c:pt>
                <c:pt idx="1642">
                  <c:v>206.75675675675674</c:v>
                </c:pt>
                <c:pt idx="1643">
                  <c:v>206.75675675675674</c:v>
                </c:pt>
                <c:pt idx="1644">
                  <c:v>206.75675675675674</c:v>
                </c:pt>
                <c:pt idx="1645">
                  <c:v>206.75675675675674</c:v>
                </c:pt>
                <c:pt idx="1646">
                  <c:v>206.75675675675674</c:v>
                </c:pt>
                <c:pt idx="1647">
                  <c:v>206.75675675675674</c:v>
                </c:pt>
                <c:pt idx="1648">
                  <c:v>206.75675675675674</c:v>
                </c:pt>
                <c:pt idx="1649">
                  <c:v>206.75675675675674</c:v>
                </c:pt>
                <c:pt idx="1650">
                  <c:v>206.08108108108109</c:v>
                </c:pt>
                <c:pt idx="1651">
                  <c:v>206.08108108108109</c:v>
                </c:pt>
                <c:pt idx="1652">
                  <c:v>206.08108108108109</c:v>
                </c:pt>
                <c:pt idx="1653">
                  <c:v>206.08108108108109</c:v>
                </c:pt>
                <c:pt idx="1654">
                  <c:v>206.08108108108109</c:v>
                </c:pt>
                <c:pt idx="1655">
                  <c:v>206.08108108108109</c:v>
                </c:pt>
                <c:pt idx="1656">
                  <c:v>206.08108108108109</c:v>
                </c:pt>
                <c:pt idx="1657">
                  <c:v>206.08108108108109</c:v>
                </c:pt>
                <c:pt idx="1658">
                  <c:v>206.08108108108109</c:v>
                </c:pt>
                <c:pt idx="1659">
                  <c:v>206.08108108108109</c:v>
                </c:pt>
                <c:pt idx="1660">
                  <c:v>206.08108108108109</c:v>
                </c:pt>
                <c:pt idx="1661">
                  <c:v>206.08108108108109</c:v>
                </c:pt>
                <c:pt idx="1662">
                  <c:v>206.08108108108109</c:v>
                </c:pt>
                <c:pt idx="1663">
                  <c:v>206.08108108108109</c:v>
                </c:pt>
                <c:pt idx="1664">
                  <c:v>206.08108108108109</c:v>
                </c:pt>
                <c:pt idx="1665">
                  <c:v>206.08108108108109</c:v>
                </c:pt>
                <c:pt idx="1666">
                  <c:v>206.08108108108109</c:v>
                </c:pt>
                <c:pt idx="1667">
                  <c:v>206.08108108108109</c:v>
                </c:pt>
                <c:pt idx="1668">
                  <c:v>206.08108108108109</c:v>
                </c:pt>
                <c:pt idx="1669">
                  <c:v>206.08108108108109</c:v>
                </c:pt>
                <c:pt idx="1670">
                  <c:v>212.92229729729729</c:v>
                </c:pt>
                <c:pt idx="1671">
                  <c:v>212.92229729729729</c:v>
                </c:pt>
                <c:pt idx="1672">
                  <c:v>212.92229729729729</c:v>
                </c:pt>
                <c:pt idx="1673">
                  <c:v>212.92229729729729</c:v>
                </c:pt>
                <c:pt idx="1674">
                  <c:v>212.92229729729729</c:v>
                </c:pt>
                <c:pt idx="1675">
                  <c:v>212.92229729729729</c:v>
                </c:pt>
                <c:pt idx="1676">
                  <c:v>212.92229729729729</c:v>
                </c:pt>
                <c:pt idx="1677">
                  <c:v>212.92229729729729</c:v>
                </c:pt>
                <c:pt idx="1678">
                  <c:v>212.92229729729729</c:v>
                </c:pt>
                <c:pt idx="1679">
                  <c:v>212.92229729729729</c:v>
                </c:pt>
                <c:pt idx="1680">
                  <c:v>212.92229729729729</c:v>
                </c:pt>
                <c:pt idx="1681">
                  <c:v>212.92229729729729</c:v>
                </c:pt>
                <c:pt idx="1682">
                  <c:v>212.92229729729729</c:v>
                </c:pt>
                <c:pt idx="1683">
                  <c:v>212.92229729729729</c:v>
                </c:pt>
                <c:pt idx="1684">
                  <c:v>212.92229729729729</c:v>
                </c:pt>
                <c:pt idx="1685">
                  <c:v>212.92229729729729</c:v>
                </c:pt>
                <c:pt idx="1686">
                  <c:v>212.92229729729729</c:v>
                </c:pt>
                <c:pt idx="1687">
                  <c:v>212.92229729729729</c:v>
                </c:pt>
                <c:pt idx="1688">
                  <c:v>212.92229729729729</c:v>
                </c:pt>
                <c:pt idx="1689">
                  <c:v>212.92229729729729</c:v>
                </c:pt>
                <c:pt idx="1690">
                  <c:v>212.92229729729729</c:v>
                </c:pt>
                <c:pt idx="1691">
                  <c:v>212.92229729729729</c:v>
                </c:pt>
                <c:pt idx="1692">
                  <c:v>212.92229729729729</c:v>
                </c:pt>
                <c:pt idx="1693">
                  <c:v>212.92229729729729</c:v>
                </c:pt>
                <c:pt idx="1694">
                  <c:v>212.92229729729729</c:v>
                </c:pt>
                <c:pt idx="1695">
                  <c:v>197.29729729729729</c:v>
                </c:pt>
                <c:pt idx="1696">
                  <c:v>197.29729729729729</c:v>
                </c:pt>
                <c:pt idx="1697">
                  <c:v>197.29729729729729</c:v>
                </c:pt>
                <c:pt idx="1698">
                  <c:v>197.29729729729729</c:v>
                </c:pt>
                <c:pt idx="1699">
                  <c:v>197.29729729729729</c:v>
                </c:pt>
                <c:pt idx="1700">
                  <c:v>197.29729729729729</c:v>
                </c:pt>
                <c:pt idx="1701">
                  <c:v>197.29729729729729</c:v>
                </c:pt>
                <c:pt idx="1702">
                  <c:v>197.29729729729729</c:v>
                </c:pt>
                <c:pt idx="1703">
                  <c:v>197.29729729729729</c:v>
                </c:pt>
                <c:pt idx="1704">
                  <c:v>197.29729729729729</c:v>
                </c:pt>
                <c:pt idx="1705">
                  <c:v>197.29729729729729</c:v>
                </c:pt>
                <c:pt idx="1706">
                  <c:v>197.29729729729729</c:v>
                </c:pt>
                <c:pt idx="1707">
                  <c:v>197.29729729729729</c:v>
                </c:pt>
                <c:pt idx="1708">
                  <c:v>197.29729729729729</c:v>
                </c:pt>
                <c:pt idx="1709">
                  <c:v>197.29729729729729</c:v>
                </c:pt>
                <c:pt idx="1710">
                  <c:v>197.29729729729729</c:v>
                </c:pt>
                <c:pt idx="1711">
                  <c:v>197.29729729729729</c:v>
                </c:pt>
                <c:pt idx="1712">
                  <c:v>197.29729729729729</c:v>
                </c:pt>
                <c:pt idx="1713">
                  <c:v>197.29729729729729</c:v>
                </c:pt>
                <c:pt idx="1714">
                  <c:v>197.29729729729729</c:v>
                </c:pt>
                <c:pt idx="1715">
                  <c:v>175.76013513513513</c:v>
                </c:pt>
                <c:pt idx="1716">
                  <c:v>175.76013513513513</c:v>
                </c:pt>
                <c:pt idx="1717">
                  <c:v>175.76013513513513</c:v>
                </c:pt>
                <c:pt idx="1718">
                  <c:v>175.76013513513513</c:v>
                </c:pt>
                <c:pt idx="1719">
                  <c:v>175.76013513513513</c:v>
                </c:pt>
                <c:pt idx="1720">
                  <c:v>175.76013513513513</c:v>
                </c:pt>
                <c:pt idx="1721">
                  <c:v>175.76013513513513</c:v>
                </c:pt>
                <c:pt idx="1722">
                  <c:v>175.76013513513513</c:v>
                </c:pt>
                <c:pt idx="1723">
                  <c:v>175.76013513513513</c:v>
                </c:pt>
                <c:pt idx="1724">
                  <c:v>175.76013513513513</c:v>
                </c:pt>
                <c:pt idx="1725">
                  <c:v>175.76013513513513</c:v>
                </c:pt>
                <c:pt idx="1726">
                  <c:v>175.76013513513513</c:v>
                </c:pt>
                <c:pt idx="1727">
                  <c:v>175.76013513513513</c:v>
                </c:pt>
                <c:pt idx="1728">
                  <c:v>175.76013513513513</c:v>
                </c:pt>
                <c:pt idx="1729">
                  <c:v>175.76013513513513</c:v>
                </c:pt>
                <c:pt idx="1730">
                  <c:v>175.76013513513513</c:v>
                </c:pt>
                <c:pt idx="1731">
                  <c:v>175.76013513513513</c:v>
                </c:pt>
                <c:pt idx="1732">
                  <c:v>175.76013513513513</c:v>
                </c:pt>
                <c:pt idx="1733">
                  <c:v>175.76013513513513</c:v>
                </c:pt>
                <c:pt idx="1734">
                  <c:v>175.76013513513513</c:v>
                </c:pt>
                <c:pt idx="1735">
                  <c:v>175.76013513513513</c:v>
                </c:pt>
                <c:pt idx="1736">
                  <c:v>175.76013513513513</c:v>
                </c:pt>
                <c:pt idx="1737">
                  <c:v>175.76013513513513</c:v>
                </c:pt>
                <c:pt idx="1738">
                  <c:v>175.76013513513513</c:v>
                </c:pt>
                <c:pt idx="1739">
                  <c:v>175.76013513513513</c:v>
                </c:pt>
                <c:pt idx="1740">
                  <c:v>160.81081081081081</c:v>
                </c:pt>
                <c:pt idx="1741">
                  <c:v>160.81081081081081</c:v>
                </c:pt>
                <c:pt idx="1742">
                  <c:v>160.81081081081081</c:v>
                </c:pt>
                <c:pt idx="1743">
                  <c:v>160.81081081081081</c:v>
                </c:pt>
                <c:pt idx="1744">
                  <c:v>160.81081081081081</c:v>
                </c:pt>
                <c:pt idx="1745">
                  <c:v>160.81081081081081</c:v>
                </c:pt>
                <c:pt idx="1746">
                  <c:v>160.81081081081081</c:v>
                </c:pt>
                <c:pt idx="1747">
                  <c:v>160.81081081081081</c:v>
                </c:pt>
                <c:pt idx="1748">
                  <c:v>160.81081081081081</c:v>
                </c:pt>
                <c:pt idx="1749">
                  <c:v>160.81081081081081</c:v>
                </c:pt>
                <c:pt idx="1750">
                  <c:v>160.81081081081081</c:v>
                </c:pt>
                <c:pt idx="1751">
                  <c:v>160.81081081081081</c:v>
                </c:pt>
                <c:pt idx="1752">
                  <c:v>160.81081081081081</c:v>
                </c:pt>
                <c:pt idx="1753">
                  <c:v>160.81081081081081</c:v>
                </c:pt>
                <c:pt idx="1754">
                  <c:v>160.81081081081081</c:v>
                </c:pt>
                <c:pt idx="1755">
                  <c:v>160.81081081081081</c:v>
                </c:pt>
                <c:pt idx="1756">
                  <c:v>160.81081081081081</c:v>
                </c:pt>
                <c:pt idx="1757">
                  <c:v>160.81081081081081</c:v>
                </c:pt>
                <c:pt idx="1758">
                  <c:v>160.81081081081081</c:v>
                </c:pt>
                <c:pt idx="1759">
                  <c:v>160.81081081081081</c:v>
                </c:pt>
                <c:pt idx="1760">
                  <c:v>152.28040540540542</c:v>
                </c:pt>
                <c:pt idx="1761">
                  <c:v>152.28040540540542</c:v>
                </c:pt>
                <c:pt idx="1762">
                  <c:v>152.28040540540542</c:v>
                </c:pt>
                <c:pt idx="1763">
                  <c:v>152.28040540540542</c:v>
                </c:pt>
                <c:pt idx="1764">
                  <c:v>152.28040540540542</c:v>
                </c:pt>
                <c:pt idx="1765">
                  <c:v>152.28040540540542</c:v>
                </c:pt>
                <c:pt idx="1766">
                  <c:v>152.28040540540542</c:v>
                </c:pt>
                <c:pt idx="1767">
                  <c:v>152.28040540540542</c:v>
                </c:pt>
                <c:pt idx="1768">
                  <c:v>152.28040540540542</c:v>
                </c:pt>
                <c:pt idx="1769">
                  <c:v>152.28040540540542</c:v>
                </c:pt>
                <c:pt idx="1770">
                  <c:v>152.28040540540542</c:v>
                </c:pt>
                <c:pt idx="1771">
                  <c:v>152.28040540540542</c:v>
                </c:pt>
                <c:pt idx="1772">
                  <c:v>152.28040540540542</c:v>
                </c:pt>
                <c:pt idx="1773">
                  <c:v>152.28040540540542</c:v>
                </c:pt>
                <c:pt idx="1774">
                  <c:v>152.28040540540542</c:v>
                </c:pt>
                <c:pt idx="1775">
                  <c:v>152.28040540540542</c:v>
                </c:pt>
                <c:pt idx="1776">
                  <c:v>152.28040540540542</c:v>
                </c:pt>
                <c:pt idx="1777">
                  <c:v>152.28040540540542</c:v>
                </c:pt>
                <c:pt idx="1778">
                  <c:v>152.28040540540542</c:v>
                </c:pt>
                <c:pt idx="1779">
                  <c:v>152.28040540540542</c:v>
                </c:pt>
                <c:pt idx="1780">
                  <c:v>136.82432432432435</c:v>
                </c:pt>
                <c:pt idx="1781">
                  <c:v>136.82432432432435</c:v>
                </c:pt>
                <c:pt idx="1782">
                  <c:v>136.82432432432435</c:v>
                </c:pt>
                <c:pt idx="1783">
                  <c:v>136.82432432432435</c:v>
                </c:pt>
                <c:pt idx="1784">
                  <c:v>136.82432432432435</c:v>
                </c:pt>
                <c:pt idx="1785">
                  <c:v>136.82432432432435</c:v>
                </c:pt>
                <c:pt idx="1786">
                  <c:v>136.82432432432435</c:v>
                </c:pt>
                <c:pt idx="1787">
                  <c:v>136.82432432432435</c:v>
                </c:pt>
                <c:pt idx="1788">
                  <c:v>136.82432432432435</c:v>
                </c:pt>
                <c:pt idx="1789">
                  <c:v>136.82432432432435</c:v>
                </c:pt>
                <c:pt idx="1790">
                  <c:v>136.82432432432435</c:v>
                </c:pt>
                <c:pt idx="1791">
                  <c:v>136.82432432432435</c:v>
                </c:pt>
                <c:pt idx="1792">
                  <c:v>136.82432432432435</c:v>
                </c:pt>
                <c:pt idx="1793">
                  <c:v>136.82432432432435</c:v>
                </c:pt>
                <c:pt idx="1794">
                  <c:v>136.82432432432435</c:v>
                </c:pt>
                <c:pt idx="1795">
                  <c:v>136.82432432432435</c:v>
                </c:pt>
                <c:pt idx="1796">
                  <c:v>136.82432432432435</c:v>
                </c:pt>
                <c:pt idx="1797">
                  <c:v>136.82432432432435</c:v>
                </c:pt>
                <c:pt idx="1798">
                  <c:v>136.82432432432435</c:v>
                </c:pt>
                <c:pt idx="1799">
                  <c:v>136.82432432432435</c:v>
                </c:pt>
                <c:pt idx="1800">
                  <c:v>136.82432432432435</c:v>
                </c:pt>
                <c:pt idx="1801">
                  <c:v>136.82432432432435</c:v>
                </c:pt>
                <c:pt idx="1802">
                  <c:v>136.82432432432435</c:v>
                </c:pt>
                <c:pt idx="1803">
                  <c:v>136.82432432432435</c:v>
                </c:pt>
                <c:pt idx="1804">
                  <c:v>136.82432432432435</c:v>
                </c:pt>
                <c:pt idx="1805">
                  <c:v>134.12162162162164</c:v>
                </c:pt>
                <c:pt idx="1806">
                  <c:v>134.12162162162164</c:v>
                </c:pt>
                <c:pt idx="1807">
                  <c:v>134.12162162162164</c:v>
                </c:pt>
                <c:pt idx="1808">
                  <c:v>134.12162162162164</c:v>
                </c:pt>
                <c:pt idx="1809">
                  <c:v>134.12162162162164</c:v>
                </c:pt>
                <c:pt idx="1810">
                  <c:v>134.12162162162164</c:v>
                </c:pt>
                <c:pt idx="1811">
                  <c:v>134.12162162162164</c:v>
                </c:pt>
                <c:pt idx="1812">
                  <c:v>134.12162162162164</c:v>
                </c:pt>
                <c:pt idx="1813">
                  <c:v>134.12162162162164</c:v>
                </c:pt>
                <c:pt idx="1814">
                  <c:v>134.12162162162164</c:v>
                </c:pt>
                <c:pt idx="1815">
                  <c:v>134.12162162162164</c:v>
                </c:pt>
                <c:pt idx="1816">
                  <c:v>134.12162162162164</c:v>
                </c:pt>
                <c:pt idx="1817">
                  <c:v>134.12162162162164</c:v>
                </c:pt>
                <c:pt idx="1818">
                  <c:v>134.12162162162164</c:v>
                </c:pt>
                <c:pt idx="1819">
                  <c:v>134.12162162162164</c:v>
                </c:pt>
                <c:pt idx="1820">
                  <c:v>134.12162162162164</c:v>
                </c:pt>
                <c:pt idx="1821">
                  <c:v>134.12162162162164</c:v>
                </c:pt>
                <c:pt idx="1822">
                  <c:v>134.12162162162164</c:v>
                </c:pt>
                <c:pt idx="1823">
                  <c:v>134.12162162162164</c:v>
                </c:pt>
                <c:pt idx="1824">
                  <c:v>134.12162162162164</c:v>
                </c:pt>
                <c:pt idx="1825">
                  <c:v>135.72635135135135</c:v>
                </c:pt>
                <c:pt idx="1826">
                  <c:v>135.72635135135135</c:v>
                </c:pt>
                <c:pt idx="1827">
                  <c:v>135.72635135135135</c:v>
                </c:pt>
                <c:pt idx="1828">
                  <c:v>135.72635135135135</c:v>
                </c:pt>
                <c:pt idx="1829">
                  <c:v>135.72635135135135</c:v>
                </c:pt>
                <c:pt idx="1830">
                  <c:v>135.72635135135135</c:v>
                </c:pt>
                <c:pt idx="1831">
                  <c:v>135.72635135135135</c:v>
                </c:pt>
                <c:pt idx="1832">
                  <c:v>135.72635135135135</c:v>
                </c:pt>
                <c:pt idx="1833">
                  <c:v>135.72635135135135</c:v>
                </c:pt>
                <c:pt idx="1834">
                  <c:v>135.72635135135135</c:v>
                </c:pt>
                <c:pt idx="1835">
                  <c:v>135.72635135135135</c:v>
                </c:pt>
                <c:pt idx="1836">
                  <c:v>135.72635135135135</c:v>
                </c:pt>
                <c:pt idx="1837">
                  <c:v>135.72635135135135</c:v>
                </c:pt>
                <c:pt idx="1838">
                  <c:v>135.72635135135135</c:v>
                </c:pt>
                <c:pt idx="1839">
                  <c:v>135.72635135135135</c:v>
                </c:pt>
                <c:pt idx="1840">
                  <c:v>135.72635135135135</c:v>
                </c:pt>
                <c:pt idx="1841">
                  <c:v>135.72635135135135</c:v>
                </c:pt>
                <c:pt idx="1842">
                  <c:v>135.72635135135135</c:v>
                </c:pt>
                <c:pt idx="1843">
                  <c:v>135.72635135135135</c:v>
                </c:pt>
                <c:pt idx="1844">
                  <c:v>135.72635135135135</c:v>
                </c:pt>
                <c:pt idx="1845">
                  <c:v>134.54391891891893</c:v>
                </c:pt>
                <c:pt idx="1846">
                  <c:v>134.54391891891893</c:v>
                </c:pt>
                <c:pt idx="1847">
                  <c:v>134.54391891891893</c:v>
                </c:pt>
                <c:pt idx="1848">
                  <c:v>134.54391891891893</c:v>
                </c:pt>
                <c:pt idx="1849">
                  <c:v>134.54391891891893</c:v>
                </c:pt>
                <c:pt idx="1850">
                  <c:v>134.54391891891893</c:v>
                </c:pt>
                <c:pt idx="1851">
                  <c:v>134.54391891891893</c:v>
                </c:pt>
                <c:pt idx="1852">
                  <c:v>134.54391891891893</c:v>
                </c:pt>
                <c:pt idx="1853">
                  <c:v>134.54391891891893</c:v>
                </c:pt>
                <c:pt idx="1854">
                  <c:v>134.54391891891893</c:v>
                </c:pt>
                <c:pt idx="1855">
                  <c:v>134.54391891891893</c:v>
                </c:pt>
                <c:pt idx="1856">
                  <c:v>134.54391891891893</c:v>
                </c:pt>
                <c:pt idx="1857">
                  <c:v>134.54391891891893</c:v>
                </c:pt>
                <c:pt idx="1858">
                  <c:v>134.54391891891893</c:v>
                </c:pt>
                <c:pt idx="1859">
                  <c:v>134.54391891891893</c:v>
                </c:pt>
                <c:pt idx="1860">
                  <c:v>134.54391891891893</c:v>
                </c:pt>
                <c:pt idx="1861">
                  <c:v>134.54391891891893</c:v>
                </c:pt>
                <c:pt idx="1862">
                  <c:v>134.54391891891893</c:v>
                </c:pt>
                <c:pt idx="1863">
                  <c:v>134.54391891891893</c:v>
                </c:pt>
                <c:pt idx="1864">
                  <c:v>134.54391891891893</c:v>
                </c:pt>
                <c:pt idx="1865">
                  <c:v>140.20270270270271</c:v>
                </c:pt>
                <c:pt idx="1866">
                  <c:v>140.20270270270271</c:v>
                </c:pt>
                <c:pt idx="1867">
                  <c:v>140.20270270270271</c:v>
                </c:pt>
                <c:pt idx="1868">
                  <c:v>140.20270270270271</c:v>
                </c:pt>
                <c:pt idx="1869">
                  <c:v>140.20270270270271</c:v>
                </c:pt>
                <c:pt idx="1870">
                  <c:v>140.20270270270271</c:v>
                </c:pt>
                <c:pt idx="1871">
                  <c:v>140.20270270270271</c:v>
                </c:pt>
                <c:pt idx="1872">
                  <c:v>140.20270270270271</c:v>
                </c:pt>
                <c:pt idx="1873">
                  <c:v>140.20270270270271</c:v>
                </c:pt>
                <c:pt idx="1874">
                  <c:v>140.20270270270271</c:v>
                </c:pt>
                <c:pt idx="1875">
                  <c:v>140.20270270270271</c:v>
                </c:pt>
                <c:pt idx="1876">
                  <c:v>140.20270270270271</c:v>
                </c:pt>
                <c:pt idx="1877">
                  <c:v>140.20270270270271</c:v>
                </c:pt>
                <c:pt idx="1878">
                  <c:v>140.20270270270271</c:v>
                </c:pt>
                <c:pt idx="1879">
                  <c:v>140.20270270270271</c:v>
                </c:pt>
                <c:pt idx="1880">
                  <c:v>140.20270270270271</c:v>
                </c:pt>
                <c:pt idx="1881">
                  <c:v>140.20270270270271</c:v>
                </c:pt>
                <c:pt idx="1882">
                  <c:v>140.20270270270271</c:v>
                </c:pt>
                <c:pt idx="1883">
                  <c:v>140.20270270270271</c:v>
                </c:pt>
                <c:pt idx="1884">
                  <c:v>140.20270270270271</c:v>
                </c:pt>
                <c:pt idx="1885">
                  <c:v>140.20270270270271</c:v>
                </c:pt>
                <c:pt idx="1886">
                  <c:v>140.20270270270271</c:v>
                </c:pt>
                <c:pt idx="1887">
                  <c:v>140.20270270270271</c:v>
                </c:pt>
                <c:pt idx="1888">
                  <c:v>140.20270270270271</c:v>
                </c:pt>
                <c:pt idx="1889">
                  <c:v>140.20270270270271</c:v>
                </c:pt>
                <c:pt idx="1890">
                  <c:v>129.3918918918919</c:v>
                </c:pt>
                <c:pt idx="1891">
                  <c:v>129.3918918918919</c:v>
                </c:pt>
                <c:pt idx="1892">
                  <c:v>129.3918918918919</c:v>
                </c:pt>
                <c:pt idx="1893">
                  <c:v>129.3918918918919</c:v>
                </c:pt>
                <c:pt idx="1894">
                  <c:v>129.3918918918919</c:v>
                </c:pt>
                <c:pt idx="1895">
                  <c:v>129.3918918918919</c:v>
                </c:pt>
                <c:pt idx="1896">
                  <c:v>129.3918918918919</c:v>
                </c:pt>
                <c:pt idx="1897">
                  <c:v>129.3918918918919</c:v>
                </c:pt>
                <c:pt idx="1898">
                  <c:v>129.3918918918919</c:v>
                </c:pt>
                <c:pt idx="1899">
                  <c:v>129.3918918918919</c:v>
                </c:pt>
                <c:pt idx="1900">
                  <c:v>129.3918918918919</c:v>
                </c:pt>
                <c:pt idx="1901">
                  <c:v>129.3918918918919</c:v>
                </c:pt>
                <c:pt idx="1902">
                  <c:v>129.3918918918919</c:v>
                </c:pt>
                <c:pt idx="1903">
                  <c:v>129.3918918918919</c:v>
                </c:pt>
                <c:pt idx="1904">
                  <c:v>129.3918918918919</c:v>
                </c:pt>
                <c:pt idx="1905">
                  <c:v>129.3918918918919</c:v>
                </c:pt>
                <c:pt idx="1906">
                  <c:v>129.3918918918919</c:v>
                </c:pt>
                <c:pt idx="1907">
                  <c:v>129.3918918918919</c:v>
                </c:pt>
                <c:pt idx="1908">
                  <c:v>129.3918918918919</c:v>
                </c:pt>
                <c:pt idx="1909">
                  <c:v>129.3918918918919</c:v>
                </c:pt>
                <c:pt idx="1910">
                  <c:v>129.05405405405406</c:v>
                </c:pt>
                <c:pt idx="1911">
                  <c:v>129.05405405405406</c:v>
                </c:pt>
                <c:pt idx="1912">
                  <c:v>129.05405405405406</c:v>
                </c:pt>
                <c:pt idx="1913">
                  <c:v>129.05405405405406</c:v>
                </c:pt>
                <c:pt idx="1914">
                  <c:v>129.05405405405406</c:v>
                </c:pt>
                <c:pt idx="1915">
                  <c:v>129.05405405405406</c:v>
                </c:pt>
                <c:pt idx="1916">
                  <c:v>129.05405405405406</c:v>
                </c:pt>
                <c:pt idx="1917">
                  <c:v>129.05405405405406</c:v>
                </c:pt>
                <c:pt idx="1918">
                  <c:v>129.05405405405406</c:v>
                </c:pt>
                <c:pt idx="1919">
                  <c:v>129.05405405405406</c:v>
                </c:pt>
                <c:pt idx="1920">
                  <c:v>129.05405405405406</c:v>
                </c:pt>
                <c:pt idx="1921">
                  <c:v>129.05405405405406</c:v>
                </c:pt>
                <c:pt idx="1922">
                  <c:v>129.05405405405406</c:v>
                </c:pt>
                <c:pt idx="1923">
                  <c:v>129.05405405405406</c:v>
                </c:pt>
                <c:pt idx="1924">
                  <c:v>129.05405405405406</c:v>
                </c:pt>
                <c:pt idx="1925">
                  <c:v>129.05405405405406</c:v>
                </c:pt>
                <c:pt idx="1926">
                  <c:v>129.05405405405406</c:v>
                </c:pt>
                <c:pt idx="1927">
                  <c:v>129.05405405405406</c:v>
                </c:pt>
                <c:pt idx="1928">
                  <c:v>129.05405405405406</c:v>
                </c:pt>
                <c:pt idx="1929">
                  <c:v>129.05405405405406</c:v>
                </c:pt>
                <c:pt idx="1930">
                  <c:v>129.05405405405406</c:v>
                </c:pt>
                <c:pt idx="1931">
                  <c:v>129.05405405405406</c:v>
                </c:pt>
                <c:pt idx="1932">
                  <c:v>129.05405405405406</c:v>
                </c:pt>
                <c:pt idx="1933">
                  <c:v>129.05405405405406</c:v>
                </c:pt>
                <c:pt idx="1934">
                  <c:v>129.05405405405406</c:v>
                </c:pt>
                <c:pt idx="1935">
                  <c:v>123.05743243243244</c:v>
                </c:pt>
                <c:pt idx="1936">
                  <c:v>123.05743243243244</c:v>
                </c:pt>
                <c:pt idx="1937">
                  <c:v>123.05743243243244</c:v>
                </c:pt>
                <c:pt idx="1938">
                  <c:v>123.05743243243244</c:v>
                </c:pt>
                <c:pt idx="1939">
                  <c:v>123.05743243243244</c:v>
                </c:pt>
                <c:pt idx="1940">
                  <c:v>123.05743243243244</c:v>
                </c:pt>
                <c:pt idx="1941">
                  <c:v>123.05743243243244</c:v>
                </c:pt>
                <c:pt idx="1942">
                  <c:v>123.05743243243244</c:v>
                </c:pt>
                <c:pt idx="1943">
                  <c:v>123.05743243243244</c:v>
                </c:pt>
                <c:pt idx="1944">
                  <c:v>123.05743243243244</c:v>
                </c:pt>
                <c:pt idx="1945">
                  <c:v>123.05743243243244</c:v>
                </c:pt>
                <c:pt idx="1946">
                  <c:v>123.05743243243244</c:v>
                </c:pt>
                <c:pt idx="1947">
                  <c:v>123.05743243243244</c:v>
                </c:pt>
                <c:pt idx="1948">
                  <c:v>123.05743243243244</c:v>
                </c:pt>
                <c:pt idx="1949">
                  <c:v>123.05743243243244</c:v>
                </c:pt>
                <c:pt idx="1950">
                  <c:v>123.05743243243244</c:v>
                </c:pt>
                <c:pt idx="1951">
                  <c:v>123.05743243243244</c:v>
                </c:pt>
                <c:pt idx="1952">
                  <c:v>123.05743243243244</c:v>
                </c:pt>
                <c:pt idx="1953">
                  <c:v>123.05743243243244</c:v>
                </c:pt>
                <c:pt idx="1954">
                  <c:v>123.05743243243244</c:v>
                </c:pt>
                <c:pt idx="1955">
                  <c:v>113.26013513513513</c:v>
                </c:pt>
                <c:pt idx="1956">
                  <c:v>113.26013513513513</c:v>
                </c:pt>
                <c:pt idx="1957">
                  <c:v>113.26013513513513</c:v>
                </c:pt>
                <c:pt idx="1958">
                  <c:v>113.26013513513513</c:v>
                </c:pt>
                <c:pt idx="1959">
                  <c:v>113.26013513513513</c:v>
                </c:pt>
                <c:pt idx="1960">
                  <c:v>113.26013513513513</c:v>
                </c:pt>
                <c:pt idx="1961">
                  <c:v>113.26013513513513</c:v>
                </c:pt>
                <c:pt idx="1962">
                  <c:v>113.26013513513513</c:v>
                </c:pt>
                <c:pt idx="1963">
                  <c:v>113.26013513513513</c:v>
                </c:pt>
                <c:pt idx="1964">
                  <c:v>113.26013513513513</c:v>
                </c:pt>
                <c:pt idx="1965">
                  <c:v>113.26013513513513</c:v>
                </c:pt>
                <c:pt idx="1966">
                  <c:v>113.26013513513513</c:v>
                </c:pt>
                <c:pt idx="1967">
                  <c:v>113.26013513513513</c:v>
                </c:pt>
                <c:pt idx="1968">
                  <c:v>113.26013513513513</c:v>
                </c:pt>
                <c:pt idx="1969">
                  <c:v>113.26013513513513</c:v>
                </c:pt>
                <c:pt idx="1970">
                  <c:v>113.26013513513513</c:v>
                </c:pt>
                <c:pt idx="1971">
                  <c:v>113.26013513513513</c:v>
                </c:pt>
                <c:pt idx="1972">
                  <c:v>113.26013513513513</c:v>
                </c:pt>
                <c:pt idx="1973">
                  <c:v>113.26013513513513</c:v>
                </c:pt>
                <c:pt idx="1974">
                  <c:v>113.26013513513513</c:v>
                </c:pt>
                <c:pt idx="1975">
                  <c:v>106.75675675675676</c:v>
                </c:pt>
                <c:pt idx="1976">
                  <c:v>106.75675675675676</c:v>
                </c:pt>
                <c:pt idx="1977">
                  <c:v>106.75675675675676</c:v>
                </c:pt>
                <c:pt idx="1978">
                  <c:v>106.75675675675676</c:v>
                </c:pt>
                <c:pt idx="1979">
                  <c:v>106.75675675675676</c:v>
                </c:pt>
                <c:pt idx="1980">
                  <c:v>106.75675675675676</c:v>
                </c:pt>
                <c:pt idx="1981">
                  <c:v>106.75675675675676</c:v>
                </c:pt>
                <c:pt idx="1982">
                  <c:v>106.75675675675676</c:v>
                </c:pt>
                <c:pt idx="1983">
                  <c:v>106.75675675675676</c:v>
                </c:pt>
                <c:pt idx="1984">
                  <c:v>106.75675675675676</c:v>
                </c:pt>
                <c:pt idx="1985">
                  <c:v>106.75675675675676</c:v>
                </c:pt>
                <c:pt idx="1986">
                  <c:v>106.75675675675676</c:v>
                </c:pt>
                <c:pt idx="1987">
                  <c:v>106.75675675675676</c:v>
                </c:pt>
                <c:pt idx="1988">
                  <c:v>106.75675675675676</c:v>
                </c:pt>
                <c:pt idx="1989">
                  <c:v>106.75675675675676</c:v>
                </c:pt>
                <c:pt idx="1990">
                  <c:v>106.75675675675676</c:v>
                </c:pt>
                <c:pt idx="1991">
                  <c:v>106.75675675675676</c:v>
                </c:pt>
                <c:pt idx="1992">
                  <c:v>106.75675675675676</c:v>
                </c:pt>
                <c:pt idx="1993">
                  <c:v>106.75675675675676</c:v>
                </c:pt>
                <c:pt idx="1994">
                  <c:v>106.75675675675676</c:v>
                </c:pt>
                <c:pt idx="1995">
                  <c:v>106.75675675675676</c:v>
                </c:pt>
                <c:pt idx="1996">
                  <c:v>106.75675675675676</c:v>
                </c:pt>
                <c:pt idx="1997">
                  <c:v>106.75675675675676</c:v>
                </c:pt>
                <c:pt idx="1998">
                  <c:v>106.75675675675676</c:v>
                </c:pt>
                <c:pt idx="1999">
                  <c:v>106.75675675675676</c:v>
                </c:pt>
                <c:pt idx="2000">
                  <c:v>110.97972972972974</c:v>
                </c:pt>
                <c:pt idx="2001">
                  <c:v>110.97972972972974</c:v>
                </c:pt>
                <c:pt idx="2002">
                  <c:v>110.97972972972974</c:v>
                </c:pt>
                <c:pt idx="2003">
                  <c:v>110.97972972972974</c:v>
                </c:pt>
                <c:pt idx="2004">
                  <c:v>110.97972972972974</c:v>
                </c:pt>
                <c:pt idx="2005">
                  <c:v>110.97972972972974</c:v>
                </c:pt>
                <c:pt idx="2006">
                  <c:v>110.97972972972974</c:v>
                </c:pt>
                <c:pt idx="2007">
                  <c:v>110.97972972972974</c:v>
                </c:pt>
                <c:pt idx="2008">
                  <c:v>110.97972972972974</c:v>
                </c:pt>
                <c:pt idx="2009">
                  <c:v>110.97972972972974</c:v>
                </c:pt>
                <c:pt idx="2010">
                  <c:v>110.97972972972974</c:v>
                </c:pt>
                <c:pt idx="2011">
                  <c:v>110.97972972972974</c:v>
                </c:pt>
                <c:pt idx="2012">
                  <c:v>110.97972972972974</c:v>
                </c:pt>
                <c:pt idx="2013">
                  <c:v>110.97972972972974</c:v>
                </c:pt>
                <c:pt idx="2014">
                  <c:v>110.97972972972974</c:v>
                </c:pt>
                <c:pt idx="2015">
                  <c:v>110.97972972972974</c:v>
                </c:pt>
                <c:pt idx="2016">
                  <c:v>110.97972972972974</c:v>
                </c:pt>
                <c:pt idx="2017">
                  <c:v>110.97972972972974</c:v>
                </c:pt>
                <c:pt idx="2018">
                  <c:v>110.97972972972974</c:v>
                </c:pt>
                <c:pt idx="2019">
                  <c:v>110.97972972972974</c:v>
                </c:pt>
                <c:pt idx="2020">
                  <c:v>112.66891891891892</c:v>
                </c:pt>
                <c:pt idx="2021">
                  <c:v>112.66891891891892</c:v>
                </c:pt>
                <c:pt idx="2022">
                  <c:v>112.66891891891892</c:v>
                </c:pt>
                <c:pt idx="2023">
                  <c:v>112.66891891891892</c:v>
                </c:pt>
                <c:pt idx="2024">
                  <c:v>112.66891891891892</c:v>
                </c:pt>
                <c:pt idx="2025">
                  <c:v>112.66891891891892</c:v>
                </c:pt>
                <c:pt idx="2026">
                  <c:v>112.66891891891892</c:v>
                </c:pt>
                <c:pt idx="2027">
                  <c:v>112.66891891891892</c:v>
                </c:pt>
                <c:pt idx="2028">
                  <c:v>112.66891891891892</c:v>
                </c:pt>
                <c:pt idx="2029">
                  <c:v>112.66891891891892</c:v>
                </c:pt>
                <c:pt idx="2030">
                  <c:v>112.66891891891892</c:v>
                </c:pt>
                <c:pt idx="2031">
                  <c:v>112.66891891891892</c:v>
                </c:pt>
                <c:pt idx="2032">
                  <c:v>112.66891891891892</c:v>
                </c:pt>
                <c:pt idx="2033">
                  <c:v>112.66891891891892</c:v>
                </c:pt>
                <c:pt idx="2034">
                  <c:v>112.66891891891892</c:v>
                </c:pt>
                <c:pt idx="2035">
                  <c:v>112.66891891891892</c:v>
                </c:pt>
                <c:pt idx="2036">
                  <c:v>112.66891891891892</c:v>
                </c:pt>
                <c:pt idx="2037">
                  <c:v>112.66891891891892</c:v>
                </c:pt>
                <c:pt idx="2038">
                  <c:v>112.66891891891892</c:v>
                </c:pt>
                <c:pt idx="2039">
                  <c:v>112.66891891891892</c:v>
                </c:pt>
                <c:pt idx="2040">
                  <c:v>104.72972972972974</c:v>
                </c:pt>
                <c:pt idx="2041">
                  <c:v>104.72972972972974</c:v>
                </c:pt>
                <c:pt idx="2042">
                  <c:v>104.72972972972974</c:v>
                </c:pt>
                <c:pt idx="2043">
                  <c:v>104.72972972972974</c:v>
                </c:pt>
                <c:pt idx="2044">
                  <c:v>104.72972972972974</c:v>
                </c:pt>
                <c:pt idx="2045">
                  <c:v>104.72972972972974</c:v>
                </c:pt>
                <c:pt idx="2046">
                  <c:v>104.72972972972974</c:v>
                </c:pt>
                <c:pt idx="2047">
                  <c:v>104.72972972972974</c:v>
                </c:pt>
                <c:pt idx="2048">
                  <c:v>104.72972972972974</c:v>
                </c:pt>
                <c:pt idx="2049">
                  <c:v>104.72972972972974</c:v>
                </c:pt>
                <c:pt idx="2050">
                  <c:v>104.72972972972974</c:v>
                </c:pt>
                <c:pt idx="2051">
                  <c:v>104.72972972972974</c:v>
                </c:pt>
                <c:pt idx="2052">
                  <c:v>104.72972972972974</c:v>
                </c:pt>
                <c:pt idx="2053">
                  <c:v>104.72972972972974</c:v>
                </c:pt>
                <c:pt idx="2054">
                  <c:v>104.72972972972974</c:v>
                </c:pt>
                <c:pt idx="2055">
                  <c:v>104.72972972972974</c:v>
                </c:pt>
                <c:pt idx="2056">
                  <c:v>104.72972972972974</c:v>
                </c:pt>
                <c:pt idx="2057">
                  <c:v>104.72972972972974</c:v>
                </c:pt>
                <c:pt idx="2058">
                  <c:v>104.72972972972974</c:v>
                </c:pt>
                <c:pt idx="2059">
                  <c:v>104.72972972972974</c:v>
                </c:pt>
                <c:pt idx="2060">
                  <c:v>104.72972972972974</c:v>
                </c:pt>
                <c:pt idx="2061">
                  <c:v>104.72972972972974</c:v>
                </c:pt>
                <c:pt idx="2062">
                  <c:v>104.72972972972974</c:v>
                </c:pt>
                <c:pt idx="2063">
                  <c:v>104.72972972972974</c:v>
                </c:pt>
                <c:pt idx="2064">
                  <c:v>104.72972972972974</c:v>
                </c:pt>
                <c:pt idx="2065">
                  <c:v>112.24662162162163</c:v>
                </c:pt>
                <c:pt idx="2066">
                  <c:v>112.24662162162163</c:v>
                </c:pt>
                <c:pt idx="2067">
                  <c:v>112.24662162162163</c:v>
                </c:pt>
                <c:pt idx="2068">
                  <c:v>112.24662162162163</c:v>
                </c:pt>
                <c:pt idx="2069">
                  <c:v>112.24662162162163</c:v>
                </c:pt>
                <c:pt idx="2070">
                  <c:v>112.24662162162163</c:v>
                </c:pt>
                <c:pt idx="2071">
                  <c:v>112.24662162162163</c:v>
                </c:pt>
                <c:pt idx="2072">
                  <c:v>112.24662162162163</c:v>
                </c:pt>
                <c:pt idx="2073">
                  <c:v>112.24662162162163</c:v>
                </c:pt>
                <c:pt idx="2074">
                  <c:v>112.24662162162163</c:v>
                </c:pt>
                <c:pt idx="2075">
                  <c:v>112.24662162162163</c:v>
                </c:pt>
                <c:pt idx="2076">
                  <c:v>112.24662162162163</c:v>
                </c:pt>
                <c:pt idx="2077">
                  <c:v>112.24662162162163</c:v>
                </c:pt>
                <c:pt idx="2078">
                  <c:v>112.24662162162163</c:v>
                </c:pt>
                <c:pt idx="2079">
                  <c:v>112.24662162162163</c:v>
                </c:pt>
                <c:pt idx="2080">
                  <c:v>112.24662162162163</c:v>
                </c:pt>
                <c:pt idx="2081">
                  <c:v>112.24662162162163</c:v>
                </c:pt>
                <c:pt idx="2082">
                  <c:v>112.24662162162163</c:v>
                </c:pt>
                <c:pt idx="2083">
                  <c:v>112.24662162162163</c:v>
                </c:pt>
                <c:pt idx="2084">
                  <c:v>112.24662162162163</c:v>
                </c:pt>
                <c:pt idx="2085">
                  <c:v>115.79391891891892</c:v>
                </c:pt>
                <c:pt idx="2086">
                  <c:v>115.79391891891892</c:v>
                </c:pt>
                <c:pt idx="2087">
                  <c:v>115.79391891891892</c:v>
                </c:pt>
                <c:pt idx="2088">
                  <c:v>115.79391891891892</c:v>
                </c:pt>
                <c:pt idx="2089">
                  <c:v>115.79391891891892</c:v>
                </c:pt>
                <c:pt idx="2090">
                  <c:v>115.79391891891892</c:v>
                </c:pt>
                <c:pt idx="2091">
                  <c:v>115.79391891891892</c:v>
                </c:pt>
                <c:pt idx="2092">
                  <c:v>115.79391891891892</c:v>
                </c:pt>
                <c:pt idx="2093">
                  <c:v>115.79391891891892</c:v>
                </c:pt>
                <c:pt idx="2094">
                  <c:v>115.79391891891892</c:v>
                </c:pt>
                <c:pt idx="2095">
                  <c:v>115.79391891891892</c:v>
                </c:pt>
                <c:pt idx="2096">
                  <c:v>115.79391891891892</c:v>
                </c:pt>
                <c:pt idx="2097">
                  <c:v>115.79391891891892</c:v>
                </c:pt>
                <c:pt idx="2098">
                  <c:v>115.79391891891892</c:v>
                </c:pt>
                <c:pt idx="2099">
                  <c:v>115.79391891891892</c:v>
                </c:pt>
                <c:pt idx="2100">
                  <c:v>115.79391891891892</c:v>
                </c:pt>
                <c:pt idx="2101">
                  <c:v>115.79391891891892</c:v>
                </c:pt>
                <c:pt idx="2102">
                  <c:v>115.79391891891892</c:v>
                </c:pt>
                <c:pt idx="2103">
                  <c:v>115.79391891891892</c:v>
                </c:pt>
                <c:pt idx="2104">
                  <c:v>115.79391891891892</c:v>
                </c:pt>
                <c:pt idx="2105">
                  <c:v>115.79391891891892</c:v>
                </c:pt>
                <c:pt idx="2106">
                  <c:v>115.79391891891892</c:v>
                </c:pt>
                <c:pt idx="2107">
                  <c:v>115.79391891891892</c:v>
                </c:pt>
                <c:pt idx="2108">
                  <c:v>115.79391891891892</c:v>
                </c:pt>
                <c:pt idx="2109">
                  <c:v>115.79391891891892</c:v>
                </c:pt>
                <c:pt idx="2110">
                  <c:v>120.94594594594594</c:v>
                </c:pt>
                <c:pt idx="2111">
                  <c:v>120.94594594594594</c:v>
                </c:pt>
                <c:pt idx="2112">
                  <c:v>120.94594594594594</c:v>
                </c:pt>
                <c:pt idx="2113">
                  <c:v>120.94594594594594</c:v>
                </c:pt>
                <c:pt idx="2114">
                  <c:v>120.94594594594594</c:v>
                </c:pt>
                <c:pt idx="2115">
                  <c:v>120.94594594594594</c:v>
                </c:pt>
                <c:pt idx="2116">
                  <c:v>120.94594594594594</c:v>
                </c:pt>
                <c:pt idx="2117">
                  <c:v>120.94594594594594</c:v>
                </c:pt>
                <c:pt idx="2118">
                  <c:v>120.94594594594594</c:v>
                </c:pt>
                <c:pt idx="2119">
                  <c:v>120.94594594594594</c:v>
                </c:pt>
                <c:pt idx="2120">
                  <c:v>120.94594594594594</c:v>
                </c:pt>
                <c:pt idx="2121">
                  <c:v>120.94594594594594</c:v>
                </c:pt>
                <c:pt idx="2122">
                  <c:v>120.94594594594594</c:v>
                </c:pt>
                <c:pt idx="2123">
                  <c:v>120.94594594594594</c:v>
                </c:pt>
                <c:pt idx="2124">
                  <c:v>120.94594594594594</c:v>
                </c:pt>
                <c:pt idx="2125">
                  <c:v>120.94594594594594</c:v>
                </c:pt>
                <c:pt idx="2126">
                  <c:v>120.94594594594594</c:v>
                </c:pt>
                <c:pt idx="2127">
                  <c:v>120.94594594594594</c:v>
                </c:pt>
                <c:pt idx="2128">
                  <c:v>120.94594594594594</c:v>
                </c:pt>
                <c:pt idx="2129">
                  <c:v>120.94594594594594</c:v>
                </c:pt>
                <c:pt idx="2130">
                  <c:v>123.98648648648648</c:v>
                </c:pt>
                <c:pt idx="2131">
                  <c:v>123.98648648648648</c:v>
                </c:pt>
                <c:pt idx="2132">
                  <c:v>123.98648648648648</c:v>
                </c:pt>
                <c:pt idx="2133">
                  <c:v>123.98648648648648</c:v>
                </c:pt>
                <c:pt idx="2134">
                  <c:v>123.98648648648648</c:v>
                </c:pt>
                <c:pt idx="2135">
                  <c:v>123.98648648648648</c:v>
                </c:pt>
                <c:pt idx="2136">
                  <c:v>123.98648648648648</c:v>
                </c:pt>
                <c:pt idx="2137">
                  <c:v>123.98648648648648</c:v>
                </c:pt>
                <c:pt idx="2138">
                  <c:v>123.98648648648648</c:v>
                </c:pt>
                <c:pt idx="2139">
                  <c:v>123.98648648648648</c:v>
                </c:pt>
                <c:pt idx="2140">
                  <c:v>123.98648648648648</c:v>
                </c:pt>
                <c:pt idx="2141">
                  <c:v>123.98648648648648</c:v>
                </c:pt>
                <c:pt idx="2142">
                  <c:v>123.98648648648648</c:v>
                </c:pt>
                <c:pt idx="2143">
                  <c:v>123.98648648648648</c:v>
                </c:pt>
                <c:pt idx="2144">
                  <c:v>123.98648648648648</c:v>
                </c:pt>
                <c:pt idx="2145">
                  <c:v>123.98648648648648</c:v>
                </c:pt>
                <c:pt idx="2146">
                  <c:v>123.98648648648648</c:v>
                </c:pt>
                <c:pt idx="2147">
                  <c:v>123.98648648648648</c:v>
                </c:pt>
                <c:pt idx="2148">
                  <c:v>123.98648648648648</c:v>
                </c:pt>
                <c:pt idx="2149">
                  <c:v>123.98648648648648</c:v>
                </c:pt>
                <c:pt idx="2150">
                  <c:v>124.57770270270272</c:v>
                </c:pt>
                <c:pt idx="2151">
                  <c:v>124.57770270270272</c:v>
                </c:pt>
                <c:pt idx="2152">
                  <c:v>124.57770270270272</c:v>
                </c:pt>
                <c:pt idx="2153">
                  <c:v>124.57770270270272</c:v>
                </c:pt>
                <c:pt idx="2154">
                  <c:v>124.57770270270272</c:v>
                </c:pt>
                <c:pt idx="2155">
                  <c:v>124.57770270270272</c:v>
                </c:pt>
                <c:pt idx="2156">
                  <c:v>124.57770270270272</c:v>
                </c:pt>
                <c:pt idx="2157">
                  <c:v>124.57770270270272</c:v>
                </c:pt>
                <c:pt idx="2158">
                  <c:v>124.57770270270272</c:v>
                </c:pt>
                <c:pt idx="2159">
                  <c:v>124.57770270270272</c:v>
                </c:pt>
                <c:pt idx="2160">
                  <c:v>124.57770270270272</c:v>
                </c:pt>
                <c:pt idx="2161">
                  <c:v>124.57770270270272</c:v>
                </c:pt>
                <c:pt idx="2162">
                  <c:v>124.57770270270272</c:v>
                </c:pt>
                <c:pt idx="2163">
                  <c:v>124.57770270270272</c:v>
                </c:pt>
                <c:pt idx="2164">
                  <c:v>124.57770270270272</c:v>
                </c:pt>
                <c:pt idx="2165">
                  <c:v>124.57770270270272</c:v>
                </c:pt>
                <c:pt idx="2166">
                  <c:v>124.57770270270272</c:v>
                </c:pt>
                <c:pt idx="2167">
                  <c:v>124.57770270270272</c:v>
                </c:pt>
                <c:pt idx="2168">
                  <c:v>124.57770270270272</c:v>
                </c:pt>
                <c:pt idx="2169">
                  <c:v>124.57770270270272</c:v>
                </c:pt>
                <c:pt idx="2170">
                  <c:v>137.5</c:v>
                </c:pt>
                <c:pt idx="2171">
                  <c:v>137.5</c:v>
                </c:pt>
                <c:pt idx="2172">
                  <c:v>137.5</c:v>
                </c:pt>
                <c:pt idx="2173">
                  <c:v>137.5</c:v>
                </c:pt>
                <c:pt idx="2174">
                  <c:v>137.5</c:v>
                </c:pt>
                <c:pt idx="2175">
                  <c:v>137.5</c:v>
                </c:pt>
                <c:pt idx="2176">
                  <c:v>137.5</c:v>
                </c:pt>
                <c:pt idx="2177">
                  <c:v>137.5</c:v>
                </c:pt>
                <c:pt idx="2178">
                  <c:v>137.5</c:v>
                </c:pt>
                <c:pt idx="2179">
                  <c:v>137.5</c:v>
                </c:pt>
                <c:pt idx="2180">
                  <c:v>137.5</c:v>
                </c:pt>
                <c:pt idx="2181">
                  <c:v>137.5</c:v>
                </c:pt>
                <c:pt idx="2182">
                  <c:v>137.5</c:v>
                </c:pt>
                <c:pt idx="2183">
                  <c:v>137.5</c:v>
                </c:pt>
                <c:pt idx="2184">
                  <c:v>137.5</c:v>
                </c:pt>
                <c:pt idx="2185">
                  <c:v>137.5</c:v>
                </c:pt>
                <c:pt idx="2186">
                  <c:v>137.5</c:v>
                </c:pt>
                <c:pt idx="2187">
                  <c:v>137.5</c:v>
                </c:pt>
                <c:pt idx="2188">
                  <c:v>137.5</c:v>
                </c:pt>
                <c:pt idx="2189">
                  <c:v>137.5</c:v>
                </c:pt>
                <c:pt idx="2190">
                  <c:v>137.5</c:v>
                </c:pt>
                <c:pt idx="2191">
                  <c:v>137.5</c:v>
                </c:pt>
                <c:pt idx="2192">
                  <c:v>137.5</c:v>
                </c:pt>
                <c:pt idx="2193">
                  <c:v>137.5</c:v>
                </c:pt>
                <c:pt idx="2194">
                  <c:v>137.5</c:v>
                </c:pt>
                <c:pt idx="2195">
                  <c:v>139.69594594594594</c:v>
                </c:pt>
                <c:pt idx="2196">
                  <c:v>139.69594594594594</c:v>
                </c:pt>
                <c:pt idx="2197">
                  <c:v>139.69594594594594</c:v>
                </c:pt>
                <c:pt idx="2198">
                  <c:v>139.69594594594594</c:v>
                </c:pt>
                <c:pt idx="2199">
                  <c:v>139.69594594594594</c:v>
                </c:pt>
                <c:pt idx="2200">
                  <c:v>139.69594594594594</c:v>
                </c:pt>
                <c:pt idx="2201">
                  <c:v>139.69594594594594</c:v>
                </c:pt>
                <c:pt idx="2202">
                  <c:v>139.69594594594594</c:v>
                </c:pt>
                <c:pt idx="2203">
                  <c:v>139.69594594594594</c:v>
                </c:pt>
                <c:pt idx="2204">
                  <c:v>139.69594594594594</c:v>
                </c:pt>
                <c:pt idx="2205">
                  <c:v>139.69594594594594</c:v>
                </c:pt>
                <c:pt idx="2206">
                  <c:v>139.69594594594594</c:v>
                </c:pt>
                <c:pt idx="2207">
                  <c:v>139.69594594594594</c:v>
                </c:pt>
                <c:pt idx="2208">
                  <c:v>139.69594594594594</c:v>
                </c:pt>
                <c:pt idx="2209">
                  <c:v>139.69594594594594</c:v>
                </c:pt>
                <c:pt idx="2210">
                  <c:v>139.69594594594594</c:v>
                </c:pt>
                <c:pt idx="2211">
                  <c:v>139.69594594594594</c:v>
                </c:pt>
                <c:pt idx="2212">
                  <c:v>139.69594594594594</c:v>
                </c:pt>
                <c:pt idx="2213">
                  <c:v>139.69594594594594</c:v>
                </c:pt>
                <c:pt idx="2214">
                  <c:v>139.69594594594594</c:v>
                </c:pt>
                <c:pt idx="2215">
                  <c:v>145.43918918918919</c:v>
                </c:pt>
                <c:pt idx="2216">
                  <c:v>145.43918918918919</c:v>
                </c:pt>
                <c:pt idx="2217">
                  <c:v>145.43918918918919</c:v>
                </c:pt>
                <c:pt idx="2218">
                  <c:v>145.43918918918919</c:v>
                </c:pt>
                <c:pt idx="2219">
                  <c:v>145.43918918918919</c:v>
                </c:pt>
                <c:pt idx="2220">
                  <c:v>145.43918918918919</c:v>
                </c:pt>
                <c:pt idx="2221">
                  <c:v>145.43918918918919</c:v>
                </c:pt>
                <c:pt idx="2222">
                  <c:v>145.43918918918919</c:v>
                </c:pt>
                <c:pt idx="2223">
                  <c:v>145.43918918918919</c:v>
                </c:pt>
                <c:pt idx="2224">
                  <c:v>145.43918918918919</c:v>
                </c:pt>
                <c:pt idx="2225">
                  <c:v>145.43918918918919</c:v>
                </c:pt>
                <c:pt idx="2226">
                  <c:v>145.43918918918919</c:v>
                </c:pt>
                <c:pt idx="2227">
                  <c:v>145.43918918918919</c:v>
                </c:pt>
                <c:pt idx="2228">
                  <c:v>145.43918918918919</c:v>
                </c:pt>
                <c:pt idx="2229">
                  <c:v>145.43918918918919</c:v>
                </c:pt>
                <c:pt idx="2230">
                  <c:v>145.43918918918919</c:v>
                </c:pt>
                <c:pt idx="2231">
                  <c:v>145.43918918918919</c:v>
                </c:pt>
                <c:pt idx="2232">
                  <c:v>145.43918918918919</c:v>
                </c:pt>
                <c:pt idx="2233">
                  <c:v>145.43918918918919</c:v>
                </c:pt>
                <c:pt idx="2234">
                  <c:v>145.43918918918919</c:v>
                </c:pt>
                <c:pt idx="2235">
                  <c:v>148.47972972972974</c:v>
                </c:pt>
                <c:pt idx="2236">
                  <c:v>148.47972972972974</c:v>
                </c:pt>
                <c:pt idx="2237">
                  <c:v>148.47972972972974</c:v>
                </c:pt>
                <c:pt idx="2238">
                  <c:v>148.47972972972974</c:v>
                </c:pt>
                <c:pt idx="2239">
                  <c:v>148.47972972972974</c:v>
                </c:pt>
                <c:pt idx="2240">
                  <c:v>148.47972972972974</c:v>
                </c:pt>
                <c:pt idx="2241">
                  <c:v>148.47972972972974</c:v>
                </c:pt>
                <c:pt idx="2242">
                  <c:v>148.47972972972974</c:v>
                </c:pt>
                <c:pt idx="2243">
                  <c:v>148.47972972972974</c:v>
                </c:pt>
                <c:pt idx="2244">
                  <c:v>148.47972972972974</c:v>
                </c:pt>
                <c:pt idx="2245">
                  <c:v>148.47972972972974</c:v>
                </c:pt>
                <c:pt idx="2246">
                  <c:v>148.47972972972974</c:v>
                </c:pt>
                <c:pt idx="2247">
                  <c:v>148.47972972972974</c:v>
                </c:pt>
                <c:pt idx="2248">
                  <c:v>148.47972972972974</c:v>
                </c:pt>
                <c:pt idx="2249">
                  <c:v>148.47972972972974</c:v>
                </c:pt>
                <c:pt idx="2250">
                  <c:v>148.47972972972974</c:v>
                </c:pt>
                <c:pt idx="2251">
                  <c:v>148.47972972972974</c:v>
                </c:pt>
                <c:pt idx="2252">
                  <c:v>148.47972972972974</c:v>
                </c:pt>
                <c:pt idx="2253">
                  <c:v>148.47972972972974</c:v>
                </c:pt>
                <c:pt idx="2254">
                  <c:v>148.47972972972974</c:v>
                </c:pt>
                <c:pt idx="2255">
                  <c:v>148.47972972972974</c:v>
                </c:pt>
                <c:pt idx="2256">
                  <c:v>148.47972972972974</c:v>
                </c:pt>
                <c:pt idx="2257">
                  <c:v>148.47972972972974</c:v>
                </c:pt>
                <c:pt idx="2258">
                  <c:v>148.47972972972974</c:v>
                </c:pt>
                <c:pt idx="2259">
                  <c:v>148.47972972972974</c:v>
                </c:pt>
                <c:pt idx="2260">
                  <c:v>154.56081081081084</c:v>
                </c:pt>
                <c:pt idx="2261">
                  <c:v>154.56081081081084</c:v>
                </c:pt>
                <c:pt idx="2262">
                  <c:v>154.56081081081084</c:v>
                </c:pt>
                <c:pt idx="2263">
                  <c:v>154.56081081081084</c:v>
                </c:pt>
                <c:pt idx="2264">
                  <c:v>154.56081081081084</c:v>
                </c:pt>
                <c:pt idx="2265">
                  <c:v>154.56081081081084</c:v>
                </c:pt>
                <c:pt idx="2266">
                  <c:v>154.56081081081084</c:v>
                </c:pt>
                <c:pt idx="2267">
                  <c:v>154.56081081081084</c:v>
                </c:pt>
                <c:pt idx="2268">
                  <c:v>154.56081081081084</c:v>
                </c:pt>
                <c:pt idx="2269">
                  <c:v>154.56081081081084</c:v>
                </c:pt>
                <c:pt idx="2270">
                  <c:v>154.56081081081084</c:v>
                </c:pt>
                <c:pt idx="2271">
                  <c:v>154.56081081081084</c:v>
                </c:pt>
                <c:pt idx="2272">
                  <c:v>154.56081081081084</c:v>
                </c:pt>
                <c:pt idx="2273">
                  <c:v>154.56081081081084</c:v>
                </c:pt>
                <c:pt idx="2274">
                  <c:v>154.56081081081084</c:v>
                </c:pt>
                <c:pt idx="2275">
                  <c:v>154.56081081081084</c:v>
                </c:pt>
                <c:pt idx="2276">
                  <c:v>154.56081081081084</c:v>
                </c:pt>
                <c:pt idx="2277">
                  <c:v>154.56081081081084</c:v>
                </c:pt>
                <c:pt idx="2278">
                  <c:v>154.56081081081084</c:v>
                </c:pt>
                <c:pt idx="2279">
                  <c:v>154.56081081081084</c:v>
                </c:pt>
                <c:pt idx="2280">
                  <c:v>157.26351351351354</c:v>
                </c:pt>
                <c:pt idx="2281">
                  <c:v>157.26351351351354</c:v>
                </c:pt>
                <c:pt idx="2282">
                  <c:v>157.26351351351354</c:v>
                </c:pt>
                <c:pt idx="2283">
                  <c:v>157.26351351351354</c:v>
                </c:pt>
                <c:pt idx="2284">
                  <c:v>157.26351351351354</c:v>
                </c:pt>
                <c:pt idx="2285">
                  <c:v>157.26351351351354</c:v>
                </c:pt>
                <c:pt idx="2286">
                  <c:v>157.26351351351354</c:v>
                </c:pt>
                <c:pt idx="2287">
                  <c:v>157.26351351351354</c:v>
                </c:pt>
                <c:pt idx="2288">
                  <c:v>157.26351351351354</c:v>
                </c:pt>
                <c:pt idx="2289">
                  <c:v>157.26351351351354</c:v>
                </c:pt>
                <c:pt idx="2290">
                  <c:v>157.26351351351354</c:v>
                </c:pt>
                <c:pt idx="2291">
                  <c:v>157.26351351351354</c:v>
                </c:pt>
                <c:pt idx="2292">
                  <c:v>157.26351351351354</c:v>
                </c:pt>
                <c:pt idx="2293">
                  <c:v>157.26351351351354</c:v>
                </c:pt>
                <c:pt idx="2294">
                  <c:v>157.26351351351354</c:v>
                </c:pt>
                <c:pt idx="2295">
                  <c:v>157.26351351351354</c:v>
                </c:pt>
                <c:pt idx="2296">
                  <c:v>157.26351351351354</c:v>
                </c:pt>
                <c:pt idx="2297">
                  <c:v>157.26351351351354</c:v>
                </c:pt>
                <c:pt idx="2298">
                  <c:v>157.26351351351354</c:v>
                </c:pt>
                <c:pt idx="2299">
                  <c:v>157.26351351351354</c:v>
                </c:pt>
                <c:pt idx="2300">
                  <c:v>157.26351351351354</c:v>
                </c:pt>
                <c:pt idx="2301">
                  <c:v>157.26351351351354</c:v>
                </c:pt>
                <c:pt idx="2302">
                  <c:v>157.26351351351354</c:v>
                </c:pt>
                <c:pt idx="2303">
                  <c:v>157.26351351351354</c:v>
                </c:pt>
                <c:pt idx="2304">
                  <c:v>157.26351351351354</c:v>
                </c:pt>
                <c:pt idx="2305">
                  <c:v>160.81081081081081</c:v>
                </c:pt>
                <c:pt idx="2306">
                  <c:v>160.81081081081081</c:v>
                </c:pt>
                <c:pt idx="2307">
                  <c:v>160.81081081081081</c:v>
                </c:pt>
                <c:pt idx="2308">
                  <c:v>160.81081081081081</c:v>
                </c:pt>
                <c:pt idx="2309">
                  <c:v>160.81081081081081</c:v>
                </c:pt>
                <c:pt idx="2310">
                  <c:v>160.81081081081081</c:v>
                </c:pt>
                <c:pt idx="2311">
                  <c:v>160.81081081081081</c:v>
                </c:pt>
                <c:pt idx="2312">
                  <c:v>160.81081081081081</c:v>
                </c:pt>
                <c:pt idx="2313">
                  <c:v>160.81081081081081</c:v>
                </c:pt>
                <c:pt idx="2314">
                  <c:v>160.81081081081081</c:v>
                </c:pt>
                <c:pt idx="2315">
                  <c:v>160.81081081081081</c:v>
                </c:pt>
                <c:pt idx="2316">
                  <c:v>160.81081081081081</c:v>
                </c:pt>
                <c:pt idx="2317">
                  <c:v>160.81081081081081</c:v>
                </c:pt>
                <c:pt idx="2318">
                  <c:v>160.81081081081081</c:v>
                </c:pt>
                <c:pt idx="2319">
                  <c:v>160.81081081081081</c:v>
                </c:pt>
                <c:pt idx="2320">
                  <c:v>160.81081081081081</c:v>
                </c:pt>
                <c:pt idx="2321">
                  <c:v>160.81081081081081</c:v>
                </c:pt>
                <c:pt idx="2322">
                  <c:v>160.81081081081081</c:v>
                </c:pt>
                <c:pt idx="2323">
                  <c:v>160.81081081081081</c:v>
                </c:pt>
                <c:pt idx="2324">
                  <c:v>160.81081081081081</c:v>
                </c:pt>
                <c:pt idx="2325">
                  <c:v>167.06081081081081</c:v>
                </c:pt>
                <c:pt idx="2326">
                  <c:v>167.06081081081081</c:v>
                </c:pt>
                <c:pt idx="2327">
                  <c:v>167.06081081081081</c:v>
                </c:pt>
                <c:pt idx="2328">
                  <c:v>167.06081081081081</c:v>
                </c:pt>
                <c:pt idx="2329">
                  <c:v>167.06081081081081</c:v>
                </c:pt>
                <c:pt idx="2330">
                  <c:v>167.06081081081081</c:v>
                </c:pt>
                <c:pt idx="2331">
                  <c:v>167.06081081081081</c:v>
                </c:pt>
                <c:pt idx="2332">
                  <c:v>167.06081081081081</c:v>
                </c:pt>
                <c:pt idx="2333">
                  <c:v>167.06081081081081</c:v>
                </c:pt>
                <c:pt idx="2334">
                  <c:v>167.06081081081081</c:v>
                </c:pt>
                <c:pt idx="2335">
                  <c:v>167.06081081081081</c:v>
                </c:pt>
                <c:pt idx="2336">
                  <c:v>167.06081081081081</c:v>
                </c:pt>
                <c:pt idx="2337">
                  <c:v>167.06081081081081</c:v>
                </c:pt>
                <c:pt idx="2338">
                  <c:v>167.06081081081081</c:v>
                </c:pt>
                <c:pt idx="2339">
                  <c:v>167.06081081081081</c:v>
                </c:pt>
                <c:pt idx="2340">
                  <c:v>167.06081081081081</c:v>
                </c:pt>
                <c:pt idx="2341">
                  <c:v>167.06081081081081</c:v>
                </c:pt>
                <c:pt idx="2342">
                  <c:v>167.06081081081081</c:v>
                </c:pt>
                <c:pt idx="2343">
                  <c:v>167.06081081081081</c:v>
                </c:pt>
                <c:pt idx="2344">
                  <c:v>167.06081081081081</c:v>
                </c:pt>
                <c:pt idx="2345">
                  <c:v>171.62162162162161</c:v>
                </c:pt>
                <c:pt idx="2346">
                  <c:v>171.62162162162161</c:v>
                </c:pt>
                <c:pt idx="2347">
                  <c:v>171.62162162162161</c:v>
                </c:pt>
                <c:pt idx="2348">
                  <c:v>171.62162162162161</c:v>
                </c:pt>
                <c:pt idx="2349">
                  <c:v>171.62162162162161</c:v>
                </c:pt>
                <c:pt idx="2350">
                  <c:v>171.62162162162161</c:v>
                </c:pt>
                <c:pt idx="2351">
                  <c:v>171.62162162162161</c:v>
                </c:pt>
                <c:pt idx="2352">
                  <c:v>171.62162162162161</c:v>
                </c:pt>
                <c:pt idx="2353">
                  <c:v>171.62162162162161</c:v>
                </c:pt>
                <c:pt idx="2354">
                  <c:v>171.62162162162161</c:v>
                </c:pt>
                <c:pt idx="2355">
                  <c:v>171.62162162162161</c:v>
                </c:pt>
                <c:pt idx="2356">
                  <c:v>171.62162162162161</c:v>
                </c:pt>
                <c:pt idx="2357">
                  <c:v>171.62162162162161</c:v>
                </c:pt>
                <c:pt idx="2358">
                  <c:v>171.62162162162161</c:v>
                </c:pt>
                <c:pt idx="2359">
                  <c:v>171.62162162162161</c:v>
                </c:pt>
                <c:pt idx="2360">
                  <c:v>171.62162162162161</c:v>
                </c:pt>
                <c:pt idx="2361">
                  <c:v>171.62162162162161</c:v>
                </c:pt>
                <c:pt idx="2362">
                  <c:v>171.62162162162161</c:v>
                </c:pt>
                <c:pt idx="2363">
                  <c:v>171.62162162162161</c:v>
                </c:pt>
                <c:pt idx="2364">
                  <c:v>171.62162162162161</c:v>
                </c:pt>
                <c:pt idx="2365">
                  <c:v>171.62162162162161</c:v>
                </c:pt>
                <c:pt idx="2366">
                  <c:v>171.62162162162161</c:v>
                </c:pt>
                <c:pt idx="2367">
                  <c:v>171.62162162162161</c:v>
                </c:pt>
                <c:pt idx="2368">
                  <c:v>171.62162162162161</c:v>
                </c:pt>
                <c:pt idx="2369">
                  <c:v>171.62162162162161</c:v>
                </c:pt>
                <c:pt idx="2370">
                  <c:v>182.68581081081081</c:v>
                </c:pt>
                <c:pt idx="2371">
                  <c:v>182.68581081081081</c:v>
                </c:pt>
                <c:pt idx="2372">
                  <c:v>182.68581081081081</c:v>
                </c:pt>
                <c:pt idx="2373">
                  <c:v>182.68581081081081</c:v>
                </c:pt>
                <c:pt idx="2374">
                  <c:v>182.68581081081081</c:v>
                </c:pt>
                <c:pt idx="2375">
                  <c:v>182.68581081081081</c:v>
                </c:pt>
                <c:pt idx="2376">
                  <c:v>182.68581081081081</c:v>
                </c:pt>
                <c:pt idx="2377">
                  <c:v>182.68581081081081</c:v>
                </c:pt>
                <c:pt idx="2378">
                  <c:v>182.68581081081081</c:v>
                </c:pt>
                <c:pt idx="2379">
                  <c:v>182.68581081081081</c:v>
                </c:pt>
                <c:pt idx="2380">
                  <c:v>182.68581081081081</c:v>
                </c:pt>
                <c:pt idx="2381">
                  <c:v>182.68581081081081</c:v>
                </c:pt>
                <c:pt idx="2382">
                  <c:v>182.68581081081081</c:v>
                </c:pt>
                <c:pt idx="2383">
                  <c:v>182.68581081081081</c:v>
                </c:pt>
                <c:pt idx="2384">
                  <c:v>182.68581081081081</c:v>
                </c:pt>
                <c:pt idx="2385">
                  <c:v>182.68581081081081</c:v>
                </c:pt>
                <c:pt idx="2386">
                  <c:v>182.68581081081081</c:v>
                </c:pt>
                <c:pt idx="2387">
                  <c:v>182.68581081081081</c:v>
                </c:pt>
                <c:pt idx="2388">
                  <c:v>182.68581081081081</c:v>
                </c:pt>
                <c:pt idx="2389">
                  <c:v>182.68581081081081</c:v>
                </c:pt>
                <c:pt idx="2390">
                  <c:v>184.71283783783784</c:v>
                </c:pt>
                <c:pt idx="2391">
                  <c:v>184.71283783783784</c:v>
                </c:pt>
                <c:pt idx="2392">
                  <c:v>184.71283783783784</c:v>
                </c:pt>
                <c:pt idx="2393">
                  <c:v>184.71283783783784</c:v>
                </c:pt>
                <c:pt idx="2394">
                  <c:v>184.71283783783784</c:v>
                </c:pt>
                <c:pt idx="2395">
                  <c:v>184.71283783783784</c:v>
                </c:pt>
                <c:pt idx="2396">
                  <c:v>184.71283783783784</c:v>
                </c:pt>
                <c:pt idx="2397">
                  <c:v>184.71283783783784</c:v>
                </c:pt>
                <c:pt idx="2398">
                  <c:v>184.71283783783784</c:v>
                </c:pt>
                <c:pt idx="2399">
                  <c:v>184.71283783783784</c:v>
                </c:pt>
                <c:pt idx="2400">
                  <c:v>184.71283783783784</c:v>
                </c:pt>
                <c:pt idx="2401">
                  <c:v>184.71283783783784</c:v>
                </c:pt>
                <c:pt idx="2402">
                  <c:v>184.71283783783784</c:v>
                </c:pt>
                <c:pt idx="2403">
                  <c:v>184.71283783783784</c:v>
                </c:pt>
                <c:pt idx="2404">
                  <c:v>184.71283783783784</c:v>
                </c:pt>
                <c:pt idx="2405">
                  <c:v>184.71283783783784</c:v>
                </c:pt>
                <c:pt idx="2406">
                  <c:v>184.71283783783784</c:v>
                </c:pt>
                <c:pt idx="2407">
                  <c:v>184.71283783783784</c:v>
                </c:pt>
                <c:pt idx="2408">
                  <c:v>184.71283783783784</c:v>
                </c:pt>
                <c:pt idx="2409">
                  <c:v>184.71283783783784</c:v>
                </c:pt>
                <c:pt idx="2410">
                  <c:v>192.90540540540539</c:v>
                </c:pt>
                <c:pt idx="2411">
                  <c:v>192.90540540540539</c:v>
                </c:pt>
                <c:pt idx="2412">
                  <c:v>192.90540540540539</c:v>
                </c:pt>
                <c:pt idx="2413">
                  <c:v>192.90540540540539</c:v>
                </c:pt>
                <c:pt idx="2414">
                  <c:v>192.90540540540539</c:v>
                </c:pt>
                <c:pt idx="2415">
                  <c:v>192.90540540540539</c:v>
                </c:pt>
                <c:pt idx="2416">
                  <c:v>192.90540540540539</c:v>
                </c:pt>
                <c:pt idx="2417">
                  <c:v>192.90540540540539</c:v>
                </c:pt>
                <c:pt idx="2418">
                  <c:v>192.90540540540539</c:v>
                </c:pt>
                <c:pt idx="2419">
                  <c:v>192.90540540540539</c:v>
                </c:pt>
                <c:pt idx="2420">
                  <c:v>192.90540540540539</c:v>
                </c:pt>
                <c:pt idx="2421">
                  <c:v>192.90540540540539</c:v>
                </c:pt>
                <c:pt idx="2422">
                  <c:v>192.90540540540539</c:v>
                </c:pt>
                <c:pt idx="2423">
                  <c:v>192.90540540540539</c:v>
                </c:pt>
                <c:pt idx="2424">
                  <c:v>192.90540540540539</c:v>
                </c:pt>
                <c:pt idx="2425">
                  <c:v>192.90540540540539</c:v>
                </c:pt>
                <c:pt idx="2426">
                  <c:v>192.90540540540539</c:v>
                </c:pt>
                <c:pt idx="2427">
                  <c:v>192.90540540540539</c:v>
                </c:pt>
                <c:pt idx="2428">
                  <c:v>192.90540540540539</c:v>
                </c:pt>
                <c:pt idx="2429">
                  <c:v>192.90540540540539</c:v>
                </c:pt>
                <c:pt idx="2430">
                  <c:v>192.90540540540539</c:v>
                </c:pt>
                <c:pt idx="2431">
                  <c:v>192.90540540540539</c:v>
                </c:pt>
                <c:pt idx="2432">
                  <c:v>192.90540540540539</c:v>
                </c:pt>
                <c:pt idx="2433">
                  <c:v>192.90540540540539</c:v>
                </c:pt>
                <c:pt idx="2434">
                  <c:v>192.90540540540539</c:v>
                </c:pt>
                <c:pt idx="2435">
                  <c:v>201.77364864864865</c:v>
                </c:pt>
                <c:pt idx="2436">
                  <c:v>201.77364864864865</c:v>
                </c:pt>
                <c:pt idx="2437">
                  <c:v>201.77364864864865</c:v>
                </c:pt>
                <c:pt idx="2438">
                  <c:v>201.77364864864865</c:v>
                </c:pt>
                <c:pt idx="2439">
                  <c:v>201.77364864864865</c:v>
                </c:pt>
                <c:pt idx="2440">
                  <c:v>201.77364864864865</c:v>
                </c:pt>
                <c:pt idx="2441">
                  <c:v>201.77364864864865</c:v>
                </c:pt>
                <c:pt idx="2442">
                  <c:v>201.77364864864865</c:v>
                </c:pt>
                <c:pt idx="2443">
                  <c:v>201.77364864864865</c:v>
                </c:pt>
                <c:pt idx="2444">
                  <c:v>201.77364864864865</c:v>
                </c:pt>
                <c:pt idx="2445">
                  <c:v>201.77364864864865</c:v>
                </c:pt>
                <c:pt idx="2446">
                  <c:v>201.77364864864865</c:v>
                </c:pt>
                <c:pt idx="2447">
                  <c:v>201.77364864864865</c:v>
                </c:pt>
                <c:pt idx="2448">
                  <c:v>201.77364864864865</c:v>
                </c:pt>
                <c:pt idx="2449">
                  <c:v>201.77364864864865</c:v>
                </c:pt>
                <c:pt idx="2450">
                  <c:v>201.77364864864865</c:v>
                </c:pt>
                <c:pt idx="2451">
                  <c:v>201.77364864864865</c:v>
                </c:pt>
                <c:pt idx="2452">
                  <c:v>201.77364864864865</c:v>
                </c:pt>
                <c:pt idx="2453">
                  <c:v>201.77364864864865</c:v>
                </c:pt>
                <c:pt idx="2454">
                  <c:v>201.77364864864865</c:v>
                </c:pt>
                <c:pt idx="2455">
                  <c:v>209.45945945945948</c:v>
                </c:pt>
                <c:pt idx="2456">
                  <c:v>209.45945945945948</c:v>
                </c:pt>
                <c:pt idx="2457">
                  <c:v>209.45945945945948</c:v>
                </c:pt>
                <c:pt idx="2458">
                  <c:v>209.45945945945948</c:v>
                </c:pt>
                <c:pt idx="2459">
                  <c:v>209.45945945945948</c:v>
                </c:pt>
                <c:pt idx="2460">
                  <c:v>209.45945945945948</c:v>
                </c:pt>
                <c:pt idx="2461">
                  <c:v>209.45945945945948</c:v>
                </c:pt>
                <c:pt idx="2462">
                  <c:v>209.45945945945948</c:v>
                </c:pt>
                <c:pt idx="2463">
                  <c:v>209.45945945945948</c:v>
                </c:pt>
                <c:pt idx="2464">
                  <c:v>209.45945945945948</c:v>
                </c:pt>
                <c:pt idx="2465">
                  <c:v>209.45945945945948</c:v>
                </c:pt>
                <c:pt idx="2466">
                  <c:v>209.45945945945948</c:v>
                </c:pt>
                <c:pt idx="2467">
                  <c:v>209.45945945945948</c:v>
                </c:pt>
                <c:pt idx="2468">
                  <c:v>209.45945945945948</c:v>
                </c:pt>
                <c:pt idx="2469">
                  <c:v>209.45945945945948</c:v>
                </c:pt>
                <c:pt idx="2470">
                  <c:v>209.45945945945948</c:v>
                </c:pt>
                <c:pt idx="2471">
                  <c:v>209.45945945945948</c:v>
                </c:pt>
                <c:pt idx="2472">
                  <c:v>209.45945945945948</c:v>
                </c:pt>
                <c:pt idx="2473">
                  <c:v>209.45945945945948</c:v>
                </c:pt>
                <c:pt idx="2474">
                  <c:v>209.45945945945948</c:v>
                </c:pt>
                <c:pt idx="2475">
                  <c:v>218.75</c:v>
                </c:pt>
                <c:pt idx="2476">
                  <c:v>218.75</c:v>
                </c:pt>
                <c:pt idx="2477">
                  <c:v>218.75</c:v>
                </c:pt>
                <c:pt idx="2478">
                  <c:v>218.75</c:v>
                </c:pt>
                <c:pt idx="2479">
                  <c:v>218.75</c:v>
                </c:pt>
                <c:pt idx="2480">
                  <c:v>218.75</c:v>
                </c:pt>
                <c:pt idx="2481">
                  <c:v>218.75</c:v>
                </c:pt>
                <c:pt idx="2482">
                  <c:v>218.75</c:v>
                </c:pt>
                <c:pt idx="2483">
                  <c:v>218.75</c:v>
                </c:pt>
                <c:pt idx="2484">
                  <c:v>218.75</c:v>
                </c:pt>
                <c:pt idx="2485">
                  <c:v>218.75</c:v>
                </c:pt>
                <c:pt idx="2486">
                  <c:v>218.75</c:v>
                </c:pt>
                <c:pt idx="2487">
                  <c:v>218.75</c:v>
                </c:pt>
                <c:pt idx="2488">
                  <c:v>218.75</c:v>
                </c:pt>
                <c:pt idx="2489">
                  <c:v>218.75</c:v>
                </c:pt>
                <c:pt idx="2490">
                  <c:v>218.75</c:v>
                </c:pt>
                <c:pt idx="2491">
                  <c:v>218.75</c:v>
                </c:pt>
                <c:pt idx="2492">
                  <c:v>218.75</c:v>
                </c:pt>
                <c:pt idx="2493">
                  <c:v>218.75</c:v>
                </c:pt>
                <c:pt idx="2494">
                  <c:v>218.75</c:v>
                </c:pt>
                <c:pt idx="2495">
                  <c:v>218.75</c:v>
                </c:pt>
                <c:pt idx="2496">
                  <c:v>218.75</c:v>
                </c:pt>
                <c:pt idx="2497">
                  <c:v>218.75</c:v>
                </c:pt>
                <c:pt idx="2498">
                  <c:v>218.75</c:v>
                </c:pt>
                <c:pt idx="2499">
                  <c:v>218.75</c:v>
                </c:pt>
                <c:pt idx="2500">
                  <c:v>215.625</c:v>
                </c:pt>
                <c:pt idx="2501">
                  <c:v>215.625</c:v>
                </c:pt>
                <c:pt idx="2502">
                  <c:v>215.625</c:v>
                </c:pt>
                <c:pt idx="2503">
                  <c:v>215.625</c:v>
                </c:pt>
                <c:pt idx="2504">
                  <c:v>215.625</c:v>
                </c:pt>
                <c:pt idx="2505">
                  <c:v>215.625</c:v>
                </c:pt>
                <c:pt idx="2506">
                  <c:v>215.625</c:v>
                </c:pt>
                <c:pt idx="2507">
                  <c:v>215.625</c:v>
                </c:pt>
                <c:pt idx="2508">
                  <c:v>215.625</c:v>
                </c:pt>
                <c:pt idx="2509">
                  <c:v>215.625</c:v>
                </c:pt>
                <c:pt idx="2510">
                  <c:v>215.625</c:v>
                </c:pt>
                <c:pt idx="2511">
                  <c:v>215.625</c:v>
                </c:pt>
                <c:pt idx="2512">
                  <c:v>215.625</c:v>
                </c:pt>
                <c:pt idx="2513">
                  <c:v>215.625</c:v>
                </c:pt>
                <c:pt idx="2514">
                  <c:v>215.625</c:v>
                </c:pt>
                <c:pt idx="2515">
                  <c:v>215.625</c:v>
                </c:pt>
                <c:pt idx="2516">
                  <c:v>215.625</c:v>
                </c:pt>
                <c:pt idx="2517">
                  <c:v>215.625</c:v>
                </c:pt>
                <c:pt idx="2518">
                  <c:v>215.625</c:v>
                </c:pt>
                <c:pt idx="2519">
                  <c:v>215.625</c:v>
                </c:pt>
                <c:pt idx="2520">
                  <c:v>226.94256756756755</c:v>
                </c:pt>
                <c:pt idx="2521">
                  <c:v>226.94256756756755</c:v>
                </c:pt>
                <c:pt idx="2522">
                  <c:v>226.94256756756755</c:v>
                </c:pt>
                <c:pt idx="2523">
                  <c:v>226.94256756756755</c:v>
                </c:pt>
                <c:pt idx="2524">
                  <c:v>226.94256756756755</c:v>
                </c:pt>
                <c:pt idx="2525">
                  <c:v>226.94256756756755</c:v>
                </c:pt>
                <c:pt idx="2526">
                  <c:v>226.94256756756755</c:v>
                </c:pt>
                <c:pt idx="2527">
                  <c:v>226.94256756756755</c:v>
                </c:pt>
                <c:pt idx="2528">
                  <c:v>226.94256756756755</c:v>
                </c:pt>
                <c:pt idx="2529">
                  <c:v>226.94256756756755</c:v>
                </c:pt>
                <c:pt idx="2530">
                  <c:v>226.94256756756755</c:v>
                </c:pt>
                <c:pt idx="2531">
                  <c:v>226.94256756756755</c:v>
                </c:pt>
                <c:pt idx="2532">
                  <c:v>226.94256756756755</c:v>
                </c:pt>
                <c:pt idx="2533">
                  <c:v>226.94256756756755</c:v>
                </c:pt>
                <c:pt idx="2534">
                  <c:v>226.94256756756755</c:v>
                </c:pt>
                <c:pt idx="2535">
                  <c:v>226.94256756756755</c:v>
                </c:pt>
                <c:pt idx="2536">
                  <c:v>226.94256756756755</c:v>
                </c:pt>
                <c:pt idx="2537">
                  <c:v>226.94256756756755</c:v>
                </c:pt>
                <c:pt idx="2538">
                  <c:v>226.94256756756755</c:v>
                </c:pt>
                <c:pt idx="2539">
                  <c:v>226.94256756756755</c:v>
                </c:pt>
                <c:pt idx="2540">
                  <c:v>227.44932432432435</c:v>
                </c:pt>
                <c:pt idx="2541">
                  <c:v>227.44932432432435</c:v>
                </c:pt>
                <c:pt idx="2542">
                  <c:v>227.44932432432435</c:v>
                </c:pt>
                <c:pt idx="2543">
                  <c:v>227.44932432432435</c:v>
                </c:pt>
                <c:pt idx="2544">
                  <c:v>227.44932432432435</c:v>
                </c:pt>
                <c:pt idx="2545">
                  <c:v>227.44932432432435</c:v>
                </c:pt>
                <c:pt idx="2546">
                  <c:v>227.44932432432435</c:v>
                </c:pt>
                <c:pt idx="2547">
                  <c:v>227.44932432432435</c:v>
                </c:pt>
                <c:pt idx="2548">
                  <c:v>227.44932432432435</c:v>
                </c:pt>
                <c:pt idx="2549">
                  <c:v>227.44932432432435</c:v>
                </c:pt>
                <c:pt idx="2550">
                  <c:v>227.44932432432435</c:v>
                </c:pt>
                <c:pt idx="2551">
                  <c:v>227.44932432432435</c:v>
                </c:pt>
                <c:pt idx="2552">
                  <c:v>227.44932432432435</c:v>
                </c:pt>
                <c:pt idx="2553">
                  <c:v>227.44932432432435</c:v>
                </c:pt>
                <c:pt idx="2554">
                  <c:v>227.44932432432435</c:v>
                </c:pt>
                <c:pt idx="2555">
                  <c:v>227.44932432432435</c:v>
                </c:pt>
                <c:pt idx="2556">
                  <c:v>227.44932432432435</c:v>
                </c:pt>
                <c:pt idx="2557">
                  <c:v>227.44932432432435</c:v>
                </c:pt>
                <c:pt idx="2558">
                  <c:v>227.44932432432435</c:v>
                </c:pt>
                <c:pt idx="2559">
                  <c:v>227.44932432432435</c:v>
                </c:pt>
                <c:pt idx="2560">
                  <c:v>227.44932432432435</c:v>
                </c:pt>
                <c:pt idx="2561">
                  <c:v>227.44932432432435</c:v>
                </c:pt>
                <c:pt idx="2562">
                  <c:v>227.44932432432435</c:v>
                </c:pt>
                <c:pt idx="2563">
                  <c:v>227.44932432432435</c:v>
                </c:pt>
                <c:pt idx="2564">
                  <c:v>227.44932432432435</c:v>
                </c:pt>
                <c:pt idx="2565">
                  <c:v>233.61486486486487</c:v>
                </c:pt>
                <c:pt idx="2566">
                  <c:v>233.61486486486487</c:v>
                </c:pt>
                <c:pt idx="2567">
                  <c:v>233.61486486486487</c:v>
                </c:pt>
                <c:pt idx="2568">
                  <c:v>233.61486486486487</c:v>
                </c:pt>
                <c:pt idx="2569">
                  <c:v>233.61486486486487</c:v>
                </c:pt>
                <c:pt idx="2570">
                  <c:v>233.61486486486487</c:v>
                </c:pt>
                <c:pt idx="2571">
                  <c:v>233.61486486486487</c:v>
                </c:pt>
                <c:pt idx="2572">
                  <c:v>233.61486486486487</c:v>
                </c:pt>
                <c:pt idx="2573">
                  <c:v>233.61486486486487</c:v>
                </c:pt>
                <c:pt idx="2574">
                  <c:v>233.61486486486487</c:v>
                </c:pt>
                <c:pt idx="2575">
                  <c:v>233.61486486486487</c:v>
                </c:pt>
                <c:pt idx="2576">
                  <c:v>233.61486486486487</c:v>
                </c:pt>
                <c:pt idx="2577">
                  <c:v>233.61486486486487</c:v>
                </c:pt>
                <c:pt idx="2578">
                  <c:v>233.61486486486487</c:v>
                </c:pt>
                <c:pt idx="2579">
                  <c:v>233.61486486486487</c:v>
                </c:pt>
                <c:pt idx="2580">
                  <c:v>233.61486486486487</c:v>
                </c:pt>
                <c:pt idx="2581">
                  <c:v>233.61486486486487</c:v>
                </c:pt>
                <c:pt idx="2582">
                  <c:v>233.61486486486487</c:v>
                </c:pt>
                <c:pt idx="2583">
                  <c:v>233.61486486486487</c:v>
                </c:pt>
                <c:pt idx="2584">
                  <c:v>233.61486486486487</c:v>
                </c:pt>
                <c:pt idx="2585">
                  <c:v>241.30067567567571</c:v>
                </c:pt>
                <c:pt idx="2586">
                  <c:v>241.30067567567571</c:v>
                </c:pt>
                <c:pt idx="2587">
                  <c:v>241.30067567567571</c:v>
                </c:pt>
                <c:pt idx="2588">
                  <c:v>241.30067567567571</c:v>
                </c:pt>
                <c:pt idx="2589">
                  <c:v>241.30067567567571</c:v>
                </c:pt>
                <c:pt idx="2590">
                  <c:v>241.30067567567571</c:v>
                </c:pt>
                <c:pt idx="2591">
                  <c:v>241.30067567567571</c:v>
                </c:pt>
                <c:pt idx="2592">
                  <c:v>241.30067567567571</c:v>
                </c:pt>
                <c:pt idx="2593">
                  <c:v>241.30067567567571</c:v>
                </c:pt>
                <c:pt idx="2594">
                  <c:v>241.30067567567571</c:v>
                </c:pt>
                <c:pt idx="2595">
                  <c:v>241.30067567567571</c:v>
                </c:pt>
                <c:pt idx="2596">
                  <c:v>241.30067567567571</c:v>
                </c:pt>
                <c:pt idx="2597">
                  <c:v>241.30067567567571</c:v>
                </c:pt>
                <c:pt idx="2598">
                  <c:v>241.30067567567571</c:v>
                </c:pt>
                <c:pt idx="2599">
                  <c:v>241.30067567567571</c:v>
                </c:pt>
                <c:pt idx="2600">
                  <c:v>241.30067567567571</c:v>
                </c:pt>
                <c:pt idx="2601">
                  <c:v>241.30067567567571</c:v>
                </c:pt>
                <c:pt idx="2602">
                  <c:v>241.30067567567571</c:v>
                </c:pt>
                <c:pt idx="2603">
                  <c:v>241.30067567567571</c:v>
                </c:pt>
                <c:pt idx="2604">
                  <c:v>241.30067567567571</c:v>
                </c:pt>
                <c:pt idx="2605">
                  <c:v>241.30067567567571</c:v>
                </c:pt>
                <c:pt idx="2606">
                  <c:v>241.30067567567571</c:v>
                </c:pt>
                <c:pt idx="2607">
                  <c:v>241.30067567567571</c:v>
                </c:pt>
                <c:pt idx="2608">
                  <c:v>241.30067567567571</c:v>
                </c:pt>
                <c:pt idx="2609">
                  <c:v>241.30067567567571</c:v>
                </c:pt>
                <c:pt idx="2610">
                  <c:v>250.76013513513513</c:v>
                </c:pt>
                <c:pt idx="2611">
                  <c:v>250.76013513513513</c:v>
                </c:pt>
                <c:pt idx="2612">
                  <c:v>250.76013513513513</c:v>
                </c:pt>
                <c:pt idx="2613">
                  <c:v>250.76013513513513</c:v>
                </c:pt>
                <c:pt idx="2614">
                  <c:v>250.76013513513513</c:v>
                </c:pt>
                <c:pt idx="2615">
                  <c:v>250.76013513513513</c:v>
                </c:pt>
                <c:pt idx="2616">
                  <c:v>250.76013513513513</c:v>
                </c:pt>
                <c:pt idx="2617">
                  <c:v>250.76013513513513</c:v>
                </c:pt>
                <c:pt idx="2618">
                  <c:v>250.76013513513513</c:v>
                </c:pt>
                <c:pt idx="2619">
                  <c:v>250.76013513513513</c:v>
                </c:pt>
                <c:pt idx="2620">
                  <c:v>250.76013513513513</c:v>
                </c:pt>
                <c:pt idx="2621">
                  <c:v>250.76013513513513</c:v>
                </c:pt>
                <c:pt idx="2622">
                  <c:v>250.76013513513513</c:v>
                </c:pt>
                <c:pt idx="2623">
                  <c:v>250.76013513513513</c:v>
                </c:pt>
                <c:pt idx="2624">
                  <c:v>250.76013513513513</c:v>
                </c:pt>
                <c:pt idx="2625">
                  <c:v>250.76013513513513</c:v>
                </c:pt>
                <c:pt idx="2626">
                  <c:v>250.76013513513513</c:v>
                </c:pt>
                <c:pt idx="2627">
                  <c:v>250.76013513513513</c:v>
                </c:pt>
                <c:pt idx="2628">
                  <c:v>250.76013513513513</c:v>
                </c:pt>
                <c:pt idx="2629">
                  <c:v>250.76013513513513</c:v>
                </c:pt>
                <c:pt idx="2630">
                  <c:v>251.18243243243245</c:v>
                </c:pt>
                <c:pt idx="2631">
                  <c:v>251.18243243243245</c:v>
                </c:pt>
                <c:pt idx="2632">
                  <c:v>251.18243243243245</c:v>
                </c:pt>
                <c:pt idx="2633">
                  <c:v>251.18243243243245</c:v>
                </c:pt>
                <c:pt idx="2634">
                  <c:v>251.18243243243245</c:v>
                </c:pt>
                <c:pt idx="2635">
                  <c:v>251.18243243243245</c:v>
                </c:pt>
                <c:pt idx="2636">
                  <c:v>251.18243243243245</c:v>
                </c:pt>
                <c:pt idx="2637">
                  <c:v>251.18243243243245</c:v>
                </c:pt>
                <c:pt idx="2638">
                  <c:v>251.18243243243245</c:v>
                </c:pt>
                <c:pt idx="2639">
                  <c:v>251.18243243243245</c:v>
                </c:pt>
                <c:pt idx="2640">
                  <c:v>251.18243243243245</c:v>
                </c:pt>
                <c:pt idx="2641">
                  <c:v>251.18243243243245</c:v>
                </c:pt>
                <c:pt idx="2642">
                  <c:v>251.18243243243245</c:v>
                </c:pt>
                <c:pt idx="2643">
                  <c:v>251.18243243243245</c:v>
                </c:pt>
                <c:pt idx="2644">
                  <c:v>251.18243243243245</c:v>
                </c:pt>
                <c:pt idx="2645">
                  <c:v>251.18243243243245</c:v>
                </c:pt>
                <c:pt idx="2646">
                  <c:v>251.18243243243245</c:v>
                </c:pt>
                <c:pt idx="2647">
                  <c:v>251.18243243243245</c:v>
                </c:pt>
                <c:pt idx="2648">
                  <c:v>251.18243243243245</c:v>
                </c:pt>
                <c:pt idx="2649">
                  <c:v>251.18243243243245</c:v>
                </c:pt>
                <c:pt idx="2650">
                  <c:v>255.82770270270271</c:v>
                </c:pt>
                <c:pt idx="2651">
                  <c:v>255.82770270270271</c:v>
                </c:pt>
                <c:pt idx="2652">
                  <c:v>255.82770270270271</c:v>
                </c:pt>
                <c:pt idx="2653">
                  <c:v>255.82770270270271</c:v>
                </c:pt>
                <c:pt idx="2654">
                  <c:v>255.82770270270271</c:v>
                </c:pt>
                <c:pt idx="2655">
                  <c:v>255.82770270270271</c:v>
                </c:pt>
                <c:pt idx="2656">
                  <c:v>255.82770270270271</c:v>
                </c:pt>
                <c:pt idx="2657">
                  <c:v>255.82770270270271</c:v>
                </c:pt>
                <c:pt idx="2658">
                  <c:v>255.82770270270271</c:v>
                </c:pt>
                <c:pt idx="2659">
                  <c:v>255.82770270270271</c:v>
                </c:pt>
                <c:pt idx="2660">
                  <c:v>255.82770270270271</c:v>
                </c:pt>
                <c:pt idx="2661">
                  <c:v>255.82770270270271</c:v>
                </c:pt>
                <c:pt idx="2662">
                  <c:v>255.82770270270271</c:v>
                </c:pt>
                <c:pt idx="2663">
                  <c:v>255.82770270270271</c:v>
                </c:pt>
                <c:pt idx="2664">
                  <c:v>255.82770270270271</c:v>
                </c:pt>
                <c:pt idx="2665">
                  <c:v>255.82770270270271</c:v>
                </c:pt>
                <c:pt idx="2666">
                  <c:v>255.82770270270271</c:v>
                </c:pt>
                <c:pt idx="2667">
                  <c:v>255.82770270270271</c:v>
                </c:pt>
                <c:pt idx="2668">
                  <c:v>255.82770270270271</c:v>
                </c:pt>
                <c:pt idx="2669">
                  <c:v>255.82770270270271</c:v>
                </c:pt>
                <c:pt idx="2670">
                  <c:v>258.7837837837838</c:v>
                </c:pt>
                <c:pt idx="2671">
                  <c:v>258.7837837837838</c:v>
                </c:pt>
                <c:pt idx="2672">
                  <c:v>258.7837837837838</c:v>
                </c:pt>
                <c:pt idx="2673">
                  <c:v>258.7837837837838</c:v>
                </c:pt>
                <c:pt idx="2674">
                  <c:v>258.7837837837838</c:v>
                </c:pt>
                <c:pt idx="2675">
                  <c:v>258.7837837837838</c:v>
                </c:pt>
                <c:pt idx="2676">
                  <c:v>258.7837837837838</c:v>
                </c:pt>
                <c:pt idx="2677">
                  <c:v>258.7837837837838</c:v>
                </c:pt>
                <c:pt idx="2678">
                  <c:v>258.7837837837838</c:v>
                </c:pt>
                <c:pt idx="2679">
                  <c:v>258.7837837837838</c:v>
                </c:pt>
                <c:pt idx="2680">
                  <c:v>258.7837837837838</c:v>
                </c:pt>
                <c:pt idx="2681">
                  <c:v>258.7837837837838</c:v>
                </c:pt>
                <c:pt idx="2682">
                  <c:v>258.7837837837838</c:v>
                </c:pt>
                <c:pt idx="2683">
                  <c:v>258.7837837837838</c:v>
                </c:pt>
                <c:pt idx="2684">
                  <c:v>258.7837837837838</c:v>
                </c:pt>
                <c:pt idx="2685">
                  <c:v>258.7837837837838</c:v>
                </c:pt>
                <c:pt idx="2686">
                  <c:v>258.7837837837838</c:v>
                </c:pt>
                <c:pt idx="2687">
                  <c:v>258.7837837837838</c:v>
                </c:pt>
                <c:pt idx="2688">
                  <c:v>258.7837837837838</c:v>
                </c:pt>
                <c:pt idx="2689">
                  <c:v>258.7837837837838</c:v>
                </c:pt>
                <c:pt idx="2690">
                  <c:v>258.7837837837838</c:v>
                </c:pt>
                <c:pt idx="2691">
                  <c:v>258.7837837837838</c:v>
                </c:pt>
                <c:pt idx="2692">
                  <c:v>258.7837837837838</c:v>
                </c:pt>
                <c:pt idx="2693">
                  <c:v>258.7837837837838</c:v>
                </c:pt>
                <c:pt idx="2694">
                  <c:v>258.7837837837838</c:v>
                </c:pt>
                <c:pt idx="2695">
                  <c:v>254.39189189189187</c:v>
                </c:pt>
                <c:pt idx="2696">
                  <c:v>254.39189189189187</c:v>
                </c:pt>
                <c:pt idx="2697">
                  <c:v>254.39189189189187</c:v>
                </c:pt>
                <c:pt idx="2698">
                  <c:v>254.39189189189187</c:v>
                </c:pt>
                <c:pt idx="2699">
                  <c:v>254.39189189189187</c:v>
                </c:pt>
                <c:pt idx="2700">
                  <c:v>254.39189189189187</c:v>
                </c:pt>
                <c:pt idx="2701">
                  <c:v>254.39189189189187</c:v>
                </c:pt>
                <c:pt idx="2702">
                  <c:v>254.39189189189187</c:v>
                </c:pt>
                <c:pt idx="2703">
                  <c:v>254.39189189189187</c:v>
                </c:pt>
                <c:pt idx="2704">
                  <c:v>254.39189189189187</c:v>
                </c:pt>
                <c:pt idx="2705">
                  <c:v>254.39189189189187</c:v>
                </c:pt>
                <c:pt idx="2706">
                  <c:v>254.39189189189187</c:v>
                </c:pt>
                <c:pt idx="2707">
                  <c:v>254.39189189189187</c:v>
                </c:pt>
                <c:pt idx="2708">
                  <c:v>254.39189189189187</c:v>
                </c:pt>
                <c:pt idx="2709">
                  <c:v>254.39189189189187</c:v>
                </c:pt>
                <c:pt idx="2710">
                  <c:v>254.39189189189187</c:v>
                </c:pt>
                <c:pt idx="2711">
                  <c:v>254.39189189189187</c:v>
                </c:pt>
                <c:pt idx="2712">
                  <c:v>254.39189189189187</c:v>
                </c:pt>
                <c:pt idx="2713">
                  <c:v>254.39189189189187</c:v>
                </c:pt>
                <c:pt idx="2714">
                  <c:v>254.39189189189187</c:v>
                </c:pt>
                <c:pt idx="2715">
                  <c:v>257.51689189189187</c:v>
                </c:pt>
                <c:pt idx="2716">
                  <c:v>257.51689189189187</c:v>
                </c:pt>
                <c:pt idx="2717">
                  <c:v>257.51689189189187</c:v>
                </c:pt>
                <c:pt idx="2718">
                  <c:v>257.51689189189187</c:v>
                </c:pt>
                <c:pt idx="2719">
                  <c:v>257.51689189189187</c:v>
                </c:pt>
                <c:pt idx="2720">
                  <c:v>257.51689189189187</c:v>
                </c:pt>
                <c:pt idx="2721">
                  <c:v>257.51689189189187</c:v>
                </c:pt>
                <c:pt idx="2722">
                  <c:v>257.51689189189187</c:v>
                </c:pt>
                <c:pt idx="2723">
                  <c:v>257.51689189189187</c:v>
                </c:pt>
                <c:pt idx="2724">
                  <c:v>257.51689189189187</c:v>
                </c:pt>
                <c:pt idx="2725">
                  <c:v>257.51689189189187</c:v>
                </c:pt>
                <c:pt idx="2726">
                  <c:v>257.51689189189187</c:v>
                </c:pt>
                <c:pt idx="2727">
                  <c:v>257.51689189189187</c:v>
                </c:pt>
                <c:pt idx="2728">
                  <c:v>257.51689189189187</c:v>
                </c:pt>
                <c:pt idx="2729">
                  <c:v>257.51689189189187</c:v>
                </c:pt>
                <c:pt idx="2730">
                  <c:v>257.51689189189187</c:v>
                </c:pt>
                <c:pt idx="2731">
                  <c:v>257.51689189189187</c:v>
                </c:pt>
                <c:pt idx="2732">
                  <c:v>257.51689189189187</c:v>
                </c:pt>
                <c:pt idx="2733">
                  <c:v>257.51689189189187</c:v>
                </c:pt>
                <c:pt idx="2734">
                  <c:v>257.51689189189187</c:v>
                </c:pt>
                <c:pt idx="2735">
                  <c:v>259.62837837837839</c:v>
                </c:pt>
                <c:pt idx="2736">
                  <c:v>259.62837837837839</c:v>
                </c:pt>
                <c:pt idx="2737">
                  <c:v>259.62837837837839</c:v>
                </c:pt>
                <c:pt idx="2738">
                  <c:v>259.62837837837839</c:v>
                </c:pt>
                <c:pt idx="2739">
                  <c:v>259.62837837837839</c:v>
                </c:pt>
                <c:pt idx="2740">
                  <c:v>259.62837837837839</c:v>
                </c:pt>
                <c:pt idx="2741">
                  <c:v>259.62837837837839</c:v>
                </c:pt>
                <c:pt idx="2742">
                  <c:v>259.62837837837839</c:v>
                </c:pt>
                <c:pt idx="2743">
                  <c:v>259.62837837837839</c:v>
                </c:pt>
                <c:pt idx="2744">
                  <c:v>259.62837837837839</c:v>
                </c:pt>
                <c:pt idx="2745">
                  <c:v>259.62837837837839</c:v>
                </c:pt>
                <c:pt idx="2746">
                  <c:v>259.62837837837839</c:v>
                </c:pt>
                <c:pt idx="2747">
                  <c:v>259.62837837837839</c:v>
                </c:pt>
                <c:pt idx="2748">
                  <c:v>259.62837837837839</c:v>
                </c:pt>
                <c:pt idx="2749">
                  <c:v>259.62837837837839</c:v>
                </c:pt>
                <c:pt idx="2750">
                  <c:v>259.62837837837839</c:v>
                </c:pt>
                <c:pt idx="2751">
                  <c:v>259.62837837837839</c:v>
                </c:pt>
                <c:pt idx="2752">
                  <c:v>259.62837837837839</c:v>
                </c:pt>
                <c:pt idx="2753">
                  <c:v>259.62837837837839</c:v>
                </c:pt>
                <c:pt idx="2754">
                  <c:v>259.62837837837839</c:v>
                </c:pt>
                <c:pt idx="2755">
                  <c:v>259.62837837837839</c:v>
                </c:pt>
                <c:pt idx="2756">
                  <c:v>259.62837837837839</c:v>
                </c:pt>
                <c:pt idx="2757">
                  <c:v>259.62837837837839</c:v>
                </c:pt>
                <c:pt idx="2758">
                  <c:v>259.62837837837839</c:v>
                </c:pt>
                <c:pt idx="2759">
                  <c:v>259.62837837837839</c:v>
                </c:pt>
                <c:pt idx="2760">
                  <c:v>263.68243243243245</c:v>
                </c:pt>
                <c:pt idx="2761">
                  <c:v>263.68243243243245</c:v>
                </c:pt>
                <c:pt idx="2762">
                  <c:v>263.68243243243245</c:v>
                </c:pt>
                <c:pt idx="2763">
                  <c:v>263.68243243243245</c:v>
                </c:pt>
                <c:pt idx="2764">
                  <c:v>263.68243243243245</c:v>
                </c:pt>
                <c:pt idx="2765">
                  <c:v>263.68243243243245</c:v>
                </c:pt>
                <c:pt idx="2766">
                  <c:v>263.68243243243245</c:v>
                </c:pt>
                <c:pt idx="2767">
                  <c:v>263.68243243243245</c:v>
                </c:pt>
                <c:pt idx="2768">
                  <c:v>263.68243243243245</c:v>
                </c:pt>
                <c:pt idx="2769">
                  <c:v>263.68243243243245</c:v>
                </c:pt>
                <c:pt idx="2770">
                  <c:v>263.68243243243245</c:v>
                </c:pt>
                <c:pt idx="2771">
                  <c:v>263.68243243243245</c:v>
                </c:pt>
                <c:pt idx="2772">
                  <c:v>263.68243243243245</c:v>
                </c:pt>
                <c:pt idx="2773">
                  <c:v>263.68243243243245</c:v>
                </c:pt>
                <c:pt idx="2774">
                  <c:v>263.68243243243245</c:v>
                </c:pt>
                <c:pt idx="2775">
                  <c:v>263.68243243243245</c:v>
                </c:pt>
                <c:pt idx="2776">
                  <c:v>263.68243243243245</c:v>
                </c:pt>
                <c:pt idx="2777">
                  <c:v>263.68243243243245</c:v>
                </c:pt>
                <c:pt idx="2778">
                  <c:v>263.68243243243245</c:v>
                </c:pt>
                <c:pt idx="2779">
                  <c:v>263.68243243243245</c:v>
                </c:pt>
                <c:pt idx="2780">
                  <c:v>271.36824324324323</c:v>
                </c:pt>
                <c:pt idx="2781">
                  <c:v>271.36824324324323</c:v>
                </c:pt>
                <c:pt idx="2782">
                  <c:v>271.36824324324323</c:v>
                </c:pt>
                <c:pt idx="2783">
                  <c:v>271.36824324324323</c:v>
                </c:pt>
                <c:pt idx="2784">
                  <c:v>271.36824324324323</c:v>
                </c:pt>
                <c:pt idx="2785">
                  <c:v>271.36824324324323</c:v>
                </c:pt>
                <c:pt idx="2786">
                  <c:v>271.36824324324323</c:v>
                </c:pt>
                <c:pt idx="2787">
                  <c:v>271.36824324324323</c:v>
                </c:pt>
                <c:pt idx="2788">
                  <c:v>271.36824324324323</c:v>
                </c:pt>
                <c:pt idx="2789">
                  <c:v>271.36824324324323</c:v>
                </c:pt>
                <c:pt idx="2790">
                  <c:v>271.36824324324323</c:v>
                </c:pt>
                <c:pt idx="2791">
                  <c:v>271.36824324324323</c:v>
                </c:pt>
                <c:pt idx="2792">
                  <c:v>271.36824324324323</c:v>
                </c:pt>
                <c:pt idx="2793">
                  <c:v>271.36824324324323</c:v>
                </c:pt>
                <c:pt idx="2794">
                  <c:v>271.36824324324323</c:v>
                </c:pt>
                <c:pt idx="2795">
                  <c:v>271.36824324324323</c:v>
                </c:pt>
                <c:pt idx="2796">
                  <c:v>271.36824324324323</c:v>
                </c:pt>
                <c:pt idx="2797">
                  <c:v>271.36824324324323</c:v>
                </c:pt>
                <c:pt idx="2798">
                  <c:v>271.36824324324323</c:v>
                </c:pt>
                <c:pt idx="2799">
                  <c:v>271.36824324324323</c:v>
                </c:pt>
                <c:pt idx="2800">
                  <c:v>271.36824324324323</c:v>
                </c:pt>
                <c:pt idx="2801">
                  <c:v>271.36824324324323</c:v>
                </c:pt>
                <c:pt idx="2802">
                  <c:v>271.36824324324323</c:v>
                </c:pt>
                <c:pt idx="2803">
                  <c:v>271.36824324324323</c:v>
                </c:pt>
                <c:pt idx="2804">
                  <c:v>271.36824324324323</c:v>
                </c:pt>
                <c:pt idx="2805">
                  <c:v>268.15878378378375</c:v>
                </c:pt>
                <c:pt idx="2806">
                  <c:v>268.15878378378375</c:v>
                </c:pt>
                <c:pt idx="2807">
                  <c:v>268.15878378378375</c:v>
                </c:pt>
                <c:pt idx="2808">
                  <c:v>268.15878378378375</c:v>
                </c:pt>
                <c:pt idx="2809">
                  <c:v>268.15878378378375</c:v>
                </c:pt>
                <c:pt idx="2810">
                  <c:v>268.15878378378375</c:v>
                </c:pt>
                <c:pt idx="2811">
                  <c:v>268.15878378378375</c:v>
                </c:pt>
                <c:pt idx="2812">
                  <c:v>268.15878378378375</c:v>
                </c:pt>
                <c:pt idx="2813">
                  <c:v>268.15878378378375</c:v>
                </c:pt>
                <c:pt idx="2814">
                  <c:v>268.15878378378375</c:v>
                </c:pt>
                <c:pt idx="2815">
                  <c:v>268.15878378378375</c:v>
                </c:pt>
                <c:pt idx="2816">
                  <c:v>268.15878378378375</c:v>
                </c:pt>
                <c:pt idx="2817">
                  <c:v>268.15878378378375</c:v>
                </c:pt>
                <c:pt idx="2818">
                  <c:v>268.15878378378375</c:v>
                </c:pt>
                <c:pt idx="2819">
                  <c:v>268.15878378378375</c:v>
                </c:pt>
                <c:pt idx="2820">
                  <c:v>268.15878378378375</c:v>
                </c:pt>
                <c:pt idx="2821">
                  <c:v>268.15878378378375</c:v>
                </c:pt>
                <c:pt idx="2822">
                  <c:v>268.15878378378375</c:v>
                </c:pt>
                <c:pt idx="2823">
                  <c:v>268.15878378378375</c:v>
                </c:pt>
                <c:pt idx="2824">
                  <c:v>268.15878378378375</c:v>
                </c:pt>
                <c:pt idx="2825">
                  <c:v>274.74662162162161</c:v>
                </c:pt>
                <c:pt idx="2826">
                  <c:v>274.74662162162161</c:v>
                </c:pt>
                <c:pt idx="2827">
                  <c:v>274.74662162162161</c:v>
                </c:pt>
                <c:pt idx="2828">
                  <c:v>274.74662162162161</c:v>
                </c:pt>
                <c:pt idx="2829">
                  <c:v>274.74662162162161</c:v>
                </c:pt>
                <c:pt idx="2830">
                  <c:v>274.74662162162161</c:v>
                </c:pt>
                <c:pt idx="2831">
                  <c:v>274.74662162162161</c:v>
                </c:pt>
                <c:pt idx="2832">
                  <c:v>274.74662162162161</c:v>
                </c:pt>
                <c:pt idx="2833">
                  <c:v>274.74662162162161</c:v>
                </c:pt>
                <c:pt idx="2834">
                  <c:v>274.74662162162161</c:v>
                </c:pt>
                <c:pt idx="2835">
                  <c:v>274.74662162162161</c:v>
                </c:pt>
                <c:pt idx="2836">
                  <c:v>274.74662162162161</c:v>
                </c:pt>
                <c:pt idx="2837">
                  <c:v>274.74662162162161</c:v>
                </c:pt>
                <c:pt idx="2838">
                  <c:v>274.74662162162161</c:v>
                </c:pt>
                <c:pt idx="2839">
                  <c:v>274.74662162162161</c:v>
                </c:pt>
                <c:pt idx="2840">
                  <c:v>274.74662162162161</c:v>
                </c:pt>
                <c:pt idx="2841">
                  <c:v>274.74662162162161</c:v>
                </c:pt>
                <c:pt idx="2842">
                  <c:v>274.74662162162161</c:v>
                </c:pt>
                <c:pt idx="2843">
                  <c:v>274.74662162162161</c:v>
                </c:pt>
                <c:pt idx="2844">
                  <c:v>274.74662162162161</c:v>
                </c:pt>
                <c:pt idx="2845">
                  <c:v>279.30743243243245</c:v>
                </c:pt>
                <c:pt idx="2846">
                  <c:v>279.30743243243245</c:v>
                </c:pt>
                <c:pt idx="2847">
                  <c:v>279.30743243243245</c:v>
                </c:pt>
                <c:pt idx="2848">
                  <c:v>279.30743243243245</c:v>
                </c:pt>
                <c:pt idx="2849">
                  <c:v>279.30743243243245</c:v>
                </c:pt>
                <c:pt idx="2850">
                  <c:v>279.30743243243245</c:v>
                </c:pt>
                <c:pt idx="2851">
                  <c:v>279.30743243243245</c:v>
                </c:pt>
                <c:pt idx="2852">
                  <c:v>279.30743243243245</c:v>
                </c:pt>
                <c:pt idx="2853">
                  <c:v>279.30743243243245</c:v>
                </c:pt>
                <c:pt idx="2854">
                  <c:v>279.30743243243245</c:v>
                </c:pt>
                <c:pt idx="2855">
                  <c:v>279.30743243243245</c:v>
                </c:pt>
                <c:pt idx="2856">
                  <c:v>279.30743243243245</c:v>
                </c:pt>
                <c:pt idx="2857">
                  <c:v>279.30743243243245</c:v>
                </c:pt>
                <c:pt idx="2858">
                  <c:v>279.30743243243245</c:v>
                </c:pt>
                <c:pt idx="2859">
                  <c:v>279.30743243243245</c:v>
                </c:pt>
                <c:pt idx="2860">
                  <c:v>279.30743243243245</c:v>
                </c:pt>
                <c:pt idx="2861">
                  <c:v>279.30743243243245</c:v>
                </c:pt>
                <c:pt idx="2862">
                  <c:v>279.30743243243245</c:v>
                </c:pt>
                <c:pt idx="2863">
                  <c:v>279.30743243243245</c:v>
                </c:pt>
                <c:pt idx="2864">
                  <c:v>279.30743243243245</c:v>
                </c:pt>
                <c:pt idx="2865">
                  <c:v>279.30743243243245</c:v>
                </c:pt>
                <c:pt idx="2866">
                  <c:v>279.30743243243245</c:v>
                </c:pt>
                <c:pt idx="2867">
                  <c:v>279.30743243243245</c:v>
                </c:pt>
                <c:pt idx="2868">
                  <c:v>279.30743243243245</c:v>
                </c:pt>
                <c:pt idx="2869">
                  <c:v>279.30743243243245</c:v>
                </c:pt>
                <c:pt idx="2870">
                  <c:v>286.57094594594594</c:v>
                </c:pt>
                <c:pt idx="2871">
                  <c:v>286.57094594594594</c:v>
                </c:pt>
                <c:pt idx="2872">
                  <c:v>286.57094594594594</c:v>
                </c:pt>
                <c:pt idx="2873">
                  <c:v>286.57094594594594</c:v>
                </c:pt>
                <c:pt idx="2874">
                  <c:v>286.57094594594594</c:v>
                </c:pt>
                <c:pt idx="2875">
                  <c:v>282.51689189189193</c:v>
                </c:pt>
                <c:pt idx="2876">
                  <c:v>282.51689189189193</c:v>
                </c:pt>
                <c:pt idx="2877">
                  <c:v>282.51689189189193</c:v>
                </c:pt>
                <c:pt idx="2878">
                  <c:v>282.51689189189193</c:v>
                </c:pt>
                <c:pt idx="2879">
                  <c:v>282.51689189189193</c:v>
                </c:pt>
                <c:pt idx="2880">
                  <c:v>283.86824324324328</c:v>
                </c:pt>
                <c:pt idx="2881">
                  <c:v>283.86824324324328</c:v>
                </c:pt>
                <c:pt idx="2882">
                  <c:v>283.86824324324328</c:v>
                </c:pt>
                <c:pt idx="2883">
                  <c:v>283.86824324324328</c:v>
                </c:pt>
                <c:pt idx="2884">
                  <c:v>283.86824324324328</c:v>
                </c:pt>
                <c:pt idx="2885">
                  <c:v>276.94256756756761</c:v>
                </c:pt>
                <c:pt idx="2886">
                  <c:v>276.94256756756761</c:v>
                </c:pt>
                <c:pt idx="2887">
                  <c:v>276.94256756756761</c:v>
                </c:pt>
                <c:pt idx="2888">
                  <c:v>276.94256756756761</c:v>
                </c:pt>
                <c:pt idx="2889">
                  <c:v>276.94256756756761</c:v>
                </c:pt>
                <c:pt idx="2890">
                  <c:v>281.84121621621625</c:v>
                </c:pt>
                <c:pt idx="2891">
                  <c:v>281.84121621621625</c:v>
                </c:pt>
                <c:pt idx="2892">
                  <c:v>281.84121621621625</c:v>
                </c:pt>
                <c:pt idx="2893">
                  <c:v>281.84121621621625</c:v>
                </c:pt>
                <c:pt idx="2894">
                  <c:v>281.84121621621625</c:v>
                </c:pt>
                <c:pt idx="2895">
                  <c:v>280.57432432432432</c:v>
                </c:pt>
                <c:pt idx="2896">
                  <c:v>280.57432432432432</c:v>
                </c:pt>
                <c:pt idx="2897">
                  <c:v>280.57432432432432</c:v>
                </c:pt>
                <c:pt idx="2898">
                  <c:v>280.57432432432432</c:v>
                </c:pt>
                <c:pt idx="2899">
                  <c:v>280.57432432432432</c:v>
                </c:pt>
                <c:pt idx="2900">
                  <c:v>279.64527027027026</c:v>
                </c:pt>
                <c:pt idx="2901">
                  <c:v>279.64527027027026</c:v>
                </c:pt>
                <c:pt idx="2902">
                  <c:v>279.64527027027026</c:v>
                </c:pt>
                <c:pt idx="2903">
                  <c:v>279.64527027027026</c:v>
                </c:pt>
                <c:pt idx="2904">
                  <c:v>279.64527027027026</c:v>
                </c:pt>
                <c:pt idx="2905">
                  <c:v>284.20608108108109</c:v>
                </c:pt>
                <c:pt idx="2906">
                  <c:v>284.20608108108109</c:v>
                </c:pt>
                <c:pt idx="2907">
                  <c:v>284.20608108108109</c:v>
                </c:pt>
                <c:pt idx="2908">
                  <c:v>284.20608108108109</c:v>
                </c:pt>
                <c:pt idx="2909">
                  <c:v>284.20608108108109</c:v>
                </c:pt>
                <c:pt idx="2910">
                  <c:v>281.67229729729735</c:v>
                </c:pt>
                <c:pt idx="2911">
                  <c:v>281.67229729729735</c:v>
                </c:pt>
                <c:pt idx="2912">
                  <c:v>281.67229729729735</c:v>
                </c:pt>
                <c:pt idx="2913">
                  <c:v>281.67229729729735</c:v>
                </c:pt>
                <c:pt idx="2914">
                  <c:v>281.67229729729735</c:v>
                </c:pt>
                <c:pt idx="2915">
                  <c:v>283.86824324324328</c:v>
                </c:pt>
                <c:pt idx="2916">
                  <c:v>283.86824324324328</c:v>
                </c:pt>
                <c:pt idx="2917">
                  <c:v>283.86824324324328</c:v>
                </c:pt>
                <c:pt idx="2918">
                  <c:v>283.86824324324328</c:v>
                </c:pt>
                <c:pt idx="2919">
                  <c:v>283.86824324324328</c:v>
                </c:pt>
                <c:pt idx="2920">
                  <c:v>279.05405405405406</c:v>
                </c:pt>
                <c:pt idx="2921">
                  <c:v>279.05405405405406</c:v>
                </c:pt>
                <c:pt idx="2922">
                  <c:v>279.05405405405406</c:v>
                </c:pt>
                <c:pt idx="2923">
                  <c:v>279.05405405405406</c:v>
                </c:pt>
                <c:pt idx="2924">
                  <c:v>279.05405405405406</c:v>
                </c:pt>
                <c:pt idx="2925">
                  <c:v>283.61486486486484</c:v>
                </c:pt>
                <c:pt idx="2926">
                  <c:v>283.61486486486484</c:v>
                </c:pt>
                <c:pt idx="2927">
                  <c:v>283.61486486486484</c:v>
                </c:pt>
                <c:pt idx="2928">
                  <c:v>283.61486486486484</c:v>
                </c:pt>
                <c:pt idx="2929">
                  <c:v>283.61486486486484</c:v>
                </c:pt>
                <c:pt idx="2930">
                  <c:v>285.55743243243239</c:v>
                </c:pt>
                <c:pt idx="2931">
                  <c:v>285.55743243243239</c:v>
                </c:pt>
                <c:pt idx="2932">
                  <c:v>285.55743243243239</c:v>
                </c:pt>
                <c:pt idx="2933">
                  <c:v>285.55743243243239</c:v>
                </c:pt>
                <c:pt idx="2934">
                  <c:v>285.55743243243239</c:v>
                </c:pt>
                <c:pt idx="2935">
                  <c:v>285.21959459459458</c:v>
                </c:pt>
                <c:pt idx="2936">
                  <c:v>285.21959459459458</c:v>
                </c:pt>
                <c:pt idx="2937">
                  <c:v>285.21959459459458</c:v>
                </c:pt>
                <c:pt idx="2938">
                  <c:v>285.21959459459458</c:v>
                </c:pt>
                <c:pt idx="2939">
                  <c:v>285.21959459459458</c:v>
                </c:pt>
                <c:pt idx="2940">
                  <c:v>284.20608108108109</c:v>
                </c:pt>
                <c:pt idx="2941">
                  <c:v>284.20608108108109</c:v>
                </c:pt>
                <c:pt idx="2942">
                  <c:v>284.20608108108109</c:v>
                </c:pt>
                <c:pt idx="2943">
                  <c:v>284.20608108108109</c:v>
                </c:pt>
                <c:pt idx="2944">
                  <c:v>284.20608108108109</c:v>
                </c:pt>
                <c:pt idx="2945">
                  <c:v>286.73986486486484</c:v>
                </c:pt>
                <c:pt idx="2946">
                  <c:v>286.73986486486484</c:v>
                </c:pt>
                <c:pt idx="2947">
                  <c:v>286.73986486486484</c:v>
                </c:pt>
                <c:pt idx="2948">
                  <c:v>286.73986486486484</c:v>
                </c:pt>
                <c:pt idx="2949">
                  <c:v>286.73986486486484</c:v>
                </c:pt>
                <c:pt idx="2950">
                  <c:v>288.59797297297297</c:v>
                </c:pt>
                <c:pt idx="2951">
                  <c:v>288.59797297297297</c:v>
                </c:pt>
                <c:pt idx="2952">
                  <c:v>288.59797297297297</c:v>
                </c:pt>
                <c:pt idx="2953">
                  <c:v>288.59797297297297</c:v>
                </c:pt>
                <c:pt idx="2954">
                  <c:v>288.59797297297297</c:v>
                </c:pt>
                <c:pt idx="2955">
                  <c:v>289.35810810810813</c:v>
                </c:pt>
                <c:pt idx="2956">
                  <c:v>289.35810810810813</c:v>
                </c:pt>
                <c:pt idx="2957">
                  <c:v>289.35810810810813</c:v>
                </c:pt>
                <c:pt idx="2958">
                  <c:v>289.35810810810813</c:v>
                </c:pt>
                <c:pt idx="2959">
                  <c:v>289.35810810810813</c:v>
                </c:pt>
                <c:pt idx="2960">
                  <c:v>283.78378378378375</c:v>
                </c:pt>
                <c:pt idx="2961">
                  <c:v>283.78378378378375</c:v>
                </c:pt>
                <c:pt idx="2962">
                  <c:v>283.78378378378375</c:v>
                </c:pt>
                <c:pt idx="2963">
                  <c:v>283.78378378378375</c:v>
                </c:pt>
                <c:pt idx="2964">
                  <c:v>283.78378378378375</c:v>
                </c:pt>
                <c:pt idx="2965">
                  <c:v>288.00675675675677</c:v>
                </c:pt>
                <c:pt idx="2966">
                  <c:v>288.00675675675677</c:v>
                </c:pt>
                <c:pt idx="2967">
                  <c:v>288.00675675675677</c:v>
                </c:pt>
                <c:pt idx="2968">
                  <c:v>288.00675675675677</c:v>
                </c:pt>
                <c:pt idx="2969">
                  <c:v>288.00675675675677</c:v>
                </c:pt>
                <c:pt idx="2970">
                  <c:v>291.13175675675677</c:v>
                </c:pt>
                <c:pt idx="2971">
                  <c:v>291.13175675675677</c:v>
                </c:pt>
                <c:pt idx="2972">
                  <c:v>291.13175675675677</c:v>
                </c:pt>
                <c:pt idx="2973">
                  <c:v>291.13175675675677</c:v>
                </c:pt>
                <c:pt idx="2974">
                  <c:v>291.13175675675677</c:v>
                </c:pt>
                <c:pt idx="2975">
                  <c:v>284.12162162162161</c:v>
                </c:pt>
                <c:pt idx="2976">
                  <c:v>284.12162162162161</c:v>
                </c:pt>
                <c:pt idx="2977">
                  <c:v>284.12162162162161</c:v>
                </c:pt>
                <c:pt idx="2978">
                  <c:v>284.12162162162161</c:v>
                </c:pt>
                <c:pt idx="2979">
                  <c:v>284.12162162162161</c:v>
                </c:pt>
                <c:pt idx="2980">
                  <c:v>282.17905405405406</c:v>
                </c:pt>
                <c:pt idx="2981">
                  <c:v>282.17905405405406</c:v>
                </c:pt>
                <c:pt idx="2982">
                  <c:v>282.17905405405406</c:v>
                </c:pt>
                <c:pt idx="2983">
                  <c:v>282.17905405405406</c:v>
                </c:pt>
                <c:pt idx="2984">
                  <c:v>282.17905405405406</c:v>
                </c:pt>
                <c:pt idx="2985">
                  <c:v>285.38851351351349</c:v>
                </c:pt>
                <c:pt idx="2986">
                  <c:v>285.38851351351349</c:v>
                </c:pt>
                <c:pt idx="2987">
                  <c:v>285.38851351351349</c:v>
                </c:pt>
                <c:pt idx="2988">
                  <c:v>285.38851351351349</c:v>
                </c:pt>
                <c:pt idx="2989">
                  <c:v>285.38851351351349</c:v>
                </c:pt>
                <c:pt idx="2990">
                  <c:v>294.67905405405406</c:v>
                </c:pt>
                <c:pt idx="2991">
                  <c:v>294.67905405405406</c:v>
                </c:pt>
                <c:pt idx="2992">
                  <c:v>294.67905405405406</c:v>
                </c:pt>
                <c:pt idx="2993">
                  <c:v>294.67905405405406</c:v>
                </c:pt>
                <c:pt idx="2994">
                  <c:v>294.67905405405406</c:v>
                </c:pt>
                <c:pt idx="2995">
                  <c:v>295.35472972972974</c:v>
                </c:pt>
                <c:pt idx="2996">
                  <c:v>295.35472972972974</c:v>
                </c:pt>
                <c:pt idx="2997">
                  <c:v>295.35472972972974</c:v>
                </c:pt>
                <c:pt idx="2998">
                  <c:v>295.35472972972974</c:v>
                </c:pt>
                <c:pt idx="2999">
                  <c:v>295.35472972972974</c:v>
                </c:pt>
                <c:pt idx="3000">
                  <c:v>285.05067567567568</c:v>
                </c:pt>
                <c:pt idx="3001">
                  <c:v>285.05067567567568</c:v>
                </c:pt>
                <c:pt idx="3002">
                  <c:v>285.05067567567568</c:v>
                </c:pt>
                <c:pt idx="3003">
                  <c:v>285.05067567567568</c:v>
                </c:pt>
                <c:pt idx="3004">
                  <c:v>285.05067567567568</c:v>
                </c:pt>
                <c:pt idx="3005">
                  <c:v>287.66891891891896</c:v>
                </c:pt>
                <c:pt idx="3006">
                  <c:v>287.66891891891896</c:v>
                </c:pt>
                <c:pt idx="3007">
                  <c:v>287.66891891891896</c:v>
                </c:pt>
                <c:pt idx="3008">
                  <c:v>287.66891891891896</c:v>
                </c:pt>
                <c:pt idx="3009">
                  <c:v>287.66891891891896</c:v>
                </c:pt>
                <c:pt idx="3010">
                  <c:v>286.90878378378375</c:v>
                </c:pt>
                <c:pt idx="3011">
                  <c:v>286.90878378378375</c:v>
                </c:pt>
                <c:pt idx="3012">
                  <c:v>286.90878378378375</c:v>
                </c:pt>
                <c:pt idx="3013">
                  <c:v>286.90878378378375</c:v>
                </c:pt>
                <c:pt idx="3014">
                  <c:v>286.90878378378375</c:v>
                </c:pt>
                <c:pt idx="3015">
                  <c:v>287.16216216216213</c:v>
                </c:pt>
                <c:pt idx="3016">
                  <c:v>287.16216216216213</c:v>
                </c:pt>
                <c:pt idx="3017">
                  <c:v>287.16216216216213</c:v>
                </c:pt>
                <c:pt idx="3018">
                  <c:v>287.16216216216213</c:v>
                </c:pt>
                <c:pt idx="3019">
                  <c:v>287.16216216216213</c:v>
                </c:pt>
                <c:pt idx="3020">
                  <c:v>284.375</c:v>
                </c:pt>
                <c:pt idx="3021">
                  <c:v>284.375</c:v>
                </c:pt>
                <c:pt idx="3022">
                  <c:v>284.375</c:v>
                </c:pt>
                <c:pt idx="3023">
                  <c:v>284.375</c:v>
                </c:pt>
                <c:pt idx="3024">
                  <c:v>284.375</c:v>
                </c:pt>
                <c:pt idx="3025">
                  <c:v>291.80743243243245</c:v>
                </c:pt>
                <c:pt idx="3026">
                  <c:v>291.80743243243245</c:v>
                </c:pt>
                <c:pt idx="3027">
                  <c:v>291.80743243243245</c:v>
                </c:pt>
                <c:pt idx="3028">
                  <c:v>291.80743243243245</c:v>
                </c:pt>
                <c:pt idx="3029">
                  <c:v>291.80743243243245</c:v>
                </c:pt>
                <c:pt idx="3030">
                  <c:v>287.33108108108109</c:v>
                </c:pt>
                <c:pt idx="3031">
                  <c:v>287.33108108108109</c:v>
                </c:pt>
                <c:pt idx="3032">
                  <c:v>287.33108108108109</c:v>
                </c:pt>
                <c:pt idx="3033">
                  <c:v>287.33108108108109</c:v>
                </c:pt>
                <c:pt idx="3034">
                  <c:v>287.33108108108109</c:v>
                </c:pt>
                <c:pt idx="3035">
                  <c:v>298.39527027027026</c:v>
                </c:pt>
                <c:pt idx="3036">
                  <c:v>298.39527027027026</c:v>
                </c:pt>
                <c:pt idx="3037">
                  <c:v>298.39527027027026</c:v>
                </c:pt>
                <c:pt idx="3038">
                  <c:v>298.39527027027026</c:v>
                </c:pt>
                <c:pt idx="3039">
                  <c:v>298.39527027027026</c:v>
                </c:pt>
                <c:pt idx="3040">
                  <c:v>292.3986486486487</c:v>
                </c:pt>
                <c:pt idx="3041">
                  <c:v>292.3986486486487</c:v>
                </c:pt>
                <c:pt idx="3042">
                  <c:v>292.3986486486487</c:v>
                </c:pt>
                <c:pt idx="3043">
                  <c:v>292.3986486486487</c:v>
                </c:pt>
                <c:pt idx="3044">
                  <c:v>292.3986486486487</c:v>
                </c:pt>
                <c:pt idx="3045">
                  <c:v>288.09121621621625</c:v>
                </c:pt>
                <c:pt idx="3046">
                  <c:v>288.09121621621625</c:v>
                </c:pt>
                <c:pt idx="3047">
                  <c:v>288.09121621621625</c:v>
                </c:pt>
                <c:pt idx="3048">
                  <c:v>288.09121621621625</c:v>
                </c:pt>
                <c:pt idx="3049">
                  <c:v>288.09121621621625</c:v>
                </c:pt>
                <c:pt idx="3050">
                  <c:v>293.66554054054052</c:v>
                </c:pt>
                <c:pt idx="3051">
                  <c:v>293.66554054054052</c:v>
                </c:pt>
                <c:pt idx="3052">
                  <c:v>293.66554054054052</c:v>
                </c:pt>
                <c:pt idx="3053">
                  <c:v>293.66554054054052</c:v>
                </c:pt>
                <c:pt idx="3054">
                  <c:v>293.66554054054052</c:v>
                </c:pt>
                <c:pt idx="3055">
                  <c:v>289.78040540540542</c:v>
                </c:pt>
                <c:pt idx="3056">
                  <c:v>289.78040540540542</c:v>
                </c:pt>
                <c:pt idx="3057">
                  <c:v>289.78040540540542</c:v>
                </c:pt>
                <c:pt idx="3058">
                  <c:v>289.78040540540542</c:v>
                </c:pt>
                <c:pt idx="3059">
                  <c:v>289.78040540540542</c:v>
                </c:pt>
                <c:pt idx="3060">
                  <c:v>295.10135135135141</c:v>
                </c:pt>
                <c:pt idx="3061">
                  <c:v>295.10135135135141</c:v>
                </c:pt>
                <c:pt idx="3062">
                  <c:v>295.10135135135141</c:v>
                </c:pt>
                <c:pt idx="3063">
                  <c:v>295.10135135135141</c:v>
                </c:pt>
                <c:pt idx="3064">
                  <c:v>295.10135135135141</c:v>
                </c:pt>
                <c:pt idx="3065">
                  <c:v>294.51013513513516</c:v>
                </c:pt>
                <c:pt idx="3066">
                  <c:v>294.51013513513516</c:v>
                </c:pt>
                <c:pt idx="3067">
                  <c:v>294.51013513513516</c:v>
                </c:pt>
                <c:pt idx="3068">
                  <c:v>294.51013513513516</c:v>
                </c:pt>
                <c:pt idx="3069">
                  <c:v>294.51013513513516</c:v>
                </c:pt>
                <c:pt idx="3070">
                  <c:v>295.01689189189187</c:v>
                </c:pt>
                <c:pt idx="3071">
                  <c:v>295.01689189189187</c:v>
                </c:pt>
                <c:pt idx="3072">
                  <c:v>295.01689189189187</c:v>
                </c:pt>
                <c:pt idx="3073">
                  <c:v>295.01689189189187</c:v>
                </c:pt>
                <c:pt idx="3074">
                  <c:v>295.01689189189187</c:v>
                </c:pt>
                <c:pt idx="3075">
                  <c:v>303.20945945945948</c:v>
                </c:pt>
                <c:pt idx="3076">
                  <c:v>303.20945945945948</c:v>
                </c:pt>
                <c:pt idx="3077">
                  <c:v>303.20945945945948</c:v>
                </c:pt>
                <c:pt idx="3078">
                  <c:v>303.20945945945948</c:v>
                </c:pt>
                <c:pt idx="3079">
                  <c:v>303.20945945945948</c:v>
                </c:pt>
                <c:pt idx="3080">
                  <c:v>300.25337837837844</c:v>
                </c:pt>
                <c:pt idx="3081">
                  <c:v>300.25337837837844</c:v>
                </c:pt>
                <c:pt idx="3082">
                  <c:v>300.25337837837844</c:v>
                </c:pt>
                <c:pt idx="3083">
                  <c:v>300.25337837837844</c:v>
                </c:pt>
                <c:pt idx="3084">
                  <c:v>300.25337837837844</c:v>
                </c:pt>
                <c:pt idx="3085">
                  <c:v>300.76013513513516</c:v>
                </c:pt>
                <c:pt idx="3086">
                  <c:v>300.76013513513516</c:v>
                </c:pt>
                <c:pt idx="3087">
                  <c:v>300.76013513513516</c:v>
                </c:pt>
                <c:pt idx="3088">
                  <c:v>300.76013513513516</c:v>
                </c:pt>
                <c:pt idx="3089">
                  <c:v>300.76013513513516</c:v>
                </c:pt>
                <c:pt idx="3090">
                  <c:v>299.2398648648649</c:v>
                </c:pt>
                <c:pt idx="3091">
                  <c:v>299.2398648648649</c:v>
                </c:pt>
                <c:pt idx="3092">
                  <c:v>299.2398648648649</c:v>
                </c:pt>
                <c:pt idx="3093">
                  <c:v>299.2398648648649</c:v>
                </c:pt>
                <c:pt idx="3094">
                  <c:v>299.2398648648649</c:v>
                </c:pt>
                <c:pt idx="3095">
                  <c:v>300.33783783783787</c:v>
                </c:pt>
                <c:pt idx="3096">
                  <c:v>300.33783783783787</c:v>
                </c:pt>
                <c:pt idx="3097">
                  <c:v>300.33783783783787</c:v>
                </c:pt>
                <c:pt idx="3098">
                  <c:v>300.33783783783787</c:v>
                </c:pt>
                <c:pt idx="3099">
                  <c:v>300.33783783783787</c:v>
                </c:pt>
                <c:pt idx="3100">
                  <c:v>304.30743243243245</c:v>
                </c:pt>
                <c:pt idx="3101">
                  <c:v>304.30743243243245</c:v>
                </c:pt>
                <c:pt idx="3102">
                  <c:v>304.30743243243245</c:v>
                </c:pt>
                <c:pt idx="3103">
                  <c:v>304.30743243243245</c:v>
                </c:pt>
                <c:pt idx="3104">
                  <c:v>304.30743243243245</c:v>
                </c:pt>
                <c:pt idx="3105">
                  <c:v>302.44932432432432</c:v>
                </c:pt>
                <c:pt idx="3106">
                  <c:v>302.44932432432432</c:v>
                </c:pt>
                <c:pt idx="3107">
                  <c:v>302.44932432432432</c:v>
                </c:pt>
                <c:pt idx="3108">
                  <c:v>302.44932432432432</c:v>
                </c:pt>
                <c:pt idx="3109">
                  <c:v>302.44932432432432</c:v>
                </c:pt>
                <c:pt idx="3110">
                  <c:v>302.87162162162161</c:v>
                </c:pt>
                <c:pt idx="3111">
                  <c:v>302.87162162162161</c:v>
                </c:pt>
                <c:pt idx="3112">
                  <c:v>302.87162162162161</c:v>
                </c:pt>
                <c:pt idx="3113">
                  <c:v>302.87162162162161</c:v>
                </c:pt>
                <c:pt idx="3114">
                  <c:v>302.87162162162161</c:v>
                </c:pt>
                <c:pt idx="3115">
                  <c:v>300.50675675675677</c:v>
                </c:pt>
                <c:pt idx="3116">
                  <c:v>300.50675675675677</c:v>
                </c:pt>
                <c:pt idx="3117">
                  <c:v>300.50675675675677</c:v>
                </c:pt>
                <c:pt idx="3118">
                  <c:v>300.50675675675677</c:v>
                </c:pt>
                <c:pt idx="3119">
                  <c:v>300.50675675675677</c:v>
                </c:pt>
                <c:pt idx="3120">
                  <c:v>305.82770270270271</c:v>
                </c:pt>
                <c:pt idx="3121">
                  <c:v>305.82770270270271</c:v>
                </c:pt>
                <c:pt idx="3122">
                  <c:v>305.82770270270271</c:v>
                </c:pt>
                <c:pt idx="3123">
                  <c:v>305.82770270270271</c:v>
                </c:pt>
                <c:pt idx="3124">
                  <c:v>305.82770270270271</c:v>
                </c:pt>
                <c:pt idx="3125">
                  <c:v>303.37837837837844</c:v>
                </c:pt>
                <c:pt idx="3126">
                  <c:v>303.37837837837844</c:v>
                </c:pt>
                <c:pt idx="3127">
                  <c:v>303.37837837837844</c:v>
                </c:pt>
                <c:pt idx="3128">
                  <c:v>303.37837837837844</c:v>
                </c:pt>
                <c:pt idx="3129">
                  <c:v>303.37837837837844</c:v>
                </c:pt>
                <c:pt idx="3130">
                  <c:v>309.54391891891896</c:v>
                </c:pt>
                <c:pt idx="3131">
                  <c:v>309.54391891891896</c:v>
                </c:pt>
                <c:pt idx="3132">
                  <c:v>309.54391891891896</c:v>
                </c:pt>
                <c:pt idx="3133">
                  <c:v>309.54391891891896</c:v>
                </c:pt>
                <c:pt idx="3134">
                  <c:v>309.54391891891896</c:v>
                </c:pt>
                <c:pt idx="3135">
                  <c:v>301.52027027027026</c:v>
                </c:pt>
                <c:pt idx="3136">
                  <c:v>301.52027027027026</c:v>
                </c:pt>
                <c:pt idx="3137">
                  <c:v>301.52027027027026</c:v>
                </c:pt>
                <c:pt idx="3138">
                  <c:v>301.52027027027026</c:v>
                </c:pt>
                <c:pt idx="3139">
                  <c:v>301.52027027027026</c:v>
                </c:pt>
                <c:pt idx="3140">
                  <c:v>309.79729729729735</c:v>
                </c:pt>
                <c:pt idx="3141">
                  <c:v>309.79729729729735</c:v>
                </c:pt>
                <c:pt idx="3142">
                  <c:v>309.79729729729735</c:v>
                </c:pt>
                <c:pt idx="3143">
                  <c:v>309.79729729729735</c:v>
                </c:pt>
                <c:pt idx="3144">
                  <c:v>309.79729729729735</c:v>
                </c:pt>
                <c:pt idx="3145">
                  <c:v>309.96621621621625</c:v>
                </c:pt>
                <c:pt idx="3146">
                  <c:v>309.96621621621625</c:v>
                </c:pt>
                <c:pt idx="3147">
                  <c:v>309.96621621621625</c:v>
                </c:pt>
                <c:pt idx="3148">
                  <c:v>309.96621621621625</c:v>
                </c:pt>
                <c:pt idx="3149">
                  <c:v>309.96621621621625</c:v>
                </c:pt>
                <c:pt idx="3150">
                  <c:v>308.10810810810813</c:v>
                </c:pt>
                <c:pt idx="3151">
                  <c:v>308.10810810810813</c:v>
                </c:pt>
                <c:pt idx="3152">
                  <c:v>308.10810810810813</c:v>
                </c:pt>
                <c:pt idx="3153">
                  <c:v>308.10810810810813</c:v>
                </c:pt>
                <c:pt idx="3154">
                  <c:v>308.10810810810813</c:v>
                </c:pt>
                <c:pt idx="3155">
                  <c:v>312.92229729729735</c:v>
                </c:pt>
                <c:pt idx="3156">
                  <c:v>312.92229729729735</c:v>
                </c:pt>
                <c:pt idx="3157">
                  <c:v>312.92229729729735</c:v>
                </c:pt>
                <c:pt idx="3158">
                  <c:v>312.92229729729735</c:v>
                </c:pt>
                <c:pt idx="3159">
                  <c:v>312.92229729729735</c:v>
                </c:pt>
                <c:pt idx="3160">
                  <c:v>315.11824324324323</c:v>
                </c:pt>
                <c:pt idx="3161">
                  <c:v>315.11824324324323</c:v>
                </c:pt>
                <c:pt idx="3162">
                  <c:v>315.11824324324323</c:v>
                </c:pt>
                <c:pt idx="3163">
                  <c:v>315.11824324324323</c:v>
                </c:pt>
                <c:pt idx="3164">
                  <c:v>315.11824324324323</c:v>
                </c:pt>
                <c:pt idx="3165">
                  <c:v>317.14527027027026</c:v>
                </c:pt>
                <c:pt idx="3166">
                  <c:v>317.14527027027026</c:v>
                </c:pt>
                <c:pt idx="3167">
                  <c:v>317.14527027027026</c:v>
                </c:pt>
                <c:pt idx="3168">
                  <c:v>317.14527027027026</c:v>
                </c:pt>
                <c:pt idx="3169">
                  <c:v>317.14527027027026</c:v>
                </c:pt>
                <c:pt idx="3170">
                  <c:v>311.65540540540542</c:v>
                </c:pt>
                <c:pt idx="3171">
                  <c:v>311.65540540540542</c:v>
                </c:pt>
                <c:pt idx="3172">
                  <c:v>311.65540540540542</c:v>
                </c:pt>
                <c:pt idx="3173">
                  <c:v>311.65540540540542</c:v>
                </c:pt>
                <c:pt idx="3174">
                  <c:v>311.65540540540542</c:v>
                </c:pt>
                <c:pt idx="3175">
                  <c:v>308.69932432432432</c:v>
                </c:pt>
                <c:pt idx="3176">
                  <c:v>308.69932432432432</c:v>
                </c:pt>
                <c:pt idx="3177">
                  <c:v>308.69932432432432</c:v>
                </c:pt>
                <c:pt idx="3178">
                  <c:v>308.69932432432432</c:v>
                </c:pt>
                <c:pt idx="3179">
                  <c:v>308.69932432432432</c:v>
                </c:pt>
                <c:pt idx="3180">
                  <c:v>317.3986486486487</c:v>
                </c:pt>
                <c:pt idx="3181">
                  <c:v>317.3986486486487</c:v>
                </c:pt>
                <c:pt idx="3182">
                  <c:v>317.3986486486487</c:v>
                </c:pt>
                <c:pt idx="3183">
                  <c:v>317.3986486486487</c:v>
                </c:pt>
                <c:pt idx="3184">
                  <c:v>317.3986486486487</c:v>
                </c:pt>
                <c:pt idx="3185">
                  <c:v>315.28716216216219</c:v>
                </c:pt>
                <c:pt idx="3186">
                  <c:v>315.28716216216219</c:v>
                </c:pt>
                <c:pt idx="3187">
                  <c:v>315.28716216216219</c:v>
                </c:pt>
                <c:pt idx="3188">
                  <c:v>315.28716216216219</c:v>
                </c:pt>
                <c:pt idx="3189">
                  <c:v>315.28716216216219</c:v>
                </c:pt>
                <c:pt idx="3190">
                  <c:v>319.00337837837844</c:v>
                </c:pt>
                <c:pt idx="3191">
                  <c:v>319.00337837837844</c:v>
                </c:pt>
                <c:pt idx="3192">
                  <c:v>319.00337837837844</c:v>
                </c:pt>
                <c:pt idx="3193">
                  <c:v>319.00337837837844</c:v>
                </c:pt>
                <c:pt idx="3194">
                  <c:v>319.00337837837844</c:v>
                </c:pt>
                <c:pt idx="3195">
                  <c:v>316.80743243243245</c:v>
                </c:pt>
                <c:pt idx="3196">
                  <c:v>316.80743243243245</c:v>
                </c:pt>
                <c:pt idx="3197">
                  <c:v>316.80743243243245</c:v>
                </c:pt>
                <c:pt idx="3198">
                  <c:v>316.80743243243245</c:v>
                </c:pt>
                <c:pt idx="3199">
                  <c:v>316.80743243243245</c:v>
                </c:pt>
                <c:pt idx="3200">
                  <c:v>312.92229729729735</c:v>
                </c:pt>
                <c:pt idx="3201">
                  <c:v>312.92229729729735</c:v>
                </c:pt>
                <c:pt idx="3202">
                  <c:v>312.92229729729735</c:v>
                </c:pt>
                <c:pt idx="3203">
                  <c:v>312.92229729729735</c:v>
                </c:pt>
                <c:pt idx="3204">
                  <c:v>312.92229729729735</c:v>
                </c:pt>
                <c:pt idx="3205">
                  <c:v>317.56756756756755</c:v>
                </c:pt>
                <c:pt idx="3206">
                  <c:v>317.56756756756755</c:v>
                </c:pt>
                <c:pt idx="3207">
                  <c:v>317.56756756756755</c:v>
                </c:pt>
                <c:pt idx="3208">
                  <c:v>317.56756756756755</c:v>
                </c:pt>
                <c:pt idx="3209">
                  <c:v>317.56756756756755</c:v>
                </c:pt>
                <c:pt idx="3210">
                  <c:v>319.67905405405406</c:v>
                </c:pt>
                <c:pt idx="3211">
                  <c:v>319.67905405405406</c:v>
                </c:pt>
                <c:pt idx="3212">
                  <c:v>319.67905405405406</c:v>
                </c:pt>
                <c:pt idx="3213">
                  <c:v>319.67905405405406</c:v>
                </c:pt>
                <c:pt idx="3214">
                  <c:v>319.67905405405406</c:v>
                </c:pt>
                <c:pt idx="3215">
                  <c:v>317.22972972972974</c:v>
                </c:pt>
                <c:pt idx="3216">
                  <c:v>317.22972972972974</c:v>
                </c:pt>
                <c:pt idx="3217">
                  <c:v>317.22972972972974</c:v>
                </c:pt>
                <c:pt idx="3218">
                  <c:v>317.22972972972974</c:v>
                </c:pt>
                <c:pt idx="3219">
                  <c:v>317.22972972972974</c:v>
                </c:pt>
                <c:pt idx="3220">
                  <c:v>323.14189189189193</c:v>
                </c:pt>
                <c:pt idx="3221">
                  <c:v>323.14189189189193</c:v>
                </c:pt>
                <c:pt idx="3222">
                  <c:v>323.14189189189193</c:v>
                </c:pt>
                <c:pt idx="3223">
                  <c:v>323.14189189189193</c:v>
                </c:pt>
                <c:pt idx="3224">
                  <c:v>323.14189189189193</c:v>
                </c:pt>
                <c:pt idx="3225">
                  <c:v>317.65202702702709</c:v>
                </c:pt>
                <c:pt idx="3226">
                  <c:v>317.65202702702709</c:v>
                </c:pt>
                <c:pt idx="3227">
                  <c:v>317.65202702702709</c:v>
                </c:pt>
                <c:pt idx="3228">
                  <c:v>317.65202702702709</c:v>
                </c:pt>
                <c:pt idx="3229">
                  <c:v>317.65202702702709</c:v>
                </c:pt>
                <c:pt idx="3230">
                  <c:v>326.18243243243245</c:v>
                </c:pt>
                <c:pt idx="3231">
                  <c:v>326.18243243243245</c:v>
                </c:pt>
                <c:pt idx="3232">
                  <c:v>326.18243243243245</c:v>
                </c:pt>
                <c:pt idx="3233">
                  <c:v>326.18243243243245</c:v>
                </c:pt>
                <c:pt idx="3234">
                  <c:v>326.18243243243245</c:v>
                </c:pt>
                <c:pt idx="3235">
                  <c:v>318.83445945945948</c:v>
                </c:pt>
                <c:pt idx="3236">
                  <c:v>318.83445945945948</c:v>
                </c:pt>
                <c:pt idx="3237">
                  <c:v>318.83445945945948</c:v>
                </c:pt>
                <c:pt idx="3238">
                  <c:v>318.83445945945948</c:v>
                </c:pt>
                <c:pt idx="3239">
                  <c:v>318.83445945945948</c:v>
                </c:pt>
                <c:pt idx="3240">
                  <c:v>326.26689189189187</c:v>
                </c:pt>
                <c:pt idx="3241">
                  <c:v>326.26689189189187</c:v>
                </c:pt>
                <c:pt idx="3242">
                  <c:v>326.26689189189187</c:v>
                </c:pt>
                <c:pt idx="3243">
                  <c:v>326.26689189189187</c:v>
                </c:pt>
                <c:pt idx="3244">
                  <c:v>326.26689189189187</c:v>
                </c:pt>
                <c:pt idx="3245">
                  <c:v>319.84797297297297</c:v>
                </c:pt>
                <c:pt idx="3246">
                  <c:v>319.84797297297297</c:v>
                </c:pt>
                <c:pt idx="3247">
                  <c:v>319.84797297297297</c:v>
                </c:pt>
                <c:pt idx="3248">
                  <c:v>319.84797297297297</c:v>
                </c:pt>
                <c:pt idx="3249">
                  <c:v>319.84797297297297</c:v>
                </c:pt>
                <c:pt idx="3250">
                  <c:v>325.92905405405406</c:v>
                </c:pt>
                <c:pt idx="3251">
                  <c:v>325.92905405405406</c:v>
                </c:pt>
                <c:pt idx="3252">
                  <c:v>325.92905405405406</c:v>
                </c:pt>
                <c:pt idx="3253">
                  <c:v>325.92905405405406</c:v>
                </c:pt>
                <c:pt idx="3254">
                  <c:v>325.92905405405406</c:v>
                </c:pt>
                <c:pt idx="3255">
                  <c:v>322.97297297297297</c:v>
                </c:pt>
                <c:pt idx="3256">
                  <c:v>322.97297297297297</c:v>
                </c:pt>
                <c:pt idx="3257">
                  <c:v>322.97297297297297</c:v>
                </c:pt>
                <c:pt idx="3258">
                  <c:v>322.97297297297297</c:v>
                </c:pt>
                <c:pt idx="3259">
                  <c:v>322.97297297297297</c:v>
                </c:pt>
                <c:pt idx="3260">
                  <c:v>327.95608108108109</c:v>
                </c:pt>
                <c:pt idx="3261">
                  <c:v>327.95608108108109</c:v>
                </c:pt>
                <c:pt idx="3262">
                  <c:v>327.95608108108109</c:v>
                </c:pt>
                <c:pt idx="3263">
                  <c:v>327.95608108108109</c:v>
                </c:pt>
                <c:pt idx="3264">
                  <c:v>327.95608108108109</c:v>
                </c:pt>
                <c:pt idx="3265">
                  <c:v>325.76013513513516</c:v>
                </c:pt>
                <c:pt idx="3266">
                  <c:v>325.76013513513516</c:v>
                </c:pt>
                <c:pt idx="3267">
                  <c:v>325.76013513513516</c:v>
                </c:pt>
                <c:pt idx="3268">
                  <c:v>325.76013513513516</c:v>
                </c:pt>
                <c:pt idx="3269">
                  <c:v>325.76013513513516</c:v>
                </c:pt>
                <c:pt idx="3270">
                  <c:v>326.52027027027032</c:v>
                </c:pt>
                <c:pt idx="3271">
                  <c:v>326.52027027027032</c:v>
                </c:pt>
                <c:pt idx="3272">
                  <c:v>326.52027027027032</c:v>
                </c:pt>
                <c:pt idx="3273">
                  <c:v>326.52027027027032</c:v>
                </c:pt>
                <c:pt idx="3274">
                  <c:v>326.52027027027032</c:v>
                </c:pt>
                <c:pt idx="3275">
                  <c:v>324.57770270270271</c:v>
                </c:pt>
                <c:pt idx="3276">
                  <c:v>324.57770270270271</c:v>
                </c:pt>
                <c:pt idx="3277">
                  <c:v>324.57770270270271</c:v>
                </c:pt>
                <c:pt idx="3278">
                  <c:v>324.57770270270271</c:v>
                </c:pt>
                <c:pt idx="3279">
                  <c:v>324.57770270270271</c:v>
                </c:pt>
                <c:pt idx="3280">
                  <c:v>336.40202702702709</c:v>
                </c:pt>
                <c:pt idx="3281">
                  <c:v>336.40202702702709</c:v>
                </c:pt>
                <c:pt idx="3282">
                  <c:v>336.40202702702709</c:v>
                </c:pt>
                <c:pt idx="3283">
                  <c:v>336.40202702702709</c:v>
                </c:pt>
                <c:pt idx="3284">
                  <c:v>336.40202702702709</c:v>
                </c:pt>
                <c:pt idx="3285">
                  <c:v>327.44932432432432</c:v>
                </c:pt>
                <c:pt idx="3286">
                  <c:v>327.44932432432432</c:v>
                </c:pt>
                <c:pt idx="3287">
                  <c:v>327.44932432432432</c:v>
                </c:pt>
                <c:pt idx="3288">
                  <c:v>327.44932432432432</c:v>
                </c:pt>
                <c:pt idx="3289">
                  <c:v>327.44932432432432</c:v>
                </c:pt>
                <c:pt idx="3290">
                  <c:v>322.55067567567568</c:v>
                </c:pt>
                <c:pt idx="3291">
                  <c:v>322.55067567567568</c:v>
                </c:pt>
                <c:pt idx="3292">
                  <c:v>322.55067567567568</c:v>
                </c:pt>
                <c:pt idx="3293">
                  <c:v>322.55067567567568</c:v>
                </c:pt>
                <c:pt idx="3294">
                  <c:v>322.55067567567568</c:v>
                </c:pt>
                <c:pt idx="3295">
                  <c:v>337.07770270270271</c:v>
                </c:pt>
                <c:pt idx="3296">
                  <c:v>337.07770270270271</c:v>
                </c:pt>
                <c:pt idx="3297">
                  <c:v>337.07770270270271</c:v>
                </c:pt>
                <c:pt idx="3298">
                  <c:v>337.07770270270271</c:v>
                </c:pt>
                <c:pt idx="3299">
                  <c:v>337.07770270270271</c:v>
                </c:pt>
                <c:pt idx="3300">
                  <c:v>336.82432432432432</c:v>
                </c:pt>
                <c:pt idx="3301">
                  <c:v>336.82432432432432</c:v>
                </c:pt>
                <c:pt idx="3302">
                  <c:v>336.82432432432432</c:v>
                </c:pt>
                <c:pt idx="3303">
                  <c:v>336.82432432432432</c:v>
                </c:pt>
                <c:pt idx="3304">
                  <c:v>336.82432432432432</c:v>
                </c:pt>
                <c:pt idx="3305">
                  <c:v>333.7837837837838</c:v>
                </c:pt>
                <c:pt idx="3306">
                  <c:v>333.7837837837838</c:v>
                </c:pt>
                <c:pt idx="3307">
                  <c:v>333.7837837837838</c:v>
                </c:pt>
                <c:pt idx="3308">
                  <c:v>333.7837837837838</c:v>
                </c:pt>
                <c:pt idx="3309">
                  <c:v>333.7837837837838</c:v>
                </c:pt>
                <c:pt idx="3310">
                  <c:v>335.30405405405406</c:v>
                </c:pt>
                <c:pt idx="3311">
                  <c:v>335.30405405405406</c:v>
                </c:pt>
                <c:pt idx="3312">
                  <c:v>335.30405405405406</c:v>
                </c:pt>
                <c:pt idx="3313">
                  <c:v>335.30405405405406</c:v>
                </c:pt>
                <c:pt idx="3314">
                  <c:v>335.30405405405406</c:v>
                </c:pt>
                <c:pt idx="3315">
                  <c:v>342.82094594594594</c:v>
                </c:pt>
                <c:pt idx="3316">
                  <c:v>342.82094594594594</c:v>
                </c:pt>
                <c:pt idx="3317">
                  <c:v>342.82094594594594</c:v>
                </c:pt>
                <c:pt idx="3318">
                  <c:v>342.82094594594594</c:v>
                </c:pt>
                <c:pt idx="3319">
                  <c:v>342.82094594594594</c:v>
                </c:pt>
                <c:pt idx="3320">
                  <c:v>338.34459459459464</c:v>
                </c:pt>
                <c:pt idx="3321">
                  <c:v>338.34459459459464</c:v>
                </c:pt>
                <c:pt idx="3322">
                  <c:v>338.34459459459464</c:v>
                </c:pt>
                <c:pt idx="3323">
                  <c:v>338.34459459459464</c:v>
                </c:pt>
                <c:pt idx="3324">
                  <c:v>338.34459459459464</c:v>
                </c:pt>
                <c:pt idx="3325">
                  <c:v>335.9797297297298</c:v>
                </c:pt>
                <c:pt idx="3326">
                  <c:v>335.9797297297298</c:v>
                </c:pt>
                <c:pt idx="3327">
                  <c:v>335.9797297297298</c:v>
                </c:pt>
                <c:pt idx="3328">
                  <c:v>335.9797297297298</c:v>
                </c:pt>
                <c:pt idx="3329">
                  <c:v>335.9797297297298</c:v>
                </c:pt>
                <c:pt idx="3330">
                  <c:v>345.69256756756761</c:v>
                </c:pt>
                <c:pt idx="3331">
                  <c:v>345.69256756756761</c:v>
                </c:pt>
                <c:pt idx="3332">
                  <c:v>345.69256756756761</c:v>
                </c:pt>
                <c:pt idx="3333">
                  <c:v>345.69256756756761</c:v>
                </c:pt>
                <c:pt idx="3334">
                  <c:v>345.69256756756761</c:v>
                </c:pt>
                <c:pt idx="3335">
                  <c:v>340.96283783783787</c:v>
                </c:pt>
                <c:pt idx="3336">
                  <c:v>340.96283783783787</c:v>
                </c:pt>
                <c:pt idx="3337">
                  <c:v>340.96283783783787</c:v>
                </c:pt>
                <c:pt idx="3338">
                  <c:v>340.96283783783787</c:v>
                </c:pt>
                <c:pt idx="3339">
                  <c:v>340.96283783783787</c:v>
                </c:pt>
                <c:pt idx="3340">
                  <c:v>356.92567567567568</c:v>
                </c:pt>
                <c:pt idx="3341">
                  <c:v>356.92567567567568</c:v>
                </c:pt>
                <c:pt idx="3342">
                  <c:v>356.92567567567568</c:v>
                </c:pt>
                <c:pt idx="3343">
                  <c:v>356.92567567567568</c:v>
                </c:pt>
                <c:pt idx="3344">
                  <c:v>356.92567567567568</c:v>
                </c:pt>
                <c:pt idx="3345">
                  <c:v>353.63175675675677</c:v>
                </c:pt>
                <c:pt idx="3346">
                  <c:v>353.63175675675677</c:v>
                </c:pt>
                <c:pt idx="3347">
                  <c:v>353.63175675675677</c:v>
                </c:pt>
                <c:pt idx="3348">
                  <c:v>353.63175675675677</c:v>
                </c:pt>
                <c:pt idx="3349">
                  <c:v>353.63175675675677</c:v>
                </c:pt>
                <c:pt idx="3350">
                  <c:v>354.39189189189187</c:v>
                </c:pt>
                <c:pt idx="3351">
                  <c:v>354.39189189189187</c:v>
                </c:pt>
                <c:pt idx="3352">
                  <c:v>354.39189189189187</c:v>
                </c:pt>
                <c:pt idx="3353">
                  <c:v>354.39189189189187</c:v>
                </c:pt>
                <c:pt idx="3354">
                  <c:v>354.39189189189187</c:v>
                </c:pt>
                <c:pt idx="3355">
                  <c:v>339.18918918918922</c:v>
                </c:pt>
                <c:pt idx="3356">
                  <c:v>339.18918918918922</c:v>
                </c:pt>
                <c:pt idx="3357">
                  <c:v>339.18918918918922</c:v>
                </c:pt>
                <c:pt idx="3358">
                  <c:v>339.18918918918922</c:v>
                </c:pt>
                <c:pt idx="3359">
                  <c:v>339.18918918918922</c:v>
                </c:pt>
                <c:pt idx="3360">
                  <c:v>344.34121621621625</c:v>
                </c:pt>
                <c:pt idx="3361">
                  <c:v>344.34121621621625</c:v>
                </c:pt>
                <c:pt idx="3362">
                  <c:v>344.34121621621625</c:v>
                </c:pt>
                <c:pt idx="3363">
                  <c:v>344.34121621621625</c:v>
                </c:pt>
                <c:pt idx="3364">
                  <c:v>344.34121621621625</c:v>
                </c:pt>
                <c:pt idx="3365">
                  <c:v>349.57770270270271</c:v>
                </c:pt>
                <c:pt idx="3366">
                  <c:v>349.57770270270271</c:v>
                </c:pt>
                <c:pt idx="3367">
                  <c:v>349.57770270270271</c:v>
                </c:pt>
                <c:pt idx="3368">
                  <c:v>349.57770270270271</c:v>
                </c:pt>
                <c:pt idx="3369">
                  <c:v>349.57770270270271</c:v>
                </c:pt>
                <c:pt idx="3370">
                  <c:v>352.87162162162161</c:v>
                </c:pt>
                <c:pt idx="3371">
                  <c:v>352.87162162162161</c:v>
                </c:pt>
                <c:pt idx="3372">
                  <c:v>352.87162162162161</c:v>
                </c:pt>
                <c:pt idx="3373">
                  <c:v>352.87162162162161</c:v>
                </c:pt>
                <c:pt idx="3374">
                  <c:v>352.87162162162161</c:v>
                </c:pt>
                <c:pt idx="3375">
                  <c:v>352.78716216216213</c:v>
                </c:pt>
                <c:pt idx="3376">
                  <c:v>352.78716216216213</c:v>
                </c:pt>
                <c:pt idx="3377">
                  <c:v>352.78716216216213</c:v>
                </c:pt>
                <c:pt idx="3378">
                  <c:v>352.78716216216213</c:v>
                </c:pt>
                <c:pt idx="3379">
                  <c:v>352.78716216216213</c:v>
                </c:pt>
                <c:pt idx="3380">
                  <c:v>366.80743243243245</c:v>
                </c:pt>
                <c:pt idx="3381">
                  <c:v>366.80743243243245</c:v>
                </c:pt>
                <c:pt idx="3382">
                  <c:v>366.80743243243245</c:v>
                </c:pt>
                <c:pt idx="3383">
                  <c:v>366.80743243243245</c:v>
                </c:pt>
                <c:pt idx="3384">
                  <c:v>366.80743243243245</c:v>
                </c:pt>
                <c:pt idx="3385">
                  <c:v>351.68918918918916</c:v>
                </c:pt>
                <c:pt idx="3386">
                  <c:v>351.68918918918916</c:v>
                </c:pt>
                <c:pt idx="3387">
                  <c:v>351.68918918918916</c:v>
                </c:pt>
                <c:pt idx="3388">
                  <c:v>351.68918918918916</c:v>
                </c:pt>
                <c:pt idx="3389">
                  <c:v>351.68918918918916</c:v>
                </c:pt>
                <c:pt idx="3390">
                  <c:v>366.13175675675677</c:v>
                </c:pt>
                <c:pt idx="3391">
                  <c:v>366.13175675675677</c:v>
                </c:pt>
                <c:pt idx="3392">
                  <c:v>366.13175675675677</c:v>
                </c:pt>
                <c:pt idx="3393">
                  <c:v>366.13175675675677</c:v>
                </c:pt>
                <c:pt idx="3394">
                  <c:v>366.13175675675677</c:v>
                </c:pt>
                <c:pt idx="3395">
                  <c:v>360.47297297297297</c:v>
                </c:pt>
                <c:pt idx="3396">
                  <c:v>360.47297297297297</c:v>
                </c:pt>
                <c:pt idx="3397">
                  <c:v>360.47297297297297</c:v>
                </c:pt>
                <c:pt idx="3398">
                  <c:v>360.47297297297297</c:v>
                </c:pt>
                <c:pt idx="3399">
                  <c:v>360.47297297297297</c:v>
                </c:pt>
                <c:pt idx="3400">
                  <c:v>361.82432432432432</c:v>
                </c:pt>
                <c:pt idx="3401">
                  <c:v>361.82432432432432</c:v>
                </c:pt>
                <c:pt idx="3402">
                  <c:v>361.82432432432432</c:v>
                </c:pt>
                <c:pt idx="3403">
                  <c:v>361.82432432432432</c:v>
                </c:pt>
                <c:pt idx="3404">
                  <c:v>361.82432432432432</c:v>
                </c:pt>
                <c:pt idx="3405">
                  <c:v>371.79054054054058</c:v>
                </c:pt>
                <c:pt idx="3406">
                  <c:v>371.79054054054058</c:v>
                </c:pt>
                <c:pt idx="3407">
                  <c:v>371.79054054054058</c:v>
                </c:pt>
                <c:pt idx="3408">
                  <c:v>371.79054054054058</c:v>
                </c:pt>
                <c:pt idx="3409">
                  <c:v>371.79054054054058</c:v>
                </c:pt>
                <c:pt idx="3410">
                  <c:v>356.08108108108109</c:v>
                </c:pt>
                <c:pt idx="3411">
                  <c:v>356.08108108108109</c:v>
                </c:pt>
                <c:pt idx="3412">
                  <c:v>356.08108108108109</c:v>
                </c:pt>
                <c:pt idx="3413">
                  <c:v>356.08108108108109</c:v>
                </c:pt>
                <c:pt idx="3414">
                  <c:v>356.08108108108109</c:v>
                </c:pt>
                <c:pt idx="3415">
                  <c:v>361.31756756756755</c:v>
                </c:pt>
                <c:pt idx="3416">
                  <c:v>361.31756756756755</c:v>
                </c:pt>
                <c:pt idx="3417">
                  <c:v>361.31756756756755</c:v>
                </c:pt>
                <c:pt idx="3418">
                  <c:v>361.31756756756755</c:v>
                </c:pt>
                <c:pt idx="3419">
                  <c:v>361.31756756756755</c:v>
                </c:pt>
                <c:pt idx="3420">
                  <c:v>364.8648648648649</c:v>
                </c:pt>
                <c:pt idx="3421">
                  <c:v>364.8648648648649</c:v>
                </c:pt>
                <c:pt idx="3422">
                  <c:v>364.8648648648649</c:v>
                </c:pt>
                <c:pt idx="3423">
                  <c:v>364.8648648648649</c:v>
                </c:pt>
                <c:pt idx="3424">
                  <c:v>364.8648648648649</c:v>
                </c:pt>
                <c:pt idx="3425">
                  <c:v>369.08783783783787</c:v>
                </c:pt>
                <c:pt idx="3426">
                  <c:v>369.08783783783787</c:v>
                </c:pt>
                <c:pt idx="3427">
                  <c:v>369.08783783783787</c:v>
                </c:pt>
                <c:pt idx="3428">
                  <c:v>369.08783783783787</c:v>
                </c:pt>
                <c:pt idx="3429">
                  <c:v>369.08783783783787</c:v>
                </c:pt>
                <c:pt idx="3430">
                  <c:v>373.81756756756761</c:v>
                </c:pt>
                <c:pt idx="3431">
                  <c:v>373.81756756756761</c:v>
                </c:pt>
                <c:pt idx="3432">
                  <c:v>373.81756756756761</c:v>
                </c:pt>
                <c:pt idx="3433">
                  <c:v>373.81756756756761</c:v>
                </c:pt>
                <c:pt idx="3434">
                  <c:v>373.81756756756761</c:v>
                </c:pt>
                <c:pt idx="3435">
                  <c:v>382.34797297297297</c:v>
                </c:pt>
                <c:pt idx="3436">
                  <c:v>382.34797297297297</c:v>
                </c:pt>
                <c:pt idx="3437">
                  <c:v>382.34797297297297</c:v>
                </c:pt>
                <c:pt idx="3438">
                  <c:v>382.34797297297297</c:v>
                </c:pt>
                <c:pt idx="3439">
                  <c:v>382.34797297297297</c:v>
                </c:pt>
                <c:pt idx="3440">
                  <c:v>375.67567567567573</c:v>
                </c:pt>
                <c:pt idx="3441">
                  <c:v>375.67567567567573</c:v>
                </c:pt>
                <c:pt idx="3442">
                  <c:v>375.67567567567573</c:v>
                </c:pt>
                <c:pt idx="3443">
                  <c:v>375.67567567567573</c:v>
                </c:pt>
                <c:pt idx="3444">
                  <c:v>375.67567567567573</c:v>
                </c:pt>
                <c:pt idx="3445">
                  <c:v>378.37837837837844</c:v>
                </c:pt>
                <c:pt idx="3446">
                  <c:v>378.37837837837844</c:v>
                </c:pt>
                <c:pt idx="3447">
                  <c:v>378.37837837837844</c:v>
                </c:pt>
                <c:pt idx="3448">
                  <c:v>378.37837837837844</c:v>
                </c:pt>
                <c:pt idx="3449">
                  <c:v>378.37837837837844</c:v>
                </c:pt>
                <c:pt idx="3450">
                  <c:v>377.36486486486484</c:v>
                </c:pt>
                <c:pt idx="3451">
                  <c:v>377.36486486486484</c:v>
                </c:pt>
                <c:pt idx="3452">
                  <c:v>377.36486486486484</c:v>
                </c:pt>
                <c:pt idx="3453">
                  <c:v>377.36486486486484</c:v>
                </c:pt>
                <c:pt idx="3454">
                  <c:v>377.36486486486484</c:v>
                </c:pt>
                <c:pt idx="3455">
                  <c:v>361.7398648648649</c:v>
                </c:pt>
                <c:pt idx="3456">
                  <c:v>361.7398648648649</c:v>
                </c:pt>
                <c:pt idx="3457">
                  <c:v>361.7398648648649</c:v>
                </c:pt>
                <c:pt idx="3458">
                  <c:v>361.7398648648649</c:v>
                </c:pt>
                <c:pt idx="3459">
                  <c:v>361.7398648648649</c:v>
                </c:pt>
                <c:pt idx="3460">
                  <c:v>371.1148648648649</c:v>
                </c:pt>
                <c:pt idx="3461">
                  <c:v>371.1148648648649</c:v>
                </c:pt>
                <c:pt idx="3462">
                  <c:v>371.1148648648649</c:v>
                </c:pt>
                <c:pt idx="3463">
                  <c:v>371.1148648648649</c:v>
                </c:pt>
                <c:pt idx="3464">
                  <c:v>371.1148648648649</c:v>
                </c:pt>
                <c:pt idx="3465">
                  <c:v>386.40202702702709</c:v>
                </c:pt>
                <c:pt idx="3466">
                  <c:v>386.40202702702709</c:v>
                </c:pt>
                <c:pt idx="3467">
                  <c:v>386.40202702702709</c:v>
                </c:pt>
                <c:pt idx="3468">
                  <c:v>386.40202702702709</c:v>
                </c:pt>
                <c:pt idx="3469">
                  <c:v>386.40202702702709</c:v>
                </c:pt>
                <c:pt idx="3470">
                  <c:v>388.51351351351349</c:v>
                </c:pt>
                <c:pt idx="3471">
                  <c:v>388.51351351351349</c:v>
                </c:pt>
                <c:pt idx="3472">
                  <c:v>388.51351351351349</c:v>
                </c:pt>
                <c:pt idx="3473">
                  <c:v>388.51351351351349</c:v>
                </c:pt>
                <c:pt idx="3474">
                  <c:v>388.51351351351349</c:v>
                </c:pt>
                <c:pt idx="3475">
                  <c:v>376.68918918918922</c:v>
                </c:pt>
                <c:pt idx="3476">
                  <c:v>376.68918918918922</c:v>
                </c:pt>
                <c:pt idx="3477">
                  <c:v>376.68918918918922</c:v>
                </c:pt>
                <c:pt idx="3478">
                  <c:v>376.68918918918922</c:v>
                </c:pt>
                <c:pt idx="3479">
                  <c:v>376.68918918918922</c:v>
                </c:pt>
                <c:pt idx="3480">
                  <c:v>385.38851351351349</c:v>
                </c:pt>
                <c:pt idx="3481">
                  <c:v>385.38851351351349</c:v>
                </c:pt>
                <c:pt idx="3482">
                  <c:v>385.38851351351349</c:v>
                </c:pt>
                <c:pt idx="3483">
                  <c:v>385.38851351351349</c:v>
                </c:pt>
                <c:pt idx="3484">
                  <c:v>385.38851351351349</c:v>
                </c:pt>
                <c:pt idx="3485">
                  <c:v>376.68918918918922</c:v>
                </c:pt>
                <c:pt idx="3486">
                  <c:v>376.68918918918922</c:v>
                </c:pt>
                <c:pt idx="3487">
                  <c:v>376.68918918918922</c:v>
                </c:pt>
                <c:pt idx="3488">
                  <c:v>376.68918918918922</c:v>
                </c:pt>
                <c:pt idx="3489">
                  <c:v>376.68918918918922</c:v>
                </c:pt>
                <c:pt idx="3490">
                  <c:v>379.47635135135141</c:v>
                </c:pt>
                <c:pt idx="3491">
                  <c:v>379.47635135135141</c:v>
                </c:pt>
                <c:pt idx="3492">
                  <c:v>379.47635135135141</c:v>
                </c:pt>
                <c:pt idx="3493">
                  <c:v>379.47635135135141</c:v>
                </c:pt>
                <c:pt idx="3494">
                  <c:v>379.47635135135141</c:v>
                </c:pt>
                <c:pt idx="3495">
                  <c:v>392.06081081081089</c:v>
                </c:pt>
                <c:pt idx="3496">
                  <c:v>392.06081081081089</c:v>
                </c:pt>
                <c:pt idx="3497">
                  <c:v>392.06081081081089</c:v>
                </c:pt>
                <c:pt idx="3498">
                  <c:v>392.06081081081089</c:v>
                </c:pt>
                <c:pt idx="3499">
                  <c:v>392.06081081081089</c:v>
                </c:pt>
                <c:pt idx="3500">
                  <c:v>387.83783783783781</c:v>
                </c:pt>
                <c:pt idx="3501">
                  <c:v>387.83783783783781</c:v>
                </c:pt>
                <c:pt idx="3502">
                  <c:v>387.83783783783781</c:v>
                </c:pt>
                <c:pt idx="3503">
                  <c:v>387.83783783783781</c:v>
                </c:pt>
                <c:pt idx="3504">
                  <c:v>387.83783783783781</c:v>
                </c:pt>
                <c:pt idx="3505">
                  <c:v>377.70270270270277</c:v>
                </c:pt>
                <c:pt idx="3506">
                  <c:v>377.70270270270277</c:v>
                </c:pt>
                <c:pt idx="3507">
                  <c:v>377.70270270270277</c:v>
                </c:pt>
                <c:pt idx="3508">
                  <c:v>377.70270270270277</c:v>
                </c:pt>
                <c:pt idx="3509">
                  <c:v>377.70270270270277</c:v>
                </c:pt>
                <c:pt idx="3510">
                  <c:v>394.84797297297297</c:v>
                </c:pt>
                <c:pt idx="3511">
                  <c:v>394.84797297297297</c:v>
                </c:pt>
                <c:pt idx="3512">
                  <c:v>394.84797297297297</c:v>
                </c:pt>
                <c:pt idx="3513">
                  <c:v>394.84797297297297</c:v>
                </c:pt>
                <c:pt idx="3514">
                  <c:v>394.84797297297297</c:v>
                </c:pt>
                <c:pt idx="3515">
                  <c:v>402.11148648648651</c:v>
                </c:pt>
                <c:pt idx="3516">
                  <c:v>402.11148648648651</c:v>
                </c:pt>
                <c:pt idx="3517">
                  <c:v>402.11148648648651</c:v>
                </c:pt>
                <c:pt idx="3518">
                  <c:v>402.11148648648651</c:v>
                </c:pt>
                <c:pt idx="3519">
                  <c:v>402.11148648648651</c:v>
                </c:pt>
                <c:pt idx="3520">
                  <c:v>379.47635135135141</c:v>
                </c:pt>
                <c:pt idx="3521">
                  <c:v>379.47635135135141</c:v>
                </c:pt>
                <c:pt idx="3522">
                  <c:v>379.47635135135141</c:v>
                </c:pt>
                <c:pt idx="3523">
                  <c:v>379.47635135135141</c:v>
                </c:pt>
                <c:pt idx="3524">
                  <c:v>379.47635135135141</c:v>
                </c:pt>
                <c:pt idx="3525">
                  <c:v>382.43243243243239</c:v>
                </c:pt>
                <c:pt idx="3526">
                  <c:v>382.43243243243239</c:v>
                </c:pt>
                <c:pt idx="3527">
                  <c:v>382.43243243243239</c:v>
                </c:pt>
                <c:pt idx="3528">
                  <c:v>382.43243243243239</c:v>
                </c:pt>
                <c:pt idx="3529">
                  <c:v>382.43243243243239</c:v>
                </c:pt>
                <c:pt idx="3530">
                  <c:v>385.38851351351349</c:v>
                </c:pt>
                <c:pt idx="3531">
                  <c:v>385.38851351351349</c:v>
                </c:pt>
                <c:pt idx="3532">
                  <c:v>385.38851351351349</c:v>
                </c:pt>
                <c:pt idx="3533">
                  <c:v>385.38851351351349</c:v>
                </c:pt>
                <c:pt idx="3534">
                  <c:v>385.38851351351349</c:v>
                </c:pt>
                <c:pt idx="3535">
                  <c:v>387.24662162162161</c:v>
                </c:pt>
                <c:pt idx="3536">
                  <c:v>387.24662162162161</c:v>
                </c:pt>
                <c:pt idx="3537">
                  <c:v>387.24662162162161</c:v>
                </c:pt>
                <c:pt idx="3538">
                  <c:v>387.24662162162161</c:v>
                </c:pt>
                <c:pt idx="3539">
                  <c:v>387.24662162162161</c:v>
                </c:pt>
                <c:pt idx="3540">
                  <c:v>392.48310810810818</c:v>
                </c:pt>
                <c:pt idx="3541">
                  <c:v>392.48310810810818</c:v>
                </c:pt>
                <c:pt idx="3542">
                  <c:v>392.48310810810818</c:v>
                </c:pt>
                <c:pt idx="3543">
                  <c:v>392.48310810810818</c:v>
                </c:pt>
                <c:pt idx="3544">
                  <c:v>392.48310810810818</c:v>
                </c:pt>
                <c:pt idx="3545">
                  <c:v>390.625</c:v>
                </c:pt>
                <c:pt idx="3546">
                  <c:v>390.625</c:v>
                </c:pt>
                <c:pt idx="3547">
                  <c:v>390.625</c:v>
                </c:pt>
                <c:pt idx="3548">
                  <c:v>390.625</c:v>
                </c:pt>
                <c:pt idx="3549">
                  <c:v>390.625</c:v>
                </c:pt>
                <c:pt idx="3550">
                  <c:v>388.51351351351349</c:v>
                </c:pt>
                <c:pt idx="3551">
                  <c:v>388.51351351351349</c:v>
                </c:pt>
                <c:pt idx="3552">
                  <c:v>388.51351351351349</c:v>
                </c:pt>
                <c:pt idx="3553">
                  <c:v>388.51351351351349</c:v>
                </c:pt>
                <c:pt idx="3554">
                  <c:v>388.51351351351349</c:v>
                </c:pt>
                <c:pt idx="3555">
                  <c:v>401.09797297297297</c:v>
                </c:pt>
                <c:pt idx="3556">
                  <c:v>401.09797297297297</c:v>
                </c:pt>
                <c:pt idx="3557">
                  <c:v>401.09797297297297</c:v>
                </c:pt>
                <c:pt idx="3558">
                  <c:v>401.09797297297297</c:v>
                </c:pt>
                <c:pt idx="3559">
                  <c:v>401.09797297297297</c:v>
                </c:pt>
                <c:pt idx="3560">
                  <c:v>390.54054054054052</c:v>
                </c:pt>
                <c:pt idx="3561">
                  <c:v>390.54054054054052</c:v>
                </c:pt>
                <c:pt idx="3562">
                  <c:v>390.54054054054052</c:v>
                </c:pt>
                <c:pt idx="3563">
                  <c:v>390.54054054054052</c:v>
                </c:pt>
                <c:pt idx="3564">
                  <c:v>390.54054054054052</c:v>
                </c:pt>
                <c:pt idx="3565">
                  <c:v>413.68243243243245</c:v>
                </c:pt>
                <c:pt idx="3566">
                  <c:v>413.68243243243245</c:v>
                </c:pt>
                <c:pt idx="3567">
                  <c:v>413.68243243243245</c:v>
                </c:pt>
                <c:pt idx="3568">
                  <c:v>413.68243243243245</c:v>
                </c:pt>
                <c:pt idx="3569">
                  <c:v>413.68243243243245</c:v>
                </c:pt>
                <c:pt idx="3570">
                  <c:v>390.625</c:v>
                </c:pt>
                <c:pt idx="3571">
                  <c:v>390.625</c:v>
                </c:pt>
                <c:pt idx="3572">
                  <c:v>390.625</c:v>
                </c:pt>
                <c:pt idx="3573">
                  <c:v>390.625</c:v>
                </c:pt>
                <c:pt idx="3574">
                  <c:v>390.625</c:v>
                </c:pt>
                <c:pt idx="3575">
                  <c:v>405.23648648648651</c:v>
                </c:pt>
                <c:pt idx="3576">
                  <c:v>405.23648648648651</c:v>
                </c:pt>
                <c:pt idx="3577">
                  <c:v>405.23648648648651</c:v>
                </c:pt>
                <c:pt idx="3578">
                  <c:v>405.23648648648651</c:v>
                </c:pt>
                <c:pt idx="3579">
                  <c:v>405.23648648648651</c:v>
                </c:pt>
                <c:pt idx="3580">
                  <c:v>398.05743243243245</c:v>
                </c:pt>
                <c:pt idx="3581">
                  <c:v>398.05743243243245</c:v>
                </c:pt>
                <c:pt idx="3582">
                  <c:v>398.05743243243245</c:v>
                </c:pt>
                <c:pt idx="3583">
                  <c:v>398.05743243243245</c:v>
                </c:pt>
                <c:pt idx="3584">
                  <c:v>398.05743243243245</c:v>
                </c:pt>
                <c:pt idx="3585">
                  <c:v>426.7736486486487</c:v>
                </c:pt>
                <c:pt idx="3586">
                  <c:v>426.7736486486487</c:v>
                </c:pt>
                <c:pt idx="3587">
                  <c:v>426.7736486486487</c:v>
                </c:pt>
                <c:pt idx="3588">
                  <c:v>426.7736486486487</c:v>
                </c:pt>
                <c:pt idx="3589">
                  <c:v>426.7736486486487</c:v>
                </c:pt>
                <c:pt idx="3590">
                  <c:v>409.12162162162167</c:v>
                </c:pt>
                <c:pt idx="3591">
                  <c:v>409.12162162162167</c:v>
                </c:pt>
                <c:pt idx="3592">
                  <c:v>409.12162162162167</c:v>
                </c:pt>
                <c:pt idx="3593">
                  <c:v>409.12162162162167</c:v>
                </c:pt>
                <c:pt idx="3594">
                  <c:v>409.12162162162167</c:v>
                </c:pt>
                <c:pt idx="3595">
                  <c:v>397.21283783783792</c:v>
                </c:pt>
                <c:pt idx="3596">
                  <c:v>397.21283783783792</c:v>
                </c:pt>
                <c:pt idx="3597">
                  <c:v>397.21283783783792</c:v>
                </c:pt>
                <c:pt idx="3598">
                  <c:v>397.21283783783792</c:v>
                </c:pt>
                <c:pt idx="3599">
                  <c:v>397.21283783783792</c:v>
                </c:pt>
                <c:pt idx="3600">
                  <c:v>413.42905405405406</c:v>
                </c:pt>
                <c:pt idx="3601">
                  <c:v>413.42905405405406</c:v>
                </c:pt>
                <c:pt idx="3602">
                  <c:v>413.42905405405406</c:v>
                </c:pt>
                <c:pt idx="3603">
                  <c:v>413.42905405405406</c:v>
                </c:pt>
                <c:pt idx="3604">
                  <c:v>413.42905405405406</c:v>
                </c:pt>
                <c:pt idx="3605">
                  <c:v>408.36148648648651</c:v>
                </c:pt>
                <c:pt idx="3606">
                  <c:v>408.36148648648651</c:v>
                </c:pt>
                <c:pt idx="3607">
                  <c:v>408.36148648648651</c:v>
                </c:pt>
                <c:pt idx="3608">
                  <c:v>408.36148648648651</c:v>
                </c:pt>
                <c:pt idx="3609">
                  <c:v>408.36148648648651</c:v>
                </c:pt>
                <c:pt idx="3610">
                  <c:v>409.12162162162167</c:v>
                </c:pt>
                <c:pt idx="3611">
                  <c:v>409.12162162162167</c:v>
                </c:pt>
                <c:pt idx="3612">
                  <c:v>409.12162162162167</c:v>
                </c:pt>
                <c:pt idx="3613">
                  <c:v>409.12162162162167</c:v>
                </c:pt>
                <c:pt idx="3614">
                  <c:v>409.12162162162167</c:v>
                </c:pt>
                <c:pt idx="3615">
                  <c:v>369.34121621621625</c:v>
                </c:pt>
                <c:pt idx="3616">
                  <c:v>369.34121621621625</c:v>
                </c:pt>
                <c:pt idx="3617">
                  <c:v>369.34121621621625</c:v>
                </c:pt>
                <c:pt idx="3618">
                  <c:v>369.34121621621625</c:v>
                </c:pt>
                <c:pt idx="3619">
                  <c:v>369.34121621621625</c:v>
                </c:pt>
                <c:pt idx="3620">
                  <c:v>372.38175675675677</c:v>
                </c:pt>
                <c:pt idx="3621">
                  <c:v>372.38175675675677</c:v>
                </c:pt>
                <c:pt idx="3622">
                  <c:v>372.38175675675677</c:v>
                </c:pt>
                <c:pt idx="3623">
                  <c:v>372.38175675675677</c:v>
                </c:pt>
                <c:pt idx="3624">
                  <c:v>372.38175675675677</c:v>
                </c:pt>
                <c:pt idx="3625">
                  <c:v>377.78716216216213</c:v>
                </c:pt>
                <c:pt idx="3626">
                  <c:v>377.78716216216213</c:v>
                </c:pt>
                <c:pt idx="3627">
                  <c:v>377.78716216216213</c:v>
                </c:pt>
                <c:pt idx="3628">
                  <c:v>377.78716216216213</c:v>
                </c:pt>
                <c:pt idx="3629">
                  <c:v>377.78716216216213</c:v>
                </c:pt>
                <c:pt idx="3630">
                  <c:v>384.37500000000006</c:v>
                </c:pt>
                <c:pt idx="3631">
                  <c:v>384.37500000000006</c:v>
                </c:pt>
                <c:pt idx="3632">
                  <c:v>384.37500000000006</c:v>
                </c:pt>
                <c:pt idx="3633">
                  <c:v>384.37500000000006</c:v>
                </c:pt>
                <c:pt idx="3634">
                  <c:v>384.37500000000006</c:v>
                </c:pt>
                <c:pt idx="3635">
                  <c:v>376.85810810810813</c:v>
                </c:pt>
                <c:pt idx="3636">
                  <c:v>376.85810810810813</c:v>
                </c:pt>
                <c:pt idx="3637">
                  <c:v>376.85810810810813</c:v>
                </c:pt>
                <c:pt idx="3638">
                  <c:v>376.85810810810813</c:v>
                </c:pt>
                <c:pt idx="3639">
                  <c:v>376.85810810810813</c:v>
                </c:pt>
                <c:pt idx="3640">
                  <c:v>370.94594594594599</c:v>
                </c:pt>
                <c:pt idx="3641">
                  <c:v>370.94594594594599</c:v>
                </c:pt>
                <c:pt idx="3642">
                  <c:v>370.94594594594599</c:v>
                </c:pt>
                <c:pt idx="3643">
                  <c:v>370.94594594594599</c:v>
                </c:pt>
                <c:pt idx="3644">
                  <c:v>370.94594594594599</c:v>
                </c:pt>
                <c:pt idx="3645">
                  <c:v>385.13513513513516</c:v>
                </c:pt>
                <c:pt idx="3646">
                  <c:v>385.13513513513516</c:v>
                </c:pt>
                <c:pt idx="3647">
                  <c:v>385.13513513513516</c:v>
                </c:pt>
                <c:pt idx="3648">
                  <c:v>385.13513513513516</c:v>
                </c:pt>
                <c:pt idx="3649">
                  <c:v>385.13513513513516</c:v>
                </c:pt>
                <c:pt idx="3650">
                  <c:v>382.17905405405412</c:v>
                </c:pt>
                <c:pt idx="3651">
                  <c:v>382.17905405405412</c:v>
                </c:pt>
                <c:pt idx="3652">
                  <c:v>382.17905405405412</c:v>
                </c:pt>
                <c:pt idx="3653">
                  <c:v>382.17905405405412</c:v>
                </c:pt>
                <c:pt idx="3654">
                  <c:v>382.17905405405412</c:v>
                </c:pt>
                <c:pt idx="3655">
                  <c:v>350.08445945945942</c:v>
                </c:pt>
                <c:pt idx="3656">
                  <c:v>350.08445945945942</c:v>
                </c:pt>
                <c:pt idx="3657">
                  <c:v>350.08445945945942</c:v>
                </c:pt>
                <c:pt idx="3658">
                  <c:v>350.08445945945942</c:v>
                </c:pt>
                <c:pt idx="3659">
                  <c:v>350.08445945945942</c:v>
                </c:pt>
                <c:pt idx="3660">
                  <c:v>352.02702702702709</c:v>
                </c:pt>
                <c:pt idx="3661">
                  <c:v>352.02702702702709</c:v>
                </c:pt>
                <c:pt idx="3662">
                  <c:v>352.02702702702709</c:v>
                </c:pt>
                <c:pt idx="3663">
                  <c:v>352.02702702702709</c:v>
                </c:pt>
                <c:pt idx="3664">
                  <c:v>352.02702702702709</c:v>
                </c:pt>
                <c:pt idx="3665">
                  <c:v>353.63175675675677</c:v>
                </c:pt>
                <c:pt idx="3666">
                  <c:v>353.63175675675677</c:v>
                </c:pt>
                <c:pt idx="3667">
                  <c:v>353.63175675675677</c:v>
                </c:pt>
                <c:pt idx="3668">
                  <c:v>353.63175675675677</c:v>
                </c:pt>
                <c:pt idx="3669">
                  <c:v>353.63175675675677</c:v>
                </c:pt>
                <c:pt idx="3670">
                  <c:v>351.85810810810818</c:v>
                </c:pt>
                <c:pt idx="3671">
                  <c:v>351.85810810810818</c:v>
                </c:pt>
                <c:pt idx="3672">
                  <c:v>351.85810810810818</c:v>
                </c:pt>
                <c:pt idx="3673">
                  <c:v>351.85810810810818</c:v>
                </c:pt>
                <c:pt idx="3674">
                  <c:v>351.85810810810818</c:v>
                </c:pt>
                <c:pt idx="3675">
                  <c:v>350.92905405405406</c:v>
                </c:pt>
                <c:pt idx="3676">
                  <c:v>350.92905405405406</c:v>
                </c:pt>
                <c:pt idx="3677">
                  <c:v>350.92905405405406</c:v>
                </c:pt>
                <c:pt idx="3678">
                  <c:v>350.92905405405406</c:v>
                </c:pt>
                <c:pt idx="3679">
                  <c:v>350.92905405405406</c:v>
                </c:pt>
                <c:pt idx="3680">
                  <c:v>352.70270270270271</c:v>
                </c:pt>
                <c:pt idx="3681">
                  <c:v>352.70270270270271</c:v>
                </c:pt>
                <c:pt idx="3682">
                  <c:v>352.70270270270271</c:v>
                </c:pt>
                <c:pt idx="3683">
                  <c:v>352.70270270270271</c:v>
                </c:pt>
                <c:pt idx="3684">
                  <c:v>352.70270270270271</c:v>
                </c:pt>
                <c:pt idx="3685">
                  <c:v>336.23310810810813</c:v>
                </c:pt>
                <c:pt idx="3686">
                  <c:v>336.23310810810813</c:v>
                </c:pt>
                <c:pt idx="3687">
                  <c:v>336.23310810810813</c:v>
                </c:pt>
                <c:pt idx="3688">
                  <c:v>336.23310810810813</c:v>
                </c:pt>
                <c:pt idx="3689">
                  <c:v>336.23310810810813</c:v>
                </c:pt>
                <c:pt idx="3690">
                  <c:v>338.00675675675677</c:v>
                </c:pt>
                <c:pt idx="3691">
                  <c:v>338.00675675675677</c:v>
                </c:pt>
                <c:pt idx="3692">
                  <c:v>338.00675675675677</c:v>
                </c:pt>
                <c:pt idx="3693">
                  <c:v>338.00675675675677</c:v>
                </c:pt>
                <c:pt idx="3694">
                  <c:v>338.00675675675677</c:v>
                </c:pt>
                <c:pt idx="3695">
                  <c:v>339.86486486486484</c:v>
                </c:pt>
                <c:pt idx="3696">
                  <c:v>339.86486486486484</c:v>
                </c:pt>
                <c:pt idx="3697">
                  <c:v>339.86486486486484</c:v>
                </c:pt>
                <c:pt idx="3698">
                  <c:v>339.86486486486484</c:v>
                </c:pt>
                <c:pt idx="3699">
                  <c:v>339.86486486486484</c:v>
                </c:pt>
                <c:pt idx="3700">
                  <c:v>344.51013513513516</c:v>
                </c:pt>
                <c:pt idx="3701">
                  <c:v>344.51013513513516</c:v>
                </c:pt>
                <c:pt idx="3702">
                  <c:v>344.51013513513516</c:v>
                </c:pt>
                <c:pt idx="3703">
                  <c:v>344.51013513513516</c:v>
                </c:pt>
                <c:pt idx="3704">
                  <c:v>344.51013513513516</c:v>
                </c:pt>
                <c:pt idx="3705">
                  <c:v>330.91216216216219</c:v>
                </c:pt>
                <c:pt idx="3706">
                  <c:v>330.91216216216219</c:v>
                </c:pt>
                <c:pt idx="3707">
                  <c:v>330.91216216216219</c:v>
                </c:pt>
                <c:pt idx="3708">
                  <c:v>330.91216216216219</c:v>
                </c:pt>
                <c:pt idx="3709">
                  <c:v>330.91216216216219</c:v>
                </c:pt>
                <c:pt idx="3710">
                  <c:v>332.17905405405406</c:v>
                </c:pt>
                <c:pt idx="3711">
                  <c:v>332.17905405405406</c:v>
                </c:pt>
                <c:pt idx="3712">
                  <c:v>332.17905405405406</c:v>
                </c:pt>
                <c:pt idx="3713">
                  <c:v>332.17905405405406</c:v>
                </c:pt>
                <c:pt idx="3714">
                  <c:v>332.17905405405406</c:v>
                </c:pt>
                <c:pt idx="3715">
                  <c:v>337.66891891891896</c:v>
                </c:pt>
                <c:pt idx="3716">
                  <c:v>337.66891891891896</c:v>
                </c:pt>
                <c:pt idx="3717">
                  <c:v>337.66891891891896</c:v>
                </c:pt>
                <c:pt idx="3718">
                  <c:v>337.66891891891896</c:v>
                </c:pt>
                <c:pt idx="3719">
                  <c:v>337.66891891891896</c:v>
                </c:pt>
                <c:pt idx="3720">
                  <c:v>338.09121621621625</c:v>
                </c:pt>
                <c:pt idx="3721">
                  <c:v>338.09121621621625</c:v>
                </c:pt>
                <c:pt idx="3722">
                  <c:v>338.09121621621625</c:v>
                </c:pt>
                <c:pt idx="3723">
                  <c:v>338.09121621621625</c:v>
                </c:pt>
                <c:pt idx="3724">
                  <c:v>338.09121621621625</c:v>
                </c:pt>
                <c:pt idx="3725">
                  <c:v>331.84121621621625</c:v>
                </c:pt>
                <c:pt idx="3726">
                  <c:v>331.84121621621625</c:v>
                </c:pt>
                <c:pt idx="3727">
                  <c:v>331.84121621621625</c:v>
                </c:pt>
                <c:pt idx="3728">
                  <c:v>331.84121621621625</c:v>
                </c:pt>
                <c:pt idx="3729">
                  <c:v>331.84121621621625</c:v>
                </c:pt>
                <c:pt idx="3730">
                  <c:v>333.95270270270271</c:v>
                </c:pt>
                <c:pt idx="3731">
                  <c:v>333.95270270270271</c:v>
                </c:pt>
                <c:pt idx="3732">
                  <c:v>333.95270270270271</c:v>
                </c:pt>
                <c:pt idx="3733">
                  <c:v>333.95270270270271</c:v>
                </c:pt>
                <c:pt idx="3734">
                  <c:v>333.95270270270271</c:v>
                </c:pt>
                <c:pt idx="3735">
                  <c:v>342.3986486486487</c:v>
                </c:pt>
                <c:pt idx="3736">
                  <c:v>342.3986486486487</c:v>
                </c:pt>
                <c:pt idx="3737">
                  <c:v>342.3986486486487</c:v>
                </c:pt>
                <c:pt idx="3738">
                  <c:v>342.3986486486487</c:v>
                </c:pt>
                <c:pt idx="3739">
                  <c:v>342.3986486486487</c:v>
                </c:pt>
                <c:pt idx="3740">
                  <c:v>336.99324324324328</c:v>
                </c:pt>
                <c:pt idx="3741">
                  <c:v>336.99324324324328</c:v>
                </c:pt>
                <c:pt idx="3742">
                  <c:v>336.99324324324328</c:v>
                </c:pt>
                <c:pt idx="3743">
                  <c:v>336.99324324324328</c:v>
                </c:pt>
                <c:pt idx="3744">
                  <c:v>336.99324324324328</c:v>
                </c:pt>
                <c:pt idx="3745">
                  <c:v>337.33108108108109</c:v>
                </c:pt>
                <c:pt idx="3746">
                  <c:v>337.33108108108109</c:v>
                </c:pt>
                <c:pt idx="3747">
                  <c:v>337.33108108108109</c:v>
                </c:pt>
                <c:pt idx="3748">
                  <c:v>337.33108108108109</c:v>
                </c:pt>
                <c:pt idx="3749">
                  <c:v>337.33108108108109</c:v>
                </c:pt>
                <c:pt idx="3750">
                  <c:v>327.87162162162167</c:v>
                </c:pt>
                <c:pt idx="3751">
                  <c:v>327.87162162162167</c:v>
                </c:pt>
                <c:pt idx="3752">
                  <c:v>327.87162162162167</c:v>
                </c:pt>
                <c:pt idx="3753">
                  <c:v>327.87162162162167</c:v>
                </c:pt>
                <c:pt idx="3754">
                  <c:v>327.87162162162167</c:v>
                </c:pt>
                <c:pt idx="3755">
                  <c:v>328.37837837837839</c:v>
                </c:pt>
                <c:pt idx="3756">
                  <c:v>328.37837837837839</c:v>
                </c:pt>
                <c:pt idx="3757">
                  <c:v>328.37837837837839</c:v>
                </c:pt>
                <c:pt idx="3758">
                  <c:v>328.37837837837839</c:v>
                </c:pt>
                <c:pt idx="3759">
                  <c:v>328.37837837837839</c:v>
                </c:pt>
                <c:pt idx="3760">
                  <c:v>327.11148648648651</c:v>
                </c:pt>
                <c:pt idx="3761">
                  <c:v>327.11148648648651</c:v>
                </c:pt>
                <c:pt idx="3762">
                  <c:v>327.11148648648651</c:v>
                </c:pt>
                <c:pt idx="3763">
                  <c:v>327.11148648648651</c:v>
                </c:pt>
                <c:pt idx="3764">
                  <c:v>327.11148648648651</c:v>
                </c:pt>
                <c:pt idx="3765">
                  <c:v>325.67567567567568</c:v>
                </c:pt>
                <c:pt idx="3766">
                  <c:v>325.67567567567568</c:v>
                </c:pt>
                <c:pt idx="3767">
                  <c:v>325.67567567567568</c:v>
                </c:pt>
                <c:pt idx="3768">
                  <c:v>325.67567567567568</c:v>
                </c:pt>
                <c:pt idx="3769">
                  <c:v>325.67567567567568</c:v>
                </c:pt>
                <c:pt idx="3770">
                  <c:v>325.33783783783787</c:v>
                </c:pt>
                <c:pt idx="3771">
                  <c:v>325.33783783783787</c:v>
                </c:pt>
                <c:pt idx="3772">
                  <c:v>325.33783783783787</c:v>
                </c:pt>
                <c:pt idx="3773">
                  <c:v>325.33783783783787</c:v>
                </c:pt>
                <c:pt idx="3774">
                  <c:v>325.33783783783787</c:v>
                </c:pt>
                <c:pt idx="3775">
                  <c:v>326.94256756756761</c:v>
                </c:pt>
                <c:pt idx="3776">
                  <c:v>326.94256756756761</c:v>
                </c:pt>
                <c:pt idx="3777">
                  <c:v>326.94256756756761</c:v>
                </c:pt>
                <c:pt idx="3778">
                  <c:v>326.94256756756761</c:v>
                </c:pt>
                <c:pt idx="3779">
                  <c:v>326.94256756756761</c:v>
                </c:pt>
                <c:pt idx="3780">
                  <c:v>314.18918918918922</c:v>
                </c:pt>
                <c:pt idx="3781">
                  <c:v>314.18918918918922</c:v>
                </c:pt>
                <c:pt idx="3782">
                  <c:v>314.18918918918922</c:v>
                </c:pt>
                <c:pt idx="3783">
                  <c:v>314.18918918918922</c:v>
                </c:pt>
                <c:pt idx="3784">
                  <c:v>314.18918918918922</c:v>
                </c:pt>
                <c:pt idx="3785">
                  <c:v>329.8986486486487</c:v>
                </c:pt>
                <c:pt idx="3786">
                  <c:v>329.8986486486487</c:v>
                </c:pt>
                <c:pt idx="3787">
                  <c:v>329.8986486486487</c:v>
                </c:pt>
                <c:pt idx="3788">
                  <c:v>329.8986486486487</c:v>
                </c:pt>
                <c:pt idx="3789">
                  <c:v>329.8986486486487</c:v>
                </c:pt>
                <c:pt idx="3790">
                  <c:v>333.69932432432432</c:v>
                </c:pt>
                <c:pt idx="3791">
                  <c:v>333.69932432432432</c:v>
                </c:pt>
                <c:pt idx="3792">
                  <c:v>333.69932432432432</c:v>
                </c:pt>
                <c:pt idx="3793">
                  <c:v>333.69932432432432</c:v>
                </c:pt>
                <c:pt idx="3794">
                  <c:v>333.69932432432432</c:v>
                </c:pt>
                <c:pt idx="3795">
                  <c:v>334.96621621621625</c:v>
                </c:pt>
                <c:pt idx="3796">
                  <c:v>334.96621621621625</c:v>
                </c:pt>
                <c:pt idx="3797">
                  <c:v>334.96621621621625</c:v>
                </c:pt>
                <c:pt idx="3798">
                  <c:v>334.96621621621625</c:v>
                </c:pt>
                <c:pt idx="3799">
                  <c:v>334.96621621621625</c:v>
                </c:pt>
                <c:pt idx="3800">
                  <c:v>327.44932432432432</c:v>
                </c:pt>
                <c:pt idx="3801">
                  <c:v>327.44932432432432</c:v>
                </c:pt>
                <c:pt idx="3802">
                  <c:v>327.44932432432432</c:v>
                </c:pt>
                <c:pt idx="3803">
                  <c:v>327.44932432432432</c:v>
                </c:pt>
                <c:pt idx="3804">
                  <c:v>327.44932432432432</c:v>
                </c:pt>
                <c:pt idx="3805">
                  <c:v>332.26351351351354</c:v>
                </c:pt>
                <c:pt idx="3806">
                  <c:v>332.26351351351354</c:v>
                </c:pt>
                <c:pt idx="3807">
                  <c:v>332.26351351351354</c:v>
                </c:pt>
                <c:pt idx="3808">
                  <c:v>332.26351351351354</c:v>
                </c:pt>
                <c:pt idx="3809">
                  <c:v>332.26351351351354</c:v>
                </c:pt>
                <c:pt idx="3810">
                  <c:v>333.36148648648651</c:v>
                </c:pt>
                <c:pt idx="3811">
                  <c:v>333.36148648648651</c:v>
                </c:pt>
                <c:pt idx="3812">
                  <c:v>333.36148648648651</c:v>
                </c:pt>
                <c:pt idx="3813">
                  <c:v>333.36148648648651</c:v>
                </c:pt>
                <c:pt idx="3814">
                  <c:v>333.36148648648651</c:v>
                </c:pt>
                <c:pt idx="3815">
                  <c:v>333.44594594594594</c:v>
                </c:pt>
                <c:pt idx="3816">
                  <c:v>333.44594594594594</c:v>
                </c:pt>
                <c:pt idx="3817">
                  <c:v>333.44594594594594</c:v>
                </c:pt>
                <c:pt idx="3818">
                  <c:v>333.44594594594594</c:v>
                </c:pt>
                <c:pt idx="3819">
                  <c:v>333.44594594594594</c:v>
                </c:pt>
                <c:pt idx="3820">
                  <c:v>331.33445945945948</c:v>
                </c:pt>
                <c:pt idx="3821">
                  <c:v>331.33445945945948</c:v>
                </c:pt>
                <c:pt idx="3822">
                  <c:v>331.33445945945948</c:v>
                </c:pt>
                <c:pt idx="3823">
                  <c:v>331.33445945945948</c:v>
                </c:pt>
                <c:pt idx="3824">
                  <c:v>331.33445945945948</c:v>
                </c:pt>
                <c:pt idx="3825">
                  <c:v>330.82770270270271</c:v>
                </c:pt>
                <c:pt idx="3826">
                  <c:v>330.82770270270271</c:v>
                </c:pt>
                <c:pt idx="3827">
                  <c:v>330.82770270270271</c:v>
                </c:pt>
                <c:pt idx="3828">
                  <c:v>330.82770270270271</c:v>
                </c:pt>
                <c:pt idx="3829">
                  <c:v>330.82770270270271</c:v>
                </c:pt>
                <c:pt idx="3830">
                  <c:v>335.72635135135135</c:v>
                </c:pt>
                <c:pt idx="3831">
                  <c:v>335.72635135135135</c:v>
                </c:pt>
                <c:pt idx="3832">
                  <c:v>335.72635135135135</c:v>
                </c:pt>
                <c:pt idx="3833">
                  <c:v>335.72635135135135</c:v>
                </c:pt>
                <c:pt idx="3834">
                  <c:v>335.72635135135135</c:v>
                </c:pt>
                <c:pt idx="3835">
                  <c:v>334.79729729729735</c:v>
                </c:pt>
                <c:pt idx="3836">
                  <c:v>334.79729729729735</c:v>
                </c:pt>
                <c:pt idx="3837">
                  <c:v>334.79729729729735</c:v>
                </c:pt>
                <c:pt idx="3838">
                  <c:v>334.79729729729735</c:v>
                </c:pt>
                <c:pt idx="3839">
                  <c:v>334.79729729729735</c:v>
                </c:pt>
                <c:pt idx="3840">
                  <c:v>333.95270270270271</c:v>
                </c:pt>
                <c:pt idx="3841">
                  <c:v>333.95270270270271</c:v>
                </c:pt>
                <c:pt idx="3842">
                  <c:v>333.95270270270271</c:v>
                </c:pt>
                <c:pt idx="3843">
                  <c:v>333.95270270270271</c:v>
                </c:pt>
                <c:pt idx="3844">
                  <c:v>333.95270270270271</c:v>
                </c:pt>
                <c:pt idx="3845">
                  <c:v>333.69932432432432</c:v>
                </c:pt>
                <c:pt idx="3846">
                  <c:v>333.69932432432432</c:v>
                </c:pt>
                <c:pt idx="3847">
                  <c:v>333.69932432432432</c:v>
                </c:pt>
                <c:pt idx="3848">
                  <c:v>333.69932432432432</c:v>
                </c:pt>
                <c:pt idx="3849">
                  <c:v>333.69932432432432</c:v>
                </c:pt>
                <c:pt idx="3850">
                  <c:v>343.15878378378375</c:v>
                </c:pt>
                <c:pt idx="3851">
                  <c:v>343.15878378378375</c:v>
                </c:pt>
                <c:pt idx="3852">
                  <c:v>343.15878378378375</c:v>
                </c:pt>
                <c:pt idx="3853">
                  <c:v>343.15878378378375</c:v>
                </c:pt>
                <c:pt idx="3854">
                  <c:v>343.15878378378375</c:v>
                </c:pt>
                <c:pt idx="3855">
                  <c:v>351.85810810810818</c:v>
                </c:pt>
                <c:pt idx="3856">
                  <c:v>351.85810810810818</c:v>
                </c:pt>
                <c:pt idx="3857">
                  <c:v>351.85810810810818</c:v>
                </c:pt>
                <c:pt idx="3858">
                  <c:v>351.85810810810818</c:v>
                </c:pt>
                <c:pt idx="3859">
                  <c:v>351.85810810810818</c:v>
                </c:pt>
                <c:pt idx="3860">
                  <c:v>348.31081081081078</c:v>
                </c:pt>
                <c:pt idx="3861">
                  <c:v>348.31081081081078</c:v>
                </c:pt>
                <c:pt idx="3862">
                  <c:v>348.31081081081078</c:v>
                </c:pt>
                <c:pt idx="3863">
                  <c:v>348.31081081081078</c:v>
                </c:pt>
                <c:pt idx="3864">
                  <c:v>348.31081081081078</c:v>
                </c:pt>
                <c:pt idx="3865">
                  <c:v>350.00000000000006</c:v>
                </c:pt>
                <c:pt idx="3866">
                  <c:v>350.00000000000006</c:v>
                </c:pt>
                <c:pt idx="3867">
                  <c:v>350.00000000000006</c:v>
                </c:pt>
                <c:pt idx="3868">
                  <c:v>350.00000000000006</c:v>
                </c:pt>
                <c:pt idx="3869">
                  <c:v>350.00000000000006</c:v>
                </c:pt>
                <c:pt idx="3870">
                  <c:v>352.5337837837838</c:v>
                </c:pt>
                <c:pt idx="3871">
                  <c:v>352.5337837837838</c:v>
                </c:pt>
                <c:pt idx="3872">
                  <c:v>352.5337837837838</c:v>
                </c:pt>
                <c:pt idx="3873">
                  <c:v>352.5337837837838</c:v>
                </c:pt>
                <c:pt idx="3874">
                  <c:v>352.5337837837838</c:v>
                </c:pt>
                <c:pt idx="3875">
                  <c:v>349.91554054054052</c:v>
                </c:pt>
                <c:pt idx="3876">
                  <c:v>349.91554054054052</c:v>
                </c:pt>
                <c:pt idx="3877">
                  <c:v>349.91554054054052</c:v>
                </c:pt>
                <c:pt idx="3878">
                  <c:v>349.91554054054052</c:v>
                </c:pt>
                <c:pt idx="3879">
                  <c:v>349.91554054054052</c:v>
                </c:pt>
                <c:pt idx="3880">
                  <c:v>353.63175675675677</c:v>
                </c:pt>
                <c:pt idx="3881">
                  <c:v>353.63175675675677</c:v>
                </c:pt>
                <c:pt idx="3882">
                  <c:v>353.63175675675677</c:v>
                </c:pt>
                <c:pt idx="3883">
                  <c:v>353.63175675675677</c:v>
                </c:pt>
                <c:pt idx="3884">
                  <c:v>353.63175675675677</c:v>
                </c:pt>
                <c:pt idx="3885">
                  <c:v>350.67567567567568</c:v>
                </c:pt>
                <c:pt idx="3886">
                  <c:v>350.67567567567568</c:v>
                </c:pt>
                <c:pt idx="3887">
                  <c:v>350.67567567567568</c:v>
                </c:pt>
                <c:pt idx="3888">
                  <c:v>350.67567567567568</c:v>
                </c:pt>
                <c:pt idx="3889">
                  <c:v>350.67567567567568</c:v>
                </c:pt>
                <c:pt idx="3890">
                  <c:v>351.94256756756761</c:v>
                </c:pt>
                <c:pt idx="3891">
                  <c:v>351.94256756756761</c:v>
                </c:pt>
                <c:pt idx="3892">
                  <c:v>351.94256756756761</c:v>
                </c:pt>
                <c:pt idx="3893">
                  <c:v>351.94256756756761</c:v>
                </c:pt>
                <c:pt idx="3894">
                  <c:v>351.94256756756761</c:v>
                </c:pt>
                <c:pt idx="3895">
                  <c:v>352.44932432432432</c:v>
                </c:pt>
                <c:pt idx="3896">
                  <c:v>352.44932432432432</c:v>
                </c:pt>
                <c:pt idx="3897">
                  <c:v>352.44932432432432</c:v>
                </c:pt>
                <c:pt idx="3898">
                  <c:v>352.44932432432432</c:v>
                </c:pt>
                <c:pt idx="3899">
                  <c:v>352.44932432432432</c:v>
                </c:pt>
                <c:pt idx="3900">
                  <c:v>353.46283783783781</c:v>
                </c:pt>
                <c:pt idx="3901">
                  <c:v>353.46283783783781</c:v>
                </c:pt>
                <c:pt idx="3902">
                  <c:v>353.46283783783781</c:v>
                </c:pt>
                <c:pt idx="3903">
                  <c:v>353.46283783783781</c:v>
                </c:pt>
                <c:pt idx="3904">
                  <c:v>353.46283783783781</c:v>
                </c:pt>
                <c:pt idx="3905">
                  <c:v>365.45608108108109</c:v>
                </c:pt>
                <c:pt idx="3906">
                  <c:v>365.45608108108109</c:v>
                </c:pt>
                <c:pt idx="3907">
                  <c:v>365.45608108108109</c:v>
                </c:pt>
                <c:pt idx="3908">
                  <c:v>365.45608108108109</c:v>
                </c:pt>
                <c:pt idx="3909">
                  <c:v>365.45608108108109</c:v>
                </c:pt>
                <c:pt idx="3910">
                  <c:v>360.38851351351354</c:v>
                </c:pt>
                <c:pt idx="3911">
                  <c:v>360.38851351351354</c:v>
                </c:pt>
                <c:pt idx="3912">
                  <c:v>360.38851351351354</c:v>
                </c:pt>
                <c:pt idx="3913">
                  <c:v>360.38851351351354</c:v>
                </c:pt>
                <c:pt idx="3914">
                  <c:v>360.38851351351354</c:v>
                </c:pt>
                <c:pt idx="3915">
                  <c:v>374.66216216216219</c:v>
                </c:pt>
                <c:pt idx="3916">
                  <c:v>374.66216216216219</c:v>
                </c:pt>
                <c:pt idx="3917">
                  <c:v>374.66216216216219</c:v>
                </c:pt>
                <c:pt idx="3918">
                  <c:v>374.66216216216219</c:v>
                </c:pt>
                <c:pt idx="3919">
                  <c:v>374.66216216216219</c:v>
                </c:pt>
                <c:pt idx="3920">
                  <c:v>376.09797297297303</c:v>
                </c:pt>
                <c:pt idx="3921">
                  <c:v>376.09797297297303</c:v>
                </c:pt>
                <c:pt idx="3922">
                  <c:v>376.09797297297303</c:v>
                </c:pt>
                <c:pt idx="3923">
                  <c:v>376.09797297297303</c:v>
                </c:pt>
                <c:pt idx="3924">
                  <c:v>376.09797297297303</c:v>
                </c:pt>
                <c:pt idx="3925">
                  <c:v>391.21621621621625</c:v>
                </c:pt>
                <c:pt idx="3926">
                  <c:v>391.21621621621625</c:v>
                </c:pt>
                <c:pt idx="3927">
                  <c:v>391.21621621621625</c:v>
                </c:pt>
                <c:pt idx="3928">
                  <c:v>391.21621621621625</c:v>
                </c:pt>
                <c:pt idx="3929">
                  <c:v>391.21621621621625</c:v>
                </c:pt>
                <c:pt idx="3930">
                  <c:v>394.08783783783792</c:v>
                </c:pt>
                <c:pt idx="3931">
                  <c:v>394.08783783783792</c:v>
                </c:pt>
                <c:pt idx="3932">
                  <c:v>394.08783783783792</c:v>
                </c:pt>
                <c:pt idx="3933">
                  <c:v>394.08783783783792</c:v>
                </c:pt>
                <c:pt idx="3934">
                  <c:v>394.08783783783792</c:v>
                </c:pt>
                <c:pt idx="3935">
                  <c:v>392.2297297297298</c:v>
                </c:pt>
                <c:pt idx="3936">
                  <c:v>392.2297297297298</c:v>
                </c:pt>
                <c:pt idx="3937">
                  <c:v>392.2297297297298</c:v>
                </c:pt>
                <c:pt idx="3938">
                  <c:v>392.2297297297298</c:v>
                </c:pt>
                <c:pt idx="3939">
                  <c:v>392.2297297297298</c:v>
                </c:pt>
                <c:pt idx="3940">
                  <c:v>389.94932432432432</c:v>
                </c:pt>
                <c:pt idx="3941">
                  <c:v>389.94932432432432</c:v>
                </c:pt>
                <c:pt idx="3942">
                  <c:v>389.94932432432432</c:v>
                </c:pt>
                <c:pt idx="3943">
                  <c:v>389.94932432432432</c:v>
                </c:pt>
                <c:pt idx="3944">
                  <c:v>389.94932432432432</c:v>
                </c:pt>
                <c:pt idx="3945">
                  <c:v>402.78716216216219</c:v>
                </c:pt>
                <c:pt idx="3946">
                  <c:v>402.78716216216219</c:v>
                </c:pt>
                <c:pt idx="3947">
                  <c:v>402.78716216216219</c:v>
                </c:pt>
                <c:pt idx="3948">
                  <c:v>402.78716216216219</c:v>
                </c:pt>
                <c:pt idx="3949">
                  <c:v>402.78716216216219</c:v>
                </c:pt>
                <c:pt idx="3950">
                  <c:v>399.83108108108109</c:v>
                </c:pt>
                <c:pt idx="3951">
                  <c:v>399.83108108108109</c:v>
                </c:pt>
                <c:pt idx="3952">
                  <c:v>399.83108108108109</c:v>
                </c:pt>
                <c:pt idx="3953">
                  <c:v>399.83108108108109</c:v>
                </c:pt>
                <c:pt idx="3954">
                  <c:v>399.83108108108109</c:v>
                </c:pt>
                <c:pt idx="3955">
                  <c:v>401.3513513513513</c:v>
                </c:pt>
                <c:pt idx="3956">
                  <c:v>401.3513513513513</c:v>
                </c:pt>
                <c:pt idx="3957">
                  <c:v>401.3513513513513</c:v>
                </c:pt>
                <c:pt idx="3958">
                  <c:v>401.3513513513513</c:v>
                </c:pt>
                <c:pt idx="3959">
                  <c:v>401.3513513513513</c:v>
                </c:pt>
                <c:pt idx="3960">
                  <c:v>405.99662162162167</c:v>
                </c:pt>
                <c:pt idx="3961">
                  <c:v>405.99662162162167</c:v>
                </c:pt>
                <c:pt idx="3962">
                  <c:v>405.99662162162167</c:v>
                </c:pt>
                <c:pt idx="3963">
                  <c:v>405.99662162162167</c:v>
                </c:pt>
                <c:pt idx="3964">
                  <c:v>405.99662162162167</c:v>
                </c:pt>
                <c:pt idx="3965">
                  <c:v>417.56756756756755</c:v>
                </c:pt>
                <c:pt idx="3966">
                  <c:v>417.56756756756755</c:v>
                </c:pt>
                <c:pt idx="3967">
                  <c:v>417.56756756756755</c:v>
                </c:pt>
                <c:pt idx="3968">
                  <c:v>417.56756756756755</c:v>
                </c:pt>
                <c:pt idx="3969">
                  <c:v>417.56756756756755</c:v>
                </c:pt>
                <c:pt idx="3970">
                  <c:v>416.21621621621625</c:v>
                </c:pt>
                <c:pt idx="3971">
                  <c:v>416.21621621621625</c:v>
                </c:pt>
                <c:pt idx="3972">
                  <c:v>416.21621621621625</c:v>
                </c:pt>
                <c:pt idx="3973">
                  <c:v>416.21621621621625</c:v>
                </c:pt>
                <c:pt idx="3974">
                  <c:v>416.21621621621625</c:v>
                </c:pt>
                <c:pt idx="3975">
                  <c:v>410.13513513513516</c:v>
                </c:pt>
                <c:pt idx="3976">
                  <c:v>410.13513513513516</c:v>
                </c:pt>
                <c:pt idx="3977">
                  <c:v>410.13513513513516</c:v>
                </c:pt>
                <c:pt idx="3978">
                  <c:v>410.13513513513516</c:v>
                </c:pt>
                <c:pt idx="3979">
                  <c:v>410.13513513513516</c:v>
                </c:pt>
                <c:pt idx="3980">
                  <c:v>419.25675675675683</c:v>
                </c:pt>
                <c:pt idx="3981">
                  <c:v>419.25675675675683</c:v>
                </c:pt>
                <c:pt idx="3982">
                  <c:v>419.25675675675683</c:v>
                </c:pt>
                <c:pt idx="3983">
                  <c:v>419.25675675675683</c:v>
                </c:pt>
                <c:pt idx="3984">
                  <c:v>419.25675675675683</c:v>
                </c:pt>
                <c:pt idx="3985">
                  <c:v>421.79054054054052</c:v>
                </c:pt>
                <c:pt idx="3986">
                  <c:v>421.79054054054052</c:v>
                </c:pt>
                <c:pt idx="3987">
                  <c:v>421.79054054054052</c:v>
                </c:pt>
                <c:pt idx="3988">
                  <c:v>421.79054054054052</c:v>
                </c:pt>
                <c:pt idx="3989">
                  <c:v>421.79054054054052</c:v>
                </c:pt>
                <c:pt idx="3990">
                  <c:v>439.61148648648651</c:v>
                </c:pt>
                <c:pt idx="3991">
                  <c:v>439.61148648648651</c:v>
                </c:pt>
                <c:pt idx="3992">
                  <c:v>439.61148648648651</c:v>
                </c:pt>
                <c:pt idx="3993">
                  <c:v>439.61148648648651</c:v>
                </c:pt>
                <c:pt idx="3994">
                  <c:v>439.61148648648651</c:v>
                </c:pt>
                <c:pt idx="3995">
                  <c:v>428.04054054054052</c:v>
                </c:pt>
                <c:pt idx="3996">
                  <c:v>428.04054054054052</c:v>
                </c:pt>
                <c:pt idx="3997">
                  <c:v>428.04054054054052</c:v>
                </c:pt>
                <c:pt idx="3998">
                  <c:v>428.04054054054052</c:v>
                </c:pt>
                <c:pt idx="3999">
                  <c:v>428.04054054054052</c:v>
                </c:pt>
                <c:pt idx="4000">
                  <c:v>441.89189189189193</c:v>
                </c:pt>
                <c:pt idx="4001">
                  <c:v>441.89189189189193</c:v>
                </c:pt>
                <c:pt idx="4002">
                  <c:v>441.89189189189193</c:v>
                </c:pt>
                <c:pt idx="4003">
                  <c:v>441.89189189189193</c:v>
                </c:pt>
                <c:pt idx="4004">
                  <c:v>441.89189189189193</c:v>
                </c:pt>
                <c:pt idx="4005">
                  <c:v>443.83445945945948</c:v>
                </c:pt>
                <c:pt idx="4006">
                  <c:v>443.83445945945948</c:v>
                </c:pt>
                <c:pt idx="4007">
                  <c:v>443.83445945945948</c:v>
                </c:pt>
                <c:pt idx="4008">
                  <c:v>443.83445945945948</c:v>
                </c:pt>
                <c:pt idx="4009">
                  <c:v>443.83445945945948</c:v>
                </c:pt>
                <c:pt idx="4010">
                  <c:v>440.70945945945948</c:v>
                </c:pt>
                <c:pt idx="4011">
                  <c:v>440.70945945945948</c:v>
                </c:pt>
                <c:pt idx="4012">
                  <c:v>440.70945945945948</c:v>
                </c:pt>
                <c:pt idx="4013">
                  <c:v>440.70945945945948</c:v>
                </c:pt>
                <c:pt idx="4014">
                  <c:v>440.70945945945948</c:v>
                </c:pt>
                <c:pt idx="4015">
                  <c:v>454.64527027027026</c:v>
                </c:pt>
                <c:pt idx="4016">
                  <c:v>454.64527027027026</c:v>
                </c:pt>
                <c:pt idx="4017">
                  <c:v>454.64527027027026</c:v>
                </c:pt>
                <c:pt idx="4018">
                  <c:v>454.64527027027026</c:v>
                </c:pt>
                <c:pt idx="4019">
                  <c:v>454.64527027027026</c:v>
                </c:pt>
                <c:pt idx="4020">
                  <c:v>449.49324324324323</c:v>
                </c:pt>
                <c:pt idx="4021">
                  <c:v>449.49324324324323</c:v>
                </c:pt>
                <c:pt idx="4022">
                  <c:v>449.49324324324323</c:v>
                </c:pt>
                <c:pt idx="4023">
                  <c:v>449.49324324324323</c:v>
                </c:pt>
                <c:pt idx="4024">
                  <c:v>449.49324324324323</c:v>
                </c:pt>
                <c:pt idx="4025">
                  <c:v>453.63175675675683</c:v>
                </c:pt>
                <c:pt idx="4026">
                  <c:v>453.63175675675683</c:v>
                </c:pt>
                <c:pt idx="4027">
                  <c:v>453.63175675675683</c:v>
                </c:pt>
                <c:pt idx="4028">
                  <c:v>453.63175675675683</c:v>
                </c:pt>
                <c:pt idx="4029">
                  <c:v>453.63175675675683</c:v>
                </c:pt>
                <c:pt idx="4030">
                  <c:v>470.77702702702703</c:v>
                </c:pt>
                <c:pt idx="4031">
                  <c:v>470.77702702702703</c:v>
                </c:pt>
                <c:pt idx="4032">
                  <c:v>470.77702702702703</c:v>
                </c:pt>
                <c:pt idx="4033">
                  <c:v>470.77702702702703</c:v>
                </c:pt>
                <c:pt idx="4034">
                  <c:v>470.77702702702703</c:v>
                </c:pt>
                <c:pt idx="4035">
                  <c:v>447.88851351351349</c:v>
                </c:pt>
                <c:pt idx="4036">
                  <c:v>447.88851351351349</c:v>
                </c:pt>
                <c:pt idx="4037">
                  <c:v>447.88851351351349</c:v>
                </c:pt>
                <c:pt idx="4038">
                  <c:v>447.88851351351349</c:v>
                </c:pt>
                <c:pt idx="4039">
                  <c:v>447.88851351351349</c:v>
                </c:pt>
                <c:pt idx="4040">
                  <c:v>462.58445945945948</c:v>
                </c:pt>
                <c:pt idx="4041">
                  <c:v>462.58445945945948</c:v>
                </c:pt>
                <c:pt idx="4042">
                  <c:v>462.58445945945948</c:v>
                </c:pt>
                <c:pt idx="4043">
                  <c:v>462.58445945945948</c:v>
                </c:pt>
                <c:pt idx="4044">
                  <c:v>462.58445945945948</c:v>
                </c:pt>
                <c:pt idx="4045">
                  <c:v>476.3513513513513</c:v>
                </c:pt>
                <c:pt idx="4046">
                  <c:v>476.3513513513513</c:v>
                </c:pt>
                <c:pt idx="4047">
                  <c:v>476.3513513513513</c:v>
                </c:pt>
                <c:pt idx="4048">
                  <c:v>476.3513513513513</c:v>
                </c:pt>
                <c:pt idx="4049">
                  <c:v>476.3513513513513</c:v>
                </c:pt>
                <c:pt idx="4050">
                  <c:v>475.42229729729729</c:v>
                </c:pt>
                <c:pt idx="4051">
                  <c:v>475.42229729729729</c:v>
                </c:pt>
                <c:pt idx="4052">
                  <c:v>475.42229729729729</c:v>
                </c:pt>
                <c:pt idx="4053">
                  <c:v>475.42229729729729</c:v>
                </c:pt>
                <c:pt idx="4054">
                  <c:v>475.42229729729729</c:v>
                </c:pt>
                <c:pt idx="4055">
                  <c:v>479.81418918918922</c:v>
                </c:pt>
                <c:pt idx="4056">
                  <c:v>479.81418918918922</c:v>
                </c:pt>
                <c:pt idx="4057">
                  <c:v>479.81418918918922</c:v>
                </c:pt>
                <c:pt idx="4058">
                  <c:v>479.81418918918922</c:v>
                </c:pt>
                <c:pt idx="4059">
                  <c:v>479.81418918918922</c:v>
                </c:pt>
                <c:pt idx="4060">
                  <c:v>495.77702702702703</c:v>
                </c:pt>
                <c:pt idx="4061">
                  <c:v>495.77702702702703</c:v>
                </c:pt>
                <c:pt idx="4062">
                  <c:v>495.77702702702703</c:v>
                </c:pt>
                <c:pt idx="4063">
                  <c:v>495.77702702702703</c:v>
                </c:pt>
                <c:pt idx="4064">
                  <c:v>495.77702702702703</c:v>
                </c:pt>
                <c:pt idx="4065">
                  <c:v>481.25000000000011</c:v>
                </c:pt>
                <c:pt idx="4066">
                  <c:v>481.25000000000011</c:v>
                </c:pt>
                <c:pt idx="4067">
                  <c:v>481.25000000000011</c:v>
                </c:pt>
                <c:pt idx="4068">
                  <c:v>481.25000000000011</c:v>
                </c:pt>
                <c:pt idx="4069">
                  <c:v>481.25000000000011</c:v>
                </c:pt>
                <c:pt idx="4070">
                  <c:v>481.33445945945948</c:v>
                </c:pt>
                <c:pt idx="4071">
                  <c:v>481.33445945945948</c:v>
                </c:pt>
                <c:pt idx="4072">
                  <c:v>481.33445945945948</c:v>
                </c:pt>
                <c:pt idx="4073">
                  <c:v>481.33445945945948</c:v>
                </c:pt>
                <c:pt idx="4074">
                  <c:v>481.33445945945948</c:v>
                </c:pt>
                <c:pt idx="4075">
                  <c:v>480.4898648648649</c:v>
                </c:pt>
                <c:pt idx="4076">
                  <c:v>480.4898648648649</c:v>
                </c:pt>
                <c:pt idx="4077">
                  <c:v>480.4898648648649</c:v>
                </c:pt>
                <c:pt idx="4078">
                  <c:v>480.4898648648649</c:v>
                </c:pt>
                <c:pt idx="4079">
                  <c:v>480.4898648648649</c:v>
                </c:pt>
                <c:pt idx="4080">
                  <c:v>491.04729729729735</c:v>
                </c:pt>
                <c:pt idx="4081">
                  <c:v>491.04729729729735</c:v>
                </c:pt>
                <c:pt idx="4082">
                  <c:v>491.04729729729735</c:v>
                </c:pt>
                <c:pt idx="4083">
                  <c:v>491.04729729729735</c:v>
                </c:pt>
                <c:pt idx="4084">
                  <c:v>491.04729729729735</c:v>
                </c:pt>
                <c:pt idx="4085">
                  <c:v>489.69594594594594</c:v>
                </c:pt>
                <c:pt idx="4086">
                  <c:v>489.69594594594594</c:v>
                </c:pt>
                <c:pt idx="4087">
                  <c:v>489.69594594594594</c:v>
                </c:pt>
                <c:pt idx="4088">
                  <c:v>489.69594594594594</c:v>
                </c:pt>
                <c:pt idx="4089">
                  <c:v>489.69594594594594</c:v>
                </c:pt>
                <c:pt idx="4090">
                  <c:v>495.5236486486487</c:v>
                </c:pt>
                <c:pt idx="4091">
                  <c:v>495.5236486486487</c:v>
                </c:pt>
                <c:pt idx="4092">
                  <c:v>495.5236486486487</c:v>
                </c:pt>
                <c:pt idx="4093">
                  <c:v>495.5236486486487</c:v>
                </c:pt>
                <c:pt idx="4094">
                  <c:v>495.5236486486487</c:v>
                </c:pt>
                <c:pt idx="4095">
                  <c:v>492.22972972972974</c:v>
                </c:pt>
                <c:pt idx="4096">
                  <c:v>492.22972972972974</c:v>
                </c:pt>
                <c:pt idx="4097">
                  <c:v>492.22972972972974</c:v>
                </c:pt>
                <c:pt idx="4098">
                  <c:v>492.22972972972974</c:v>
                </c:pt>
                <c:pt idx="4099">
                  <c:v>492.22972972972974</c:v>
                </c:pt>
                <c:pt idx="4100">
                  <c:v>504.81418918918922</c:v>
                </c:pt>
                <c:pt idx="4101">
                  <c:v>504.81418918918922</c:v>
                </c:pt>
                <c:pt idx="4102">
                  <c:v>504.81418918918922</c:v>
                </c:pt>
                <c:pt idx="4103">
                  <c:v>504.81418918918922</c:v>
                </c:pt>
                <c:pt idx="4104">
                  <c:v>504.81418918918922</c:v>
                </c:pt>
                <c:pt idx="4105">
                  <c:v>497.71959459459458</c:v>
                </c:pt>
                <c:pt idx="4106">
                  <c:v>497.71959459459458</c:v>
                </c:pt>
                <c:pt idx="4107">
                  <c:v>497.71959459459458</c:v>
                </c:pt>
                <c:pt idx="4108">
                  <c:v>497.71959459459458</c:v>
                </c:pt>
                <c:pt idx="4109">
                  <c:v>497.71959459459458</c:v>
                </c:pt>
                <c:pt idx="4110">
                  <c:v>502.95608108108115</c:v>
                </c:pt>
                <c:pt idx="4111">
                  <c:v>502.95608108108115</c:v>
                </c:pt>
                <c:pt idx="4112">
                  <c:v>502.95608108108115</c:v>
                </c:pt>
                <c:pt idx="4113">
                  <c:v>502.95608108108115</c:v>
                </c:pt>
                <c:pt idx="4114">
                  <c:v>502.95608108108115</c:v>
                </c:pt>
                <c:pt idx="4115">
                  <c:v>504.98310810810818</c:v>
                </c:pt>
                <c:pt idx="4116">
                  <c:v>504.98310810810818</c:v>
                </c:pt>
                <c:pt idx="4117">
                  <c:v>504.98310810810818</c:v>
                </c:pt>
                <c:pt idx="4118">
                  <c:v>504.98310810810818</c:v>
                </c:pt>
                <c:pt idx="4119">
                  <c:v>504.98310810810818</c:v>
                </c:pt>
                <c:pt idx="4120">
                  <c:v>516.21621621621625</c:v>
                </c:pt>
                <c:pt idx="4121">
                  <c:v>516.21621621621625</c:v>
                </c:pt>
                <c:pt idx="4122">
                  <c:v>516.21621621621625</c:v>
                </c:pt>
                <c:pt idx="4123">
                  <c:v>516.21621621621625</c:v>
                </c:pt>
                <c:pt idx="4124">
                  <c:v>516.21621621621625</c:v>
                </c:pt>
                <c:pt idx="4125">
                  <c:v>516.72297297297303</c:v>
                </c:pt>
                <c:pt idx="4126">
                  <c:v>516.72297297297303</c:v>
                </c:pt>
                <c:pt idx="4127">
                  <c:v>516.72297297297303</c:v>
                </c:pt>
                <c:pt idx="4128">
                  <c:v>516.72297297297303</c:v>
                </c:pt>
                <c:pt idx="4129">
                  <c:v>516.72297297297303</c:v>
                </c:pt>
                <c:pt idx="4130">
                  <c:v>518.41216216216219</c:v>
                </c:pt>
                <c:pt idx="4131">
                  <c:v>518.41216216216219</c:v>
                </c:pt>
                <c:pt idx="4132">
                  <c:v>518.41216216216219</c:v>
                </c:pt>
                <c:pt idx="4133">
                  <c:v>518.41216216216219</c:v>
                </c:pt>
                <c:pt idx="4134">
                  <c:v>518.41216216216219</c:v>
                </c:pt>
                <c:pt idx="4135">
                  <c:v>510.55743243243245</c:v>
                </c:pt>
                <c:pt idx="4136">
                  <c:v>510.55743243243245</c:v>
                </c:pt>
                <c:pt idx="4137">
                  <c:v>510.55743243243245</c:v>
                </c:pt>
                <c:pt idx="4138">
                  <c:v>510.55743243243245</c:v>
                </c:pt>
                <c:pt idx="4139">
                  <c:v>510.55743243243245</c:v>
                </c:pt>
                <c:pt idx="4140">
                  <c:v>516.89189189189187</c:v>
                </c:pt>
                <c:pt idx="4141">
                  <c:v>516.89189189189187</c:v>
                </c:pt>
                <c:pt idx="4142">
                  <c:v>516.89189189189187</c:v>
                </c:pt>
                <c:pt idx="4143">
                  <c:v>516.89189189189187</c:v>
                </c:pt>
                <c:pt idx="4144">
                  <c:v>516.89189189189187</c:v>
                </c:pt>
                <c:pt idx="4145">
                  <c:v>524.2398648648649</c:v>
                </c:pt>
                <c:pt idx="4146">
                  <c:v>524.2398648648649</c:v>
                </c:pt>
                <c:pt idx="4147">
                  <c:v>524.2398648648649</c:v>
                </c:pt>
                <c:pt idx="4148">
                  <c:v>524.2398648648649</c:v>
                </c:pt>
                <c:pt idx="4149">
                  <c:v>524.2398648648649</c:v>
                </c:pt>
                <c:pt idx="4150">
                  <c:v>532.01013513513522</c:v>
                </c:pt>
                <c:pt idx="4151">
                  <c:v>532.01013513513522</c:v>
                </c:pt>
                <c:pt idx="4152">
                  <c:v>532.01013513513522</c:v>
                </c:pt>
                <c:pt idx="4153">
                  <c:v>532.01013513513522</c:v>
                </c:pt>
                <c:pt idx="4154">
                  <c:v>532.01013513513522</c:v>
                </c:pt>
                <c:pt idx="4155">
                  <c:v>530.06756756756749</c:v>
                </c:pt>
                <c:pt idx="4156">
                  <c:v>530.06756756756749</c:v>
                </c:pt>
                <c:pt idx="4157">
                  <c:v>530.06756756756749</c:v>
                </c:pt>
                <c:pt idx="4158">
                  <c:v>530.06756756756749</c:v>
                </c:pt>
                <c:pt idx="4159">
                  <c:v>530.06756756756749</c:v>
                </c:pt>
                <c:pt idx="4160">
                  <c:v>528.8851351351351</c:v>
                </c:pt>
                <c:pt idx="4161">
                  <c:v>528.8851351351351</c:v>
                </c:pt>
                <c:pt idx="4162">
                  <c:v>528.8851351351351</c:v>
                </c:pt>
                <c:pt idx="4163">
                  <c:v>528.8851351351351</c:v>
                </c:pt>
                <c:pt idx="4164">
                  <c:v>528.8851351351351</c:v>
                </c:pt>
                <c:pt idx="4165">
                  <c:v>533.53040540540542</c:v>
                </c:pt>
                <c:pt idx="4166">
                  <c:v>533.53040540540542</c:v>
                </c:pt>
                <c:pt idx="4167">
                  <c:v>533.53040540540542</c:v>
                </c:pt>
                <c:pt idx="4168">
                  <c:v>533.53040540540542</c:v>
                </c:pt>
                <c:pt idx="4169">
                  <c:v>533.53040540540542</c:v>
                </c:pt>
                <c:pt idx="4170">
                  <c:v>533.36148648648657</c:v>
                </c:pt>
                <c:pt idx="4171">
                  <c:v>533.36148648648657</c:v>
                </c:pt>
                <c:pt idx="4172">
                  <c:v>533.36148648648657</c:v>
                </c:pt>
                <c:pt idx="4173">
                  <c:v>533.36148648648657</c:v>
                </c:pt>
                <c:pt idx="4174">
                  <c:v>533.36148648648657</c:v>
                </c:pt>
                <c:pt idx="4175">
                  <c:v>544.93243243243251</c:v>
                </c:pt>
                <c:pt idx="4176">
                  <c:v>544.93243243243251</c:v>
                </c:pt>
                <c:pt idx="4177">
                  <c:v>544.93243243243251</c:v>
                </c:pt>
                <c:pt idx="4178">
                  <c:v>544.93243243243251</c:v>
                </c:pt>
                <c:pt idx="4179">
                  <c:v>544.93243243243251</c:v>
                </c:pt>
                <c:pt idx="4180">
                  <c:v>540.37162162162156</c:v>
                </c:pt>
                <c:pt idx="4181">
                  <c:v>540.37162162162156</c:v>
                </c:pt>
                <c:pt idx="4182">
                  <c:v>540.37162162162156</c:v>
                </c:pt>
                <c:pt idx="4183">
                  <c:v>540.37162162162156</c:v>
                </c:pt>
                <c:pt idx="4184">
                  <c:v>540.37162162162156</c:v>
                </c:pt>
                <c:pt idx="4185">
                  <c:v>549.91554054054063</c:v>
                </c:pt>
                <c:pt idx="4186">
                  <c:v>549.91554054054063</c:v>
                </c:pt>
                <c:pt idx="4187">
                  <c:v>549.91554054054063</c:v>
                </c:pt>
                <c:pt idx="4188">
                  <c:v>549.91554054054063</c:v>
                </c:pt>
                <c:pt idx="4189">
                  <c:v>549.91554054054063</c:v>
                </c:pt>
                <c:pt idx="4190">
                  <c:v>552.70270270270271</c:v>
                </c:pt>
                <c:pt idx="4191">
                  <c:v>552.70270270270271</c:v>
                </c:pt>
                <c:pt idx="4192">
                  <c:v>552.70270270270271</c:v>
                </c:pt>
                <c:pt idx="4193">
                  <c:v>552.70270270270271</c:v>
                </c:pt>
                <c:pt idx="4194">
                  <c:v>552.70270270270271</c:v>
                </c:pt>
                <c:pt idx="4195">
                  <c:v>548.56418918918916</c:v>
                </c:pt>
                <c:pt idx="4196">
                  <c:v>548.56418918918916</c:v>
                </c:pt>
                <c:pt idx="4197">
                  <c:v>548.56418918918916</c:v>
                </c:pt>
                <c:pt idx="4198">
                  <c:v>548.56418918918916</c:v>
                </c:pt>
                <c:pt idx="4199">
                  <c:v>548.56418918918916</c:v>
                </c:pt>
                <c:pt idx="4200">
                  <c:v>557.51689189189187</c:v>
                </c:pt>
                <c:pt idx="4201">
                  <c:v>557.51689189189187</c:v>
                </c:pt>
                <c:pt idx="4202">
                  <c:v>557.51689189189187</c:v>
                </c:pt>
                <c:pt idx="4203">
                  <c:v>557.51689189189187</c:v>
                </c:pt>
                <c:pt idx="4204">
                  <c:v>557.51689189189187</c:v>
                </c:pt>
                <c:pt idx="4205">
                  <c:v>555.99662162162167</c:v>
                </c:pt>
                <c:pt idx="4206">
                  <c:v>555.99662162162167</c:v>
                </c:pt>
                <c:pt idx="4207">
                  <c:v>555.99662162162167</c:v>
                </c:pt>
                <c:pt idx="4208">
                  <c:v>555.99662162162167</c:v>
                </c:pt>
                <c:pt idx="4209">
                  <c:v>555.99662162162167</c:v>
                </c:pt>
                <c:pt idx="4210">
                  <c:v>562.16216216216219</c:v>
                </c:pt>
                <c:pt idx="4211">
                  <c:v>562.16216216216219</c:v>
                </c:pt>
                <c:pt idx="4212">
                  <c:v>562.16216216216219</c:v>
                </c:pt>
                <c:pt idx="4213">
                  <c:v>562.16216216216219</c:v>
                </c:pt>
                <c:pt idx="4214">
                  <c:v>562.16216216216219</c:v>
                </c:pt>
                <c:pt idx="4215">
                  <c:v>563.00675675675689</c:v>
                </c:pt>
                <c:pt idx="4216">
                  <c:v>563.00675675675689</c:v>
                </c:pt>
                <c:pt idx="4217">
                  <c:v>563.00675675675689</c:v>
                </c:pt>
                <c:pt idx="4218">
                  <c:v>563.00675675675689</c:v>
                </c:pt>
                <c:pt idx="4219">
                  <c:v>563.00675675675689</c:v>
                </c:pt>
                <c:pt idx="4220">
                  <c:v>555.65878378378375</c:v>
                </c:pt>
                <c:pt idx="4221">
                  <c:v>555.65878378378375</c:v>
                </c:pt>
                <c:pt idx="4222">
                  <c:v>555.65878378378375</c:v>
                </c:pt>
                <c:pt idx="4223">
                  <c:v>555.65878378378375</c:v>
                </c:pt>
                <c:pt idx="4224">
                  <c:v>555.65878378378375</c:v>
                </c:pt>
                <c:pt idx="4225">
                  <c:v>558.69932432432438</c:v>
                </c:pt>
                <c:pt idx="4226">
                  <c:v>558.69932432432438</c:v>
                </c:pt>
                <c:pt idx="4227">
                  <c:v>558.69932432432438</c:v>
                </c:pt>
                <c:pt idx="4228">
                  <c:v>558.69932432432438</c:v>
                </c:pt>
                <c:pt idx="4229">
                  <c:v>558.69932432432438</c:v>
                </c:pt>
                <c:pt idx="4230">
                  <c:v>562.5</c:v>
                </c:pt>
                <c:pt idx="4231">
                  <c:v>562.5</c:v>
                </c:pt>
                <c:pt idx="4232">
                  <c:v>562.5</c:v>
                </c:pt>
                <c:pt idx="4233">
                  <c:v>562.5</c:v>
                </c:pt>
                <c:pt idx="4234">
                  <c:v>562.5</c:v>
                </c:pt>
                <c:pt idx="4235">
                  <c:v>562.58445945945948</c:v>
                </c:pt>
                <c:pt idx="4236">
                  <c:v>562.58445945945948</c:v>
                </c:pt>
                <c:pt idx="4237">
                  <c:v>562.58445945945948</c:v>
                </c:pt>
                <c:pt idx="4238">
                  <c:v>562.58445945945948</c:v>
                </c:pt>
                <c:pt idx="4239">
                  <c:v>562.58445945945948</c:v>
                </c:pt>
                <c:pt idx="4240">
                  <c:v>557.43243243243251</c:v>
                </c:pt>
                <c:pt idx="4241">
                  <c:v>557.43243243243251</c:v>
                </c:pt>
                <c:pt idx="4242">
                  <c:v>557.43243243243251</c:v>
                </c:pt>
                <c:pt idx="4243">
                  <c:v>557.43243243243251</c:v>
                </c:pt>
                <c:pt idx="4244">
                  <c:v>557.43243243243251</c:v>
                </c:pt>
                <c:pt idx="4245">
                  <c:v>568.49662162162167</c:v>
                </c:pt>
                <c:pt idx="4246">
                  <c:v>568.49662162162167</c:v>
                </c:pt>
                <c:pt idx="4247">
                  <c:v>568.49662162162167</c:v>
                </c:pt>
                <c:pt idx="4248">
                  <c:v>568.49662162162167</c:v>
                </c:pt>
                <c:pt idx="4249">
                  <c:v>568.49662162162167</c:v>
                </c:pt>
                <c:pt idx="4250">
                  <c:v>581.50337837837844</c:v>
                </c:pt>
                <c:pt idx="4251">
                  <c:v>581.50337837837844</c:v>
                </c:pt>
                <c:pt idx="4252">
                  <c:v>581.50337837837844</c:v>
                </c:pt>
                <c:pt idx="4253">
                  <c:v>581.50337837837844</c:v>
                </c:pt>
                <c:pt idx="4254">
                  <c:v>581.50337837837844</c:v>
                </c:pt>
                <c:pt idx="4255">
                  <c:v>584.7972972972974</c:v>
                </c:pt>
                <c:pt idx="4256">
                  <c:v>584.7972972972974</c:v>
                </c:pt>
                <c:pt idx="4257">
                  <c:v>584.7972972972974</c:v>
                </c:pt>
                <c:pt idx="4258">
                  <c:v>584.7972972972974</c:v>
                </c:pt>
                <c:pt idx="4259">
                  <c:v>584.7972972972974</c:v>
                </c:pt>
                <c:pt idx="4260">
                  <c:v>575.42229729729729</c:v>
                </c:pt>
                <c:pt idx="4261">
                  <c:v>575.42229729729729</c:v>
                </c:pt>
                <c:pt idx="4262">
                  <c:v>575.42229729729729</c:v>
                </c:pt>
                <c:pt idx="4263">
                  <c:v>575.42229729729729</c:v>
                </c:pt>
                <c:pt idx="4264">
                  <c:v>575.42229729729729</c:v>
                </c:pt>
                <c:pt idx="4265">
                  <c:v>577.19594594594594</c:v>
                </c:pt>
                <c:pt idx="4266">
                  <c:v>577.19594594594594</c:v>
                </c:pt>
                <c:pt idx="4267">
                  <c:v>577.19594594594594</c:v>
                </c:pt>
                <c:pt idx="4268">
                  <c:v>577.19594594594594</c:v>
                </c:pt>
                <c:pt idx="4269">
                  <c:v>577.19594594594594</c:v>
                </c:pt>
                <c:pt idx="4270">
                  <c:v>599.91554054054052</c:v>
                </c:pt>
                <c:pt idx="4271">
                  <c:v>599.91554054054052</c:v>
                </c:pt>
                <c:pt idx="4272">
                  <c:v>599.91554054054052</c:v>
                </c:pt>
                <c:pt idx="4273">
                  <c:v>599.91554054054052</c:v>
                </c:pt>
                <c:pt idx="4274">
                  <c:v>599.91554054054052</c:v>
                </c:pt>
                <c:pt idx="4275">
                  <c:v>589.61148648648646</c:v>
                </c:pt>
                <c:pt idx="4276">
                  <c:v>589.61148648648646</c:v>
                </c:pt>
                <c:pt idx="4277">
                  <c:v>589.61148648648646</c:v>
                </c:pt>
                <c:pt idx="4278">
                  <c:v>589.61148648648646</c:v>
                </c:pt>
                <c:pt idx="4279">
                  <c:v>589.61148648648646</c:v>
                </c:pt>
                <c:pt idx="4280">
                  <c:v>596.03040540540542</c:v>
                </c:pt>
                <c:pt idx="4281">
                  <c:v>596.03040540540542</c:v>
                </c:pt>
                <c:pt idx="4282">
                  <c:v>596.03040540540542</c:v>
                </c:pt>
                <c:pt idx="4283">
                  <c:v>596.03040540540542</c:v>
                </c:pt>
                <c:pt idx="4284">
                  <c:v>596.03040540540542</c:v>
                </c:pt>
                <c:pt idx="4285">
                  <c:v>589.94932432432438</c:v>
                </c:pt>
                <c:pt idx="4286">
                  <c:v>589.94932432432438</c:v>
                </c:pt>
                <c:pt idx="4287">
                  <c:v>589.94932432432438</c:v>
                </c:pt>
                <c:pt idx="4288">
                  <c:v>589.94932432432438</c:v>
                </c:pt>
                <c:pt idx="4289">
                  <c:v>589.94932432432438</c:v>
                </c:pt>
                <c:pt idx="4290">
                  <c:v>587.07770270270271</c:v>
                </c:pt>
                <c:pt idx="4291">
                  <c:v>587.07770270270271</c:v>
                </c:pt>
                <c:pt idx="4292">
                  <c:v>587.07770270270271</c:v>
                </c:pt>
                <c:pt idx="4293">
                  <c:v>587.07770270270271</c:v>
                </c:pt>
                <c:pt idx="4294">
                  <c:v>587.07770270270271</c:v>
                </c:pt>
                <c:pt idx="4295">
                  <c:v>589.10472972972968</c:v>
                </c:pt>
                <c:pt idx="4296">
                  <c:v>589.10472972972968</c:v>
                </c:pt>
                <c:pt idx="4297">
                  <c:v>589.10472972972968</c:v>
                </c:pt>
                <c:pt idx="4298">
                  <c:v>589.10472972972968</c:v>
                </c:pt>
                <c:pt idx="4299">
                  <c:v>589.10472972972968</c:v>
                </c:pt>
                <c:pt idx="4300">
                  <c:v>590.45608108108104</c:v>
                </c:pt>
                <c:pt idx="4301">
                  <c:v>590.45608108108104</c:v>
                </c:pt>
                <c:pt idx="4302">
                  <c:v>590.45608108108104</c:v>
                </c:pt>
                <c:pt idx="4303">
                  <c:v>590.45608108108104</c:v>
                </c:pt>
                <c:pt idx="4304">
                  <c:v>590.45608108108104</c:v>
                </c:pt>
                <c:pt idx="4305">
                  <c:v>605.15202702702697</c:v>
                </c:pt>
                <c:pt idx="4306">
                  <c:v>605.15202702702697</c:v>
                </c:pt>
                <c:pt idx="4307">
                  <c:v>605.15202702702697</c:v>
                </c:pt>
                <c:pt idx="4308">
                  <c:v>605.15202702702697</c:v>
                </c:pt>
                <c:pt idx="4309">
                  <c:v>605.15202702702697</c:v>
                </c:pt>
                <c:pt idx="4310">
                  <c:v>622.21283783783792</c:v>
                </c:pt>
                <c:pt idx="4311">
                  <c:v>622.21283783783792</c:v>
                </c:pt>
                <c:pt idx="4312">
                  <c:v>622.21283783783792</c:v>
                </c:pt>
                <c:pt idx="4313">
                  <c:v>622.21283783783792</c:v>
                </c:pt>
                <c:pt idx="4314">
                  <c:v>622.21283783783792</c:v>
                </c:pt>
                <c:pt idx="4315">
                  <c:v>604.22297297297303</c:v>
                </c:pt>
                <c:pt idx="4316">
                  <c:v>604.22297297297303</c:v>
                </c:pt>
                <c:pt idx="4317">
                  <c:v>604.22297297297303</c:v>
                </c:pt>
                <c:pt idx="4318">
                  <c:v>604.22297297297303</c:v>
                </c:pt>
                <c:pt idx="4319">
                  <c:v>604.22297297297303</c:v>
                </c:pt>
                <c:pt idx="4320">
                  <c:v>636.90878378378386</c:v>
                </c:pt>
                <c:pt idx="4321">
                  <c:v>636.90878378378386</c:v>
                </c:pt>
                <c:pt idx="4322">
                  <c:v>636.90878378378386</c:v>
                </c:pt>
                <c:pt idx="4323">
                  <c:v>636.90878378378386</c:v>
                </c:pt>
                <c:pt idx="4324">
                  <c:v>636.90878378378386</c:v>
                </c:pt>
                <c:pt idx="4325">
                  <c:v>616.97635135135135</c:v>
                </c:pt>
                <c:pt idx="4326">
                  <c:v>616.97635135135135</c:v>
                </c:pt>
                <c:pt idx="4327">
                  <c:v>616.97635135135135</c:v>
                </c:pt>
                <c:pt idx="4328">
                  <c:v>616.97635135135135</c:v>
                </c:pt>
                <c:pt idx="4329">
                  <c:v>616.97635135135135</c:v>
                </c:pt>
                <c:pt idx="4330">
                  <c:v>609.96621621621637</c:v>
                </c:pt>
                <c:pt idx="4331">
                  <c:v>609.96621621621637</c:v>
                </c:pt>
                <c:pt idx="4332">
                  <c:v>609.96621621621637</c:v>
                </c:pt>
                <c:pt idx="4333">
                  <c:v>609.96621621621637</c:v>
                </c:pt>
                <c:pt idx="4334">
                  <c:v>609.96621621621637</c:v>
                </c:pt>
                <c:pt idx="4335">
                  <c:v>616.97635135135135</c:v>
                </c:pt>
                <c:pt idx="4336">
                  <c:v>616.97635135135135</c:v>
                </c:pt>
                <c:pt idx="4337">
                  <c:v>616.97635135135135</c:v>
                </c:pt>
                <c:pt idx="4338">
                  <c:v>616.97635135135135</c:v>
                </c:pt>
                <c:pt idx="4339">
                  <c:v>616.97635135135135</c:v>
                </c:pt>
                <c:pt idx="4340">
                  <c:v>599.49324324324323</c:v>
                </c:pt>
                <c:pt idx="4341">
                  <c:v>599.49324324324323</c:v>
                </c:pt>
                <c:pt idx="4342">
                  <c:v>599.49324324324323</c:v>
                </c:pt>
                <c:pt idx="4343">
                  <c:v>599.49324324324323</c:v>
                </c:pt>
                <c:pt idx="4344">
                  <c:v>599.49324324324323</c:v>
                </c:pt>
                <c:pt idx="4345">
                  <c:v>605.40540540540542</c:v>
                </c:pt>
                <c:pt idx="4346">
                  <c:v>605.40540540540542</c:v>
                </c:pt>
                <c:pt idx="4347">
                  <c:v>605.40540540540542</c:v>
                </c:pt>
                <c:pt idx="4348">
                  <c:v>605.40540540540542</c:v>
                </c:pt>
                <c:pt idx="4349">
                  <c:v>605.40540540540542</c:v>
                </c:pt>
                <c:pt idx="4350">
                  <c:v>623.47972972972968</c:v>
                </c:pt>
                <c:pt idx="4351">
                  <c:v>623.47972972972968</c:v>
                </c:pt>
                <c:pt idx="4352">
                  <c:v>623.47972972972968</c:v>
                </c:pt>
                <c:pt idx="4353">
                  <c:v>623.47972972972968</c:v>
                </c:pt>
                <c:pt idx="4354">
                  <c:v>623.47972972972968</c:v>
                </c:pt>
                <c:pt idx="4355">
                  <c:v>629.98310810810813</c:v>
                </c:pt>
                <c:pt idx="4356">
                  <c:v>629.98310810810813</c:v>
                </c:pt>
                <c:pt idx="4357">
                  <c:v>629.98310810810813</c:v>
                </c:pt>
                <c:pt idx="4358">
                  <c:v>629.98310810810813</c:v>
                </c:pt>
                <c:pt idx="4359">
                  <c:v>629.98310810810813</c:v>
                </c:pt>
                <c:pt idx="4360">
                  <c:v>606.84121621621625</c:v>
                </c:pt>
                <c:pt idx="4361">
                  <c:v>606.84121621621625</c:v>
                </c:pt>
                <c:pt idx="4362">
                  <c:v>606.84121621621625</c:v>
                </c:pt>
                <c:pt idx="4363">
                  <c:v>606.84121621621625</c:v>
                </c:pt>
                <c:pt idx="4364">
                  <c:v>606.84121621621625</c:v>
                </c:pt>
                <c:pt idx="4365">
                  <c:v>617.39864864864865</c:v>
                </c:pt>
                <c:pt idx="4366">
                  <c:v>617.39864864864865</c:v>
                </c:pt>
                <c:pt idx="4367">
                  <c:v>617.39864864864865</c:v>
                </c:pt>
                <c:pt idx="4368">
                  <c:v>617.39864864864865</c:v>
                </c:pt>
                <c:pt idx="4369">
                  <c:v>617.39864864864865</c:v>
                </c:pt>
                <c:pt idx="4370">
                  <c:v>635.81081081081084</c:v>
                </c:pt>
                <c:pt idx="4371">
                  <c:v>635.81081081081084</c:v>
                </c:pt>
                <c:pt idx="4372">
                  <c:v>635.81081081081084</c:v>
                </c:pt>
                <c:pt idx="4373">
                  <c:v>635.81081081081084</c:v>
                </c:pt>
                <c:pt idx="4374">
                  <c:v>635.81081081081084</c:v>
                </c:pt>
                <c:pt idx="4375">
                  <c:v>618.58108108108115</c:v>
                </c:pt>
                <c:pt idx="4376">
                  <c:v>618.58108108108115</c:v>
                </c:pt>
                <c:pt idx="4377">
                  <c:v>618.58108108108115</c:v>
                </c:pt>
                <c:pt idx="4378">
                  <c:v>618.58108108108115</c:v>
                </c:pt>
                <c:pt idx="4379">
                  <c:v>618.58108108108115</c:v>
                </c:pt>
                <c:pt idx="4380">
                  <c:v>619.1722972972974</c:v>
                </c:pt>
                <c:pt idx="4381">
                  <c:v>619.1722972972974</c:v>
                </c:pt>
                <c:pt idx="4382">
                  <c:v>619.1722972972974</c:v>
                </c:pt>
                <c:pt idx="4383">
                  <c:v>619.1722972972974</c:v>
                </c:pt>
                <c:pt idx="4384">
                  <c:v>619.1722972972974</c:v>
                </c:pt>
                <c:pt idx="4385">
                  <c:v>650.50675675675677</c:v>
                </c:pt>
                <c:pt idx="4386">
                  <c:v>650.50675675675677</c:v>
                </c:pt>
                <c:pt idx="4387">
                  <c:v>650.50675675675677</c:v>
                </c:pt>
                <c:pt idx="4388">
                  <c:v>650.50675675675677</c:v>
                </c:pt>
                <c:pt idx="4389">
                  <c:v>650.50675675675677</c:v>
                </c:pt>
                <c:pt idx="4390">
                  <c:v>636.57094594594594</c:v>
                </c:pt>
                <c:pt idx="4391">
                  <c:v>636.57094594594594</c:v>
                </c:pt>
                <c:pt idx="4392">
                  <c:v>636.57094594594594</c:v>
                </c:pt>
                <c:pt idx="4393">
                  <c:v>636.57094594594594</c:v>
                </c:pt>
                <c:pt idx="4394">
                  <c:v>636.57094594594594</c:v>
                </c:pt>
                <c:pt idx="4395">
                  <c:v>642.22972972972968</c:v>
                </c:pt>
                <c:pt idx="4396">
                  <c:v>642.22972972972968</c:v>
                </c:pt>
                <c:pt idx="4397">
                  <c:v>642.22972972972968</c:v>
                </c:pt>
                <c:pt idx="4398">
                  <c:v>642.22972972972968</c:v>
                </c:pt>
                <c:pt idx="4399">
                  <c:v>642.22972972972968</c:v>
                </c:pt>
                <c:pt idx="4400">
                  <c:v>631.33445945945948</c:v>
                </c:pt>
                <c:pt idx="4401">
                  <c:v>631.33445945945948</c:v>
                </c:pt>
                <c:pt idx="4402">
                  <c:v>631.33445945945948</c:v>
                </c:pt>
                <c:pt idx="4403">
                  <c:v>631.33445945945948</c:v>
                </c:pt>
                <c:pt idx="4404">
                  <c:v>631.33445945945948</c:v>
                </c:pt>
                <c:pt idx="4405">
                  <c:v>630.99662162162167</c:v>
                </c:pt>
                <c:pt idx="4406">
                  <c:v>630.99662162162167</c:v>
                </c:pt>
                <c:pt idx="4407">
                  <c:v>630.99662162162167</c:v>
                </c:pt>
                <c:pt idx="4408">
                  <c:v>630.99662162162167</c:v>
                </c:pt>
                <c:pt idx="4409">
                  <c:v>630.99662162162167</c:v>
                </c:pt>
                <c:pt idx="4410">
                  <c:v>640.54054054054052</c:v>
                </c:pt>
                <c:pt idx="4411">
                  <c:v>640.54054054054052</c:v>
                </c:pt>
                <c:pt idx="4412">
                  <c:v>640.54054054054052</c:v>
                </c:pt>
                <c:pt idx="4413">
                  <c:v>640.54054054054052</c:v>
                </c:pt>
                <c:pt idx="4414">
                  <c:v>640.54054054054052</c:v>
                </c:pt>
                <c:pt idx="4415">
                  <c:v>641.46959459459458</c:v>
                </c:pt>
                <c:pt idx="4416">
                  <c:v>641.46959459459458</c:v>
                </c:pt>
                <c:pt idx="4417">
                  <c:v>641.46959459459458</c:v>
                </c:pt>
                <c:pt idx="4418">
                  <c:v>641.46959459459458</c:v>
                </c:pt>
                <c:pt idx="4419">
                  <c:v>641.46959459459458</c:v>
                </c:pt>
                <c:pt idx="4420">
                  <c:v>635.38851351351354</c:v>
                </c:pt>
                <c:pt idx="4421">
                  <c:v>635.38851351351354</c:v>
                </c:pt>
                <c:pt idx="4422">
                  <c:v>635.38851351351354</c:v>
                </c:pt>
                <c:pt idx="4423">
                  <c:v>635.38851351351354</c:v>
                </c:pt>
                <c:pt idx="4424">
                  <c:v>635.38851351351354</c:v>
                </c:pt>
                <c:pt idx="4425">
                  <c:v>632.01013513513522</c:v>
                </c:pt>
                <c:pt idx="4426">
                  <c:v>632.01013513513522</c:v>
                </c:pt>
                <c:pt idx="4427">
                  <c:v>632.01013513513522</c:v>
                </c:pt>
                <c:pt idx="4428">
                  <c:v>632.01013513513522</c:v>
                </c:pt>
                <c:pt idx="4429">
                  <c:v>632.01013513513522</c:v>
                </c:pt>
                <c:pt idx="4430">
                  <c:v>632.17905405405418</c:v>
                </c:pt>
                <c:pt idx="4431">
                  <c:v>632.17905405405418</c:v>
                </c:pt>
                <c:pt idx="4432">
                  <c:v>632.17905405405418</c:v>
                </c:pt>
                <c:pt idx="4433">
                  <c:v>632.17905405405418</c:v>
                </c:pt>
                <c:pt idx="4434">
                  <c:v>632.17905405405418</c:v>
                </c:pt>
                <c:pt idx="4435">
                  <c:v>623.47972972972968</c:v>
                </c:pt>
                <c:pt idx="4436">
                  <c:v>623.47972972972968</c:v>
                </c:pt>
                <c:pt idx="4437">
                  <c:v>623.47972972972968</c:v>
                </c:pt>
                <c:pt idx="4438">
                  <c:v>623.47972972972968</c:v>
                </c:pt>
                <c:pt idx="4439">
                  <c:v>623.47972972972968</c:v>
                </c:pt>
                <c:pt idx="4440">
                  <c:v>635.72635135135135</c:v>
                </c:pt>
                <c:pt idx="4441">
                  <c:v>635.72635135135135</c:v>
                </c:pt>
                <c:pt idx="4442">
                  <c:v>635.72635135135135</c:v>
                </c:pt>
                <c:pt idx="4443">
                  <c:v>635.72635135135135</c:v>
                </c:pt>
                <c:pt idx="4444">
                  <c:v>635.72635135135135</c:v>
                </c:pt>
                <c:pt idx="4445">
                  <c:v>643.15878378378386</c:v>
                </c:pt>
                <c:pt idx="4446">
                  <c:v>643.15878378378386</c:v>
                </c:pt>
                <c:pt idx="4447">
                  <c:v>643.15878378378386</c:v>
                </c:pt>
                <c:pt idx="4448">
                  <c:v>643.15878378378386</c:v>
                </c:pt>
                <c:pt idx="4449">
                  <c:v>643.15878378378386</c:v>
                </c:pt>
                <c:pt idx="4450">
                  <c:v>646.875</c:v>
                </c:pt>
                <c:pt idx="4451">
                  <c:v>646.875</c:v>
                </c:pt>
                <c:pt idx="4452">
                  <c:v>646.875</c:v>
                </c:pt>
                <c:pt idx="4453">
                  <c:v>646.875</c:v>
                </c:pt>
                <c:pt idx="4454">
                  <c:v>646.875</c:v>
                </c:pt>
                <c:pt idx="4455">
                  <c:v>655.91216216216219</c:v>
                </c:pt>
                <c:pt idx="4456">
                  <c:v>655.91216216216219</c:v>
                </c:pt>
                <c:pt idx="4457">
                  <c:v>655.91216216216219</c:v>
                </c:pt>
                <c:pt idx="4458">
                  <c:v>655.91216216216219</c:v>
                </c:pt>
                <c:pt idx="4459">
                  <c:v>655.91216216216219</c:v>
                </c:pt>
                <c:pt idx="4460">
                  <c:v>654.98310810810813</c:v>
                </c:pt>
                <c:pt idx="4461">
                  <c:v>654.98310810810813</c:v>
                </c:pt>
                <c:pt idx="4462">
                  <c:v>654.98310810810813</c:v>
                </c:pt>
                <c:pt idx="4463">
                  <c:v>654.98310810810813</c:v>
                </c:pt>
                <c:pt idx="4464">
                  <c:v>654.98310810810813</c:v>
                </c:pt>
                <c:pt idx="4465">
                  <c:v>661.99324324324323</c:v>
                </c:pt>
                <c:pt idx="4466">
                  <c:v>661.99324324324323</c:v>
                </c:pt>
                <c:pt idx="4467">
                  <c:v>661.99324324324323</c:v>
                </c:pt>
                <c:pt idx="4468">
                  <c:v>661.99324324324323</c:v>
                </c:pt>
                <c:pt idx="4469">
                  <c:v>661.99324324324323</c:v>
                </c:pt>
                <c:pt idx="4470">
                  <c:v>652.87162162162167</c:v>
                </c:pt>
                <c:pt idx="4471">
                  <c:v>652.87162162162167</c:v>
                </c:pt>
                <c:pt idx="4472">
                  <c:v>652.87162162162167</c:v>
                </c:pt>
                <c:pt idx="4473">
                  <c:v>652.87162162162167</c:v>
                </c:pt>
                <c:pt idx="4474">
                  <c:v>652.87162162162167</c:v>
                </c:pt>
                <c:pt idx="4475">
                  <c:v>654.64527027027032</c:v>
                </c:pt>
                <c:pt idx="4476">
                  <c:v>654.64527027027032</c:v>
                </c:pt>
                <c:pt idx="4477">
                  <c:v>654.64527027027032</c:v>
                </c:pt>
                <c:pt idx="4478">
                  <c:v>654.64527027027032</c:v>
                </c:pt>
                <c:pt idx="4479">
                  <c:v>654.64527027027032</c:v>
                </c:pt>
                <c:pt idx="4480">
                  <c:v>660.55743243243251</c:v>
                </c:pt>
                <c:pt idx="4481">
                  <c:v>660.55743243243251</c:v>
                </c:pt>
                <c:pt idx="4482">
                  <c:v>660.55743243243251</c:v>
                </c:pt>
                <c:pt idx="4483">
                  <c:v>660.55743243243251</c:v>
                </c:pt>
                <c:pt idx="4484">
                  <c:v>660.55743243243251</c:v>
                </c:pt>
                <c:pt idx="4485">
                  <c:v>661.7398648648649</c:v>
                </c:pt>
                <c:pt idx="4486">
                  <c:v>661.7398648648649</c:v>
                </c:pt>
                <c:pt idx="4487">
                  <c:v>661.7398648648649</c:v>
                </c:pt>
                <c:pt idx="4488">
                  <c:v>661.7398648648649</c:v>
                </c:pt>
                <c:pt idx="4489">
                  <c:v>661.7398648648649</c:v>
                </c:pt>
                <c:pt idx="4490">
                  <c:v>676.35135135135135</c:v>
                </c:pt>
                <c:pt idx="4491">
                  <c:v>676.35135135135135</c:v>
                </c:pt>
                <c:pt idx="4492">
                  <c:v>676.35135135135135</c:v>
                </c:pt>
                <c:pt idx="4493">
                  <c:v>676.35135135135135</c:v>
                </c:pt>
                <c:pt idx="4494">
                  <c:v>676.35135135135135</c:v>
                </c:pt>
                <c:pt idx="4495">
                  <c:v>664.52702702702709</c:v>
                </c:pt>
                <c:pt idx="4496">
                  <c:v>664.52702702702709</c:v>
                </c:pt>
                <c:pt idx="4497">
                  <c:v>664.52702702702709</c:v>
                </c:pt>
                <c:pt idx="4498">
                  <c:v>664.52702702702709</c:v>
                </c:pt>
                <c:pt idx="4499">
                  <c:v>664.52702702702709</c:v>
                </c:pt>
                <c:pt idx="4500">
                  <c:v>674.49324324324323</c:v>
                </c:pt>
                <c:pt idx="4501">
                  <c:v>674.49324324324323</c:v>
                </c:pt>
                <c:pt idx="4502">
                  <c:v>674.49324324324323</c:v>
                </c:pt>
                <c:pt idx="4503">
                  <c:v>674.49324324324323</c:v>
                </c:pt>
                <c:pt idx="4504">
                  <c:v>674.49324324324323</c:v>
                </c:pt>
                <c:pt idx="4505">
                  <c:v>653.5472972972974</c:v>
                </c:pt>
                <c:pt idx="4506">
                  <c:v>653.5472972972974</c:v>
                </c:pt>
                <c:pt idx="4507">
                  <c:v>653.5472972972974</c:v>
                </c:pt>
                <c:pt idx="4508">
                  <c:v>653.5472972972974</c:v>
                </c:pt>
                <c:pt idx="4509">
                  <c:v>653.5472972972974</c:v>
                </c:pt>
                <c:pt idx="4510">
                  <c:v>682.8547297297298</c:v>
                </c:pt>
                <c:pt idx="4511">
                  <c:v>682.8547297297298</c:v>
                </c:pt>
                <c:pt idx="4512">
                  <c:v>682.8547297297298</c:v>
                </c:pt>
                <c:pt idx="4513">
                  <c:v>682.8547297297298</c:v>
                </c:pt>
                <c:pt idx="4514">
                  <c:v>682.8547297297298</c:v>
                </c:pt>
                <c:pt idx="4515">
                  <c:v>684.71283783783781</c:v>
                </c:pt>
                <c:pt idx="4516">
                  <c:v>684.71283783783781</c:v>
                </c:pt>
                <c:pt idx="4517">
                  <c:v>684.71283783783781</c:v>
                </c:pt>
                <c:pt idx="4518">
                  <c:v>684.71283783783781</c:v>
                </c:pt>
                <c:pt idx="4519">
                  <c:v>684.71283783783781</c:v>
                </c:pt>
                <c:pt idx="4520">
                  <c:v>689.78040540540542</c:v>
                </c:pt>
                <c:pt idx="4521">
                  <c:v>689.78040540540542</c:v>
                </c:pt>
                <c:pt idx="4522">
                  <c:v>689.78040540540542</c:v>
                </c:pt>
                <c:pt idx="4523">
                  <c:v>689.78040540540542</c:v>
                </c:pt>
                <c:pt idx="4524">
                  <c:v>689.78040540540542</c:v>
                </c:pt>
                <c:pt idx="4525">
                  <c:v>685.13513513513522</c:v>
                </c:pt>
                <c:pt idx="4526">
                  <c:v>685.13513513513522</c:v>
                </c:pt>
                <c:pt idx="4527">
                  <c:v>685.13513513513522</c:v>
                </c:pt>
                <c:pt idx="4528">
                  <c:v>685.13513513513522</c:v>
                </c:pt>
                <c:pt idx="4529">
                  <c:v>685.13513513513522</c:v>
                </c:pt>
                <c:pt idx="4530">
                  <c:v>699.74662162162167</c:v>
                </c:pt>
                <c:pt idx="4531">
                  <c:v>699.74662162162167</c:v>
                </c:pt>
                <c:pt idx="4532">
                  <c:v>699.74662162162167</c:v>
                </c:pt>
                <c:pt idx="4533">
                  <c:v>699.74662162162167</c:v>
                </c:pt>
                <c:pt idx="4534">
                  <c:v>699.74662162162167</c:v>
                </c:pt>
                <c:pt idx="4535">
                  <c:v>665.70945945945948</c:v>
                </c:pt>
                <c:pt idx="4536">
                  <c:v>665.70945945945948</c:v>
                </c:pt>
                <c:pt idx="4537">
                  <c:v>665.70945945945948</c:v>
                </c:pt>
                <c:pt idx="4538">
                  <c:v>665.70945945945948</c:v>
                </c:pt>
                <c:pt idx="4539">
                  <c:v>665.70945945945948</c:v>
                </c:pt>
                <c:pt idx="4540">
                  <c:v>686.99324324324334</c:v>
                </c:pt>
                <c:pt idx="4541">
                  <c:v>686.99324324324334</c:v>
                </c:pt>
                <c:pt idx="4542">
                  <c:v>686.99324324324334</c:v>
                </c:pt>
                <c:pt idx="4543">
                  <c:v>686.99324324324334</c:v>
                </c:pt>
                <c:pt idx="4544">
                  <c:v>686.99324324324334</c:v>
                </c:pt>
                <c:pt idx="4545">
                  <c:v>679.72972972972968</c:v>
                </c:pt>
                <c:pt idx="4546">
                  <c:v>679.72972972972968</c:v>
                </c:pt>
                <c:pt idx="4547">
                  <c:v>679.72972972972968</c:v>
                </c:pt>
                <c:pt idx="4548">
                  <c:v>679.72972972972968</c:v>
                </c:pt>
                <c:pt idx="4549">
                  <c:v>679.72972972972968</c:v>
                </c:pt>
                <c:pt idx="4550">
                  <c:v>676.26689189189187</c:v>
                </c:pt>
                <c:pt idx="4551">
                  <c:v>676.26689189189187</c:v>
                </c:pt>
                <c:pt idx="4552">
                  <c:v>676.26689189189187</c:v>
                </c:pt>
                <c:pt idx="4553">
                  <c:v>676.26689189189187</c:v>
                </c:pt>
                <c:pt idx="4554">
                  <c:v>676.26689189189187</c:v>
                </c:pt>
                <c:pt idx="4555">
                  <c:v>688.76689189189187</c:v>
                </c:pt>
                <c:pt idx="4556">
                  <c:v>688.76689189189187</c:v>
                </c:pt>
                <c:pt idx="4557">
                  <c:v>688.76689189189187</c:v>
                </c:pt>
                <c:pt idx="4558">
                  <c:v>688.76689189189187</c:v>
                </c:pt>
                <c:pt idx="4559">
                  <c:v>688.76689189189187</c:v>
                </c:pt>
                <c:pt idx="4560">
                  <c:v>691.0472972972974</c:v>
                </c:pt>
                <c:pt idx="4561">
                  <c:v>691.0472972972974</c:v>
                </c:pt>
                <c:pt idx="4562">
                  <c:v>691.0472972972974</c:v>
                </c:pt>
                <c:pt idx="4563">
                  <c:v>691.0472972972974</c:v>
                </c:pt>
                <c:pt idx="4564">
                  <c:v>691.0472972972974</c:v>
                </c:pt>
                <c:pt idx="4565">
                  <c:v>673.05743243243251</c:v>
                </c:pt>
                <c:pt idx="4566">
                  <c:v>673.05743243243251</c:v>
                </c:pt>
                <c:pt idx="4567">
                  <c:v>673.05743243243251</c:v>
                </c:pt>
                <c:pt idx="4568">
                  <c:v>673.05743243243251</c:v>
                </c:pt>
                <c:pt idx="4569">
                  <c:v>673.05743243243251</c:v>
                </c:pt>
                <c:pt idx="4570">
                  <c:v>684.96621621621625</c:v>
                </c:pt>
                <c:pt idx="4571">
                  <c:v>684.96621621621625</c:v>
                </c:pt>
                <c:pt idx="4572">
                  <c:v>684.96621621621625</c:v>
                </c:pt>
                <c:pt idx="4573">
                  <c:v>684.96621621621625</c:v>
                </c:pt>
                <c:pt idx="4574">
                  <c:v>684.96621621621625</c:v>
                </c:pt>
                <c:pt idx="4575">
                  <c:v>688.51351351351354</c:v>
                </c:pt>
                <c:pt idx="4576">
                  <c:v>688.51351351351354</c:v>
                </c:pt>
                <c:pt idx="4577">
                  <c:v>688.51351351351354</c:v>
                </c:pt>
                <c:pt idx="4578">
                  <c:v>688.51351351351354</c:v>
                </c:pt>
                <c:pt idx="4579">
                  <c:v>688.51351351351354</c:v>
                </c:pt>
                <c:pt idx="4580">
                  <c:v>684.96621621621625</c:v>
                </c:pt>
                <c:pt idx="4581">
                  <c:v>684.96621621621625</c:v>
                </c:pt>
                <c:pt idx="4582">
                  <c:v>684.96621621621625</c:v>
                </c:pt>
                <c:pt idx="4583">
                  <c:v>684.96621621621625</c:v>
                </c:pt>
                <c:pt idx="4584">
                  <c:v>684.96621621621625</c:v>
                </c:pt>
                <c:pt idx="4585">
                  <c:v>684.88175675675677</c:v>
                </c:pt>
                <c:pt idx="4586">
                  <c:v>684.88175675675677</c:v>
                </c:pt>
                <c:pt idx="4587">
                  <c:v>684.88175675675677</c:v>
                </c:pt>
                <c:pt idx="4588">
                  <c:v>684.88175675675677</c:v>
                </c:pt>
                <c:pt idx="4589">
                  <c:v>684.88175675675677</c:v>
                </c:pt>
                <c:pt idx="4590">
                  <c:v>683.36148648648646</c:v>
                </c:pt>
                <c:pt idx="4591">
                  <c:v>683.36148648648646</c:v>
                </c:pt>
                <c:pt idx="4592">
                  <c:v>683.36148648648646</c:v>
                </c:pt>
                <c:pt idx="4593">
                  <c:v>683.36148648648646</c:v>
                </c:pt>
                <c:pt idx="4594">
                  <c:v>683.36148648648646</c:v>
                </c:pt>
                <c:pt idx="4595">
                  <c:v>690.45608108108115</c:v>
                </c:pt>
                <c:pt idx="4596">
                  <c:v>690.45608108108115</c:v>
                </c:pt>
                <c:pt idx="4597">
                  <c:v>690.45608108108115</c:v>
                </c:pt>
                <c:pt idx="4598">
                  <c:v>690.45608108108115</c:v>
                </c:pt>
                <c:pt idx="4599">
                  <c:v>690.45608108108115</c:v>
                </c:pt>
                <c:pt idx="4600">
                  <c:v>690.45608108108115</c:v>
                </c:pt>
                <c:pt idx="4601">
                  <c:v>690.45608108108115</c:v>
                </c:pt>
                <c:pt idx="4602">
                  <c:v>690.45608108108115</c:v>
                </c:pt>
                <c:pt idx="4603">
                  <c:v>690.45608108108115</c:v>
                </c:pt>
                <c:pt idx="4604">
                  <c:v>690.45608108108115</c:v>
                </c:pt>
                <c:pt idx="4605">
                  <c:v>683.95270270270282</c:v>
                </c:pt>
                <c:pt idx="4606">
                  <c:v>683.95270270270282</c:v>
                </c:pt>
                <c:pt idx="4607">
                  <c:v>683.95270270270282</c:v>
                </c:pt>
                <c:pt idx="4608">
                  <c:v>683.95270270270282</c:v>
                </c:pt>
                <c:pt idx="4609">
                  <c:v>683.95270270270282</c:v>
                </c:pt>
                <c:pt idx="4610">
                  <c:v>686.90878378378375</c:v>
                </c:pt>
                <c:pt idx="4611">
                  <c:v>686.90878378378375</c:v>
                </c:pt>
                <c:pt idx="4612">
                  <c:v>686.90878378378375</c:v>
                </c:pt>
                <c:pt idx="4613">
                  <c:v>686.90878378378375</c:v>
                </c:pt>
                <c:pt idx="4614">
                  <c:v>686.90878378378375</c:v>
                </c:pt>
                <c:pt idx="4615">
                  <c:v>692.39864864864865</c:v>
                </c:pt>
                <c:pt idx="4616">
                  <c:v>692.39864864864865</c:v>
                </c:pt>
                <c:pt idx="4617">
                  <c:v>692.39864864864865</c:v>
                </c:pt>
                <c:pt idx="4618">
                  <c:v>692.39864864864865</c:v>
                </c:pt>
                <c:pt idx="4619">
                  <c:v>692.39864864864865</c:v>
                </c:pt>
                <c:pt idx="4620">
                  <c:v>688.17567567567573</c:v>
                </c:pt>
                <c:pt idx="4621">
                  <c:v>688.17567567567573</c:v>
                </c:pt>
                <c:pt idx="4622">
                  <c:v>688.17567567567573</c:v>
                </c:pt>
                <c:pt idx="4623">
                  <c:v>688.17567567567573</c:v>
                </c:pt>
                <c:pt idx="4624">
                  <c:v>688.17567567567573</c:v>
                </c:pt>
                <c:pt idx="4625">
                  <c:v>693.83445945945948</c:v>
                </c:pt>
                <c:pt idx="4626">
                  <c:v>693.83445945945948</c:v>
                </c:pt>
                <c:pt idx="4627">
                  <c:v>693.83445945945948</c:v>
                </c:pt>
                <c:pt idx="4628">
                  <c:v>693.83445945945948</c:v>
                </c:pt>
                <c:pt idx="4629">
                  <c:v>693.83445945945948</c:v>
                </c:pt>
                <c:pt idx="4630">
                  <c:v>695.27027027027032</c:v>
                </c:pt>
                <c:pt idx="4631">
                  <c:v>695.27027027027032</c:v>
                </c:pt>
                <c:pt idx="4632">
                  <c:v>695.27027027027032</c:v>
                </c:pt>
                <c:pt idx="4633">
                  <c:v>695.27027027027032</c:v>
                </c:pt>
                <c:pt idx="4634">
                  <c:v>695.27027027027032</c:v>
                </c:pt>
                <c:pt idx="4635">
                  <c:v>688.85135135135135</c:v>
                </c:pt>
                <c:pt idx="4636">
                  <c:v>688.85135135135135</c:v>
                </c:pt>
                <c:pt idx="4637">
                  <c:v>688.85135135135135</c:v>
                </c:pt>
                <c:pt idx="4638">
                  <c:v>688.85135135135135</c:v>
                </c:pt>
                <c:pt idx="4639">
                  <c:v>688.85135135135135</c:v>
                </c:pt>
                <c:pt idx="4640">
                  <c:v>690.03378378378375</c:v>
                </c:pt>
                <c:pt idx="4641">
                  <c:v>690.03378378378375</c:v>
                </c:pt>
                <c:pt idx="4642">
                  <c:v>690.03378378378375</c:v>
                </c:pt>
                <c:pt idx="4643">
                  <c:v>690.03378378378375</c:v>
                </c:pt>
                <c:pt idx="4644">
                  <c:v>690.03378378378375</c:v>
                </c:pt>
                <c:pt idx="4645">
                  <c:v>706.92567567567562</c:v>
                </c:pt>
                <c:pt idx="4646">
                  <c:v>706.92567567567562</c:v>
                </c:pt>
                <c:pt idx="4647">
                  <c:v>706.92567567567562</c:v>
                </c:pt>
                <c:pt idx="4648">
                  <c:v>706.92567567567562</c:v>
                </c:pt>
                <c:pt idx="4649">
                  <c:v>706.92567567567562</c:v>
                </c:pt>
                <c:pt idx="4650">
                  <c:v>693.49662162162167</c:v>
                </c:pt>
                <c:pt idx="4651">
                  <c:v>693.49662162162167</c:v>
                </c:pt>
                <c:pt idx="4652">
                  <c:v>693.49662162162167</c:v>
                </c:pt>
                <c:pt idx="4653">
                  <c:v>693.49662162162167</c:v>
                </c:pt>
                <c:pt idx="4654">
                  <c:v>693.49662162162167</c:v>
                </c:pt>
                <c:pt idx="4655">
                  <c:v>683.44594594594605</c:v>
                </c:pt>
                <c:pt idx="4656">
                  <c:v>683.44594594594605</c:v>
                </c:pt>
                <c:pt idx="4657">
                  <c:v>683.44594594594605</c:v>
                </c:pt>
                <c:pt idx="4658">
                  <c:v>683.44594594594605</c:v>
                </c:pt>
                <c:pt idx="4659">
                  <c:v>683.44594594594605</c:v>
                </c:pt>
                <c:pt idx="4660">
                  <c:v>684.375</c:v>
                </c:pt>
                <c:pt idx="4661">
                  <c:v>684.375</c:v>
                </c:pt>
                <c:pt idx="4662">
                  <c:v>684.375</c:v>
                </c:pt>
                <c:pt idx="4663">
                  <c:v>684.375</c:v>
                </c:pt>
                <c:pt idx="4664">
                  <c:v>684.375</c:v>
                </c:pt>
                <c:pt idx="4665">
                  <c:v>693.4121621621623</c:v>
                </c:pt>
                <c:pt idx="4666">
                  <c:v>693.4121621621623</c:v>
                </c:pt>
                <c:pt idx="4667">
                  <c:v>693.4121621621623</c:v>
                </c:pt>
                <c:pt idx="4668">
                  <c:v>693.4121621621623</c:v>
                </c:pt>
                <c:pt idx="4669">
                  <c:v>693.4121621621623</c:v>
                </c:pt>
                <c:pt idx="4670">
                  <c:v>688.17567567567573</c:v>
                </c:pt>
                <c:pt idx="4671">
                  <c:v>688.17567567567573</c:v>
                </c:pt>
                <c:pt idx="4672">
                  <c:v>688.17567567567573</c:v>
                </c:pt>
                <c:pt idx="4673">
                  <c:v>688.17567567567573</c:v>
                </c:pt>
                <c:pt idx="4674">
                  <c:v>688.17567567567573</c:v>
                </c:pt>
                <c:pt idx="4675">
                  <c:v>687.58445945945948</c:v>
                </c:pt>
                <c:pt idx="4676">
                  <c:v>687.58445945945948</c:v>
                </c:pt>
                <c:pt idx="4677">
                  <c:v>687.58445945945948</c:v>
                </c:pt>
                <c:pt idx="4678">
                  <c:v>687.58445945945948</c:v>
                </c:pt>
                <c:pt idx="4679">
                  <c:v>687.58445945945948</c:v>
                </c:pt>
                <c:pt idx="4680">
                  <c:v>689.27364864864865</c:v>
                </c:pt>
                <c:pt idx="4681">
                  <c:v>689.27364864864865</c:v>
                </c:pt>
                <c:pt idx="4682">
                  <c:v>689.27364864864865</c:v>
                </c:pt>
                <c:pt idx="4683">
                  <c:v>689.27364864864865</c:v>
                </c:pt>
                <c:pt idx="4684">
                  <c:v>689.27364864864865</c:v>
                </c:pt>
                <c:pt idx="4685">
                  <c:v>667.31418918918916</c:v>
                </c:pt>
                <c:pt idx="4686">
                  <c:v>667.31418918918916</c:v>
                </c:pt>
                <c:pt idx="4687">
                  <c:v>667.31418918918916</c:v>
                </c:pt>
                <c:pt idx="4688">
                  <c:v>667.31418918918916</c:v>
                </c:pt>
                <c:pt idx="4689">
                  <c:v>667.31418918918916</c:v>
                </c:pt>
                <c:pt idx="4690">
                  <c:v>685.64189189189187</c:v>
                </c:pt>
                <c:pt idx="4691">
                  <c:v>685.64189189189187</c:v>
                </c:pt>
                <c:pt idx="4692">
                  <c:v>685.64189189189187</c:v>
                </c:pt>
                <c:pt idx="4693">
                  <c:v>685.64189189189187</c:v>
                </c:pt>
                <c:pt idx="4694">
                  <c:v>685.64189189189187</c:v>
                </c:pt>
                <c:pt idx="4695">
                  <c:v>682.93918918918916</c:v>
                </c:pt>
                <c:pt idx="4696">
                  <c:v>682.93918918918916</c:v>
                </c:pt>
                <c:pt idx="4697">
                  <c:v>682.93918918918916</c:v>
                </c:pt>
                <c:pt idx="4698">
                  <c:v>682.93918918918916</c:v>
                </c:pt>
                <c:pt idx="4699">
                  <c:v>682.93918918918916</c:v>
                </c:pt>
                <c:pt idx="4700">
                  <c:v>676.94256756756761</c:v>
                </c:pt>
                <c:pt idx="4701">
                  <c:v>676.94256756756761</c:v>
                </c:pt>
                <c:pt idx="4702">
                  <c:v>676.94256756756761</c:v>
                </c:pt>
                <c:pt idx="4703">
                  <c:v>676.94256756756761</c:v>
                </c:pt>
                <c:pt idx="4704">
                  <c:v>676.94256756756761</c:v>
                </c:pt>
                <c:pt idx="4705">
                  <c:v>686.31756756756749</c:v>
                </c:pt>
                <c:pt idx="4706">
                  <c:v>686.31756756756749</c:v>
                </c:pt>
                <c:pt idx="4707">
                  <c:v>686.31756756756749</c:v>
                </c:pt>
                <c:pt idx="4708">
                  <c:v>686.31756756756749</c:v>
                </c:pt>
                <c:pt idx="4709">
                  <c:v>686.31756756756749</c:v>
                </c:pt>
                <c:pt idx="4710">
                  <c:v>688.51351351351354</c:v>
                </c:pt>
                <c:pt idx="4711">
                  <c:v>688.51351351351354</c:v>
                </c:pt>
                <c:pt idx="4712">
                  <c:v>688.51351351351354</c:v>
                </c:pt>
                <c:pt idx="4713">
                  <c:v>688.51351351351354</c:v>
                </c:pt>
                <c:pt idx="4714">
                  <c:v>688.51351351351354</c:v>
                </c:pt>
                <c:pt idx="4715">
                  <c:v>688.42905405405406</c:v>
                </c:pt>
                <c:pt idx="4716">
                  <c:v>688.42905405405406</c:v>
                </c:pt>
                <c:pt idx="4717">
                  <c:v>688.42905405405406</c:v>
                </c:pt>
                <c:pt idx="4718">
                  <c:v>688.42905405405406</c:v>
                </c:pt>
                <c:pt idx="4719">
                  <c:v>688.42905405405406</c:v>
                </c:pt>
                <c:pt idx="4720">
                  <c:v>699.2398648648649</c:v>
                </c:pt>
                <c:pt idx="4721">
                  <c:v>699.2398648648649</c:v>
                </c:pt>
                <c:pt idx="4722">
                  <c:v>699.2398648648649</c:v>
                </c:pt>
                <c:pt idx="4723">
                  <c:v>699.2398648648649</c:v>
                </c:pt>
                <c:pt idx="4724">
                  <c:v>699.2398648648649</c:v>
                </c:pt>
                <c:pt idx="4725">
                  <c:v>684.88175675675677</c:v>
                </c:pt>
                <c:pt idx="4726">
                  <c:v>684.88175675675677</c:v>
                </c:pt>
                <c:pt idx="4727">
                  <c:v>684.88175675675677</c:v>
                </c:pt>
                <c:pt idx="4728">
                  <c:v>684.88175675675677</c:v>
                </c:pt>
                <c:pt idx="4729">
                  <c:v>684.88175675675677</c:v>
                </c:pt>
                <c:pt idx="4730">
                  <c:v>686.31756756756749</c:v>
                </c:pt>
                <c:pt idx="4731">
                  <c:v>686.31756756756749</c:v>
                </c:pt>
                <c:pt idx="4732">
                  <c:v>686.31756756756749</c:v>
                </c:pt>
                <c:pt idx="4733">
                  <c:v>686.31756756756749</c:v>
                </c:pt>
                <c:pt idx="4734">
                  <c:v>686.31756756756749</c:v>
                </c:pt>
                <c:pt idx="4735">
                  <c:v>685.97972972972968</c:v>
                </c:pt>
                <c:pt idx="4736">
                  <c:v>685.97972972972968</c:v>
                </c:pt>
                <c:pt idx="4737">
                  <c:v>685.97972972972968</c:v>
                </c:pt>
                <c:pt idx="4738">
                  <c:v>685.97972972972968</c:v>
                </c:pt>
                <c:pt idx="4739">
                  <c:v>685.97972972972968</c:v>
                </c:pt>
                <c:pt idx="4740">
                  <c:v>679.56081081081084</c:v>
                </c:pt>
                <c:pt idx="4741">
                  <c:v>679.56081081081084</c:v>
                </c:pt>
                <c:pt idx="4742">
                  <c:v>679.56081081081084</c:v>
                </c:pt>
                <c:pt idx="4743">
                  <c:v>679.56081081081084</c:v>
                </c:pt>
                <c:pt idx="4744">
                  <c:v>679.56081081081084</c:v>
                </c:pt>
                <c:pt idx="4745">
                  <c:v>686.82432432432427</c:v>
                </c:pt>
                <c:pt idx="4746">
                  <c:v>686.82432432432427</c:v>
                </c:pt>
                <c:pt idx="4747">
                  <c:v>686.82432432432427</c:v>
                </c:pt>
                <c:pt idx="4748">
                  <c:v>686.82432432432427</c:v>
                </c:pt>
                <c:pt idx="4749">
                  <c:v>686.82432432432427</c:v>
                </c:pt>
                <c:pt idx="4750">
                  <c:v>692.82094594594594</c:v>
                </c:pt>
                <c:pt idx="4751">
                  <c:v>692.82094594594594</c:v>
                </c:pt>
                <c:pt idx="4752">
                  <c:v>692.82094594594594</c:v>
                </c:pt>
                <c:pt idx="4753">
                  <c:v>692.82094594594594</c:v>
                </c:pt>
                <c:pt idx="4754">
                  <c:v>692.82094594594594</c:v>
                </c:pt>
                <c:pt idx="4755">
                  <c:v>672.2972972972974</c:v>
                </c:pt>
                <c:pt idx="4756">
                  <c:v>672.2972972972974</c:v>
                </c:pt>
                <c:pt idx="4757">
                  <c:v>672.2972972972974</c:v>
                </c:pt>
                <c:pt idx="4758">
                  <c:v>672.2972972972974</c:v>
                </c:pt>
                <c:pt idx="4759">
                  <c:v>672.2972972972974</c:v>
                </c:pt>
                <c:pt idx="4760">
                  <c:v>700.59121621621625</c:v>
                </c:pt>
                <c:pt idx="4761">
                  <c:v>700.59121621621625</c:v>
                </c:pt>
                <c:pt idx="4762">
                  <c:v>700.59121621621625</c:v>
                </c:pt>
                <c:pt idx="4763">
                  <c:v>700.59121621621625</c:v>
                </c:pt>
                <c:pt idx="4764">
                  <c:v>700.59121621621625</c:v>
                </c:pt>
                <c:pt idx="4765">
                  <c:v>673.90202702702709</c:v>
                </c:pt>
                <c:pt idx="4766">
                  <c:v>673.90202702702709</c:v>
                </c:pt>
                <c:pt idx="4767">
                  <c:v>673.90202702702709</c:v>
                </c:pt>
                <c:pt idx="4768">
                  <c:v>673.90202702702709</c:v>
                </c:pt>
                <c:pt idx="4769">
                  <c:v>673.90202702702709</c:v>
                </c:pt>
                <c:pt idx="4770">
                  <c:v>684.375</c:v>
                </c:pt>
                <c:pt idx="4771">
                  <c:v>684.375</c:v>
                </c:pt>
                <c:pt idx="4772">
                  <c:v>684.375</c:v>
                </c:pt>
                <c:pt idx="4773">
                  <c:v>684.375</c:v>
                </c:pt>
                <c:pt idx="4774">
                  <c:v>684.375</c:v>
                </c:pt>
                <c:pt idx="4775">
                  <c:v>673.47972972972968</c:v>
                </c:pt>
                <c:pt idx="4776">
                  <c:v>673.47972972972968</c:v>
                </c:pt>
                <c:pt idx="4777">
                  <c:v>673.47972972972968</c:v>
                </c:pt>
                <c:pt idx="4778">
                  <c:v>673.47972972972968</c:v>
                </c:pt>
                <c:pt idx="4779">
                  <c:v>673.47972972972968</c:v>
                </c:pt>
                <c:pt idx="4780">
                  <c:v>677.44932432432438</c:v>
                </c:pt>
                <c:pt idx="4781">
                  <c:v>677.44932432432438</c:v>
                </c:pt>
                <c:pt idx="4782">
                  <c:v>677.44932432432438</c:v>
                </c:pt>
                <c:pt idx="4783">
                  <c:v>677.44932432432438</c:v>
                </c:pt>
                <c:pt idx="4784">
                  <c:v>677.44932432432438</c:v>
                </c:pt>
                <c:pt idx="4785">
                  <c:v>685.21959459459458</c:v>
                </c:pt>
                <c:pt idx="4786">
                  <c:v>685.21959459459458</c:v>
                </c:pt>
                <c:pt idx="4787">
                  <c:v>685.21959459459458</c:v>
                </c:pt>
                <c:pt idx="4788">
                  <c:v>685.21959459459458</c:v>
                </c:pt>
                <c:pt idx="4789">
                  <c:v>685.21959459459458</c:v>
                </c:pt>
                <c:pt idx="4790">
                  <c:v>679.98310810810813</c:v>
                </c:pt>
                <c:pt idx="4791">
                  <c:v>679.98310810810813</c:v>
                </c:pt>
                <c:pt idx="4792">
                  <c:v>679.98310810810813</c:v>
                </c:pt>
                <c:pt idx="4793">
                  <c:v>679.98310810810813</c:v>
                </c:pt>
                <c:pt idx="4794">
                  <c:v>679.98310810810813</c:v>
                </c:pt>
                <c:pt idx="4795">
                  <c:v>685.81081081081084</c:v>
                </c:pt>
                <c:pt idx="4796">
                  <c:v>685.81081081081084</c:v>
                </c:pt>
                <c:pt idx="4797">
                  <c:v>685.81081081081084</c:v>
                </c:pt>
                <c:pt idx="4798">
                  <c:v>685.81081081081084</c:v>
                </c:pt>
                <c:pt idx="4799">
                  <c:v>685.81081081081084</c:v>
                </c:pt>
                <c:pt idx="4800">
                  <c:v>684.20608108108127</c:v>
                </c:pt>
                <c:pt idx="4801">
                  <c:v>684.20608108108127</c:v>
                </c:pt>
                <c:pt idx="4802">
                  <c:v>684.20608108108127</c:v>
                </c:pt>
                <c:pt idx="4803">
                  <c:v>684.20608108108127</c:v>
                </c:pt>
                <c:pt idx="4804">
                  <c:v>684.20608108108127</c:v>
                </c:pt>
                <c:pt idx="4805">
                  <c:v>685.64189189189187</c:v>
                </c:pt>
                <c:pt idx="4806">
                  <c:v>685.64189189189187</c:v>
                </c:pt>
                <c:pt idx="4807">
                  <c:v>685.64189189189187</c:v>
                </c:pt>
                <c:pt idx="4808">
                  <c:v>685.64189189189187</c:v>
                </c:pt>
                <c:pt idx="4809">
                  <c:v>685.64189189189187</c:v>
                </c:pt>
                <c:pt idx="4810">
                  <c:v>676.94256756756761</c:v>
                </c:pt>
                <c:pt idx="4811">
                  <c:v>676.94256756756761</c:v>
                </c:pt>
                <c:pt idx="4812">
                  <c:v>676.94256756756761</c:v>
                </c:pt>
                <c:pt idx="4813">
                  <c:v>676.94256756756761</c:v>
                </c:pt>
                <c:pt idx="4814">
                  <c:v>676.94256756756761</c:v>
                </c:pt>
                <c:pt idx="4815">
                  <c:v>676.60472972972968</c:v>
                </c:pt>
                <c:pt idx="4816">
                  <c:v>676.60472972972968</c:v>
                </c:pt>
                <c:pt idx="4817">
                  <c:v>676.60472972972968</c:v>
                </c:pt>
                <c:pt idx="4818">
                  <c:v>676.60472972972968</c:v>
                </c:pt>
                <c:pt idx="4819">
                  <c:v>676.60472972972968</c:v>
                </c:pt>
                <c:pt idx="4820">
                  <c:v>677.53378378378386</c:v>
                </c:pt>
                <c:pt idx="4821">
                  <c:v>677.53378378378386</c:v>
                </c:pt>
                <c:pt idx="4822">
                  <c:v>677.53378378378386</c:v>
                </c:pt>
                <c:pt idx="4823">
                  <c:v>677.53378378378386</c:v>
                </c:pt>
                <c:pt idx="4824">
                  <c:v>677.53378378378386</c:v>
                </c:pt>
                <c:pt idx="4825">
                  <c:v>677.61824324324323</c:v>
                </c:pt>
                <c:pt idx="4826">
                  <c:v>677.61824324324323</c:v>
                </c:pt>
                <c:pt idx="4827">
                  <c:v>677.61824324324323</c:v>
                </c:pt>
                <c:pt idx="4828">
                  <c:v>677.61824324324323</c:v>
                </c:pt>
                <c:pt idx="4829">
                  <c:v>677.61824324324323</c:v>
                </c:pt>
                <c:pt idx="4830">
                  <c:v>671.1148648648649</c:v>
                </c:pt>
                <c:pt idx="4831">
                  <c:v>671.1148648648649</c:v>
                </c:pt>
                <c:pt idx="4832">
                  <c:v>671.1148648648649</c:v>
                </c:pt>
                <c:pt idx="4833">
                  <c:v>671.1148648648649</c:v>
                </c:pt>
                <c:pt idx="4834">
                  <c:v>671.1148648648649</c:v>
                </c:pt>
                <c:pt idx="4835">
                  <c:v>680.23648648648657</c:v>
                </c:pt>
                <c:pt idx="4836">
                  <c:v>680.23648648648657</c:v>
                </c:pt>
                <c:pt idx="4837">
                  <c:v>680.23648648648657</c:v>
                </c:pt>
                <c:pt idx="4838">
                  <c:v>680.23648648648657</c:v>
                </c:pt>
                <c:pt idx="4839">
                  <c:v>680.23648648648657</c:v>
                </c:pt>
                <c:pt idx="4840">
                  <c:v>679.98310810810813</c:v>
                </c:pt>
                <c:pt idx="4841">
                  <c:v>679.98310810810813</c:v>
                </c:pt>
                <c:pt idx="4842">
                  <c:v>679.98310810810813</c:v>
                </c:pt>
                <c:pt idx="4843">
                  <c:v>679.98310810810813</c:v>
                </c:pt>
                <c:pt idx="4844">
                  <c:v>679.98310810810813</c:v>
                </c:pt>
                <c:pt idx="4845">
                  <c:v>679.64527027027032</c:v>
                </c:pt>
                <c:pt idx="4846">
                  <c:v>679.64527027027032</c:v>
                </c:pt>
                <c:pt idx="4847">
                  <c:v>679.64527027027032</c:v>
                </c:pt>
                <c:pt idx="4848">
                  <c:v>679.64527027027032</c:v>
                </c:pt>
                <c:pt idx="4849">
                  <c:v>679.64527027027032</c:v>
                </c:pt>
                <c:pt idx="4850">
                  <c:v>679.22297297297303</c:v>
                </c:pt>
                <c:pt idx="4851">
                  <c:v>679.22297297297303</c:v>
                </c:pt>
                <c:pt idx="4852">
                  <c:v>679.22297297297303</c:v>
                </c:pt>
                <c:pt idx="4853">
                  <c:v>679.22297297297303</c:v>
                </c:pt>
                <c:pt idx="4854">
                  <c:v>679.22297297297303</c:v>
                </c:pt>
                <c:pt idx="4855">
                  <c:v>676.52027027027032</c:v>
                </c:pt>
                <c:pt idx="4856">
                  <c:v>676.52027027027032</c:v>
                </c:pt>
                <c:pt idx="4857">
                  <c:v>676.52027027027032</c:v>
                </c:pt>
                <c:pt idx="4858">
                  <c:v>676.52027027027032</c:v>
                </c:pt>
                <c:pt idx="4859">
                  <c:v>676.52027027027032</c:v>
                </c:pt>
                <c:pt idx="4860">
                  <c:v>673.90202702702709</c:v>
                </c:pt>
                <c:pt idx="4861">
                  <c:v>673.90202702702709</c:v>
                </c:pt>
                <c:pt idx="4862">
                  <c:v>673.90202702702709</c:v>
                </c:pt>
                <c:pt idx="4863">
                  <c:v>673.90202702702709</c:v>
                </c:pt>
                <c:pt idx="4864">
                  <c:v>673.90202702702709</c:v>
                </c:pt>
                <c:pt idx="4865">
                  <c:v>681.41891891891896</c:v>
                </c:pt>
                <c:pt idx="4866">
                  <c:v>681.41891891891896</c:v>
                </c:pt>
                <c:pt idx="4867">
                  <c:v>681.41891891891896</c:v>
                </c:pt>
                <c:pt idx="4868">
                  <c:v>681.41891891891896</c:v>
                </c:pt>
                <c:pt idx="4869">
                  <c:v>681.41891891891896</c:v>
                </c:pt>
                <c:pt idx="4870">
                  <c:v>670.10135135135135</c:v>
                </c:pt>
                <c:pt idx="4871">
                  <c:v>670.10135135135135</c:v>
                </c:pt>
                <c:pt idx="4872">
                  <c:v>670.10135135135135</c:v>
                </c:pt>
                <c:pt idx="4873">
                  <c:v>670.10135135135135</c:v>
                </c:pt>
                <c:pt idx="4874">
                  <c:v>670.10135135135135</c:v>
                </c:pt>
                <c:pt idx="4875">
                  <c:v>684.375</c:v>
                </c:pt>
                <c:pt idx="4876">
                  <c:v>684.375</c:v>
                </c:pt>
                <c:pt idx="4877">
                  <c:v>684.375</c:v>
                </c:pt>
                <c:pt idx="4878">
                  <c:v>684.375</c:v>
                </c:pt>
                <c:pt idx="4879">
                  <c:v>684.375</c:v>
                </c:pt>
                <c:pt idx="4880">
                  <c:v>682.51689189189187</c:v>
                </c:pt>
                <c:pt idx="4881">
                  <c:v>682.51689189189187</c:v>
                </c:pt>
                <c:pt idx="4882">
                  <c:v>682.51689189189187</c:v>
                </c:pt>
                <c:pt idx="4883">
                  <c:v>682.51689189189187</c:v>
                </c:pt>
                <c:pt idx="4884">
                  <c:v>682.51689189189187</c:v>
                </c:pt>
                <c:pt idx="4885">
                  <c:v>681.25000000000011</c:v>
                </c:pt>
                <c:pt idx="4886">
                  <c:v>681.25000000000011</c:v>
                </c:pt>
                <c:pt idx="4887">
                  <c:v>681.25000000000011</c:v>
                </c:pt>
                <c:pt idx="4888">
                  <c:v>681.25000000000011</c:v>
                </c:pt>
                <c:pt idx="4889">
                  <c:v>681.25000000000011</c:v>
                </c:pt>
                <c:pt idx="4890">
                  <c:v>676.85810810810813</c:v>
                </c:pt>
                <c:pt idx="4891">
                  <c:v>676.85810810810813</c:v>
                </c:pt>
                <c:pt idx="4892">
                  <c:v>676.85810810810813</c:v>
                </c:pt>
                <c:pt idx="4893">
                  <c:v>676.85810810810813</c:v>
                </c:pt>
                <c:pt idx="4894">
                  <c:v>676.85810810810813</c:v>
                </c:pt>
                <c:pt idx="4895">
                  <c:v>687.75337837837856</c:v>
                </c:pt>
                <c:pt idx="4896">
                  <c:v>687.75337837837856</c:v>
                </c:pt>
                <c:pt idx="4897">
                  <c:v>687.75337837837856</c:v>
                </c:pt>
                <c:pt idx="4898">
                  <c:v>687.75337837837856</c:v>
                </c:pt>
                <c:pt idx="4899">
                  <c:v>687.75337837837856</c:v>
                </c:pt>
                <c:pt idx="4900">
                  <c:v>690.37162162162156</c:v>
                </c:pt>
                <c:pt idx="4901">
                  <c:v>690.37162162162156</c:v>
                </c:pt>
                <c:pt idx="4902">
                  <c:v>690.37162162162156</c:v>
                </c:pt>
                <c:pt idx="4903">
                  <c:v>690.37162162162156</c:v>
                </c:pt>
                <c:pt idx="4904">
                  <c:v>690.37162162162156</c:v>
                </c:pt>
                <c:pt idx="4905">
                  <c:v>682.8547297297298</c:v>
                </c:pt>
                <c:pt idx="4906">
                  <c:v>682.8547297297298</c:v>
                </c:pt>
                <c:pt idx="4907">
                  <c:v>682.8547297297298</c:v>
                </c:pt>
                <c:pt idx="4908">
                  <c:v>682.8547297297298</c:v>
                </c:pt>
                <c:pt idx="4909">
                  <c:v>682.8547297297298</c:v>
                </c:pt>
                <c:pt idx="4910">
                  <c:v>679.56081081081084</c:v>
                </c:pt>
                <c:pt idx="4911">
                  <c:v>679.56081081081084</c:v>
                </c:pt>
                <c:pt idx="4912">
                  <c:v>679.56081081081084</c:v>
                </c:pt>
                <c:pt idx="4913">
                  <c:v>679.56081081081084</c:v>
                </c:pt>
                <c:pt idx="4914">
                  <c:v>679.56081081081084</c:v>
                </c:pt>
                <c:pt idx="4915">
                  <c:v>689.02027027027032</c:v>
                </c:pt>
                <c:pt idx="4916">
                  <c:v>689.02027027027032</c:v>
                </c:pt>
                <c:pt idx="4917">
                  <c:v>689.02027027027032</c:v>
                </c:pt>
                <c:pt idx="4918">
                  <c:v>689.02027027027032</c:v>
                </c:pt>
                <c:pt idx="4919">
                  <c:v>689.02027027027032</c:v>
                </c:pt>
                <c:pt idx="4920">
                  <c:v>680.74324324324334</c:v>
                </c:pt>
                <c:pt idx="4921">
                  <c:v>680.74324324324334</c:v>
                </c:pt>
                <c:pt idx="4922">
                  <c:v>680.74324324324334</c:v>
                </c:pt>
                <c:pt idx="4923">
                  <c:v>680.74324324324334</c:v>
                </c:pt>
                <c:pt idx="4924">
                  <c:v>680.74324324324334</c:v>
                </c:pt>
                <c:pt idx="4925">
                  <c:v>683.27702702702697</c:v>
                </c:pt>
                <c:pt idx="4926">
                  <c:v>683.27702702702697</c:v>
                </c:pt>
                <c:pt idx="4927">
                  <c:v>683.27702702702697</c:v>
                </c:pt>
                <c:pt idx="4928">
                  <c:v>683.27702702702697</c:v>
                </c:pt>
                <c:pt idx="4929">
                  <c:v>683.27702702702697</c:v>
                </c:pt>
                <c:pt idx="4930">
                  <c:v>691.55405405405418</c:v>
                </c:pt>
                <c:pt idx="4931">
                  <c:v>691.55405405405418</c:v>
                </c:pt>
                <c:pt idx="4932">
                  <c:v>691.55405405405418</c:v>
                </c:pt>
                <c:pt idx="4933">
                  <c:v>691.55405405405418</c:v>
                </c:pt>
                <c:pt idx="4934">
                  <c:v>691.55405405405418</c:v>
                </c:pt>
                <c:pt idx="4935">
                  <c:v>680.06756756756749</c:v>
                </c:pt>
                <c:pt idx="4936">
                  <c:v>680.06756756756749</c:v>
                </c:pt>
                <c:pt idx="4937">
                  <c:v>680.06756756756749</c:v>
                </c:pt>
                <c:pt idx="4938">
                  <c:v>680.06756756756749</c:v>
                </c:pt>
                <c:pt idx="4939">
                  <c:v>680.06756756756749</c:v>
                </c:pt>
                <c:pt idx="4940">
                  <c:v>685.38851351351354</c:v>
                </c:pt>
                <c:pt idx="4941">
                  <c:v>685.38851351351354</c:v>
                </c:pt>
                <c:pt idx="4942">
                  <c:v>685.38851351351354</c:v>
                </c:pt>
                <c:pt idx="4943">
                  <c:v>685.38851351351354</c:v>
                </c:pt>
                <c:pt idx="4944">
                  <c:v>685.38851351351354</c:v>
                </c:pt>
                <c:pt idx="4945">
                  <c:v>690.96283783783781</c:v>
                </c:pt>
                <c:pt idx="4946">
                  <c:v>690.96283783783781</c:v>
                </c:pt>
                <c:pt idx="4947">
                  <c:v>690.96283783783781</c:v>
                </c:pt>
                <c:pt idx="4948">
                  <c:v>690.96283783783781</c:v>
                </c:pt>
                <c:pt idx="4949">
                  <c:v>690.96283783783781</c:v>
                </c:pt>
                <c:pt idx="4950">
                  <c:v>690.45608108108115</c:v>
                </c:pt>
                <c:pt idx="4951">
                  <c:v>690.45608108108115</c:v>
                </c:pt>
                <c:pt idx="4952">
                  <c:v>690.45608108108115</c:v>
                </c:pt>
                <c:pt idx="4953">
                  <c:v>690.45608108108115</c:v>
                </c:pt>
                <c:pt idx="4954">
                  <c:v>690.45608108108115</c:v>
                </c:pt>
                <c:pt idx="4955">
                  <c:v>682.77027027027032</c:v>
                </c:pt>
                <c:pt idx="4956">
                  <c:v>682.77027027027032</c:v>
                </c:pt>
                <c:pt idx="4957">
                  <c:v>682.77027027027032</c:v>
                </c:pt>
                <c:pt idx="4958">
                  <c:v>682.77027027027032</c:v>
                </c:pt>
                <c:pt idx="4959">
                  <c:v>682.77027027027032</c:v>
                </c:pt>
                <c:pt idx="4960">
                  <c:v>690.87837837837844</c:v>
                </c:pt>
                <c:pt idx="4961">
                  <c:v>690.87837837837844</c:v>
                </c:pt>
                <c:pt idx="4962">
                  <c:v>690.87837837837844</c:v>
                </c:pt>
                <c:pt idx="4963">
                  <c:v>690.87837837837844</c:v>
                </c:pt>
                <c:pt idx="4964">
                  <c:v>690.87837837837844</c:v>
                </c:pt>
                <c:pt idx="4965">
                  <c:v>695.60810810810813</c:v>
                </c:pt>
                <c:pt idx="4966">
                  <c:v>695.60810810810813</c:v>
                </c:pt>
                <c:pt idx="4967">
                  <c:v>695.60810810810813</c:v>
                </c:pt>
                <c:pt idx="4968">
                  <c:v>695.60810810810813</c:v>
                </c:pt>
                <c:pt idx="4969">
                  <c:v>695.60810810810813</c:v>
                </c:pt>
                <c:pt idx="4970">
                  <c:v>694.17229729729729</c:v>
                </c:pt>
                <c:pt idx="4971">
                  <c:v>694.17229729729729</c:v>
                </c:pt>
                <c:pt idx="4972">
                  <c:v>694.17229729729729</c:v>
                </c:pt>
                <c:pt idx="4973">
                  <c:v>694.17229729729729</c:v>
                </c:pt>
                <c:pt idx="4974">
                  <c:v>694.17229729729729</c:v>
                </c:pt>
                <c:pt idx="4975">
                  <c:v>692.65202702702709</c:v>
                </c:pt>
                <c:pt idx="4976">
                  <c:v>692.65202702702709</c:v>
                </c:pt>
                <c:pt idx="4977">
                  <c:v>692.65202702702709</c:v>
                </c:pt>
                <c:pt idx="4978">
                  <c:v>692.65202702702709</c:v>
                </c:pt>
                <c:pt idx="4979">
                  <c:v>692.65202702702709</c:v>
                </c:pt>
                <c:pt idx="4980">
                  <c:v>698.47972972972968</c:v>
                </c:pt>
                <c:pt idx="4981">
                  <c:v>698.47972972972968</c:v>
                </c:pt>
                <c:pt idx="4982">
                  <c:v>698.47972972972968</c:v>
                </c:pt>
                <c:pt idx="4983">
                  <c:v>698.47972972972968</c:v>
                </c:pt>
                <c:pt idx="4984">
                  <c:v>698.47972972972968</c:v>
                </c:pt>
                <c:pt idx="4985">
                  <c:v>699.2398648648649</c:v>
                </c:pt>
                <c:pt idx="4986">
                  <c:v>699.2398648648649</c:v>
                </c:pt>
                <c:pt idx="4987">
                  <c:v>699.2398648648649</c:v>
                </c:pt>
                <c:pt idx="4988">
                  <c:v>699.2398648648649</c:v>
                </c:pt>
                <c:pt idx="4989">
                  <c:v>699.2398648648649</c:v>
                </c:pt>
                <c:pt idx="4990">
                  <c:v>699.57770270270271</c:v>
                </c:pt>
                <c:pt idx="4991">
                  <c:v>699.57770270270271</c:v>
                </c:pt>
                <c:pt idx="4992">
                  <c:v>699.57770270270271</c:v>
                </c:pt>
                <c:pt idx="4993">
                  <c:v>699.57770270270271</c:v>
                </c:pt>
                <c:pt idx="4994">
                  <c:v>699.57770270270271</c:v>
                </c:pt>
                <c:pt idx="4995">
                  <c:v>698.39527027027032</c:v>
                </c:pt>
                <c:pt idx="4996">
                  <c:v>698.39527027027032</c:v>
                </c:pt>
                <c:pt idx="4997">
                  <c:v>698.39527027027032</c:v>
                </c:pt>
                <c:pt idx="4998">
                  <c:v>698.39527027027032</c:v>
                </c:pt>
                <c:pt idx="4999">
                  <c:v>698.39527027027032</c:v>
                </c:pt>
                <c:pt idx="5000">
                  <c:v>703.88513513513522</c:v>
                </c:pt>
                <c:pt idx="5001">
                  <c:v>703.88513513513522</c:v>
                </c:pt>
                <c:pt idx="5002">
                  <c:v>703.88513513513522</c:v>
                </c:pt>
                <c:pt idx="5003">
                  <c:v>703.88513513513522</c:v>
                </c:pt>
                <c:pt idx="5004">
                  <c:v>703.88513513513522</c:v>
                </c:pt>
                <c:pt idx="5005">
                  <c:v>709.45945945945959</c:v>
                </c:pt>
                <c:pt idx="5006">
                  <c:v>709.45945945945959</c:v>
                </c:pt>
                <c:pt idx="5007">
                  <c:v>709.45945945945959</c:v>
                </c:pt>
                <c:pt idx="5008">
                  <c:v>709.45945945945959</c:v>
                </c:pt>
                <c:pt idx="5009">
                  <c:v>709.45945945945959</c:v>
                </c:pt>
                <c:pt idx="5010">
                  <c:v>708.10810810810813</c:v>
                </c:pt>
                <c:pt idx="5011">
                  <c:v>708.10810810810813</c:v>
                </c:pt>
                <c:pt idx="5012">
                  <c:v>708.10810810810813</c:v>
                </c:pt>
                <c:pt idx="5013">
                  <c:v>708.10810810810813</c:v>
                </c:pt>
                <c:pt idx="5014">
                  <c:v>708.10810810810813</c:v>
                </c:pt>
                <c:pt idx="5015">
                  <c:v>696.875</c:v>
                </c:pt>
                <c:pt idx="5016">
                  <c:v>696.875</c:v>
                </c:pt>
                <c:pt idx="5017">
                  <c:v>696.875</c:v>
                </c:pt>
                <c:pt idx="5018">
                  <c:v>696.875</c:v>
                </c:pt>
                <c:pt idx="5019">
                  <c:v>696.875</c:v>
                </c:pt>
                <c:pt idx="5020">
                  <c:v>698.64864864864865</c:v>
                </c:pt>
                <c:pt idx="5021">
                  <c:v>698.64864864864865</c:v>
                </c:pt>
                <c:pt idx="5022">
                  <c:v>698.64864864864865</c:v>
                </c:pt>
                <c:pt idx="5023">
                  <c:v>698.64864864864865</c:v>
                </c:pt>
                <c:pt idx="5024">
                  <c:v>698.64864864864865</c:v>
                </c:pt>
                <c:pt idx="5025">
                  <c:v>715.62500000000011</c:v>
                </c:pt>
                <c:pt idx="5026">
                  <c:v>715.62500000000011</c:v>
                </c:pt>
                <c:pt idx="5027">
                  <c:v>715.62500000000011</c:v>
                </c:pt>
                <c:pt idx="5028">
                  <c:v>715.62500000000011</c:v>
                </c:pt>
                <c:pt idx="5029">
                  <c:v>715.62500000000011</c:v>
                </c:pt>
                <c:pt idx="5030">
                  <c:v>714.61148648648657</c:v>
                </c:pt>
                <c:pt idx="5031">
                  <c:v>714.61148648648657</c:v>
                </c:pt>
                <c:pt idx="5032">
                  <c:v>714.61148648648657</c:v>
                </c:pt>
                <c:pt idx="5033">
                  <c:v>714.61148648648657</c:v>
                </c:pt>
                <c:pt idx="5034">
                  <c:v>714.61148648648657</c:v>
                </c:pt>
                <c:pt idx="5035">
                  <c:v>718.83445945945948</c:v>
                </c:pt>
                <c:pt idx="5036">
                  <c:v>718.83445945945948</c:v>
                </c:pt>
                <c:pt idx="5037">
                  <c:v>718.83445945945948</c:v>
                </c:pt>
                <c:pt idx="5038">
                  <c:v>718.83445945945948</c:v>
                </c:pt>
                <c:pt idx="5039">
                  <c:v>718.83445945945948</c:v>
                </c:pt>
                <c:pt idx="5040">
                  <c:v>722.88851351351354</c:v>
                </c:pt>
                <c:pt idx="5041">
                  <c:v>722.88851351351354</c:v>
                </c:pt>
                <c:pt idx="5042">
                  <c:v>722.88851351351354</c:v>
                </c:pt>
                <c:pt idx="5043">
                  <c:v>722.88851351351354</c:v>
                </c:pt>
                <c:pt idx="5044">
                  <c:v>722.88851351351354</c:v>
                </c:pt>
                <c:pt idx="5045">
                  <c:v>712.9222972972974</c:v>
                </c:pt>
                <c:pt idx="5046">
                  <c:v>712.9222972972974</c:v>
                </c:pt>
                <c:pt idx="5047">
                  <c:v>712.9222972972974</c:v>
                </c:pt>
                <c:pt idx="5048">
                  <c:v>712.9222972972974</c:v>
                </c:pt>
                <c:pt idx="5049">
                  <c:v>712.9222972972974</c:v>
                </c:pt>
                <c:pt idx="5050">
                  <c:v>721.1148648648649</c:v>
                </c:pt>
                <c:pt idx="5051">
                  <c:v>721.1148648648649</c:v>
                </c:pt>
                <c:pt idx="5052">
                  <c:v>721.1148648648649</c:v>
                </c:pt>
                <c:pt idx="5053">
                  <c:v>721.1148648648649</c:v>
                </c:pt>
                <c:pt idx="5054">
                  <c:v>721.1148648648649</c:v>
                </c:pt>
                <c:pt idx="5055">
                  <c:v>719.25675675675677</c:v>
                </c:pt>
                <c:pt idx="5056">
                  <c:v>719.25675675675677</c:v>
                </c:pt>
                <c:pt idx="5057">
                  <c:v>719.25675675675677</c:v>
                </c:pt>
                <c:pt idx="5058">
                  <c:v>719.25675675675677</c:v>
                </c:pt>
                <c:pt idx="5059">
                  <c:v>719.25675675675677</c:v>
                </c:pt>
                <c:pt idx="5060">
                  <c:v>723.39527027027032</c:v>
                </c:pt>
                <c:pt idx="5061">
                  <c:v>723.39527027027032</c:v>
                </c:pt>
                <c:pt idx="5062">
                  <c:v>723.39527027027032</c:v>
                </c:pt>
                <c:pt idx="5063">
                  <c:v>723.39527027027032</c:v>
                </c:pt>
                <c:pt idx="5064">
                  <c:v>723.39527027027032</c:v>
                </c:pt>
                <c:pt idx="5065">
                  <c:v>718.58108108108104</c:v>
                </c:pt>
                <c:pt idx="5066">
                  <c:v>718.58108108108104</c:v>
                </c:pt>
                <c:pt idx="5067">
                  <c:v>718.58108108108104</c:v>
                </c:pt>
                <c:pt idx="5068">
                  <c:v>718.58108108108104</c:v>
                </c:pt>
                <c:pt idx="5069">
                  <c:v>718.58108108108104</c:v>
                </c:pt>
                <c:pt idx="5070">
                  <c:v>718.58108108108104</c:v>
                </c:pt>
                <c:pt idx="5071">
                  <c:v>718.58108108108104</c:v>
                </c:pt>
                <c:pt idx="5072">
                  <c:v>718.58108108108104</c:v>
                </c:pt>
                <c:pt idx="5073">
                  <c:v>718.58108108108104</c:v>
                </c:pt>
                <c:pt idx="5074">
                  <c:v>718.58108108108104</c:v>
                </c:pt>
                <c:pt idx="5075">
                  <c:v>729.81418918918916</c:v>
                </c:pt>
                <c:pt idx="5076">
                  <c:v>729.81418918918916</c:v>
                </c:pt>
                <c:pt idx="5077">
                  <c:v>729.81418918918916</c:v>
                </c:pt>
                <c:pt idx="5078">
                  <c:v>729.81418918918916</c:v>
                </c:pt>
                <c:pt idx="5079">
                  <c:v>729.81418918918916</c:v>
                </c:pt>
                <c:pt idx="5080">
                  <c:v>726.43581081081084</c:v>
                </c:pt>
                <c:pt idx="5081">
                  <c:v>726.43581081081084</c:v>
                </c:pt>
                <c:pt idx="5082">
                  <c:v>726.43581081081084</c:v>
                </c:pt>
                <c:pt idx="5083">
                  <c:v>726.43581081081084</c:v>
                </c:pt>
                <c:pt idx="5084">
                  <c:v>726.43581081081084</c:v>
                </c:pt>
                <c:pt idx="5085">
                  <c:v>723.98648648648646</c:v>
                </c:pt>
                <c:pt idx="5086">
                  <c:v>723.98648648648646</c:v>
                </c:pt>
                <c:pt idx="5087">
                  <c:v>723.98648648648646</c:v>
                </c:pt>
                <c:pt idx="5088">
                  <c:v>723.98648648648646</c:v>
                </c:pt>
                <c:pt idx="5089">
                  <c:v>723.98648648648646</c:v>
                </c:pt>
                <c:pt idx="5090">
                  <c:v>728.71621621621625</c:v>
                </c:pt>
                <c:pt idx="5091">
                  <c:v>728.71621621621625</c:v>
                </c:pt>
                <c:pt idx="5092">
                  <c:v>728.71621621621625</c:v>
                </c:pt>
                <c:pt idx="5093">
                  <c:v>728.71621621621625</c:v>
                </c:pt>
                <c:pt idx="5094">
                  <c:v>728.71621621621625</c:v>
                </c:pt>
                <c:pt idx="5095">
                  <c:v>728.20945945945948</c:v>
                </c:pt>
                <c:pt idx="5096">
                  <c:v>728.20945945945948</c:v>
                </c:pt>
                <c:pt idx="5097">
                  <c:v>728.20945945945948</c:v>
                </c:pt>
                <c:pt idx="5098">
                  <c:v>728.20945945945948</c:v>
                </c:pt>
                <c:pt idx="5099">
                  <c:v>728.20945945945948</c:v>
                </c:pt>
                <c:pt idx="5100">
                  <c:v>739.27364864864865</c:v>
                </c:pt>
                <c:pt idx="5101">
                  <c:v>739.27364864864865</c:v>
                </c:pt>
                <c:pt idx="5102">
                  <c:v>739.27364864864865</c:v>
                </c:pt>
                <c:pt idx="5103">
                  <c:v>739.27364864864865</c:v>
                </c:pt>
                <c:pt idx="5104">
                  <c:v>739.27364864864865</c:v>
                </c:pt>
                <c:pt idx="5105">
                  <c:v>729.22297297297303</c:v>
                </c:pt>
                <c:pt idx="5106">
                  <c:v>729.22297297297303</c:v>
                </c:pt>
                <c:pt idx="5107">
                  <c:v>729.22297297297303</c:v>
                </c:pt>
                <c:pt idx="5108">
                  <c:v>729.22297297297303</c:v>
                </c:pt>
                <c:pt idx="5109">
                  <c:v>729.22297297297303</c:v>
                </c:pt>
                <c:pt idx="5110">
                  <c:v>737.5</c:v>
                </c:pt>
                <c:pt idx="5111">
                  <c:v>737.5</c:v>
                </c:pt>
                <c:pt idx="5112">
                  <c:v>737.5</c:v>
                </c:pt>
                <c:pt idx="5113">
                  <c:v>737.5</c:v>
                </c:pt>
                <c:pt idx="5114">
                  <c:v>737.5</c:v>
                </c:pt>
                <c:pt idx="5115">
                  <c:v>737.83783783783792</c:v>
                </c:pt>
                <c:pt idx="5116">
                  <c:v>737.83783783783792</c:v>
                </c:pt>
                <c:pt idx="5117">
                  <c:v>737.83783783783792</c:v>
                </c:pt>
                <c:pt idx="5118">
                  <c:v>737.83783783783792</c:v>
                </c:pt>
                <c:pt idx="5119">
                  <c:v>737.83783783783792</c:v>
                </c:pt>
                <c:pt idx="5120">
                  <c:v>744.34121621621637</c:v>
                </c:pt>
                <c:pt idx="5121">
                  <c:v>744.34121621621637</c:v>
                </c:pt>
                <c:pt idx="5122">
                  <c:v>744.34121621621637</c:v>
                </c:pt>
                <c:pt idx="5123">
                  <c:v>744.34121621621637</c:v>
                </c:pt>
                <c:pt idx="5124">
                  <c:v>744.34121621621637</c:v>
                </c:pt>
                <c:pt idx="5125">
                  <c:v>732.93918918918928</c:v>
                </c:pt>
                <c:pt idx="5126">
                  <c:v>732.93918918918928</c:v>
                </c:pt>
                <c:pt idx="5127">
                  <c:v>732.93918918918928</c:v>
                </c:pt>
                <c:pt idx="5128">
                  <c:v>732.93918918918928</c:v>
                </c:pt>
                <c:pt idx="5129">
                  <c:v>732.93918918918928</c:v>
                </c:pt>
                <c:pt idx="5130">
                  <c:v>738.09121621621637</c:v>
                </c:pt>
                <c:pt idx="5131">
                  <c:v>738.09121621621637</c:v>
                </c:pt>
                <c:pt idx="5132">
                  <c:v>738.09121621621637</c:v>
                </c:pt>
                <c:pt idx="5133">
                  <c:v>738.09121621621637</c:v>
                </c:pt>
                <c:pt idx="5134">
                  <c:v>738.09121621621637</c:v>
                </c:pt>
                <c:pt idx="5135">
                  <c:v>733.44594594594594</c:v>
                </c:pt>
                <c:pt idx="5136">
                  <c:v>733.44594594594594</c:v>
                </c:pt>
                <c:pt idx="5137">
                  <c:v>733.44594594594594</c:v>
                </c:pt>
                <c:pt idx="5138">
                  <c:v>733.44594594594594</c:v>
                </c:pt>
                <c:pt idx="5139">
                  <c:v>733.44594594594594</c:v>
                </c:pt>
                <c:pt idx="5140">
                  <c:v>757.68581081081084</c:v>
                </c:pt>
                <c:pt idx="5141">
                  <c:v>757.68581081081084</c:v>
                </c:pt>
                <c:pt idx="5142">
                  <c:v>757.68581081081084</c:v>
                </c:pt>
                <c:pt idx="5143">
                  <c:v>757.68581081081084</c:v>
                </c:pt>
                <c:pt idx="5144">
                  <c:v>757.68581081081084</c:v>
                </c:pt>
                <c:pt idx="5145">
                  <c:v>730.91216216216219</c:v>
                </c:pt>
                <c:pt idx="5146">
                  <c:v>730.91216216216219</c:v>
                </c:pt>
                <c:pt idx="5147">
                  <c:v>730.91216216216219</c:v>
                </c:pt>
                <c:pt idx="5148">
                  <c:v>730.91216216216219</c:v>
                </c:pt>
                <c:pt idx="5149">
                  <c:v>730.91216216216219</c:v>
                </c:pt>
                <c:pt idx="5150">
                  <c:v>750.67567567567573</c:v>
                </c:pt>
                <c:pt idx="5151">
                  <c:v>750.67567567567573</c:v>
                </c:pt>
                <c:pt idx="5152">
                  <c:v>750.67567567567573</c:v>
                </c:pt>
                <c:pt idx="5153">
                  <c:v>750.67567567567573</c:v>
                </c:pt>
                <c:pt idx="5154">
                  <c:v>750.67567567567573</c:v>
                </c:pt>
                <c:pt idx="5155">
                  <c:v>748.81756756756749</c:v>
                </c:pt>
                <c:pt idx="5156">
                  <c:v>748.81756756756749</c:v>
                </c:pt>
                <c:pt idx="5157">
                  <c:v>748.81756756756749</c:v>
                </c:pt>
                <c:pt idx="5158">
                  <c:v>748.81756756756749</c:v>
                </c:pt>
                <c:pt idx="5159">
                  <c:v>748.81756756756749</c:v>
                </c:pt>
                <c:pt idx="5160">
                  <c:v>745.77702702702709</c:v>
                </c:pt>
                <c:pt idx="5161">
                  <c:v>745.77702702702709</c:v>
                </c:pt>
                <c:pt idx="5162">
                  <c:v>745.77702702702709</c:v>
                </c:pt>
                <c:pt idx="5163">
                  <c:v>745.77702702702709</c:v>
                </c:pt>
                <c:pt idx="5164">
                  <c:v>745.77702702702709</c:v>
                </c:pt>
                <c:pt idx="5165">
                  <c:v>748.47972972972968</c:v>
                </c:pt>
                <c:pt idx="5166">
                  <c:v>748.47972972972968</c:v>
                </c:pt>
                <c:pt idx="5167">
                  <c:v>748.47972972972968</c:v>
                </c:pt>
                <c:pt idx="5168">
                  <c:v>748.47972972972968</c:v>
                </c:pt>
                <c:pt idx="5169">
                  <c:v>748.47972972972968</c:v>
                </c:pt>
                <c:pt idx="5170">
                  <c:v>748.31081081081084</c:v>
                </c:pt>
                <c:pt idx="5171">
                  <c:v>748.31081081081084</c:v>
                </c:pt>
                <c:pt idx="5172">
                  <c:v>748.31081081081084</c:v>
                </c:pt>
                <c:pt idx="5173">
                  <c:v>748.31081081081084</c:v>
                </c:pt>
                <c:pt idx="5174">
                  <c:v>748.31081081081084</c:v>
                </c:pt>
                <c:pt idx="5175">
                  <c:v>755.40540540540553</c:v>
                </c:pt>
                <c:pt idx="5176">
                  <c:v>755.40540540540553</c:v>
                </c:pt>
                <c:pt idx="5177">
                  <c:v>755.40540540540553</c:v>
                </c:pt>
                <c:pt idx="5178">
                  <c:v>755.40540540540553</c:v>
                </c:pt>
                <c:pt idx="5179">
                  <c:v>755.40540540540553</c:v>
                </c:pt>
                <c:pt idx="5180">
                  <c:v>744.76351351351354</c:v>
                </c:pt>
                <c:pt idx="5181">
                  <c:v>744.76351351351354</c:v>
                </c:pt>
                <c:pt idx="5182">
                  <c:v>744.76351351351354</c:v>
                </c:pt>
                <c:pt idx="5183">
                  <c:v>744.76351351351354</c:v>
                </c:pt>
                <c:pt idx="5184">
                  <c:v>744.76351351351354</c:v>
                </c:pt>
                <c:pt idx="5185">
                  <c:v>750.42229729729729</c:v>
                </c:pt>
                <c:pt idx="5186">
                  <c:v>750.42229729729729</c:v>
                </c:pt>
                <c:pt idx="5187">
                  <c:v>750.42229729729729</c:v>
                </c:pt>
                <c:pt idx="5188">
                  <c:v>750.42229729729729</c:v>
                </c:pt>
                <c:pt idx="5189">
                  <c:v>750.42229729729729</c:v>
                </c:pt>
                <c:pt idx="5190">
                  <c:v>768.32770270270271</c:v>
                </c:pt>
                <c:pt idx="5191">
                  <c:v>768.32770270270271</c:v>
                </c:pt>
                <c:pt idx="5192">
                  <c:v>768.32770270270271</c:v>
                </c:pt>
                <c:pt idx="5193">
                  <c:v>768.32770270270271</c:v>
                </c:pt>
                <c:pt idx="5194">
                  <c:v>768.32770270270271</c:v>
                </c:pt>
                <c:pt idx="5195">
                  <c:v>740.79391891891908</c:v>
                </c:pt>
                <c:pt idx="5196">
                  <c:v>740.79391891891908</c:v>
                </c:pt>
                <c:pt idx="5197">
                  <c:v>740.79391891891908</c:v>
                </c:pt>
                <c:pt idx="5198">
                  <c:v>740.79391891891908</c:v>
                </c:pt>
                <c:pt idx="5199">
                  <c:v>740.79391891891908</c:v>
                </c:pt>
                <c:pt idx="5200">
                  <c:v>755.15202702702709</c:v>
                </c:pt>
                <c:pt idx="5201">
                  <c:v>755.15202702702709</c:v>
                </c:pt>
                <c:pt idx="5202">
                  <c:v>755.15202702702709</c:v>
                </c:pt>
                <c:pt idx="5203">
                  <c:v>755.15202702702709</c:v>
                </c:pt>
                <c:pt idx="5204">
                  <c:v>755.15202702702709</c:v>
                </c:pt>
                <c:pt idx="5205">
                  <c:v>770.01689189189199</c:v>
                </c:pt>
                <c:pt idx="5206">
                  <c:v>770.01689189189199</c:v>
                </c:pt>
                <c:pt idx="5207">
                  <c:v>770.01689189189199</c:v>
                </c:pt>
                <c:pt idx="5208">
                  <c:v>770.01689189189199</c:v>
                </c:pt>
                <c:pt idx="5209">
                  <c:v>770.01689189189199</c:v>
                </c:pt>
                <c:pt idx="5210">
                  <c:v>753.96959459459458</c:v>
                </c:pt>
                <c:pt idx="5211">
                  <c:v>753.96959459459458</c:v>
                </c:pt>
                <c:pt idx="5212">
                  <c:v>753.96959459459458</c:v>
                </c:pt>
                <c:pt idx="5213">
                  <c:v>753.96959459459458</c:v>
                </c:pt>
                <c:pt idx="5214">
                  <c:v>753.96959459459458</c:v>
                </c:pt>
                <c:pt idx="5215">
                  <c:v>765.11824324324323</c:v>
                </c:pt>
                <c:pt idx="5216">
                  <c:v>765.11824324324323</c:v>
                </c:pt>
                <c:pt idx="5217">
                  <c:v>765.11824324324323</c:v>
                </c:pt>
                <c:pt idx="5218">
                  <c:v>765.11824324324323</c:v>
                </c:pt>
                <c:pt idx="5219">
                  <c:v>765.11824324324323</c:v>
                </c:pt>
                <c:pt idx="5220">
                  <c:v>760.89527027027032</c:v>
                </c:pt>
                <c:pt idx="5221">
                  <c:v>760.89527027027032</c:v>
                </c:pt>
                <c:pt idx="5222">
                  <c:v>760.89527027027032</c:v>
                </c:pt>
                <c:pt idx="5223">
                  <c:v>760.89527027027032</c:v>
                </c:pt>
                <c:pt idx="5224">
                  <c:v>760.89527027027032</c:v>
                </c:pt>
                <c:pt idx="5225">
                  <c:v>764.02027027027032</c:v>
                </c:pt>
                <c:pt idx="5226">
                  <c:v>764.02027027027032</c:v>
                </c:pt>
                <c:pt idx="5227">
                  <c:v>764.02027027027032</c:v>
                </c:pt>
                <c:pt idx="5228">
                  <c:v>764.02027027027032</c:v>
                </c:pt>
                <c:pt idx="5229">
                  <c:v>764.02027027027032</c:v>
                </c:pt>
                <c:pt idx="5230">
                  <c:v>768.83445945945948</c:v>
                </c:pt>
                <c:pt idx="5231">
                  <c:v>768.83445945945948</c:v>
                </c:pt>
                <c:pt idx="5232">
                  <c:v>768.83445945945948</c:v>
                </c:pt>
                <c:pt idx="5233">
                  <c:v>768.83445945945948</c:v>
                </c:pt>
                <c:pt idx="5234">
                  <c:v>768.83445945945948</c:v>
                </c:pt>
                <c:pt idx="5235">
                  <c:v>767.14527027027032</c:v>
                </c:pt>
                <c:pt idx="5236">
                  <c:v>767.14527027027032</c:v>
                </c:pt>
                <c:pt idx="5237">
                  <c:v>767.14527027027032</c:v>
                </c:pt>
                <c:pt idx="5238">
                  <c:v>767.14527027027032</c:v>
                </c:pt>
                <c:pt idx="5239">
                  <c:v>767.14527027027032</c:v>
                </c:pt>
                <c:pt idx="5240">
                  <c:v>767.9898648648649</c:v>
                </c:pt>
                <c:pt idx="5241">
                  <c:v>767.9898648648649</c:v>
                </c:pt>
                <c:pt idx="5242">
                  <c:v>767.9898648648649</c:v>
                </c:pt>
                <c:pt idx="5243">
                  <c:v>767.9898648648649</c:v>
                </c:pt>
                <c:pt idx="5244">
                  <c:v>767.9898648648649</c:v>
                </c:pt>
                <c:pt idx="5245">
                  <c:v>773.64864864864865</c:v>
                </c:pt>
                <c:pt idx="5246">
                  <c:v>773.64864864864865</c:v>
                </c:pt>
                <c:pt idx="5247">
                  <c:v>773.64864864864865</c:v>
                </c:pt>
                <c:pt idx="5248">
                  <c:v>773.64864864864865</c:v>
                </c:pt>
                <c:pt idx="5249">
                  <c:v>773.64864864864865</c:v>
                </c:pt>
                <c:pt idx="5250">
                  <c:v>774.57770270270271</c:v>
                </c:pt>
                <c:pt idx="5251">
                  <c:v>774.57770270270271</c:v>
                </c:pt>
                <c:pt idx="5252">
                  <c:v>774.57770270270271</c:v>
                </c:pt>
                <c:pt idx="5253">
                  <c:v>774.57770270270271</c:v>
                </c:pt>
                <c:pt idx="5254">
                  <c:v>774.57770270270271</c:v>
                </c:pt>
                <c:pt idx="5255">
                  <c:v>776.43581081081084</c:v>
                </c:pt>
                <c:pt idx="5256">
                  <c:v>776.43581081081084</c:v>
                </c:pt>
                <c:pt idx="5257">
                  <c:v>776.43581081081084</c:v>
                </c:pt>
                <c:pt idx="5258">
                  <c:v>776.43581081081084</c:v>
                </c:pt>
                <c:pt idx="5259">
                  <c:v>776.43581081081084</c:v>
                </c:pt>
                <c:pt idx="5260">
                  <c:v>780.06756756756761</c:v>
                </c:pt>
                <c:pt idx="5261">
                  <c:v>780.06756756756761</c:v>
                </c:pt>
                <c:pt idx="5262">
                  <c:v>780.06756756756761</c:v>
                </c:pt>
                <c:pt idx="5263">
                  <c:v>780.06756756756761</c:v>
                </c:pt>
                <c:pt idx="5264">
                  <c:v>780.06756756756761</c:v>
                </c:pt>
                <c:pt idx="5265">
                  <c:v>790.87837837837856</c:v>
                </c:pt>
                <c:pt idx="5266">
                  <c:v>790.87837837837856</c:v>
                </c:pt>
                <c:pt idx="5267">
                  <c:v>790.87837837837856</c:v>
                </c:pt>
                <c:pt idx="5268">
                  <c:v>790.87837837837856</c:v>
                </c:pt>
                <c:pt idx="5269">
                  <c:v>790.87837837837856</c:v>
                </c:pt>
                <c:pt idx="5270">
                  <c:v>777.44932432432438</c:v>
                </c:pt>
                <c:pt idx="5271">
                  <c:v>777.44932432432438</c:v>
                </c:pt>
                <c:pt idx="5272">
                  <c:v>777.44932432432438</c:v>
                </c:pt>
                <c:pt idx="5273">
                  <c:v>777.44932432432438</c:v>
                </c:pt>
                <c:pt idx="5274">
                  <c:v>777.44932432432438</c:v>
                </c:pt>
                <c:pt idx="5275">
                  <c:v>771.36824324324323</c:v>
                </c:pt>
                <c:pt idx="5276">
                  <c:v>771.36824324324323</c:v>
                </c:pt>
                <c:pt idx="5277">
                  <c:v>771.36824324324323</c:v>
                </c:pt>
                <c:pt idx="5278">
                  <c:v>771.36824324324323</c:v>
                </c:pt>
                <c:pt idx="5279">
                  <c:v>771.36824324324323</c:v>
                </c:pt>
                <c:pt idx="5280">
                  <c:v>766.63851351351354</c:v>
                </c:pt>
                <c:pt idx="5281">
                  <c:v>766.63851351351354</c:v>
                </c:pt>
                <c:pt idx="5282">
                  <c:v>766.63851351351354</c:v>
                </c:pt>
                <c:pt idx="5283">
                  <c:v>766.63851351351354</c:v>
                </c:pt>
                <c:pt idx="5284">
                  <c:v>766.63851351351354</c:v>
                </c:pt>
                <c:pt idx="5285">
                  <c:v>763.76689189189187</c:v>
                </c:pt>
                <c:pt idx="5286">
                  <c:v>763.76689189189187</c:v>
                </c:pt>
                <c:pt idx="5287">
                  <c:v>763.76689189189187</c:v>
                </c:pt>
                <c:pt idx="5288">
                  <c:v>763.76689189189187</c:v>
                </c:pt>
                <c:pt idx="5289">
                  <c:v>763.76689189189187</c:v>
                </c:pt>
                <c:pt idx="5290">
                  <c:v>779.22297297297303</c:v>
                </c:pt>
                <c:pt idx="5291">
                  <c:v>779.22297297297303</c:v>
                </c:pt>
                <c:pt idx="5292">
                  <c:v>779.22297297297303</c:v>
                </c:pt>
                <c:pt idx="5293">
                  <c:v>779.22297297297303</c:v>
                </c:pt>
                <c:pt idx="5294">
                  <c:v>779.22297297297303</c:v>
                </c:pt>
                <c:pt idx="5295">
                  <c:v>787.24662162162167</c:v>
                </c:pt>
                <c:pt idx="5296">
                  <c:v>787.24662162162167</c:v>
                </c:pt>
                <c:pt idx="5297">
                  <c:v>787.24662162162167</c:v>
                </c:pt>
                <c:pt idx="5298">
                  <c:v>787.24662162162167</c:v>
                </c:pt>
                <c:pt idx="5299">
                  <c:v>787.24662162162167</c:v>
                </c:pt>
                <c:pt idx="5300">
                  <c:v>777.78716216216219</c:v>
                </c:pt>
                <c:pt idx="5301">
                  <c:v>777.78716216216219</c:v>
                </c:pt>
                <c:pt idx="5302">
                  <c:v>777.78716216216219</c:v>
                </c:pt>
                <c:pt idx="5303">
                  <c:v>777.78716216216219</c:v>
                </c:pt>
                <c:pt idx="5304">
                  <c:v>777.78716216216219</c:v>
                </c:pt>
                <c:pt idx="5305">
                  <c:v>780.9121621621623</c:v>
                </c:pt>
                <c:pt idx="5306">
                  <c:v>780.9121621621623</c:v>
                </c:pt>
                <c:pt idx="5307">
                  <c:v>780.9121621621623</c:v>
                </c:pt>
                <c:pt idx="5308">
                  <c:v>780.9121621621623</c:v>
                </c:pt>
                <c:pt idx="5309">
                  <c:v>780.9121621621623</c:v>
                </c:pt>
                <c:pt idx="5310">
                  <c:v>767.56756756756749</c:v>
                </c:pt>
                <c:pt idx="5311">
                  <c:v>767.56756756756749</c:v>
                </c:pt>
                <c:pt idx="5312">
                  <c:v>767.56756756756749</c:v>
                </c:pt>
                <c:pt idx="5313">
                  <c:v>767.56756756756749</c:v>
                </c:pt>
                <c:pt idx="5314">
                  <c:v>767.56756756756749</c:v>
                </c:pt>
                <c:pt idx="5315">
                  <c:v>775.33783783783792</c:v>
                </c:pt>
                <c:pt idx="5316">
                  <c:v>775.33783783783792</c:v>
                </c:pt>
                <c:pt idx="5317">
                  <c:v>775.33783783783792</c:v>
                </c:pt>
                <c:pt idx="5318">
                  <c:v>775.33783783783792</c:v>
                </c:pt>
                <c:pt idx="5319">
                  <c:v>775.33783783783792</c:v>
                </c:pt>
                <c:pt idx="5320">
                  <c:v>764.86486486486478</c:v>
                </c:pt>
                <c:pt idx="5321">
                  <c:v>764.86486486486478</c:v>
                </c:pt>
                <c:pt idx="5322">
                  <c:v>764.86486486486478</c:v>
                </c:pt>
                <c:pt idx="5323">
                  <c:v>764.86486486486478</c:v>
                </c:pt>
                <c:pt idx="5324">
                  <c:v>764.86486486486478</c:v>
                </c:pt>
                <c:pt idx="5325">
                  <c:v>773.73310810810813</c:v>
                </c:pt>
                <c:pt idx="5326">
                  <c:v>773.73310810810813</c:v>
                </c:pt>
                <c:pt idx="5327">
                  <c:v>773.73310810810813</c:v>
                </c:pt>
                <c:pt idx="5328">
                  <c:v>773.73310810810813</c:v>
                </c:pt>
                <c:pt idx="5329">
                  <c:v>773.73310810810813</c:v>
                </c:pt>
                <c:pt idx="5330">
                  <c:v>778.46283783783792</c:v>
                </c:pt>
                <c:pt idx="5331">
                  <c:v>778.46283783783792</c:v>
                </c:pt>
                <c:pt idx="5332">
                  <c:v>778.46283783783792</c:v>
                </c:pt>
                <c:pt idx="5333">
                  <c:v>778.46283783783792</c:v>
                </c:pt>
                <c:pt idx="5334">
                  <c:v>778.46283783783792</c:v>
                </c:pt>
                <c:pt idx="5335">
                  <c:v>775.50675675675689</c:v>
                </c:pt>
                <c:pt idx="5336">
                  <c:v>775.50675675675689</c:v>
                </c:pt>
                <c:pt idx="5337">
                  <c:v>775.50675675675689</c:v>
                </c:pt>
                <c:pt idx="5338">
                  <c:v>775.50675675675689</c:v>
                </c:pt>
                <c:pt idx="5339">
                  <c:v>775.50675675675689</c:v>
                </c:pt>
                <c:pt idx="5340">
                  <c:v>795.35472972972968</c:v>
                </c:pt>
                <c:pt idx="5341">
                  <c:v>795.35472972972968</c:v>
                </c:pt>
                <c:pt idx="5342">
                  <c:v>795.35472972972968</c:v>
                </c:pt>
                <c:pt idx="5343">
                  <c:v>795.35472972972968</c:v>
                </c:pt>
                <c:pt idx="5344">
                  <c:v>795.35472972972968</c:v>
                </c:pt>
                <c:pt idx="5345">
                  <c:v>782.0945945945947</c:v>
                </c:pt>
                <c:pt idx="5346">
                  <c:v>782.0945945945947</c:v>
                </c:pt>
                <c:pt idx="5347">
                  <c:v>782.0945945945947</c:v>
                </c:pt>
                <c:pt idx="5348">
                  <c:v>782.0945945945947</c:v>
                </c:pt>
                <c:pt idx="5349">
                  <c:v>782.0945945945947</c:v>
                </c:pt>
                <c:pt idx="5350">
                  <c:v>795.52364864864865</c:v>
                </c:pt>
                <c:pt idx="5351">
                  <c:v>795.52364864864865</c:v>
                </c:pt>
                <c:pt idx="5352">
                  <c:v>795.52364864864865</c:v>
                </c:pt>
                <c:pt idx="5353">
                  <c:v>795.52364864864865</c:v>
                </c:pt>
                <c:pt idx="5354">
                  <c:v>795.52364864864865</c:v>
                </c:pt>
                <c:pt idx="5355">
                  <c:v>779.47635135135135</c:v>
                </c:pt>
                <c:pt idx="5356">
                  <c:v>779.47635135135135</c:v>
                </c:pt>
                <c:pt idx="5357">
                  <c:v>779.47635135135135</c:v>
                </c:pt>
                <c:pt idx="5358">
                  <c:v>779.47635135135135</c:v>
                </c:pt>
                <c:pt idx="5359">
                  <c:v>779.47635135135135</c:v>
                </c:pt>
                <c:pt idx="5360">
                  <c:v>781.6722972972974</c:v>
                </c:pt>
                <c:pt idx="5361">
                  <c:v>781.6722972972974</c:v>
                </c:pt>
                <c:pt idx="5362">
                  <c:v>781.6722972972974</c:v>
                </c:pt>
                <c:pt idx="5363">
                  <c:v>781.6722972972974</c:v>
                </c:pt>
                <c:pt idx="5364">
                  <c:v>781.6722972972974</c:v>
                </c:pt>
                <c:pt idx="5365">
                  <c:v>785.89527027027032</c:v>
                </c:pt>
                <c:pt idx="5366">
                  <c:v>785.89527027027032</c:v>
                </c:pt>
                <c:pt idx="5367">
                  <c:v>785.89527027027032</c:v>
                </c:pt>
                <c:pt idx="5368">
                  <c:v>785.89527027027032</c:v>
                </c:pt>
                <c:pt idx="5369">
                  <c:v>785.89527027027032</c:v>
                </c:pt>
                <c:pt idx="5370">
                  <c:v>796.19932432432427</c:v>
                </c:pt>
                <c:pt idx="5371">
                  <c:v>796.19932432432427</c:v>
                </c:pt>
                <c:pt idx="5372">
                  <c:v>796.19932432432427</c:v>
                </c:pt>
                <c:pt idx="5373">
                  <c:v>796.19932432432427</c:v>
                </c:pt>
                <c:pt idx="5374">
                  <c:v>796.19932432432427</c:v>
                </c:pt>
                <c:pt idx="5375">
                  <c:v>750.59121621621637</c:v>
                </c:pt>
                <c:pt idx="5376">
                  <c:v>750.59121621621637</c:v>
                </c:pt>
                <c:pt idx="5377">
                  <c:v>750.59121621621637</c:v>
                </c:pt>
                <c:pt idx="5378">
                  <c:v>750.59121621621637</c:v>
                </c:pt>
                <c:pt idx="5379">
                  <c:v>750.59121621621637</c:v>
                </c:pt>
                <c:pt idx="5380">
                  <c:v>771.03040540540542</c:v>
                </c:pt>
                <c:pt idx="5381">
                  <c:v>771.03040540540542</c:v>
                </c:pt>
                <c:pt idx="5382">
                  <c:v>771.03040540540542</c:v>
                </c:pt>
                <c:pt idx="5383">
                  <c:v>771.03040540540542</c:v>
                </c:pt>
                <c:pt idx="5384">
                  <c:v>771.03040540540542</c:v>
                </c:pt>
                <c:pt idx="5385">
                  <c:v>801.35135135135135</c:v>
                </c:pt>
                <c:pt idx="5386">
                  <c:v>801.35135135135135</c:v>
                </c:pt>
                <c:pt idx="5387">
                  <c:v>801.35135135135135</c:v>
                </c:pt>
                <c:pt idx="5388">
                  <c:v>801.35135135135135</c:v>
                </c:pt>
                <c:pt idx="5389">
                  <c:v>801.35135135135135</c:v>
                </c:pt>
                <c:pt idx="5390">
                  <c:v>786.73986486486478</c:v>
                </c:pt>
                <c:pt idx="5391">
                  <c:v>786.73986486486478</c:v>
                </c:pt>
                <c:pt idx="5392">
                  <c:v>786.73986486486478</c:v>
                </c:pt>
                <c:pt idx="5393">
                  <c:v>786.73986486486478</c:v>
                </c:pt>
                <c:pt idx="5394">
                  <c:v>786.73986486486478</c:v>
                </c:pt>
                <c:pt idx="5395">
                  <c:v>789.18918918918916</c:v>
                </c:pt>
                <c:pt idx="5396">
                  <c:v>789.18918918918916</c:v>
                </c:pt>
                <c:pt idx="5397">
                  <c:v>789.18918918918916</c:v>
                </c:pt>
                <c:pt idx="5398">
                  <c:v>789.18918918918916</c:v>
                </c:pt>
                <c:pt idx="5399">
                  <c:v>789.18918918918916</c:v>
                </c:pt>
                <c:pt idx="5400">
                  <c:v>775.59121621621625</c:v>
                </c:pt>
                <c:pt idx="5401">
                  <c:v>775.59121621621625</c:v>
                </c:pt>
                <c:pt idx="5402">
                  <c:v>775.59121621621625</c:v>
                </c:pt>
                <c:pt idx="5403">
                  <c:v>775.59121621621625</c:v>
                </c:pt>
                <c:pt idx="5404">
                  <c:v>775.59121621621625</c:v>
                </c:pt>
                <c:pt idx="5405">
                  <c:v>788.85135135135135</c:v>
                </c:pt>
                <c:pt idx="5406">
                  <c:v>788.85135135135135</c:v>
                </c:pt>
                <c:pt idx="5407">
                  <c:v>788.85135135135135</c:v>
                </c:pt>
                <c:pt idx="5408">
                  <c:v>788.85135135135135</c:v>
                </c:pt>
                <c:pt idx="5409">
                  <c:v>788.85135135135135</c:v>
                </c:pt>
                <c:pt idx="5410">
                  <c:v>793.75</c:v>
                </c:pt>
                <c:pt idx="5411">
                  <c:v>793.75</c:v>
                </c:pt>
                <c:pt idx="5412">
                  <c:v>793.75</c:v>
                </c:pt>
                <c:pt idx="5413">
                  <c:v>793.75</c:v>
                </c:pt>
                <c:pt idx="5414">
                  <c:v>793.75</c:v>
                </c:pt>
                <c:pt idx="5415">
                  <c:v>798.4797297297298</c:v>
                </c:pt>
                <c:pt idx="5416">
                  <c:v>798.4797297297298</c:v>
                </c:pt>
                <c:pt idx="5417">
                  <c:v>798.4797297297298</c:v>
                </c:pt>
                <c:pt idx="5418">
                  <c:v>798.4797297297298</c:v>
                </c:pt>
                <c:pt idx="5419">
                  <c:v>798.4797297297298</c:v>
                </c:pt>
                <c:pt idx="5420">
                  <c:v>781.84121621621625</c:v>
                </c:pt>
                <c:pt idx="5421">
                  <c:v>781.84121621621625</c:v>
                </c:pt>
                <c:pt idx="5422">
                  <c:v>781.84121621621625</c:v>
                </c:pt>
                <c:pt idx="5423">
                  <c:v>781.84121621621625</c:v>
                </c:pt>
                <c:pt idx="5424">
                  <c:v>781.84121621621625</c:v>
                </c:pt>
                <c:pt idx="5425">
                  <c:v>788.76689189189187</c:v>
                </c:pt>
                <c:pt idx="5426">
                  <c:v>788.76689189189187</c:v>
                </c:pt>
                <c:pt idx="5427">
                  <c:v>788.76689189189187</c:v>
                </c:pt>
                <c:pt idx="5428">
                  <c:v>788.76689189189187</c:v>
                </c:pt>
                <c:pt idx="5429">
                  <c:v>788.76689189189187</c:v>
                </c:pt>
                <c:pt idx="5430">
                  <c:v>796.19932432432427</c:v>
                </c:pt>
                <c:pt idx="5431">
                  <c:v>796.19932432432427</c:v>
                </c:pt>
                <c:pt idx="5432">
                  <c:v>796.19932432432427</c:v>
                </c:pt>
                <c:pt idx="5433">
                  <c:v>796.19932432432427</c:v>
                </c:pt>
                <c:pt idx="5434">
                  <c:v>796.19932432432427</c:v>
                </c:pt>
                <c:pt idx="5435">
                  <c:v>783.69932432432438</c:v>
                </c:pt>
                <c:pt idx="5436">
                  <c:v>783.69932432432438</c:v>
                </c:pt>
                <c:pt idx="5437">
                  <c:v>783.69932432432438</c:v>
                </c:pt>
                <c:pt idx="5438">
                  <c:v>783.69932432432438</c:v>
                </c:pt>
                <c:pt idx="5439">
                  <c:v>783.69932432432438</c:v>
                </c:pt>
                <c:pt idx="5440">
                  <c:v>799.23986486486478</c:v>
                </c:pt>
                <c:pt idx="5441">
                  <c:v>799.23986486486478</c:v>
                </c:pt>
                <c:pt idx="5442">
                  <c:v>799.23986486486478</c:v>
                </c:pt>
                <c:pt idx="5443">
                  <c:v>799.23986486486478</c:v>
                </c:pt>
                <c:pt idx="5444">
                  <c:v>799.23986486486478</c:v>
                </c:pt>
                <c:pt idx="5445">
                  <c:v>803.5472972972974</c:v>
                </c:pt>
                <c:pt idx="5446">
                  <c:v>803.5472972972974</c:v>
                </c:pt>
                <c:pt idx="5447">
                  <c:v>803.5472972972974</c:v>
                </c:pt>
                <c:pt idx="5448">
                  <c:v>803.5472972972974</c:v>
                </c:pt>
                <c:pt idx="5449">
                  <c:v>803.5472972972974</c:v>
                </c:pt>
                <c:pt idx="5450">
                  <c:v>810.64189189189187</c:v>
                </c:pt>
                <c:pt idx="5451">
                  <c:v>810.64189189189187</c:v>
                </c:pt>
                <c:pt idx="5452">
                  <c:v>810.64189189189187</c:v>
                </c:pt>
                <c:pt idx="5453">
                  <c:v>810.64189189189187</c:v>
                </c:pt>
                <c:pt idx="5454">
                  <c:v>810.64189189189187</c:v>
                </c:pt>
                <c:pt idx="5455">
                  <c:v>787.41554054054063</c:v>
                </c:pt>
                <c:pt idx="5456">
                  <c:v>787.41554054054063</c:v>
                </c:pt>
                <c:pt idx="5457">
                  <c:v>787.41554054054063</c:v>
                </c:pt>
                <c:pt idx="5458">
                  <c:v>787.41554054054063</c:v>
                </c:pt>
                <c:pt idx="5459">
                  <c:v>787.41554054054063</c:v>
                </c:pt>
                <c:pt idx="5460">
                  <c:v>789.69594594594594</c:v>
                </c:pt>
                <c:pt idx="5461">
                  <c:v>789.69594594594594</c:v>
                </c:pt>
                <c:pt idx="5462">
                  <c:v>789.69594594594594</c:v>
                </c:pt>
                <c:pt idx="5463">
                  <c:v>789.69594594594594</c:v>
                </c:pt>
                <c:pt idx="5464">
                  <c:v>789.69594594594594</c:v>
                </c:pt>
                <c:pt idx="5465">
                  <c:v>804.56081081081084</c:v>
                </c:pt>
                <c:pt idx="5466">
                  <c:v>804.56081081081084</c:v>
                </c:pt>
                <c:pt idx="5467">
                  <c:v>804.56081081081084</c:v>
                </c:pt>
                <c:pt idx="5468">
                  <c:v>804.56081081081084</c:v>
                </c:pt>
                <c:pt idx="5469">
                  <c:v>804.56081081081084</c:v>
                </c:pt>
                <c:pt idx="5470">
                  <c:v>812.5</c:v>
                </c:pt>
                <c:pt idx="5471">
                  <c:v>812.5</c:v>
                </c:pt>
                <c:pt idx="5472">
                  <c:v>812.5</c:v>
                </c:pt>
                <c:pt idx="5473">
                  <c:v>812.5</c:v>
                </c:pt>
                <c:pt idx="5474">
                  <c:v>812.5</c:v>
                </c:pt>
                <c:pt idx="5475">
                  <c:v>825.25337837837844</c:v>
                </c:pt>
                <c:pt idx="5476">
                  <c:v>825.25337837837844</c:v>
                </c:pt>
                <c:pt idx="5477">
                  <c:v>825.25337837837844</c:v>
                </c:pt>
                <c:pt idx="5478">
                  <c:v>825.25337837837844</c:v>
                </c:pt>
                <c:pt idx="5479">
                  <c:v>825.25337837837844</c:v>
                </c:pt>
                <c:pt idx="5480">
                  <c:v>805.82770270270282</c:v>
                </c:pt>
                <c:pt idx="5481">
                  <c:v>805.82770270270282</c:v>
                </c:pt>
                <c:pt idx="5482">
                  <c:v>805.82770270270282</c:v>
                </c:pt>
                <c:pt idx="5483">
                  <c:v>805.82770270270282</c:v>
                </c:pt>
                <c:pt idx="5484">
                  <c:v>805.82770270270282</c:v>
                </c:pt>
                <c:pt idx="5485">
                  <c:v>819.76351351351354</c:v>
                </c:pt>
                <c:pt idx="5486">
                  <c:v>819.76351351351354</c:v>
                </c:pt>
                <c:pt idx="5487">
                  <c:v>819.76351351351354</c:v>
                </c:pt>
                <c:pt idx="5488">
                  <c:v>819.76351351351354</c:v>
                </c:pt>
                <c:pt idx="5489">
                  <c:v>819.76351351351354</c:v>
                </c:pt>
                <c:pt idx="5490">
                  <c:v>805.99662162162156</c:v>
                </c:pt>
                <c:pt idx="5491">
                  <c:v>805.99662162162156</c:v>
                </c:pt>
                <c:pt idx="5492">
                  <c:v>805.99662162162156</c:v>
                </c:pt>
                <c:pt idx="5493">
                  <c:v>805.99662162162156</c:v>
                </c:pt>
                <c:pt idx="5494">
                  <c:v>805.99662162162156</c:v>
                </c:pt>
                <c:pt idx="5495">
                  <c:v>799.83108108108115</c:v>
                </c:pt>
                <c:pt idx="5496">
                  <c:v>799.83108108108115</c:v>
                </c:pt>
                <c:pt idx="5497">
                  <c:v>799.83108108108115</c:v>
                </c:pt>
                <c:pt idx="5498">
                  <c:v>799.83108108108115</c:v>
                </c:pt>
                <c:pt idx="5499">
                  <c:v>799.83108108108115</c:v>
                </c:pt>
                <c:pt idx="5500">
                  <c:v>784.62837837837833</c:v>
                </c:pt>
                <c:pt idx="5501">
                  <c:v>784.62837837837833</c:v>
                </c:pt>
                <c:pt idx="5502">
                  <c:v>784.62837837837833</c:v>
                </c:pt>
                <c:pt idx="5503">
                  <c:v>784.62837837837833</c:v>
                </c:pt>
                <c:pt idx="5504">
                  <c:v>784.62837837837833</c:v>
                </c:pt>
                <c:pt idx="5505">
                  <c:v>796.62162162162167</c:v>
                </c:pt>
                <c:pt idx="5506">
                  <c:v>796.62162162162167</c:v>
                </c:pt>
                <c:pt idx="5507">
                  <c:v>796.62162162162167</c:v>
                </c:pt>
                <c:pt idx="5508">
                  <c:v>796.62162162162167</c:v>
                </c:pt>
                <c:pt idx="5509">
                  <c:v>796.62162162162167</c:v>
                </c:pt>
                <c:pt idx="5510">
                  <c:v>799.91554054054063</c:v>
                </c:pt>
                <c:pt idx="5511">
                  <c:v>799.91554054054063</c:v>
                </c:pt>
                <c:pt idx="5512">
                  <c:v>799.91554054054063</c:v>
                </c:pt>
                <c:pt idx="5513">
                  <c:v>799.91554054054063</c:v>
                </c:pt>
                <c:pt idx="5514">
                  <c:v>799.91554054054063</c:v>
                </c:pt>
                <c:pt idx="5515">
                  <c:v>794.1722972972974</c:v>
                </c:pt>
                <c:pt idx="5516">
                  <c:v>794.1722972972974</c:v>
                </c:pt>
                <c:pt idx="5517">
                  <c:v>794.1722972972974</c:v>
                </c:pt>
                <c:pt idx="5518">
                  <c:v>794.1722972972974</c:v>
                </c:pt>
                <c:pt idx="5519">
                  <c:v>794.1722972972974</c:v>
                </c:pt>
                <c:pt idx="5520">
                  <c:v>793.58108108108127</c:v>
                </c:pt>
                <c:pt idx="5521">
                  <c:v>793.58108108108127</c:v>
                </c:pt>
                <c:pt idx="5522">
                  <c:v>793.58108108108127</c:v>
                </c:pt>
                <c:pt idx="5523">
                  <c:v>793.58108108108127</c:v>
                </c:pt>
                <c:pt idx="5524">
                  <c:v>793.58108108108127</c:v>
                </c:pt>
                <c:pt idx="5525">
                  <c:v>807.60135135135135</c:v>
                </c:pt>
                <c:pt idx="5526">
                  <c:v>807.60135135135135</c:v>
                </c:pt>
                <c:pt idx="5527">
                  <c:v>807.60135135135135</c:v>
                </c:pt>
                <c:pt idx="5528">
                  <c:v>807.60135135135135</c:v>
                </c:pt>
                <c:pt idx="5529">
                  <c:v>807.60135135135135</c:v>
                </c:pt>
                <c:pt idx="5530">
                  <c:v>796.45270270270271</c:v>
                </c:pt>
                <c:pt idx="5531">
                  <c:v>796.45270270270271</c:v>
                </c:pt>
                <c:pt idx="5532">
                  <c:v>796.45270270270271</c:v>
                </c:pt>
                <c:pt idx="5533">
                  <c:v>796.45270270270271</c:v>
                </c:pt>
                <c:pt idx="5534">
                  <c:v>796.45270270270271</c:v>
                </c:pt>
                <c:pt idx="5535">
                  <c:v>794.93243243243251</c:v>
                </c:pt>
                <c:pt idx="5536">
                  <c:v>794.93243243243251</c:v>
                </c:pt>
                <c:pt idx="5537">
                  <c:v>794.93243243243251</c:v>
                </c:pt>
                <c:pt idx="5538">
                  <c:v>794.93243243243251</c:v>
                </c:pt>
                <c:pt idx="5539">
                  <c:v>794.93243243243251</c:v>
                </c:pt>
                <c:pt idx="5540">
                  <c:v>791.72297297297303</c:v>
                </c:pt>
                <c:pt idx="5541">
                  <c:v>791.72297297297303</c:v>
                </c:pt>
                <c:pt idx="5542">
                  <c:v>791.72297297297303</c:v>
                </c:pt>
                <c:pt idx="5543">
                  <c:v>791.72297297297303</c:v>
                </c:pt>
                <c:pt idx="5544">
                  <c:v>791.72297297297303</c:v>
                </c:pt>
                <c:pt idx="5545">
                  <c:v>800.59121621621614</c:v>
                </c:pt>
                <c:pt idx="5546">
                  <c:v>800.59121621621614</c:v>
                </c:pt>
                <c:pt idx="5547">
                  <c:v>800.59121621621614</c:v>
                </c:pt>
                <c:pt idx="5548">
                  <c:v>800.59121621621614</c:v>
                </c:pt>
                <c:pt idx="5549">
                  <c:v>800.59121621621614</c:v>
                </c:pt>
                <c:pt idx="5550">
                  <c:v>799.40878378378375</c:v>
                </c:pt>
                <c:pt idx="5551">
                  <c:v>799.40878378378375</c:v>
                </c:pt>
                <c:pt idx="5552">
                  <c:v>799.40878378378375</c:v>
                </c:pt>
                <c:pt idx="5553">
                  <c:v>799.40878378378375</c:v>
                </c:pt>
                <c:pt idx="5554">
                  <c:v>799.40878378378375</c:v>
                </c:pt>
                <c:pt idx="5555">
                  <c:v>795.77702702702709</c:v>
                </c:pt>
                <c:pt idx="5556">
                  <c:v>795.77702702702709</c:v>
                </c:pt>
                <c:pt idx="5557">
                  <c:v>795.77702702702709</c:v>
                </c:pt>
                <c:pt idx="5558">
                  <c:v>795.77702702702709</c:v>
                </c:pt>
                <c:pt idx="5559">
                  <c:v>795.77702702702709</c:v>
                </c:pt>
                <c:pt idx="5560">
                  <c:v>797.80405405405406</c:v>
                </c:pt>
                <c:pt idx="5561">
                  <c:v>797.80405405405406</c:v>
                </c:pt>
                <c:pt idx="5562">
                  <c:v>797.80405405405406</c:v>
                </c:pt>
                <c:pt idx="5563">
                  <c:v>797.80405405405406</c:v>
                </c:pt>
                <c:pt idx="5564">
                  <c:v>797.80405405405406</c:v>
                </c:pt>
                <c:pt idx="5565">
                  <c:v>790.11824324324334</c:v>
                </c:pt>
                <c:pt idx="5566">
                  <c:v>790.11824324324334</c:v>
                </c:pt>
                <c:pt idx="5567">
                  <c:v>790.11824324324334</c:v>
                </c:pt>
                <c:pt idx="5568">
                  <c:v>790.11824324324334</c:v>
                </c:pt>
                <c:pt idx="5569">
                  <c:v>790.11824324324334</c:v>
                </c:pt>
                <c:pt idx="5570">
                  <c:v>789.27364864864876</c:v>
                </c:pt>
                <c:pt idx="5571">
                  <c:v>789.27364864864876</c:v>
                </c:pt>
                <c:pt idx="5572">
                  <c:v>789.27364864864876</c:v>
                </c:pt>
                <c:pt idx="5573">
                  <c:v>789.27364864864876</c:v>
                </c:pt>
                <c:pt idx="5574">
                  <c:v>789.27364864864876</c:v>
                </c:pt>
                <c:pt idx="5575">
                  <c:v>797.12837837837856</c:v>
                </c:pt>
                <c:pt idx="5576">
                  <c:v>797.12837837837856</c:v>
                </c:pt>
                <c:pt idx="5577">
                  <c:v>797.12837837837856</c:v>
                </c:pt>
                <c:pt idx="5578">
                  <c:v>797.12837837837856</c:v>
                </c:pt>
                <c:pt idx="5579">
                  <c:v>797.12837837837856</c:v>
                </c:pt>
                <c:pt idx="5580">
                  <c:v>790.79391891891896</c:v>
                </c:pt>
                <c:pt idx="5581">
                  <c:v>790.79391891891896</c:v>
                </c:pt>
                <c:pt idx="5582">
                  <c:v>790.79391891891896</c:v>
                </c:pt>
                <c:pt idx="5583">
                  <c:v>790.79391891891896</c:v>
                </c:pt>
                <c:pt idx="5584">
                  <c:v>790.79391891891896</c:v>
                </c:pt>
                <c:pt idx="5585">
                  <c:v>791.21621621621637</c:v>
                </c:pt>
                <c:pt idx="5586">
                  <c:v>791.21621621621637</c:v>
                </c:pt>
                <c:pt idx="5587">
                  <c:v>791.21621621621637</c:v>
                </c:pt>
                <c:pt idx="5588">
                  <c:v>791.21621621621637</c:v>
                </c:pt>
                <c:pt idx="5589">
                  <c:v>791.21621621621637</c:v>
                </c:pt>
                <c:pt idx="5590">
                  <c:v>792.98986486486478</c:v>
                </c:pt>
                <c:pt idx="5591">
                  <c:v>792.98986486486478</c:v>
                </c:pt>
                <c:pt idx="5592">
                  <c:v>792.98986486486478</c:v>
                </c:pt>
                <c:pt idx="5593">
                  <c:v>792.98986486486478</c:v>
                </c:pt>
                <c:pt idx="5594">
                  <c:v>792.98986486486478</c:v>
                </c:pt>
                <c:pt idx="5595">
                  <c:v>776.09797297297303</c:v>
                </c:pt>
                <c:pt idx="5596">
                  <c:v>776.09797297297303</c:v>
                </c:pt>
                <c:pt idx="5597">
                  <c:v>776.09797297297303</c:v>
                </c:pt>
                <c:pt idx="5598">
                  <c:v>776.09797297297303</c:v>
                </c:pt>
                <c:pt idx="5599">
                  <c:v>776.09797297297303</c:v>
                </c:pt>
                <c:pt idx="5600">
                  <c:v>785.97972972972968</c:v>
                </c:pt>
                <c:pt idx="5601">
                  <c:v>785.97972972972968</c:v>
                </c:pt>
                <c:pt idx="5602">
                  <c:v>785.97972972972968</c:v>
                </c:pt>
                <c:pt idx="5603">
                  <c:v>785.97972972972968</c:v>
                </c:pt>
                <c:pt idx="5604">
                  <c:v>785.97972972972968</c:v>
                </c:pt>
                <c:pt idx="5605">
                  <c:v>791.04729729729729</c:v>
                </c:pt>
                <c:pt idx="5606">
                  <c:v>791.04729729729729</c:v>
                </c:pt>
                <c:pt idx="5607">
                  <c:v>791.04729729729729</c:v>
                </c:pt>
                <c:pt idx="5608">
                  <c:v>791.04729729729729</c:v>
                </c:pt>
                <c:pt idx="5609">
                  <c:v>791.04729729729729</c:v>
                </c:pt>
                <c:pt idx="5610">
                  <c:v>783.95270270270271</c:v>
                </c:pt>
                <c:pt idx="5611">
                  <c:v>783.95270270270271</c:v>
                </c:pt>
                <c:pt idx="5612">
                  <c:v>783.95270270270271</c:v>
                </c:pt>
                <c:pt idx="5613">
                  <c:v>783.95270270270271</c:v>
                </c:pt>
                <c:pt idx="5614">
                  <c:v>783.95270270270271</c:v>
                </c:pt>
                <c:pt idx="5615">
                  <c:v>792.56756756756761</c:v>
                </c:pt>
                <c:pt idx="5616">
                  <c:v>792.56756756756761</c:v>
                </c:pt>
                <c:pt idx="5617">
                  <c:v>792.56756756756761</c:v>
                </c:pt>
                <c:pt idx="5618">
                  <c:v>792.56756756756761</c:v>
                </c:pt>
                <c:pt idx="5619">
                  <c:v>792.56756756756761</c:v>
                </c:pt>
                <c:pt idx="5620">
                  <c:v>798.22635135135135</c:v>
                </c:pt>
                <c:pt idx="5621">
                  <c:v>798.22635135135135</c:v>
                </c:pt>
                <c:pt idx="5622">
                  <c:v>798.22635135135135</c:v>
                </c:pt>
                <c:pt idx="5623">
                  <c:v>798.22635135135135</c:v>
                </c:pt>
                <c:pt idx="5624">
                  <c:v>798.22635135135135</c:v>
                </c:pt>
                <c:pt idx="5625">
                  <c:v>804.6452702702702</c:v>
                </c:pt>
                <c:pt idx="5626">
                  <c:v>804.6452702702702</c:v>
                </c:pt>
                <c:pt idx="5627">
                  <c:v>804.6452702702702</c:v>
                </c:pt>
                <c:pt idx="5628">
                  <c:v>804.6452702702702</c:v>
                </c:pt>
                <c:pt idx="5629">
                  <c:v>804.6452702702702</c:v>
                </c:pt>
                <c:pt idx="5630">
                  <c:v>803.29391891891896</c:v>
                </c:pt>
                <c:pt idx="5631">
                  <c:v>803.29391891891896</c:v>
                </c:pt>
                <c:pt idx="5632">
                  <c:v>803.29391891891896</c:v>
                </c:pt>
                <c:pt idx="5633">
                  <c:v>803.29391891891896</c:v>
                </c:pt>
                <c:pt idx="5634">
                  <c:v>803.29391891891896</c:v>
                </c:pt>
                <c:pt idx="5635">
                  <c:v>808.10810810810813</c:v>
                </c:pt>
                <c:pt idx="5636">
                  <c:v>808.10810810810813</c:v>
                </c:pt>
                <c:pt idx="5637">
                  <c:v>808.10810810810813</c:v>
                </c:pt>
                <c:pt idx="5638">
                  <c:v>808.10810810810813</c:v>
                </c:pt>
                <c:pt idx="5639">
                  <c:v>808.10810810810813</c:v>
                </c:pt>
                <c:pt idx="5640">
                  <c:v>810.47297297297303</c:v>
                </c:pt>
                <c:pt idx="5641">
                  <c:v>810.47297297297303</c:v>
                </c:pt>
                <c:pt idx="5642">
                  <c:v>810.47297297297303</c:v>
                </c:pt>
                <c:pt idx="5643">
                  <c:v>810.47297297297303</c:v>
                </c:pt>
                <c:pt idx="5644">
                  <c:v>810.47297297297303</c:v>
                </c:pt>
                <c:pt idx="5645">
                  <c:v>805.74324324324311</c:v>
                </c:pt>
                <c:pt idx="5646">
                  <c:v>805.74324324324311</c:v>
                </c:pt>
                <c:pt idx="5647">
                  <c:v>805.74324324324311</c:v>
                </c:pt>
                <c:pt idx="5648">
                  <c:v>805.74324324324311</c:v>
                </c:pt>
                <c:pt idx="5649">
                  <c:v>805.74324324324311</c:v>
                </c:pt>
                <c:pt idx="5650">
                  <c:v>803.20945945945948</c:v>
                </c:pt>
                <c:pt idx="5651">
                  <c:v>803.20945945945948</c:v>
                </c:pt>
                <c:pt idx="5652">
                  <c:v>803.20945945945948</c:v>
                </c:pt>
                <c:pt idx="5653">
                  <c:v>803.20945945945948</c:v>
                </c:pt>
                <c:pt idx="5654">
                  <c:v>803.20945945945948</c:v>
                </c:pt>
                <c:pt idx="5655">
                  <c:v>799.57770270270282</c:v>
                </c:pt>
                <c:pt idx="5656">
                  <c:v>799.57770270270282</c:v>
                </c:pt>
                <c:pt idx="5657">
                  <c:v>799.57770270270282</c:v>
                </c:pt>
                <c:pt idx="5658">
                  <c:v>799.57770270270282</c:v>
                </c:pt>
                <c:pt idx="5659">
                  <c:v>799.57770270270282</c:v>
                </c:pt>
                <c:pt idx="5660">
                  <c:v>805.91216216216208</c:v>
                </c:pt>
                <c:pt idx="5661">
                  <c:v>805.91216216216208</c:v>
                </c:pt>
                <c:pt idx="5662">
                  <c:v>805.91216216216208</c:v>
                </c:pt>
                <c:pt idx="5663">
                  <c:v>805.91216216216208</c:v>
                </c:pt>
                <c:pt idx="5664">
                  <c:v>805.91216216216208</c:v>
                </c:pt>
                <c:pt idx="5665">
                  <c:v>811.7398648648649</c:v>
                </c:pt>
                <c:pt idx="5666">
                  <c:v>811.7398648648649</c:v>
                </c:pt>
                <c:pt idx="5667">
                  <c:v>811.7398648648649</c:v>
                </c:pt>
                <c:pt idx="5668">
                  <c:v>811.7398648648649</c:v>
                </c:pt>
                <c:pt idx="5669">
                  <c:v>811.7398648648649</c:v>
                </c:pt>
                <c:pt idx="5670">
                  <c:v>815.2027027027026</c:v>
                </c:pt>
                <c:pt idx="5671">
                  <c:v>815.2027027027026</c:v>
                </c:pt>
                <c:pt idx="5672">
                  <c:v>815.2027027027026</c:v>
                </c:pt>
                <c:pt idx="5673">
                  <c:v>815.2027027027026</c:v>
                </c:pt>
                <c:pt idx="5674">
                  <c:v>815.2027027027026</c:v>
                </c:pt>
                <c:pt idx="5675">
                  <c:v>817.06081081081084</c:v>
                </c:pt>
                <c:pt idx="5676">
                  <c:v>817.06081081081084</c:v>
                </c:pt>
                <c:pt idx="5677">
                  <c:v>817.06081081081084</c:v>
                </c:pt>
                <c:pt idx="5678">
                  <c:v>817.06081081081084</c:v>
                </c:pt>
                <c:pt idx="5679">
                  <c:v>817.06081081081084</c:v>
                </c:pt>
                <c:pt idx="5680">
                  <c:v>825.08445945945948</c:v>
                </c:pt>
                <c:pt idx="5681">
                  <c:v>825.08445945945948</c:v>
                </c:pt>
                <c:pt idx="5682">
                  <c:v>825.08445945945948</c:v>
                </c:pt>
                <c:pt idx="5683">
                  <c:v>825.08445945945948</c:v>
                </c:pt>
                <c:pt idx="5684">
                  <c:v>825.08445945945948</c:v>
                </c:pt>
                <c:pt idx="5685">
                  <c:v>836.65540540540542</c:v>
                </c:pt>
                <c:pt idx="5686">
                  <c:v>836.65540540540542</c:v>
                </c:pt>
                <c:pt idx="5687">
                  <c:v>836.65540540540542</c:v>
                </c:pt>
                <c:pt idx="5688">
                  <c:v>836.65540540540542</c:v>
                </c:pt>
                <c:pt idx="5689">
                  <c:v>836.65540540540542</c:v>
                </c:pt>
                <c:pt idx="5690">
                  <c:v>834.88175675675689</c:v>
                </c:pt>
                <c:pt idx="5691">
                  <c:v>834.88175675675689</c:v>
                </c:pt>
                <c:pt idx="5692">
                  <c:v>834.88175675675689</c:v>
                </c:pt>
                <c:pt idx="5693">
                  <c:v>834.88175675675689</c:v>
                </c:pt>
                <c:pt idx="5694">
                  <c:v>834.88175675675689</c:v>
                </c:pt>
                <c:pt idx="5695">
                  <c:v>826.77364864864865</c:v>
                </c:pt>
                <c:pt idx="5696">
                  <c:v>826.77364864864865</c:v>
                </c:pt>
                <c:pt idx="5697">
                  <c:v>826.77364864864865</c:v>
                </c:pt>
                <c:pt idx="5698">
                  <c:v>826.77364864864865</c:v>
                </c:pt>
                <c:pt idx="5699">
                  <c:v>826.77364864864865</c:v>
                </c:pt>
                <c:pt idx="5700">
                  <c:v>838.93581081081084</c:v>
                </c:pt>
                <c:pt idx="5701">
                  <c:v>838.93581081081084</c:v>
                </c:pt>
                <c:pt idx="5702">
                  <c:v>838.93581081081084</c:v>
                </c:pt>
                <c:pt idx="5703">
                  <c:v>838.93581081081084</c:v>
                </c:pt>
                <c:pt idx="5704">
                  <c:v>838.93581081081084</c:v>
                </c:pt>
                <c:pt idx="5705">
                  <c:v>852.3648648648649</c:v>
                </c:pt>
                <c:pt idx="5706">
                  <c:v>852.3648648648649</c:v>
                </c:pt>
                <c:pt idx="5707">
                  <c:v>852.3648648648649</c:v>
                </c:pt>
                <c:pt idx="5708">
                  <c:v>852.3648648648649</c:v>
                </c:pt>
                <c:pt idx="5709">
                  <c:v>852.3648648648649</c:v>
                </c:pt>
                <c:pt idx="5710">
                  <c:v>828.125</c:v>
                </c:pt>
                <c:pt idx="5711">
                  <c:v>828.125</c:v>
                </c:pt>
                <c:pt idx="5712">
                  <c:v>828.125</c:v>
                </c:pt>
                <c:pt idx="5713">
                  <c:v>828.125</c:v>
                </c:pt>
                <c:pt idx="5714">
                  <c:v>828.125</c:v>
                </c:pt>
                <c:pt idx="5715">
                  <c:v>845.77702702702697</c:v>
                </c:pt>
                <c:pt idx="5716">
                  <c:v>845.77702702702697</c:v>
                </c:pt>
                <c:pt idx="5717">
                  <c:v>845.77702702702697</c:v>
                </c:pt>
                <c:pt idx="5718">
                  <c:v>845.77702702702697</c:v>
                </c:pt>
                <c:pt idx="5719">
                  <c:v>845.77702702702697</c:v>
                </c:pt>
                <c:pt idx="5720">
                  <c:v>846.36824324324334</c:v>
                </c:pt>
                <c:pt idx="5721">
                  <c:v>846.36824324324334</c:v>
                </c:pt>
                <c:pt idx="5722">
                  <c:v>846.36824324324334</c:v>
                </c:pt>
                <c:pt idx="5723">
                  <c:v>846.36824324324334</c:v>
                </c:pt>
                <c:pt idx="5724">
                  <c:v>846.36824324324334</c:v>
                </c:pt>
                <c:pt idx="5725">
                  <c:v>852.3648648648649</c:v>
                </c:pt>
                <c:pt idx="5726">
                  <c:v>852.3648648648649</c:v>
                </c:pt>
                <c:pt idx="5727">
                  <c:v>852.3648648648649</c:v>
                </c:pt>
                <c:pt idx="5728">
                  <c:v>852.3648648648649</c:v>
                </c:pt>
                <c:pt idx="5729">
                  <c:v>852.3648648648649</c:v>
                </c:pt>
                <c:pt idx="5730">
                  <c:v>849.40878378378386</c:v>
                </c:pt>
                <c:pt idx="5731">
                  <c:v>849.40878378378386</c:v>
                </c:pt>
                <c:pt idx="5732">
                  <c:v>849.40878378378386</c:v>
                </c:pt>
                <c:pt idx="5733">
                  <c:v>849.40878378378386</c:v>
                </c:pt>
                <c:pt idx="5734">
                  <c:v>849.40878378378386</c:v>
                </c:pt>
                <c:pt idx="5735">
                  <c:v>847.12837837837844</c:v>
                </c:pt>
                <c:pt idx="5736">
                  <c:v>847.12837837837844</c:v>
                </c:pt>
                <c:pt idx="5737">
                  <c:v>847.12837837837844</c:v>
                </c:pt>
                <c:pt idx="5738">
                  <c:v>847.12837837837844</c:v>
                </c:pt>
                <c:pt idx="5739">
                  <c:v>847.12837837837844</c:v>
                </c:pt>
                <c:pt idx="5740">
                  <c:v>849.83108108108104</c:v>
                </c:pt>
                <c:pt idx="5741">
                  <c:v>849.83108108108104</c:v>
                </c:pt>
                <c:pt idx="5742">
                  <c:v>849.83108108108104</c:v>
                </c:pt>
                <c:pt idx="5743">
                  <c:v>849.83108108108104</c:v>
                </c:pt>
                <c:pt idx="5744">
                  <c:v>849.83108108108104</c:v>
                </c:pt>
                <c:pt idx="5745">
                  <c:v>844.51013513513522</c:v>
                </c:pt>
                <c:pt idx="5746">
                  <c:v>844.51013513513522</c:v>
                </c:pt>
                <c:pt idx="5747">
                  <c:v>844.51013513513522</c:v>
                </c:pt>
                <c:pt idx="5748">
                  <c:v>844.51013513513522</c:v>
                </c:pt>
                <c:pt idx="5749">
                  <c:v>844.51013513513522</c:v>
                </c:pt>
                <c:pt idx="5750">
                  <c:v>854.13851351351354</c:v>
                </c:pt>
                <c:pt idx="5751">
                  <c:v>854.13851351351354</c:v>
                </c:pt>
                <c:pt idx="5752">
                  <c:v>854.13851351351354</c:v>
                </c:pt>
                <c:pt idx="5753">
                  <c:v>854.13851351351354</c:v>
                </c:pt>
                <c:pt idx="5754">
                  <c:v>854.13851351351354</c:v>
                </c:pt>
                <c:pt idx="5755">
                  <c:v>858.36148648648646</c:v>
                </c:pt>
                <c:pt idx="5756">
                  <c:v>858.36148648648646</c:v>
                </c:pt>
                <c:pt idx="5757">
                  <c:v>858.36148648648646</c:v>
                </c:pt>
                <c:pt idx="5758">
                  <c:v>858.36148648648646</c:v>
                </c:pt>
                <c:pt idx="5759">
                  <c:v>858.36148648648646</c:v>
                </c:pt>
                <c:pt idx="5760">
                  <c:v>858.6148648648649</c:v>
                </c:pt>
                <c:pt idx="5761">
                  <c:v>858.6148648648649</c:v>
                </c:pt>
                <c:pt idx="5762">
                  <c:v>858.6148648648649</c:v>
                </c:pt>
                <c:pt idx="5763">
                  <c:v>858.6148648648649</c:v>
                </c:pt>
                <c:pt idx="5764">
                  <c:v>858.6148648648649</c:v>
                </c:pt>
                <c:pt idx="5765">
                  <c:v>860.64189189189187</c:v>
                </c:pt>
                <c:pt idx="5766">
                  <c:v>860.64189189189187</c:v>
                </c:pt>
                <c:pt idx="5767">
                  <c:v>860.64189189189187</c:v>
                </c:pt>
                <c:pt idx="5768">
                  <c:v>860.64189189189187</c:v>
                </c:pt>
                <c:pt idx="5769">
                  <c:v>860.64189189189187</c:v>
                </c:pt>
                <c:pt idx="5770">
                  <c:v>857.77027027027032</c:v>
                </c:pt>
                <c:pt idx="5771">
                  <c:v>857.77027027027032</c:v>
                </c:pt>
                <c:pt idx="5772">
                  <c:v>857.77027027027032</c:v>
                </c:pt>
                <c:pt idx="5773">
                  <c:v>857.77027027027032</c:v>
                </c:pt>
                <c:pt idx="5774">
                  <c:v>857.77027027027032</c:v>
                </c:pt>
                <c:pt idx="5775">
                  <c:v>866.80743243243251</c:v>
                </c:pt>
                <c:pt idx="5776">
                  <c:v>866.80743243243251</c:v>
                </c:pt>
                <c:pt idx="5777">
                  <c:v>866.80743243243251</c:v>
                </c:pt>
                <c:pt idx="5778">
                  <c:v>866.80743243243251</c:v>
                </c:pt>
                <c:pt idx="5779">
                  <c:v>866.80743243243251</c:v>
                </c:pt>
                <c:pt idx="5780">
                  <c:v>863.68243243243262</c:v>
                </c:pt>
                <c:pt idx="5781">
                  <c:v>863.68243243243262</c:v>
                </c:pt>
                <c:pt idx="5782">
                  <c:v>863.68243243243262</c:v>
                </c:pt>
                <c:pt idx="5783">
                  <c:v>863.68243243243262</c:v>
                </c:pt>
                <c:pt idx="5784">
                  <c:v>863.68243243243262</c:v>
                </c:pt>
                <c:pt idx="5785">
                  <c:v>863.00675675675689</c:v>
                </c:pt>
                <c:pt idx="5786">
                  <c:v>863.00675675675689</c:v>
                </c:pt>
                <c:pt idx="5787">
                  <c:v>863.00675675675689</c:v>
                </c:pt>
                <c:pt idx="5788">
                  <c:v>863.00675675675689</c:v>
                </c:pt>
                <c:pt idx="5789">
                  <c:v>863.00675675675689</c:v>
                </c:pt>
                <c:pt idx="5790">
                  <c:v>868.15878378378386</c:v>
                </c:pt>
                <c:pt idx="5791">
                  <c:v>868.15878378378386</c:v>
                </c:pt>
                <c:pt idx="5792">
                  <c:v>868.15878378378386</c:v>
                </c:pt>
                <c:pt idx="5793">
                  <c:v>868.15878378378386</c:v>
                </c:pt>
                <c:pt idx="5794">
                  <c:v>868.15878378378386</c:v>
                </c:pt>
                <c:pt idx="5795">
                  <c:v>881.58783783783792</c:v>
                </c:pt>
                <c:pt idx="5796">
                  <c:v>881.58783783783792</c:v>
                </c:pt>
                <c:pt idx="5797">
                  <c:v>881.58783783783792</c:v>
                </c:pt>
                <c:pt idx="5798">
                  <c:v>881.58783783783792</c:v>
                </c:pt>
                <c:pt idx="5799">
                  <c:v>881.58783783783792</c:v>
                </c:pt>
                <c:pt idx="5800">
                  <c:v>882.60135135135135</c:v>
                </c:pt>
                <c:pt idx="5801">
                  <c:v>882.60135135135135</c:v>
                </c:pt>
                <c:pt idx="5802">
                  <c:v>882.60135135135135</c:v>
                </c:pt>
                <c:pt idx="5803">
                  <c:v>882.60135135135135</c:v>
                </c:pt>
                <c:pt idx="5804">
                  <c:v>882.60135135135135</c:v>
                </c:pt>
                <c:pt idx="5805">
                  <c:v>880.99662162162156</c:v>
                </c:pt>
                <c:pt idx="5806">
                  <c:v>880.99662162162156</c:v>
                </c:pt>
                <c:pt idx="5807">
                  <c:v>880.99662162162156</c:v>
                </c:pt>
                <c:pt idx="5808">
                  <c:v>880.99662162162156</c:v>
                </c:pt>
                <c:pt idx="5809">
                  <c:v>880.99662162162156</c:v>
                </c:pt>
                <c:pt idx="5810">
                  <c:v>883.78378378378386</c:v>
                </c:pt>
                <c:pt idx="5811">
                  <c:v>883.78378378378386</c:v>
                </c:pt>
                <c:pt idx="5812">
                  <c:v>883.78378378378386</c:v>
                </c:pt>
                <c:pt idx="5813">
                  <c:v>883.78378378378386</c:v>
                </c:pt>
                <c:pt idx="5814">
                  <c:v>883.78378378378386</c:v>
                </c:pt>
                <c:pt idx="5815">
                  <c:v>890.87837837837844</c:v>
                </c:pt>
                <c:pt idx="5816">
                  <c:v>890.87837837837844</c:v>
                </c:pt>
                <c:pt idx="5817">
                  <c:v>890.87837837837844</c:v>
                </c:pt>
                <c:pt idx="5818">
                  <c:v>890.87837837837844</c:v>
                </c:pt>
                <c:pt idx="5819">
                  <c:v>890.87837837837844</c:v>
                </c:pt>
                <c:pt idx="5820">
                  <c:v>885.64189189189187</c:v>
                </c:pt>
                <c:pt idx="5821">
                  <c:v>885.64189189189187</c:v>
                </c:pt>
                <c:pt idx="5822">
                  <c:v>885.64189189189187</c:v>
                </c:pt>
                <c:pt idx="5823">
                  <c:v>885.64189189189187</c:v>
                </c:pt>
                <c:pt idx="5824">
                  <c:v>885.64189189189187</c:v>
                </c:pt>
                <c:pt idx="5825">
                  <c:v>914.94932432432438</c:v>
                </c:pt>
                <c:pt idx="5826">
                  <c:v>914.94932432432438</c:v>
                </c:pt>
                <c:pt idx="5827">
                  <c:v>914.94932432432438</c:v>
                </c:pt>
                <c:pt idx="5828">
                  <c:v>914.94932432432438</c:v>
                </c:pt>
                <c:pt idx="5829">
                  <c:v>914.94932432432438</c:v>
                </c:pt>
                <c:pt idx="5830">
                  <c:v>886.14864864864876</c:v>
                </c:pt>
                <c:pt idx="5831">
                  <c:v>886.14864864864876</c:v>
                </c:pt>
                <c:pt idx="5832">
                  <c:v>886.14864864864876</c:v>
                </c:pt>
                <c:pt idx="5833">
                  <c:v>886.14864864864876</c:v>
                </c:pt>
                <c:pt idx="5834">
                  <c:v>886.14864864864876</c:v>
                </c:pt>
                <c:pt idx="5835">
                  <c:v>902.02702702702697</c:v>
                </c:pt>
                <c:pt idx="5836">
                  <c:v>902.02702702702697</c:v>
                </c:pt>
                <c:pt idx="5837">
                  <c:v>902.02702702702697</c:v>
                </c:pt>
                <c:pt idx="5838">
                  <c:v>902.02702702702697</c:v>
                </c:pt>
                <c:pt idx="5839">
                  <c:v>902.02702702702697</c:v>
                </c:pt>
                <c:pt idx="5840">
                  <c:v>896.62162162162156</c:v>
                </c:pt>
                <c:pt idx="5841">
                  <c:v>896.62162162162156</c:v>
                </c:pt>
                <c:pt idx="5842">
                  <c:v>896.62162162162156</c:v>
                </c:pt>
                <c:pt idx="5843">
                  <c:v>896.62162162162156</c:v>
                </c:pt>
                <c:pt idx="5844">
                  <c:v>896.62162162162156</c:v>
                </c:pt>
                <c:pt idx="5845">
                  <c:v>903.96959459459458</c:v>
                </c:pt>
                <c:pt idx="5846">
                  <c:v>903.96959459459458</c:v>
                </c:pt>
                <c:pt idx="5847">
                  <c:v>903.96959459459458</c:v>
                </c:pt>
                <c:pt idx="5848">
                  <c:v>903.96959459459458</c:v>
                </c:pt>
                <c:pt idx="5849">
                  <c:v>903.96959459459458</c:v>
                </c:pt>
                <c:pt idx="5850">
                  <c:v>900.50675675675689</c:v>
                </c:pt>
                <c:pt idx="5851">
                  <c:v>900.50675675675689</c:v>
                </c:pt>
                <c:pt idx="5852">
                  <c:v>900.50675675675689</c:v>
                </c:pt>
                <c:pt idx="5853">
                  <c:v>900.50675675675689</c:v>
                </c:pt>
                <c:pt idx="5854">
                  <c:v>900.50675675675689</c:v>
                </c:pt>
                <c:pt idx="5855">
                  <c:v>895.27027027027032</c:v>
                </c:pt>
                <c:pt idx="5856">
                  <c:v>895.27027027027032</c:v>
                </c:pt>
                <c:pt idx="5857">
                  <c:v>895.27027027027032</c:v>
                </c:pt>
                <c:pt idx="5858">
                  <c:v>895.27027027027032</c:v>
                </c:pt>
                <c:pt idx="5859">
                  <c:v>895.27027027027032</c:v>
                </c:pt>
                <c:pt idx="5860">
                  <c:v>907.17905405405406</c:v>
                </c:pt>
                <c:pt idx="5861">
                  <c:v>907.17905405405406</c:v>
                </c:pt>
                <c:pt idx="5862">
                  <c:v>907.17905405405406</c:v>
                </c:pt>
                <c:pt idx="5863">
                  <c:v>907.17905405405406</c:v>
                </c:pt>
                <c:pt idx="5864">
                  <c:v>907.17905405405406</c:v>
                </c:pt>
                <c:pt idx="5865">
                  <c:v>904.56081081081084</c:v>
                </c:pt>
                <c:pt idx="5866">
                  <c:v>904.56081081081084</c:v>
                </c:pt>
                <c:pt idx="5867">
                  <c:v>904.56081081081084</c:v>
                </c:pt>
                <c:pt idx="5868">
                  <c:v>904.56081081081084</c:v>
                </c:pt>
                <c:pt idx="5869">
                  <c:v>904.56081081081084</c:v>
                </c:pt>
                <c:pt idx="5870">
                  <c:v>917.73648648648646</c:v>
                </c:pt>
                <c:pt idx="5871">
                  <c:v>917.73648648648646</c:v>
                </c:pt>
                <c:pt idx="5872">
                  <c:v>917.73648648648646</c:v>
                </c:pt>
                <c:pt idx="5873">
                  <c:v>917.73648648648646</c:v>
                </c:pt>
                <c:pt idx="5874">
                  <c:v>917.73648648648646</c:v>
                </c:pt>
                <c:pt idx="5875">
                  <c:v>919.00337837837844</c:v>
                </c:pt>
                <c:pt idx="5876">
                  <c:v>919.00337837837844</c:v>
                </c:pt>
                <c:pt idx="5877">
                  <c:v>919.00337837837844</c:v>
                </c:pt>
                <c:pt idx="5878">
                  <c:v>919.00337837837844</c:v>
                </c:pt>
                <c:pt idx="5879">
                  <c:v>919.00337837837844</c:v>
                </c:pt>
                <c:pt idx="5880">
                  <c:v>928.8851351351351</c:v>
                </c:pt>
                <c:pt idx="5881">
                  <c:v>928.8851351351351</c:v>
                </c:pt>
                <c:pt idx="5882">
                  <c:v>928.8851351351351</c:v>
                </c:pt>
                <c:pt idx="5883">
                  <c:v>928.8851351351351</c:v>
                </c:pt>
                <c:pt idx="5884">
                  <c:v>928.8851351351351</c:v>
                </c:pt>
                <c:pt idx="5885">
                  <c:v>933.69932432432438</c:v>
                </c:pt>
                <c:pt idx="5886">
                  <c:v>933.69932432432438</c:v>
                </c:pt>
                <c:pt idx="5887">
                  <c:v>933.69932432432438</c:v>
                </c:pt>
                <c:pt idx="5888">
                  <c:v>933.69932432432438</c:v>
                </c:pt>
                <c:pt idx="5889">
                  <c:v>933.69932432432438</c:v>
                </c:pt>
                <c:pt idx="5890">
                  <c:v>931.6722972972974</c:v>
                </c:pt>
                <c:pt idx="5891">
                  <c:v>931.6722972972974</c:v>
                </c:pt>
                <c:pt idx="5892">
                  <c:v>931.6722972972974</c:v>
                </c:pt>
                <c:pt idx="5893">
                  <c:v>931.6722972972974</c:v>
                </c:pt>
                <c:pt idx="5894">
                  <c:v>931.6722972972974</c:v>
                </c:pt>
                <c:pt idx="5895">
                  <c:v>936.57094594594594</c:v>
                </c:pt>
                <c:pt idx="5896">
                  <c:v>936.57094594594594</c:v>
                </c:pt>
                <c:pt idx="5897">
                  <c:v>936.57094594594594</c:v>
                </c:pt>
                <c:pt idx="5898">
                  <c:v>936.57094594594594</c:v>
                </c:pt>
                <c:pt idx="5899">
                  <c:v>936.57094594594594</c:v>
                </c:pt>
                <c:pt idx="5900">
                  <c:v>927.53378378378386</c:v>
                </c:pt>
                <c:pt idx="5901">
                  <c:v>927.53378378378386</c:v>
                </c:pt>
                <c:pt idx="5902">
                  <c:v>927.53378378378386</c:v>
                </c:pt>
                <c:pt idx="5903">
                  <c:v>927.53378378378386</c:v>
                </c:pt>
                <c:pt idx="5904">
                  <c:v>927.53378378378386</c:v>
                </c:pt>
                <c:pt idx="5905">
                  <c:v>939.61148648648646</c:v>
                </c:pt>
                <c:pt idx="5906">
                  <c:v>939.61148648648646</c:v>
                </c:pt>
                <c:pt idx="5907">
                  <c:v>939.61148648648646</c:v>
                </c:pt>
                <c:pt idx="5908">
                  <c:v>939.61148648648646</c:v>
                </c:pt>
                <c:pt idx="5909">
                  <c:v>939.61148648648646</c:v>
                </c:pt>
                <c:pt idx="5910">
                  <c:v>942.39864864864865</c:v>
                </c:pt>
                <c:pt idx="5911">
                  <c:v>942.39864864864865</c:v>
                </c:pt>
                <c:pt idx="5912">
                  <c:v>942.39864864864865</c:v>
                </c:pt>
                <c:pt idx="5913">
                  <c:v>942.39864864864865</c:v>
                </c:pt>
                <c:pt idx="5914">
                  <c:v>942.39864864864865</c:v>
                </c:pt>
                <c:pt idx="5915">
                  <c:v>946.1148648648649</c:v>
                </c:pt>
                <c:pt idx="5916">
                  <c:v>946.1148648648649</c:v>
                </c:pt>
                <c:pt idx="5917">
                  <c:v>946.1148648648649</c:v>
                </c:pt>
                <c:pt idx="5918">
                  <c:v>946.1148648648649</c:v>
                </c:pt>
                <c:pt idx="5919">
                  <c:v>946.1148648648649</c:v>
                </c:pt>
                <c:pt idx="5920">
                  <c:v>932.68581081081084</c:v>
                </c:pt>
                <c:pt idx="5921">
                  <c:v>932.68581081081084</c:v>
                </c:pt>
                <c:pt idx="5922">
                  <c:v>932.68581081081084</c:v>
                </c:pt>
                <c:pt idx="5923">
                  <c:v>932.68581081081084</c:v>
                </c:pt>
                <c:pt idx="5924">
                  <c:v>932.68581081081084</c:v>
                </c:pt>
                <c:pt idx="5925">
                  <c:v>953.71621621621637</c:v>
                </c:pt>
                <c:pt idx="5926">
                  <c:v>953.71621621621637</c:v>
                </c:pt>
                <c:pt idx="5927">
                  <c:v>953.71621621621637</c:v>
                </c:pt>
                <c:pt idx="5928">
                  <c:v>953.71621621621637</c:v>
                </c:pt>
                <c:pt idx="5929">
                  <c:v>953.71621621621637</c:v>
                </c:pt>
                <c:pt idx="5930">
                  <c:v>948.22635135135135</c:v>
                </c:pt>
                <c:pt idx="5931">
                  <c:v>948.22635135135135</c:v>
                </c:pt>
                <c:pt idx="5932">
                  <c:v>948.22635135135135</c:v>
                </c:pt>
                <c:pt idx="5933">
                  <c:v>948.22635135135135</c:v>
                </c:pt>
                <c:pt idx="5934">
                  <c:v>948.22635135135135</c:v>
                </c:pt>
                <c:pt idx="5935">
                  <c:v>949.91554054054052</c:v>
                </c:pt>
                <c:pt idx="5936">
                  <c:v>949.91554054054052</c:v>
                </c:pt>
                <c:pt idx="5937">
                  <c:v>949.91554054054052</c:v>
                </c:pt>
                <c:pt idx="5938">
                  <c:v>949.91554054054052</c:v>
                </c:pt>
                <c:pt idx="5939">
                  <c:v>949.91554054054052</c:v>
                </c:pt>
                <c:pt idx="5940">
                  <c:v>958.69932432432438</c:v>
                </c:pt>
                <c:pt idx="5941">
                  <c:v>958.69932432432438</c:v>
                </c:pt>
                <c:pt idx="5942">
                  <c:v>958.69932432432438</c:v>
                </c:pt>
                <c:pt idx="5943">
                  <c:v>958.69932432432438</c:v>
                </c:pt>
                <c:pt idx="5944">
                  <c:v>958.69932432432438</c:v>
                </c:pt>
                <c:pt idx="5945">
                  <c:v>982.01013513513522</c:v>
                </c:pt>
                <c:pt idx="5946">
                  <c:v>982.01013513513522</c:v>
                </c:pt>
                <c:pt idx="5947">
                  <c:v>982.01013513513522</c:v>
                </c:pt>
                <c:pt idx="5948">
                  <c:v>982.01013513513522</c:v>
                </c:pt>
                <c:pt idx="5949">
                  <c:v>982.01013513513522</c:v>
                </c:pt>
                <c:pt idx="5950">
                  <c:v>980.32094594594594</c:v>
                </c:pt>
                <c:pt idx="5951">
                  <c:v>980.32094594594594</c:v>
                </c:pt>
                <c:pt idx="5952">
                  <c:v>980.32094594594594</c:v>
                </c:pt>
                <c:pt idx="5953">
                  <c:v>980.32094594594594</c:v>
                </c:pt>
                <c:pt idx="5954">
                  <c:v>980.32094594594594</c:v>
                </c:pt>
                <c:pt idx="5955">
                  <c:v>995.18581081081084</c:v>
                </c:pt>
                <c:pt idx="5956">
                  <c:v>995.18581081081084</c:v>
                </c:pt>
                <c:pt idx="5957">
                  <c:v>995.18581081081084</c:v>
                </c:pt>
                <c:pt idx="5958">
                  <c:v>995.18581081081084</c:v>
                </c:pt>
                <c:pt idx="5959">
                  <c:v>995.18581081081084</c:v>
                </c:pt>
                <c:pt idx="5960">
                  <c:v>989.94932432432438</c:v>
                </c:pt>
                <c:pt idx="5961">
                  <c:v>989.94932432432438</c:v>
                </c:pt>
                <c:pt idx="5962">
                  <c:v>989.94932432432438</c:v>
                </c:pt>
                <c:pt idx="5963">
                  <c:v>989.94932432432438</c:v>
                </c:pt>
                <c:pt idx="5964">
                  <c:v>989.94932432432438</c:v>
                </c:pt>
                <c:pt idx="5965">
                  <c:v>1013.8513513513514</c:v>
                </c:pt>
                <c:pt idx="5966">
                  <c:v>1013.8513513513514</c:v>
                </c:pt>
                <c:pt idx="5967">
                  <c:v>1013.8513513513514</c:v>
                </c:pt>
                <c:pt idx="5968">
                  <c:v>1013.8513513513514</c:v>
                </c:pt>
                <c:pt idx="5969">
                  <c:v>1013.8513513513514</c:v>
                </c:pt>
                <c:pt idx="5970">
                  <c:v>987.1621621621623</c:v>
                </c:pt>
                <c:pt idx="5971">
                  <c:v>987.1621621621623</c:v>
                </c:pt>
                <c:pt idx="5972">
                  <c:v>987.1621621621623</c:v>
                </c:pt>
                <c:pt idx="5973">
                  <c:v>987.1621621621623</c:v>
                </c:pt>
                <c:pt idx="5974">
                  <c:v>987.1621621621623</c:v>
                </c:pt>
                <c:pt idx="5975">
                  <c:v>994.25675675675689</c:v>
                </c:pt>
                <c:pt idx="5976">
                  <c:v>994.25675675675689</c:v>
                </c:pt>
                <c:pt idx="5977">
                  <c:v>994.25675675675689</c:v>
                </c:pt>
                <c:pt idx="5978">
                  <c:v>994.25675675675689</c:v>
                </c:pt>
                <c:pt idx="5979">
                  <c:v>994.25675675675689</c:v>
                </c:pt>
                <c:pt idx="5980">
                  <c:v>998.64864864864876</c:v>
                </c:pt>
                <c:pt idx="5981">
                  <c:v>998.64864864864876</c:v>
                </c:pt>
                <c:pt idx="5982">
                  <c:v>998.64864864864876</c:v>
                </c:pt>
                <c:pt idx="5983">
                  <c:v>998.64864864864876</c:v>
                </c:pt>
                <c:pt idx="5984">
                  <c:v>998.64864864864876</c:v>
                </c:pt>
                <c:pt idx="5985">
                  <c:v>995.86148648648646</c:v>
                </c:pt>
                <c:pt idx="5986">
                  <c:v>995.86148648648646</c:v>
                </c:pt>
                <c:pt idx="5987">
                  <c:v>995.86148648648646</c:v>
                </c:pt>
                <c:pt idx="5988">
                  <c:v>995.86148648648646</c:v>
                </c:pt>
                <c:pt idx="5989">
                  <c:v>995.86148648648646</c:v>
                </c:pt>
                <c:pt idx="5990">
                  <c:v>1000.168918918919</c:v>
                </c:pt>
                <c:pt idx="5991">
                  <c:v>1000.168918918919</c:v>
                </c:pt>
                <c:pt idx="5992">
                  <c:v>1000.168918918919</c:v>
                </c:pt>
                <c:pt idx="5993">
                  <c:v>1000.168918918919</c:v>
                </c:pt>
                <c:pt idx="5994">
                  <c:v>1000.168918918919</c:v>
                </c:pt>
                <c:pt idx="5995">
                  <c:v>1014.4425675675675</c:v>
                </c:pt>
                <c:pt idx="5996">
                  <c:v>1014.4425675675675</c:v>
                </c:pt>
                <c:pt idx="5997">
                  <c:v>1014.4425675675675</c:v>
                </c:pt>
                <c:pt idx="5998">
                  <c:v>1014.4425675675675</c:v>
                </c:pt>
                <c:pt idx="5999">
                  <c:v>1014.4425675675675</c:v>
                </c:pt>
                <c:pt idx="6000">
                  <c:v>996.53716216216208</c:v>
                </c:pt>
                <c:pt idx="6001">
                  <c:v>996.53716216216208</c:v>
                </c:pt>
                <c:pt idx="6002">
                  <c:v>996.53716216216208</c:v>
                </c:pt>
                <c:pt idx="6003">
                  <c:v>996.53716216216208</c:v>
                </c:pt>
                <c:pt idx="6004">
                  <c:v>996.53716216216208</c:v>
                </c:pt>
                <c:pt idx="6005">
                  <c:v>1025.2533783783783</c:v>
                </c:pt>
                <c:pt idx="6006">
                  <c:v>1025.2533783783783</c:v>
                </c:pt>
                <c:pt idx="6007">
                  <c:v>1025.2533783783783</c:v>
                </c:pt>
                <c:pt idx="6008">
                  <c:v>1025.2533783783783</c:v>
                </c:pt>
                <c:pt idx="6009">
                  <c:v>1025.2533783783783</c:v>
                </c:pt>
                <c:pt idx="6010">
                  <c:v>1029.2229729729729</c:v>
                </c:pt>
                <c:pt idx="6011">
                  <c:v>1029.2229729729729</c:v>
                </c:pt>
                <c:pt idx="6012">
                  <c:v>1029.2229729729729</c:v>
                </c:pt>
                <c:pt idx="6013">
                  <c:v>1029.2229729729729</c:v>
                </c:pt>
                <c:pt idx="6014">
                  <c:v>1029.2229729729729</c:v>
                </c:pt>
                <c:pt idx="6015">
                  <c:v>1056.5033783783783</c:v>
                </c:pt>
                <c:pt idx="6016">
                  <c:v>1056.5033783783783</c:v>
                </c:pt>
                <c:pt idx="6017">
                  <c:v>1056.5033783783783</c:v>
                </c:pt>
                <c:pt idx="6018">
                  <c:v>1056.5033783783783</c:v>
                </c:pt>
                <c:pt idx="6019">
                  <c:v>1056.5033783783783</c:v>
                </c:pt>
                <c:pt idx="6020">
                  <c:v>1026.0979729729729</c:v>
                </c:pt>
                <c:pt idx="6021">
                  <c:v>1026.0979729729729</c:v>
                </c:pt>
                <c:pt idx="6022">
                  <c:v>1026.0979729729729</c:v>
                </c:pt>
                <c:pt idx="6023">
                  <c:v>1026.0979729729729</c:v>
                </c:pt>
                <c:pt idx="6024">
                  <c:v>1026.0979729729729</c:v>
                </c:pt>
                <c:pt idx="6025">
                  <c:v>1052.0270270270271</c:v>
                </c:pt>
                <c:pt idx="6026">
                  <c:v>1052.0270270270271</c:v>
                </c:pt>
                <c:pt idx="6027">
                  <c:v>1052.0270270270271</c:v>
                </c:pt>
                <c:pt idx="6028">
                  <c:v>1052.0270270270271</c:v>
                </c:pt>
                <c:pt idx="6029">
                  <c:v>1052.0270270270271</c:v>
                </c:pt>
                <c:pt idx="6030">
                  <c:v>1070.4391891891892</c:v>
                </c:pt>
                <c:pt idx="6031">
                  <c:v>1070.4391891891892</c:v>
                </c:pt>
                <c:pt idx="6032">
                  <c:v>1070.4391891891892</c:v>
                </c:pt>
                <c:pt idx="6033">
                  <c:v>1070.4391891891892</c:v>
                </c:pt>
                <c:pt idx="6034">
                  <c:v>1070.4391891891892</c:v>
                </c:pt>
                <c:pt idx="6035">
                  <c:v>1059.0371621621621</c:v>
                </c:pt>
                <c:pt idx="6036">
                  <c:v>1059.0371621621621</c:v>
                </c:pt>
                <c:pt idx="6037">
                  <c:v>1059.0371621621621</c:v>
                </c:pt>
                <c:pt idx="6038">
                  <c:v>1059.0371621621621</c:v>
                </c:pt>
                <c:pt idx="6039">
                  <c:v>1059.0371621621621</c:v>
                </c:pt>
                <c:pt idx="6040">
                  <c:v>1065.6250000000002</c:v>
                </c:pt>
                <c:pt idx="6041">
                  <c:v>1065.6250000000002</c:v>
                </c:pt>
                <c:pt idx="6042">
                  <c:v>1065.6250000000002</c:v>
                </c:pt>
                <c:pt idx="6043">
                  <c:v>1065.6250000000002</c:v>
                </c:pt>
                <c:pt idx="6044">
                  <c:v>1065.6250000000002</c:v>
                </c:pt>
                <c:pt idx="6045">
                  <c:v>1073.2263513513515</c:v>
                </c:pt>
                <c:pt idx="6046">
                  <c:v>1073.2263513513515</c:v>
                </c:pt>
                <c:pt idx="6047">
                  <c:v>1073.2263513513515</c:v>
                </c:pt>
                <c:pt idx="6048">
                  <c:v>1073.2263513513515</c:v>
                </c:pt>
                <c:pt idx="6049">
                  <c:v>1073.2263513513515</c:v>
                </c:pt>
                <c:pt idx="6050">
                  <c:v>1078.6317567567569</c:v>
                </c:pt>
                <c:pt idx="6051">
                  <c:v>1078.6317567567569</c:v>
                </c:pt>
                <c:pt idx="6052">
                  <c:v>1078.6317567567569</c:v>
                </c:pt>
                <c:pt idx="6053">
                  <c:v>1078.6317567567569</c:v>
                </c:pt>
                <c:pt idx="6054">
                  <c:v>1078.6317567567569</c:v>
                </c:pt>
                <c:pt idx="6055">
                  <c:v>1070.3547297297298</c:v>
                </c:pt>
                <c:pt idx="6056">
                  <c:v>1070.3547297297298</c:v>
                </c:pt>
                <c:pt idx="6057">
                  <c:v>1070.3547297297298</c:v>
                </c:pt>
                <c:pt idx="6058">
                  <c:v>1070.3547297297298</c:v>
                </c:pt>
                <c:pt idx="6059">
                  <c:v>1070.3547297297298</c:v>
                </c:pt>
                <c:pt idx="6060">
                  <c:v>1090.1182432432433</c:v>
                </c:pt>
                <c:pt idx="6061">
                  <c:v>1090.1182432432433</c:v>
                </c:pt>
                <c:pt idx="6062">
                  <c:v>1090.1182432432433</c:v>
                </c:pt>
                <c:pt idx="6063">
                  <c:v>1090.1182432432433</c:v>
                </c:pt>
                <c:pt idx="6064">
                  <c:v>1090.1182432432433</c:v>
                </c:pt>
                <c:pt idx="6065">
                  <c:v>1087.2466216216217</c:v>
                </c:pt>
                <c:pt idx="6066">
                  <c:v>1087.2466216216217</c:v>
                </c:pt>
                <c:pt idx="6067">
                  <c:v>1087.2466216216217</c:v>
                </c:pt>
                <c:pt idx="6068">
                  <c:v>1087.2466216216217</c:v>
                </c:pt>
                <c:pt idx="6069">
                  <c:v>1087.2466216216217</c:v>
                </c:pt>
                <c:pt idx="6070">
                  <c:v>1090.7094594594594</c:v>
                </c:pt>
                <c:pt idx="6071">
                  <c:v>1090.7094594594594</c:v>
                </c:pt>
                <c:pt idx="6072">
                  <c:v>1090.7094594594594</c:v>
                </c:pt>
                <c:pt idx="6073">
                  <c:v>1090.7094594594594</c:v>
                </c:pt>
                <c:pt idx="6074">
                  <c:v>1090.7094594594594</c:v>
                </c:pt>
                <c:pt idx="6075">
                  <c:v>1115.9628378378379</c:v>
                </c:pt>
                <c:pt idx="6076">
                  <c:v>1115.9628378378379</c:v>
                </c:pt>
                <c:pt idx="6077">
                  <c:v>1115.9628378378379</c:v>
                </c:pt>
                <c:pt idx="6078">
                  <c:v>1115.9628378378379</c:v>
                </c:pt>
                <c:pt idx="6079">
                  <c:v>1115.9628378378379</c:v>
                </c:pt>
                <c:pt idx="6080">
                  <c:v>1101.3513513513515</c:v>
                </c:pt>
                <c:pt idx="6081">
                  <c:v>1101.3513513513515</c:v>
                </c:pt>
                <c:pt idx="6082">
                  <c:v>1101.3513513513515</c:v>
                </c:pt>
                <c:pt idx="6083">
                  <c:v>1101.3513513513515</c:v>
                </c:pt>
                <c:pt idx="6084">
                  <c:v>1101.3513513513515</c:v>
                </c:pt>
                <c:pt idx="6085">
                  <c:v>1113.1756756756758</c:v>
                </c:pt>
                <c:pt idx="6086">
                  <c:v>1113.1756756756758</c:v>
                </c:pt>
                <c:pt idx="6087">
                  <c:v>1113.1756756756758</c:v>
                </c:pt>
                <c:pt idx="6088">
                  <c:v>1113.1756756756758</c:v>
                </c:pt>
                <c:pt idx="6089">
                  <c:v>1113.1756756756758</c:v>
                </c:pt>
                <c:pt idx="6090">
                  <c:v>1109.9662162162163</c:v>
                </c:pt>
                <c:pt idx="6091">
                  <c:v>1109.9662162162163</c:v>
                </c:pt>
                <c:pt idx="6092">
                  <c:v>1109.9662162162163</c:v>
                </c:pt>
                <c:pt idx="6093">
                  <c:v>1109.9662162162163</c:v>
                </c:pt>
                <c:pt idx="6094">
                  <c:v>1109.9662162162163</c:v>
                </c:pt>
                <c:pt idx="6095">
                  <c:v>1111.8243243243244</c:v>
                </c:pt>
                <c:pt idx="6096">
                  <c:v>1111.8243243243244</c:v>
                </c:pt>
                <c:pt idx="6097">
                  <c:v>1111.8243243243244</c:v>
                </c:pt>
                <c:pt idx="6098">
                  <c:v>1111.8243243243244</c:v>
                </c:pt>
                <c:pt idx="6099">
                  <c:v>1111.8243243243244</c:v>
                </c:pt>
                <c:pt idx="6100">
                  <c:v>1132.0101351351352</c:v>
                </c:pt>
                <c:pt idx="6101">
                  <c:v>1132.0101351351352</c:v>
                </c:pt>
                <c:pt idx="6102">
                  <c:v>1132.0101351351352</c:v>
                </c:pt>
                <c:pt idx="6103">
                  <c:v>1132.0101351351352</c:v>
                </c:pt>
                <c:pt idx="6104">
                  <c:v>1132.0101351351352</c:v>
                </c:pt>
                <c:pt idx="6105">
                  <c:v>1141.0472972972973</c:v>
                </c:pt>
                <c:pt idx="6106">
                  <c:v>1141.0472972972973</c:v>
                </c:pt>
                <c:pt idx="6107">
                  <c:v>1141.0472972972973</c:v>
                </c:pt>
                <c:pt idx="6108">
                  <c:v>1141.0472972972973</c:v>
                </c:pt>
                <c:pt idx="6109">
                  <c:v>1141.0472972972973</c:v>
                </c:pt>
                <c:pt idx="6110">
                  <c:v>1136.9932432432433</c:v>
                </c:pt>
                <c:pt idx="6111">
                  <c:v>1136.9932432432433</c:v>
                </c:pt>
                <c:pt idx="6112">
                  <c:v>1136.9932432432433</c:v>
                </c:pt>
                <c:pt idx="6113">
                  <c:v>1136.9932432432433</c:v>
                </c:pt>
                <c:pt idx="6114">
                  <c:v>1136.9932432432433</c:v>
                </c:pt>
                <c:pt idx="6115">
                  <c:v>1158.3614864864865</c:v>
                </c:pt>
                <c:pt idx="6116">
                  <c:v>1158.3614864864865</c:v>
                </c:pt>
                <c:pt idx="6117">
                  <c:v>1158.3614864864865</c:v>
                </c:pt>
                <c:pt idx="6118">
                  <c:v>1158.3614864864865</c:v>
                </c:pt>
                <c:pt idx="6119">
                  <c:v>1158.3614864864865</c:v>
                </c:pt>
                <c:pt idx="6120">
                  <c:v>1158.4459459459461</c:v>
                </c:pt>
                <c:pt idx="6121">
                  <c:v>1158.4459459459461</c:v>
                </c:pt>
                <c:pt idx="6122">
                  <c:v>1158.4459459459461</c:v>
                </c:pt>
                <c:pt idx="6123">
                  <c:v>1158.4459459459461</c:v>
                </c:pt>
                <c:pt idx="6124">
                  <c:v>1158.4459459459461</c:v>
                </c:pt>
                <c:pt idx="6125">
                  <c:v>1163.8513513513515</c:v>
                </c:pt>
                <c:pt idx="6126">
                  <c:v>1163.8513513513515</c:v>
                </c:pt>
                <c:pt idx="6127">
                  <c:v>1163.8513513513515</c:v>
                </c:pt>
                <c:pt idx="6128">
                  <c:v>1163.8513513513515</c:v>
                </c:pt>
                <c:pt idx="6129">
                  <c:v>1163.8513513513515</c:v>
                </c:pt>
                <c:pt idx="6130">
                  <c:v>1160.1351351351352</c:v>
                </c:pt>
                <c:pt idx="6131">
                  <c:v>1160.1351351351352</c:v>
                </c:pt>
                <c:pt idx="6132">
                  <c:v>1160.1351351351352</c:v>
                </c:pt>
                <c:pt idx="6133">
                  <c:v>1160.1351351351352</c:v>
                </c:pt>
                <c:pt idx="6134">
                  <c:v>1160.1351351351352</c:v>
                </c:pt>
                <c:pt idx="6135">
                  <c:v>1138.9358108108108</c:v>
                </c:pt>
                <c:pt idx="6136">
                  <c:v>1138.9358108108108</c:v>
                </c:pt>
                <c:pt idx="6137">
                  <c:v>1138.9358108108108</c:v>
                </c:pt>
                <c:pt idx="6138">
                  <c:v>1138.9358108108108</c:v>
                </c:pt>
                <c:pt idx="6139">
                  <c:v>1138.9358108108108</c:v>
                </c:pt>
                <c:pt idx="6140">
                  <c:v>1166.0472972972973</c:v>
                </c:pt>
                <c:pt idx="6141">
                  <c:v>1166.0472972972973</c:v>
                </c:pt>
                <c:pt idx="6142">
                  <c:v>1166.0472972972973</c:v>
                </c:pt>
                <c:pt idx="6143">
                  <c:v>1166.0472972972973</c:v>
                </c:pt>
                <c:pt idx="6144">
                  <c:v>1166.0472972972973</c:v>
                </c:pt>
                <c:pt idx="6145">
                  <c:v>1174.9155405405406</c:v>
                </c:pt>
                <c:pt idx="6146">
                  <c:v>1174.9155405405406</c:v>
                </c:pt>
                <c:pt idx="6147">
                  <c:v>1174.9155405405406</c:v>
                </c:pt>
                <c:pt idx="6148">
                  <c:v>1174.9155405405406</c:v>
                </c:pt>
                <c:pt idx="6149">
                  <c:v>1174.9155405405406</c:v>
                </c:pt>
                <c:pt idx="6150">
                  <c:v>1191.5540540540542</c:v>
                </c:pt>
                <c:pt idx="6151">
                  <c:v>1191.5540540540542</c:v>
                </c:pt>
                <c:pt idx="6152">
                  <c:v>1191.5540540540542</c:v>
                </c:pt>
                <c:pt idx="6153">
                  <c:v>1191.5540540540542</c:v>
                </c:pt>
                <c:pt idx="6154">
                  <c:v>1191.5540540540542</c:v>
                </c:pt>
                <c:pt idx="6155">
                  <c:v>1173.0574324324325</c:v>
                </c:pt>
                <c:pt idx="6156">
                  <c:v>1173.0574324324325</c:v>
                </c:pt>
                <c:pt idx="6157">
                  <c:v>1173.0574324324325</c:v>
                </c:pt>
                <c:pt idx="6158">
                  <c:v>1173.0574324324325</c:v>
                </c:pt>
                <c:pt idx="6159">
                  <c:v>1173.0574324324325</c:v>
                </c:pt>
                <c:pt idx="6160">
                  <c:v>1167.7364864864867</c:v>
                </c:pt>
                <c:pt idx="6161">
                  <c:v>1167.7364864864867</c:v>
                </c:pt>
                <c:pt idx="6162">
                  <c:v>1167.7364864864867</c:v>
                </c:pt>
                <c:pt idx="6163">
                  <c:v>1167.7364864864867</c:v>
                </c:pt>
                <c:pt idx="6164">
                  <c:v>1167.7364864864867</c:v>
                </c:pt>
                <c:pt idx="6165">
                  <c:v>1210.5574324324325</c:v>
                </c:pt>
                <c:pt idx="6166">
                  <c:v>1210.5574324324325</c:v>
                </c:pt>
                <c:pt idx="6167">
                  <c:v>1210.5574324324325</c:v>
                </c:pt>
                <c:pt idx="6168">
                  <c:v>1210.5574324324325</c:v>
                </c:pt>
                <c:pt idx="6169">
                  <c:v>1210.5574324324325</c:v>
                </c:pt>
                <c:pt idx="6170">
                  <c:v>1197.9729729729729</c:v>
                </c:pt>
                <c:pt idx="6171">
                  <c:v>1197.9729729729729</c:v>
                </c:pt>
                <c:pt idx="6172">
                  <c:v>1197.9729729729729</c:v>
                </c:pt>
                <c:pt idx="6173">
                  <c:v>1197.9729729729729</c:v>
                </c:pt>
                <c:pt idx="6174">
                  <c:v>1197.9729729729729</c:v>
                </c:pt>
                <c:pt idx="6175">
                  <c:v>1196.7060810810813</c:v>
                </c:pt>
                <c:pt idx="6176">
                  <c:v>1196.7060810810813</c:v>
                </c:pt>
                <c:pt idx="6177">
                  <c:v>1196.7060810810813</c:v>
                </c:pt>
                <c:pt idx="6178">
                  <c:v>1196.7060810810813</c:v>
                </c:pt>
                <c:pt idx="6179">
                  <c:v>1196.7060810810813</c:v>
                </c:pt>
                <c:pt idx="6180">
                  <c:v>1197.2128378378379</c:v>
                </c:pt>
                <c:pt idx="6181">
                  <c:v>1197.2128378378379</c:v>
                </c:pt>
                <c:pt idx="6182">
                  <c:v>1197.2128378378379</c:v>
                </c:pt>
                <c:pt idx="6183">
                  <c:v>1197.2128378378379</c:v>
                </c:pt>
                <c:pt idx="6184">
                  <c:v>1197.2128378378379</c:v>
                </c:pt>
                <c:pt idx="6185">
                  <c:v>1203.2094594594594</c:v>
                </c:pt>
                <c:pt idx="6186">
                  <c:v>1203.2094594594594</c:v>
                </c:pt>
                <c:pt idx="6187">
                  <c:v>1203.2094594594594</c:v>
                </c:pt>
                <c:pt idx="6188">
                  <c:v>1203.2094594594594</c:v>
                </c:pt>
                <c:pt idx="6189">
                  <c:v>1203.2094594594594</c:v>
                </c:pt>
                <c:pt idx="6190">
                  <c:v>1263.7668918918919</c:v>
                </c:pt>
                <c:pt idx="6191">
                  <c:v>1263.7668918918919</c:v>
                </c:pt>
                <c:pt idx="6192">
                  <c:v>1263.7668918918919</c:v>
                </c:pt>
                <c:pt idx="6193">
                  <c:v>1263.7668918918919</c:v>
                </c:pt>
                <c:pt idx="6194">
                  <c:v>1263.7668918918919</c:v>
                </c:pt>
                <c:pt idx="6195">
                  <c:v>1212.0777027027027</c:v>
                </c:pt>
                <c:pt idx="6196">
                  <c:v>1212.0777027027027</c:v>
                </c:pt>
                <c:pt idx="6197">
                  <c:v>1212.0777027027027</c:v>
                </c:pt>
                <c:pt idx="6198">
                  <c:v>1212.0777027027027</c:v>
                </c:pt>
                <c:pt idx="6199">
                  <c:v>1212.0777027027027</c:v>
                </c:pt>
                <c:pt idx="6200">
                  <c:v>1267.3141891891894</c:v>
                </c:pt>
                <c:pt idx="6201">
                  <c:v>1267.3141891891894</c:v>
                </c:pt>
                <c:pt idx="6202">
                  <c:v>1267.3141891891894</c:v>
                </c:pt>
                <c:pt idx="6203">
                  <c:v>1267.3141891891894</c:v>
                </c:pt>
                <c:pt idx="6204">
                  <c:v>1267.3141891891894</c:v>
                </c:pt>
                <c:pt idx="6205">
                  <c:v>1201.8581081081084</c:v>
                </c:pt>
                <c:pt idx="6206">
                  <c:v>1201.8581081081084</c:v>
                </c:pt>
                <c:pt idx="6207">
                  <c:v>1201.8581081081084</c:v>
                </c:pt>
                <c:pt idx="6208">
                  <c:v>1201.8581081081084</c:v>
                </c:pt>
                <c:pt idx="6209">
                  <c:v>1201.8581081081084</c:v>
                </c:pt>
                <c:pt idx="6210">
                  <c:v>1199.6621621621623</c:v>
                </c:pt>
                <c:pt idx="6211">
                  <c:v>1199.6621621621623</c:v>
                </c:pt>
                <c:pt idx="6212">
                  <c:v>1199.6621621621623</c:v>
                </c:pt>
                <c:pt idx="6213">
                  <c:v>1199.6621621621623</c:v>
                </c:pt>
                <c:pt idx="6214">
                  <c:v>1199.6621621621623</c:v>
                </c:pt>
                <c:pt idx="6215">
                  <c:v>1245.3547297297296</c:v>
                </c:pt>
                <c:pt idx="6216">
                  <c:v>1245.3547297297296</c:v>
                </c:pt>
                <c:pt idx="6217">
                  <c:v>1245.3547297297296</c:v>
                </c:pt>
                <c:pt idx="6218">
                  <c:v>1245.3547297297296</c:v>
                </c:pt>
                <c:pt idx="6219">
                  <c:v>1245.3547297297296</c:v>
                </c:pt>
                <c:pt idx="6220">
                  <c:v>1223.2263513513515</c:v>
                </c:pt>
                <c:pt idx="6221">
                  <c:v>1223.2263513513515</c:v>
                </c:pt>
                <c:pt idx="6222">
                  <c:v>1223.2263513513515</c:v>
                </c:pt>
                <c:pt idx="6223">
                  <c:v>1223.2263513513515</c:v>
                </c:pt>
                <c:pt idx="6224">
                  <c:v>1223.2263513513515</c:v>
                </c:pt>
                <c:pt idx="6225">
                  <c:v>1193.0743243243244</c:v>
                </c:pt>
                <c:pt idx="6226">
                  <c:v>1193.0743243243244</c:v>
                </c:pt>
                <c:pt idx="6227">
                  <c:v>1193.0743243243244</c:v>
                </c:pt>
                <c:pt idx="6228">
                  <c:v>1193.0743243243244</c:v>
                </c:pt>
                <c:pt idx="6229">
                  <c:v>1193.0743243243244</c:v>
                </c:pt>
                <c:pt idx="6230">
                  <c:v>1301.8581081081081</c:v>
                </c:pt>
                <c:pt idx="6231">
                  <c:v>1301.8581081081081</c:v>
                </c:pt>
                <c:pt idx="6232">
                  <c:v>1301.8581081081081</c:v>
                </c:pt>
                <c:pt idx="6233">
                  <c:v>1301.8581081081081</c:v>
                </c:pt>
                <c:pt idx="6234">
                  <c:v>1301.8581081081081</c:v>
                </c:pt>
                <c:pt idx="6235">
                  <c:v>1288.0912162162163</c:v>
                </c:pt>
                <c:pt idx="6236">
                  <c:v>1288.0912162162163</c:v>
                </c:pt>
                <c:pt idx="6237">
                  <c:v>1288.0912162162163</c:v>
                </c:pt>
                <c:pt idx="6238">
                  <c:v>1288.0912162162163</c:v>
                </c:pt>
                <c:pt idx="6239">
                  <c:v>1288.0912162162163</c:v>
                </c:pt>
                <c:pt idx="6240">
                  <c:v>1320.5236486486488</c:v>
                </c:pt>
                <c:pt idx="6241">
                  <c:v>1320.5236486486488</c:v>
                </c:pt>
                <c:pt idx="6242">
                  <c:v>1320.5236486486488</c:v>
                </c:pt>
                <c:pt idx="6243">
                  <c:v>1320.5236486486488</c:v>
                </c:pt>
                <c:pt idx="6244">
                  <c:v>1320.5236486486488</c:v>
                </c:pt>
                <c:pt idx="6245">
                  <c:v>1222.6351351351352</c:v>
                </c:pt>
                <c:pt idx="6246">
                  <c:v>1222.6351351351352</c:v>
                </c:pt>
                <c:pt idx="6247">
                  <c:v>1222.6351351351352</c:v>
                </c:pt>
                <c:pt idx="6248">
                  <c:v>1222.6351351351352</c:v>
                </c:pt>
                <c:pt idx="6249">
                  <c:v>1222.6351351351352</c:v>
                </c:pt>
                <c:pt idx="6250">
                  <c:v>1296.1993243243244</c:v>
                </c:pt>
                <c:pt idx="6251">
                  <c:v>1296.1993243243244</c:v>
                </c:pt>
                <c:pt idx="6252">
                  <c:v>1296.1993243243244</c:v>
                </c:pt>
                <c:pt idx="6253">
                  <c:v>1296.1993243243244</c:v>
                </c:pt>
                <c:pt idx="6254">
                  <c:v>1296.1993243243244</c:v>
                </c:pt>
                <c:pt idx="6255">
                  <c:v>1280.7432432432433</c:v>
                </c:pt>
                <c:pt idx="6256">
                  <c:v>1280.7432432432433</c:v>
                </c:pt>
                <c:pt idx="6257">
                  <c:v>1280.7432432432433</c:v>
                </c:pt>
                <c:pt idx="6258">
                  <c:v>1280.7432432432433</c:v>
                </c:pt>
                <c:pt idx="6259">
                  <c:v>1280.7432432432433</c:v>
                </c:pt>
                <c:pt idx="6260">
                  <c:v>1294.5945945945946</c:v>
                </c:pt>
                <c:pt idx="6261">
                  <c:v>1294.5945945945946</c:v>
                </c:pt>
                <c:pt idx="6262">
                  <c:v>1294.5945945945946</c:v>
                </c:pt>
                <c:pt idx="6263">
                  <c:v>1294.5945945945946</c:v>
                </c:pt>
                <c:pt idx="6264">
                  <c:v>1294.5945945945946</c:v>
                </c:pt>
                <c:pt idx="6265">
                  <c:v>1291.385135135135</c:v>
                </c:pt>
                <c:pt idx="6266">
                  <c:v>1291.385135135135</c:v>
                </c:pt>
                <c:pt idx="6267">
                  <c:v>1291.385135135135</c:v>
                </c:pt>
                <c:pt idx="6268">
                  <c:v>1291.385135135135</c:v>
                </c:pt>
                <c:pt idx="6269">
                  <c:v>1291.385135135135</c:v>
                </c:pt>
                <c:pt idx="6270">
                  <c:v>1251.2668918918919</c:v>
                </c:pt>
                <c:pt idx="6271">
                  <c:v>1251.2668918918919</c:v>
                </c:pt>
                <c:pt idx="6272">
                  <c:v>1251.2668918918919</c:v>
                </c:pt>
                <c:pt idx="6273">
                  <c:v>1251.2668918918919</c:v>
                </c:pt>
                <c:pt idx="6274">
                  <c:v>1251.2668918918919</c:v>
                </c:pt>
                <c:pt idx="6275">
                  <c:v>1287.5</c:v>
                </c:pt>
                <c:pt idx="6276">
                  <c:v>1287.5</c:v>
                </c:pt>
                <c:pt idx="6277">
                  <c:v>1287.5</c:v>
                </c:pt>
                <c:pt idx="6278">
                  <c:v>1287.5</c:v>
                </c:pt>
                <c:pt idx="6279">
                  <c:v>1287.5</c:v>
                </c:pt>
                <c:pt idx="6280">
                  <c:v>1289.864864864865</c:v>
                </c:pt>
                <c:pt idx="6281">
                  <c:v>1289.864864864865</c:v>
                </c:pt>
                <c:pt idx="6282">
                  <c:v>1289.864864864865</c:v>
                </c:pt>
                <c:pt idx="6283">
                  <c:v>1289.864864864865</c:v>
                </c:pt>
                <c:pt idx="6284">
                  <c:v>1289.864864864865</c:v>
                </c:pt>
                <c:pt idx="6285">
                  <c:v>1291.2162162162163</c:v>
                </c:pt>
                <c:pt idx="6286">
                  <c:v>1291.2162162162163</c:v>
                </c:pt>
                <c:pt idx="6287">
                  <c:v>1291.2162162162163</c:v>
                </c:pt>
                <c:pt idx="6288">
                  <c:v>1291.2162162162163</c:v>
                </c:pt>
                <c:pt idx="6289">
                  <c:v>1291.2162162162163</c:v>
                </c:pt>
                <c:pt idx="6290">
                  <c:v>1279.0540540540542</c:v>
                </c:pt>
                <c:pt idx="6291">
                  <c:v>1279.0540540540542</c:v>
                </c:pt>
                <c:pt idx="6292">
                  <c:v>1279.0540540540542</c:v>
                </c:pt>
                <c:pt idx="6293">
                  <c:v>1279.0540540540542</c:v>
                </c:pt>
                <c:pt idx="6294">
                  <c:v>1279.0540540540542</c:v>
                </c:pt>
                <c:pt idx="6295">
                  <c:v>1279.7297297297296</c:v>
                </c:pt>
                <c:pt idx="6296">
                  <c:v>1279.7297297297296</c:v>
                </c:pt>
                <c:pt idx="6297">
                  <c:v>1279.7297297297296</c:v>
                </c:pt>
                <c:pt idx="6298">
                  <c:v>1279.7297297297296</c:v>
                </c:pt>
                <c:pt idx="6299">
                  <c:v>1279.7297297297296</c:v>
                </c:pt>
                <c:pt idx="6300">
                  <c:v>1275.0844594594594</c:v>
                </c:pt>
                <c:pt idx="6301">
                  <c:v>1275.0844594594594</c:v>
                </c:pt>
                <c:pt idx="6302">
                  <c:v>1275.0844594594594</c:v>
                </c:pt>
                <c:pt idx="6303">
                  <c:v>1275.0844594594594</c:v>
                </c:pt>
                <c:pt idx="6304">
                  <c:v>1275.0844594594594</c:v>
                </c:pt>
                <c:pt idx="6305">
                  <c:v>1285.0506756756758</c:v>
                </c:pt>
                <c:pt idx="6306">
                  <c:v>1285.0506756756758</c:v>
                </c:pt>
                <c:pt idx="6307">
                  <c:v>1285.0506756756758</c:v>
                </c:pt>
                <c:pt idx="6308">
                  <c:v>1285.0506756756758</c:v>
                </c:pt>
                <c:pt idx="6309">
                  <c:v>1285.0506756756758</c:v>
                </c:pt>
                <c:pt idx="6310">
                  <c:v>1288.9358108108108</c:v>
                </c:pt>
                <c:pt idx="6311">
                  <c:v>1288.9358108108108</c:v>
                </c:pt>
                <c:pt idx="6312">
                  <c:v>1288.9358108108108</c:v>
                </c:pt>
                <c:pt idx="6313">
                  <c:v>1288.9358108108108</c:v>
                </c:pt>
                <c:pt idx="6314">
                  <c:v>1288.9358108108108</c:v>
                </c:pt>
                <c:pt idx="6315">
                  <c:v>1271.875</c:v>
                </c:pt>
                <c:pt idx="6316">
                  <c:v>1271.875</c:v>
                </c:pt>
                <c:pt idx="6317">
                  <c:v>1271.875</c:v>
                </c:pt>
                <c:pt idx="6318">
                  <c:v>1271.875</c:v>
                </c:pt>
                <c:pt idx="6319">
                  <c:v>1271.875</c:v>
                </c:pt>
                <c:pt idx="6320">
                  <c:v>1273.3108108108108</c:v>
                </c:pt>
                <c:pt idx="6321">
                  <c:v>1273.3108108108108</c:v>
                </c:pt>
                <c:pt idx="6322">
                  <c:v>1273.3108108108108</c:v>
                </c:pt>
                <c:pt idx="6323">
                  <c:v>1273.3108108108108</c:v>
                </c:pt>
                <c:pt idx="6324">
                  <c:v>1273.3108108108108</c:v>
                </c:pt>
                <c:pt idx="6325">
                  <c:v>1276.4358108108108</c:v>
                </c:pt>
                <c:pt idx="6326">
                  <c:v>1276.4358108108108</c:v>
                </c:pt>
                <c:pt idx="6327">
                  <c:v>1276.4358108108108</c:v>
                </c:pt>
                <c:pt idx="6328">
                  <c:v>1276.4358108108108</c:v>
                </c:pt>
                <c:pt idx="6329">
                  <c:v>1276.4358108108108</c:v>
                </c:pt>
                <c:pt idx="6330">
                  <c:v>1286.739864864865</c:v>
                </c:pt>
                <c:pt idx="6331">
                  <c:v>1286.739864864865</c:v>
                </c:pt>
                <c:pt idx="6332">
                  <c:v>1286.739864864865</c:v>
                </c:pt>
                <c:pt idx="6333">
                  <c:v>1286.739864864865</c:v>
                </c:pt>
                <c:pt idx="6334">
                  <c:v>1286.739864864865</c:v>
                </c:pt>
                <c:pt idx="6335">
                  <c:v>1292.2297297297298</c:v>
                </c:pt>
                <c:pt idx="6336">
                  <c:v>1292.2297297297298</c:v>
                </c:pt>
                <c:pt idx="6337">
                  <c:v>1292.2297297297298</c:v>
                </c:pt>
                <c:pt idx="6338">
                  <c:v>1292.2297297297298</c:v>
                </c:pt>
                <c:pt idx="6339">
                  <c:v>1292.2297297297298</c:v>
                </c:pt>
                <c:pt idx="6340">
                  <c:v>1290.0337837837837</c:v>
                </c:pt>
                <c:pt idx="6341">
                  <c:v>1290.0337837837837</c:v>
                </c:pt>
                <c:pt idx="6342">
                  <c:v>1290.0337837837837</c:v>
                </c:pt>
                <c:pt idx="6343">
                  <c:v>1290.0337837837837</c:v>
                </c:pt>
                <c:pt idx="6344">
                  <c:v>1290.0337837837837</c:v>
                </c:pt>
                <c:pt idx="6345">
                  <c:v>1275.1689189189192</c:v>
                </c:pt>
                <c:pt idx="6346">
                  <c:v>1275.1689189189192</c:v>
                </c:pt>
                <c:pt idx="6347">
                  <c:v>1275.1689189189192</c:v>
                </c:pt>
                <c:pt idx="6348">
                  <c:v>1275.1689189189192</c:v>
                </c:pt>
                <c:pt idx="6349">
                  <c:v>1275.1689189189192</c:v>
                </c:pt>
                <c:pt idx="6350">
                  <c:v>1294.0878378378379</c:v>
                </c:pt>
                <c:pt idx="6351">
                  <c:v>1294.0878378378379</c:v>
                </c:pt>
                <c:pt idx="6352">
                  <c:v>1294.0878378378379</c:v>
                </c:pt>
                <c:pt idx="6353">
                  <c:v>1294.0878378378379</c:v>
                </c:pt>
                <c:pt idx="6354">
                  <c:v>1294.0878378378379</c:v>
                </c:pt>
                <c:pt idx="6355">
                  <c:v>1294.9324324324327</c:v>
                </c:pt>
                <c:pt idx="6356">
                  <c:v>1294.9324324324327</c:v>
                </c:pt>
                <c:pt idx="6357">
                  <c:v>1294.9324324324327</c:v>
                </c:pt>
                <c:pt idx="6358">
                  <c:v>1294.9324324324327</c:v>
                </c:pt>
                <c:pt idx="6359">
                  <c:v>1294.9324324324327</c:v>
                </c:pt>
                <c:pt idx="6360">
                  <c:v>1253.2094594594594</c:v>
                </c:pt>
                <c:pt idx="6361">
                  <c:v>1253.2094594594594</c:v>
                </c:pt>
                <c:pt idx="6362">
                  <c:v>1253.2094594594594</c:v>
                </c:pt>
                <c:pt idx="6363">
                  <c:v>1253.2094594594594</c:v>
                </c:pt>
                <c:pt idx="6364">
                  <c:v>1253.2094594594594</c:v>
                </c:pt>
                <c:pt idx="6365">
                  <c:v>1275.9290540540539</c:v>
                </c:pt>
                <c:pt idx="6366">
                  <c:v>1275.9290540540539</c:v>
                </c:pt>
                <c:pt idx="6367">
                  <c:v>1275.9290540540539</c:v>
                </c:pt>
                <c:pt idx="6368">
                  <c:v>1275.9290540540539</c:v>
                </c:pt>
                <c:pt idx="6369">
                  <c:v>1275.9290540540539</c:v>
                </c:pt>
                <c:pt idx="6370">
                  <c:v>1261.6554054054054</c:v>
                </c:pt>
                <c:pt idx="6371">
                  <c:v>1261.6554054054054</c:v>
                </c:pt>
                <c:pt idx="6372">
                  <c:v>1261.6554054054054</c:v>
                </c:pt>
                <c:pt idx="6373">
                  <c:v>1261.6554054054054</c:v>
                </c:pt>
                <c:pt idx="6374">
                  <c:v>1261.6554054054054</c:v>
                </c:pt>
                <c:pt idx="6375">
                  <c:v>1254.3918918918919</c:v>
                </c:pt>
                <c:pt idx="6376">
                  <c:v>1254.3918918918919</c:v>
                </c:pt>
                <c:pt idx="6377">
                  <c:v>1254.3918918918919</c:v>
                </c:pt>
                <c:pt idx="6378">
                  <c:v>1254.3918918918919</c:v>
                </c:pt>
                <c:pt idx="6379">
                  <c:v>1254.3918918918919</c:v>
                </c:pt>
                <c:pt idx="6380">
                  <c:v>1259.7128378378379</c:v>
                </c:pt>
                <c:pt idx="6381">
                  <c:v>1259.7128378378379</c:v>
                </c:pt>
                <c:pt idx="6382">
                  <c:v>1259.7128378378379</c:v>
                </c:pt>
                <c:pt idx="6383">
                  <c:v>1259.7128378378379</c:v>
                </c:pt>
                <c:pt idx="6384">
                  <c:v>1259.7128378378379</c:v>
                </c:pt>
                <c:pt idx="6385">
                  <c:v>1262.9222972972973</c:v>
                </c:pt>
                <c:pt idx="6386">
                  <c:v>1262.9222972972973</c:v>
                </c:pt>
                <c:pt idx="6387">
                  <c:v>1262.9222972972973</c:v>
                </c:pt>
                <c:pt idx="6388">
                  <c:v>1262.9222972972973</c:v>
                </c:pt>
                <c:pt idx="6389">
                  <c:v>1262.9222972972973</c:v>
                </c:pt>
                <c:pt idx="6390">
                  <c:v>1280.0675675675677</c:v>
                </c:pt>
                <c:pt idx="6391">
                  <c:v>1280.0675675675677</c:v>
                </c:pt>
                <c:pt idx="6392">
                  <c:v>1280.0675675675677</c:v>
                </c:pt>
                <c:pt idx="6393">
                  <c:v>1280.0675675675677</c:v>
                </c:pt>
                <c:pt idx="6394">
                  <c:v>1280.0675675675677</c:v>
                </c:pt>
                <c:pt idx="6395">
                  <c:v>1266.4695945945946</c:v>
                </c:pt>
                <c:pt idx="6396">
                  <c:v>1266.4695945945946</c:v>
                </c:pt>
                <c:pt idx="6397">
                  <c:v>1266.4695945945946</c:v>
                </c:pt>
                <c:pt idx="6398">
                  <c:v>1266.4695945945946</c:v>
                </c:pt>
                <c:pt idx="6399">
                  <c:v>1266.4695945945946</c:v>
                </c:pt>
                <c:pt idx="6400">
                  <c:v>1302.1114864864865</c:v>
                </c:pt>
                <c:pt idx="6401">
                  <c:v>1302.1114864864865</c:v>
                </c:pt>
                <c:pt idx="6402">
                  <c:v>1302.1114864864865</c:v>
                </c:pt>
                <c:pt idx="6403">
                  <c:v>1302.1114864864865</c:v>
                </c:pt>
                <c:pt idx="6404">
                  <c:v>1302.1114864864865</c:v>
                </c:pt>
                <c:pt idx="6405">
                  <c:v>1270.6925675675675</c:v>
                </c:pt>
                <c:pt idx="6406">
                  <c:v>1270.6925675675675</c:v>
                </c:pt>
                <c:pt idx="6407">
                  <c:v>1270.6925675675675</c:v>
                </c:pt>
                <c:pt idx="6408">
                  <c:v>1270.6925675675675</c:v>
                </c:pt>
                <c:pt idx="6409">
                  <c:v>1270.6925675675675</c:v>
                </c:pt>
                <c:pt idx="6410">
                  <c:v>1319.0033783783786</c:v>
                </c:pt>
                <c:pt idx="6411">
                  <c:v>1319.0033783783786</c:v>
                </c:pt>
                <c:pt idx="6412">
                  <c:v>1319.0033783783786</c:v>
                </c:pt>
                <c:pt idx="6413">
                  <c:v>1319.0033783783786</c:v>
                </c:pt>
                <c:pt idx="6414">
                  <c:v>1319.0033783783786</c:v>
                </c:pt>
                <c:pt idx="6415">
                  <c:v>1262.668918918919</c:v>
                </c:pt>
                <c:pt idx="6416">
                  <c:v>1262.668918918919</c:v>
                </c:pt>
                <c:pt idx="6417">
                  <c:v>1262.668918918919</c:v>
                </c:pt>
                <c:pt idx="6418">
                  <c:v>1262.668918918919</c:v>
                </c:pt>
                <c:pt idx="6419">
                  <c:v>1262.668918918919</c:v>
                </c:pt>
                <c:pt idx="6420">
                  <c:v>1278.293918918919</c:v>
                </c:pt>
                <c:pt idx="6421">
                  <c:v>1278.293918918919</c:v>
                </c:pt>
                <c:pt idx="6422">
                  <c:v>1278.293918918919</c:v>
                </c:pt>
                <c:pt idx="6423">
                  <c:v>1278.293918918919</c:v>
                </c:pt>
                <c:pt idx="6424">
                  <c:v>1278.293918918919</c:v>
                </c:pt>
                <c:pt idx="6425">
                  <c:v>1252.5337837837837</c:v>
                </c:pt>
                <c:pt idx="6426">
                  <c:v>1252.5337837837837</c:v>
                </c:pt>
                <c:pt idx="6427">
                  <c:v>1252.5337837837837</c:v>
                </c:pt>
                <c:pt idx="6428">
                  <c:v>1252.5337837837837</c:v>
                </c:pt>
                <c:pt idx="6429">
                  <c:v>1252.5337837837837</c:v>
                </c:pt>
                <c:pt idx="6430">
                  <c:v>1260.8952702702704</c:v>
                </c:pt>
                <c:pt idx="6431">
                  <c:v>1260.8952702702704</c:v>
                </c:pt>
                <c:pt idx="6432">
                  <c:v>1260.8952702702704</c:v>
                </c:pt>
                <c:pt idx="6433">
                  <c:v>1260.8952702702704</c:v>
                </c:pt>
                <c:pt idx="6434">
                  <c:v>1260.8952702702704</c:v>
                </c:pt>
                <c:pt idx="6435">
                  <c:v>1273.7331081081081</c:v>
                </c:pt>
                <c:pt idx="6436">
                  <c:v>1273.7331081081081</c:v>
                </c:pt>
                <c:pt idx="6437">
                  <c:v>1273.7331081081081</c:v>
                </c:pt>
                <c:pt idx="6438">
                  <c:v>1273.7331081081081</c:v>
                </c:pt>
                <c:pt idx="6439">
                  <c:v>1273.7331081081081</c:v>
                </c:pt>
                <c:pt idx="6440">
                  <c:v>1258.4459459459461</c:v>
                </c:pt>
                <c:pt idx="6441">
                  <c:v>1258.4459459459461</c:v>
                </c:pt>
                <c:pt idx="6442">
                  <c:v>1258.4459459459461</c:v>
                </c:pt>
                <c:pt idx="6443">
                  <c:v>1258.4459459459461</c:v>
                </c:pt>
                <c:pt idx="6444">
                  <c:v>1258.4459459459461</c:v>
                </c:pt>
                <c:pt idx="6445">
                  <c:v>1303.3783783783783</c:v>
                </c:pt>
                <c:pt idx="6446">
                  <c:v>1303.3783783783783</c:v>
                </c:pt>
                <c:pt idx="6447">
                  <c:v>1303.3783783783783</c:v>
                </c:pt>
                <c:pt idx="6448">
                  <c:v>1303.3783783783783</c:v>
                </c:pt>
                <c:pt idx="6449">
                  <c:v>1303.3783783783783</c:v>
                </c:pt>
                <c:pt idx="6450">
                  <c:v>1261.739864864865</c:v>
                </c:pt>
                <c:pt idx="6451">
                  <c:v>1261.739864864865</c:v>
                </c:pt>
                <c:pt idx="6452">
                  <c:v>1261.739864864865</c:v>
                </c:pt>
                <c:pt idx="6453">
                  <c:v>1261.739864864865</c:v>
                </c:pt>
                <c:pt idx="6454">
                  <c:v>1261.739864864865</c:v>
                </c:pt>
                <c:pt idx="6455">
                  <c:v>1289.1047297297298</c:v>
                </c:pt>
                <c:pt idx="6456">
                  <c:v>1289.1047297297298</c:v>
                </c:pt>
                <c:pt idx="6457">
                  <c:v>1289.1047297297298</c:v>
                </c:pt>
                <c:pt idx="6458">
                  <c:v>1289.1047297297298</c:v>
                </c:pt>
                <c:pt idx="6459">
                  <c:v>1289.1047297297298</c:v>
                </c:pt>
                <c:pt idx="6460">
                  <c:v>1277.8716216216217</c:v>
                </c:pt>
                <c:pt idx="6461">
                  <c:v>1277.8716216216217</c:v>
                </c:pt>
                <c:pt idx="6462">
                  <c:v>1277.8716216216217</c:v>
                </c:pt>
                <c:pt idx="6463">
                  <c:v>1277.8716216216217</c:v>
                </c:pt>
                <c:pt idx="6464">
                  <c:v>1277.8716216216217</c:v>
                </c:pt>
                <c:pt idx="6465">
                  <c:v>1280.3209459459461</c:v>
                </c:pt>
                <c:pt idx="6466">
                  <c:v>1280.3209459459461</c:v>
                </c:pt>
                <c:pt idx="6467">
                  <c:v>1280.3209459459461</c:v>
                </c:pt>
                <c:pt idx="6468">
                  <c:v>1280.3209459459461</c:v>
                </c:pt>
                <c:pt idx="6469">
                  <c:v>1280.3209459459461</c:v>
                </c:pt>
                <c:pt idx="6470">
                  <c:v>1294.9324324324327</c:v>
                </c:pt>
                <c:pt idx="6471">
                  <c:v>1294.9324324324327</c:v>
                </c:pt>
                <c:pt idx="6472">
                  <c:v>1294.9324324324327</c:v>
                </c:pt>
                <c:pt idx="6473">
                  <c:v>1294.9324324324327</c:v>
                </c:pt>
                <c:pt idx="6474">
                  <c:v>1294.9324324324327</c:v>
                </c:pt>
                <c:pt idx="6475">
                  <c:v>1287.7533783783783</c:v>
                </c:pt>
                <c:pt idx="6476">
                  <c:v>1287.7533783783783</c:v>
                </c:pt>
                <c:pt idx="6477">
                  <c:v>1287.7533783783783</c:v>
                </c:pt>
                <c:pt idx="6478">
                  <c:v>1287.7533783783783</c:v>
                </c:pt>
                <c:pt idx="6479">
                  <c:v>1287.7533783783783</c:v>
                </c:pt>
                <c:pt idx="6480">
                  <c:v>1300.168918918919</c:v>
                </c:pt>
                <c:pt idx="6481">
                  <c:v>1300.168918918919</c:v>
                </c:pt>
                <c:pt idx="6482">
                  <c:v>1300.168918918919</c:v>
                </c:pt>
                <c:pt idx="6483">
                  <c:v>1300.168918918919</c:v>
                </c:pt>
                <c:pt idx="6484">
                  <c:v>1300.168918918919</c:v>
                </c:pt>
                <c:pt idx="6485">
                  <c:v>1284.9662162162163</c:v>
                </c:pt>
                <c:pt idx="6486">
                  <c:v>1284.9662162162163</c:v>
                </c:pt>
                <c:pt idx="6487">
                  <c:v>1284.9662162162163</c:v>
                </c:pt>
                <c:pt idx="6488">
                  <c:v>1284.9662162162163</c:v>
                </c:pt>
                <c:pt idx="6489">
                  <c:v>1284.9662162162163</c:v>
                </c:pt>
                <c:pt idx="6490">
                  <c:v>1284.9662162162163</c:v>
                </c:pt>
                <c:pt idx="6491">
                  <c:v>1284.9662162162163</c:v>
                </c:pt>
                <c:pt idx="6492">
                  <c:v>1284.9662162162163</c:v>
                </c:pt>
                <c:pt idx="6493">
                  <c:v>1284.9662162162163</c:v>
                </c:pt>
                <c:pt idx="6494">
                  <c:v>1284.9662162162163</c:v>
                </c:pt>
                <c:pt idx="6495">
                  <c:v>1280.6587837837837</c:v>
                </c:pt>
                <c:pt idx="6496">
                  <c:v>1280.6587837837837</c:v>
                </c:pt>
                <c:pt idx="6497">
                  <c:v>1280.6587837837837</c:v>
                </c:pt>
                <c:pt idx="6498">
                  <c:v>1280.6587837837837</c:v>
                </c:pt>
                <c:pt idx="6499">
                  <c:v>1280.6587837837837</c:v>
                </c:pt>
                <c:pt idx="6500">
                  <c:v>1289.864864864865</c:v>
                </c:pt>
                <c:pt idx="6501">
                  <c:v>1289.864864864865</c:v>
                </c:pt>
                <c:pt idx="6502">
                  <c:v>1289.864864864865</c:v>
                </c:pt>
                <c:pt idx="6503">
                  <c:v>1289.864864864865</c:v>
                </c:pt>
                <c:pt idx="6504">
                  <c:v>1289.864864864865</c:v>
                </c:pt>
                <c:pt idx="6505">
                  <c:v>1289.2736486486488</c:v>
                </c:pt>
                <c:pt idx="6506">
                  <c:v>1289.2736486486488</c:v>
                </c:pt>
                <c:pt idx="6507">
                  <c:v>1289.2736486486488</c:v>
                </c:pt>
                <c:pt idx="6508">
                  <c:v>1289.2736486486488</c:v>
                </c:pt>
                <c:pt idx="6509">
                  <c:v>1289.2736486486488</c:v>
                </c:pt>
                <c:pt idx="6510">
                  <c:v>1295.9459459459461</c:v>
                </c:pt>
                <c:pt idx="6511">
                  <c:v>1295.9459459459461</c:v>
                </c:pt>
                <c:pt idx="6512">
                  <c:v>1295.9459459459461</c:v>
                </c:pt>
                <c:pt idx="6513">
                  <c:v>1295.9459459459461</c:v>
                </c:pt>
                <c:pt idx="6514">
                  <c:v>1295.9459459459461</c:v>
                </c:pt>
                <c:pt idx="6515">
                  <c:v>1282.9391891891892</c:v>
                </c:pt>
                <c:pt idx="6516">
                  <c:v>1282.9391891891892</c:v>
                </c:pt>
                <c:pt idx="6517">
                  <c:v>1282.9391891891892</c:v>
                </c:pt>
                <c:pt idx="6518">
                  <c:v>1282.9391891891892</c:v>
                </c:pt>
                <c:pt idx="6519">
                  <c:v>1282.9391891891892</c:v>
                </c:pt>
                <c:pt idx="6520">
                  <c:v>1295.9459459459461</c:v>
                </c:pt>
                <c:pt idx="6521">
                  <c:v>1295.9459459459461</c:v>
                </c:pt>
                <c:pt idx="6522">
                  <c:v>1295.9459459459461</c:v>
                </c:pt>
                <c:pt idx="6523">
                  <c:v>1295.9459459459461</c:v>
                </c:pt>
                <c:pt idx="6524">
                  <c:v>1295.9459459459461</c:v>
                </c:pt>
                <c:pt idx="6525">
                  <c:v>1297.8040540540539</c:v>
                </c:pt>
                <c:pt idx="6526">
                  <c:v>1297.8040540540539</c:v>
                </c:pt>
                <c:pt idx="6527">
                  <c:v>1297.8040540540539</c:v>
                </c:pt>
                <c:pt idx="6528">
                  <c:v>1297.8040540540539</c:v>
                </c:pt>
                <c:pt idx="6529">
                  <c:v>1297.8040540540539</c:v>
                </c:pt>
                <c:pt idx="6530">
                  <c:v>1312.4155405405406</c:v>
                </c:pt>
                <c:pt idx="6531">
                  <c:v>1312.4155405405406</c:v>
                </c:pt>
                <c:pt idx="6532">
                  <c:v>1312.4155405405406</c:v>
                </c:pt>
                <c:pt idx="6533">
                  <c:v>1312.4155405405406</c:v>
                </c:pt>
                <c:pt idx="6534">
                  <c:v>1312.4155405405406</c:v>
                </c:pt>
                <c:pt idx="6535">
                  <c:v>1321.0304054054054</c:v>
                </c:pt>
                <c:pt idx="6536">
                  <c:v>1321.0304054054054</c:v>
                </c:pt>
                <c:pt idx="6537">
                  <c:v>1321.0304054054054</c:v>
                </c:pt>
                <c:pt idx="6538">
                  <c:v>1321.0304054054054</c:v>
                </c:pt>
                <c:pt idx="6539">
                  <c:v>1321.0304054054054</c:v>
                </c:pt>
                <c:pt idx="6540">
                  <c:v>1315.8783783783783</c:v>
                </c:pt>
                <c:pt idx="6541">
                  <c:v>1315.8783783783783</c:v>
                </c:pt>
                <c:pt idx="6542">
                  <c:v>1315.8783783783783</c:v>
                </c:pt>
                <c:pt idx="6543">
                  <c:v>1315.8783783783783</c:v>
                </c:pt>
                <c:pt idx="6544">
                  <c:v>1315.8783783783783</c:v>
                </c:pt>
                <c:pt idx="6545">
                  <c:v>1326.1824324324325</c:v>
                </c:pt>
                <c:pt idx="6546">
                  <c:v>1326.1824324324325</c:v>
                </c:pt>
                <c:pt idx="6547">
                  <c:v>1326.1824324324325</c:v>
                </c:pt>
                <c:pt idx="6548">
                  <c:v>1326.1824324324325</c:v>
                </c:pt>
                <c:pt idx="6549">
                  <c:v>1326.1824324324325</c:v>
                </c:pt>
                <c:pt idx="6550">
                  <c:v>1322.8040540540542</c:v>
                </c:pt>
                <c:pt idx="6551">
                  <c:v>1322.8040540540542</c:v>
                </c:pt>
                <c:pt idx="6552">
                  <c:v>1322.8040540540542</c:v>
                </c:pt>
                <c:pt idx="6553">
                  <c:v>1322.8040540540542</c:v>
                </c:pt>
                <c:pt idx="6554">
                  <c:v>1322.8040540540542</c:v>
                </c:pt>
                <c:pt idx="6555">
                  <c:v>1278.6317567567569</c:v>
                </c:pt>
                <c:pt idx="6556">
                  <c:v>1278.6317567567569</c:v>
                </c:pt>
                <c:pt idx="6557">
                  <c:v>1278.6317567567569</c:v>
                </c:pt>
                <c:pt idx="6558">
                  <c:v>1278.6317567567569</c:v>
                </c:pt>
                <c:pt idx="6559">
                  <c:v>1278.6317567567569</c:v>
                </c:pt>
                <c:pt idx="6560">
                  <c:v>1396.706081081081</c:v>
                </c:pt>
                <c:pt idx="6561">
                  <c:v>1396.706081081081</c:v>
                </c:pt>
                <c:pt idx="6562">
                  <c:v>1396.706081081081</c:v>
                </c:pt>
                <c:pt idx="6563">
                  <c:v>1396.706081081081</c:v>
                </c:pt>
                <c:pt idx="6564">
                  <c:v>1396.706081081081</c:v>
                </c:pt>
                <c:pt idx="6565">
                  <c:v>1323.0574324324325</c:v>
                </c:pt>
                <c:pt idx="6566">
                  <c:v>1323.0574324324325</c:v>
                </c:pt>
                <c:pt idx="6567">
                  <c:v>1323.0574324324325</c:v>
                </c:pt>
                <c:pt idx="6568">
                  <c:v>1323.0574324324325</c:v>
                </c:pt>
                <c:pt idx="6569">
                  <c:v>1323.0574324324325</c:v>
                </c:pt>
                <c:pt idx="6570">
                  <c:v>1313.8513513513515</c:v>
                </c:pt>
                <c:pt idx="6571">
                  <c:v>1313.8513513513515</c:v>
                </c:pt>
                <c:pt idx="6572">
                  <c:v>1313.8513513513515</c:v>
                </c:pt>
                <c:pt idx="6573">
                  <c:v>1313.8513513513515</c:v>
                </c:pt>
                <c:pt idx="6574">
                  <c:v>1313.8513513513515</c:v>
                </c:pt>
                <c:pt idx="6575">
                  <c:v>1310.6418918918919</c:v>
                </c:pt>
                <c:pt idx="6576">
                  <c:v>1310.6418918918919</c:v>
                </c:pt>
                <c:pt idx="6577">
                  <c:v>1310.6418918918919</c:v>
                </c:pt>
                <c:pt idx="6578">
                  <c:v>1310.6418918918919</c:v>
                </c:pt>
                <c:pt idx="6579">
                  <c:v>1310.6418918918919</c:v>
                </c:pt>
                <c:pt idx="6580">
                  <c:v>1304.9831081081084</c:v>
                </c:pt>
                <c:pt idx="6581">
                  <c:v>1304.9831081081084</c:v>
                </c:pt>
                <c:pt idx="6582">
                  <c:v>1304.9831081081084</c:v>
                </c:pt>
                <c:pt idx="6583">
                  <c:v>1304.9831081081084</c:v>
                </c:pt>
                <c:pt idx="6584">
                  <c:v>1304.9831081081084</c:v>
                </c:pt>
                <c:pt idx="6585">
                  <c:v>1298.2263513513515</c:v>
                </c:pt>
                <c:pt idx="6586">
                  <c:v>1298.2263513513515</c:v>
                </c:pt>
                <c:pt idx="6587">
                  <c:v>1298.2263513513515</c:v>
                </c:pt>
                <c:pt idx="6588">
                  <c:v>1298.2263513513515</c:v>
                </c:pt>
                <c:pt idx="6589">
                  <c:v>1298.2263513513515</c:v>
                </c:pt>
                <c:pt idx="6590">
                  <c:v>1291.4695945945948</c:v>
                </c:pt>
                <c:pt idx="6591">
                  <c:v>1291.4695945945948</c:v>
                </c:pt>
                <c:pt idx="6592">
                  <c:v>1291.4695945945948</c:v>
                </c:pt>
                <c:pt idx="6593">
                  <c:v>1291.4695945945948</c:v>
                </c:pt>
                <c:pt idx="6594">
                  <c:v>1291.4695945945948</c:v>
                </c:pt>
                <c:pt idx="6595">
                  <c:v>1288.0067567567569</c:v>
                </c:pt>
                <c:pt idx="6596">
                  <c:v>1288.0067567567569</c:v>
                </c:pt>
                <c:pt idx="6597">
                  <c:v>1288.0067567567569</c:v>
                </c:pt>
                <c:pt idx="6598">
                  <c:v>1288.0067567567569</c:v>
                </c:pt>
                <c:pt idx="6599">
                  <c:v>1288.0067567567569</c:v>
                </c:pt>
                <c:pt idx="6600">
                  <c:v>1287.2466216216217</c:v>
                </c:pt>
                <c:pt idx="6601">
                  <c:v>1287.2466216216217</c:v>
                </c:pt>
                <c:pt idx="6602">
                  <c:v>1287.2466216216217</c:v>
                </c:pt>
                <c:pt idx="6603">
                  <c:v>1287.2466216216217</c:v>
                </c:pt>
                <c:pt idx="6604">
                  <c:v>1287.2466216216217</c:v>
                </c:pt>
                <c:pt idx="6605">
                  <c:v>1287.4155405405406</c:v>
                </c:pt>
                <c:pt idx="6606">
                  <c:v>1287.4155405405406</c:v>
                </c:pt>
                <c:pt idx="6607">
                  <c:v>1287.4155405405406</c:v>
                </c:pt>
                <c:pt idx="6608">
                  <c:v>1287.4155405405406</c:v>
                </c:pt>
                <c:pt idx="6609">
                  <c:v>1287.4155405405406</c:v>
                </c:pt>
                <c:pt idx="6610">
                  <c:v>1287.0777027027027</c:v>
                </c:pt>
                <c:pt idx="6611">
                  <c:v>1287.0777027027027</c:v>
                </c:pt>
                <c:pt idx="6612">
                  <c:v>1287.0777027027027</c:v>
                </c:pt>
                <c:pt idx="6613">
                  <c:v>1287.0777027027027</c:v>
                </c:pt>
                <c:pt idx="6614">
                  <c:v>1287.0777027027027</c:v>
                </c:pt>
                <c:pt idx="6615">
                  <c:v>1287.5844594594594</c:v>
                </c:pt>
                <c:pt idx="6616">
                  <c:v>1287.5844594594594</c:v>
                </c:pt>
                <c:pt idx="6617">
                  <c:v>1287.5844594594594</c:v>
                </c:pt>
                <c:pt idx="6618">
                  <c:v>1287.5844594594594</c:v>
                </c:pt>
                <c:pt idx="6619">
                  <c:v>1287.5844594594594</c:v>
                </c:pt>
                <c:pt idx="6620">
                  <c:v>1260.6418918918919</c:v>
                </c:pt>
                <c:pt idx="6621">
                  <c:v>1260.6418918918919</c:v>
                </c:pt>
                <c:pt idx="6622">
                  <c:v>1260.6418918918919</c:v>
                </c:pt>
                <c:pt idx="6623">
                  <c:v>1260.6418918918919</c:v>
                </c:pt>
                <c:pt idx="6624">
                  <c:v>1260.6418918918919</c:v>
                </c:pt>
                <c:pt idx="6625">
                  <c:v>1260.5574324324327</c:v>
                </c:pt>
                <c:pt idx="6626">
                  <c:v>1260.5574324324327</c:v>
                </c:pt>
                <c:pt idx="6627">
                  <c:v>1260.5574324324327</c:v>
                </c:pt>
                <c:pt idx="6628">
                  <c:v>1260.5574324324327</c:v>
                </c:pt>
                <c:pt idx="6629">
                  <c:v>1260.5574324324327</c:v>
                </c:pt>
                <c:pt idx="6630">
                  <c:v>1260.8952702702704</c:v>
                </c:pt>
                <c:pt idx="6631">
                  <c:v>1260.8952702702704</c:v>
                </c:pt>
                <c:pt idx="6632">
                  <c:v>1260.8952702702704</c:v>
                </c:pt>
                <c:pt idx="6633">
                  <c:v>1260.8952702702704</c:v>
                </c:pt>
                <c:pt idx="6634">
                  <c:v>1260.8952702702704</c:v>
                </c:pt>
                <c:pt idx="6635">
                  <c:v>1261.1486486486488</c:v>
                </c:pt>
                <c:pt idx="6636">
                  <c:v>1261.1486486486488</c:v>
                </c:pt>
                <c:pt idx="6637">
                  <c:v>1261.1486486486488</c:v>
                </c:pt>
                <c:pt idx="6638">
                  <c:v>1261.1486486486488</c:v>
                </c:pt>
                <c:pt idx="6639">
                  <c:v>1261.1486486486488</c:v>
                </c:pt>
                <c:pt idx="6640">
                  <c:v>1261.9087837837837</c:v>
                </c:pt>
                <c:pt idx="6641">
                  <c:v>1261.9087837837837</c:v>
                </c:pt>
                <c:pt idx="6642">
                  <c:v>1261.9087837837837</c:v>
                </c:pt>
                <c:pt idx="6643">
                  <c:v>1261.9087837837837</c:v>
                </c:pt>
                <c:pt idx="6644">
                  <c:v>1261.9087837837837</c:v>
                </c:pt>
                <c:pt idx="6645">
                  <c:v>1261.9932432432433</c:v>
                </c:pt>
                <c:pt idx="6646">
                  <c:v>1261.9932432432433</c:v>
                </c:pt>
                <c:pt idx="6647">
                  <c:v>1261.9932432432433</c:v>
                </c:pt>
                <c:pt idx="6648">
                  <c:v>1261.9932432432433</c:v>
                </c:pt>
                <c:pt idx="6649">
                  <c:v>1261.9932432432433</c:v>
                </c:pt>
                <c:pt idx="6650">
                  <c:v>1262.668918918919</c:v>
                </c:pt>
                <c:pt idx="6651">
                  <c:v>1262.668918918919</c:v>
                </c:pt>
                <c:pt idx="6652">
                  <c:v>1262.668918918919</c:v>
                </c:pt>
                <c:pt idx="6653">
                  <c:v>1262.668918918919</c:v>
                </c:pt>
                <c:pt idx="6654">
                  <c:v>1262.668918918919</c:v>
                </c:pt>
                <c:pt idx="6655">
                  <c:v>1269.1722972972973</c:v>
                </c:pt>
                <c:pt idx="6656">
                  <c:v>1269.1722972972973</c:v>
                </c:pt>
                <c:pt idx="6657">
                  <c:v>1269.1722972972973</c:v>
                </c:pt>
                <c:pt idx="6658">
                  <c:v>1269.1722972972973</c:v>
                </c:pt>
                <c:pt idx="6659">
                  <c:v>1269.1722972972973</c:v>
                </c:pt>
                <c:pt idx="6660">
                  <c:v>1274.5777027027027</c:v>
                </c:pt>
                <c:pt idx="6661">
                  <c:v>1274.5777027027027</c:v>
                </c:pt>
                <c:pt idx="6662">
                  <c:v>1274.5777027027027</c:v>
                </c:pt>
                <c:pt idx="6663">
                  <c:v>1274.5777027027027</c:v>
                </c:pt>
                <c:pt idx="6664">
                  <c:v>1274.5777027027027</c:v>
                </c:pt>
                <c:pt idx="6665">
                  <c:v>1288.0912162162163</c:v>
                </c:pt>
                <c:pt idx="6666">
                  <c:v>1288.0912162162163</c:v>
                </c:pt>
                <c:pt idx="6667">
                  <c:v>1288.0912162162163</c:v>
                </c:pt>
                <c:pt idx="6668">
                  <c:v>1288.0912162162163</c:v>
                </c:pt>
                <c:pt idx="6669">
                  <c:v>1288.0912162162163</c:v>
                </c:pt>
                <c:pt idx="6670">
                  <c:v>1287.7533783783783</c:v>
                </c:pt>
                <c:pt idx="6671">
                  <c:v>1287.7533783783783</c:v>
                </c:pt>
                <c:pt idx="6672">
                  <c:v>1287.7533783783783</c:v>
                </c:pt>
                <c:pt idx="6673">
                  <c:v>1287.7533783783783</c:v>
                </c:pt>
                <c:pt idx="6674">
                  <c:v>1287.7533783783783</c:v>
                </c:pt>
                <c:pt idx="6675">
                  <c:v>1289.864864864865</c:v>
                </c:pt>
                <c:pt idx="6676">
                  <c:v>1289.864864864865</c:v>
                </c:pt>
                <c:pt idx="6677">
                  <c:v>1289.864864864865</c:v>
                </c:pt>
                <c:pt idx="6678">
                  <c:v>1289.864864864865</c:v>
                </c:pt>
                <c:pt idx="6679">
                  <c:v>1289.864864864865</c:v>
                </c:pt>
                <c:pt idx="6680">
                  <c:v>1293.918918918919</c:v>
                </c:pt>
                <c:pt idx="6681">
                  <c:v>1293.918918918919</c:v>
                </c:pt>
                <c:pt idx="6682">
                  <c:v>1293.918918918919</c:v>
                </c:pt>
                <c:pt idx="6683">
                  <c:v>1293.918918918919</c:v>
                </c:pt>
                <c:pt idx="6684">
                  <c:v>1293.918918918919</c:v>
                </c:pt>
                <c:pt idx="6685">
                  <c:v>1290.793918918919</c:v>
                </c:pt>
                <c:pt idx="6686">
                  <c:v>1290.793918918919</c:v>
                </c:pt>
                <c:pt idx="6687">
                  <c:v>1290.793918918919</c:v>
                </c:pt>
                <c:pt idx="6688">
                  <c:v>1290.793918918919</c:v>
                </c:pt>
                <c:pt idx="6689">
                  <c:v>1290.793918918919</c:v>
                </c:pt>
                <c:pt idx="6690">
                  <c:v>1291.8074324324325</c:v>
                </c:pt>
                <c:pt idx="6691">
                  <c:v>1291.8074324324325</c:v>
                </c:pt>
                <c:pt idx="6692">
                  <c:v>1291.8074324324325</c:v>
                </c:pt>
                <c:pt idx="6693">
                  <c:v>1291.8074324324325</c:v>
                </c:pt>
                <c:pt idx="6694">
                  <c:v>1291.8074324324325</c:v>
                </c:pt>
                <c:pt idx="6695">
                  <c:v>1292.989864864865</c:v>
                </c:pt>
                <c:pt idx="6696">
                  <c:v>1292.989864864865</c:v>
                </c:pt>
                <c:pt idx="6697">
                  <c:v>1292.989864864865</c:v>
                </c:pt>
                <c:pt idx="6698">
                  <c:v>1292.989864864865</c:v>
                </c:pt>
                <c:pt idx="6699">
                  <c:v>1292.989864864865</c:v>
                </c:pt>
                <c:pt idx="6700">
                  <c:v>1292.3986486486485</c:v>
                </c:pt>
                <c:pt idx="6701">
                  <c:v>1292.3986486486485</c:v>
                </c:pt>
                <c:pt idx="6702">
                  <c:v>1292.3986486486485</c:v>
                </c:pt>
                <c:pt idx="6703">
                  <c:v>1292.3986486486485</c:v>
                </c:pt>
                <c:pt idx="6704">
                  <c:v>1292.3986486486485</c:v>
                </c:pt>
                <c:pt idx="6705">
                  <c:v>1300.0844594594596</c:v>
                </c:pt>
                <c:pt idx="6706">
                  <c:v>1300.0844594594596</c:v>
                </c:pt>
                <c:pt idx="6707">
                  <c:v>1300.0844594594596</c:v>
                </c:pt>
                <c:pt idx="6708">
                  <c:v>1300.0844594594596</c:v>
                </c:pt>
                <c:pt idx="6709">
                  <c:v>1300.0844594594596</c:v>
                </c:pt>
                <c:pt idx="6710">
                  <c:v>1300.6756756756758</c:v>
                </c:pt>
                <c:pt idx="6711">
                  <c:v>1300.6756756756758</c:v>
                </c:pt>
                <c:pt idx="6712">
                  <c:v>1300.6756756756758</c:v>
                </c:pt>
                <c:pt idx="6713">
                  <c:v>1300.6756756756758</c:v>
                </c:pt>
                <c:pt idx="6714">
                  <c:v>1300.6756756756758</c:v>
                </c:pt>
                <c:pt idx="6715">
                  <c:v>1301.3513513513515</c:v>
                </c:pt>
                <c:pt idx="6716">
                  <c:v>1301.3513513513515</c:v>
                </c:pt>
                <c:pt idx="6717">
                  <c:v>1301.3513513513515</c:v>
                </c:pt>
                <c:pt idx="6718">
                  <c:v>1301.3513513513515</c:v>
                </c:pt>
                <c:pt idx="6719">
                  <c:v>1301.3513513513515</c:v>
                </c:pt>
                <c:pt idx="6720">
                  <c:v>1294.6790540540542</c:v>
                </c:pt>
                <c:pt idx="6721">
                  <c:v>1294.6790540540542</c:v>
                </c:pt>
                <c:pt idx="6722">
                  <c:v>1294.6790540540542</c:v>
                </c:pt>
                <c:pt idx="6723">
                  <c:v>1294.6790540540542</c:v>
                </c:pt>
                <c:pt idx="6724">
                  <c:v>1294.6790540540542</c:v>
                </c:pt>
                <c:pt idx="6725">
                  <c:v>1303.8006756756756</c:v>
                </c:pt>
                <c:pt idx="6726">
                  <c:v>1303.8006756756756</c:v>
                </c:pt>
                <c:pt idx="6727">
                  <c:v>1303.8006756756756</c:v>
                </c:pt>
                <c:pt idx="6728">
                  <c:v>1303.8006756756756</c:v>
                </c:pt>
                <c:pt idx="6729">
                  <c:v>1303.8006756756756</c:v>
                </c:pt>
                <c:pt idx="6730">
                  <c:v>1320.0168918918919</c:v>
                </c:pt>
                <c:pt idx="6731">
                  <c:v>1320.0168918918919</c:v>
                </c:pt>
                <c:pt idx="6732">
                  <c:v>1320.0168918918919</c:v>
                </c:pt>
                <c:pt idx="6733">
                  <c:v>1320.0168918918919</c:v>
                </c:pt>
                <c:pt idx="6734">
                  <c:v>1320.0168918918919</c:v>
                </c:pt>
                <c:pt idx="6735">
                  <c:v>1322.1283783783783</c:v>
                </c:pt>
                <c:pt idx="6736">
                  <c:v>1322.1283783783783</c:v>
                </c:pt>
                <c:pt idx="6737">
                  <c:v>1322.1283783783783</c:v>
                </c:pt>
                <c:pt idx="6738">
                  <c:v>1322.1283783783783</c:v>
                </c:pt>
                <c:pt idx="6739">
                  <c:v>1322.1283783783783</c:v>
                </c:pt>
                <c:pt idx="6740">
                  <c:v>1324.0709459459461</c:v>
                </c:pt>
                <c:pt idx="6741">
                  <c:v>1324.0709459459461</c:v>
                </c:pt>
                <c:pt idx="6742">
                  <c:v>1324.0709459459461</c:v>
                </c:pt>
                <c:pt idx="6743">
                  <c:v>1324.0709459459461</c:v>
                </c:pt>
                <c:pt idx="6744">
                  <c:v>1324.0709459459461</c:v>
                </c:pt>
                <c:pt idx="6745">
                  <c:v>1326.1824324324325</c:v>
                </c:pt>
                <c:pt idx="6746">
                  <c:v>1326.1824324324325</c:v>
                </c:pt>
                <c:pt idx="6747">
                  <c:v>1326.1824324324325</c:v>
                </c:pt>
                <c:pt idx="6748">
                  <c:v>1326.1824324324325</c:v>
                </c:pt>
                <c:pt idx="6749">
                  <c:v>1326.1824324324325</c:v>
                </c:pt>
                <c:pt idx="6750">
                  <c:v>1329.0540540540542</c:v>
                </c:pt>
                <c:pt idx="6751">
                  <c:v>1329.0540540540542</c:v>
                </c:pt>
                <c:pt idx="6752">
                  <c:v>1329.0540540540542</c:v>
                </c:pt>
                <c:pt idx="6753">
                  <c:v>1329.0540540540542</c:v>
                </c:pt>
                <c:pt idx="6754">
                  <c:v>1329.0540540540542</c:v>
                </c:pt>
                <c:pt idx="6755">
                  <c:v>1329.7297297297298</c:v>
                </c:pt>
                <c:pt idx="6756">
                  <c:v>1329.7297297297298</c:v>
                </c:pt>
                <c:pt idx="6757">
                  <c:v>1329.7297297297298</c:v>
                </c:pt>
                <c:pt idx="6758">
                  <c:v>1329.7297297297298</c:v>
                </c:pt>
                <c:pt idx="6759">
                  <c:v>1329.7297297297298</c:v>
                </c:pt>
                <c:pt idx="6760">
                  <c:v>1330.8277027027027</c:v>
                </c:pt>
                <c:pt idx="6761">
                  <c:v>1330.8277027027027</c:v>
                </c:pt>
                <c:pt idx="6762">
                  <c:v>1330.8277027027027</c:v>
                </c:pt>
                <c:pt idx="6763">
                  <c:v>1330.8277027027027</c:v>
                </c:pt>
                <c:pt idx="6764">
                  <c:v>1330.8277027027027</c:v>
                </c:pt>
                <c:pt idx="6765">
                  <c:v>1331.2500000000002</c:v>
                </c:pt>
                <c:pt idx="6766">
                  <c:v>1331.2500000000002</c:v>
                </c:pt>
                <c:pt idx="6767">
                  <c:v>1331.2500000000002</c:v>
                </c:pt>
                <c:pt idx="6768">
                  <c:v>1331.2500000000002</c:v>
                </c:pt>
                <c:pt idx="6769">
                  <c:v>1331.2500000000002</c:v>
                </c:pt>
                <c:pt idx="6770">
                  <c:v>1331.5878378378379</c:v>
                </c:pt>
                <c:pt idx="6771">
                  <c:v>1331.5878378378379</c:v>
                </c:pt>
                <c:pt idx="6772">
                  <c:v>1331.5878378378379</c:v>
                </c:pt>
                <c:pt idx="6773">
                  <c:v>1331.5878378378379</c:v>
                </c:pt>
                <c:pt idx="6774">
                  <c:v>1331.5878378378379</c:v>
                </c:pt>
                <c:pt idx="6775">
                  <c:v>1350.6756756756758</c:v>
                </c:pt>
                <c:pt idx="6776">
                  <c:v>1350.6756756756758</c:v>
                </c:pt>
                <c:pt idx="6777">
                  <c:v>1350.6756756756758</c:v>
                </c:pt>
                <c:pt idx="6778">
                  <c:v>1350.6756756756758</c:v>
                </c:pt>
                <c:pt idx="6779">
                  <c:v>1350.6756756756758</c:v>
                </c:pt>
                <c:pt idx="6780">
                  <c:v>1351.7736486486485</c:v>
                </c:pt>
                <c:pt idx="6781">
                  <c:v>1351.7736486486485</c:v>
                </c:pt>
                <c:pt idx="6782">
                  <c:v>1351.7736486486485</c:v>
                </c:pt>
                <c:pt idx="6783">
                  <c:v>1351.7736486486485</c:v>
                </c:pt>
                <c:pt idx="6784">
                  <c:v>1351.7736486486485</c:v>
                </c:pt>
                <c:pt idx="6785">
                  <c:v>1360.9797297297298</c:v>
                </c:pt>
                <c:pt idx="6786">
                  <c:v>1360.9797297297298</c:v>
                </c:pt>
                <c:pt idx="6787">
                  <c:v>1360.9797297297298</c:v>
                </c:pt>
                <c:pt idx="6788">
                  <c:v>1360.9797297297298</c:v>
                </c:pt>
                <c:pt idx="6789">
                  <c:v>1360.9797297297298</c:v>
                </c:pt>
                <c:pt idx="6790">
                  <c:v>1385.3040540540542</c:v>
                </c:pt>
                <c:pt idx="6791">
                  <c:v>1385.3040540540542</c:v>
                </c:pt>
                <c:pt idx="6792">
                  <c:v>1385.3040540540542</c:v>
                </c:pt>
                <c:pt idx="6793">
                  <c:v>1385.3040540540542</c:v>
                </c:pt>
                <c:pt idx="6794">
                  <c:v>1385.3040540540542</c:v>
                </c:pt>
                <c:pt idx="6795">
                  <c:v>1413.6824324324325</c:v>
                </c:pt>
                <c:pt idx="6796">
                  <c:v>1413.6824324324325</c:v>
                </c:pt>
                <c:pt idx="6797">
                  <c:v>1413.6824324324325</c:v>
                </c:pt>
                <c:pt idx="6798">
                  <c:v>1413.6824324324325</c:v>
                </c:pt>
                <c:pt idx="6799">
                  <c:v>1413.6824324324325</c:v>
                </c:pt>
                <c:pt idx="6800">
                  <c:v>1416.5540540540539</c:v>
                </c:pt>
                <c:pt idx="6801">
                  <c:v>1416.5540540540539</c:v>
                </c:pt>
                <c:pt idx="6802">
                  <c:v>1416.5540540540539</c:v>
                </c:pt>
                <c:pt idx="6803">
                  <c:v>1416.5540540540539</c:v>
                </c:pt>
                <c:pt idx="6804">
                  <c:v>1416.5540540540539</c:v>
                </c:pt>
                <c:pt idx="6805">
                  <c:v>1417.3141891891892</c:v>
                </c:pt>
                <c:pt idx="6806">
                  <c:v>1417.3141891891892</c:v>
                </c:pt>
                <c:pt idx="6807">
                  <c:v>1417.3141891891892</c:v>
                </c:pt>
                <c:pt idx="6808">
                  <c:v>1417.3141891891892</c:v>
                </c:pt>
                <c:pt idx="6809">
                  <c:v>1417.3141891891892</c:v>
                </c:pt>
                <c:pt idx="6810">
                  <c:v>1422.2972972972973</c:v>
                </c:pt>
                <c:pt idx="6811">
                  <c:v>1422.2972972972973</c:v>
                </c:pt>
                <c:pt idx="6812">
                  <c:v>1422.2972972972973</c:v>
                </c:pt>
                <c:pt idx="6813">
                  <c:v>1422.2972972972973</c:v>
                </c:pt>
                <c:pt idx="6814">
                  <c:v>1422.2972972972973</c:v>
                </c:pt>
                <c:pt idx="6815">
                  <c:v>1438.5979729729731</c:v>
                </c:pt>
                <c:pt idx="6816">
                  <c:v>1438.5979729729731</c:v>
                </c:pt>
                <c:pt idx="6817">
                  <c:v>1438.5979729729731</c:v>
                </c:pt>
                <c:pt idx="6818">
                  <c:v>1438.5979729729731</c:v>
                </c:pt>
                <c:pt idx="6819">
                  <c:v>1438.5979729729731</c:v>
                </c:pt>
                <c:pt idx="6820">
                  <c:v>1440.3716216216217</c:v>
                </c:pt>
                <c:pt idx="6821">
                  <c:v>1440.3716216216217</c:v>
                </c:pt>
                <c:pt idx="6822">
                  <c:v>1440.3716216216217</c:v>
                </c:pt>
                <c:pt idx="6823">
                  <c:v>1440.3716216216217</c:v>
                </c:pt>
                <c:pt idx="6824">
                  <c:v>1440.3716216216217</c:v>
                </c:pt>
                <c:pt idx="6825">
                  <c:v>1440.7094594594594</c:v>
                </c:pt>
                <c:pt idx="6826">
                  <c:v>1440.7094594594594</c:v>
                </c:pt>
                <c:pt idx="6827">
                  <c:v>1440.7094594594594</c:v>
                </c:pt>
                <c:pt idx="6828">
                  <c:v>1440.7094594594594</c:v>
                </c:pt>
                <c:pt idx="6829">
                  <c:v>1440.7094594594594</c:v>
                </c:pt>
                <c:pt idx="6830">
                  <c:v>1440.8783783783783</c:v>
                </c:pt>
                <c:pt idx="6831">
                  <c:v>1440.8783783783783</c:v>
                </c:pt>
                <c:pt idx="6832">
                  <c:v>1440.8783783783783</c:v>
                </c:pt>
                <c:pt idx="6833">
                  <c:v>1440.8783783783783</c:v>
                </c:pt>
                <c:pt idx="6834">
                  <c:v>1440.8783783783783</c:v>
                </c:pt>
                <c:pt idx="6835">
                  <c:v>1467.3141891891894</c:v>
                </c:pt>
                <c:pt idx="6836">
                  <c:v>1467.3141891891894</c:v>
                </c:pt>
                <c:pt idx="6837">
                  <c:v>1467.3141891891894</c:v>
                </c:pt>
                <c:pt idx="6838">
                  <c:v>1467.3141891891894</c:v>
                </c:pt>
                <c:pt idx="6839">
                  <c:v>1467.3141891891894</c:v>
                </c:pt>
                <c:pt idx="6840">
                  <c:v>1467.8209459459461</c:v>
                </c:pt>
                <c:pt idx="6841">
                  <c:v>1467.8209459459461</c:v>
                </c:pt>
                <c:pt idx="6842">
                  <c:v>1467.8209459459461</c:v>
                </c:pt>
                <c:pt idx="6843">
                  <c:v>1467.8209459459461</c:v>
                </c:pt>
                <c:pt idx="6844">
                  <c:v>1467.8209459459461</c:v>
                </c:pt>
                <c:pt idx="6845">
                  <c:v>1468.0743243243246</c:v>
                </c:pt>
                <c:pt idx="6846">
                  <c:v>1468.0743243243246</c:v>
                </c:pt>
                <c:pt idx="6847">
                  <c:v>1468.0743243243246</c:v>
                </c:pt>
                <c:pt idx="6848">
                  <c:v>1468.0743243243246</c:v>
                </c:pt>
                <c:pt idx="6849">
                  <c:v>1468.0743243243246</c:v>
                </c:pt>
                <c:pt idx="6850">
                  <c:v>1468.8344594594594</c:v>
                </c:pt>
                <c:pt idx="6851">
                  <c:v>1468.8344594594594</c:v>
                </c:pt>
                <c:pt idx="6852">
                  <c:v>1468.8344594594594</c:v>
                </c:pt>
                <c:pt idx="6853">
                  <c:v>1468.8344594594594</c:v>
                </c:pt>
                <c:pt idx="6854">
                  <c:v>1468.8344594594594</c:v>
                </c:pt>
                <c:pt idx="6855">
                  <c:v>1504.9831081081081</c:v>
                </c:pt>
                <c:pt idx="6856">
                  <c:v>1504.9831081081081</c:v>
                </c:pt>
                <c:pt idx="6857">
                  <c:v>1504.9831081081081</c:v>
                </c:pt>
                <c:pt idx="6858">
                  <c:v>1504.9831081081081</c:v>
                </c:pt>
                <c:pt idx="6859">
                  <c:v>1504.9831081081081</c:v>
                </c:pt>
                <c:pt idx="6860">
                  <c:v>1551.9425675675677</c:v>
                </c:pt>
                <c:pt idx="6861">
                  <c:v>1551.9425675675677</c:v>
                </c:pt>
                <c:pt idx="6862">
                  <c:v>1551.9425675675677</c:v>
                </c:pt>
                <c:pt idx="6863">
                  <c:v>1551.9425675675677</c:v>
                </c:pt>
                <c:pt idx="6864">
                  <c:v>1551.9425675675677</c:v>
                </c:pt>
                <c:pt idx="6865">
                  <c:v>1552.7871621621625</c:v>
                </c:pt>
                <c:pt idx="6866">
                  <c:v>1552.7871621621625</c:v>
                </c:pt>
                <c:pt idx="6867">
                  <c:v>1552.7871621621625</c:v>
                </c:pt>
                <c:pt idx="6868">
                  <c:v>1552.7871621621625</c:v>
                </c:pt>
                <c:pt idx="6869">
                  <c:v>1552.7871621621625</c:v>
                </c:pt>
                <c:pt idx="6870">
                  <c:v>1553.2094594594596</c:v>
                </c:pt>
                <c:pt idx="6871">
                  <c:v>1553.2094594594596</c:v>
                </c:pt>
                <c:pt idx="6872">
                  <c:v>1553.2094594594596</c:v>
                </c:pt>
                <c:pt idx="6873">
                  <c:v>1553.2094594594596</c:v>
                </c:pt>
                <c:pt idx="6874">
                  <c:v>1553.2094594594596</c:v>
                </c:pt>
                <c:pt idx="6875">
                  <c:v>1556.7567567567567</c:v>
                </c:pt>
                <c:pt idx="6876">
                  <c:v>1556.7567567567567</c:v>
                </c:pt>
                <c:pt idx="6877">
                  <c:v>1556.7567567567567</c:v>
                </c:pt>
                <c:pt idx="6878">
                  <c:v>1556.7567567567567</c:v>
                </c:pt>
                <c:pt idx="6879">
                  <c:v>1556.7567567567567</c:v>
                </c:pt>
                <c:pt idx="6880">
                  <c:v>1582.6013513513515</c:v>
                </c:pt>
                <c:pt idx="6881">
                  <c:v>1582.6013513513515</c:v>
                </c:pt>
                <c:pt idx="6882">
                  <c:v>1582.6013513513515</c:v>
                </c:pt>
                <c:pt idx="6883">
                  <c:v>1582.6013513513515</c:v>
                </c:pt>
                <c:pt idx="6884">
                  <c:v>1582.6013513513515</c:v>
                </c:pt>
                <c:pt idx="6885">
                  <c:v>1584.1216216216217</c:v>
                </c:pt>
                <c:pt idx="6886">
                  <c:v>1584.1216216216217</c:v>
                </c:pt>
                <c:pt idx="6887">
                  <c:v>1584.1216216216217</c:v>
                </c:pt>
                <c:pt idx="6888">
                  <c:v>1584.1216216216217</c:v>
                </c:pt>
                <c:pt idx="6889">
                  <c:v>1584.1216216216217</c:v>
                </c:pt>
                <c:pt idx="6890">
                  <c:v>1585.7263513513512</c:v>
                </c:pt>
                <c:pt idx="6891">
                  <c:v>1585.7263513513512</c:v>
                </c:pt>
                <c:pt idx="6892">
                  <c:v>1585.7263513513512</c:v>
                </c:pt>
                <c:pt idx="6893">
                  <c:v>1585.7263513513512</c:v>
                </c:pt>
                <c:pt idx="6894">
                  <c:v>1585.7263513513512</c:v>
                </c:pt>
                <c:pt idx="6895">
                  <c:v>1586.9932432432433</c:v>
                </c:pt>
                <c:pt idx="6896">
                  <c:v>1586.9932432432433</c:v>
                </c:pt>
                <c:pt idx="6897">
                  <c:v>1586.9932432432433</c:v>
                </c:pt>
                <c:pt idx="6898">
                  <c:v>1586.9932432432433</c:v>
                </c:pt>
                <c:pt idx="6899">
                  <c:v>1586.9932432432433</c:v>
                </c:pt>
                <c:pt idx="6900">
                  <c:v>1618.1587837837837</c:v>
                </c:pt>
                <c:pt idx="6901">
                  <c:v>1618.1587837837837</c:v>
                </c:pt>
                <c:pt idx="6902">
                  <c:v>1618.1587837837837</c:v>
                </c:pt>
                <c:pt idx="6903">
                  <c:v>1618.1587837837837</c:v>
                </c:pt>
                <c:pt idx="6904">
                  <c:v>1618.1587837837837</c:v>
                </c:pt>
                <c:pt idx="6905">
                  <c:v>1617.2297297297298</c:v>
                </c:pt>
                <c:pt idx="6906">
                  <c:v>1617.2297297297298</c:v>
                </c:pt>
                <c:pt idx="6907">
                  <c:v>1617.2297297297298</c:v>
                </c:pt>
                <c:pt idx="6908">
                  <c:v>1617.2297297297298</c:v>
                </c:pt>
                <c:pt idx="6909">
                  <c:v>1617.2297297297298</c:v>
                </c:pt>
                <c:pt idx="6910">
                  <c:v>1617.9054054054052</c:v>
                </c:pt>
                <c:pt idx="6911">
                  <c:v>1617.9054054054052</c:v>
                </c:pt>
                <c:pt idx="6912">
                  <c:v>1617.9054054054052</c:v>
                </c:pt>
                <c:pt idx="6913">
                  <c:v>1617.9054054054052</c:v>
                </c:pt>
                <c:pt idx="6914">
                  <c:v>1617.9054054054052</c:v>
                </c:pt>
                <c:pt idx="6915">
                  <c:v>1622.5506756756758</c:v>
                </c:pt>
                <c:pt idx="6916">
                  <c:v>1622.5506756756758</c:v>
                </c:pt>
                <c:pt idx="6917">
                  <c:v>1622.5506756756758</c:v>
                </c:pt>
                <c:pt idx="6918">
                  <c:v>1622.5506756756758</c:v>
                </c:pt>
                <c:pt idx="6919">
                  <c:v>1622.5506756756758</c:v>
                </c:pt>
                <c:pt idx="6920">
                  <c:v>1659.8817567567569</c:v>
                </c:pt>
                <c:pt idx="6921">
                  <c:v>1659.8817567567569</c:v>
                </c:pt>
                <c:pt idx="6922">
                  <c:v>1659.8817567567569</c:v>
                </c:pt>
                <c:pt idx="6923">
                  <c:v>1659.8817567567569</c:v>
                </c:pt>
                <c:pt idx="6924">
                  <c:v>1659.8817567567569</c:v>
                </c:pt>
                <c:pt idx="6925">
                  <c:v>1703.885135135135</c:v>
                </c:pt>
                <c:pt idx="6926">
                  <c:v>1703.885135135135</c:v>
                </c:pt>
                <c:pt idx="6927">
                  <c:v>1703.885135135135</c:v>
                </c:pt>
                <c:pt idx="6928">
                  <c:v>1703.885135135135</c:v>
                </c:pt>
                <c:pt idx="6929">
                  <c:v>1703.885135135135</c:v>
                </c:pt>
                <c:pt idx="6930">
                  <c:v>1705.0675675675677</c:v>
                </c:pt>
                <c:pt idx="6931">
                  <c:v>1705.0675675675677</c:v>
                </c:pt>
                <c:pt idx="6932">
                  <c:v>1705.0675675675677</c:v>
                </c:pt>
                <c:pt idx="6933">
                  <c:v>1705.0675675675677</c:v>
                </c:pt>
                <c:pt idx="6934">
                  <c:v>1705.0675675675677</c:v>
                </c:pt>
                <c:pt idx="6935">
                  <c:v>1706.7567567567569</c:v>
                </c:pt>
                <c:pt idx="6936">
                  <c:v>1706.7567567567569</c:v>
                </c:pt>
                <c:pt idx="6937">
                  <c:v>1706.7567567567569</c:v>
                </c:pt>
                <c:pt idx="6938">
                  <c:v>1706.7567567567569</c:v>
                </c:pt>
                <c:pt idx="6939">
                  <c:v>1706.7567567567569</c:v>
                </c:pt>
                <c:pt idx="6940">
                  <c:v>1709.8817567567569</c:v>
                </c:pt>
                <c:pt idx="6941">
                  <c:v>1709.8817567567569</c:v>
                </c:pt>
                <c:pt idx="6942">
                  <c:v>1709.8817567567569</c:v>
                </c:pt>
                <c:pt idx="6943">
                  <c:v>1709.8817567567569</c:v>
                </c:pt>
                <c:pt idx="6944">
                  <c:v>1709.8817567567569</c:v>
                </c:pt>
                <c:pt idx="6945">
                  <c:v>1734.7128378378379</c:v>
                </c:pt>
                <c:pt idx="6946">
                  <c:v>1734.7128378378379</c:v>
                </c:pt>
                <c:pt idx="6947">
                  <c:v>1734.7128378378379</c:v>
                </c:pt>
                <c:pt idx="6948">
                  <c:v>1734.7128378378379</c:v>
                </c:pt>
                <c:pt idx="6949">
                  <c:v>1734.7128378378379</c:v>
                </c:pt>
                <c:pt idx="6950">
                  <c:v>1736.1486486486488</c:v>
                </c:pt>
                <c:pt idx="6951">
                  <c:v>1736.1486486486488</c:v>
                </c:pt>
                <c:pt idx="6952">
                  <c:v>1736.1486486486488</c:v>
                </c:pt>
                <c:pt idx="6953">
                  <c:v>1736.1486486486488</c:v>
                </c:pt>
                <c:pt idx="6954">
                  <c:v>1736.1486486486488</c:v>
                </c:pt>
                <c:pt idx="6955">
                  <c:v>1737.331081081081</c:v>
                </c:pt>
                <c:pt idx="6956">
                  <c:v>1737.331081081081</c:v>
                </c:pt>
                <c:pt idx="6957">
                  <c:v>1737.331081081081</c:v>
                </c:pt>
                <c:pt idx="6958">
                  <c:v>1737.331081081081</c:v>
                </c:pt>
                <c:pt idx="6959">
                  <c:v>1737.331081081081</c:v>
                </c:pt>
                <c:pt idx="6960">
                  <c:v>1737.2466216216217</c:v>
                </c:pt>
                <c:pt idx="6961">
                  <c:v>1737.2466216216217</c:v>
                </c:pt>
                <c:pt idx="6962">
                  <c:v>1737.2466216216217</c:v>
                </c:pt>
                <c:pt idx="6963">
                  <c:v>1737.2466216216217</c:v>
                </c:pt>
                <c:pt idx="6964">
                  <c:v>1737.2466216216217</c:v>
                </c:pt>
                <c:pt idx="6965">
                  <c:v>1736.4020270270273</c:v>
                </c:pt>
                <c:pt idx="6966">
                  <c:v>1736.4020270270273</c:v>
                </c:pt>
                <c:pt idx="6967">
                  <c:v>1736.4020270270273</c:v>
                </c:pt>
                <c:pt idx="6968">
                  <c:v>1736.4020270270273</c:v>
                </c:pt>
                <c:pt idx="6969">
                  <c:v>1736.4020270270273</c:v>
                </c:pt>
                <c:pt idx="6970">
                  <c:v>1756.25</c:v>
                </c:pt>
                <c:pt idx="6971">
                  <c:v>1756.25</c:v>
                </c:pt>
                <c:pt idx="6972">
                  <c:v>1756.25</c:v>
                </c:pt>
                <c:pt idx="6973">
                  <c:v>1756.25</c:v>
                </c:pt>
                <c:pt idx="6974">
                  <c:v>1756.25</c:v>
                </c:pt>
                <c:pt idx="6975">
                  <c:v>1756.418918918919</c:v>
                </c:pt>
                <c:pt idx="6976">
                  <c:v>1756.418918918919</c:v>
                </c:pt>
                <c:pt idx="6977">
                  <c:v>1756.418918918919</c:v>
                </c:pt>
                <c:pt idx="6978">
                  <c:v>1756.418918918919</c:v>
                </c:pt>
                <c:pt idx="6979">
                  <c:v>1756.418918918919</c:v>
                </c:pt>
                <c:pt idx="6980">
                  <c:v>1755.489864864865</c:v>
                </c:pt>
                <c:pt idx="6981">
                  <c:v>1755.489864864865</c:v>
                </c:pt>
                <c:pt idx="6982">
                  <c:v>1755.489864864865</c:v>
                </c:pt>
                <c:pt idx="6983">
                  <c:v>1755.489864864865</c:v>
                </c:pt>
                <c:pt idx="6984">
                  <c:v>1755.489864864865</c:v>
                </c:pt>
                <c:pt idx="6985">
                  <c:v>1769.5101351351354</c:v>
                </c:pt>
                <c:pt idx="6986">
                  <c:v>1769.5101351351354</c:v>
                </c:pt>
                <c:pt idx="6987">
                  <c:v>1769.5101351351354</c:v>
                </c:pt>
                <c:pt idx="6988">
                  <c:v>1769.5101351351354</c:v>
                </c:pt>
                <c:pt idx="6989">
                  <c:v>1769.5101351351354</c:v>
                </c:pt>
                <c:pt idx="6990">
                  <c:v>1796.706081081081</c:v>
                </c:pt>
                <c:pt idx="6991">
                  <c:v>1796.706081081081</c:v>
                </c:pt>
                <c:pt idx="6992">
                  <c:v>1796.706081081081</c:v>
                </c:pt>
                <c:pt idx="6993">
                  <c:v>1796.706081081081</c:v>
                </c:pt>
                <c:pt idx="6994">
                  <c:v>1796.706081081081</c:v>
                </c:pt>
                <c:pt idx="6995">
                  <c:v>1796.6216216216217</c:v>
                </c:pt>
                <c:pt idx="6996">
                  <c:v>1796.6216216216217</c:v>
                </c:pt>
                <c:pt idx="6997">
                  <c:v>1796.6216216216217</c:v>
                </c:pt>
                <c:pt idx="6998">
                  <c:v>1796.6216216216217</c:v>
                </c:pt>
                <c:pt idx="6999">
                  <c:v>1796.6216216216217</c:v>
                </c:pt>
                <c:pt idx="7000">
                  <c:v>1798.7331081081084</c:v>
                </c:pt>
                <c:pt idx="7001">
                  <c:v>1798.7331081081084</c:v>
                </c:pt>
                <c:pt idx="7002">
                  <c:v>1798.7331081081084</c:v>
                </c:pt>
                <c:pt idx="7003">
                  <c:v>1798.7331081081084</c:v>
                </c:pt>
                <c:pt idx="7004">
                  <c:v>1798.7331081081084</c:v>
                </c:pt>
                <c:pt idx="7005">
                  <c:v>1800.8445945945948</c:v>
                </c:pt>
                <c:pt idx="7006">
                  <c:v>1800.8445945945948</c:v>
                </c:pt>
                <c:pt idx="7007">
                  <c:v>1800.8445945945948</c:v>
                </c:pt>
                <c:pt idx="7008">
                  <c:v>1800.8445945945948</c:v>
                </c:pt>
                <c:pt idx="7009">
                  <c:v>1800.8445945945948</c:v>
                </c:pt>
                <c:pt idx="7010">
                  <c:v>1808.4459459459461</c:v>
                </c:pt>
                <c:pt idx="7011">
                  <c:v>1808.4459459459461</c:v>
                </c:pt>
                <c:pt idx="7012">
                  <c:v>1808.4459459459461</c:v>
                </c:pt>
                <c:pt idx="7013">
                  <c:v>1808.4459459459461</c:v>
                </c:pt>
                <c:pt idx="7014">
                  <c:v>1808.4459459459461</c:v>
                </c:pt>
                <c:pt idx="7015">
                  <c:v>1809.7128378378379</c:v>
                </c:pt>
                <c:pt idx="7016">
                  <c:v>1809.7128378378379</c:v>
                </c:pt>
                <c:pt idx="7017">
                  <c:v>1809.7128378378379</c:v>
                </c:pt>
                <c:pt idx="7018">
                  <c:v>1809.7128378378379</c:v>
                </c:pt>
                <c:pt idx="7019">
                  <c:v>1809.7128378378379</c:v>
                </c:pt>
                <c:pt idx="7020">
                  <c:v>1811.0641891891894</c:v>
                </c:pt>
                <c:pt idx="7021">
                  <c:v>1811.0641891891894</c:v>
                </c:pt>
                <c:pt idx="7022">
                  <c:v>1811.0641891891894</c:v>
                </c:pt>
                <c:pt idx="7023">
                  <c:v>1811.0641891891894</c:v>
                </c:pt>
                <c:pt idx="7024">
                  <c:v>1811.0641891891894</c:v>
                </c:pt>
                <c:pt idx="7025">
                  <c:v>1811.4864864864867</c:v>
                </c:pt>
                <c:pt idx="7026">
                  <c:v>1811.4864864864867</c:v>
                </c:pt>
                <c:pt idx="7027">
                  <c:v>1811.4864864864867</c:v>
                </c:pt>
                <c:pt idx="7028">
                  <c:v>1811.4864864864867</c:v>
                </c:pt>
                <c:pt idx="7029">
                  <c:v>1811.4864864864867</c:v>
                </c:pt>
                <c:pt idx="7030">
                  <c:v>1811.4864864864867</c:v>
                </c:pt>
                <c:pt idx="7031">
                  <c:v>1811.4864864864867</c:v>
                </c:pt>
                <c:pt idx="7032">
                  <c:v>1811.4864864864867</c:v>
                </c:pt>
                <c:pt idx="7033">
                  <c:v>1811.4864864864867</c:v>
                </c:pt>
                <c:pt idx="7034">
                  <c:v>1811.4864864864867</c:v>
                </c:pt>
                <c:pt idx="7035">
                  <c:v>1827.8716216216217</c:v>
                </c:pt>
                <c:pt idx="7036">
                  <c:v>1827.8716216216217</c:v>
                </c:pt>
                <c:pt idx="7037">
                  <c:v>1827.8716216216217</c:v>
                </c:pt>
                <c:pt idx="7038">
                  <c:v>1827.8716216216217</c:v>
                </c:pt>
                <c:pt idx="7039">
                  <c:v>1827.8716216216217</c:v>
                </c:pt>
                <c:pt idx="7040">
                  <c:v>1827.1959459459461</c:v>
                </c:pt>
                <c:pt idx="7041">
                  <c:v>1827.1959459459461</c:v>
                </c:pt>
                <c:pt idx="7042">
                  <c:v>1827.1959459459461</c:v>
                </c:pt>
                <c:pt idx="7043">
                  <c:v>1827.1959459459461</c:v>
                </c:pt>
                <c:pt idx="7044">
                  <c:v>1827.1959459459461</c:v>
                </c:pt>
                <c:pt idx="7045">
                  <c:v>1829.2229729729734</c:v>
                </c:pt>
                <c:pt idx="7046">
                  <c:v>1829.2229729729734</c:v>
                </c:pt>
                <c:pt idx="7047">
                  <c:v>1829.2229729729734</c:v>
                </c:pt>
                <c:pt idx="7048">
                  <c:v>1829.2229729729734</c:v>
                </c:pt>
                <c:pt idx="7049">
                  <c:v>1829.2229729729734</c:v>
                </c:pt>
                <c:pt idx="7050">
                  <c:v>1825.8445945945948</c:v>
                </c:pt>
                <c:pt idx="7051">
                  <c:v>1825.8445945945948</c:v>
                </c:pt>
                <c:pt idx="7052">
                  <c:v>1825.8445945945948</c:v>
                </c:pt>
                <c:pt idx="7053">
                  <c:v>1825.8445945945948</c:v>
                </c:pt>
                <c:pt idx="7054">
                  <c:v>1825.8445945945948</c:v>
                </c:pt>
                <c:pt idx="7055">
                  <c:v>1856.7567567567569</c:v>
                </c:pt>
                <c:pt idx="7056">
                  <c:v>1856.7567567567569</c:v>
                </c:pt>
                <c:pt idx="7057">
                  <c:v>1856.7567567567569</c:v>
                </c:pt>
                <c:pt idx="7058">
                  <c:v>1856.7567567567569</c:v>
                </c:pt>
                <c:pt idx="7059">
                  <c:v>1856.7567567567569</c:v>
                </c:pt>
                <c:pt idx="7060">
                  <c:v>1859.2905405405406</c:v>
                </c:pt>
                <c:pt idx="7061">
                  <c:v>1859.2905405405406</c:v>
                </c:pt>
                <c:pt idx="7062">
                  <c:v>1859.2905405405406</c:v>
                </c:pt>
                <c:pt idx="7063">
                  <c:v>1859.2905405405406</c:v>
                </c:pt>
                <c:pt idx="7064">
                  <c:v>1859.2905405405406</c:v>
                </c:pt>
                <c:pt idx="7065">
                  <c:v>1862.8378378378379</c:v>
                </c:pt>
                <c:pt idx="7066">
                  <c:v>1862.8378378378379</c:v>
                </c:pt>
                <c:pt idx="7067">
                  <c:v>1862.8378378378379</c:v>
                </c:pt>
                <c:pt idx="7068">
                  <c:v>1862.8378378378379</c:v>
                </c:pt>
                <c:pt idx="7069">
                  <c:v>1862.8378378378379</c:v>
                </c:pt>
                <c:pt idx="7070">
                  <c:v>1862.9222972972973</c:v>
                </c:pt>
                <c:pt idx="7071">
                  <c:v>1862.9222972972973</c:v>
                </c:pt>
                <c:pt idx="7072">
                  <c:v>1862.9222972972973</c:v>
                </c:pt>
                <c:pt idx="7073">
                  <c:v>1862.9222972972973</c:v>
                </c:pt>
                <c:pt idx="7074">
                  <c:v>1862.9222972972973</c:v>
                </c:pt>
                <c:pt idx="7075">
                  <c:v>1878.8006756756758</c:v>
                </c:pt>
                <c:pt idx="7076">
                  <c:v>1878.8006756756758</c:v>
                </c:pt>
                <c:pt idx="7077">
                  <c:v>1878.8006756756758</c:v>
                </c:pt>
                <c:pt idx="7078">
                  <c:v>1878.8006756756758</c:v>
                </c:pt>
                <c:pt idx="7079">
                  <c:v>1878.8006756756758</c:v>
                </c:pt>
                <c:pt idx="7080">
                  <c:v>1883.0236486486488</c:v>
                </c:pt>
                <c:pt idx="7081">
                  <c:v>1883.0236486486488</c:v>
                </c:pt>
                <c:pt idx="7082">
                  <c:v>1883.0236486486488</c:v>
                </c:pt>
                <c:pt idx="7083">
                  <c:v>1883.0236486486488</c:v>
                </c:pt>
                <c:pt idx="7084">
                  <c:v>1883.0236486486488</c:v>
                </c:pt>
                <c:pt idx="7085">
                  <c:v>1882.9391891891894</c:v>
                </c:pt>
                <c:pt idx="7086">
                  <c:v>1882.9391891891894</c:v>
                </c:pt>
                <c:pt idx="7087">
                  <c:v>1882.9391891891894</c:v>
                </c:pt>
                <c:pt idx="7088">
                  <c:v>1882.9391891891894</c:v>
                </c:pt>
                <c:pt idx="7089">
                  <c:v>1882.9391891891894</c:v>
                </c:pt>
                <c:pt idx="7090">
                  <c:v>1882.9391891891894</c:v>
                </c:pt>
                <c:pt idx="7091">
                  <c:v>1882.9391891891894</c:v>
                </c:pt>
                <c:pt idx="7092">
                  <c:v>1882.9391891891894</c:v>
                </c:pt>
                <c:pt idx="7093">
                  <c:v>1882.9391891891894</c:v>
                </c:pt>
                <c:pt idx="7094">
                  <c:v>1882.9391891891894</c:v>
                </c:pt>
                <c:pt idx="7095">
                  <c:v>1884.1216216216217</c:v>
                </c:pt>
                <c:pt idx="7096">
                  <c:v>1884.1216216216217</c:v>
                </c:pt>
                <c:pt idx="7097">
                  <c:v>1884.1216216216217</c:v>
                </c:pt>
                <c:pt idx="7098">
                  <c:v>1884.1216216216217</c:v>
                </c:pt>
                <c:pt idx="7099">
                  <c:v>1884.1216216216217</c:v>
                </c:pt>
                <c:pt idx="7100">
                  <c:v>1903.1250000000005</c:v>
                </c:pt>
                <c:pt idx="7101">
                  <c:v>1903.1250000000005</c:v>
                </c:pt>
                <c:pt idx="7102">
                  <c:v>1903.1250000000005</c:v>
                </c:pt>
                <c:pt idx="7103">
                  <c:v>1903.1250000000005</c:v>
                </c:pt>
                <c:pt idx="7104">
                  <c:v>1903.1250000000005</c:v>
                </c:pt>
                <c:pt idx="7105">
                  <c:v>1902.8716216216217</c:v>
                </c:pt>
                <c:pt idx="7106">
                  <c:v>1902.8716216216217</c:v>
                </c:pt>
                <c:pt idx="7107">
                  <c:v>1902.8716216216217</c:v>
                </c:pt>
                <c:pt idx="7108">
                  <c:v>1902.8716216216217</c:v>
                </c:pt>
                <c:pt idx="7109">
                  <c:v>1902.8716216216217</c:v>
                </c:pt>
                <c:pt idx="7110">
                  <c:v>1932.1790540540539</c:v>
                </c:pt>
                <c:pt idx="7111">
                  <c:v>1932.1790540540539</c:v>
                </c:pt>
                <c:pt idx="7112">
                  <c:v>1932.1790540540539</c:v>
                </c:pt>
                <c:pt idx="7113">
                  <c:v>1932.1790540540539</c:v>
                </c:pt>
                <c:pt idx="7114">
                  <c:v>1932.1790540540539</c:v>
                </c:pt>
                <c:pt idx="7115">
                  <c:v>1902.1114864864867</c:v>
                </c:pt>
                <c:pt idx="7116">
                  <c:v>1902.1114864864867</c:v>
                </c:pt>
                <c:pt idx="7117">
                  <c:v>1902.1114864864867</c:v>
                </c:pt>
                <c:pt idx="7118">
                  <c:v>1902.1114864864867</c:v>
                </c:pt>
                <c:pt idx="7119">
                  <c:v>1902.1114864864867</c:v>
                </c:pt>
                <c:pt idx="7120">
                  <c:v>1921.2837837837837</c:v>
                </c:pt>
                <c:pt idx="7121">
                  <c:v>1921.2837837837837</c:v>
                </c:pt>
                <c:pt idx="7122">
                  <c:v>1921.2837837837837</c:v>
                </c:pt>
                <c:pt idx="7123">
                  <c:v>1921.2837837837837</c:v>
                </c:pt>
                <c:pt idx="7124">
                  <c:v>1921.2837837837837</c:v>
                </c:pt>
                <c:pt idx="7125">
                  <c:v>1922.2128378378379</c:v>
                </c:pt>
                <c:pt idx="7126">
                  <c:v>1922.2128378378379</c:v>
                </c:pt>
                <c:pt idx="7127">
                  <c:v>1922.2128378378379</c:v>
                </c:pt>
                <c:pt idx="7128">
                  <c:v>1922.2128378378379</c:v>
                </c:pt>
                <c:pt idx="7129">
                  <c:v>1922.2128378378379</c:v>
                </c:pt>
                <c:pt idx="7130">
                  <c:v>1922.3817567567569</c:v>
                </c:pt>
                <c:pt idx="7131">
                  <c:v>1922.3817567567569</c:v>
                </c:pt>
                <c:pt idx="7132">
                  <c:v>1922.3817567567569</c:v>
                </c:pt>
                <c:pt idx="7133">
                  <c:v>1922.3817567567569</c:v>
                </c:pt>
                <c:pt idx="7134">
                  <c:v>1922.3817567567569</c:v>
                </c:pt>
                <c:pt idx="7135">
                  <c:v>1920.1013513513517</c:v>
                </c:pt>
                <c:pt idx="7136">
                  <c:v>1920.1013513513517</c:v>
                </c:pt>
                <c:pt idx="7137">
                  <c:v>1920.1013513513517</c:v>
                </c:pt>
                <c:pt idx="7138">
                  <c:v>1920.1013513513517</c:v>
                </c:pt>
                <c:pt idx="7139">
                  <c:v>1920.1013513513517</c:v>
                </c:pt>
                <c:pt idx="7140">
                  <c:v>1935.7263513513517</c:v>
                </c:pt>
                <c:pt idx="7141">
                  <c:v>1935.7263513513517</c:v>
                </c:pt>
                <c:pt idx="7142">
                  <c:v>1935.7263513513517</c:v>
                </c:pt>
                <c:pt idx="7143">
                  <c:v>1935.7263513513517</c:v>
                </c:pt>
                <c:pt idx="7144">
                  <c:v>1935.7263513513517</c:v>
                </c:pt>
                <c:pt idx="7145">
                  <c:v>1934.6283783783783</c:v>
                </c:pt>
                <c:pt idx="7146">
                  <c:v>1934.6283783783783</c:v>
                </c:pt>
                <c:pt idx="7147">
                  <c:v>1934.6283783783783</c:v>
                </c:pt>
                <c:pt idx="7148">
                  <c:v>1934.6283783783783</c:v>
                </c:pt>
                <c:pt idx="7149">
                  <c:v>1934.6283783783783</c:v>
                </c:pt>
                <c:pt idx="7150">
                  <c:v>1935.4729729729729</c:v>
                </c:pt>
                <c:pt idx="7151">
                  <c:v>1935.4729729729729</c:v>
                </c:pt>
                <c:pt idx="7152">
                  <c:v>1935.4729729729729</c:v>
                </c:pt>
                <c:pt idx="7153">
                  <c:v>1935.4729729729729</c:v>
                </c:pt>
                <c:pt idx="7154">
                  <c:v>1935.4729729729729</c:v>
                </c:pt>
                <c:pt idx="7155">
                  <c:v>1934.543918918919</c:v>
                </c:pt>
                <c:pt idx="7156">
                  <c:v>1934.543918918919</c:v>
                </c:pt>
                <c:pt idx="7157">
                  <c:v>1934.543918918919</c:v>
                </c:pt>
                <c:pt idx="7158">
                  <c:v>1934.543918918919</c:v>
                </c:pt>
                <c:pt idx="7159">
                  <c:v>1934.543918918919</c:v>
                </c:pt>
                <c:pt idx="7160">
                  <c:v>1933.614864864865</c:v>
                </c:pt>
                <c:pt idx="7161">
                  <c:v>1933.614864864865</c:v>
                </c:pt>
                <c:pt idx="7162">
                  <c:v>1933.614864864865</c:v>
                </c:pt>
                <c:pt idx="7163">
                  <c:v>1933.614864864865</c:v>
                </c:pt>
                <c:pt idx="7164">
                  <c:v>1933.614864864865</c:v>
                </c:pt>
                <c:pt idx="7165">
                  <c:v>1949.6621621621621</c:v>
                </c:pt>
                <c:pt idx="7166">
                  <c:v>1949.6621621621621</c:v>
                </c:pt>
                <c:pt idx="7167">
                  <c:v>1949.6621621621621</c:v>
                </c:pt>
                <c:pt idx="7168">
                  <c:v>1949.6621621621621</c:v>
                </c:pt>
                <c:pt idx="7169">
                  <c:v>1949.6621621621621</c:v>
                </c:pt>
                <c:pt idx="7170">
                  <c:v>1946.875</c:v>
                </c:pt>
                <c:pt idx="7171">
                  <c:v>1946.875</c:v>
                </c:pt>
                <c:pt idx="7172">
                  <c:v>1946.875</c:v>
                </c:pt>
                <c:pt idx="7173">
                  <c:v>1946.875</c:v>
                </c:pt>
                <c:pt idx="7174">
                  <c:v>1946.875</c:v>
                </c:pt>
                <c:pt idx="7175">
                  <c:v>1945.1858108108108</c:v>
                </c:pt>
                <c:pt idx="7176">
                  <c:v>1945.1858108108108</c:v>
                </c:pt>
                <c:pt idx="7177">
                  <c:v>1945.1858108108108</c:v>
                </c:pt>
                <c:pt idx="7178">
                  <c:v>1945.1858108108108</c:v>
                </c:pt>
                <c:pt idx="7179">
                  <c:v>1945.1858108108108</c:v>
                </c:pt>
                <c:pt idx="7180">
                  <c:v>1944.5945945945948</c:v>
                </c:pt>
                <c:pt idx="7181">
                  <c:v>1944.5945945945948</c:v>
                </c:pt>
                <c:pt idx="7182">
                  <c:v>1944.5945945945948</c:v>
                </c:pt>
                <c:pt idx="7183">
                  <c:v>1944.5945945945948</c:v>
                </c:pt>
                <c:pt idx="7184">
                  <c:v>1944.5945945945948</c:v>
                </c:pt>
                <c:pt idx="7185">
                  <c:v>1945.7770270270271</c:v>
                </c:pt>
                <c:pt idx="7186">
                  <c:v>1945.7770270270271</c:v>
                </c:pt>
                <c:pt idx="7187">
                  <c:v>1945.7770270270271</c:v>
                </c:pt>
                <c:pt idx="7188">
                  <c:v>1945.7770270270271</c:v>
                </c:pt>
                <c:pt idx="7189">
                  <c:v>1945.7770270270271</c:v>
                </c:pt>
                <c:pt idx="7190">
                  <c:v>1936.4020270270271</c:v>
                </c:pt>
                <c:pt idx="7191">
                  <c:v>1936.4020270270271</c:v>
                </c:pt>
                <c:pt idx="7192">
                  <c:v>1936.4020270270271</c:v>
                </c:pt>
                <c:pt idx="7193">
                  <c:v>1936.4020270270271</c:v>
                </c:pt>
                <c:pt idx="7194">
                  <c:v>1936.4020270270271</c:v>
                </c:pt>
                <c:pt idx="7195">
                  <c:v>1935.5574324324327</c:v>
                </c:pt>
                <c:pt idx="7196">
                  <c:v>1935.5574324324327</c:v>
                </c:pt>
                <c:pt idx="7197">
                  <c:v>1935.5574324324327</c:v>
                </c:pt>
                <c:pt idx="7198">
                  <c:v>1935.5574324324327</c:v>
                </c:pt>
                <c:pt idx="7199">
                  <c:v>1935.5574324324327</c:v>
                </c:pt>
                <c:pt idx="7200">
                  <c:v>1931.1655405405404</c:v>
                </c:pt>
                <c:pt idx="7201">
                  <c:v>1931.1655405405404</c:v>
                </c:pt>
                <c:pt idx="7202">
                  <c:v>1931.1655405405404</c:v>
                </c:pt>
                <c:pt idx="7203">
                  <c:v>1931.1655405405404</c:v>
                </c:pt>
                <c:pt idx="7204">
                  <c:v>1931.1655405405404</c:v>
                </c:pt>
                <c:pt idx="7205">
                  <c:v>1939.1891891891894</c:v>
                </c:pt>
                <c:pt idx="7206">
                  <c:v>1939.1891891891894</c:v>
                </c:pt>
                <c:pt idx="7207">
                  <c:v>1939.1891891891894</c:v>
                </c:pt>
                <c:pt idx="7208">
                  <c:v>1939.1891891891894</c:v>
                </c:pt>
                <c:pt idx="7209">
                  <c:v>1939.1891891891894</c:v>
                </c:pt>
                <c:pt idx="7210">
                  <c:v>1937.2466216216217</c:v>
                </c:pt>
                <c:pt idx="7211">
                  <c:v>1937.2466216216217</c:v>
                </c:pt>
                <c:pt idx="7212">
                  <c:v>1937.2466216216217</c:v>
                </c:pt>
                <c:pt idx="7213">
                  <c:v>1937.2466216216217</c:v>
                </c:pt>
                <c:pt idx="7214">
                  <c:v>1937.2466216216217</c:v>
                </c:pt>
                <c:pt idx="7215">
                  <c:v>1936.4020270270271</c:v>
                </c:pt>
                <c:pt idx="7216">
                  <c:v>1936.4020270270271</c:v>
                </c:pt>
                <c:pt idx="7217">
                  <c:v>1936.4020270270271</c:v>
                </c:pt>
                <c:pt idx="7218">
                  <c:v>1936.4020270270271</c:v>
                </c:pt>
                <c:pt idx="7219">
                  <c:v>1936.4020270270271</c:v>
                </c:pt>
                <c:pt idx="7220">
                  <c:v>1936.0641891891892</c:v>
                </c:pt>
                <c:pt idx="7221">
                  <c:v>1936.0641891891892</c:v>
                </c:pt>
                <c:pt idx="7222">
                  <c:v>1936.0641891891892</c:v>
                </c:pt>
                <c:pt idx="7223">
                  <c:v>1936.0641891891892</c:v>
                </c:pt>
                <c:pt idx="7224">
                  <c:v>1936.0641891891892</c:v>
                </c:pt>
                <c:pt idx="7225">
                  <c:v>1936.4020270270271</c:v>
                </c:pt>
                <c:pt idx="7226">
                  <c:v>1936.4020270270271</c:v>
                </c:pt>
                <c:pt idx="7227">
                  <c:v>1936.4020270270271</c:v>
                </c:pt>
                <c:pt idx="7228">
                  <c:v>1936.4020270270271</c:v>
                </c:pt>
                <c:pt idx="7229">
                  <c:v>1936.4020270270271</c:v>
                </c:pt>
                <c:pt idx="7230">
                  <c:v>1948.4797297297298</c:v>
                </c:pt>
                <c:pt idx="7231">
                  <c:v>1948.4797297297298</c:v>
                </c:pt>
                <c:pt idx="7232">
                  <c:v>1948.4797297297298</c:v>
                </c:pt>
                <c:pt idx="7233">
                  <c:v>1948.4797297297298</c:v>
                </c:pt>
                <c:pt idx="7234">
                  <c:v>1948.4797297297298</c:v>
                </c:pt>
                <c:pt idx="7235">
                  <c:v>1935.5574324324327</c:v>
                </c:pt>
                <c:pt idx="7236">
                  <c:v>1935.5574324324327</c:v>
                </c:pt>
                <c:pt idx="7237">
                  <c:v>1935.5574324324327</c:v>
                </c:pt>
                <c:pt idx="7238">
                  <c:v>1935.5574324324327</c:v>
                </c:pt>
                <c:pt idx="7239">
                  <c:v>1935.5574324324327</c:v>
                </c:pt>
                <c:pt idx="7240">
                  <c:v>1934.6283783783783</c:v>
                </c:pt>
                <c:pt idx="7241">
                  <c:v>1934.6283783783783</c:v>
                </c:pt>
                <c:pt idx="7242">
                  <c:v>1934.6283783783783</c:v>
                </c:pt>
                <c:pt idx="7243">
                  <c:v>1934.6283783783783</c:v>
                </c:pt>
                <c:pt idx="7244">
                  <c:v>1934.6283783783783</c:v>
                </c:pt>
                <c:pt idx="7245">
                  <c:v>1930.0675675675677</c:v>
                </c:pt>
                <c:pt idx="7246">
                  <c:v>1930.0675675675677</c:v>
                </c:pt>
                <c:pt idx="7247">
                  <c:v>1930.0675675675677</c:v>
                </c:pt>
                <c:pt idx="7248">
                  <c:v>1930.0675675675677</c:v>
                </c:pt>
                <c:pt idx="7249">
                  <c:v>1930.0675675675677</c:v>
                </c:pt>
                <c:pt idx="7250">
                  <c:v>1919.4256756756758</c:v>
                </c:pt>
                <c:pt idx="7251">
                  <c:v>1919.4256756756758</c:v>
                </c:pt>
                <c:pt idx="7252">
                  <c:v>1919.4256756756758</c:v>
                </c:pt>
                <c:pt idx="7253">
                  <c:v>1919.4256756756758</c:v>
                </c:pt>
                <c:pt idx="7254">
                  <c:v>1919.4256756756758</c:v>
                </c:pt>
                <c:pt idx="7255">
                  <c:v>1919.0878378378379</c:v>
                </c:pt>
                <c:pt idx="7256">
                  <c:v>1919.0878378378379</c:v>
                </c:pt>
                <c:pt idx="7257">
                  <c:v>1919.0878378378379</c:v>
                </c:pt>
                <c:pt idx="7258">
                  <c:v>1919.0878378378379</c:v>
                </c:pt>
                <c:pt idx="7259">
                  <c:v>1919.0878378378379</c:v>
                </c:pt>
                <c:pt idx="7260">
                  <c:v>1919.0033783783786</c:v>
                </c:pt>
                <c:pt idx="7261">
                  <c:v>1919.0033783783786</c:v>
                </c:pt>
                <c:pt idx="7262">
                  <c:v>1919.0033783783786</c:v>
                </c:pt>
                <c:pt idx="7263">
                  <c:v>1919.0033783783786</c:v>
                </c:pt>
                <c:pt idx="7264">
                  <c:v>1919.0033783783786</c:v>
                </c:pt>
                <c:pt idx="7265">
                  <c:v>1921.706081081081</c:v>
                </c:pt>
                <c:pt idx="7266">
                  <c:v>1921.706081081081</c:v>
                </c:pt>
                <c:pt idx="7267">
                  <c:v>1921.706081081081</c:v>
                </c:pt>
                <c:pt idx="7268">
                  <c:v>1921.706081081081</c:v>
                </c:pt>
                <c:pt idx="7269">
                  <c:v>1921.706081081081</c:v>
                </c:pt>
                <c:pt idx="7270">
                  <c:v>1918.5810810810815</c:v>
                </c:pt>
                <c:pt idx="7271">
                  <c:v>1918.5810810810815</c:v>
                </c:pt>
                <c:pt idx="7272">
                  <c:v>1918.5810810810815</c:v>
                </c:pt>
                <c:pt idx="7273">
                  <c:v>1918.5810810810815</c:v>
                </c:pt>
                <c:pt idx="7274">
                  <c:v>1918.5810810810815</c:v>
                </c:pt>
                <c:pt idx="7275">
                  <c:v>1911.0641891891892</c:v>
                </c:pt>
                <c:pt idx="7276">
                  <c:v>1911.0641891891892</c:v>
                </c:pt>
                <c:pt idx="7277">
                  <c:v>1911.0641891891892</c:v>
                </c:pt>
                <c:pt idx="7278">
                  <c:v>1911.0641891891892</c:v>
                </c:pt>
                <c:pt idx="7279">
                  <c:v>1911.0641891891892</c:v>
                </c:pt>
                <c:pt idx="7280">
                  <c:v>1910.3040540540539</c:v>
                </c:pt>
                <c:pt idx="7281">
                  <c:v>1910.3040540540539</c:v>
                </c:pt>
                <c:pt idx="7282">
                  <c:v>1910.3040540540539</c:v>
                </c:pt>
                <c:pt idx="7283">
                  <c:v>1910.3040540540539</c:v>
                </c:pt>
                <c:pt idx="7284">
                  <c:v>1910.3040540540539</c:v>
                </c:pt>
                <c:pt idx="7285">
                  <c:v>1907.8547297297298</c:v>
                </c:pt>
                <c:pt idx="7286">
                  <c:v>1907.8547297297298</c:v>
                </c:pt>
                <c:pt idx="7287">
                  <c:v>1907.8547297297298</c:v>
                </c:pt>
                <c:pt idx="7288">
                  <c:v>1907.8547297297298</c:v>
                </c:pt>
                <c:pt idx="7289">
                  <c:v>1907.8547297297298</c:v>
                </c:pt>
                <c:pt idx="7290">
                  <c:v>1907.1790540540539</c:v>
                </c:pt>
                <c:pt idx="7291">
                  <c:v>1907.1790540540539</c:v>
                </c:pt>
                <c:pt idx="7292">
                  <c:v>1907.1790540540539</c:v>
                </c:pt>
                <c:pt idx="7293">
                  <c:v>1907.1790540540539</c:v>
                </c:pt>
                <c:pt idx="7294">
                  <c:v>1907.1790540540539</c:v>
                </c:pt>
                <c:pt idx="7295">
                  <c:v>1905.1520270270271</c:v>
                </c:pt>
                <c:pt idx="7296">
                  <c:v>1905.1520270270271</c:v>
                </c:pt>
                <c:pt idx="7297">
                  <c:v>1905.1520270270271</c:v>
                </c:pt>
                <c:pt idx="7298">
                  <c:v>1905.1520270270271</c:v>
                </c:pt>
                <c:pt idx="7299">
                  <c:v>1905.1520270270271</c:v>
                </c:pt>
                <c:pt idx="7300">
                  <c:v>1904.8141891891894</c:v>
                </c:pt>
                <c:pt idx="7301">
                  <c:v>1904.8141891891894</c:v>
                </c:pt>
                <c:pt idx="7302">
                  <c:v>1904.8141891891894</c:v>
                </c:pt>
                <c:pt idx="7303">
                  <c:v>1904.8141891891894</c:v>
                </c:pt>
                <c:pt idx="7304">
                  <c:v>1904.8141891891894</c:v>
                </c:pt>
                <c:pt idx="7305">
                  <c:v>1904.5608108108108</c:v>
                </c:pt>
                <c:pt idx="7306">
                  <c:v>1904.5608108108108</c:v>
                </c:pt>
                <c:pt idx="7307">
                  <c:v>1904.5608108108108</c:v>
                </c:pt>
                <c:pt idx="7308">
                  <c:v>1904.5608108108108</c:v>
                </c:pt>
                <c:pt idx="7309">
                  <c:v>1904.5608108108108</c:v>
                </c:pt>
                <c:pt idx="7310">
                  <c:v>1899.831081081081</c:v>
                </c:pt>
                <c:pt idx="7311">
                  <c:v>1899.831081081081</c:v>
                </c:pt>
                <c:pt idx="7312">
                  <c:v>1899.831081081081</c:v>
                </c:pt>
                <c:pt idx="7313">
                  <c:v>1899.831081081081</c:v>
                </c:pt>
                <c:pt idx="7314">
                  <c:v>1899.831081081081</c:v>
                </c:pt>
                <c:pt idx="7315">
                  <c:v>1889.6114864864867</c:v>
                </c:pt>
                <c:pt idx="7316">
                  <c:v>1889.6114864864867</c:v>
                </c:pt>
                <c:pt idx="7317">
                  <c:v>1889.6114864864867</c:v>
                </c:pt>
                <c:pt idx="7318">
                  <c:v>1889.6114864864867</c:v>
                </c:pt>
                <c:pt idx="7319">
                  <c:v>1889.6114864864867</c:v>
                </c:pt>
                <c:pt idx="7320">
                  <c:v>1883.7837837837837</c:v>
                </c:pt>
                <c:pt idx="7321">
                  <c:v>1883.7837837837837</c:v>
                </c:pt>
                <c:pt idx="7322">
                  <c:v>1883.7837837837837</c:v>
                </c:pt>
                <c:pt idx="7323">
                  <c:v>1883.7837837837837</c:v>
                </c:pt>
                <c:pt idx="7324">
                  <c:v>1883.7837837837837</c:v>
                </c:pt>
                <c:pt idx="7325">
                  <c:v>1887.1621621621625</c:v>
                </c:pt>
                <c:pt idx="7326">
                  <c:v>1887.1621621621625</c:v>
                </c:pt>
                <c:pt idx="7327">
                  <c:v>1887.1621621621625</c:v>
                </c:pt>
                <c:pt idx="7328">
                  <c:v>1887.1621621621625</c:v>
                </c:pt>
                <c:pt idx="7329">
                  <c:v>1887.1621621621625</c:v>
                </c:pt>
                <c:pt idx="7330">
                  <c:v>1889.2736486486488</c:v>
                </c:pt>
                <c:pt idx="7331">
                  <c:v>1889.2736486486488</c:v>
                </c:pt>
                <c:pt idx="7332">
                  <c:v>1889.2736486486488</c:v>
                </c:pt>
                <c:pt idx="7333">
                  <c:v>1889.2736486486488</c:v>
                </c:pt>
                <c:pt idx="7334">
                  <c:v>1889.2736486486488</c:v>
                </c:pt>
                <c:pt idx="7335">
                  <c:v>1885.5574324324327</c:v>
                </c:pt>
                <c:pt idx="7336">
                  <c:v>1885.5574324324327</c:v>
                </c:pt>
                <c:pt idx="7337">
                  <c:v>1885.5574324324327</c:v>
                </c:pt>
                <c:pt idx="7338">
                  <c:v>1885.5574324324327</c:v>
                </c:pt>
                <c:pt idx="7339">
                  <c:v>1885.5574324324327</c:v>
                </c:pt>
                <c:pt idx="7340">
                  <c:v>1886.5709459459461</c:v>
                </c:pt>
                <c:pt idx="7341">
                  <c:v>1886.5709459459461</c:v>
                </c:pt>
                <c:pt idx="7342">
                  <c:v>1886.5709459459461</c:v>
                </c:pt>
                <c:pt idx="7343">
                  <c:v>1886.5709459459461</c:v>
                </c:pt>
                <c:pt idx="7344">
                  <c:v>1886.5709459459461</c:v>
                </c:pt>
                <c:pt idx="7345">
                  <c:v>1886.8243243243246</c:v>
                </c:pt>
                <c:pt idx="7346">
                  <c:v>1886.8243243243246</c:v>
                </c:pt>
                <c:pt idx="7347">
                  <c:v>1886.8243243243246</c:v>
                </c:pt>
                <c:pt idx="7348">
                  <c:v>1886.8243243243246</c:v>
                </c:pt>
                <c:pt idx="7349">
                  <c:v>1886.8243243243246</c:v>
                </c:pt>
                <c:pt idx="7350">
                  <c:v>1886.5709459459461</c:v>
                </c:pt>
                <c:pt idx="7351">
                  <c:v>1886.5709459459461</c:v>
                </c:pt>
                <c:pt idx="7352">
                  <c:v>1886.5709459459461</c:v>
                </c:pt>
                <c:pt idx="7353">
                  <c:v>1886.5709459459461</c:v>
                </c:pt>
                <c:pt idx="7354">
                  <c:v>1886.5709459459461</c:v>
                </c:pt>
                <c:pt idx="7355">
                  <c:v>1881.081081081081</c:v>
                </c:pt>
                <c:pt idx="7356">
                  <c:v>1881.081081081081</c:v>
                </c:pt>
                <c:pt idx="7357">
                  <c:v>1881.081081081081</c:v>
                </c:pt>
                <c:pt idx="7358">
                  <c:v>1881.081081081081</c:v>
                </c:pt>
                <c:pt idx="7359">
                  <c:v>1881.081081081081</c:v>
                </c:pt>
                <c:pt idx="7360">
                  <c:v>1875.6756756756758</c:v>
                </c:pt>
                <c:pt idx="7361">
                  <c:v>1875.6756756756758</c:v>
                </c:pt>
                <c:pt idx="7362">
                  <c:v>1875.6756756756758</c:v>
                </c:pt>
                <c:pt idx="7363">
                  <c:v>1875.6756756756758</c:v>
                </c:pt>
                <c:pt idx="7364">
                  <c:v>1875.6756756756758</c:v>
                </c:pt>
                <c:pt idx="7365">
                  <c:v>1875.1689189189192</c:v>
                </c:pt>
                <c:pt idx="7366">
                  <c:v>1875.1689189189192</c:v>
                </c:pt>
                <c:pt idx="7367">
                  <c:v>1875.1689189189192</c:v>
                </c:pt>
                <c:pt idx="7368">
                  <c:v>1875.1689189189192</c:v>
                </c:pt>
                <c:pt idx="7369">
                  <c:v>1875.1689189189192</c:v>
                </c:pt>
                <c:pt idx="7370">
                  <c:v>1873.8175675675677</c:v>
                </c:pt>
                <c:pt idx="7371">
                  <c:v>1873.8175675675677</c:v>
                </c:pt>
                <c:pt idx="7372">
                  <c:v>1873.8175675675677</c:v>
                </c:pt>
                <c:pt idx="7373">
                  <c:v>1873.8175675675677</c:v>
                </c:pt>
                <c:pt idx="7374">
                  <c:v>1873.8175675675677</c:v>
                </c:pt>
                <c:pt idx="7375">
                  <c:v>1880.3209459459463</c:v>
                </c:pt>
                <c:pt idx="7376">
                  <c:v>1880.3209459459463</c:v>
                </c:pt>
                <c:pt idx="7377">
                  <c:v>1880.3209459459463</c:v>
                </c:pt>
                <c:pt idx="7378">
                  <c:v>1880.3209459459463</c:v>
                </c:pt>
                <c:pt idx="7379">
                  <c:v>1880.3209459459463</c:v>
                </c:pt>
                <c:pt idx="7380">
                  <c:v>1874.1554054054056</c:v>
                </c:pt>
                <c:pt idx="7381">
                  <c:v>1874.1554054054056</c:v>
                </c:pt>
                <c:pt idx="7382">
                  <c:v>1874.1554054054056</c:v>
                </c:pt>
                <c:pt idx="7383">
                  <c:v>1874.1554054054056</c:v>
                </c:pt>
                <c:pt idx="7384">
                  <c:v>1874.1554054054056</c:v>
                </c:pt>
                <c:pt idx="7385">
                  <c:v>1873.7331081081081</c:v>
                </c:pt>
                <c:pt idx="7386">
                  <c:v>1873.7331081081081</c:v>
                </c:pt>
                <c:pt idx="7387">
                  <c:v>1873.7331081081081</c:v>
                </c:pt>
                <c:pt idx="7388">
                  <c:v>1873.7331081081081</c:v>
                </c:pt>
                <c:pt idx="7389">
                  <c:v>1873.7331081081081</c:v>
                </c:pt>
                <c:pt idx="7390">
                  <c:v>1874.831081081081</c:v>
                </c:pt>
                <c:pt idx="7391">
                  <c:v>1874.831081081081</c:v>
                </c:pt>
                <c:pt idx="7392">
                  <c:v>1874.831081081081</c:v>
                </c:pt>
                <c:pt idx="7393">
                  <c:v>1874.831081081081</c:v>
                </c:pt>
                <c:pt idx="7394">
                  <c:v>1874.831081081081</c:v>
                </c:pt>
                <c:pt idx="7395">
                  <c:v>1886.0641891891892</c:v>
                </c:pt>
                <c:pt idx="7396">
                  <c:v>1886.0641891891892</c:v>
                </c:pt>
                <c:pt idx="7397">
                  <c:v>1886.0641891891892</c:v>
                </c:pt>
                <c:pt idx="7398">
                  <c:v>1886.0641891891892</c:v>
                </c:pt>
                <c:pt idx="7399">
                  <c:v>1886.0641891891892</c:v>
                </c:pt>
                <c:pt idx="7400">
                  <c:v>1887.5844594594596</c:v>
                </c:pt>
                <c:pt idx="7401">
                  <c:v>1887.5844594594596</c:v>
                </c:pt>
                <c:pt idx="7402">
                  <c:v>1887.5844594594596</c:v>
                </c:pt>
                <c:pt idx="7403">
                  <c:v>1887.5844594594596</c:v>
                </c:pt>
                <c:pt idx="7404">
                  <c:v>1887.5844594594596</c:v>
                </c:pt>
                <c:pt idx="7405">
                  <c:v>1835.5574324324327</c:v>
                </c:pt>
                <c:pt idx="7406">
                  <c:v>1835.5574324324327</c:v>
                </c:pt>
                <c:pt idx="7407">
                  <c:v>1835.5574324324327</c:v>
                </c:pt>
                <c:pt idx="7408">
                  <c:v>1835.5574324324327</c:v>
                </c:pt>
                <c:pt idx="7409">
                  <c:v>1835.5574324324327</c:v>
                </c:pt>
                <c:pt idx="7410">
                  <c:v>1835.8952702702702</c:v>
                </c:pt>
                <c:pt idx="7411">
                  <c:v>1835.8952702702702</c:v>
                </c:pt>
                <c:pt idx="7412">
                  <c:v>1835.8952702702702</c:v>
                </c:pt>
                <c:pt idx="7413">
                  <c:v>1835.8952702702702</c:v>
                </c:pt>
                <c:pt idx="7414">
                  <c:v>1835.8952702702702</c:v>
                </c:pt>
                <c:pt idx="7415">
                  <c:v>1836.739864864865</c:v>
                </c:pt>
                <c:pt idx="7416">
                  <c:v>1836.739864864865</c:v>
                </c:pt>
                <c:pt idx="7417">
                  <c:v>1836.739864864865</c:v>
                </c:pt>
                <c:pt idx="7418">
                  <c:v>1836.739864864865</c:v>
                </c:pt>
                <c:pt idx="7419">
                  <c:v>1836.739864864865</c:v>
                </c:pt>
                <c:pt idx="7420">
                  <c:v>1837.1621621621621</c:v>
                </c:pt>
                <c:pt idx="7421">
                  <c:v>1837.1621621621621</c:v>
                </c:pt>
                <c:pt idx="7422">
                  <c:v>1837.1621621621621</c:v>
                </c:pt>
                <c:pt idx="7423">
                  <c:v>1837.1621621621621</c:v>
                </c:pt>
                <c:pt idx="7424">
                  <c:v>1837.1621621621621</c:v>
                </c:pt>
                <c:pt idx="7425">
                  <c:v>1837.9222972972973</c:v>
                </c:pt>
                <c:pt idx="7426">
                  <c:v>1837.9222972972973</c:v>
                </c:pt>
                <c:pt idx="7427">
                  <c:v>1837.9222972972973</c:v>
                </c:pt>
                <c:pt idx="7428">
                  <c:v>1837.9222972972973</c:v>
                </c:pt>
                <c:pt idx="7429">
                  <c:v>1837.9222972972973</c:v>
                </c:pt>
                <c:pt idx="7430">
                  <c:v>1838.1756756756758</c:v>
                </c:pt>
                <c:pt idx="7431">
                  <c:v>1838.1756756756758</c:v>
                </c:pt>
                <c:pt idx="7432">
                  <c:v>1838.1756756756758</c:v>
                </c:pt>
                <c:pt idx="7433">
                  <c:v>1838.1756756756758</c:v>
                </c:pt>
                <c:pt idx="7434">
                  <c:v>1838.1756756756758</c:v>
                </c:pt>
                <c:pt idx="7435">
                  <c:v>1839.7804054054056</c:v>
                </c:pt>
                <c:pt idx="7436">
                  <c:v>1839.7804054054056</c:v>
                </c:pt>
                <c:pt idx="7437">
                  <c:v>1839.7804054054056</c:v>
                </c:pt>
                <c:pt idx="7438">
                  <c:v>1839.7804054054056</c:v>
                </c:pt>
                <c:pt idx="7439">
                  <c:v>1839.7804054054056</c:v>
                </c:pt>
                <c:pt idx="7440">
                  <c:v>1845.9459459459463</c:v>
                </c:pt>
                <c:pt idx="7441">
                  <c:v>1845.9459459459463</c:v>
                </c:pt>
                <c:pt idx="7442">
                  <c:v>1845.9459459459463</c:v>
                </c:pt>
                <c:pt idx="7443">
                  <c:v>1845.9459459459463</c:v>
                </c:pt>
                <c:pt idx="7444">
                  <c:v>1845.9459459459463</c:v>
                </c:pt>
                <c:pt idx="7445">
                  <c:v>1848.9864864864867</c:v>
                </c:pt>
                <c:pt idx="7446">
                  <c:v>1848.9864864864867</c:v>
                </c:pt>
                <c:pt idx="7447">
                  <c:v>1848.9864864864867</c:v>
                </c:pt>
                <c:pt idx="7448">
                  <c:v>1848.9864864864867</c:v>
                </c:pt>
                <c:pt idx="7449">
                  <c:v>1848.9864864864867</c:v>
                </c:pt>
                <c:pt idx="7450">
                  <c:v>1854.7297297297298</c:v>
                </c:pt>
                <c:pt idx="7451">
                  <c:v>1854.7297297297298</c:v>
                </c:pt>
                <c:pt idx="7452">
                  <c:v>1854.7297297297298</c:v>
                </c:pt>
                <c:pt idx="7453">
                  <c:v>1854.7297297297298</c:v>
                </c:pt>
                <c:pt idx="7454">
                  <c:v>1854.7297297297298</c:v>
                </c:pt>
                <c:pt idx="7455">
                  <c:v>1857.3479729729729</c:v>
                </c:pt>
                <c:pt idx="7456">
                  <c:v>1857.3479729729729</c:v>
                </c:pt>
                <c:pt idx="7457">
                  <c:v>1857.3479729729729</c:v>
                </c:pt>
                <c:pt idx="7458">
                  <c:v>1857.3479729729729</c:v>
                </c:pt>
                <c:pt idx="7459">
                  <c:v>1857.3479729729729</c:v>
                </c:pt>
                <c:pt idx="7460">
                  <c:v>1876.5202702702704</c:v>
                </c:pt>
                <c:pt idx="7461">
                  <c:v>1876.5202702702704</c:v>
                </c:pt>
                <c:pt idx="7462">
                  <c:v>1876.5202702702704</c:v>
                </c:pt>
                <c:pt idx="7463">
                  <c:v>1876.5202702702704</c:v>
                </c:pt>
                <c:pt idx="7464">
                  <c:v>1876.5202702702704</c:v>
                </c:pt>
                <c:pt idx="7465">
                  <c:v>1881.081081081081</c:v>
                </c:pt>
                <c:pt idx="7466">
                  <c:v>1881.081081081081</c:v>
                </c:pt>
                <c:pt idx="7467">
                  <c:v>1881.081081081081</c:v>
                </c:pt>
                <c:pt idx="7468">
                  <c:v>1881.081081081081</c:v>
                </c:pt>
                <c:pt idx="7469">
                  <c:v>1881.081081081081</c:v>
                </c:pt>
                <c:pt idx="7470">
                  <c:v>1895.4391891891892</c:v>
                </c:pt>
                <c:pt idx="7471">
                  <c:v>1895.4391891891892</c:v>
                </c:pt>
                <c:pt idx="7472">
                  <c:v>1895.4391891891892</c:v>
                </c:pt>
                <c:pt idx="7473">
                  <c:v>1895.4391891891892</c:v>
                </c:pt>
                <c:pt idx="7474">
                  <c:v>1895.4391891891892</c:v>
                </c:pt>
                <c:pt idx="7475">
                  <c:v>1895.7770270270273</c:v>
                </c:pt>
                <c:pt idx="7476">
                  <c:v>1895.7770270270273</c:v>
                </c:pt>
                <c:pt idx="7477">
                  <c:v>1895.7770270270273</c:v>
                </c:pt>
                <c:pt idx="7478">
                  <c:v>1895.7770270270273</c:v>
                </c:pt>
                <c:pt idx="7479">
                  <c:v>1895.7770270270273</c:v>
                </c:pt>
                <c:pt idx="7480">
                  <c:v>1896.1993243243246</c:v>
                </c:pt>
                <c:pt idx="7481">
                  <c:v>1896.1993243243246</c:v>
                </c:pt>
                <c:pt idx="7482">
                  <c:v>1896.1993243243246</c:v>
                </c:pt>
                <c:pt idx="7483">
                  <c:v>1896.1993243243246</c:v>
                </c:pt>
                <c:pt idx="7484">
                  <c:v>1896.1993243243246</c:v>
                </c:pt>
                <c:pt idx="7485">
                  <c:v>1896.7905405405404</c:v>
                </c:pt>
                <c:pt idx="7486">
                  <c:v>1896.7905405405404</c:v>
                </c:pt>
                <c:pt idx="7487">
                  <c:v>1896.7905405405404</c:v>
                </c:pt>
                <c:pt idx="7488">
                  <c:v>1896.7905405405404</c:v>
                </c:pt>
                <c:pt idx="7489">
                  <c:v>1896.7905405405404</c:v>
                </c:pt>
                <c:pt idx="7490">
                  <c:v>1915.2027027027027</c:v>
                </c:pt>
                <c:pt idx="7491">
                  <c:v>1915.2027027027027</c:v>
                </c:pt>
                <c:pt idx="7492">
                  <c:v>1915.2027027027027</c:v>
                </c:pt>
                <c:pt idx="7493">
                  <c:v>1915.2027027027027</c:v>
                </c:pt>
                <c:pt idx="7494">
                  <c:v>1915.2027027027027</c:v>
                </c:pt>
                <c:pt idx="7495">
                  <c:v>1914.6114864864867</c:v>
                </c:pt>
                <c:pt idx="7496">
                  <c:v>1914.6114864864867</c:v>
                </c:pt>
                <c:pt idx="7497">
                  <c:v>1914.6114864864867</c:v>
                </c:pt>
                <c:pt idx="7498">
                  <c:v>1914.6114864864867</c:v>
                </c:pt>
                <c:pt idx="7499">
                  <c:v>1914.6114864864867</c:v>
                </c:pt>
                <c:pt idx="7500">
                  <c:v>1914.3581081081081</c:v>
                </c:pt>
                <c:pt idx="7501">
                  <c:v>1914.3581081081081</c:v>
                </c:pt>
                <c:pt idx="7502">
                  <c:v>1914.3581081081081</c:v>
                </c:pt>
                <c:pt idx="7503">
                  <c:v>1914.3581081081081</c:v>
                </c:pt>
                <c:pt idx="7504">
                  <c:v>1914.3581081081081</c:v>
                </c:pt>
                <c:pt idx="7505">
                  <c:v>1916.3851351351354</c:v>
                </c:pt>
                <c:pt idx="7506">
                  <c:v>1916.3851351351354</c:v>
                </c:pt>
                <c:pt idx="7507">
                  <c:v>1916.3851351351354</c:v>
                </c:pt>
                <c:pt idx="7508">
                  <c:v>1916.3851351351354</c:v>
                </c:pt>
                <c:pt idx="7509">
                  <c:v>1916.3851351351354</c:v>
                </c:pt>
                <c:pt idx="7510">
                  <c:v>1946.875</c:v>
                </c:pt>
                <c:pt idx="7511">
                  <c:v>1946.875</c:v>
                </c:pt>
                <c:pt idx="7512">
                  <c:v>1946.875</c:v>
                </c:pt>
                <c:pt idx="7513">
                  <c:v>1946.875</c:v>
                </c:pt>
                <c:pt idx="7514">
                  <c:v>1946.875</c:v>
                </c:pt>
                <c:pt idx="7515">
                  <c:v>1947.1283783783783</c:v>
                </c:pt>
                <c:pt idx="7516">
                  <c:v>1947.1283783783783</c:v>
                </c:pt>
                <c:pt idx="7517">
                  <c:v>1947.1283783783783</c:v>
                </c:pt>
                <c:pt idx="7518">
                  <c:v>1947.1283783783783</c:v>
                </c:pt>
                <c:pt idx="7519">
                  <c:v>1947.1283783783783</c:v>
                </c:pt>
                <c:pt idx="7520">
                  <c:v>1947.2972972972975</c:v>
                </c:pt>
                <c:pt idx="7521">
                  <c:v>1947.2972972972975</c:v>
                </c:pt>
                <c:pt idx="7522">
                  <c:v>1947.2972972972975</c:v>
                </c:pt>
                <c:pt idx="7523">
                  <c:v>1947.2972972972975</c:v>
                </c:pt>
                <c:pt idx="7524">
                  <c:v>1947.2972972972975</c:v>
                </c:pt>
                <c:pt idx="7525">
                  <c:v>1956.7567567567569</c:v>
                </c:pt>
                <c:pt idx="7526">
                  <c:v>1956.7567567567569</c:v>
                </c:pt>
                <c:pt idx="7527">
                  <c:v>1956.7567567567569</c:v>
                </c:pt>
                <c:pt idx="7528">
                  <c:v>1956.7567567567569</c:v>
                </c:pt>
                <c:pt idx="7529">
                  <c:v>1956.7567567567569</c:v>
                </c:pt>
                <c:pt idx="7530">
                  <c:v>1959.7972972972975</c:v>
                </c:pt>
                <c:pt idx="7531">
                  <c:v>1959.7972972972975</c:v>
                </c:pt>
                <c:pt idx="7532">
                  <c:v>1959.7972972972975</c:v>
                </c:pt>
                <c:pt idx="7533">
                  <c:v>1959.7972972972975</c:v>
                </c:pt>
                <c:pt idx="7534">
                  <c:v>1959.7972972972975</c:v>
                </c:pt>
                <c:pt idx="7535">
                  <c:v>1976.3513513513512</c:v>
                </c:pt>
                <c:pt idx="7536">
                  <c:v>1976.3513513513512</c:v>
                </c:pt>
                <c:pt idx="7537">
                  <c:v>1976.3513513513512</c:v>
                </c:pt>
                <c:pt idx="7538">
                  <c:v>1976.3513513513512</c:v>
                </c:pt>
                <c:pt idx="7539">
                  <c:v>1976.3513513513512</c:v>
                </c:pt>
                <c:pt idx="7540">
                  <c:v>1977.5337837837837</c:v>
                </c:pt>
                <c:pt idx="7541">
                  <c:v>1977.5337837837837</c:v>
                </c:pt>
                <c:pt idx="7542">
                  <c:v>1977.5337837837837</c:v>
                </c:pt>
                <c:pt idx="7543">
                  <c:v>1977.5337837837837</c:v>
                </c:pt>
                <c:pt idx="7544">
                  <c:v>1977.5337837837837</c:v>
                </c:pt>
                <c:pt idx="7545">
                  <c:v>1978.8006756756758</c:v>
                </c:pt>
                <c:pt idx="7546">
                  <c:v>1978.8006756756758</c:v>
                </c:pt>
                <c:pt idx="7547">
                  <c:v>1978.8006756756758</c:v>
                </c:pt>
                <c:pt idx="7548">
                  <c:v>1978.8006756756758</c:v>
                </c:pt>
                <c:pt idx="7549">
                  <c:v>1978.8006756756758</c:v>
                </c:pt>
                <c:pt idx="7550">
                  <c:v>1978.885135135135</c:v>
                </c:pt>
                <c:pt idx="7551">
                  <c:v>1978.885135135135</c:v>
                </c:pt>
                <c:pt idx="7552">
                  <c:v>1978.885135135135</c:v>
                </c:pt>
                <c:pt idx="7553">
                  <c:v>1978.885135135135</c:v>
                </c:pt>
                <c:pt idx="7554">
                  <c:v>1978.885135135135</c:v>
                </c:pt>
                <c:pt idx="7555">
                  <c:v>2005.4054054054056</c:v>
                </c:pt>
                <c:pt idx="7556">
                  <c:v>2005.4054054054056</c:v>
                </c:pt>
                <c:pt idx="7557">
                  <c:v>2005.4054054054056</c:v>
                </c:pt>
                <c:pt idx="7558">
                  <c:v>2005.4054054054056</c:v>
                </c:pt>
                <c:pt idx="7559">
                  <c:v>2005.4054054054056</c:v>
                </c:pt>
                <c:pt idx="7560">
                  <c:v>2005.0675675675673</c:v>
                </c:pt>
                <c:pt idx="7561">
                  <c:v>2005.0675675675673</c:v>
                </c:pt>
                <c:pt idx="7562">
                  <c:v>2005.0675675675673</c:v>
                </c:pt>
                <c:pt idx="7563">
                  <c:v>2005.0675675675673</c:v>
                </c:pt>
                <c:pt idx="7564">
                  <c:v>2005.0675675675673</c:v>
                </c:pt>
                <c:pt idx="7565">
                  <c:v>2005.489864864865</c:v>
                </c:pt>
                <c:pt idx="7566">
                  <c:v>2005.489864864865</c:v>
                </c:pt>
                <c:pt idx="7567">
                  <c:v>2005.489864864865</c:v>
                </c:pt>
                <c:pt idx="7568">
                  <c:v>2005.489864864865</c:v>
                </c:pt>
                <c:pt idx="7569">
                  <c:v>2005.489864864865</c:v>
                </c:pt>
                <c:pt idx="7570">
                  <c:v>2009.375</c:v>
                </c:pt>
                <c:pt idx="7571">
                  <c:v>2009.375</c:v>
                </c:pt>
                <c:pt idx="7572">
                  <c:v>2009.375</c:v>
                </c:pt>
                <c:pt idx="7573">
                  <c:v>2009.375</c:v>
                </c:pt>
                <c:pt idx="7574">
                  <c:v>2009.375</c:v>
                </c:pt>
                <c:pt idx="7575">
                  <c:v>2042.7364864864867</c:v>
                </c:pt>
                <c:pt idx="7576">
                  <c:v>2042.7364864864867</c:v>
                </c:pt>
                <c:pt idx="7577">
                  <c:v>2042.7364864864867</c:v>
                </c:pt>
                <c:pt idx="7578">
                  <c:v>2042.7364864864867</c:v>
                </c:pt>
                <c:pt idx="7579">
                  <c:v>2042.7364864864867</c:v>
                </c:pt>
                <c:pt idx="7580">
                  <c:v>2043.918918918919</c:v>
                </c:pt>
                <c:pt idx="7581">
                  <c:v>2043.918918918919</c:v>
                </c:pt>
                <c:pt idx="7582">
                  <c:v>2043.918918918919</c:v>
                </c:pt>
                <c:pt idx="7583">
                  <c:v>2043.918918918919</c:v>
                </c:pt>
                <c:pt idx="7584">
                  <c:v>2043.918918918919</c:v>
                </c:pt>
                <c:pt idx="7585">
                  <c:v>2048.0574324324325</c:v>
                </c:pt>
                <c:pt idx="7586">
                  <c:v>2048.0574324324325</c:v>
                </c:pt>
                <c:pt idx="7587">
                  <c:v>2048.0574324324325</c:v>
                </c:pt>
                <c:pt idx="7588">
                  <c:v>2048.0574324324325</c:v>
                </c:pt>
                <c:pt idx="7589">
                  <c:v>2048.0574324324325</c:v>
                </c:pt>
                <c:pt idx="7590">
                  <c:v>2057.0945945945946</c:v>
                </c:pt>
                <c:pt idx="7591">
                  <c:v>2057.0945945945946</c:v>
                </c:pt>
                <c:pt idx="7592">
                  <c:v>2057.0945945945946</c:v>
                </c:pt>
                <c:pt idx="7593">
                  <c:v>2057.0945945945946</c:v>
                </c:pt>
                <c:pt idx="7594">
                  <c:v>2057.0945945945946</c:v>
                </c:pt>
                <c:pt idx="7595">
                  <c:v>2049.8310810810813</c:v>
                </c:pt>
                <c:pt idx="7596">
                  <c:v>2049.8310810810813</c:v>
                </c:pt>
                <c:pt idx="7597">
                  <c:v>2049.8310810810813</c:v>
                </c:pt>
                <c:pt idx="7598">
                  <c:v>2049.8310810810813</c:v>
                </c:pt>
                <c:pt idx="7599">
                  <c:v>2049.8310810810813</c:v>
                </c:pt>
                <c:pt idx="7600">
                  <c:v>2080.8277027027029</c:v>
                </c:pt>
                <c:pt idx="7601">
                  <c:v>2080.8277027027029</c:v>
                </c:pt>
                <c:pt idx="7602">
                  <c:v>2080.8277027027029</c:v>
                </c:pt>
                <c:pt idx="7603">
                  <c:v>2080.8277027027029</c:v>
                </c:pt>
                <c:pt idx="7604">
                  <c:v>2080.8277027027029</c:v>
                </c:pt>
                <c:pt idx="7605">
                  <c:v>2081.1655405405404</c:v>
                </c:pt>
                <c:pt idx="7606">
                  <c:v>2081.1655405405404</c:v>
                </c:pt>
                <c:pt idx="7607">
                  <c:v>2081.1655405405404</c:v>
                </c:pt>
                <c:pt idx="7608">
                  <c:v>2081.1655405405404</c:v>
                </c:pt>
                <c:pt idx="7609">
                  <c:v>2081.1655405405404</c:v>
                </c:pt>
                <c:pt idx="7610">
                  <c:v>2082.9391891891892</c:v>
                </c:pt>
                <c:pt idx="7611">
                  <c:v>2082.9391891891892</c:v>
                </c:pt>
                <c:pt idx="7612">
                  <c:v>2082.9391891891892</c:v>
                </c:pt>
                <c:pt idx="7613">
                  <c:v>2082.9391891891892</c:v>
                </c:pt>
                <c:pt idx="7614">
                  <c:v>2082.9391891891892</c:v>
                </c:pt>
                <c:pt idx="7615">
                  <c:v>2082.85472972973</c:v>
                </c:pt>
                <c:pt idx="7616">
                  <c:v>2082.85472972973</c:v>
                </c:pt>
                <c:pt idx="7617">
                  <c:v>2082.85472972973</c:v>
                </c:pt>
                <c:pt idx="7618">
                  <c:v>2082.85472972973</c:v>
                </c:pt>
                <c:pt idx="7619">
                  <c:v>2082.85472972973</c:v>
                </c:pt>
                <c:pt idx="7620">
                  <c:v>2109.7128378378379</c:v>
                </c:pt>
                <c:pt idx="7621">
                  <c:v>2109.7128378378379</c:v>
                </c:pt>
                <c:pt idx="7622">
                  <c:v>2109.7128378378379</c:v>
                </c:pt>
                <c:pt idx="7623">
                  <c:v>2109.7128378378379</c:v>
                </c:pt>
                <c:pt idx="7624">
                  <c:v>2109.7128378378379</c:v>
                </c:pt>
                <c:pt idx="7625">
                  <c:v>2109.6283783783788</c:v>
                </c:pt>
                <c:pt idx="7626">
                  <c:v>2109.6283783783788</c:v>
                </c:pt>
                <c:pt idx="7627">
                  <c:v>2109.6283783783788</c:v>
                </c:pt>
                <c:pt idx="7628">
                  <c:v>2109.6283783783788</c:v>
                </c:pt>
                <c:pt idx="7629">
                  <c:v>2109.6283783783788</c:v>
                </c:pt>
                <c:pt idx="7630">
                  <c:v>2109.3750000000005</c:v>
                </c:pt>
                <c:pt idx="7631">
                  <c:v>2109.3750000000005</c:v>
                </c:pt>
                <c:pt idx="7632">
                  <c:v>2109.3750000000005</c:v>
                </c:pt>
                <c:pt idx="7633">
                  <c:v>2109.3750000000005</c:v>
                </c:pt>
                <c:pt idx="7634">
                  <c:v>2109.3750000000005</c:v>
                </c:pt>
                <c:pt idx="7635">
                  <c:v>2109.9662162162163</c:v>
                </c:pt>
                <c:pt idx="7636">
                  <c:v>2109.9662162162163</c:v>
                </c:pt>
                <c:pt idx="7637">
                  <c:v>2109.9662162162163</c:v>
                </c:pt>
                <c:pt idx="7638">
                  <c:v>2109.9662162162163</c:v>
                </c:pt>
                <c:pt idx="7639">
                  <c:v>2109.9662162162163</c:v>
                </c:pt>
                <c:pt idx="7640">
                  <c:v>2141.9763513513517</c:v>
                </c:pt>
                <c:pt idx="7641">
                  <c:v>2141.9763513513517</c:v>
                </c:pt>
                <c:pt idx="7642">
                  <c:v>2141.9763513513517</c:v>
                </c:pt>
                <c:pt idx="7643">
                  <c:v>2141.9763513513517</c:v>
                </c:pt>
                <c:pt idx="7644">
                  <c:v>2141.9763513513517</c:v>
                </c:pt>
                <c:pt idx="7645">
                  <c:v>2145.6925675675675</c:v>
                </c:pt>
                <c:pt idx="7646">
                  <c:v>2145.6925675675675</c:v>
                </c:pt>
                <c:pt idx="7647">
                  <c:v>2145.6925675675675</c:v>
                </c:pt>
                <c:pt idx="7648">
                  <c:v>2145.6925675675675</c:v>
                </c:pt>
                <c:pt idx="7649">
                  <c:v>2145.6925675675675</c:v>
                </c:pt>
                <c:pt idx="7650">
                  <c:v>2147.1283783783788</c:v>
                </c:pt>
                <c:pt idx="7651">
                  <c:v>2147.1283783783788</c:v>
                </c:pt>
                <c:pt idx="7652">
                  <c:v>2147.1283783783788</c:v>
                </c:pt>
                <c:pt idx="7653">
                  <c:v>2147.1283783783788</c:v>
                </c:pt>
                <c:pt idx="7654">
                  <c:v>2147.1283783783788</c:v>
                </c:pt>
                <c:pt idx="7655">
                  <c:v>2154.5608108108108</c:v>
                </c:pt>
                <c:pt idx="7656">
                  <c:v>2154.5608108108108</c:v>
                </c:pt>
                <c:pt idx="7657">
                  <c:v>2154.5608108108108</c:v>
                </c:pt>
                <c:pt idx="7658">
                  <c:v>2154.5608108108108</c:v>
                </c:pt>
                <c:pt idx="7659">
                  <c:v>2154.5608108108108</c:v>
                </c:pt>
                <c:pt idx="7660">
                  <c:v>2156.8412162162163</c:v>
                </c:pt>
                <c:pt idx="7661">
                  <c:v>2156.8412162162163</c:v>
                </c:pt>
                <c:pt idx="7662">
                  <c:v>2156.8412162162163</c:v>
                </c:pt>
                <c:pt idx="7663">
                  <c:v>2156.8412162162163</c:v>
                </c:pt>
                <c:pt idx="7664">
                  <c:v>2156.8412162162163</c:v>
                </c:pt>
                <c:pt idx="7665">
                  <c:v>2179.5608108108108</c:v>
                </c:pt>
                <c:pt idx="7666">
                  <c:v>2179.5608108108108</c:v>
                </c:pt>
                <c:pt idx="7667">
                  <c:v>2179.5608108108108</c:v>
                </c:pt>
                <c:pt idx="7668">
                  <c:v>2179.5608108108108</c:v>
                </c:pt>
                <c:pt idx="7669">
                  <c:v>2179.5608108108108</c:v>
                </c:pt>
                <c:pt idx="7670">
                  <c:v>2180.2364864864867</c:v>
                </c:pt>
                <c:pt idx="7671">
                  <c:v>2180.2364864864867</c:v>
                </c:pt>
                <c:pt idx="7672">
                  <c:v>2180.2364864864867</c:v>
                </c:pt>
                <c:pt idx="7673">
                  <c:v>2180.2364864864867</c:v>
                </c:pt>
                <c:pt idx="7674">
                  <c:v>2180.2364864864867</c:v>
                </c:pt>
                <c:pt idx="7675">
                  <c:v>2181.1655405405409</c:v>
                </c:pt>
                <c:pt idx="7676">
                  <c:v>2181.1655405405409</c:v>
                </c:pt>
                <c:pt idx="7677">
                  <c:v>2181.1655405405409</c:v>
                </c:pt>
                <c:pt idx="7678">
                  <c:v>2181.1655405405409</c:v>
                </c:pt>
                <c:pt idx="7679">
                  <c:v>2181.1655405405409</c:v>
                </c:pt>
                <c:pt idx="7680">
                  <c:v>2182.0945945945946</c:v>
                </c:pt>
                <c:pt idx="7681">
                  <c:v>2182.0945945945946</c:v>
                </c:pt>
                <c:pt idx="7682">
                  <c:v>2182.0945945945946</c:v>
                </c:pt>
                <c:pt idx="7683">
                  <c:v>2182.0945945945946</c:v>
                </c:pt>
                <c:pt idx="7684">
                  <c:v>2182.0945945945946</c:v>
                </c:pt>
                <c:pt idx="7685">
                  <c:v>2213.7668918918921</c:v>
                </c:pt>
                <c:pt idx="7686">
                  <c:v>2213.7668918918921</c:v>
                </c:pt>
                <c:pt idx="7687">
                  <c:v>2213.7668918918921</c:v>
                </c:pt>
                <c:pt idx="7688">
                  <c:v>2213.7668918918921</c:v>
                </c:pt>
                <c:pt idx="7689">
                  <c:v>2213.7668918918921</c:v>
                </c:pt>
                <c:pt idx="7690">
                  <c:v>2214.10472972973</c:v>
                </c:pt>
                <c:pt idx="7691">
                  <c:v>2214.10472972973</c:v>
                </c:pt>
                <c:pt idx="7692">
                  <c:v>2214.10472972973</c:v>
                </c:pt>
                <c:pt idx="7693">
                  <c:v>2214.10472972973</c:v>
                </c:pt>
                <c:pt idx="7694">
                  <c:v>2214.10472972973</c:v>
                </c:pt>
                <c:pt idx="7695">
                  <c:v>2215.1182432432433</c:v>
                </c:pt>
                <c:pt idx="7696">
                  <c:v>2215.1182432432433</c:v>
                </c:pt>
                <c:pt idx="7697">
                  <c:v>2215.1182432432433</c:v>
                </c:pt>
                <c:pt idx="7698">
                  <c:v>2215.1182432432433</c:v>
                </c:pt>
                <c:pt idx="7699">
                  <c:v>2215.1182432432433</c:v>
                </c:pt>
                <c:pt idx="7700">
                  <c:v>2216.9763513513512</c:v>
                </c:pt>
                <c:pt idx="7701">
                  <c:v>2216.9763513513512</c:v>
                </c:pt>
                <c:pt idx="7702">
                  <c:v>2216.9763513513512</c:v>
                </c:pt>
                <c:pt idx="7703">
                  <c:v>2216.9763513513512</c:v>
                </c:pt>
                <c:pt idx="7704">
                  <c:v>2216.9763513513512</c:v>
                </c:pt>
                <c:pt idx="7705">
                  <c:v>2210.8108108108108</c:v>
                </c:pt>
                <c:pt idx="7706">
                  <c:v>2210.8108108108108</c:v>
                </c:pt>
                <c:pt idx="7707">
                  <c:v>2210.8108108108108</c:v>
                </c:pt>
                <c:pt idx="7708">
                  <c:v>2210.8108108108108</c:v>
                </c:pt>
                <c:pt idx="7709">
                  <c:v>2210.8108108108108</c:v>
                </c:pt>
                <c:pt idx="7710">
                  <c:v>2246.114864864865</c:v>
                </c:pt>
                <c:pt idx="7711">
                  <c:v>2246.114864864865</c:v>
                </c:pt>
                <c:pt idx="7712">
                  <c:v>2246.114864864865</c:v>
                </c:pt>
                <c:pt idx="7713">
                  <c:v>2246.114864864865</c:v>
                </c:pt>
                <c:pt idx="7714">
                  <c:v>2246.114864864865</c:v>
                </c:pt>
                <c:pt idx="7715">
                  <c:v>2244.6790540540542</c:v>
                </c:pt>
                <c:pt idx="7716">
                  <c:v>2244.6790540540542</c:v>
                </c:pt>
                <c:pt idx="7717">
                  <c:v>2244.6790540540542</c:v>
                </c:pt>
                <c:pt idx="7718">
                  <c:v>2244.6790540540542</c:v>
                </c:pt>
                <c:pt idx="7719">
                  <c:v>2244.6790540540542</c:v>
                </c:pt>
                <c:pt idx="7720">
                  <c:v>2247.0439189189187</c:v>
                </c:pt>
                <c:pt idx="7721">
                  <c:v>2247.0439189189187</c:v>
                </c:pt>
                <c:pt idx="7722">
                  <c:v>2247.0439189189187</c:v>
                </c:pt>
                <c:pt idx="7723">
                  <c:v>2247.0439189189187</c:v>
                </c:pt>
                <c:pt idx="7724">
                  <c:v>2247.0439189189187</c:v>
                </c:pt>
                <c:pt idx="7725">
                  <c:v>2253.7162162162167</c:v>
                </c:pt>
                <c:pt idx="7726">
                  <c:v>2253.7162162162167</c:v>
                </c:pt>
                <c:pt idx="7727">
                  <c:v>2253.7162162162167</c:v>
                </c:pt>
                <c:pt idx="7728">
                  <c:v>2253.7162162162167</c:v>
                </c:pt>
                <c:pt idx="7729">
                  <c:v>2253.7162162162167</c:v>
                </c:pt>
                <c:pt idx="7730">
                  <c:v>2294.0033783783788</c:v>
                </c:pt>
                <c:pt idx="7731">
                  <c:v>2294.0033783783788</c:v>
                </c:pt>
                <c:pt idx="7732">
                  <c:v>2294.0033783783788</c:v>
                </c:pt>
                <c:pt idx="7733">
                  <c:v>2294.0033783783788</c:v>
                </c:pt>
                <c:pt idx="7734">
                  <c:v>2294.0033783783788</c:v>
                </c:pt>
                <c:pt idx="7735">
                  <c:v>2295.1013513513517</c:v>
                </c:pt>
                <c:pt idx="7736">
                  <c:v>2295.1013513513517</c:v>
                </c:pt>
                <c:pt idx="7737">
                  <c:v>2295.1013513513517</c:v>
                </c:pt>
                <c:pt idx="7738">
                  <c:v>2295.1013513513517</c:v>
                </c:pt>
                <c:pt idx="7739">
                  <c:v>2295.1013513513517</c:v>
                </c:pt>
                <c:pt idx="7740">
                  <c:v>2295.1858108108108</c:v>
                </c:pt>
                <c:pt idx="7741">
                  <c:v>2295.1858108108108</c:v>
                </c:pt>
                <c:pt idx="7742">
                  <c:v>2295.1858108108108</c:v>
                </c:pt>
                <c:pt idx="7743">
                  <c:v>2295.1858108108108</c:v>
                </c:pt>
                <c:pt idx="7744">
                  <c:v>2295.1858108108108</c:v>
                </c:pt>
                <c:pt idx="7745">
                  <c:v>2295.5236486486488</c:v>
                </c:pt>
                <c:pt idx="7746">
                  <c:v>2295.5236486486488</c:v>
                </c:pt>
                <c:pt idx="7747">
                  <c:v>2295.5236486486488</c:v>
                </c:pt>
                <c:pt idx="7748">
                  <c:v>2295.5236486486488</c:v>
                </c:pt>
                <c:pt idx="7749">
                  <c:v>2295.5236486486488</c:v>
                </c:pt>
                <c:pt idx="7750">
                  <c:v>2314.4425675675675</c:v>
                </c:pt>
                <c:pt idx="7751">
                  <c:v>2314.4425675675675</c:v>
                </c:pt>
                <c:pt idx="7752">
                  <c:v>2314.4425675675675</c:v>
                </c:pt>
                <c:pt idx="7753">
                  <c:v>2314.4425675675675</c:v>
                </c:pt>
                <c:pt idx="7754">
                  <c:v>2314.4425675675675</c:v>
                </c:pt>
                <c:pt idx="7755">
                  <c:v>2327.2804054054054</c:v>
                </c:pt>
                <c:pt idx="7756">
                  <c:v>2327.2804054054054</c:v>
                </c:pt>
                <c:pt idx="7757">
                  <c:v>2327.2804054054054</c:v>
                </c:pt>
                <c:pt idx="7758">
                  <c:v>2327.2804054054054</c:v>
                </c:pt>
                <c:pt idx="7759">
                  <c:v>2327.2804054054054</c:v>
                </c:pt>
                <c:pt idx="7760">
                  <c:v>2327.6182432432433</c:v>
                </c:pt>
                <c:pt idx="7761">
                  <c:v>2327.6182432432433</c:v>
                </c:pt>
                <c:pt idx="7762">
                  <c:v>2327.6182432432433</c:v>
                </c:pt>
                <c:pt idx="7763">
                  <c:v>2327.6182432432433</c:v>
                </c:pt>
                <c:pt idx="7764">
                  <c:v>2327.6182432432433</c:v>
                </c:pt>
                <c:pt idx="7765">
                  <c:v>2328.0405405405409</c:v>
                </c:pt>
                <c:pt idx="7766">
                  <c:v>2328.0405405405409</c:v>
                </c:pt>
                <c:pt idx="7767">
                  <c:v>2328.0405405405409</c:v>
                </c:pt>
                <c:pt idx="7768">
                  <c:v>2328.0405405405409</c:v>
                </c:pt>
                <c:pt idx="7769">
                  <c:v>2328.0405405405409</c:v>
                </c:pt>
                <c:pt idx="7770">
                  <c:v>2332.6858108108108</c:v>
                </c:pt>
                <c:pt idx="7771">
                  <c:v>2332.6858108108108</c:v>
                </c:pt>
                <c:pt idx="7772">
                  <c:v>2332.6858108108108</c:v>
                </c:pt>
                <c:pt idx="7773">
                  <c:v>2332.6858108108108</c:v>
                </c:pt>
                <c:pt idx="7774">
                  <c:v>2332.6858108108108</c:v>
                </c:pt>
                <c:pt idx="7775">
                  <c:v>2361.1486486486488</c:v>
                </c:pt>
                <c:pt idx="7776">
                  <c:v>2361.1486486486488</c:v>
                </c:pt>
                <c:pt idx="7777">
                  <c:v>2361.1486486486488</c:v>
                </c:pt>
                <c:pt idx="7778">
                  <c:v>2361.1486486486488</c:v>
                </c:pt>
                <c:pt idx="7779">
                  <c:v>2361.1486486486488</c:v>
                </c:pt>
                <c:pt idx="7780">
                  <c:v>2365.0337837837837</c:v>
                </c:pt>
                <c:pt idx="7781">
                  <c:v>2365.0337837837837</c:v>
                </c:pt>
                <c:pt idx="7782">
                  <c:v>2365.0337837837837</c:v>
                </c:pt>
                <c:pt idx="7783">
                  <c:v>2365.0337837837837</c:v>
                </c:pt>
                <c:pt idx="7784">
                  <c:v>2365.0337837837837</c:v>
                </c:pt>
                <c:pt idx="7785">
                  <c:v>2365.0337837837837</c:v>
                </c:pt>
                <c:pt idx="7786">
                  <c:v>2365.0337837837837</c:v>
                </c:pt>
                <c:pt idx="7787">
                  <c:v>2365.0337837837837</c:v>
                </c:pt>
              </c:numCache>
            </c:numRef>
          </c:val>
          <c:smooth val="0"/>
          <c:extLst>
            <c:ext xmlns:c16="http://schemas.microsoft.com/office/drawing/2014/chart" uri="{C3380CC4-5D6E-409C-BE32-E72D297353CC}">
              <c16:uniqueId val="{00000000-9494-468B-B1D8-CDEAEEA677E5}"/>
            </c:ext>
          </c:extLst>
        </c:ser>
        <c:ser>
          <c:idx val="3"/>
          <c:order val="3"/>
          <c:tx>
            <c:strRef>
              <c:f>Sheet1!$H$1</c:f>
              <c:strCache>
                <c:ptCount val="1"/>
                <c:pt idx="0">
                  <c:v>MSCI World ex USA IT</c:v>
                </c:pt>
              </c:strCache>
            </c:strRef>
          </c:tx>
          <c:spPr>
            <a:ln w="28575" cap="rnd">
              <a:solidFill>
                <a:schemeClr val="accent2"/>
              </a:solidFill>
              <a:round/>
            </a:ln>
            <a:effectLst/>
          </c:spPr>
          <c:marker>
            <c:symbol val="none"/>
          </c:marker>
          <c:cat>
            <c:numRef>
              <c:f>Sheet1!$D$3:$D$7790</c:f>
              <c:numCache>
                <c:formatCode>m/d/yyyy</c:formatCode>
                <c:ptCount val="7788"/>
                <c:pt idx="0">
                  <c:v>34718</c:v>
                </c:pt>
                <c:pt idx="1">
                  <c:v>34719</c:v>
                </c:pt>
                <c:pt idx="2">
                  <c:v>34722</c:v>
                </c:pt>
                <c:pt idx="3">
                  <c:v>34723</c:v>
                </c:pt>
                <c:pt idx="4">
                  <c:v>34724</c:v>
                </c:pt>
                <c:pt idx="5">
                  <c:v>34725</c:v>
                </c:pt>
                <c:pt idx="6">
                  <c:v>34726</c:v>
                </c:pt>
                <c:pt idx="7">
                  <c:v>34729</c:v>
                </c:pt>
                <c:pt idx="8">
                  <c:v>34730</c:v>
                </c:pt>
                <c:pt idx="9">
                  <c:v>34731</c:v>
                </c:pt>
                <c:pt idx="10">
                  <c:v>34732</c:v>
                </c:pt>
                <c:pt idx="11">
                  <c:v>34733</c:v>
                </c:pt>
                <c:pt idx="12">
                  <c:v>34736</c:v>
                </c:pt>
                <c:pt idx="13">
                  <c:v>34737</c:v>
                </c:pt>
                <c:pt idx="14">
                  <c:v>34738</c:v>
                </c:pt>
                <c:pt idx="15">
                  <c:v>34739</c:v>
                </c:pt>
                <c:pt idx="16">
                  <c:v>34740</c:v>
                </c:pt>
                <c:pt idx="17">
                  <c:v>34743</c:v>
                </c:pt>
                <c:pt idx="18">
                  <c:v>34744</c:v>
                </c:pt>
                <c:pt idx="19">
                  <c:v>34745</c:v>
                </c:pt>
                <c:pt idx="20">
                  <c:v>34746</c:v>
                </c:pt>
                <c:pt idx="21">
                  <c:v>34747</c:v>
                </c:pt>
                <c:pt idx="22">
                  <c:v>34750</c:v>
                </c:pt>
                <c:pt idx="23">
                  <c:v>34751</c:v>
                </c:pt>
                <c:pt idx="24">
                  <c:v>34752</c:v>
                </c:pt>
                <c:pt idx="25">
                  <c:v>34753</c:v>
                </c:pt>
                <c:pt idx="26">
                  <c:v>34754</c:v>
                </c:pt>
                <c:pt idx="27">
                  <c:v>34757</c:v>
                </c:pt>
                <c:pt idx="28">
                  <c:v>34758</c:v>
                </c:pt>
                <c:pt idx="29">
                  <c:v>34759</c:v>
                </c:pt>
                <c:pt idx="30">
                  <c:v>34760</c:v>
                </c:pt>
                <c:pt idx="31">
                  <c:v>34761</c:v>
                </c:pt>
                <c:pt idx="32">
                  <c:v>34764</c:v>
                </c:pt>
                <c:pt idx="33">
                  <c:v>34765</c:v>
                </c:pt>
                <c:pt idx="34">
                  <c:v>34766</c:v>
                </c:pt>
                <c:pt idx="35">
                  <c:v>34767</c:v>
                </c:pt>
                <c:pt idx="36">
                  <c:v>34768</c:v>
                </c:pt>
                <c:pt idx="37">
                  <c:v>34771</c:v>
                </c:pt>
                <c:pt idx="38">
                  <c:v>34772</c:v>
                </c:pt>
                <c:pt idx="39">
                  <c:v>34773</c:v>
                </c:pt>
                <c:pt idx="40">
                  <c:v>34774</c:v>
                </c:pt>
                <c:pt idx="41">
                  <c:v>34775</c:v>
                </c:pt>
                <c:pt idx="42">
                  <c:v>34778</c:v>
                </c:pt>
                <c:pt idx="43">
                  <c:v>34779</c:v>
                </c:pt>
                <c:pt idx="44">
                  <c:v>34780</c:v>
                </c:pt>
                <c:pt idx="45">
                  <c:v>34781</c:v>
                </c:pt>
                <c:pt idx="46">
                  <c:v>34782</c:v>
                </c:pt>
                <c:pt idx="47">
                  <c:v>34785</c:v>
                </c:pt>
                <c:pt idx="48">
                  <c:v>34786</c:v>
                </c:pt>
                <c:pt idx="49">
                  <c:v>34787</c:v>
                </c:pt>
                <c:pt idx="50">
                  <c:v>34788</c:v>
                </c:pt>
                <c:pt idx="51">
                  <c:v>34789</c:v>
                </c:pt>
                <c:pt idx="52">
                  <c:v>34792</c:v>
                </c:pt>
                <c:pt idx="53">
                  <c:v>34793</c:v>
                </c:pt>
                <c:pt idx="54">
                  <c:v>34794</c:v>
                </c:pt>
                <c:pt idx="55">
                  <c:v>34795</c:v>
                </c:pt>
                <c:pt idx="56">
                  <c:v>34796</c:v>
                </c:pt>
                <c:pt idx="57">
                  <c:v>34799</c:v>
                </c:pt>
                <c:pt idx="58">
                  <c:v>34800</c:v>
                </c:pt>
                <c:pt idx="59">
                  <c:v>34801</c:v>
                </c:pt>
                <c:pt idx="60">
                  <c:v>34802</c:v>
                </c:pt>
                <c:pt idx="61">
                  <c:v>34803</c:v>
                </c:pt>
                <c:pt idx="62">
                  <c:v>34806</c:v>
                </c:pt>
                <c:pt idx="63">
                  <c:v>34807</c:v>
                </c:pt>
                <c:pt idx="64">
                  <c:v>34808</c:v>
                </c:pt>
                <c:pt idx="65">
                  <c:v>34809</c:v>
                </c:pt>
                <c:pt idx="66">
                  <c:v>34810</c:v>
                </c:pt>
                <c:pt idx="67">
                  <c:v>34813</c:v>
                </c:pt>
                <c:pt idx="68">
                  <c:v>34814</c:v>
                </c:pt>
                <c:pt idx="69">
                  <c:v>34815</c:v>
                </c:pt>
                <c:pt idx="70">
                  <c:v>34816</c:v>
                </c:pt>
                <c:pt idx="71">
                  <c:v>34817</c:v>
                </c:pt>
                <c:pt idx="72">
                  <c:v>34820</c:v>
                </c:pt>
                <c:pt idx="73">
                  <c:v>34821</c:v>
                </c:pt>
                <c:pt idx="74">
                  <c:v>34822</c:v>
                </c:pt>
                <c:pt idx="75">
                  <c:v>34823</c:v>
                </c:pt>
                <c:pt idx="76">
                  <c:v>34824</c:v>
                </c:pt>
                <c:pt idx="77">
                  <c:v>34827</c:v>
                </c:pt>
                <c:pt idx="78">
                  <c:v>34828</c:v>
                </c:pt>
                <c:pt idx="79">
                  <c:v>34829</c:v>
                </c:pt>
                <c:pt idx="80">
                  <c:v>34830</c:v>
                </c:pt>
                <c:pt idx="81">
                  <c:v>34831</c:v>
                </c:pt>
                <c:pt idx="82">
                  <c:v>34834</c:v>
                </c:pt>
                <c:pt idx="83">
                  <c:v>34835</c:v>
                </c:pt>
                <c:pt idx="84">
                  <c:v>34836</c:v>
                </c:pt>
                <c:pt idx="85">
                  <c:v>34837</c:v>
                </c:pt>
                <c:pt idx="86">
                  <c:v>34838</c:v>
                </c:pt>
                <c:pt idx="87">
                  <c:v>34841</c:v>
                </c:pt>
                <c:pt idx="88">
                  <c:v>34842</c:v>
                </c:pt>
                <c:pt idx="89">
                  <c:v>34843</c:v>
                </c:pt>
                <c:pt idx="90">
                  <c:v>34844</c:v>
                </c:pt>
                <c:pt idx="91">
                  <c:v>34845</c:v>
                </c:pt>
                <c:pt idx="92">
                  <c:v>34848</c:v>
                </c:pt>
                <c:pt idx="93">
                  <c:v>34849</c:v>
                </c:pt>
                <c:pt idx="94">
                  <c:v>34850</c:v>
                </c:pt>
                <c:pt idx="95">
                  <c:v>34851</c:v>
                </c:pt>
                <c:pt idx="96">
                  <c:v>34852</c:v>
                </c:pt>
                <c:pt idx="97">
                  <c:v>34855</c:v>
                </c:pt>
                <c:pt idx="98">
                  <c:v>34856</c:v>
                </c:pt>
                <c:pt idx="99">
                  <c:v>34857</c:v>
                </c:pt>
                <c:pt idx="100">
                  <c:v>34858</c:v>
                </c:pt>
                <c:pt idx="101">
                  <c:v>34859</c:v>
                </c:pt>
                <c:pt idx="102">
                  <c:v>34862</c:v>
                </c:pt>
                <c:pt idx="103">
                  <c:v>34863</c:v>
                </c:pt>
                <c:pt idx="104">
                  <c:v>34864</c:v>
                </c:pt>
                <c:pt idx="105">
                  <c:v>34865</c:v>
                </c:pt>
                <c:pt idx="106">
                  <c:v>34866</c:v>
                </c:pt>
                <c:pt idx="107">
                  <c:v>34869</c:v>
                </c:pt>
                <c:pt idx="108">
                  <c:v>34870</c:v>
                </c:pt>
                <c:pt idx="109">
                  <c:v>34871</c:v>
                </c:pt>
                <c:pt idx="110">
                  <c:v>34872</c:v>
                </c:pt>
                <c:pt idx="111">
                  <c:v>34873</c:v>
                </c:pt>
                <c:pt idx="112">
                  <c:v>34876</c:v>
                </c:pt>
                <c:pt idx="113">
                  <c:v>34877</c:v>
                </c:pt>
                <c:pt idx="114">
                  <c:v>34878</c:v>
                </c:pt>
                <c:pt idx="115">
                  <c:v>34879</c:v>
                </c:pt>
                <c:pt idx="116">
                  <c:v>34880</c:v>
                </c:pt>
                <c:pt idx="117">
                  <c:v>34883</c:v>
                </c:pt>
                <c:pt idx="118">
                  <c:v>34884</c:v>
                </c:pt>
                <c:pt idx="119">
                  <c:v>34885</c:v>
                </c:pt>
                <c:pt idx="120">
                  <c:v>34886</c:v>
                </c:pt>
                <c:pt idx="121">
                  <c:v>34887</c:v>
                </c:pt>
                <c:pt idx="122">
                  <c:v>34890</c:v>
                </c:pt>
                <c:pt idx="123">
                  <c:v>34891</c:v>
                </c:pt>
                <c:pt idx="124">
                  <c:v>34892</c:v>
                </c:pt>
                <c:pt idx="125">
                  <c:v>34893</c:v>
                </c:pt>
                <c:pt idx="126">
                  <c:v>34894</c:v>
                </c:pt>
                <c:pt idx="127">
                  <c:v>34897</c:v>
                </c:pt>
                <c:pt idx="128">
                  <c:v>34898</c:v>
                </c:pt>
                <c:pt idx="129">
                  <c:v>34899</c:v>
                </c:pt>
                <c:pt idx="130">
                  <c:v>34900</c:v>
                </c:pt>
                <c:pt idx="131">
                  <c:v>34901</c:v>
                </c:pt>
                <c:pt idx="132">
                  <c:v>34904</c:v>
                </c:pt>
                <c:pt idx="133">
                  <c:v>34905</c:v>
                </c:pt>
                <c:pt idx="134">
                  <c:v>34906</c:v>
                </c:pt>
                <c:pt idx="135">
                  <c:v>34907</c:v>
                </c:pt>
                <c:pt idx="136">
                  <c:v>34908</c:v>
                </c:pt>
                <c:pt idx="137">
                  <c:v>34911</c:v>
                </c:pt>
                <c:pt idx="138">
                  <c:v>34912</c:v>
                </c:pt>
                <c:pt idx="139">
                  <c:v>34913</c:v>
                </c:pt>
                <c:pt idx="140">
                  <c:v>34914</c:v>
                </c:pt>
                <c:pt idx="141">
                  <c:v>34915</c:v>
                </c:pt>
                <c:pt idx="142">
                  <c:v>34918</c:v>
                </c:pt>
                <c:pt idx="143">
                  <c:v>34919</c:v>
                </c:pt>
                <c:pt idx="144">
                  <c:v>34920</c:v>
                </c:pt>
                <c:pt idx="145">
                  <c:v>34921</c:v>
                </c:pt>
                <c:pt idx="146">
                  <c:v>34922</c:v>
                </c:pt>
                <c:pt idx="147">
                  <c:v>34925</c:v>
                </c:pt>
                <c:pt idx="148">
                  <c:v>34926</c:v>
                </c:pt>
                <c:pt idx="149">
                  <c:v>34927</c:v>
                </c:pt>
                <c:pt idx="150">
                  <c:v>34928</c:v>
                </c:pt>
                <c:pt idx="151">
                  <c:v>34929</c:v>
                </c:pt>
                <c:pt idx="152">
                  <c:v>34932</c:v>
                </c:pt>
                <c:pt idx="153">
                  <c:v>34933</c:v>
                </c:pt>
                <c:pt idx="154">
                  <c:v>34934</c:v>
                </c:pt>
                <c:pt idx="155">
                  <c:v>34935</c:v>
                </c:pt>
                <c:pt idx="156">
                  <c:v>34936</c:v>
                </c:pt>
                <c:pt idx="157">
                  <c:v>34939</c:v>
                </c:pt>
                <c:pt idx="158">
                  <c:v>34940</c:v>
                </c:pt>
                <c:pt idx="159">
                  <c:v>34941</c:v>
                </c:pt>
                <c:pt idx="160">
                  <c:v>34942</c:v>
                </c:pt>
                <c:pt idx="161">
                  <c:v>34943</c:v>
                </c:pt>
                <c:pt idx="162">
                  <c:v>34946</c:v>
                </c:pt>
                <c:pt idx="163">
                  <c:v>34947</c:v>
                </c:pt>
                <c:pt idx="164">
                  <c:v>34948</c:v>
                </c:pt>
                <c:pt idx="165">
                  <c:v>34949</c:v>
                </c:pt>
                <c:pt idx="166">
                  <c:v>34950</c:v>
                </c:pt>
                <c:pt idx="167">
                  <c:v>34953</c:v>
                </c:pt>
                <c:pt idx="168">
                  <c:v>34954</c:v>
                </c:pt>
                <c:pt idx="169">
                  <c:v>34955</c:v>
                </c:pt>
                <c:pt idx="170">
                  <c:v>34956</c:v>
                </c:pt>
                <c:pt idx="171">
                  <c:v>34957</c:v>
                </c:pt>
                <c:pt idx="172">
                  <c:v>34960</c:v>
                </c:pt>
                <c:pt idx="173">
                  <c:v>34961</c:v>
                </c:pt>
                <c:pt idx="174">
                  <c:v>34962</c:v>
                </c:pt>
                <c:pt idx="175">
                  <c:v>34963</c:v>
                </c:pt>
                <c:pt idx="176">
                  <c:v>34964</c:v>
                </c:pt>
                <c:pt idx="177">
                  <c:v>34967</c:v>
                </c:pt>
                <c:pt idx="178">
                  <c:v>34968</c:v>
                </c:pt>
                <c:pt idx="179">
                  <c:v>34969</c:v>
                </c:pt>
                <c:pt idx="180">
                  <c:v>34970</c:v>
                </c:pt>
                <c:pt idx="181">
                  <c:v>34971</c:v>
                </c:pt>
                <c:pt idx="182">
                  <c:v>34974</c:v>
                </c:pt>
                <c:pt idx="183">
                  <c:v>34975</c:v>
                </c:pt>
                <c:pt idx="184">
                  <c:v>34976</c:v>
                </c:pt>
                <c:pt idx="185">
                  <c:v>34977</c:v>
                </c:pt>
                <c:pt idx="186">
                  <c:v>34978</c:v>
                </c:pt>
                <c:pt idx="187">
                  <c:v>34981</c:v>
                </c:pt>
                <c:pt idx="188">
                  <c:v>34982</c:v>
                </c:pt>
                <c:pt idx="189">
                  <c:v>34983</c:v>
                </c:pt>
                <c:pt idx="190">
                  <c:v>34984</c:v>
                </c:pt>
                <c:pt idx="191">
                  <c:v>34985</c:v>
                </c:pt>
                <c:pt idx="192">
                  <c:v>34988</c:v>
                </c:pt>
                <c:pt idx="193">
                  <c:v>34989</c:v>
                </c:pt>
                <c:pt idx="194">
                  <c:v>34990</c:v>
                </c:pt>
                <c:pt idx="195">
                  <c:v>34991</c:v>
                </c:pt>
                <c:pt idx="196">
                  <c:v>34992</c:v>
                </c:pt>
                <c:pt idx="197">
                  <c:v>34995</c:v>
                </c:pt>
                <c:pt idx="198">
                  <c:v>34996</c:v>
                </c:pt>
                <c:pt idx="199">
                  <c:v>34997</c:v>
                </c:pt>
                <c:pt idx="200">
                  <c:v>34998</c:v>
                </c:pt>
                <c:pt idx="201">
                  <c:v>34999</c:v>
                </c:pt>
                <c:pt idx="202">
                  <c:v>35002</c:v>
                </c:pt>
                <c:pt idx="203">
                  <c:v>35003</c:v>
                </c:pt>
                <c:pt idx="204">
                  <c:v>35004</c:v>
                </c:pt>
                <c:pt idx="205">
                  <c:v>35005</c:v>
                </c:pt>
                <c:pt idx="206">
                  <c:v>35006</c:v>
                </c:pt>
                <c:pt idx="207">
                  <c:v>35009</c:v>
                </c:pt>
                <c:pt idx="208">
                  <c:v>35010</c:v>
                </c:pt>
                <c:pt idx="209">
                  <c:v>35011</c:v>
                </c:pt>
                <c:pt idx="210">
                  <c:v>35012</c:v>
                </c:pt>
                <c:pt idx="211">
                  <c:v>35013</c:v>
                </c:pt>
                <c:pt idx="212">
                  <c:v>35016</c:v>
                </c:pt>
                <c:pt idx="213">
                  <c:v>35017</c:v>
                </c:pt>
                <c:pt idx="214">
                  <c:v>35018</c:v>
                </c:pt>
                <c:pt idx="215">
                  <c:v>35019</c:v>
                </c:pt>
                <c:pt idx="216">
                  <c:v>35020</c:v>
                </c:pt>
                <c:pt idx="217">
                  <c:v>35023</c:v>
                </c:pt>
                <c:pt idx="218">
                  <c:v>35024</c:v>
                </c:pt>
                <c:pt idx="219">
                  <c:v>35025</c:v>
                </c:pt>
                <c:pt idx="220">
                  <c:v>35026</c:v>
                </c:pt>
                <c:pt idx="221">
                  <c:v>35027</c:v>
                </c:pt>
                <c:pt idx="222">
                  <c:v>35030</c:v>
                </c:pt>
                <c:pt idx="223">
                  <c:v>35031</c:v>
                </c:pt>
                <c:pt idx="224">
                  <c:v>35032</c:v>
                </c:pt>
                <c:pt idx="225">
                  <c:v>35033</c:v>
                </c:pt>
                <c:pt idx="226">
                  <c:v>35034</c:v>
                </c:pt>
                <c:pt idx="227">
                  <c:v>35037</c:v>
                </c:pt>
                <c:pt idx="228">
                  <c:v>35038</c:v>
                </c:pt>
                <c:pt idx="229">
                  <c:v>35039</c:v>
                </c:pt>
                <c:pt idx="230">
                  <c:v>35040</c:v>
                </c:pt>
                <c:pt idx="231">
                  <c:v>35041</c:v>
                </c:pt>
                <c:pt idx="232">
                  <c:v>35044</c:v>
                </c:pt>
                <c:pt idx="233">
                  <c:v>35045</c:v>
                </c:pt>
                <c:pt idx="234">
                  <c:v>35046</c:v>
                </c:pt>
                <c:pt idx="235">
                  <c:v>35047</c:v>
                </c:pt>
                <c:pt idx="236">
                  <c:v>35048</c:v>
                </c:pt>
                <c:pt idx="237">
                  <c:v>35051</c:v>
                </c:pt>
                <c:pt idx="238">
                  <c:v>35052</c:v>
                </c:pt>
                <c:pt idx="239">
                  <c:v>35053</c:v>
                </c:pt>
                <c:pt idx="240">
                  <c:v>35054</c:v>
                </c:pt>
                <c:pt idx="241">
                  <c:v>35055</c:v>
                </c:pt>
                <c:pt idx="242">
                  <c:v>35058</c:v>
                </c:pt>
                <c:pt idx="243">
                  <c:v>35059</c:v>
                </c:pt>
                <c:pt idx="244">
                  <c:v>35060</c:v>
                </c:pt>
                <c:pt idx="245">
                  <c:v>35061</c:v>
                </c:pt>
                <c:pt idx="246">
                  <c:v>35062</c:v>
                </c:pt>
                <c:pt idx="247">
                  <c:v>35065</c:v>
                </c:pt>
                <c:pt idx="248">
                  <c:v>35066</c:v>
                </c:pt>
                <c:pt idx="249">
                  <c:v>35067</c:v>
                </c:pt>
                <c:pt idx="250">
                  <c:v>35068</c:v>
                </c:pt>
                <c:pt idx="251">
                  <c:v>35069</c:v>
                </c:pt>
                <c:pt idx="252">
                  <c:v>35072</c:v>
                </c:pt>
                <c:pt idx="253">
                  <c:v>35073</c:v>
                </c:pt>
                <c:pt idx="254">
                  <c:v>35074</c:v>
                </c:pt>
                <c:pt idx="255">
                  <c:v>35075</c:v>
                </c:pt>
                <c:pt idx="256">
                  <c:v>35076</c:v>
                </c:pt>
                <c:pt idx="257">
                  <c:v>35079</c:v>
                </c:pt>
                <c:pt idx="258">
                  <c:v>35080</c:v>
                </c:pt>
                <c:pt idx="259">
                  <c:v>35081</c:v>
                </c:pt>
                <c:pt idx="260">
                  <c:v>35082</c:v>
                </c:pt>
                <c:pt idx="261">
                  <c:v>35083</c:v>
                </c:pt>
                <c:pt idx="262">
                  <c:v>35086</c:v>
                </c:pt>
                <c:pt idx="263">
                  <c:v>35087</c:v>
                </c:pt>
                <c:pt idx="264">
                  <c:v>35088</c:v>
                </c:pt>
                <c:pt idx="265">
                  <c:v>35089</c:v>
                </c:pt>
                <c:pt idx="266">
                  <c:v>35090</c:v>
                </c:pt>
                <c:pt idx="267">
                  <c:v>35093</c:v>
                </c:pt>
                <c:pt idx="268">
                  <c:v>35094</c:v>
                </c:pt>
                <c:pt idx="269">
                  <c:v>35095</c:v>
                </c:pt>
                <c:pt idx="270">
                  <c:v>35096</c:v>
                </c:pt>
                <c:pt idx="271">
                  <c:v>35097</c:v>
                </c:pt>
                <c:pt idx="272">
                  <c:v>35100</c:v>
                </c:pt>
                <c:pt idx="273">
                  <c:v>35101</c:v>
                </c:pt>
                <c:pt idx="274">
                  <c:v>35102</c:v>
                </c:pt>
                <c:pt idx="275">
                  <c:v>35103</c:v>
                </c:pt>
                <c:pt idx="276">
                  <c:v>35104</c:v>
                </c:pt>
                <c:pt idx="277">
                  <c:v>35107</c:v>
                </c:pt>
                <c:pt idx="278">
                  <c:v>35108</c:v>
                </c:pt>
                <c:pt idx="279">
                  <c:v>35109</c:v>
                </c:pt>
                <c:pt idx="280">
                  <c:v>35110</c:v>
                </c:pt>
                <c:pt idx="281">
                  <c:v>35111</c:v>
                </c:pt>
                <c:pt idx="282">
                  <c:v>35114</c:v>
                </c:pt>
                <c:pt idx="283">
                  <c:v>35115</c:v>
                </c:pt>
                <c:pt idx="284">
                  <c:v>35116</c:v>
                </c:pt>
                <c:pt idx="285">
                  <c:v>35117</c:v>
                </c:pt>
                <c:pt idx="286">
                  <c:v>35118</c:v>
                </c:pt>
                <c:pt idx="287">
                  <c:v>35121</c:v>
                </c:pt>
                <c:pt idx="288">
                  <c:v>35122</c:v>
                </c:pt>
                <c:pt idx="289">
                  <c:v>35123</c:v>
                </c:pt>
                <c:pt idx="290">
                  <c:v>35124</c:v>
                </c:pt>
                <c:pt idx="291">
                  <c:v>35125</c:v>
                </c:pt>
                <c:pt idx="292">
                  <c:v>35128</c:v>
                </c:pt>
                <c:pt idx="293">
                  <c:v>35129</c:v>
                </c:pt>
                <c:pt idx="294">
                  <c:v>35130</c:v>
                </c:pt>
                <c:pt idx="295">
                  <c:v>35131</c:v>
                </c:pt>
                <c:pt idx="296">
                  <c:v>35132</c:v>
                </c:pt>
                <c:pt idx="297">
                  <c:v>35135</c:v>
                </c:pt>
                <c:pt idx="298">
                  <c:v>35136</c:v>
                </c:pt>
                <c:pt idx="299">
                  <c:v>35137</c:v>
                </c:pt>
                <c:pt idx="300">
                  <c:v>35138</c:v>
                </c:pt>
                <c:pt idx="301">
                  <c:v>35139</c:v>
                </c:pt>
                <c:pt idx="302">
                  <c:v>35142</c:v>
                </c:pt>
                <c:pt idx="303">
                  <c:v>35143</c:v>
                </c:pt>
                <c:pt idx="304">
                  <c:v>35144</c:v>
                </c:pt>
                <c:pt idx="305">
                  <c:v>35145</c:v>
                </c:pt>
                <c:pt idx="306">
                  <c:v>35146</c:v>
                </c:pt>
                <c:pt idx="307">
                  <c:v>35149</c:v>
                </c:pt>
                <c:pt idx="308">
                  <c:v>35150</c:v>
                </c:pt>
                <c:pt idx="309">
                  <c:v>35151</c:v>
                </c:pt>
                <c:pt idx="310">
                  <c:v>35152</c:v>
                </c:pt>
                <c:pt idx="311">
                  <c:v>35153</c:v>
                </c:pt>
                <c:pt idx="312">
                  <c:v>35156</c:v>
                </c:pt>
                <c:pt idx="313">
                  <c:v>35157</c:v>
                </c:pt>
                <c:pt idx="314">
                  <c:v>35158</c:v>
                </c:pt>
                <c:pt idx="315">
                  <c:v>35159</c:v>
                </c:pt>
                <c:pt idx="316">
                  <c:v>35160</c:v>
                </c:pt>
                <c:pt idx="317">
                  <c:v>35163</c:v>
                </c:pt>
                <c:pt idx="318">
                  <c:v>35164</c:v>
                </c:pt>
                <c:pt idx="319">
                  <c:v>35165</c:v>
                </c:pt>
                <c:pt idx="320">
                  <c:v>35166</c:v>
                </c:pt>
                <c:pt idx="321">
                  <c:v>35167</c:v>
                </c:pt>
                <c:pt idx="322">
                  <c:v>35170</c:v>
                </c:pt>
                <c:pt idx="323">
                  <c:v>35171</c:v>
                </c:pt>
                <c:pt idx="324">
                  <c:v>35172</c:v>
                </c:pt>
                <c:pt idx="325">
                  <c:v>35173</c:v>
                </c:pt>
                <c:pt idx="326">
                  <c:v>35174</c:v>
                </c:pt>
                <c:pt idx="327">
                  <c:v>35177</c:v>
                </c:pt>
                <c:pt idx="328">
                  <c:v>35178</c:v>
                </c:pt>
                <c:pt idx="329">
                  <c:v>35179</c:v>
                </c:pt>
                <c:pt idx="330">
                  <c:v>35180</c:v>
                </c:pt>
                <c:pt idx="331">
                  <c:v>35181</c:v>
                </c:pt>
                <c:pt idx="332">
                  <c:v>35184</c:v>
                </c:pt>
                <c:pt idx="333">
                  <c:v>35185</c:v>
                </c:pt>
                <c:pt idx="334">
                  <c:v>35186</c:v>
                </c:pt>
                <c:pt idx="335">
                  <c:v>35187</c:v>
                </c:pt>
                <c:pt idx="336">
                  <c:v>35188</c:v>
                </c:pt>
                <c:pt idx="337">
                  <c:v>35191</c:v>
                </c:pt>
                <c:pt idx="338">
                  <c:v>35192</c:v>
                </c:pt>
                <c:pt idx="339">
                  <c:v>35193</c:v>
                </c:pt>
                <c:pt idx="340">
                  <c:v>35194</c:v>
                </c:pt>
                <c:pt idx="341">
                  <c:v>35195</c:v>
                </c:pt>
                <c:pt idx="342">
                  <c:v>35198</c:v>
                </c:pt>
                <c:pt idx="343">
                  <c:v>35199</c:v>
                </c:pt>
                <c:pt idx="344">
                  <c:v>35200</c:v>
                </c:pt>
                <c:pt idx="345">
                  <c:v>35201</c:v>
                </c:pt>
                <c:pt idx="346">
                  <c:v>35202</c:v>
                </c:pt>
                <c:pt idx="347">
                  <c:v>35205</c:v>
                </c:pt>
                <c:pt idx="348">
                  <c:v>35206</c:v>
                </c:pt>
                <c:pt idx="349">
                  <c:v>35207</c:v>
                </c:pt>
                <c:pt idx="350">
                  <c:v>35208</c:v>
                </c:pt>
                <c:pt idx="351">
                  <c:v>35209</c:v>
                </c:pt>
                <c:pt idx="352">
                  <c:v>35212</c:v>
                </c:pt>
                <c:pt idx="353">
                  <c:v>35213</c:v>
                </c:pt>
                <c:pt idx="354">
                  <c:v>35214</c:v>
                </c:pt>
                <c:pt idx="355">
                  <c:v>35215</c:v>
                </c:pt>
                <c:pt idx="356">
                  <c:v>35216</c:v>
                </c:pt>
                <c:pt idx="357">
                  <c:v>35219</c:v>
                </c:pt>
                <c:pt idx="358">
                  <c:v>35220</c:v>
                </c:pt>
                <c:pt idx="359">
                  <c:v>35221</c:v>
                </c:pt>
                <c:pt idx="360">
                  <c:v>35222</c:v>
                </c:pt>
                <c:pt idx="361">
                  <c:v>35223</c:v>
                </c:pt>
                <c:pt idx="362">
                  <c:v>35226</c:v>
                </c:pt>
                <c:pt idx="363">
                  <c:v>35227</c:v>
                </c:pt>
                <c:pt idx="364">
                  <c:v>35228</c:v>
                </c:pt>
                <c:pt idx="365">
                  <c:v>35229</c:v>
                </c:pt>
                <c:pt idx="366">
                  <c:v>35230</c:v>
                </c:pt>
                <c:pt idx="367">
                  <c:v>35233</c:v>
                </c:pt>
                <c:pt idx="368">
                  <c:v>35234</c:v>
                </c:pt>
                <c:pt idx="369">
                  <c:v>35235</c:v>
                </c:pt>
                <c:pt idx="370">
                  <c:v>35236</c:v>
                </c:pt>
                <c:pt idx="371">
                  <c:v>35237</c:v>
                </c:pt>
                <c:pt idx="372">
                  <c:v>35240</c:v>
                </c:pt>
                <c:pt idx="373">
                  <c:v>35241</c:v>
                </c:pt>
                <c:pt idx="374">
                  <c:v>35242</c:v>
                </c:pt>
                <c:pt idx="375">
                  <c:v>35243</c:v>
                </c:pt>
                <c:pt idx="376">
                  <c:v>35244</c:v>
                </c:pt>
                <c:pt idx="377">
                  <c:v>35247</c:v>
                </c:pt>
                <c:pt idx="378">
                  <c:v>35248</c:v>
                </c:pt>
                <c:pt idx="379">
                  <c:v>35249</c:v>
                </c:pt>
                <c:pt idx="380">
                  <c:v>35250</c:v>
                </c:pt>
                <c:pt idx="381">
                  <c:v>35251</c:v>
                </c:pt>
                <c:pt idx="382">
                  <c:v>35254</c:v>
                </c:pt>
                <c:pt idx="383">
                  <c:v>35255</c:v>
                </c:pt>
                <c:pt idx="384">
                  <c:v>35256</c:v>
                </c:pt>
                <c:pt idx="385">
                  <c:v>35257</c:v>
                </c:pt>
                <c:pt idx="386">
                  <c:v>35258</c:v>
                </c:pt>
                <c:pt idx="387">
                  <c:v>35261</c:v>
                </c:pt>
                <c:pt idx="388">
                  <c:v>35262</c:v>
                </c:pt>
                <c:pt idx="389">
                  <c:v>35263</c:v>
                </c:pt>
                <c:pt idx="390">
                  <c:v>35264</c:v>
                </c:pt>
                <c:pt idx="391">
                  <c:v>35265</c:v>
                </c:pt>
                <c:pt idx="392">
                  <c:v>35268</c:v>
                </c:pt>
                <c:pt idx="393">
                  <c:v>35269</c:v>
                </c:pt>
                <c:pt idx="394">
                  <c:v>35270</c:v>
                </c:pt>
                <c:pt idx="395">
                  <c:v>35271</c:v>
                </c:pt>
                <c:pt idx="396">
                  <c:v>35272</c:v>
                </c:pt>
                <c:pt idx="397">
                  <c:v>35275</c:v>
                </c:pt>
                <c:pt idx="398">
                  <c:v>35276</c:v>
                </c:pt>
                <c:pt idx="399">
                  <c:v>35277</c:v>
                </c:pt>
                <c:pt idx="400">
                  <c:v>35278</c:v>
                </c:pt>
                <c:pt idx="401">
                  <c:v>35279</c:v>
                </c:pt>
                <c:pt idx="402">
                  <c:v>35282</c:v>
                </c:pt>
                <c:pt idx="403">
                  <c:v>35283</c:v>
                </c:pt>
                <c:pt idx="404">
                  <c:v>35284</c:v>
                </c:pt>
                <c:pt idx="405">
                  <c:v>35285</c:v>
                </c:pt>
                <c:pt idx="406">
                  <c:v>35286</c:v>
                </c:pt>
                <c:pt idx="407">
                  <c:v>35289</c:v>
                </c:pt>
                <c:pt idx="408">
                  <c:v>35290</c:v>
                </c:pt>
                <c:pt idx="409">
                  <c:v>35291</c:v>
                </c:pt>
                <c:pt idx="410">
                  <c:v>35292</c:v>
                </c:pt>
                <c:pt idx="411">
                  <c:v>35293</c:v>
                </c:pt>
                <c:pt idx="412">
                  <c:v>35296</c:v>
                </c:pt>
                <c:pt idx="413">
                  <c:v>35297</c:v>
                </c:pt>
                <c:pt idx="414">
                  <c:v>35298</c:v>
                </c:pt>
                <c:pt idx="415">
                  <c:v>35299</c:v>
                </c:pt>
                <c:pt idx="416">
                  <c:v>35300</c:v>
                </c:pt>
                <c:pt idx="417">
                  <c:v>35303</c:v>
                </c:pt>
                <c:pt idx="418">
                  <c:v>35304</c:v>
                </c:pt>
                <c:pt idx="419">
                  <c:v>35305</c:v>
                </c:pt>
                <c:pt idx="420">
                  <c:v>35306</c:v>
                </c:pt>
                <c:pt idx="421">
                  <c:v>35307</c:v>
                </c:pt>
                <c:pt idx="422">
                  <c:v>35310</c:v>
                </c:pt>
                <c:pt idx="423">
                  <c:v>35311</c:v>
                </c:pt>
                <c:pt idx="424">
                  <c:v>35312</c:v>
                </c:pt>
                <c:pt idx="425">
                  <c:v>35313</c:v>
                </c:pt>
                <c:pt idx="426">
                  <c:v>35314</c:v>
                </c:pt>
                <c:pt idx="427">
                  <c:v>35317</c:v>
                </c:pt>
                <c:pt idx="428">
                  <c:v>35318</c:v>
                </c:pt>
                <c:pt idx="429">
                  <c:v>35319</c:v>
                </c:pt>
                <c:pt idx="430">
                  <c:v>35320</c:v>
                </c:pt>
                <c:pt idx="431">
                  <c:v>35321</c:v>
                </c:pt>
                <c:pt idx="432">
                  <c:v>35324</c:v>
                </c:pt>
                <c:pt idx="433">
                  <c:v>35325</c:v>
                </c:pt>
                <c:pt idx="434">
                  <c:v>35326</c:v>
                </c:pt>
                <c:pt idx="435">
                  <c:v>35327</c:v>
                </c:pt>
                <c:pt idx="436">
                  <c:v>35328</c:v>
                </c:pt>
                <c:pt idx="437">
                  <c:v>35331</c:v>
                </c:pt>
                <c:pt idx="438">
                  <c:v>35332</c:v>
                </c:pt>
                <c:pt idx="439">
                  <c:v>35333</c:v>
                </c:pt>
                <c:pt idx="440">
                  <c:v>35334</c:v>
                </c:pt>
                <c:pt idx="441">
                  <c:v>35335</c:v>
                </c:pt>
                <c:pt idx="442">
                  <c:v>35338</c:v>
                </c:pt>
                <c:pt idx="443">
                  <c:v>35339</c:v>
                </c:pt>
                <c:pt idx="444">
                  <c:v>35340</c:v>
                </c:pt>
                <c:pt idx="445">
                  <c:v>35341</c:v>
                </c:pt>
                <c:pt idx="446">
                  <c:v>35342</c:v>
                </c:pt>
                <c:pt idx="447">
                  <c:v>35345</c:v>
                </c:pt>
                <c:pt idx="448">
                  <c:v>35346</c:v>
                </c:pt>
                <c:pt idx="449">
                  <c:v>35347</c:v>
                </c:pt>
                <c:pt idx="450">
                  <c:v>35348</c:v>
                </c:pt>
                <c:pt idx="451">
                  <c:v>35349</c:v>
                </c:pt>
                <c:pt idx="452">
                  <c:v>35352</c:v>
                </c:pt>
                <c:pt idx="453">
                  <c:v>35353</c:v>
                </c:pt>
                <c:pt idx="454">
                  <c:v>35354</c:v>
                </c:pt>
                <c:pt idx="455">
                  <c:v>35355</c:v>
                </c:pt>
                <c:pt idx="456">
                  <c:v>35356</c:v>
                </c:pt>
                <c:pt idx="457">
                  <c:v>35359</c:v>
                </c:pt>
                <c:pt idx="458">
                  <c:v>35360</c:v>
                </c:pt>
                <c:pt idx="459">
                  <c:v>35361</c:v>
                </c:pt>
                <c:pt idx="460">
                  <c:v>35362</c:v>
                </c:pt>
                <c:pt idx="461">
                  <c:v>35363</c:v>
                </c:pt>
                <c:pt idx="462">
                  <c:v>35366</c:v>
                </c:pt>
                <c:pt idx="463">
                  <c:v>35367</c:v>
                </c:pt>
                <c:pt idx="464">
                  <c:v>35368</c:v>
                </c:pt>
                <c:pt idx="465">
                  <c:v>35369</c:v>
                </c:pt>
                <c:pt idx="466">
                  <c:v>35370</c:v>
                </c:pt>
                <c:pt idx="467">
                  <c:v>35373</c:v>
                </c:pt>
                <c:pt idx="468">
                  <c:v>35374</c:v>
                </c:pt>
                <c:pt idx="469">
                  <c:v>35375</c:v>
                </c:pt>
                <c:pt idx="470">
                  <c:v>35376</c:v>
                </c:pt>
                <c:pt idx="471">
                  <c:v>35377</c:v>
                </c:pt>
                <c:pt idx="472">
                  <c:v>35380</c:v>
                </c:pt>
                <c:pt idx="473">
                  <c:v>35381</c:v>
                </c:pt>
                <c:pt idx="474">
                  <c:v>35382</c:v>
                </c:pt>
                <c:pt idx="475">
                  <c:v>35383</c:v>
                </c:pt>
                <c:pt idx="476">
                  <c:v>35384</c:v>
                </c:pt>
                <c:pt idx="477">
                  <c:v>35387</c:v>
                </c:pt>
                <c:pt idx="478">
                  <c:v>35388</c:v>
                </c:pt>
                <c:pt idx="479">
                  <c:v>35389</c:v>
                </c:pt>
                <c:pt idx="480">
                  <c:v>35390</c:v>
                </c:pt>
                <c:pt idx="481">
                  <c:v>35391</c:v>
                </c:pt>
                <c:pt idx="482">
                  <c:v>35394</c:v>
                </c:pt>
                <c:pt idx="483">
                  <c:v>35395</c:v>
                </c:pt>
                <c:pt idx="484">
                  <c:v>35396</c:v>
                </c:pt>
                <c:pt idx="485">
                  <c:v>35397</c:v>
                </c:pt>
                <c:pt idx="486">
                  <c:v>35398</c:v>
                </c:pt>
                <c:pt idx="487">
                  <c:v>35401</c:v>
                </c:pt>
                <c:pt idx="488">
                  <c:v>35402</c:v>
                </c:pt>
                <c:pt idx="489">
                  <c:v>35403</c:v>
                </c:pt>
                <c:pt idx="490">
                  <c:v>35404</c:v>
                </c:pt>
                <c:pt idx="491">
                  <c:v>35405</c:v>
                </c:pt>
                <c:pt idx="492">
                  <c:v>35408</c:v>
                </c:pt>
                <c:pt idx="493">
                  <c:v>35409</c:v>
                </c:pt>
                <c:pt idx="494">
                  <c:v>35410</c:v>
                </c:pt>
                <c:pt idx="495">
                  <c:v>35411</c:v>
                </c:pt>
                <c:pt idx="496">
                  <c:v>35412</c:v>
                </c:pt>
                <c:pt idx="497">
                  <c:v>35415</c:v>
                </c:pt>
                <c:pt idx="498">
                  <c:v>35416</c:v>
                </c:pt>
                <c:pt idx="499">
                  <c:v>35417</c:v>
                </c:pt>
                <c:pt idx="500">
                  <c:v>35418</c:v>
                </c:pt>
                <c:pt idx="501">
                  <c:v>35419</c:v>
                </c:pt>
                <c:pt idx="502">
                  <c:v>35422</c:v>
                </c:pt>
                <c:pt idx="503">
                  <c:v>35423</c:v>
                </c:pt>
                <c:pt idx="504">
                  <c:v>35424</c:v>
                </c:pt>
                <c:pt idx="505">
                  <c:v>35425</c:v>
                </c:pt>
                <c:pt idx="506">
                  <c:v>35426</c:v>
                </c:pt>
                <c:pt idx="507">
                  <c:v>35429</c:v>
                </c:pt>
                <c:pt idx="508">
                  <c:v>35430</c:v>
                </c:pt>
                <c:pt idx="509">
                  <c:v>35431</c:v>
                </c:pt>
                <c:pt idx="510">
                  <c:v>35432</c:v>
                </c:pt>
                <c:pt idx="511">
                  <c:v>35433</c:v>
                </c:pt>
                <c:pt idx="512">
                  <c:v>35436</c:v>
                </c:pt>
                <c:pt idx="513">
                  <c:v>35437</c:v>
                </c:pt>
                <c:pt idx="514">
                  <c:v>35438</c:v>
                </c:pt>
                <c:pt idx="515">
                  <c:v>35439</c:v>
                </c:pt>
                <c:pt idx="516">
                  <c:v>35440</c:v>
                </c:pt>
                <c:pt idx="517">
                  <c:v>35443</c:v>
                </c:pt>
                <c:pt idx="518">
                  <c:v>35444</c:v>
                </c:pt>
                <c:pt idx="519">
                  <c:v>35445</c:v>
                </c:pt>
                <c:pt idx="520">
                  <c:v>35446</c:v>
                </c:pt>
                <c:pt idx="521">
                  <c:v>35447</c:v>
                </c:pt>
                <c:pt idx="522">
                  <c:v>35450</c:v>
                </c:pt>
                <c:pt idx="523">
                  <c:v>35451</c:v>
                </c:pt>
                <c:pt idx="524">
                  <c:v>35452</c:v>
                </c:pt>
                <c:pt idx="525">
                  <c:v>35453</c:v>
                </c:pt>
                <c:pt idx="526">
                  <c:v>35454</c:v>
                </c:pt>
                <c:pt idx="527">
                  <c:v>35457</c:v>
                </c:pt>
                <c:pt idx="528">
                  <c:v>35458</c:v>
                </c:pt>
                <c:pt idx="529">
                  <c:v>35459</c:v>
                </c:pt>
                <c:pt idx="530">
                  <c:v>35460</c:v>
                </c:pt>
                <c:pt idx="531">
                  <c:v>35461</c:v>
                </c:pt>
                <c:pt idx="532">
                  <c:v>35464</c:v>
                </c:pt>
                <c:pt idx="533">
                  <c:v>35465</c:v>
                </c:pt>
                <c:pt idx="534">
                  <c:v>35466</c:v>
                </c:pt>
                <c:pt idx="535">
                  <c:v>35467</c:v>
                </c:pt>
                <c:pt idx="536">
                  <c:v>35468</c:v>
                </c:pt>
                <c:pt idx="537">
                  <c:v>35471</c:v>
                </c:pt>
                <c:pt idx="538">
                  <c:v>35472</c:v>
                </c:pt>
                <c:pt idx="539">
                  <c:v>35473</c:v>
                </c:pt>
                <c:pt idx="540">
                  <c:v>35474</c:v>
                </c:pt>
                <c:pt idx="541">
                  <c:v>35475</c:v>
                </c:pt>
                <c:pt idx="542">
                  <c:v>35478</c:v>
                </c:pt>
                <c:pt idx="543">
                  <c:v>35479</c:v>
                </c:pt>
                <c:pt idx="544">
                  <c:v>35480</c:v>
                </c:pt>
                <c:pt idx="545">
                  <c:v>35481</c:v>
                </c:pt>
                <c:pt idx="546">
                  <c:v>35482</c:v>
                </c:pt>
                <c:pt idx="547">
                  <c:v>35485</c:v>
                </c:pt>
                <c:pt idx="548">
                  <c:v>35486</c:v>
                </c:pt>
                <c:pt idx="549">
                  <c:v>35487</c:v>
                </c:pt>
                <c:pt idx="550">
                  <c:v>35488</c:v>
                </c:pt>
                <c:pt idx="551">
                  <c:v>35489</c:v>
                </c:pt>
                <c:pt idx="552">
                  <c:v>35492</c:v>
                </c:pt>
                <c:pt idx="553">
                  <c:v>35493</c:v>
                </c:pt>
                <c:pt idx="554">
                  <c:v>35494</c:v>
                </c:pt>
                <c:pt idx="555">
                  <c:v>35495</c:v>
                </c:pt>
                <c:pt idx="556">
                  <c:v>35496</c:v>
                </c:pt>
                <c:pt idx="557">
                  <c:v>35499</c:v>
                </c:pt>
                <c:pt idx="558">
                  <c:v>35500</c:v>
                </c:pt>
                <c:pt idx="559">
                  <c:v>35501</c:v>
                </c:pt>
                <c:pt idx="560">
                  <c:v>35502</c:v>
                </c:pt>
                <c:pt idx="561">
                  <c:v>35503</c:v>
                </c:pt>
                <c:pt idx="562">
                  <c:v>35506</c:v>
                </c:pt>
                <c:pt idx="563">
                  <c:v>35507</c:v>
                </c:pt>
                <c:pt idx="564">
                  <c:v>35508</c:v>
                </c:pt>
                <c:pt idx="565">
                  <c:v>35509</c:v>
                </c:pt>
                <c:pt idx="566">
                  <c:v>35510</c:v>
                </c:pt>
                <c:pt idx="567">
                  <c:v>35513</c:v>
                </c:pt>
                <c:pt idx="568">
                  <c:v>35514</c:v>
                </c:pt>
                <c:pt idx="569">
                  <c:v>35515</c:v>
                </c:pt>
                <c:pt idx="570">
                  <c:v>35516</c:v>
                </c:pt>
                <c:pt idx="571">
                  <c:v>35517</c:v>
                </c:pt>
                <c:pt idx="572">
                  <c:v>35520</c:v>
                </c:pt>
                <c:pt idx="573">
                  <c:v>35521</c:v>
                </c:pt>
                <c:pt idx="574">
                  <c:v>35522</c:v>
                </c:pt>
                <c:pt idx="575">
                  <c:v>35523</c:v>
                </c:pt>
                <c:pt idx="576">
                  <c:v>35524</c:v>
                </c:pt>
                <c:pt idx="577">
                  <c:v>35527</c:v>
                </c:pt>
                <c:pt idx="578">
                  <c:v>35528</c:v>
                </c:pt>
                <c:pt idx="579">
                  <c:v>35529</c:v>
                </c:pt>
                <c:pt idx="580">
                  <c:v>35530</c:v>
                </c:pt>
                <c:pt idx="581">
                  <c:v>35531</c:v>
                </c:pt>
                <c:pt idx="582">
                  <c:v>35534</c:v>
                </c:pt>
                <c:pt idx="583">
                  <c:v>35535</c:v>
                </c:pt>
                <c:pt idx="584">
                  <c:v>35536</c:v>
                </c:pt>
                <c:pt idx="585">
                  <c:v>35537</c:v>
                </c:pt>
                <c:pt idx="586">
                  <c:v>35538</c:v>
                </c:pt>
                <c:pt idx="587">
                  <c:v>35541</c:v>
                </c:pt>
                <c:pt idx="588">
                  <c:v>35542</c:v>
                </c:pt>
                <c:pt idx="589">
                  <c:v>35543</c:v>
                </c:pt>
                <c:pt idx="590">
                  <c:v>35544</c:v>
                </c:pt>
                <c:pt idx="591">
                  <c:v>35545</c:v>
                </c:pt>
                <c:pt idx="592">
                  <c:v>35548</c:v>
                </c:pt>
                <c:pt idx="593">
                  <c:v>35549</c:v>
                </c:pt>
                <c:pt idx="594">
                  <c:v>35550</c:v>
                </c:pt>
                <c:pt idx="595">
                  <c:v>35551</c:v>
                </c:pt>
                <c:pt idx="596">
                  <c:v>35552</c:v>
                </c:pt>
                <c:pt idx="597">
                  <c:v>35555</c:v>
                </c:pt>
                <c:pt idx="598">
                  <c:v>35556</c:v>
                </c:pt>
                <c:pt idx="599">
                  <c:v>35557</c:v>
                </c:pt>
                <c:pt idx="600">
                  <c:v>35558</c:v>
                </c:pt>
                <c:pt idx="601">
                  <c:v>35559</c:v>
                </c:pt>
                <c:pt idx="602">
                  <c:v>35562</c:v>
                </c:pt>
                <c:pt idx="603">
                  <c:v>35563</c:v>
                </c:pt>
                <c:pt idx="604">
                  <c:v>35564</c:v>
                </c:pt>
                <c:pt idx="605">
                  <c:v>35565</c:v>
                </c:pt>
                <c:pt idx="606">
                  <c:v>35566</c:v>
                </c:pt>
                <c:pt idx="607">
                  <c:v>35569</c:v>
                </c:pt>
                <c:pt idx="608">
                  <c:v>35570</c:v>
                </c:pt>
                <c:pt idx="609">
                  <c:v>35571</c:v>
                </c:pt>
                <c:pt idx="610">
                  <c:v>35572</c:v>
                </c:pt>
                <c:pt idx="611">
                  <c:v>35573</c:v>
                </c:pt>
                <c:pt idx="612">
                  <c:v>35576</c:v>
                </c:pt>
                <c:pt idx="613">
                  <c:v>35577</c:v>
                </c:pt>
                <c:pt idx="614">
                  <c:v>35578</c:v>
                </c:pt>
                <c:pt idx="615">
                  <c:v>35579</c:v>
                </c:pt>
                <c:pt idx="616">
                  <c:v>35580</c:v>
                </c:pt>
                <c:pt idx="617">
                  <c:v>35583</c:v>
                </c:pt>
                <c:pt idx="618">
                  <c:v>35584</c:v>
                </c:pt>
                <c:pt idx="619">
                  <c:v>35585</c:v>
                </c:pt>
                <c:pt idx="620">
                  <c:v>35586</c:v>
                </c:pt>
                <c:pt idx="621">
                  <c:v>35587</c:v>
                </c:pt>
                <c:pt idx="622">
                  <c:v>35590</c:v>
                </c:pt>
                <c:pt idx="623">
                  <c:v>35591</c:v>
                </c:pt>
                <c:pt idx="624">
                  <c:v>35592</c:v>
                </c:pt>
                <c:pt idx="625">
                  <c:v>35593</c:v>
                </c:pt>
                <c:pt idx="626">
                  <c:v>35594</c:v>
                </c:pt>
                <c:pt idx="627">
                  <c:v>35597</c:v>
                </c:pt>
                <c:pt idx="628">
                  <c:v>35598</c:v>
                </c:pt>
                <c:pt idx="629">
                  <c:v>35599</c:v>
                </c:pt>
                <c:pt idx="630">
                  <c:v>35600</c:v>
                </c:pt>
                <c:pt idx="631">
                  <c:v>35601</c:v>
                </c:pt>
                <c:pt idx="632">
                  <c:v>35604</c:v>
                </c:pt>
                <c:pt idx="633">
                  <c:v>35605</c:v>
                </c:pt>
                <c:pt idx="634">
                  <c:v>35606</c:v>
                </c:pt>
                <c:pt idx="635">
                  <c:v>35607</c:v>
                </c:pt>
                <c:pt idx="636">
                  <c:v>35608</c:v>
                </c:pt>
                <c:pt idx="637">
                  <c:v>35611</c:v>
                </c:pt>
                <c:pt idx="638">
                  <c:v>35612</c:v>
                </c:pt>
                <c:pt idx="639">
                  <c:v>35613</c:v>
                </c:pt>
                <c:pt idx="640">
                  <c:v>35614</c:v>
                </c:pt>
                <c:pt idx="641">
                  <c:v>35615</c:v>
                </c:pt>
                <c:pt idx="642">
                  <c:v>35618</c:v>
                </c:pt>
                <c:pt idx="643">
                  <c:v>35619</c:v>
                </c:pt>
                <c:pt idx="644">
                  <c:v>35620</c:v>
                </c:pt>
                <c:pt idx="645">
                  <c:v>35621</c:v>
                </c:pt>
                <c:pt idx="646">
                  <c:v>35622</c:v>
                </c:pt>
                <c:pt idx="647">
                  <c:v>35625</c:v>
                </c:pt>
                <c:pt idx="648">
                  <c:v>35626</c:v>
                </c:pt>
                <c:pt idx="649">
                  <c:v>35627</c:v>
                </c:pt>
                <c:pt idx="650">
                  <c:v>35628</c:v>
                </c:pt>
                <c:pt idx="651">
                  <c:v>35629</c:v>
                </c:pt>
                <c:pt idx="652">
                  <c:v>35632</c:v>
                </c:pt>
                <c:pt idx="653">
                  <c:v>35633</c:v>
                </c:pt>
                <c:pt idx="654">
                  <c:v>35634</c:v>
                </c:pt>
                <c:pt idx="655">
                  <c:v>35635</c:v>
                </c:pt>
                <c:pt idx="656">
                  <c:v>35636</c:v>
                </c:pt>
                <c:pt idx="657">
                  <c:v>35639</c:v>
                </c:pt>
                <c:pt idx="658">
                  <c:v>35640</c:v>
                </c:pt>
                <c:pt idx="659">
                  <c:v>35641</c:v>
                </c:pt>
                <c:pt idx="660">
                  <c:v>35642</c:v>
                </c:pt>
                <c:pt idx="661">
                  <c:v>35643</c:v>
                </c:pt>
                <c:pt idx="662">
                  <c:v>35646</c:v>
                </c:pt>
                <c:pt idx="663">
                  <c:v>35647</c:v>
                </c:pt>
                <c:pt idx="664">
                  <c:v>35648</c:v>
                </c:pt>
                <c:pt idx="665">
                  <c:v>35649</c:v>
                </c:pt>
                <c:pt idx="666">
                  <c:v>35650</c:v>
                </c:pt>
                <c:pt idx="667">
                  <c:v>35653</c:v>
                </c:pt>
                <c:pt idx="668">
                  <c:v>35654</c:v>
                </c:pt>
                <c:pt idx="669">
                  <c:v>35655</c:v>
                </c:pt>
                <c:pt idx="670">
                  <c:v>35656</c:v>
                </c:pt>
                <c:pt idx="671">
                  <c:v>35657</c:v>
                </c:pt>
                <c:pt idx="672">
                  <c:v>35660</c:v>
                </c:pt>
                <c:pt idx="673">
                  <c:v>35661</c:v>
                </c:pt>
                <c:pt idx="674">
                  <c:v>35662</c:v>
                </c:pt>
                <c:pt idx="675">
                  <c:v>35663</c:v>
                </c:pt>
                <c:pt idx="676">
                  <c:v>35664</c:v>
                </c:pt>
                <c:pt idx="677">
                  <c:v>35667</c:v>
                </c:pt>
                <c:pt idx="678">
                  <c:v>35668</c:v>
                </c:pt>
                <c:pt idx="679">
                  <c:v>35669</c:v>
                </c:pt>
                <c:pt idx="680">
                  <c:v>35670</c:v>
                </c:pt>
                <c:pt idx="681">
                  <c:v>35671</c:v>
                </c:pt>
                <c:pt idx="682">
                  <c:v>35674</c:v>
                </c:pt>
                <c:pt idx="683">
                  <c:v>35675</c:v>
                </c:pt>
                <c:pt idx="684">
                  <c:v>35676</c:v>
                </c:pt>
                <c:pt idx="685">
                  <c:v>35677</c:v>
                </c:pt>
                <c:pt idx="686">
                  <c:v>35678</c:v>
                </c:pt>
                <c:pt idx="687">
                  <c:v>35681</c:v>
                </c:pt>
                <c:pt idx="688">
                  <c:v>35682</c:v>
                </c:pt>
                <c:pt idx="689">
                  <c:v>35683</c:v>
                </c:pt>
                <c:pt idx="690">
                  <c:v>35684</c:v>
                </c:pt>
                <c:pt idx="691">
                  <c:v>35685</c:v>
                </c:pt>
                <c:pt idx="692">
                  <c:v>35688</c:v>
                </c:pt>
                <c:pt idx="693">
                  <c:v>35689</c:v>
                </c:pt>
                <c:pt idx="694">
                  <c:v>35690</c:v>
                </c:pt>
                <c:pt idx="695">
                  <c:v>35691</c:v>
                </c:pt>
                <c:pt idx="696">
                  <c:v>35692</c:v>
                </c:pt>
                <c:pt idx="697">
                  <c:v>35695</c:v>
                </c:pt>
                <c:pt idx="698">
                  <c:v>35696</c:v>
                </c:pt>
                <c:pt idx="699">
                  <c:v>35697</c:v>
                </c:pt>
                <c:pt idx="700">
                  <c:v>35698</c:v>
                </c:pt>
                <c:pt idx="701">
                  <c:v>35699</c:v>
                </c:pt>
                <c:pt idx="702">
                  <c:v>35702</c:v>
                </c:pt>
                <c:pt idx="703">
                  <c:v>35703</c:v>
                </c:pt>
                <c:pt idx="704">
                  <c:v>35704</c:v>
                </c:pt>
                <c:pt idx="705">
                  <c:v>35705</c:v>
                </c:pt>
                <c:pt idx="706">
                  <c:v>35706</c:v>
                </c:pt>
                <c:pt idx="707">
                  <c:v>35709</c:v>
                </c:pt>
                <c:pt idx="708">
                  <c:v>35710</c:v>
                </c:pt>
                <c:pt idx="709">
                  <c:v>35711</c:v>
                </c:pt>
                <c:pt idx="710">
                  <c:v>35712</c:v>
                </c:pt>
                <c:pt idx="711">
                  <c:v>35713</c:v>
                </c:pt>
                <c:pt idx="712">
                  <c:v>35716</c:v>
                </c:pt>
                <c:pt idx="713">
                  <c:v>35717</c:v>
                </c:pt>
                <c:pt idx="714">
                  <c:v>35718</c:v>
                </c:pt>
                <c:pt idx="715">
                  <c:v>35719</c:v>
                </c:pt>
                <c:pt idx="716">
                  <c:v>35720</c:v>
                </c:pt>
                <c:pt idx="717">
                  <c:v>35723</c:v>
                </c:pt>
                <c:pt idx="718">
                  <c:v>35724</c:v>
                </c:pt>
                <c:pt idx="719">
                  <c:v>35725</c:v>
                </c:pt>
                <c:pt idx="720">
                  <c:v>35726</c:v>
                </c:pt>
                <c:pt idx="721">
                  <c:v>35727</c:v>
                </c:pt>
                <c:pt idx="722">
                  <c:v>35730</c:v>
                </c:pt>
                <c:pt idx="723">
                  <c:v>35731</c:v>
                </c:pt>
                <c:pt idx="724">
                  <c:v>35732</c:v>
                </c:pt>
                <c:pt idx="725">
                  <c:v>35733</c:v>
                </c:pt>
                <c:pt idx="726">
                  <c:v>35734</c:v>
                </c:pt>
                <c:pt idx="727">
                  <c:v>35737</c:v>
                </c:pt>
                <c:pt idx="728">
                  <c:v>35738</c:v>
                </c:pt>
                <c:pt idx="729">
                  <c:v>35739</c:v>
                </c:pt>
                <c:pt idx="730">
                  <c:v>35740</c:v>
                </c:pt>
                <c:pt idx="731">
                  <c:v>35741</c:v>
                </c:pt>
                <c:pt idx="732">
                  <c:v>35744</c:v>
                </c:pt>
                <c:pt idx="733">
                  <c:v>35745</c:v>
                </c:pt>
                <c:pt idx="734">
                  <c:v>35746</c:v>
                </c:pt>
                <c:pt idx="735">
                  <c:v>35747</c:v>
                </c:pt>
                <c:pt idx="736">
                  <c:v>35748</c:v>
                </c:pt>
                <c:pt idx="737">
                  <c:v>35751</c:v>
                </c:pt>
                <c:pt idx="738">
                  <c:v>35752</c:v>
                </c:pt>
                <c:pt idx="739">
                  <c:v>35753</c:v>
                </c:pt>
                <c:pt idx="740">
                  <c:v>35754</c:v>
                </c:pt>
                <c:pt idx="741">
                  <c:v>35755</c:v>
                </c:pt>
                <c:pt idx="742">
                  <c:v>35758</c:v>
                </c:pt>
                <c:pt idx="743">
                  <c:v>35759</c:v>
                </c:pt>
                <c:pt idx="744">
                  <c:v>35760</c:v>
                </c:pt>
                <c:pt idx="745">
                  <c:v>35761</c:v>
                </c:pt>
                <c:pt idx="746">
                  <c:v>35762</c:v>
                </c:pt>
                <c:pt idx="747">
                  <c:v>35765</c:v>
                </c:pt>
                <c:pt idx="748">
                  <c:v>35766</c:v>
                </c:pt>
                <c:pt idx="749">
                  <c:v>35767</c:v>
                </c:pt>
                <c:pt idx="750">
                  <c:v>35768</c:v>
                </c:pt>
                <c:pt idx="751">
                  <c:v>35769</c:v>
                </c:pt>
                <c:pt idx="752">
                  <c:v>35772</c:v>
                </c:pt>
                <c:pt idx="753">
                  <c:v>35773</c:v>
                </c:pt>
                <c:pt idx="754">
                  <c:v>35774</c:v>
                </c:pt>
                <c:pt idx="755">
                  <c:v>35775</c:v>
                </c:pt>
                <c:pt idx="756">
                  <c:v>35776</c:v>
                </c:pt>
                <c:pt idx="757">
                  <c:v>35779</c:v>
                </c:pt>
                <c:pt idx="758">
                  <c:v>35780</c:v>
                </c:pt>
                <c:pt idx="759">
                  <c:v>35781</c:v>
                </c:pt>
                <c:pt idx="760">
                  <c:v>35782</c:v>
                </c:pt>
                <c:pt idx="761">
                  <c:v>35783</c:v>
                </c:pt>
                <c:pt idx="762">
                  <c:v>35786</c:v>
                </c:pt>
                <c:pt idx="763">
                  <c:v>35787</c:v>
                </c:pt>
                <c:pt idx="764">
                  <c:v>35788</c:v>
                </c:pt>
                <c:pt idx="765">
                  <c:v>35789</c:v>
                </c:pt>
                <c:pt idx="766">
                  <c:v>35790</c:v>
                </c:pt>
                <c:pt idx="767">
                  <c:v>35793</c:v>
                </c:pt>
                <c:pt idx="768">
                  <c:v>35794</c:v>
                </c:pt>
                <c:pt idx="769">
                  <c:v>35795</c:v>
                </c:pt>
                <c:pt idx="770">
                  <c:v>35796</c:v>
                </c:pt>
                <c:pt idx="771">
                  <c:v>35797</c:v>
                </c:pt>
                <c:pt idx="772">
                  <c:v>35800</c:v>
                </c:pt>
                <c:pt idx="773">
                  <c:v>35801</c:v>
                </c:pt>
                <c:pt idx="774">
                  <c:v>35802</c:v>
                </c:pt>
                <c:pt idx="775">
                  <c:v>35803</c:v>
                </c:pt>
                <c:pt idx="776">
                  <c:v>35804</c:v>
                </c:pt>
                <c:pt idx="777">
                  <c:v>35807</c:v>
                </c:pt>
                <c:pt idx="778">
                  <c:v>35808</c:v>
                </c:pt>
                <c:pt idx="779">
                  <c:v>35809</c:v>
                </c:pt>
                <c:pt idx="780">
                  <c:v>35810</c:v>
                </c:pt>
                <c:pt idx="781">
                  <c:v>35811</c:v>
                </c:pt>
                <c:pt idx="782">
                  <c:v>35814</c:v>
                </c:pt>
                <c:pt idx="783">
                  <c:v>35815</c:v>
                </c:pt>
                <c:pt idx="784">
                  <c:v>35816</c:v>
                </c:pt>
                <c:pt idx="785">
                  <c:v>35817</c:v>
                </c:pt>
                <c:pt idx="786">
                  <c:v>35818</c:v>
                </c:pt>
                <c:pt idx="787">
                  <c:v>35821</c:v>
                </c:pt>
                <c:pt idx="788">
                  <c:v>35822</c:v>
                </c:pt>
                <c:pt idx="789">
                  <c:v>35823</c:v>
                </c:pt>
                <c:pt idx="790">
                  <c:v>35824</c:v>
                </c:pt>
                <c:pt idx="791">
                  <c:v>35825</c:v>
                </c:pt>
                <c:pt idx="792">
                  <c:v>35828</c:v>
                </c:pt>
                <c:pt idx="793">
                  <c:v>35829</c:v>
                </c:pt>
                <c:pt idx="794">
                  <c:v>35830</c:v>
                </c:pt>
                <c:pt idx="795">
                  <c:v>35831</c:v>
                </c:pt>
                <c:pt idx="796">
                  <c:v>35832</c:v>
                </c:pt>
                <c:pt idx="797">
                  <c:v>35835</c:v>
                </c:pt>
                <c:pt idx="798">
                  <c:v>35836</c:v>
                </c:pt>
                <c:pt idx="799">
                  <c:v>35837</c:v>
                </c:pt>
                <c:pt idx="800">
                  <c:v>35838</c:v>
                </c:pt>
                <c:pt idx="801">
                  <c:v>35839</c:v>
                </c:pt>
                <c:pt idx="802">
                  <c:v>35842</c:v>
                </c:pt>
                <c:pt idx="803">
                  <c:v>35843</c:v>
                </c:pt>
                <c:pt idx="804">
                  <c:v>35844</c:v>
                </c:pt>
                <c:pt idx="805">
                  <c:v>35845</c:v>
                </c:pt>
                <c:pt idx="806">
                  <c:v>35846</c:v>
                </c:pt>
                <c:pt idx="807">
                  <c:v>35849</c:v>
                </c:pt>
                <c:pt idx="808">
                  <c:v>35850</c:v>
                </c:pt>
                <c:pt idx="809">
                  <c:v>35851</c:v>
                </c:pt>
                <c:pt idx="810">
                  <c:v>35852</c:v>
                </c:pt>
                <c:pt idx="811">
                  <c:v>35853</c:v>
                </c:pt>
                <c:pt idx="812">
                  <c:v>35856</c:v>
                </c:pt>
                <c:pt idx="813">
                  <c:v>35857</c:v>
                </c:pt>
                <c:pt idx="814">
                  <c:v>35858</c:v>
                </c:pt>
                <c:pt idx="815">
                  <c:v>35859</c:v>
                </c:pt>
                <c:pt idx="816">
                  <c:v>35860</c:v>
                </c:pt>
                <c:pt idx="817">
                  <c:v>35863</c:v>
                </c:pt>
                <c:pt idx="818">
                  <c:v>35864</c:v>
                </c:pt>
                <c:pt idx="819">
                  <c:v>35865</c:v>
                </c:pt>
                <c:pt idx="820">
                  <c:v>35866</c:v>
                </c:pt>
                <c:pt idx="821">
                  <c:v>35867</c:v>
                </c:pt>
                <c:pt idx="822">
                  <c:v>35870</c:v>
                </c:pt>
                <c:pt idx="823">
                  <c:v>35871</c:v>
                </c:pt>
                <c:pt idx="824">
                  <c:v>35872</c:v>
                </c:pt>
                <c:pt idx="825">
                  <c:v>35873</c:v>
                </c:pt>
                <c:pt idx="826">
                  <c:v>35874</c:v>
                </c:pt>
                <c:pt idx="827">
                  <c:v>35877</c:v>
                </c:pt>
                <c:pt idx="828">
                  <c:v>35878</c:v>
                </c:pt>
                <c:pt idx="829">
                  <c:v>35879</c:v>
                </c:pt>
                <c:pt idx="830">
                  <c:v>35880</c:v>
                </c:pt>
                <c:pt idx="831">
                  <c:v>35881</c:v>
                </c:pt>
                <c:pt idx="832">
                  <c:v>35884</c:v>
                </c:pt>
                <c:pt idx="833">
                  <c:v>35885</c:v>
                </c:pt>
                <c:pt idx="834">
                  <c:v>35886</c:v>
                </c:pt>
                <c:pt idx="835">
                  <c:v>35887</c:v>
                </c:pt>
                <c:pt idx="836">
                  <c:v>35888</c:v>
                </c:pt>
                <c:pt idx="837">
                  <c:v>35891</c:v>
                </c:pt>
                <c:pt idx="838">
                  <c:v>35892</c:v>
                </c:pt>
                <c:pt idx="839">
                  <c:v>35893</c:v>
                </c:pt>
                <c:pt idx="840">
                  <c:v>35894</c:v>
                </c:pt>
                <c:pt idx="841">
                  <c:v>35895</c:v>
                </c:pt>
                <c:pt idx="842">
                  <c:v>35898</c:v>
                </c:pt>
                <c:pt idx="843">
                  <c:v>35899</c:v>
                </c:pt>
                <c:pt idx="844">
                  <c:v>35900</c:v>
                </c:pt>
                <c:pt idx="845">
                  <c:v>35901</c:v>
                </c:pt>
                <c:pt idx="846">
                  <c:v>35902</c:v>
                </c:pt>
                <c:pt idx="847">
                  <c:v>35905</c:v>
                </c:pt>
                <c:pt idx="848">
                  <c:v>35906</c:v>
                </c:pt>
                <c:pt idx="849">
                  <c:v>35907</c:v>
                </c:pt>
                <c:pt idx="850">
                  <c:v>35908</c:v>
                </c:pt>
                <c:pt idx="851">
                  <c:v>35909</c:v>
                </c:pt>
                <c:pt idx="852">
                  <c:v>35912</c:v>
                </c:pt>
                <c:pt idx="853">
                  <c:v>35913</c:v>
                </c:pt>
                <c:pt idx="854">
                  <c:v>35914</c:v>
                </c:pt>
                <c:pt idx="855">
                  <c:v>35915</c:v>
                </c:pt>
                <c:pt idx="856">
                  <c:v>35916</c:v>
                </c:pt>
                <c:pt idx="857">
                  <c:v>35919</c:v>
                </c:pt>
                <c:pt idx="858">
                  <c:v>35920</c:v>
                </c:pt>
                <c:pt idx="859">
                  <c:v>35921</c:v>
                </c:pt>
                <c:pt idx="860">
                  <c:v>35922</c:v>
                </c:pt>
                <c:pt idx="861">
                  <c:v>35923</c:v>
                </c:pt>
                <c:pt idx="862">
                  <c:v>35926</c:v>
                </c:pt>
                <c:pt idx="863">
                  <c:v>35927</c:v>
                </c:pt>
                <c:pt idx="864">
                  <c:v>35928</c:v>
                </c:pt>
                <c:pt idx="865">
                  <c:v>35929</c:v>
                </c:pt>
                <c:pt idx="866">
                  <c:v>35930</c:v>
                </c:pt>
                <c:pt idx="867">
                  <c:v>35933</c:v>
                </c:pt>
                <c:pt idx="868">
                  <c:v>35934</c:v>
                </c:pt>
                <c:pt idx="869">
                  <c:v>35935</c:v>
                </c:pt>
                <c:pt idx="870">
                  <c:v>35936</c:v>
                </c:pt>
                <c:pt idx="871">
                  <c:v>35937</c:v>
                </c:pt>
                <c:pt idx="872">
                  <c:v>35940</c:v>
                </c:pt>
                <c:pt idx="873">
                  <c:v>35941</c:v>
                </c:pt>
                <c:pt idx="874">
                  <c:v>35942</c:v>
                </c:pt>
                <c:pt idx="875">
                  <c:v>35943</c:v>
                </c:pt>
                <c:pt idx="876">
                  <c:v>35944</c:v>
                </c:pt>
                <c:pt idx="877">
                  <c:v>35947</c:v>
                </c:pt>
                <c:pt idx="878">
                  <c:v>35948</c:v>
                </c:pt>
                <c:pt idx="879">
                  <c:v>35949</c:v>
                </c:pt>
                <c:pt idx="880">
                  <c:v>35950</c:v>
                </c:pt>
                <c:pt idx="881">
                  <c:v>35951</c:v>
                </c:pt>
                <c:pt idx="882">
                  <c:v>35954</c:v>
                </c:pt>
                <c:pt idx="883">
                  <c:v>35955</c:v>
                </c:pt>
                <c:pt idx="884">
                  <c:v>35956</c:v>
                </c:pt>
                <c:pt idx="885">
                  <c:v>35957</c:v>
                </c:pt>
                <c:pt idx="886">
                  <c:v>35958</c:v>
                </c:pt>
                <c:pt idx="887">
                  <c:v>35961</c:v>
                </c:pt>
                <c:pt idx="888">
                  <c:v>35962</c:v>
                </c:pt>
                <c:pt idx="889">
                  <c:v>35963</c:v>
                </c:pt>
                <c:pt idx="890">
                  <c:v>35964</c:v>
                </c:pt>
                <c:pt idx="891">
                  <c:v>35965</c:v>
                </c:pt>
                <c:pt idx="892">
                  <c:v>35968</c:v>
                </c:pt>
                <c:pt idx="893">
                  <c:v>35969</c:v>
                </c:pt>
                <c:pt idx="894">
                  <c:v>35970</c:v>
                </c:pt>
                <c:pt idx="895">
                  <c:v>35971</c:v>
                </c:pt>
                <c:pt idx="896">
                  <c:v>35972</c:v>
                </c:pt>
                <c:pt idx="897">
                  <c:v>35975</c:v>
                </c:pt>
                <c:pt idx="898">
                  <c:v>35976</c:v>
                </c:pt>
                <c:pt idx="899">
                  <c:v>35977</c:v>
                </c:pt>
                <c:pt idx="900">
                  <c:v>35978</c:v>
                </c:pt>
                <c:pt idx="901">
                  <c:v>35979</c:v>
                </c:pt>
                <c:pt idx="902">
                  <c:v>35982</c:v>
                </c:pt>
                <c:pt idx="903">
                  <c:v>35983</c:v>
                </c:pt>
                <c:pt idx="904">
                  <c:v>35984</c:v>
                </c:pt>
                <c:pt idx="905">
                  <c:v>35985</c:v>
                </c:pt>
                <c:pt idx="906">
                  <c:v>35986</c:v>
                </c:pt>
                <c:pt idx="907">
                  <c:v>35989</c:v>
                </c:pt>
                <c:pt idx="908">
                  <c:v>35990</c:v>
                </c:pt>
                <c:pt idx="909">
                  <c:v>35991</c:v>
                </c:pt>
                <c:pt idx="910">
                  <c:v>35992</c:v>
                </c:pt>
                <c:pt idx="911">
                  <c:v>35993</c:v>
                </c:pt>
                <c:pt idx="912">
                  <c:v>35996</c:v>
                </c:pt>
                <c:pt idx="913">
                  <c:v>35997</c:v>
                </c:pt>
                <c:pt idx="914">
                  <c:v>35998</c:v>
                </c:pt>
                <c:pt idx="915">
                  <c:v>35999</c:v>
                </c:pt>
                <c:pt idx="916">
                  <c:v>36000</c:v>
                </c:pt>
                <c:pt idx="917">
                  <c:v>36003</c:v>
                </c:pt>
                <c:pt idx="918">
                  <c:v>36004</c:v>
                </c:pt>
                <c:pt idx="919">
                  <c:v>36005</c:v>
                </c:pt>
                <c:pt idx="920">
                  <c:v>36006</c:v>
                </c:pt>
                <c:pt idx="921">
                  <c:v>36007</c:v>
                </c:pt>
                <c:pt idx="922">
                  <c:v>36010</c:v>
                </c:pt>
                <c:pt idx="923">
                  <c:v>36011</c:v>
                </c:pt>
                <c:pt idx="924">
                  <c:v>36012</c:v>
                </c:pt>
                <c:pt idx="925">
                  <c:v>36013</c:v>
                </c:pt>
                <c:pt idx="926">
                  <c:v>36014</c:v>
                </c:pt>
                <c:pt idx="927">
                  <c:v>36017</c:v>
                </c:pt>
                <c:pt idx="928">
                  <c:v>36018</c:v>
                </c:pt>
                <c:pt idx="929">
                  <c:v>36019</c:v>
                </c:pt>
                <c:pt idx="930">
                  <c:v>36020</c:v>
                </c:pt>
                <c:pt idx="931">
                  <c:v>36021</c:v>
                </c:pt>
                <c:pt idx="932">
                  <c:v>36024</c:v>
                </c:pt>
                <c:pt idx="933">
                  <c:v>36025</c:v>
                </c:pt>
                <c:pt idx="934">
                  <c:v>36026</c:v>
                </c:pt>
                <c:pt idx="935">
                  <c:v>36027</c:v>
                </c:pt>
                <c:pt idx="936">
                  <c:v>36028</c:v>
                </c:pt>
                <c:pt idx="937">
                  <c:v>36031</c:v>
                </c:pt>
                <c:pt idx="938">
                  <c:v>36032</c:v>
                </c:pt>
                <c:pt idx="939">
                  <c:v>36033</c:v>
                </c:pt>
                <c:pt idx="940">
                  <c:v>36034</c:v>
                </c:pt>
                <c:pt idx="941">
                  <c:v>36035</c:v>
                </c:pt>
                <c:pt idx="942">
                  <c:v>36038</c:v>
                </c:pt>
                <c:pt idx="943">
                  <c:v>36039</c:v>
                </c:pt>
                <c:pt idx="944">
                  <c:v>36040</c:v>
                </c:pt>
                <c:pt idx="945">
                  <c:v>36041</c:v>
                </c:pt>
                <c:pt idx="946">
                  <c:v>36042</c:v>
                </c:pt>
                <c:pt idx="947">
                  <c:v>36045</c:v>
                </c:pt>
                <c:pt idx="948">
                  <c:v>36046</c:v>
                </c:pt>
                <c:pt idx="949">
                  <c:v>36047</c:v>
                </c:pt>
                <c:pt idx="950">
                  <c:v>36048</c:v>
                </c:pt>
                <c:pt idx="951">
                  <c:v>36049</c:v>
                </c:pt>
                <c:pt idx="952">
                  <c:v>36052</c:v>
                </c:pt>
                <c:pt idx="953">
                  <c:v>36053</c:v>
                </c:pt>
                <c:pt idx="954">
                  <c:v>36054</c:v>
                </c:pt>
                <c:pt idx="955">
                  <c:v>36055</c:v>
                </c:pt>
                <c:pt idx="956">
                  <c:v>36056</c:v>
                </c:pt>
                <c:pt idx="957">
                  <c:v>36059</c:v>
                </c:pt>
                <c:pt idx="958">
                  <c:v>36060</c:v>
                </c:pt>
                <c:pt idx="959">
                  <c:v>36061</c:v>
                </c:pt>
                <c:pt idx="960">
                  <c:v>36062</c:v>
                </c:pt>
                <c:pt idx="961">
                  <c:v>36063</c:v>
                </c:pt>
                <c:pt idx="962">
                  <c:v>36066</c:v>
                </c:pt>
                <c:pt idx="963">
                  <c:v>36067</c:v>
                </c:pt>
                <c:pt idx="964">
                  <c:v>36068</c:v>
                </c:pt>
                <c:pt idx="965">
                  <c:v>36069</c:v>
                </c:pt>
                <c:pt idx="966">
                  <c:v>36070</c:v>
                </c:pt>
                <c:pt idx="967">
                  <c:v>36073</c:v>
                </c:pt>
                <c:pt idx="968">
                  <c:v>36074</c:v>
                </c:pt>
                <c:pt idx="969">
                  <c:v>36075</c:v>
                </c:pt>
                <c:pt idx="970">
                  <c:v>36076</c:v>
                </c:pt>
                <c:pt idx="971">
                  <c:v>36077</c:v>
                </c:pt>
                <c:pt idx="972">
                  <c:v>36080</c:v>
                </c:pt>
                <c:pt idx="973">
                  <c:v>36081</c:v>
                </c:pt>
                <c:pt idx="974">
                  <c:v>36082</c:v>
                </c:pt>
                <c:pt idx="975">
                  <c:v>36083</c:v>
                </c:pt>
                <c:pt idx="976">
                  <c:v>36084</c:v>
                </c:pt>
                <c:pt idx="977">
                  <c:v>36087</c:v>
                </c:pt>
                <c:pt idx="978">
                  <c:v>36088</c:v>
                </c:pt>
                <c:pt idx="979">
                  <c:v>36089</c:v>
                </c:pt>
                <c:pt idx="980">
                  <c:v>36090</c:v>
                </c:pt>
                <c:pt idx="981">
                  <c:v>36091</c:v>
                </c:pt>
                <c:pt idx="982">
                  <c:v>36094</c:v>
                </c:pt>
                <c:pt idx="983">
                  <c:v>36095</c:v>
                </c:pt>
                <c:pt idx="984">
                  <c:v>36096</c:v>
                </c:pt>
                <c:pt idx="985">
                  <c:v>36097</c:v>
                </c:pt>
                <c:pt idx="986">
                  <c:v>36098</c:v>
                </c:pt>
                <c:pt idx="987">
                  <c:v>36101</c:v>
                </c:pt>
                <c:pt idx="988">
                  <c:v>36102</c:v>
                </c:pt>
                <c:pt idx="989">
                  <c:v>36103</c:v>
                </c:pt>
                <c:pt idx="990">
                  <c:v>36104</c:v>
                </c:pt>
                <c:pt idx="991">
                  <c:v>36105</c:v>
                </c:pt>
                <c:pt idx="992">
                  <c:v>36108</c:v>
                </c:pt>
                <c:pt idx="993">
                  <c:v>36109</c:v>
                </c:pt>
                <c:pt idx="994">
                  <c:v>36110</c:v>
                </c:pt>
                <c:pt idx="995">
                  <c:v>36111</c:v>
                </c:pt>
                <c:pt idx="996">
                  <c:v>36112</c:v>
                </c:pt>
                <c:pt idx="997">
                  <c:v>36115</c:v>
                </c:pt>
                <c:pt idx="998">
                  <c:v>36116</c:v>
                </c:pt>
                <c:pt idx="999">
                  <c:v>36117</c:v>
                </c:pt>
                <c:pt idx="1000">
                  <c:v>36118</c:v>
                </c:pt>
                <c:pt idx="1001">
                  <c:v>36119</c:v>
                </c:pt>
                <c:pt idx="1002">
                  <c:v>36122</c:v>
                </c:pt>
                <c:pt idx="1003">
                  <c:v>36123</c:v>
                </c:pt>
                <c:pt idx="1004">
                  <c:v>36124</c:v>
                </c:pt>
                <c:pt idx="1005">
                  <c:v>36125</c:v>
                </c:pt>
                <c:pt idx="1006">
                  <c:v>36126</c:v>
                </c:pt>
                <c:pt idx="1007">
                  <c:v>36129</c:v>
                </c:pt>
                <c:pt idx="1008">
                  <c:v>36130</c:v>
                </c:pt>
                <c:pt idx="1009">
                  <c:v>36131</c:v>
                </c:pt>
                <c:pt idx="1010">
                  <c:v>36132</c:v>
                </c:pt>
                <c:pt idx="1011">
                  <c:v>36133</c:v>
                </c:pt>
                <c:pt idx="1012">
                  <c:v>36136</c:v>
                </c:pt>
                <c:pt idx="1013">
                  <c:v>36137</c:v>
                </c:pt>
                <c:pt idx="1014">
                  <c:v>36138</c:v>
                </c:pt>
                <c:pt idx="1015">
                  <c:v>36139</c:v>
                </c:pt>
                <c:pt idx="1016">
                  <c:v>36140</c:v>
                </c:pt>
                <c:pt idx="1017">
                  <c:v>36143</c:v>
                </c:pt>
                <c:pt idx="1018">
                  <c:v>36144</c:v>
                </c:pt>
                <c:pt idx="1019">
                  <c:v>36145</c:v>
                </c:pt>
                <c:pt idx="1020">
                  <c:v>36146</c:v>
                </c:pt>
                <c:pt idx="1021">
                  <c:v>36147</c:v>
                </c:pt>
                <c:pt idx="1022">
                  <c:v>36150</c:v>
                </c:pt>
                <c:pt idx="1023">
                  <c:v>36151</c:v>
                </c:pt>
                <c:pt idx="1024">
                  <c:v>36152</c:v>
                </c:pt>
                <c:pt idx="1025">
                  <c:v>36153</c:v>
                </c:pt>
                <c:pt idx="1026">
                  <c:v>36154</c:v>
                </c:pt>
                <c:pt idx="1027">
                  <c:v>36157</c:v>
                </c:pt>
                <c:pt idx="1028">
                  <c:v>36158</c:v>
                </c:pt>
                <c:pt idx="1029">
                  <c:v>36159</c:v>
                </c:pt>
                <c:pt idx="1030">
                  <c:v>36160</c:v>
                </c:pt>
                <c:pt idx="1031">
                  <c:v>36161</c:v>
                </c:pt>
                <c:pt idx="1032">
                  <c:v>36164</c:v>
                </c:pt>
                <c:pt idx="1033">
                  <c:v>36165</c:v>
                </c:pt>
                <c:pt idx="1034">
                  <c:v>36166</c:v>
                </c:pt>
                <c:pt idx="1035">
                  <c:v>36167</c:v>
                </c:pt>
                <c:pt idx="1036">
                  <c:v>36168</c:v>
                </c:pt>
                <c:pt idx="1037">
                  <c:v>36171</c:v>
                </c:pt>
                <c:pt idx="1038">
                  <c:v>36172</c:v>
                </c:pt>
                <c:pt idx="1039">
                  <c:v>36173</c:v>
                </c:pt>
                <c:pt idx="1040">
                  <c:v>36174</c:v>
                </c:pt>
                <c:pt idx="1041">
                  <c:v>36175</c:v>
                </c:pt>
                <c:pt idx="1042">
                  <c:v>36178</c:v>
                </c:pt>
                <c:pt idx="1043">
                  <c:v>36179</c:v>
                </c:pt>
                <c:pt idx="1044">
                  <c:v>36180</c:v>
                </c:pt>
                <c:pt idx="1045">
                  <c:v>36181</c:v>
                </c:pt>
                <c:pt idx="1046">
                  <c:v>36182</c:v>
                </c:pt>
                <c:pt idx="1047">
                  <c:v>36185</c:v>
                </c:pt>
                <c:pt idx="1048">
                  <c:v>36186</c:v>
                </c:pt>
                <c:pt idx="1049">
                  <c:v>36187</c:v>
                </c:pt>
                <c:pt idx="1050">
                  <c:v>36188</c:v>
                </c:pt>
                <c:pt idx="1051">
                  <c:v>36189</c:v>
                </c:pt>
                <c:pt idx="1052">
                  <c:v>36192</c:v>
                </c:pt>
                <c:pt idx="1053">
                  <c:v>36193</c:v>
                </c:pt>
                <c:pt idx="1054">
                  <c:v>36194</c:v>
                </c:pt>
                <c:pt idx="1055">
                  <c:v>36195</c:v>
                </c:pt>
                <c:pt idx="1056">
                  <c:v>36196</c:v>
                </c:pt>
                <c:pt idx="1057">
                  <c:v>36199</c:v>
                </c:pt>
                <c:pt idx="1058">
                  <c:v>36200</c:v>
                </c:pt>
                <c:pt idx="1059">
                  <c:v>36201</c:v>
                </c:pt>
                <c:pt idx="1060">
                  <c:v>36202</c:v>
                </c:pt>
                <c:pt idx="1061">
                  <c:v>36203</c:v>
                </c:pt>
                <c:pt idx="1062">
                  <c:v>36206</c:v>
                </c:pt>
                <c:pt idx="1063">
                  <c:v>36207</c:v>
                </c:pt>
                <c:pt idx="1064">
                  <c:v>36208</c:v>
                </c:pt>
                <c:pt idx="1065">
                  <c:v>36209</c:v>
                </c:pt>
                <c:pt idx="1066">
                  <c:v>36210</c:v>
                </c:pt>
                <c:pt idx="1067">
                  <c:v>36213</c:v>
                </c:pt>
                <c:pt idx="1068">
                  <c:v>36214</c:v>
                </c:pt>
                <c:pt idx="1069">
                  <c:v>36215</c:v>
                </c:pt>
                <c:pt idx="1070">
                  <c:v>36216</c:v>
                </c:pt>
                <c:pt idx="1071">
                  <c:v>36217</c:v>
                </c:pt>
                <c:pt idx="1072">
                  <c:v>36220</c:v>
                </c:pt>
                <c:pt idx="1073">
                  <c:v>36221</c:v>
                </c:pt>
                <c:pt idx="1074">
                  <c:v>36222</c:v>
                </c:pt>
                <c:pt idx="1075">
                  <c:v>36223</c:v>
                </c:pt>
                <c:pt idx="1076">
                  <c:v>36224</c:v>
                </c:pt>
                <c:pt idx="1077">
                  <c:v>36227</c:v>
                </c:pt>
                <c:pt idx="1078">
                  <c:v>36228</c:v>
                </c:pt>
                <c:pt idx="1079">
                  <c:v>36229</c:v>
                </c:pt>
                <c:pt idx="1080">
                  <c:v>36230</c:v>
                </c:pt>
                <c:pt idx="1081">
                  <c:v>36231</c:v>
                </c:pt>
                <c:pt idx="1082">
                  <c:v>36234</c:v>
                </c:pt>
                <c:pt idx="1083">
                  <c:v>36235</c:v>
                </c:pt>
                <c:pt idx="1084">
                  <c:v>36236</c:v>
                </c:pt>
                <c:pt idx="1085">
                  <c:v>36237</c:v>
                </c:pt>
                <c:pt idx="1086">
                  <c:v>36238</c:v>
                </c:pt>
                <c:pt idx="1087">
                  <c:v>36241</c:v>
                </c:pt>
                <c:pt idx="1088">
                  <c:v>36242</c:v>
                </c:pt>
                <c:pt idx="1089">
                  <c:v>36243</c:v>
                </c:pt>
                <c:pt idx="1090">
                  <c:v>36244</c:v>
                </c:pt>
                <c:pt idx="1091">
                  <c:v>36245</c:v>
                </c:pt>
                <c:pt idx="1092">
                  <c:v>36248</c:v>
                </c:pt>
                <c:pt idx="1093">
                  <c:v>36249</c:v>
                </c:pt>
                <c:pt idx="1094">
                  <c:v>36250</c:v>
                </c:pt>
                <c:pt idx="1095">
                  <c:v>36251</c:v>
                </c:pt>
                <c:pt idx="1096">
                  <c:v>36252</c:v>
                </c:pt>
                <c:pt idx="1097">
                  <c:v>36255</c:v>
                </c:pt>
                <c:pt idx="1098">
                  <c:v>36256</c:v>
                </c:pt>
                <c:pt idx="1099">
                  <c:v>36257</c:v>
                </c:pt>
                <c:pt idx="1100">
                  <c:v>36258</c:v>
                </c:pt>
                <c:pt idx="1101">
                  <c:v>36259</c:v>
                </c:pt>
                <c:pt idx="1102">
                  <c:v>36262</c:v>
                </c:pt>
                <c:pt idx="1103">
                  <c:v>36263</c:v>
                </c:pt>
                <c:pt idx="1104">
                  <c:v>36264</c:v>
                </c:pt>
                <c:pt idx="1105">
                  <c:v>36265</c:v>
                </c:pt>
                <c:pt idx="1106">
                  <c:v>36266</c:v>
                </c:pt>
                <c:pt idx="1107">
                  <c:v>36269</c:v>
                </c:pt>
                <c:pt idx="1108">
                  <c:v>36270</c:v>
                </c:pt>
                <c:pt idx="1109">
                  <c:v>36271</c:v>
                </c:pt>
                <c:pt idx="1110">
                  <c:v>36272</c:v>
                </c:pt>
                <c:pt idx="1111">
                  <c:v>36273</c:v>
                </c:pt>
                <c:pt idx="1112">
                  <c:v>36276</c:v>
                </c:pt>
                <c:pt idx="1113">
                  <c:v>36277</c:v>
                </c:pt>
                <c:pt idx="1114">
                  <c:v>36278</c:v>
                </c:pt>
                <c:pt idx="1115">
                  <c:v>36279</c:v>
                </c:pt>
                <c:pt idx="1116">
                  <c:v>36280</c:v>
                </c:pt>
                <c:pt idx="1117">
                  <c:v>36283</c:v>
                </c:pt>
                <c:pt idx="1118">
                  <c:v>36284</c:v>
                </c:pt>
                <c:pt idx="1119">
                  <c:v>36285</c:v>
                </c:pt>
                <c:pt idx="1120">
                  <c:v>36286</c:v>
                </c:pt>
                <c:pt idx="1121">
                  <c:v>36287</c:v>
                </c:pt>
                <c:pt idx="1122">
                  <c:v>36290</c:v>
                </c:pt>
                <c:pt idx="1123">
                  <c:v>36291</c:v>
                </c:pt>
                <c:pt idx="1124">
                  <c:v>36292</c:v>
                </c:pt>
                <c:pt idx="1125">
                  <c:v>36293</c:v>
                </c:pt>
                <c:pt idx="1126">
                  <c:v>36294</c:v>
                </c:pt>
                <c:pt idx="1127">
                  <c:v>36297</c:v>
                </c:pt>
                <c:pt idx="1128">
                  <c:v>36298</c:v>
                </c:pt>
                <c:pt idx="1129">
                  <c:v>36299</c:v>
                </c:pt>
                <c:pt idx="1130">
                  <c:v>36300</c:v>
                </c:pt>
                <c:pt idx="1131">
                  <c:v>36301</c:v>
                </c:pt>
                <c:pt idx="1132">
                  <c:v>36304</c:v>
                </c:pt>
                <c:pt idx="1133">
                  <c:v>36305</c:v>
                </c:pt>
                <c:pt idx="1134">
                  <c:v>36306</c:v>
                </c:pt>
                <c:pt idx="1135">
                  <c:v>36307</c:v>
                </c:pt>
                <c:pt idx="1136">
                  <c:v>36308</c:v>
                </c:pt>
                <c:pt idx="1137">
                  <c:v>36311</c:v>
                </c:pt>
                <c:pt idx="1138">
                  <c:v>36312</c:v>
                </c:pt>
                <c:pt idx="1139">
                  <c:v>36313</c:v>
                </c:pt>
                <c:pt idx="1140">
                  <c:v>36314</c:v>
                </c:pt>
                <c:pt idx="1141">
                  <c:v>36315</c:v>
                </c:pt>
                <c:pt idx="1142">
                  <c:v>36318</c:v>
                </c:pt>
                <c:pt idx="1143">
                  <c:v>36319</c:v>
                </c:pt>
                <c:pt idx="1144">
                  <c:v>36320</c:v>
                </c:pt>
                <c:pt idx="1145">
                  <c:v>36321</c:v>
                </c:pt>
                <c:pt idx="1146">
                  <c:v>36322</c:v>
                </c:pt>
                <c:pt idx="1147">
                  <c:v>36325</c:v>
                </c:pt>
                <c:pt idx="1148">
                  <c:v>36326</c:v>
                </c:pt>
                <c:pt idx="1149">
                  <c:v>36327</c:v>
                </c:pt>
                <c:pt idx="1150">
                  <c:v>36328</c:v>
                </c:pt>
                <c:pt idx="1151">
                  <c:v>36329</c:v>
                </c:pt>
                <c:pt idx="1152">
                  <c:v>36332</c:v>
                </c:pt>
                <c:pt idx="1153">
                  <c:v>36333</c:v>
                </c:pt>
                <c:pt idx="1154">
                  <c:v>36334</c:v>
                </c:pt>
                <c:pt idx="1155">
                  <c:v>36335</c:v>
                </c:pt>
                <c:pt idx="1156">
                  <c:v>36336</c:v>
                </c:pt>
                <c:pt idx="1157">
                  <c:v>36339</c:v>
                </c:pt>
                <c:pt idx="1158">
                  <c:v>36340</c:v>
                </c:pt>
                <c:pt idx="1159">
                  <c:v>36341</c:v>
                </c:pt>
                <c:pt idx="1160">
                  <c:v>36342</c:v>
                </c:pt>
                <c:pt idx="1161">
                  <c:v>36343</c:v>
                </c:pt>
                <c:pt idx="1162">
                  <c:v>36346</c:v>
                </c:pt>
                <c:pt idx="1163">
                  <c:v>36347</c:v>
                </c:pt>
                <c:pt idx="1164">
                  <c:v>36348</c:v>
                </c:pt>
                <c:pt idx="1165">
                  <c:v>36349</c:v>
                </c:pt>
                <c:pt idx="1166">
                  <c:v>36350</c:v>
                </c:pt>
                <c:pt idx="1167">
                  <c:v>36353</c:v>
                </c:pt>
                <c:pt idx="1168">
                  <c:v>36354</c:v>
                </c:pt>
                <c:pt idx="1169">
                  <c:v>36355</c:v>
                </c:pt>
                <c:pt idx="1170">
                  <c:v>36356</c:v>
                </c:pt>
                <c:pt idx="1171">
                  <c:v>36357</c:v>
                </c:pt>
                <c:pt idx="1172">
                  <c:v>36360</c:v>
                </c:pt>
                <c:pt idx="1173">
                  <c:v>36361</c:v>
                </c:pt>
                <c:pt idx="1174">
                  <c:v>36362</c:v>
                </c:pt>
                <c:pt idx="1175">
                  <c:v>36363</c:v>
                </c:pt>
                <c:pt idx="1176">
                  <c:v>36364</c:v>
                </c:pt>
                <c:pt idx="1177">
                  <c:v>36367</c:v>
                </c:pt>
                <c:pt idx="1178">
                  <c:v>36368</c:v>
                </c:pt>
                <c:pt idx="1179">
                  <c:v>36369</c:v>
                </c:pt>
                <c:pt idx="1180">
                  <c:v>36370</c:v>
                </c:pt>
                <c:pt idx="1181">
                  <c:v>36371</c:v>
                </c:pt>
                <c:pt idx="1182">
                  <c:v>36374</c:v>
                </c:pt>
                <c:pt idx="1183">
                  <c:v>36375</c:v>
                </c:pt>
                <c:pt idx="1184">
                  <c:v>36376</c:v>
                </c:pt>
                <c:pt idx="1185">
                  <c:v>36377</c:v>
                </c:pt>
                <c:pt idx="1186">
                  <c:v>36378</c:v>
                </c:pt>
                <c:pt idx="1187">
                  <c:v>36381</c:v>
                </c:pt>
                <c:pt idx="1188">
                  <c:v>36382</c:v>
                </c:pt>
                <c:pt idx="1189">
                  <c:v>36383</c:v>
                </c:pt>
                <c:pt idx="1190">
                  <c:v>36384</c:v>
                </c:pt>
                <c:pt idx="1191">
                  <c:v>36385</c:v>
                </c:pt>
                <c:pt idx="1192">
                  <c:v>36388</c:v>
                </c:pt>
                <c:pt idx="1193">
                  <c:v>36389</c:v>
                </c:pt>
                <c:pt idx="1194">
                  <c:v>36390</c:v>
                </c:pt>
                <c:pt idx="1195">
                  <c:v>36391</c:v>
                </c:pt>
                <c:pt idx="1196">
                  <c:v>36392</c:v>
                </c:pt>
                <c:pt idx="1197">
                  <c:v>36395</c:v>
                </c:pt>
                <c:pt idx="1198">
                  <c:v>36396</c:v>
                </c:pt>
                <c:pt idx="1199">
                  <c:v>36397</c:v>
                </c:pt>
                <c:pt idx="1200">
                  <c:v>36398</c:v>
                </c:pt>
                <c:pt idx="1201">
                  <c:v>36399</c:v>
                </c:pt>
                <c:pt idx="1202">
                  <c:v>36402</c:v>
                </c:pt>
                <c:pt idx="1203">
                  <c:v>36403</c:v>
                </c:pt>
                <c:pt idx="1204">
                  <c:v>36404</c:v>
                </c:pt>
                <c:pt idx="1205">
                  <c:v>36405</c:v>
                </c:pt>
                <c:pt idx="1206">
                  <c:v>36406</c:v>
                </c:pt>
                <c:pt idx="1207">
                  <c:v>36409</c:v>
                </c:pt>
                <c:pt idx="1208">
                  <c:v>36410</c:v>
                </c:pt>
                <c:pt idx="1209">
                  <c:v>36411</c:v>
                </c:pt>
                <c:pt idx="1210">
                  <c:v>36412</c:v>
                </c:pt>
                <c:pt idx="1211">
                  <c:v>36413</c:v>
                </c:pt>
                <c:pt idx="1212">
                  <c:v>36416</c:v>
                </c:pt>
                <c:pt idx="1213">
                  <c:v>36417</c:v>
                </c:pt>
                <c:pt idx="1214">
                  <c:v>36418</c:v>
                </c:pt>
                <c:pt idx="1215">
                  <c:v>36419</c:v>
                </c:pt>
                <c:pt idx="1216">
                  <c:v>36420</c:v>
                </c:pt>
                <c:pt idx="1217">
                  <c:v>36423</c:v>
                </c:pt>
                <c:pt idx="1218">
                  <c:v>36424</c:v>
                </c:pt>
                <c:pt idx="1219">
                  <c:v>36425</c:v>
                </c:pt>
                <c:pt idx="1220">
                  <c:v>36426</c:v>
                </c:pt>
                <c:pt idx="1221">
                  <c:v>36427</c:v>
                </c:pt>
                <c:pt idx="1222">
                  <c:v>36430</c:v>
                </c:pt>
                <c:pt idx="1223">
                  <c:v>36431</c:v>
                </c:pt>
                <c:pt idx="1224">
                  <c:v>36432</c:v>
                </c:pt>
                <c:pt idx="1225">
                  <c:v>36433</c:v>
                </c:pt>
                <c:pt idx="1226">
                  <c:v>36434</c:v>
                </c:pt>
                <c:pt idx="1227">
                  <c:v>36437</c:v>
                </c:pt>
                <c:pt idx="1228">
                  <c:v>36438</c:v>
                </c:pt>
                <c:pt idx="1229">
                  <c:v>36439</c:v>
                </c:pt>
                <c:pt idx="1230">
                  <c:v>36440</c:v>
                </c:pt>
                <c:pt idx="1231">
                  <c:v>36441</c:v>
                </c:pt>
                <c:pt idx="1232">
                  <c:v>36444</c:v>
                </c:pt>
                <c:pt idx="1233">
                  <c:v>36445</c:v>
                </c:pt>
                <c:pt idx="1234">
                  <c:v>36446</c:v>
                </c:pt>
                <c:pt idx="1235">
                  <c:v>36447</c:v>
                </c:pt>
                <c:pt idx="1236">
                  <c:v>36448</c:v>
                </c:pt>
                <c:pt idx="1237">
                  <c:v>36451</c:v>
                </c:pt>
                <c:pt idx="1238">
                  <c:v>36452</c:v>
                </c:pt>
                <c:pt idx="1239">
                  <c:v>36453</c:v>
                </c:pt>
                <c:pt idx="1240">
                  <c:v>36454</c:v>
                </c:pt>
                <c:pt idx="1241">
                  <c:v>36455</c:v>
                </c:pt>
                <c:pt idx="1242">
                  <c:v>36458</c:v>
                </c:pt>
                <c:pt idx="1243">
                  <c:v>36459</c:v>
                </c:pt>
                <c:pt idx="1244">
                  <c:v>36460</c:v>
                </c:pt>
                <c:pt idx="1245">
                  <c:v>36461</c:v>
                </c:pt>
                <c:pt idx="1246">
                  <c:v>36462</c:v>
                </c:pt>
                <c:pt idx="1247">
                  <c:v>36465</c:v>
                </c:pt>
                <c:pt idx="1248">
                  <c:v>36466</c:v>
                </c:pt>
                <c:pt idx="1249">
                  <c:v>36467</c:v>
                </c:pt>
                <c:pt idx="1250">
                  <c:v>36468</c:v>
                </c:pt>
                <c:pt idx="1251">
                  <c:v>36469</c:v>
                </c:pt>
                <c:pt idx="1252">
                  <c:v>36472</c:v>
                </c:pt>
                <c:pt idx="1253">
                  <c:v>36473</c:v>
                </c:pt>
                <c:pt idx="1254">
                  <c:v>36474</c:v>
                </c:pt>
                <c:pt idx="1255">
                  <c:v>36475</c:v>
                </c:pt>
                <c:pt idx="1256">
                  <c:v>36476</c:v>
                </c:pt>
                <c:pt idx="1257">
                  <c:v>36479</c:v>
                </c:pt>
                <c:pt idx="1258">
                  <c:v>36480</c:v>
                </c:pt>
                <c:pt idx="1259">
                  <c:v>36481</c:v>
                </c:pt>
                <c:pt idx="1260">
                  <c:v>36482</c:v>
                </c:pt>
                <c:pt idx="1261">
                  <c:v>36483</c:v>
                </c:pt>
                <c:pt idx="1262">
                  <c:v>36486</c:v>
                </c:pt>
                <c:pt idx="1263">
                  <c:v>36487</c:v>
                </c:pt>
                <c:pt idx="1264">
                  <c:v>36488</c:v>
                </c:pt>
                <c:pt idx="1265">
                  <c:v>36489</c:v>
                </c:pt>
                <c:pt idx="1266">
                  <c:v>36490</c:v>
                </c:pt>
                <c:pt idx="1267">
                  <c:v>36493</c:v>
                </c:pt>
                <c:pt idx="1268">
                  <c:v>36494</c:v>
                </c:pt>
                <c:pt idx="1269">
                  <c:v>36495</c:v>
                </c:pt>
                <c:pt idx="1270">
                  <c:v>36496</c:v>
                </c:pt>
                <c:pt idx="1271">
                  <c:v>36497</c:v>
                </c:pt>
                <c:pt idx="1272">
                  <c:v>36500</c:v>
                </c:pt>
                <c:pt idx="1273">
                  <c:v>36501</c:v>
                </c:pt>
                <c:pt idx="1274">
                  <c:v>36502</c:v>
                </c:pt>
                <c:pt idx="1275">
                  <c:v>36503</c:v>
                </c:pt>
                <c:pt idx="1276">
                  <c:v>36504</c:v>
                </c:pt>
                <c:pt idx="1277">
                  <c:v>36507</c:v>
                </c:pt>
                <c:pt idx="1278">
                  <c:v>36508</c:v>
                </c:pt>
                <c:pt idx="1279">
                  <c:v>36509</c:v>
                </c:pt>
                <c:pt idx="1280">
                  <c:v>36510</c:v>
                </c:pt>
                <c:pt idx="1281">
                  <c:v>36511</c:v>
                </c:pt>
                <c:pt idx="1282">
                  <c:v>36514</c:v>
                </c:pt>
                <c:pt idx="1283">
                  <c:v>36515</c:v>
                </c:pt>
                <c:pt idx="1284">
                  <c:v>36516</c:v>
                </c:pt>
                <c:pt idx="1285">
                  <c:v>36517</c:v>
                </c:pt>
                <c:pt idx="1286">
                  <c:v>36518</c:v>
                </c:pt>
                <c:pt idx="1287">
                  <c:v>36521</c:v>
                </c:pt>
                <c:pt idx="1288">
                  <c:v>36522</c:v>
                </c:pt>
                <c:pt idx="1289">
                  <c:v>36523</c:v>
                </c:pt>
                <c:pt idx="1290">
                  <c:v>36524</c:v>
                </c:pt>
                <c:pt idx="1291">
                  <c:v>36525</c:v>
                </c:pt>
                <c:pt idx="1292">
                  <c:v>36528</c:v>
                </c:pt>
                <c:pt idx="1293">
                  <c:v>36529</c:v>
                </c:pt>
                <c:pt idx="1294">
                  <c:v>36530</c:v>
                </c:pt>
                <c:pt idx="1295">
                  <c:v>36531</c:v>
                </c:pt>
                <c:pt idx="1296">
                  <c:v>36532</c:v>
                </c:pt>
                <c:pt idx="1297">
                  <c:v>36535</c:v>
                </c:pt>
                <c:pt idx="1298">
                  <c:v>36536</c:v>
                </c:pt>
                <c:pt idx="1299">
                  <c:v>36537</c:v>
                </c:pt>
                <c:pt idx="1300">
                  <c:v>36538</c:v>
                </c:pt>
                <c:pt idx="1301">
                  <c:v>36539</c:v>
                </c:pt>
                <c:pt idx="1302">
                  <c:v>36542</c:v>
                </c:pt>
                <c:pt idx="1303">
                  <c:v>36543</c:v>
                </c:pt>
                <c:pt idx="1304">
                  <c:v>36544</c:v>
                </c:pt>
                <c:pt idx="1305">
                  <c:v>36545</c:v>
                </c:pt>
                <c:pt idx="1306">
                  <c:v>36546</c:v>
                </c:pt>
                <c:pt idx="1307">
                  <c:v>36549</c:v>
                </c:pt>
                <c:pt idx="1308">
                  <c:v>36550</c:v>
                </c:pt>
                <c:pt idx="1309">
                  <c:v>36551</c:v>
                </c:pt>
                <c:pt idx="1310">
                  <c:v>36552</c:v>
                </c:pt>
                <c:pt idx="1311">
                  <c:v>36553</c:v>
                </c:pt>
                <c:pt idx="1312">
                  <c:v>36556</c:v>
                </c:pt>
                <c:pt idx="1313">
                  <c:v>36557</c:v>
                </c:pt>
                <c:pt idx="1314">
                  <c:v>36558</c:v>
                </c:pt>
                <c:pt idx="1315">
                  <c:v>36559</c:v>
                </c:pt>
                <c:pt idx="1316">
                  <c:v>36560</c:v>
                </c:pt>
                <c:pt idx="1317">
                  <c:v>36563</c:v>
                </c:pt>
                <c:pt idx="1318">
                  <c:v>36564</c:v>
                </c:pt>
                <c:pt idx="1319">
                  <c:v>36565</c:v>
                </c:pt>
                <c:pt idx="1320">
                  <c:v>36566</c:v>
                </c:pt>
                <c:pt idx="1321">
                  <c:v>36567</c:v>
                </c:pt>
                <c:pt idx="1322">
                  <c:v>36570</c:v>
                </c:pt>
                <c:pt idx="1323">
                  <c:v>36571</c:v>
                </c:pt>
                <c:pt idx="1324">
                  <c:v>36572</c:v>
                </c:pt>
                <c:pt idx="1325">
                  <c:v>36573</c:v>
                </c:pt>
                <c:pt idx="1326">
                  <c:v>36574</c:v>
                </c:pt>
                <c:pt idx="1327">
                  <c:v>36577</c:v>
                </c:pt>
                <c:pt idx="1328">
                  <c:v>36578</c:v>
                </c:pt>
                <c:pt idx="1329">
                  <c:v>36579</c:v>
                </c:pt>
                <c:pt idx="1330">
                  <c:v>36580</c:v>
                </c:pt>
                <c:pt idx="1331">
                  <c:v>36581</c:v>
                </c:pt>
                <c:pt idx="1332">
                  <c:v>36584</c:v>
                </c:pt>
                <c:pt idx="1333">
                  <c:v>36585</c:v>
                </c:pt>
                <c:pt idx="1334">
                  <c:v>36586</c:v>
                </c:pt>
                <c:pt idx="1335">
                  <c:v>36587</c:v>
                </c:pt>
                <c:pt idx="1336">
                  <c:v>36588</c:v>
                </c:pt>
                <c:pt idx="1337">
                  <c:v>36591</c:v>
                </c:pt>
                <c:pt idx="1338">
                  <c:v>36592</c:v>
                </c:pt>
                <c:pt idx="1339">
                  <c:v>36593</c:v>
                </c:pt>
                <c:pt idx="1340">
                  <c:v>36594</c:v>
                </c:pt>
                <c:pt idx="1341">
                  <c:v>36595</c:v>
                </c:pt>
                <c:pt idx="1342">
                  <c:v>36598</c:v>
                </c:pt>
                <c:pt idx="1343">
                  <c:v>36599</c:v>
                </c:pt>
                <c:pt idx="1344">
                  <c:v>36600</c:v>
                </c:pt>
                <c:pt idx="1345">
                  <c:v>36601</c:v>
                </c:pt>
                <c:pt idx="1346">
                  <c:v>36602</c:v>
                </c:pt>
                <c:pt idx="1347">
                  <c:v>36605</c:v>
                </c:pt>
                <c:pt idx="1348">
                  <c:v>36606</c:v>
                </c:pt>
                <c:pt idx="1349">
                  <c:v>36607</c:v>
                </c:pt>
                <c:pt idx="1350">
                  <c:v>36608</c:v>
                </c:pt>
                <c:pt idx="1351">
                  <c:v>36609</c:v>
                </c:pt>
                <c:pt idx="1352">
                  <c:v>36612</c:v>
                </c:pt>
                <c:pt idx="1353">
                  <c:v>36613</c:v>
                </c:pt>
                <c:pt idx="1354">
                  <c:v>36614</c:v>
                </c:pt>
                <c:pt idx="1355">
                  <c:v>36615</c:v>
                </c:pt>
                <c:pt idx="1356">
                  <c:v>36616</c:v>
                </c:pt>
                <c:pt idx="1357">
                  <c:v>36619</c:v>
                </c:pt>
                <c:pt idx="1358">
                  <c:v>36620</c:v>
                </c:pt>
                <c:pt idx="1359">
                  <c:v>36621</c:v>
                </c:pt>
                <c:pt idx="1360">
                  <c:v>36622</c:v>
                </c:pt>
                <c:pt idx="1361">
                  <c:v>36623</c:v>
                </c:pt>
                <c:pt idx="1362">
                  <c:v>36626</c:v>
                </c:pt>
                <c:pt idx="1363">
                  <c:v>36627</c:v>
                </c:pt>
                <c:pt idx="1364">
                  <c:v>36628</c:v>
                </c:pt>
                <c:pt idx="1365">
                  <c:v>36629</c:v>
                </c:pt>
                <c:pt idx="1366">
                  <c:v>36630</c:v>
                </c:pt>
                <c:pt idx="1367">
                  <c:v>36633</c:v>
                </c:pt>
                <c:pt idx="1368">
                  <c:v>36634</c:v>
                </c:pt>
                <c:pt idx="1369">
                  <c:v>36635</c:v>
                </c:pt>
                <c:pt idx="1370">
                  <c:v>36636</c:v>
                </c:pt>
                <c:pt idx="1371">
                  <c:v>36637</c:v>
                </c:pt>
                <c:pt idx="1372">
                  <c:v>36640</c:v>
                </c:pt>
                <c:pt idx="1373">
                  <c:v>36641</c:v>
                </c:pt>
                <c:pt idx="1374">
                  <c:v>36642</c:v>
                </c:pt>
                <c:pt idx="1375">
                  <c:v>36643</c:v>
                </c:pt>
                <c:pt idx="1376">
                  <c:v>36644</c:v>
                </c:pt>
                <c:pt idx="1377">
                  <c:v>36647</c:v>
                </c:pt>
                <c:pt idx="1378">
                  <c:v>36648</c:v>
                </c:pt>
                <c:pt idx="1379">
                  <c:v>36649</c:v>
                </c:pt>
                <c:pt idx="1380">
                  <c:v>36650</c:v>
                </c:pt>
                <c:pt idx="1381">
                  <c:v>36651</c:v>
                </c:pt>
                <c:pt idx="1382">
                  <c:v>36654</c:v>
                </c:pt>
                <c:pt idx="1383">
                  <c:v>36655</c:v>
                </c:pt>
                <c:pt idx="1384">
                  <c:v>36656</c:v>
                </c:pt>
                <c:pt idx="1385">
                  <c:v>36657</c:v>
                </c:pt>
                <c:pt idx="1386">
                  <c:v>36658</c:v>
                </c:pt>
                <c:pt idx="1387">
                  <c:v>36661</c:v>
                </c:pt>
                <c:pt idx="1388">
                  <c:v>36662</c:v>
                </c:pt>
                <c:pt idx="1389">
                  <c:v>36663</c:v>
                </c:pt>
                <c:pt idx="1390">
                  <c:v>36664</c:v>
                </c:pt>
                <c:pt idx="1391">
                  <c:v>36665</c:v>
                </c:pt>
                <c:pt idx="1392">
                  <c:v>36668</c:v>
                </c:pt>
                <c:pt idx="1393">
                  <c:v>36669</c:v>
                </c:pt>
                <c:pt idx="1394">
                  <c:v>36670</c:v>
                </c:pt>
                <c:pt idx="1395">
                  <c:v>36671</c:v>
                </c:pt>
                <c:pt idx="1396">
                  <c:v>36672</c:v>
                </c:pt>
                <c:pt idx="1397">
                  <c:v>36675</c:v>
                </c:pt>
                <c:pt idx="1398">
                  <c:v>36676</c:v>
                </c:pt>
                <c:pt idx="1399">
                  <c:v>36677</c:v>
                </c:pt>
                <c:pt idx="1400">
                  <c:v>36678</c:v>
                </c:pt>
                <c:pt idx="1401">
                  <c:v>36679</c:v>
                </c:pt>
                <c:pt idx="1402">
                  <c:v>36682</c:v>
                </c:pt>
                <c:pt idx="1403">
                  <c:v>36683</c:v>
                </c:pt>
                <c:pt idx="1404">
                  <c:v>36684</c:v>
                </c:pt>
                <c:pt idx="1405">
                  <c:v>36685</c:v>
                </c:pt>
                <c:pt idx="1406">
                  <c:v>36686</c:v>
                </c:pt>
                <c:pt idx="1407">
                  <c:v>36689</c:v>
                </c:pt>
                <c:pt idx="1408">
                  <c:v>36690</c:v>
                </c:pt>
                <c:pt idx="1409">
                  <c:v>36691</c:v>
                </c:pt>
                <c:pt idx="1410">
                  <c:v>36692</c:v>
                </c:pt>
                <c:pt idx="1411">
                  <c:v>36693</c:v>
                </c:pt>
                <c:pt idx="1412">
                  <c:v>36696</c:v>
                </c:pt>
                <c:pt idx="1413">
                  <c:v>36697</c:v>
                </c:pt>
                <c:pt idx="1414">
                  <c:v>36698</c:v>
                </c:pt>
                <c:pt idx="1415">
                  <c:v>36699</c:v>
                </c:pt>
                <c:pt idx="1416">
                  <c:v>36700</c:v>
                </c:pt>
                <c:pt idx="1417">
                  <c:v>36703</c:v>
                </c:pt>
                <c:pt idx="1418">
                  <c:v>36704</c:v>
                </c:pt>
                <c:pt idx="1419">
                  <c:v>36705</c:v>
                </c:pt>
                <c:pt idx="1420">
                  <c:v>36706</c:v>
                </c:pt>
                <c:pt idx="1421">
                  <c:v>36707</c:v>
                </c:pt>
                <c:pt idx="1422">
                  <c:v>36710</c:v>
                </c:pt>
                <c:pt idx="1423">
                  <c:v>36711</c:v>
                </c:pt>
                <c:pt idx="1424">
                  <c:v>36712</c:v>
                </c:pt>
                <c:pt idx="1425">
                  <c:v>36713</c:v>
                </c:pt>
                <c:pt idx="1426">
                  <c:v>36714</c:v>
                </c:pt>
                <c:pt idx="1427">
                  <c:v>36717</c:v>
                </c:pt>
                <c:pt idx="1428">
                  <c:v>36718</c:v>
                </c:pt>
                <c:pt idx="1429">
                  <c:v>36719</c:v>
                </c:pt>
                <c:pt idx="1430">
                  <c:v>36720</c:v>
                </c:pt>
                <c:pt idx="1431">
                  <c:v>36721</c:v>
                </c:pt>
                <c:pt idx="1432">
                  <c:v>36724</c:v>
                </c:pt>
                <c:pt idx="1433">
                  <c:v>36725</c:v>
                </c:pt>
                <c:pt idx="1434">
                  <c:v>36726</c:v>
                </c:pt>
                <c:pt idx="1435">
                  <c:v>36727</c:v>
                </c:pt>
                <c:pt idx="1436">
                  <c:v>36728</c:v>
                </c:pt>
                <c:pt idx="1437">
                  <c:v>36731</c:v>
                </c:pt>
                <c:pt idx="1438">
                  <c:v>36732</c:v>
                </c:pt>
                <c:pt idx="1439">
                  <c:v>36733</c:v>
                </c:pt>
                <c:pt idx="1440">
                  <c:v>36734</c:v>
                </c:pt>
                <c:pt idx="1441">
                  <c:v>36735</c:v>
                </c:pt>
                <c:pt idx="1442">
                  <c:v>36738</c:v>
                </c:pt>
                <c:pt idx="1443">
                  <c:v>36739</c:v>
                </c:pt>
                <c:pt idx="1444">
                  <c:v>36740</c:v>
                </c:pt>
                <c:pt idx="1445">
                  <c:v>36741</c:v>
                </c:pt>
                <c:pt idx="1446">
                  <c:v>36742</c:v>
                </c:pt>
                <c:pt idx="1447">
                  <c:v>36745</c:v>
                </c:pt>
                <c:pt idx="1448">
                  <c:v>36746</c:v>
                </c:pt>
                <c:pt idx="1449">
                  <c:v>36747</c:v>
                </c:pt>
                <c:pt idx="1450">
                  <c:v>36748</c:v>
                </c:pt>
                <c:pt idx="1451">
                  <c:v>36749</c:v>
                </c:pt>
                <c:pt idx="1452">
                  <c:v>36752</c:v>
                </c:pt>
                <c:pt idx="1453">
                  <c:v>36753</c:v>
                </c:pt>
                <c:pt idx="1454">
                  <c:v>36754</c:v>
                </c:pt>
                <c:pt idx="1455">
                  <c:v>36755</c:v>
                </c:pt>
                <c:pt idx="1456">
                  <c:v>36756</c:v>
                </c:pt>
                <c:pt idx="1457">
                  <c:v>36759</c:v>
                </c:pt>
                <c:pt idx="1458">
                  <c:v>36760</c:v>
                </c:pt>
                <c:pt idx="1459">
                  <c:v>36761</c:v>
                </c:pt>
                <c:pt idx="1460">
                  <c:v>36762</c:v>
                </c:pt>
                <c:pt idx="1461">
                  <c:v>36763</c:v>
                </c:pt>
                <c:pt idx="1462">
                  <c:v>36766</c:v>
                </c:pt>
                <c:pt idx="1463">
                  <c:v>36767</c:v>
                </c:pt>
                <c:pt idx="1464">
                  <c:v>36768</c:v>
                </c:pt>
                <c:pt idx="1465">
                  <c:v>36769</c:v>
                </c:pt>
                <c:pt idx="1466">
                  <c:v>36770</c:v>
                </c:pt>
                <c:pt idx="1467">
                  <c:v>36773</c:v>
                </c:pt>
                <c:pt idx="1468">
                  <c:v>36774</c:v>
                </c:pt>
                <c:pt idx="1469">
                  <c:v>36775</c:v>
                </c:pt>
                <c:pt idx="1470">
                  <c:v>36776</c:v>
                </c:pt>
                <c:pt idx="1471">
                  <c:v>36777</c:v>
                </c:pt>
                <c:pt idx="1472">
                  <c:v>36780</c:v>
                </c:pt>
                <c:pt idx="1473">
                  <c:v>36781</c:v>
                </c:pt>
                <c:pt idx="1474">
                  <c:v>36782</c:v>
                </c:pt>
                <c:pt idx="1475">
                  <c:v>36783</c:v>
                </c:pt>
                <c:pt idx="1476">
                  <c:v>36784</c:v>
                </c:pt>
                <c:pt idx="1477">
                  <c:v>36787</c:v>
                </c:pt>
                <c:pt idx="1478">
                  <c:v>36788</c:v>
                </c:pt>
                <c:pt idx="1479">
                  <c:v>36789</c:v>
                </c:pt>
                <c:pt idx="1480">
                  <c:v>36790</c:v>
                </c:pt>
                <c:pt idx="1481">
                  <c:v>36791</c:v>
                </c:pt>
                <c:pt idx="1482">
                  <c:v>36794</c:v>
                </c:pt>
                <c:pt idx="1483">
                  <c:v>36795</c:v>
                </c:pt>
                <c:pt idx="1484">
                  <c:v>36796</c:v>
                </c:pt>
                <c:pt idx="1485">
                  <c:v>36797</c:v>
                </c:pt>
                <c:pt idx="1486">
                  <c:v>36798</c:v>
                </c:pt>
                <c:pt idx="1487">
                  <c:v>36801</c:v>
                </c:pt>
                <c:pt idx="1488">
                  <c:v>36802</c:v>
                </c:pt>
                <c:pt idx="1489">
                  <c:v>36803</c:v>
                </c:pt>
                <c:pt idx="1490">
                  <c:v>36804</c:v>
                </c:pt>
                <c:pt idx="1491">
                  <c:v>36805</c:v>
                </c:pt>
                <c:pt idx="1492">
                  <c:v>36808</c:v>
                </c:pt>
                <c:pt idx="1493">
                  <c:v>36809</c:v>
                </c:pt>
                <c:pt idx="1494">
                  <c:v>36810</c:v>
                </c:pt>
                <c:pt idx="1495">
                  <c:v>36811</c:v>
                </c:pt>
                <c:pt idx="1496">
                  <c:v>36812</c:v>
                </c:pt>
                <c:pt idx="1497">
                  <c:v>36815</c:v>
                </c:pt>
                <c:pt idx="1498">
                  <c:v>36816</c:v>
                </c:pt>
                <c:pt idx="1499">
                  <c:v>36817</c:v>
                </c:pt>
                <c:pt idx="1500">
                  <c:v>36818</c:v>
                </c:pt>
                <c:pt idx="1501">
                  <c:v>36819</c:v>
                </c:pt>
                <c:pt idx="1502">
                  <c:v>36822</c:v>
                </c:pt>
                <c:pt idx="1503">
                  <c:v>36823</c:v>
                </c:pt>
                <c:pt idx="1504">
                  <c:v>36824</c:v>
                </c:pt>
                <c:pt idx="1505">
                  <c:v>36825</c:v>
                </c:pt>
                <c:pt idx="1506">
                  <c:v>36826</c:v>
                </c:pt>
                <c:pt idx="1507">
                  <c:v>36829</c:v>
                </c:pt>
                <c:pt idx="1508">
                  <c:v>36830</c:v>
                </c:pt>
                <c:pt idx="1509">
                  <c:v>36831</c:v>
                </c:pt>
                <c:pt idx="1510">
                  <c:v>36832</c:v>
                </c:pt>
                <c:pt idx="1511">
                  <c:v>36833</c:v>
                </c:pt>
                <c:pt idx="1512">
                  <c:v>36836</c:v>
                </c:pt>
                <c:pt idx="1513">
                  <c:v>36837</c:v>
                </c:pt>
                <c:pt idx="1514">
                  <c:v>36838</c:v>
                </c:pt>
                <c:pt idx="1515">
                  <c:v>36839</c:v>
                </c:pt>
                <c:pt idx="1516">
                  <c:v>36840</c:v>
                </c:pt>
                <c:pt idx="1517">
                  <c:v>36843</c:v>
                </c:pt>
                <c:pt idx="1518">
                  <c:v>36844</c:v>
                </c:pt>
                <c:pt idx="1519">
                  <c:v>36845</c:v>
                </c:pt>
                <c:pt idx="1520">
                  <c:v>36846</c:v>
                </c:pt>
                <c:pt idx="1521">
                  <c:v>36847</c:v>
                </c:pt>
                <c:pt idx="1522">
                  <c:v>36850</c:v>
                </c:pt>
                <c:pt idx="1523">
                  <c:v>36851</c:v>
                </c:pt>
                <c:pt idx="1524">
                  <c:v>36852</c:v>
                </c:pt>
                <c:pt idx="1525">
                  <c:v>36853</c:v>
                </c:pt>
                <c:pt idx="1526">
                  <c:v>36854</c:v>
                </c:pt>
                <c:pt idx="1527">
                  <c:v>36857</c:v>
                </c:pt>
                <c:pt idx="1528">
                  <c:v>36858</c:v>
                </c:pt>
                <c:pt idx="1529">
                  <c:v>36859</c:v>
                </c:pt>
                <c:pt idx="1530">
                  <c:v>36860</c:v>
                </c:pt>
                <c:pt idx="1531">
                  <c:v>36861</c:v>
                </c:pt>
                <c:pt idx="1532">
                  <c:v>36864</c:v>
                </c:pt>
                <c:pt idx="1533">
                  <c:v>36865</c:v>
                </c:pt>
                <c:pt idx="1534">
                  <c:v>36866</c:v>
                </c:pt>
                <c:pt idx="1535">
                  <c:v>36867</c:v>
                </c:pt>
                <c:pt idx="1536">
                  <c:v>36868</c:v>
                </c:pt>
                <c:pt idx="1537">
                  <c:v>36871</c:v>
                </c:pt>
                <c:pt idx="1538">
                  <c:v>36872</c:v>
                </c:pt>
                <c:pt idx="1539">
                  <c:v>36873</c:v>
                </c:pt>
                <c:pt idx="1540">
                  <c:v>36874</c:v>
                </c:pt>
                <c:pt idx="1541">
                  <c:v>36875</c:v>
                </c:pt>
                <c:pt idx="1542">
                  <c:v>36878</c:v>
                </c:pt>
                <c:pt idx="1543">
                  <c:v>36879</c:v>
                </c:pt>
                <c:pt idx="1544">
                  <c:v>36880</c:v>
                </c:pt>
                <c:pt idx="1545">
                  <c:v>36881</c:v>
                </c:pt>
                <c:pt idx="1546">
                  <c:v>36882</c:v>
                </c:pt>
                <c:pt idx="1547">
                  <c:v>36885</c:v>
                </c:pt>
                <c:pt idx="1548">
                  <c:v>36886</c:v>
                </c:pt>
                <c:pt idx="1549">
                  <c:v>36887</c:v>
                </c:pt>
                <c:pt idx="1550">
                  <c:v>36888</c:v>
                </c:pt>
                <c:pt idx="1551">
                  <c:v>36889</c:v>
                </c:pt>
                <c:pt idx="1552">
                  <c:v>36892</c:v>
                </c:pt>
                <c:pt idx="1553">
                  <c:v>36893</c:v>
                </c:pt>
                <c:pt idx="1554">
                  <c:v>36894</c:v>
                </c:pt>
                <c:pt idx="1555">
                  <c:v>36895</c:v>
                </c:pt>
                <c:pt idx="1556">
                  <c:v>36896</c:v>
                </c:pt>
                <c:pt idx="1557">
                  <c:v>36899</c:v>
                </c:pt>
                <c:pt idx="1558">
                  <c:v>36900</c:v>
                </c:pt>
                <c:pt idx="1559">
                  <c:v>36901</c:v>
                </c:pt>
                <c:pt idx="1560">
                  <c:v>36902</c:v>
                </c:pt>
                <c:pt idx="1561">
                  <c:v>36903</c:v>
                </c:pt>
                <c:pt idx="1562">
                  <c:v>36906</c:v>
                </c:pt>
                <c:pt idx="1563">
                  <c:v>36907</c:v>
                </c:pt>
                <c:pt idx="1564">
                  <c:v>36908</c:v>
                </c:pt>
                <c:pt idx="1565">
                  <c:v>36909</c:v>
                </c:pt>
                <c:pt idx="1566">
                  <c:v>36910</c:v>
                </c:pt>
                <c:pt idx="1567">
                  <c:v>36913</c:v>
                </c:pt>
                <c:pt idx="1568">
                  <c:v>36914</c:v>
                </c:pt>
                <c:pt idx="1569">
                  <c:v>36915</c:v>
                </c:pt>
                <c:pt idx="1570">
                  <c:v>36916</c:v>
                </c:pt>
                <c:pt idx="1571">
                  <c:v>36917</c:v>
                </c:pt>
                <c:pt idx="1572">
                  <c:v>36920</c:v>
                </c:pt>
                <c:pt idx="1573">
                  <c:v>36921</c:v>
                </c:pt>
                <c:pt idx="1574">
                  <c:v>36922</c:v>
                </c:pt>
                <c:pt idx="1575">
                  <c:v>36923</c:v>
                </c:pt>
                <c:pt idx="1576">
                  <c:v>36924</c:v>
                </c:pt>
                <c:pt idx="1577">
                  <c:v>36927</c:v>
                </c:pt>
                <c:pt idx="1578">
                  <c:v>36928</c:v>
                </c:pt>
                <c:pt idx="1579">
                  <c:v>36929</c:v>
                </c:pt>
                <c:pt idx="1580">
                  <c:v>36930</c:v>
                </c:pt>
                <c:pt idx="1581">
                  <c:v>36931</c:v>
                </c:pt>
                <c:pt idx="1582">
                  <c:v>36934</c:v>
                </c:pt>
                <c:pt idx="1583">
                  <c:v>36935</c:v>
                </c:pt>
                <c:pt idx="1584">
                  <c:v>36936</c:v>
                </c:pt>
                <c:pt idx="1585">
                  <c:v>36937</c:v>
                </c:pt>
                <c:pt idx="1586">
                  <c:v>36938</c:v>
                </c:pt>
                <c:pt idx="1587">
                  <c:v>36941</c:v>
                </c:pt>
                <c:pt idx="1588">
                  <c:v>36942</c:v>
                </c:pt>
                <c:pt idx="1589">
                  <c:v>36943</c:v>
                </c:pt>
                <c:pt idx="1590">
                  <c:v>36944</c:v>
                </c:pt>
                <c:pt idx="1591">
                  <c:v>36945</c:v>
                </c:pt>
                <c:pt idx="1592">
                  <c:v>36948</c:v>
                </c:pt>
                <c:pt idx="1593">
                  <c:v>36949</c:v>
                </c:pt>
                <c:pt idx="1594">
                  <c:v>36950</c:v>
                </c:pt>
                <c:pt idx="1595">
                  <c:v>36951</c:v>
                </c:pt>
                <c:pt idx="1596">
                  <c:v>36952</c:v>
                </c:pt>
                <c:pt idx="1597">
                  <c:v>36955</c:v>
                </c:pt>
                <c:pt idx="1598">
                  <c:v>36956</c:v>
                </c:pt>
                <c:pt idx="1599">
                  <c:v>36957</c:v>
                </c:pt>
                <c:pt idx="1600">
                  <c:v>36958</c:v>
                </c:pt>
                <c:pt idx="1601">
                  <c:v>36959</c:v>
                </c:pt>
                <c:pt idx="1602">
                  <c:v>36962</c:v>
                </c:pt>
                <c:pt idx="1603">
                  <c:v>36963</c:v>
                </c:pt>
                <c:pt idx="1604">
                  <c:v>36964</c:v>
                </c:pt>
                <c:pt idx="1605">
                  <c:v>36965</c:v>
                </c:pt>
                <c:pt idx="1606">
                  <c:v>36966</c:v>
                </c:pt>
                <c:pt idx="1607">
                  <c:v>36969</c:v>
                </c:pt>
                <c:pt idx="1608">
                  <c:v>36970</c:v>
                </c:pt>
                <c:pt idx="1609">
                  <c:v>36971</c:v>
                </c:pt>
                <c:pt idx="1610">
                  <c:v>36972</c:v>
                </c:pt>
                <c:pt idx="1611">
                  <c:v>36973</c:v>
                </c:pt>
                <c:pt idx="1612">
                  <c:v>36976</c:v>
                </c:pt>
                <c:pt idx="1613">
                  <c:v>36977</c:v>
                </c:pt>
                <c:pt idx="1614">
                  <c:v>36978</c:v>
                </c:pt>
                <c:pt idx="1615">
                  <c:v>36979</c:v>
                </c:pt>
                <c:pt idx="1616">
                  <c:v>36980</c:v>
                </c:pt>
                <c:pt idx="1617">
                  <c:v>36983</c:v>
                </c:pt>
                <c:pt idx="1618">
                  <c:v>36984</c:v>
                </c:pt>
                <c:pt idx="1619">
                  <c:v>36985</c:v>
                </c:pt>
                <c:pt idx="1620">
                  <c:v>36986</c:v>
                </c:pt>
                <c:pt idx="1621">
                  <c:v>36987</c:v>
                </c:pt>
                <c:pt idx="1622">
                  <c:v>36990</c:v>
                </c:pt>
                <c:pt idx="1623">
                  <c:v>36991</c:v>
                </c:pt>
                <c:pt idx="1624">
                  <c:v>36992</c:v>
                </c:pt>
                <c:pt idx="1625">
                  <c:v>36993</c:v>
                </c:pt>
                <c:pt idx="1626">
                  <c:v>36994</c:v>
                </c:pt>
                <c:pt idx="1627">
                  <c:v>36997</c:v>
                </c:pt>
                <c:pt idx="1628">
                  <c:v>36998</c:v>
                </c:pt>
                <c:pt idx="1629">
                  <c:v>36999</c:v>
                </c:pt>
                <c:pt idx="1630">
                  <c:v>37000</c:v>
                </c:pt>
                <c:pt idx="1631">
                  <c:v>37001</c:v>
                </c:pt>
                <c:pt idx="1632">
                  <c:v>37004</c:v>
                </c:pt>
                <c:pt idx="1633">
                  <c:v>37005</c:v>
                </c:pt>
                <c:pt idx="1634">
                  <c:v>37006</c:v>
                </c:pt>
                <c:pt idx="1635">
                  <c:v>37007</c:v>
                </c:pt>
                <c:pt idx="1636">
                  <c:v>37008</c:v>
                </c:pt>
                <c:pt idx="1637">
                  <c:v>37011</c:v>
                </c:pt>
                <c:pt idx="1638">
                  <c:v>37012</c:v>
                </c:pt>
                <c:pt idx="1639">
                  <c:v>37013</c:v>
                </c:pt>
                <c:pt idx="1640">
                  <c:v>37014</c:v>
                </c:pt>
                <c:pt idx="1641">
                  <c:v>37015</c:v>
                </c:pt>
                <c:pt idx="1642">
                  <c:v>37018</c:v>
                </c:pt>
                <c:pt idx="1643">
                  <c:v>37019</c:v>
                </c:pt>
                <c:pt idx="1644">
                  <c:v>37020</c:v>
                </c:pt>
                <c:pt idx="1645">
                  <c:v>37021</c:v>
                </c:pt>
                <c:pt idx="1646">
                  <c:v>37022</c:v>
                </c:pt>
                <c:pt idx="1647">
                  <c:v>37025</c:v>
                </c:pt>
                <c:pt idx="1648">
                  <c:v>37026</c:v>
                </c:pt>
                <c:pt idx="1649">
                  <c:v>37027</c:v>
                </c:pt>
                <c:pt idx="1650">
                  <c:v>37028</c:v>
                </c:pt>
                <c:pt idx="1651">
                  <c:v>37029</c:v>
                </c:pt>
                <c:pt idx="1652">
                  <c:v>37032</c:v>
                </c:pt>
                <c:pt idx="1653">
                  <c:v>37033</c:v>
                </c:pt>
                <c:pt idx="1654">
                  <c:v>37034</c:v>
                </c:pt>
                <c:pt idx="1655">
                  <c:v>37035</c:v>
                </c:pt>
                <c:pt idx="1656">
                  <c:v>37036</c:v>
                </c:pt>
                <c:pt idx="1657">
                  <c:v>37039</c:v>
                </c:pt>
                <c:pt idx="1658">
                  <c:v>37040</c:v>
                </c:pt>
                <c:pt idx="1659">
                  <c:v>37041</c:v>
                </c:pt>
                <c:pt idx="1660">
                  <c:v>37042</c:v>
                </c:pt>
                <c:pt idx="1661">
                  <c:v>37043</c:v>
                </c:pt>
                <c:pt idx="1662">
                  <c:v>37046</c:v>
                </c:pt>
                <c:pt idx="1663">
                  <c:v>37047</c:v>
                </c:pt>
                <c:pt idx="1664">
                  <c:v>37048</c:v>
                </c:pt>
                <c:pt idx="1665">
                  <c:v>37049</c:v>
                </c:pt>
                <c:pt idx="1666">
                  <c:v>37050</c:v>
                </c:pt>
                <c:pt idx="1667">
                  <c:v>37053</c:v>
                </c:pt>
                <c:pt idx="1668">
                  <c:v>37054</c:v>
                </c:pt>
                <c:pt idx="1669">
                  <c:v>37055</c:v>
                </c:pt>
                <c:pt idx="1670">
                  <c:v>37056</c:v>
                </c:pt>
                <c:pt idx="1671">
                  <c:v>37057</c:v>
                </c:pt>
                <c:pt idx="1672">
                  <c:v>37060</c:v>
                </c:pt>
                <c:pt idx="1673">
                  <c:v>37061</c:v>
                </c:pt>
                <c:pt idx="1674">
                  <c:v>37062</c:v>
                </c:pt>
                <c:pt idx="1675">
                  <c:v>37063</c:v>
                </c:pt>
                <c:pt idx="1676">
                  <c:v>37064</c:v>
                </c:pt>
                <c:pt idx="1677">
                  <c:v>37067</c:v>
                </c:pt>
                <c:pt idx="1678">
                  <c:v>37068</c:v>
                </c:pt>
                <c:pt idx="1679">
                  <c:v>37069</c:v>
                </c:pt>
                <c:pt idx="1680">
                  <c:v>37070</c:v>
                </c:pt>
                <c:pt idx="1681">
                  <c:v>37071</c:v>
                </c:pt>
                <c:pt idx="1682">
                  <c:v>37074</c:v>
                </c:pt>
                <c:pt idx="1683">
                  <c:v>37075</c:v>
                </c:pt>
                <c:pt idx="1684">
                  <c:v>37076</c:v>
                </c:pt>
                <c:pt idx="1685">
                  <c:v>37077</c:v>
                </c:pt>
                <c:pt idx="1686">
                  <c:v>37078</c:v>
                </c:pt>
                <c:pt idx="1687">
                  <c:v>37081</c:v>
                </c:pt>
                <c:pt idx="1688">
                  <c:v>37082</c:v>
                </c:pt>
                <c:pt idx="1689">
                  <c:v>37083</c:v>
                </c:pt>
                <c:pt idx="1690">
                  <c:v>37084</c:v>
                </c:pt>
                <c:pt idx="1691">
                  <c:v>37085</c:v>
                </c:pt>
                <c:pt idx="1692">
                  <c:v>37088</c:v>
                </c:pt>
                <c:pt idx="1693">
                  <c:v>37089</c:v>
                </c:pt>
                <c:pt idx="1694">
                  <c:v>37090</c:v>
                </c:pt>
                <c:pt idx="1695">
                  <c:v>37091</c:v>
                </c:pt>
                <c:pt idx="1696">
                  <c:v>37092</c:v>
                </c:pt>
                <c:pt idx="1697">
                  <c:v>37095</c:v>
                </c:pt>
                <c:pt idx="1698">
                  <c:v>37096</c:v>
                </c:pt>
                <c:pt idx="1699">
                  <c:v>37097</c:v>
                </c:pt>
                <c:pt idx="1700">
                  <c:v>37098</c:v>
                </c:pt>
                <c:pt idx="1701">
                  <c:v>37099</c:v>
                </c:pt>
                <c:pt idx="1702">
                  <c:v>37102</c:v>
                </c:pt>
                <c:pt idx="1703">
                  <c:v>37103</c:v>
                </c:pt>
                <c:pt idx="1704">
                  <c:v>37104</c:v>
                </c:pt>
                <c:pt idx="1705">
                  <c:v>37105</c:v>
                </c:pt>
                <c:pt idx="1706">
                  <c:v>37106</c:v>
                </c:pt>
                <c:pt idx="1707">
                  <c:v>37109</c:v>
                </c:pt>
                <c:pt idx="1708">
                  <c:v>37110</c:v>
                </c:pt>
                <c:pt idx="1709">
                  <c:v>37111</c:v>
                </c:pt>
                <c:pt idx="1710">
                  <c:v>37112</c:v>
                </c:pt>
                <c:pt idx="1711">
                  <c:v>37113</c:v>
                </c:pt>
                <c:pt idx="1712">
                  <c:v>37116</c:v>
                </c:pt>
                <c:pt idx="1713">
                  <c:v>37117</c:v>
                </c:pt>
                <c:pt idx="1714">
                  <c:v>37118</c:v>
                </c:pt>
                <c:pt idx="1715">
                  <c:v>37119</c:v>
                </c:pt>
                <c:pt idx="1716">
                  <c:v>37120</c:v>
                </c:pt>
                <c:pt idx="1717">
                  <c:v>37123</c:v>
                </c:pt>
                <c:pt idx="1718">
                  <c:v>37124</c:v>
                </c:pt>
                <c:pt idx="1719">
                  <c:v>37125</c:v>
                </c:pt>
                <c:pt idx="1720">
                  <c:v>37126</c:v>
                </c:pt>
                <c:pt idx="1721">
                  <c:v>37127</c:v>
                </c:pt>
                <c:pt idx="1722">
                  <c:v>37130</c:v>
                </c:pt>
                <c:pt idx="1723">
                  <c:v>37131</c:v>
                </c:pt>
                <c:pt idx="1724">
                  <c:v>37132</c:v>
                </c:pt>
                <c:pt idx="1725">
                  <c:v>37133</c:v>
                </c:pt>
                <c:pt idx="1726">
                  <c:v>37134</c:v>
                </c:pt>
                <c:pt idx="1727">
                  <c:v>37137</c:v>
                </c:pt>
                <c:pt idx="1728">
                  <c:v>37138</c:v>
                </c:pt>
                <c:pt idx="1729">
                  <c:v>37139</c:v>
                </c:pt>
                <c:pt idx="1730">
                  <c:v>37140</c:v>
                </c:pt>
                <c:pt idx="1731">
                  <c:v>37141</c:v>
                </c:pt>
                <c:pt idx="1732">
                  <c:v>37144</c:v>
                </c:pt>
                <c:pt idx="1733">
                  <c:v>37145</c:v>
                </c:pt>
                <c:pt idx="1734">
                  <c:v>37146</c:v>
                </c:pt>
                <c:pt idx="1735">
                  <c:v>37147</c:v>
                </c:pt>
                <c:pt idx="1736">
                  <c:v>37148</c:v>
                </c:pt>
                <c:pt idx="1737">
                  <c:v>37151</c:v>
                </c:pt>
                <c:pt idx="1738">
                  <c:v>37152</c:v>
                </c:pt>
                <c:pt idx="1739">
                  <c:v>37153</c:v>
                </c:pt>
                <c:pt idx="1740">
                  <c:v>37154</c:v>
                </c:pt>
                <c:pt idx="1741">
                  <c:v>37155</c:v>
                </c:pt>
                <c:pt idx="1742">
                  <c:v>37158</c:v>
                </c:pt>
                <c:pt idx="1743">
                  <c:v>37159</c:v>
                </c:pt>
                <c:pt idx="1744">
                  <c:v>37160</c:v>
                </c:pt>
                <c:pt idx="1745">
                  <c:v>37161</c:v>
                </c:pt>
                <c:pt idx="1746">
                  <c:v>37162</c:v>
                </c:pt>
                <c:pt idx="1747">
                  <c:v>37165</c:v>
                </c:pt>
                <c:pt idx="1748">
                  <c:v>37166</c:v>
                </c:pt>
                <c:pt idx="1749">
                  <c:v>37167</c:v>
                </c:pt>
                <c:pt idx="1750">
                  <c:v>37168</c:v>
                </c:pt>
                <c:pt idx="1751">
                  <c:v>37169</c:v>
                </c:pt>
                <c:pt idx="1752">
                  <c:v>37172</c:v>
                </c:pt>
                <c:pt idx="1753">
                  <c:v>37173</c:v>
                </c:pt>
                <c:pt idx="1754">
                  <c:v>37174</c:v>
                </c:pt>
                <c:pt idx="1755">
                  <c:v>37175</c:v>
                </c:pt>
                <c:pt idx="1756">
                  <c:v>37176</c:v>
                </c:pt>
                <c:pt idx="1757">
                  <c:v>37179</c:v>
                </c:pt>
                <c:pt idx="1758">
                  <c:v>37180</c:v>
                </c:pt>
                <c:pt idx="1759">
                  <c:v>37181</c:v>
                </c:pt>
                <c:pt idx="1760">
                  <c:v>37182</c:v>
                </c:pt>
                <c:pt idx="1761">
                  <c:v>37183</c:v>
                </c:pt>
                <c:pt idx="1762">
                  <c:v>37186</c:v>
                </c:pt>
                <c:pt idx="1763">
                  <c:v>37187</c:v>
                </c:pt>
                <c:pt idx="1764">
                  <c:v>37188</c:v>
                </c:pt>
                <c:pt idx="1765">
                  <c:v>37189</c:v>
                </c:pt>
                <c:pt idx="1766">
                  <c:v>37190</c:v>
                </c:pt>
                <c:pt idx="1767">
                  <c:v>37193</c:v>
                </c:pt>
                <c:pt idx="1768">
                  <c:v>37194</c:v>
                </c:pt>
                <c:pt idx="1769">
                  <c:v>37195</c:v>
                </c:pt>
                <c:pt idx="1770">
                  <c:v>37196</c:v>
                </c:pt>
                <c:pt idx="1771">
                  <c:v>37197</c:v>
                </c:pt>
                <c:pt idx="1772">
                  <c:v>37200</c:v>
                </c:pt>
                <c:pt idx="1773">
                  <c:v>37201</c:v>
                </c:pt>
                <c:pt idx="1774">
                  <c:v>37202</c:v>
                </c:pt>
                <c:pt idx="1775">
                  <c:v>37203</c:v>
                </c:pt>
                <c:pt idx="1776">
                  <c:v>37204</c:v>
                </c:pt>
                <c:pt idx="1777">
                  <c:v>37207</c:v>
                </c:pt>
                <c:pt idx="1778">
                  <c:v>37208</c:v>
                </c:pt>
                <c:pt idx="1779">
                  <c:v>37209</c:v>
                </c:pt>
                <c:pt idx="1780">
                  <c:v>37210</c:v>
                </c:pt>
                <c:pt idx="1781">
                  <c:v>37211</c:v>
                </c:pt>
                <c:pt idx="1782">
                  <c:v>37214</c:v>
                </c:pt>
                <c:pt idx="1783">
                  <c:v>37215</c:v>
                </c:pt>
                <c:pt idx="1784">
                  <c:v>37216</c:v>
                </c:pt>
                <c:pt idx="1785">
                  <c:v>37217</c:v>
                </c:pt>
                <c:pt idx="1786">
                  <c:v>37218</c:v>
                </c:pt>
                <c:pt idx="1787">
                  <c:v>37221</c:v>
                </c:pt>
                <c:pt idx="1788">
                  <c:v>37222</c:v>
                </c:pt>
                <c:pt idx="1789">
                  <c:v>37223</c:v>
                </c:pt>
                <c:pt idx="1790">
                  <c:v>37224</c:v>
                </c:pt>
                <c:pt idx="1791">
                  <c:v>37225</c:v>
                </c:pt>
                <c:pt idx="1792">
                  <c:v>37228</c:v>
                </c:pt>
                <c:pt idx="1793">
                  <c:v>37229</c:v>
                </c:pt>
                <c:pt idx="1794">
                  <c:v>37230</c:v>
                </c:pt>
                <c:pt idx="1795">
                  <c:v>37231</c:v>
                </c:pt>
                <c:pt idx="1796">
                  <c:v>37232</c:v>
                </c:pt>
                <c:pt idx="1797">
                  <c:v>37235</c:v>
                </c:pt>
                <c:pt idx="1798">
                  <c:v>37236</c:v>
                </c:pt>
                <c:pt idx="1799">
                  <c:v>37237</c:v>
                </c:pt>
                <c:pt idx="1800">
                  <c:v>37238</c:v>
                </c:pt>
                <c:pt idx="1801">
                  <c:v>37239</c:v>
                </c:pt>
                <c:pt idx="1802">
                  <c:v>37242</c:v>
                </c:pt>
                <c:pt idx="1803">
                  <c:v>37243</c:v>
                </c:pt>
                <c:pt idx="1804">
                  <c:v>37244</c:v>
                </c:pt>
                <c:pt idx="1805">
                  <c:v>37245</c:v>
                </c:pt>
                <c:pt idx="1806">
                  <c:v>37246</c:v>
                </c:pt>
                <c:pt idx="1807">
                  <c:v>37249</c:v>
                </c:pt>
                <c:pt idx="1808">
                  <c:v>37250</c:v>
                </c:pt>
                <c:pt idx="1809">
                  <c:v>37251</c:v>
                </c:pt>
                <c:pt idx="1810">
                  <c:v>37252</c:v>
                </c:pt>
                <c:pt idx="1811">
                  <c:v>37253</c:v>
                </c:pt>
                <c:pt idx="1812">
                  <c:v>37256</c:v>
                </c:pt>
                <c:pt idx="1813">
                  <c:v>37257</c:v>
                </c:pt>
                <c:pt idx="1814">
                  <c:v>37258</c:v>
                </c:pt>
                <c:pt idx="1815">
                  <c:v>37259</c:v>
                </c:pt>
                <c:pt idx="1816">
                  <c:v>37260</c:v>
                </c:pt>
                <c:pt idx="1817">
                  <c:v>37263</c:v>
                </c:pt>
                <c:pt idx="1818">
                  <c:v>37264</c:v>
                </c:pt>
                <c:pt idx="1819">
                  <c:v>37265</c:v>
                </c:pt>
                <c:pt idx="1820">
                  <c:v>37266</c:v>
                </c:pt>
                <c:pt idx="1821">
                  <c:v>37267</c:v>
                </c:pt>
                <c:pt idx="1822">
                  <c:v>37270</c:v>
                </c:pt>
                <c:pt idx="1823">
                  <c:v>37271</c:v>
                </c:pt>
                <c:pt idx="1824">
                  <c:v>37272</c:v>
                </c:pt>
                <c:pt idx="1825">
                  <c:v>37273</c:v>
                </c:pt>
                <c:pt idx="1826">
                  <c:v>37274</c:v>
                </c:pt>
                <c:pt idx="1827">
                  <c:v>37277</c:v>
                </c:pt>
                <c:pt idx="1828">
                  <c:v>37278</c:v>
                </c:pt>
                <c:pt idx="1829">
                  <c:v>37279</c:v>
                </c:pt>
                <c:pt idx="1830">
                  <c:v>37280</c:v>
                </c:pt>
                <c:pt idx="1831">
                  <c:v>37281</c:v>
                </c:pt>
                <c:pt idx="1832">
                  <c:v>37284</c:v>
                </c:pt>
                <c:pt idx="1833">
                  <c:v>37285</c:v>
                </c:pt>
                <c:pt idx="1834">
                  <c:v>37286</c:v>
                </c:pt>
                <c:pt idx="1835">
                  <c:v>37287</c:v>
                </c:pt>
                <c:pt idx="1836">
                  <c:v>37288</c:v>
                </c:pt>
                <c:pt idx="1837">
                  <c:v>37291</c:v>
                </c:pt>
                <c:pt idx="1838">
                  <c:v>37292</c:v>
                </c:pt>
                <c:pt idx="1839">
                  <c:v>37293</c:v>
                </c:pt>
                <c:pt idx="1840">
                  <c:v>37294</c:v>
                </c:pt>
                <c:pt idx="1841">
                  <c:v>37295</c:v>
                </c:pt>
                <c:pt idx="1842">
                  <c:v>37298</c:v>
                </c:pt>
                <c:pt idx="1843">
                  <c:v>37299</c:v>
                </c:pt>
                <c:pt idx="1844">
                  <c:v>37300</c:v>
                </c:pt>
                <c:pt idx="1845">
                  <c:v>37301</c:v>
                </c:pt>
                <c:pt idx="1846">
                  <c:v>37302</c:v>
                </c:pt>
                <c:pt idx="1847">
                  <c:v>37305</c:v>
                </c:pt>
                <c:pt idx="1848">
                  <c:v>37306</c:v>
                </c:pt>
                <c:pt idx="1849">
                  <c:v>37307</c:v>
                </c:pt>
                <c:pt idx="1850">
                  <c:v>37308</c:v>
                </c:pt>
                <c:pt idx="1851">
                  <c:v>37309</c:v>
                </c:pt>
                <c:pt idx="1852">
                  <c:v>37312</c:v>
                </c:pt>
                <c:pt idx="1853">
                  <c:v>37313</c:v>
                </c:pt>
                <c:pt idx="1854">
                  <c:v>37314</c:v>
                </c:pt>
                <c:pt idx="1855">
                  <c:v>37315</c:v>
                </c:pt>
                <c:pt idx="1856">
                  <c:v>37316</c:v>
                </c:pt>
                <c:pt idx="1857">
                  <c:v>37319</c:v>
                </c:pt>
                <c:pt idx="1858">
                  <c:v>37320</c:v>
                </c:pt>
                <c:pt idx="1859">
                  <c:v>37321</c:v>
                </c:pt>
                <c:pt idx="1860">
                  <c:v>37322</c:v>
                </c:pt>
                <c:pt idx="1861">
                  <c:v>37323</c:v>
                </c:pt>
                <c:pt idx="1862">
                  <c:v>37326</c:v>
                </c:pt>
                <c:pt idx="1863">
                  <c:v>37327</c:v>
                </c:pt>
                <c:pt idx="1864">
                  <c:v>37328</c:v>
                </c:pt>
                <c:pt idx="1865">
                  <c:v>37329</c:v>
                </c:pt>
                <c:pt idx="1866">
                  <c:v>37330</c:v>
                </c:pt>
                <c:pt idx="1867">
                  <c:v>37333</c:v>
                </c:pt>
                <c:pt idx="1868">
                  <c:v>37334</c:v>
                </c:pt>
                <c:pt idx="1869">
                  <c:v>37335</c:v>
                </c:pt>
                <c:pt idx="1870">
                  <c:v>37336</c:v>
                </c:pt>
                <c:pt idx="1871">
                  <c:v>37337</c:v>
                </c:pt>
                <c:pt idx="1872">
                  <c:v>37340</c:v>
                </c:pt>
                <c:pt idx="1873">
                  <c:v>37341</c:v>
                </c:pt>
                <c:pt idx="1874">
                  <c:v>37342</c:v>
                </c:pt>
                <c:pt idx="1875">
                  <c:v>37343</c:v>
                </c:pt>
                <c:pt idx="1876">
                  <c:v>37344</c:v>
                </c:pt>
                <c:pt idx="1877">
                  <c:v>37347</c:v>
                </c:pt>
                <c:pt idx="1878">
                  <c:v>37348</c:v>
                </c:pt>
                <c:pt idx="1879">
                  <c:v>37349</c:v>
                </c:pt>
                <c:pt idx="1880">
                  <c:v>37350</c:v>
                </c:pt>
                <c:pt idx="1881">
                  <c:v>37351</c:v>
                </c:pt>
                <c:pt idx="1882">
                  <c:v>37354</c:v>
                </c:pt>
                <c:pt idx="1883">
                  <c:v>37355</c:v>
                </c:pt>
                <c:pt idx="1884">
                  <c:v>37356</c:v>
                </c:pt>
                <c:pt idx="1885">
                  <c:v>37357</c:v>
                </c:pt>
                <c:pt idx="1886">
                  <c:v>37358</c:v>
                </c:pt>
                <c:pt idx="1887">
                  <c:v>37361</c:v>
                </c:pt>
                <c:pt idx="1888">
                  <c:v>37362</c:v>
                </c:pt>
                <c:pt idx="1889">
                  <c:v>37363</c:v>
                </c:pt>
                <c:pt idx="1890">
                  <c:v>37364</c:v>
                </c:pt>
                <c:pt idx="1891">
                  <c:v>37365</c:v>
                </c:pt>
                <c:pt idx="1892">
                  <c:v>37368</c:v>
                </c:pt>
                <c:pt idx="1893">
                  <c:v>37369</c:v>
                </c:pt>
                <c:pt idx="1894">
                  <c:v>37370</c:v>
                </c:pt>
                <c:pt idx="1895">
                  <c:v>37371</c:v>
                </c:pt>
                <c:pt idx="1896">
                  <c:v>37372</c:v>
                </c:pt>
                <c:pt idx="1897">
                  <c:v>37375</c:v>
                </c:pt>
                <c:pt idx="1898">
                  <c:v>37376</c:v>
                </c:pt>
                <c:pt idx="1899">
                  <c:v>37377</c:v>
                </c:pt>
                <c:pt idx="1900">
                  <c:v>37378</c:v>
                </c:pt>
                <c:pt idx="1901">
                  <c:v>37379</c:v>
                </c:pt>
                <c:pt idx="1902">
                  <c:v>37382</c:v>
                </c:pt>
                <c:pt idx="1903">
                  <c:v>37383</c:v>
                </c:pt>
                <c:pt idx="1904">
                  <c:v>37384</c:v>
                </c:pt>
                <c:pt idx="1905">
                  <c:v>37385</c:v>
                </c:pt>
                <c:pt idx="1906">
                  <c:v>37386</c:v>
                </c:pt>
                <c:pt idx="1907">
                  <c:v>37389</c:v>
                </c:pt>
                <c:pt idx="1908">
                  <c:v>37390</c:v>
                </c:pt>
                <c:pt idx="1909">
                  <c:v>37391</c:v>
                </c:pt>
                <c:pt idx="1910">
                  <c:v>37392</c:v>
                </c:pt>
                <c:pt idx="1911">
                  <c:v>37393</c:v>
                </c:pt>
                <c:pt idx="1912">
                  <c:v>37396</c:v>
                </c:pt>
                <c:pt idx="1913">
                  <c:v>37397</c:v>
                </c:pt>
                <c:pt idx="1914">
                  <c:v>37398</c:v>
                </c:pt>
                <c:pt idx="1915">
                  <c:v>37399</c:v>
                </c:pt>
                <c:pt idx="1916">
                  <c:v>37400</c:v>
                </c:pt>
                <c:pt idx="1917">
                  <c:v>37403</c:v>
                </c:pt>
                <c:pt idx="1918">
                  <c:v>37404</c:v>
                </c:pt>
                <c:pt idx="1919">
                  <c:v>37405</c:v>
                </c:pt>
                <c:pt idx="1920">
                  <c:v>37406</c:v>
                </c:pt>
                <c:pt idx="1921">
                  <c:v>37407</c:v>
                </c:pt>
                <c:pt idx="1922">
                  <c:v>37410</c:v>
                </c:pt>
                <c:pt idx="1923">
                  <c:v>37411</c:v>
                </c:pt>
                <c:pt idx="1924">
                  <c:v>37412</c:v>
                </c:pt>
                <c:pt idx="1925">
                  <c:v>37413</c:v>
                </c:pt>
                <c:pt idx="1926">
                  <c:v>37414</c:v>
                </c:pt>
                <c:pt idx="1927">
                  <c:v>37417</c:v>
                </c:pt>
                <c:pt idx="1928">
                  <c:v>37418</c:v>
                </c:pt>
                <c:pt idx="1929">
                  <c:v>37419</c:v>
                </c:pt>
                <c:pt idx="1930">
                  <c:v>37420</c:v>
                </c:pt>
                <c:pt idx="1931">
                  <c:v>37421</c:v>
                </c:pt>
                <c:pt idx="1932">
                  <c:v>37424</c:v>
                </c:pt>
                <c:pt idx="1933">
                  <c:v>37425</c:v>
                </c:pt>
                <c:pt idx="1934">
                  <c:v>37426</c:v>
                </c:pt>
                <c:pt idx="1935">
                  <c:v>37427</c:v>
                </c:pt>
                <c:pt idx="1936">
                  <c:v>37428</c:v>
                </c:pt>
                <c:pt idx="1937">
                  <c:v>37431</c:v>
                </c:pt>
                <c:pt idx="1938">
                  <c:v>37432</c:v>
                </c:pt>
                <c:pt idx="1939">
                  <c:v>37433</c:v>
                </c:pt>
                <c:pt idx="1940">
                  <c:v>37434</c:v>
                </c:pt>
                <c:pt idx="1941">
                  <c:v>37435</c:v>
                </c:pt>
                <c:pt idx="1942">
                  <c:v>37438</c:v>
                </c:pt>
                <c:pt idx="1943">
                  <c:v>37439</c:v>
                </c:pt>
                <c:pt idx="1944">
                  <c:v>37440</c:v>
                </c:pt>
                <c:pt idx="1945">
                  <c:v>37441</c:v>
                </c:pt>
                <c:pt idx="1946">
                  <c:v>37442</c:v>
                </c:pt>
                <c:pt idx="1947">
                  <c:v>37445</c:v>
                </c:pt>
                <c:pt idx="1948">
                  <c:v>37446</c:v>
                </c:pt>
                <c:pt idx="1949">
                  <c:v>37447</c:v>
                </c:pt>
                <c:pt idx="1950">
                  <c:v>37448</c:v>
                </c:pt>
                <c:pt idx="1951">
                  <c:v>37449</c:v>
                </c:pt>
                <c:pt idx="1952">
                  <c:v>37452</c:v>
                </c:pt>
                <c:pt idx="1953">
                  <c:v>37453</c:v>
                </c:pt>
                <c:pt idx="1954">
                  <c:v>37454</c:v>
                </c:pt>
                <c:pt idx="1955">
                  <c:v>37455</c:v>
                </c:pt>
                <c:pt idx="1956">
                  <c:v>37456</c:v>
                </c:pt>
                <c:pt idx="1957">
                  <c:v>37459</c:v>
                </c:pt>
                <c:pt idx="1958">
                  <c:v>37460</c:v>
                </c:pt>
                <c:pt idx="1959">
                  <c:v>37461</c:v>
                </c:pt>
                <c:pt idx="1960">
                  <c:v>37462</c:v>
                </c:pt>
                <c:pt idx="1961">
                  <c:v>37463</c:v>
                </c:pt>
                <c:pt idx="1962">
                  <c:v>37466</c:v>
                </c:pt>
                <c:pt idx="1963">
                  <c:v>37467</c:v>
                </c:pt>
                <c:pt idx="1964">
                  <c:v>37468</c:v>
                </c:pt>
                <c:pt idx="1965">
                  <c:v>37469</c:v>
                </c:pt>
                <c:pt idx="1966">
                  <c:v>37470</c:v>
                </c:pt>
                <c:pt idx="1967">
                  <c:v>37473</c:v>
                </c:pt>
                <c:pt idx="1968">
                  <c:v>37474</c:v>
                </c:pt>
                <c:pt idx="1969">
                  <c:v>37475</c:v>
                </c:pt>
                <c:pt idx="1970">
                  <c:v>37476</c:v>
                </c:pt>
                <c:pt idx="1971">
                  <c:v>37477</c:v>
                </c:pt>
                <c:pt idx="1972">
                  <c:v>37480</c:v>
                </c:pt>
                <c:pt idx="1973">
                  <c:v>37481</c:v>
                </c:pt>
                <c:pt idx="1974">
                  <c:v>37482</c:v>
                </c:pt>
                <c:pt idx="1975">
                  <c:v>37483</c:v>
                </c:pt>
                <c:pt idx="1976">
                  <c:v>37484</c:v>
                </c:pt>
                <c:pt idx="1977">
                  <c:v>37487</c:v>
                </c:pt>
                <c:pt idx="1978">
                  <c:v>37488</c:v>
                </c:pt>
                <c:pt idx="1979">
                  <c:v>37489</c:v>
                </c:pt>
                <c:pt idx="1980">
                  <c:v>37490</c:v>
                </c:pt>
                <c:pt idx="1981">
                  <c:v>37491</c:v>
                </c:pt>
                <c:pt idx="1982">
                  <c:v>37494</c:v>
                </c:pt>
                <c:pt idx="1983">
                  <c:v>37495</c:v>
                </c:pt>
                <c:pt idx="1984">
                  <c:v>37496</c:v>
                </c:pt>
                <c:pt idx="1985">
                  <c:v>37497</c:v>
                </c:pt>
                <c:pt idx="1986">
                  <c:v>37498</c:v>
                </c:pt>
                <c:pt idx="1987">
                  <c:v>37501</c:v>
                </c:pt>
                <c:pt idx="1988">
                  <c:v>37502</c:v>
                </c:pt>
                <c:pt idx="1989">
                  <c:v>37503</c:v>
                </c:pt>
                <c:pt idx="1990">
                  <c:v>37504</c:v>
                </c:pt>
                <c:pt idx="1991">
                  <c:v>37505</c:v>
                </c:pt>
                <c:pt idx="1992">
                  <c:v>37508</c:v>
                </c:pt>
                <c:pt idx="1993">
                  <c:v>37509</c:v>
                </c:pt>
                <c:pt idx="1994">
                  <c:v>37510</c:v>
                </c:pt>
                <c:pt idx="1995">
                  <c:v>37511</c:v>
                </c:pt>
                <c:pt idx="1996">
                  <c:v>37512</c:v>
                </c:pt>
                <c:pt idx="1997">
                  <c:v>37515</c:v>
                </c:pt>
                <c:pt idx="1998">
                  <c:v>37516</c:v>
                </c:pt>
                <c:pt idx="1999">
                  <c:v>37517</c:v>
                </c:pt>
                <c:pt idx="2000">
                  <c:v>37518</c:v>
                </c:pt>
                <c:pt idx="2001">
                  <c:v>37519</c:v>
                </c:pt>
                <c:pt idx="2002">
                  <c:v>37522</c:v>
                </c:pt>
                <c:pt idx="2003">
                  <c:v>37523</c:v>
                </c:pt>
                <c:pt idx="2004">
                  <c:v>37524</c:v>
                </c:pt>
                <c:pt idx="2005">
                  <c:v>37525</c:v>
                </c:pt>
                <c:pt idx="2006">
                  <c:v>37526</c:v>
                </c:pt>
                <c:pt idx="2007">
                  <c:v>37529</c:v>
                </c:pt>
                <c:pt idx="2008">
                  <c:v>37530</c:v>
                </c:pt>
                <c:pt idx="2009">
                  <c:v>37531</c:v>
                </c:pt>
                <c:pt idx="2010">
                  <c:v>37532</c:v>
                </c:pt>
                <c:pt idx="2011">
                  <c:v>37533</c:v>
                </c:pt>
                <c:pt idx="2012">
                  <c:v>37536</c:v>
                </c:pt>
                <c:pt idx="2013">
                  <c:v>37537</c:v>
                </c:pt>
                <c:pt idx="2014">
                  <c:v>37538</c:v>
                </c:pt>
                <c:pt idx="2015">
                  <c:v>37539</c:v>
                </c:pt>
                <c:pt idx="2016">
                  <c:v>37540</c:v>
                </c:pt>
                <c:pt idx="2017">
                  <c:v>37543</c:v>
                </c:pt>
                <c:pt idx="2018">
                  <c:v>37544</c:v>
                </c:pt>
                <c:pt idx="2019">
                  <c:v>37545</c:v>
                </c:pt>
                <c:pt idx="2020">
                  <c:v>37546</c:v>
                </c:pt>
                <c:pt idx="2021">
                  <c:v>37547</c:v>
                </c:pt>
                <c:pt idx="2022">
                  <c:v>37550</c:v>
                </c:pt>
                <c:pt idx="2023">
                  <c:v>37551</c:v>
                </c:pt>
                <c:pt idx="2024">
                  <c:v>37552</c:v>
                </c:pt>
                <c:pt idx="2025">
                  <c:v>37553</c:v>
                </c:pt>
                <c:pt idx="2026">
                  <c:v>37554</c:v>
                </c:pt>
                <c:pt idx="2027">
                  <c:v>37557</c:v>
                </c:pt>
                <c:pt idx="2028">
                  <c:v>37558</c:v>
                </c:pt>
                <c:pt idx="2029">
                  <c:v>37559</c:v>
                </c:pt>
                <c:pt idx="2030">
                  <c:v>37560</c:v>
                </c:pt>
                <c:pt idx="2031">
                  <c:v>37561</c:v>
                </c:pt>
                <c:pt idx="2032">
                  <c:v>37564</c:v>
                </c:pt>
                <c:pt idx="2033">
                  <c:v>37565</c:v>
                </c:pt>
                <c:pt idx="2034">
                  <c:v>37566</c:v>
                </c:pt>
                <c:pt idx="2035">
                  <c:v>37567</c:v>
                </c:pt>
                <c:pt idx="2036">
                  <c:v>37568</c:v>
                </c:pt>
                <c:pt idx="2037">
                  <c:v>37571</c:v>
                </c:pt>
                <c:pt idx="2038">
                  <c:v>37572</c:v>
                </c:pt>
                <c:pt idx="2039">
                  <c:v>37573</c:v>
                </c:pt>
                <c:pt idx="2040">
                  <c:v>37574</c:v>
                </c:pt>
                <c:pt idx="2041">
                  <c:v>37575</c:v>
                </c:pt>
                <c:pt idx="2042">
                  <c:v>37578</c:v>
                </c:pt>
                <c:pt idx="2043">
                  <c:v>37579</c:v>
                </c:pt>
                <c:pt idx="2044">
                  <c:v>37580</c:v>
                </c:pt>
                <c:pt idx="2045">
                  <c:v>37581</c:v>
                </c:pt>
                <c:pt idx="2046">
                  <c:v>37582</c:v>
                </c:pt>
                <c:pt idx="2047">
                  <c:v>37585</c:v>
                </c:pt>
                <c:pt idx="2048">
                  <c:v>37586</c:v>
                </c:pt>
                <c:pt idx="2049">
                  <c:v>37587</c:v>
                </c:pt>
                <c:pt idx="2050">
                  <c:v>37588</c:v>
                </c:pt>
                <c:pt idx="2051">
                  <c:v>37589</c:v>
                </c:pt>
                <c:pt idx="2052">
                  <c:v>37592</c:v>
                </c:pt>
                <c:pt idx="2053">
                  <c:v>37593</c:v>
                </c:pt>
                <c:pt idx="2054">
                  <c:v>37594</c:v>
                </c:pt>
                <c:pt idx="2055">
                  <c:v>37595</c:v>
                </c:pt>
                <c:pt idx="2056">
                  <c:v>37596</c:v>
                </c:pt>
                <c:pt idx="2057">
                  <c:v>37599</c:v>
                </c:pt>
                <c:pt idx="2058">
                  <c:v>37600</c:v>
                </c:pt>
                <c:pt idx="2059">
                  <c:v>37601</c:v>
                </c:pt>
                <c:pt idx="2060">
                  <c:v>37602</c:v>
                </c:pt>
                <c:pt idx="2061">
                  <c:v>37603</c:v>
                </c:pt>
                <c:pt idx="2062">
                  <c:v>37606</c:v>
                </c:pt>
                <c:pt idx="2063">
                  <c:v>37607</c:v>
                </c:pt>
                <c:pt idx="2064">
                  <c:v>37608</c:v>
                </c:pt>
                <c:pt idx="2065">
                  <c:v>37609</c:v>
                </c:pt>
                <c:pt idx="2066">
                  <c:v>37610</c:v>
                </c:pt>
                <c:pt idx="2067">
                  <c:v>37613</c:v>
                </c:pt>
                <c:pt idx="2068">
                  <c:v>37614</c:v>
                </c:pt>
                <c:pt idx="2069">
                  <c:v>37615</c:v>
                </c:pt>
                <c:pt idx="2070">
                  <c:v>37616</c:v>
                </c:pt>
                <c:pt idx="2071">
                  <c:v>37617</c:v>
                </c:pt>
                <c:pt idx="2072">
                  <c:v>37620</c:v>
                </c:pt>
                <c:pt idx="2073">
                  <c:v>37621</c:v>
                </c:pt>
                <c:pt idx="2074">
                  <c:v>37622</c:v>
                </c:pt>
                <c:pt idx="2075">
                  <c:v>37623</c:v>
                </c:pt>
                <c:pt idx="2076">
                  <c:v>37624</c:v>
                </c:pt>
                <c:pt idx="2077">
                  <c:v>37627</c:v>
                </c:pt>
                <c:pt idx="2078">
                  <c:v>37628</c:v>
                </c:pt>
                <c:pt idx="2079">
                  <c:v>37629</c:v>
                </c:pt>
                <c:pt idx="2080">
                  <c:v>37630</c:v>
                </c:pt>
                <c:pt idx="2081">
                  <c:v>37631</c:v>
                </c:pt>
                <c:pt idx="2082">
                  <c:v>37634</c:v>
                </c:pt>
                <c:pt idx="2083">
                  <c:v>37635</c:v>
                </c:pt>
                <c:pt idx="2084">
                  <c:v>37636</c:v>
                </c:pt>
                <c:pt idx="2085">
                  <c:v>37637</c:v>
                </c:pt>
                <c:pt idx="2086">
                  <c:v>37638</c:v>
                </c:pt>
                <c:pt idx="2087">
                  <c:v>37641</c:v>
                </c:pt>
                <c:pt idx="2088">
                  <c:v>37642</c:v>
                </c:pt>
                <c:pt idx="2089">
                  <c:v>37643</c:v>
                </c:pt>
                <c:pt idx="2090">
                  <c:v>37644</c:v>
                </c:pt>
                <c:pt idx="2091">
                  <c:v>37645</c:v>
                </c:pt>
                <c:pt idx="2092">
                  <c:v>37648</c:v>
                </c:pt>
                <c:pt idx="2093">
                  <c:v>37649</c:v>
                </c:pt>
                <c:pt idx="2094">
                  <c:v>37650</c:v>
                </c:pt>
                <c:pt idx="2095">
                  <c:v>37651</c:v>
                </c:pt>
                <c:pt idx="2096">
                  <c:v>37652</c:v>
                </c:pt>
                <c:pt idx="2097">
                  <c:v>37655</c:v>
                </c:pt>
                <c:pt idx="2098">
                  <c:v>37656</c:v>
                </c:pt>
                <c:pt idx="2099">
                  <c:v>37657</c:v>
                </c:pt>
                <c:pt idx="2100">
                  <c:v>37658</c:v>
                </c:pt>
                <c:pt idx="2101">
                  <c:v>37659</c:v>
                </c:pt>
                <c:pt idx="2102">
                  <c:v>37662</c:v>
                </c:pt>
                <c:pt idx="2103">
                  <c:v>37663</c:v>
                </c:pt>
                <c:pt idx="2104">
                  <c:v>37664</c:v>
                </c:pt>
                <c:pt idx="2105">
                  <c:v>37665</c:v>
                </c:pt>
                <c:pt idx="2106">
                  <c:v>37666</c:v>
                </c:pt>
                <c:pt idx="2107">
                  <c:v>37669</c:v>
                </c:pt>
                <c:pt idx="2108">
                  <c:v>37670</c:v>
                </c:pt>
                <c:pt idx="2109">
                  <c:v>37671</c:v>
                </c:pt>
                <c:pt idx="2110">
                  <c:v>37672</c:v>
                </c:pt>
                <c:pt idx="2111">
                  <c:v>37673</c:v>
                </c:pt>
                <c:pt idx="2112">
                  <c:v>37676</c:v>
                </c:pt>
                <c:pt idx="2113">
                  <c:v>37677</c:v>
                </c:pt>
                <c:pt idx="2114">
                  <c:v>37678</c:v>
                </c:pt>
                <c:pt idx="2115">
                  <c:v>37679</c:v>
                </c:pt>
                <c:pt idx="2116">
                  <c:v>37680</c:v>
                </c:pt>
                <c:pt idx="2117">
                  <c:v>37683</c:v>
                </c:pt>
                <c:pt idx="2118">
                  <c:v>37684</c:v>
                </c:pt>
                <c:pt idx="2119">
                  <c:v>37685</c:v>
                </c:pt>
                <c:pt idx="2120">
                  <c:v>37686</c:v>
                </c:pt>
                <c:pt idx="2121">
                  <c:v>37687</c:v>
                </c:pt>
                <c:pt idx="2122">
                  <c:v>37690</c:v>
                </c:pt>
                <c:pt idx="2123">
                  <c:v>37691</c:v>
                </c:pt>
                <c:pt idx="2124">
                  <c:v>37692</c:v>
                </c:pt>
                <c:pt idx="2125">
                  <c:v>37693</c:v>
                </c:pt>
                <c:pt idx="2126">
                  <c:v>37694</c:v>
                </c:pt>
                <c:pt idx="2127">
                  <c:v>37697</c:v>
                </c:pt>
                <c:pt idx="2128">
                  <c:v>37698</c:v>
                </c:pt>
                <c:pt idx="2129">
                  <c:v>37699</c:v>
                </c:pt>
                <c:pt idx="2130">
                  <c:v>37700</c:v>
                </c:pt>
                <c:pt idx="2131">
                  <c:v>37701</c:v>
                </c:pt>
                <c:pt idx="2132">
                  <c:v>37704</c:v>
                </c:pt>
                <c:pt idx="2133">
                  <c:v>37705</c:v>
                </c:pt>
                <c:pt idx="2134">
                  <c:v>37706</c:v>
                </c:pt>
                <c:pt idx="2135">
                  <c:v>37707</c:v>
                </c:pt>
                <c:pt idx="2136">
                  <c:v>37708</c:v>
                </c:pt>
                <c:pt idx="2137">
                  <c:v>37711</c:v>
                </c:pt>
                <c:pt idx="2138">
                  <c:v>37712</c:v>
                </c:pt>
                <c:pt idx="2139">
                  <c:v>37713</c:v>
                </c:pt>
                <c:pt idx="2140">
                  <c:v>37714</c:v>
                </c:pt>
                <c:pt idx="2141">
                  <c:v>37715</c:v>
                </c:pt>
                <c:pt idx="2142">
                  <c:v>37718</c:v>
                </c:pt>
                <c:pt idx="2143">
                  <c:v>37719</c:v>
                </c:pt>
                <c:pt idx="2144">
                  <c:v>37720</c:v>
                </c:pt>
                <c:pt idx="2145">
                  <c:v>37721</c:v>
                </c:pt>
                <c:pt idx="2146">
                  <c:v>37722</c:v>
                </c:pt>
                <c:pt idx="2147">
                  <c:v>37725</c:v>
                </c:pt>
                <c:pt idx="2148">
                  <c:v>37726</c:v>
                </c:pt>
                <c:pt idx="2149">
                  <c:v>37727</c:v>
                </c:pt>
                <c:pt idx="2150">
                  <c:v>37728</c:v>
                </c:pt>
                <c:pt idx="2151">
                  <c:v>37729</c:v>
                </c:pt>
                <c:pt idx="2152">
                  <c:v>37732</c:v>
                </c:pt>
                <c:pt idx="2153">
                  <c:v>37733</c:v>
                </c:pt>
                <c:pt idx="2154">
                  <c:v>37734</c:v>
                </c:pt>
                <c:pt idx="2155">
                  <c:v>37735</c:v>
                </c:pt>
                <c:pt idx="2156">
                  <c:v>37736</c:v>
                </c:pt>
                <c:pt idx="2157">
                  <c:v>37739</c:v>
                </c:pt>
                <c:pt idx="2158">
                  <c:v>37740</c:v>
                </c:pt>
                <c:pt idx="2159">
                  <c:v>37741</c:v>
                </c:pt>
                <c:pt idx="2160">
                  <c:v>37742</c:v>
                </c:pt>
                <c:pt idx="2161">
                  <c:v>37743</c:v>
                </c:pt>
                <c:pt idx="2162">
                  <c:v>37746</c:v>
                </c:pt>
                <c:pt idx="2163">
                  <c:v>37747</c:v>
                </c:pt>
                <c:pt idx="2164">
                  <c:v>37748</c:v>
                </c:pt>
                <c:pt idx="2165">
                  <c:v>37749</c:v>
                </c:pt>
                <c:pt idx="2166">
                  <c:v>37750</c:v>
                </c:pt>
                <c:pt idx="2167">
                  <c:v>37753</c:v>
                </c:pt>
                <c:pt idx="2168">
                  <c:v>37754</c:v>
                </c:pt>
                <c:pt idx="2169">
                  <c:v>37755</c:v>
                </c:pt>
                <c:pt idx="2170">
                  <c:v>37756</c:v>
                </c:pt>
                <c:pt idx="2171">
                  <c:v>37757</c:v>
                </c:pt>
                <c:pt idx="2172">
                  <c:v>37760</c:v>
                </c:pt>
                <c:pt idx="2173">
                  <c:v>37761</c:v>
                </c:pt>
                <c:pt idx="2174">
                  <c:v>37762</c:v>
                </c:pt>
                <c:pt idx="2175">
                  <c:v>37763</c:v>
                </c:pt>
                <c:pt idx="2176">
                  <c:v>37764</c:v>
                </c:pt>
                <c:pt idx="2177">
                  <c:v>37767</c:v>
                </c:pt>
                <c:pt idx="2178">
                  <c:v>37768</c:v>
                </c:pt>
                <c:pt idx="2179">
                  <c:v>37769</c:v>
                </c:pt>
                <c:pt idx="2180">
                  <c:v>37770</c:v>
                </c:pt>
                <c:pt idx="2181">
                  <c:v>37771</c:v>
                </c:pt>
                <c:pt idx="2182">
                  <c:v>37774</c:v>
                </c:pt>
                <c:pt idx="2183">
                  <c:v>37775</c:v>
                </c:pt>
                <c:pt idx="2184">
                  <c:v>37776</c:v>
                </c:pt>
                <c:pt idx="2185">
                  <c:v>37777</c:v>
                </c:pt>
                <c:pt idx="2186">
                  <c:v>37778</c:v>
                </c:pt>
                <c:pt idx="2187">
                  <c:v>37781</c:v>
                </c:pt>
                <c:pt idx="2188">
                  <c:v>37782</c:v>
                </c:pt>
                <c:pt idx="2189">
                  <c:v>37783</c:v>
                </c:pt>
                <c:pt idx="2190">
                  <c:v>37784</c:v>
                </c:pt>
                <c:pt idx="2191">
                  <c:v>37785</c:v>
                </c:pt>
                <c:pt idx="2192">
                  <c:v>37788</c:v>
                </c:pt>
                <c:pt idx="2193">
                  <c:v>37789</c:v>
                </c:pt>
                <c:pt idx="2194">
                  <c:v>37790</c:v>
                </c:pt>
                <c:pt idx="2195">
                  <c:v>37791</c:v>
                </c:pt>
                <c:pt idx="2196">
                  <c:v>37792</c:v>
                </c:pt>
                <c:pt idx="2197">
                  <c:v>37795</c:v>
                </c:pt>
                <c:pt idx="2198">
                  <c:v>37796</c:v>
                </c:pt>
                <c:pt idx="2199">
                  <c:v>37797</c:v>
                </c:pt>
                <c:pt idx="2200">
                  <c:v>37798</c:v>
                </c:pt>
                <c:pt idx="2201">
                  <c:v>37799</c:v>
                </c:pt>
                <c:pt idx="2202">
                  <c:v>37802</c:v>
                </c:pt>
                <c:pt idx="2203">
                  <c:v>37803</c:v>
                </c:pt>
                <c:pt idx="2204">
                  <c:v>37804</c:v>
                </c:pt>
                <c:pt idx="2205">
                  <c:v>37805</c:v>
                </c:pt>
                <c:pt idx="2206">
                  <c:v>37806</c:v>
                </c:pt>
                <c:pt idx="2207">
                  <c:v>37809</c:v>
                </c:pt>
                <c:pt idx="2208">
                  <c:v>37810</c:v>
                </c:pt>
                <c:pt idx="2209">
                  <c:v>37811</c:v>
                </c:pt>
                <c:pt idx="2210">
                  <c:v>37812</c:v>
                </c:pt>
                <c:pt idx="2211">
                  <c:v>37813</c:v>
                </c:pt>
                <c:pt idx="2212">
                  <c:v>37816</c:v>
                </c:pt>
                <c:pt idx="2213">
                  <c:v>37817</c:v>
                </c:pt>
                <c:pt idx="2214">
                  <c:v>37818</c:v>
                </c:pt>
                <c:pt idx="2215">
                  <c:v>37819</c:v>
                </c:pt>
                <c:pt idx="2216">
                  <c:v>37820</c:v>
                </c:pt>
                <c:pt idx="2217">
                  <c:v>37823</c:v>
                </c:pt>
                <c:pt idx="2218">
                  <c:v>37824</c:v>
                </c:pt>
                <c:pt idx="2219">
                  <c:v>37825</c:v>
                </c:pt>
                <c:pt idx="2220">
                  <c:v>37826</c:v>
                </c:pt>
                <c:pt idx="2221">
                  <c:v>37827</c:v>
                </c:pt>
                <c:pt idx="2222">
                  <c:v>37830</c:v>
                </c:pt>
                <c:pt idx="2223">
                  <c:v>37831</c:v>
                </c:pt>
                <c:pt idx="2224">
                  <c:v>37832</c:v>
                </c:pt>
                <c:pt idx="2225">
                  <c:v>37833</c:v>
                </c:pt>
                <c:pt idx="2226">
                  <c:v>37834</c:v>
                </c:pt>
                <c:pt idx="2227">
                  <c:v>37837</c:v>
                </c:pt>
                <c:pt idx="2228">
                  <c:v>37838</c:v>
                </c:pt>
                <c:pt idx="2229">
                  <c:v>37839</c:v>
                </c:pt>
                <c:pt idx="2230">
                  <c:v>37840</c:v>
                </c:pt>
                <c:pt idx="2231">
                  <c:v>37841</c:v>
                </c:pt>
                <c:pt idx="2232">
                  <c:v>37844</c:v>
                </c:pt>
                <c:pt idx="2233">
                  <c:v>37845</c:v>
                </c:pt>
                <c:pt idx="2234">
                  <c:v>37846</c:v>
                </c:pt>
                <c:pt idx="2235">
                  <c:v>37847</c:v>
                </c:pt>
                <c:pt idx="2236">
                  <c:v>37848</c:v>
                </c:pt>
                <c:pt idx="2237">
                  <c:v>37851</c:v>
                </c:pt>
                <c:pt idx="2238">
                  <c:v>37852</c:v>
                </c:pt>
                <c:pt idx="2239">
                  <c:v>37853</c:v>
                </c:pt>
                <c:pt idx="2240">
                  <c:v>37854</c:v>
                </c:pt>
                <c:pt idx="2241">
                  <c:v>37855</c:v>
                </c:pt>
                <c:pt idx="2242">
                  <c:v>37858</c:v>
                </c:pt>
                <c:pt idx="2243">
                  <c:v>37859</c:v>
                </c:pt>
                <c:pt idx="2244">
                  <c:v>37860</c:v>
                </c:pt>
                <c:pt idx="2245">
                  <c:v>37861</c:v>
                </c:pt>
                <c:pt idx="2246">
                  <c:v>37862</c:v>
                </c:pt>
                <c:pt idx="2247">
                  <c:v>37865</c:v>
                </c:pt>
                <c:pt idx="2248">
                  <c:v>37866</c:v>
                </c:pt>
                <c:pt idx="2249">
                  <c:v>37867</c:v>
                </c:pt>
                <c:pt idx="2250">
                  <c:v>37868</c:v>
                </c:pt>
                <c:pt idx="2251">
                  <c:v>37869</c:v>
                </c:pt>
                <c:pt idx="2252">
                  <c:v>37872</c:v>
                </c:pt>
                <c:pt idx="2253">
                  <c:v>37873</c:v>
                </c:pt>
                <c:pt idx="2254">
                  <c:v>37874</c:v>
                </c:pt>
                <c:pt idx="2255">
                  <c:v>37875</c:v>
                </c:pt>
                <c:pt idx="2256">
                  <c:v>37876</c:v>
                </c:pt>
                <c:pt idx="2257">
                  <c:v>37879</c:v>
                </c:pt>
                <c:pt idx="2258">
                  <c:v>37880</c:v>
                </c:pt>
                <c:pt idx="2259">
                  <c:v>37881</c:v>
                </c:pt>
                <c:pt idx="2260">
                  <c:v>37882</c:v>
                </c:pt>
                <c:pt idx="2261">
                  <c:v>37883</c:v>
                </c:pt>
                <c:pt idx="2262">
                  <c:v>37886</c:v>
                </c:pt>
                <c:pt idx="2263">
                  <c:v>37887</c:v>
                </c:pt>
                <c:pt idx="2264">
                  <c:v>37888</c:v>
                </c:pt>
                <c:pt idx="2265">
                  <c:v>37889</c:v>
                </c:pt>
                <c:pt idx="2266">
                  <c:v>37890</c:v>
                </c:pt>
                <c:pt idx="2267">
                  <c:v>37893</c:v>
                </c:pt>
                <c:pt idx="2268">
                  <c:v>37894</c:v>
                </c:pt>
                <c:pt idx="2269">
                  <c:v>37895</c:v>
                </c:pt>
                <c:pt idx="2270">
                  <c:v>37896</c:v>
                </c:pt>
                <c:pt idx="2271">
                  <c:v>37897</c:v>
                </c:pt>
                <c:pt idx="2272">
                  <c:v>37900</c:v>
                </c:pt>
                <c:pt idx="2273">
                  <c:v>37901</c:v>
                </c:pt>
                <c:pt idx="2274">
                  <c:v>37902</c:v>
                </c:pt>
                <c:pt idx="2275">
                  <c:v>37903</c:v>
                </c:pt>
                <c:pt idx="2276">
                  <c:v>37904</c:v>
                </c:pt>
                <c:pt idx="2277">
                  <c:v>37907</c:v>
                </c:pt>
                <c:pt idx="2278">
                  <c:v>37908</c:v>
                </c:pt>
                <c:pt idx="2279">
                  <c:v>37909</c:v>
                </c:pt>
                <c:pt idx="2280">
                  <c:v>37910</c:v>
                </c:pt>
                <c:pt idx="2281">
                  <c:v>37911</c:v>
                </c:pt>
                <c:pt idx="2282">
                  <c:v>37914</c:v>
                </c:pt>
                <c:pt idx="2283">
                  <c:v>37915</c:v>
                </c:pt>
                <c:pt idx="2284">
                  <c:v>37916</c:v>
                </c:pt>
                <c:pt idx="2285">
                  <c:v>37917</c:v>
                </c:pt>
                <c:pt idx="2286">
                  <c:v>37918</c:v>
                </c:pt>
                <c:pt idx="2287">
                  <c:v>37921</c:v>
                </c:pt>
                <c:pt idx="2288">
                  <c:v>37922</c:v>
                </c:pt>
                <c:pt idx="2289">
                  <c:v>37923</c:v>
                </c:pt>
                <c:pt idx="2290">
                  <c:v>37924</c:v>
                </c:pt>
                <c:pt idx="2291">
                  <c:v>37925</c:v>
                </c:pt>
                <c:pt idx="2292">
                  <c:v>37928</c:v>
                </c:pt>
                <c:pt idx="2293">
                  <c:v>37929</c:v>
                </c:pt>
                <c:pt idx="2294">
                  <c:v>37930</c:v>
                </c:pt>
                <c:pt idx="2295">
                  <c:v>37931</c:v>
                </c:pt>
                <c:pt idx="2296">
                  <c:v>37932</c:v>
                </c:pt>
                <c:pt idx="2297">
                  <c:v>37935</c:v>
                </c:pt>
                <c:pt idx="2298">
                  <c:v>37936</c:v>
                </c:pt>
                <c:pt idx="2299">
                  <c:v>37937</c:v>
                </c:pt>
                <c:pt idx="2300">
                  <c:v>37938</c:v>
                </c:pt>
                <c:pt idx="2301">
                  <c:v>37939</c:v>
                </c:pt>
                <c:pt idx="2302">
                  <c:v>37942</c:v>
                </c:pt>
                <c:pt idx="2303">
                  <c:v>37943</c:v>
                </c:pt>
                <c:pt idx="2304">
                  <c:v>37944</c:v>
                </c:pt>
                <c:pt idx="2305">
                  <c:v>37945</c:v>
                </c:pt>
                <c:pt idx="2306">
                  <c:v>37946</c:v>
                </c:pt>
                <c:pt idx="2307">
                  <c:v>37949</c:v>
                </c:pt>
                <c:pt idx="2308">
                  <c:v>37950</c:v>
                </c:pt>
                <c:pt idx="2309">
                  <c:v>37951</c:v>
                </c:pt>
                <c:pt idx="2310">
                  <c:v>37952</c:v>
                </c:pt>
                <c:pt idx="2311">
                  <c:v>37953</c:v>
                </c:pt>
                <c:pt idx="2312">
                  <c:v>37956</c:v>
                </c:pt>
                <c:pt idx="2313">
                  <c:v>37957</c:v>
                </c:pt>
                <c:pt idx="2314">
                  <c:v>37958</c:v>
                </c:pt>
                <c:pt idx="2315">
                  <c:v>37959</c:v>
                </c:pt>
                <c:pt idx="2316">
                  <c:v>37960</c:v>
                </c:pt>
                <c:pt idx="2317">
                  <c:v>37963</c:v>
                </c:pt>
                <c:pt idx="2318">
                  <c:v>37964</c:v>
                </c:pt>
                <c:pt idx="2319">
                  <c:v>37965</c:v>
                </c:pt>
                <c:pt idx="2320">
                  <c:v>37966</c:v>
                </c:pt>
                <c:pt idx="2321">
                  <c:v>37967</c:v>
                </c:pt>
                <c:pt idx="2322">
                  <c:v>37970</c:v>
                </c:pt>
                <c:pt idx="2323">
                  <c:v>37971</c:v>
                </c:pt>
                <c:pt idx="2324">
                  <c:v>37972</c:v>
                </c:pt>
                <c:pt idx="2325">
                  <c:v>37973</c:v>
                </c:pt>
                <c:pt idx="2326">
                  <c:v>37974</c:v>
                </c:pt>
                <c:pt idx="2327">
                  <c:v>37977</c:v>
                </c:pt>
                <c:pt idx="2328">
                  <c:v>37978</c:v>
                </c:pt>
                <c:pt idx="2329">
                  <c:v>37979</c:v>
                </c:pt>
                <c:pt idx="2330">
                  <c:v>37980</c:v>
                </c:pt>
                <c:pt idx="2331">
                  <c:v>37981</c:v>
                </c:pt>
                <c:pt idx="2332">
                  <c:v>37984</c:v>
                </c:pt>
                <c:pt idx="2333">
                  <c:v>37985</c:v>
                </c:pt>
                <c:pt idx="2334">
                  <c:v>37986</c:v>
                </c:pt>
                <c:pt idx="2335">
                  <c:v>37987</c:v>
                </c:pt>
                <c:pt idx="2336">
                  <c:v>37988</c:v>
                </c:pt>
                <c:pt idx="2337">
                  <c:v>37991</c:v>
                </c:pt>
                <c:pt idx="2338">
                  <c:v>37992</c:v>
                </c:pt>
                <c:pt idx="2339">
                  <c:v>37993</c:v>
                </c:pt>
                <c:pt idx="2340">
                  <c:v>37994</c:v>
                </c:pt>
                <c:pt idx="2341">
                  <c:v>37995</c:v>
                </c:pt>
                <c:pt idx="2342">
                  <c:v>37998</c:v>
                </c:pt>
                <c:pt idx="2343">
                  <c:v>37999</c:v>
                </c:pt>
                <c:pt idx="2344">
                  <c:v>38000</c:v>
                </c:pt>
                <c:pt idx="2345">
                  <c:v>38001</c:v>
                </c:pt>
                <c:pt idx="2346">
                  <c:v>38002</c:v>
                </c:pt>
                <c:pt idx="2347">
                  <c:v>38005</c:v>
                </c:pt>
                <c:pt idx="2348">
                  <c:v>38006</c:v>
                </c:pt>
                <c:pt idx="2349">
                  <c:v>38007</c:v>
                </c:pt>
                <c:pt idx="2350">
                  <c:v>38008</c:v>
                </c:pt>
                <c:pt idx="2351">
                  <c:v>38009</c:v>
                </c:pt>
                <c:pt idx="2352">
                  <c:v>38012</c:v>
                </c:pt>
                <c:pt idx="2353">
                  <c:v>38013</c:v>
                </c:pt>
                <c:pt idx="2354">
                  <c:v>38014</c:v>
                </c:pt>
                <c:pt idx="2355">
                  <c:v>38015</c:v>
                </c:pt>
                <c:pt idx="2356">
                  <c:v>38016</c:v>
                </c:pt>
                <c:pt idx="2357">
                  <c:v>38019</c:v>
                </c:pt>
                <c:pt idx="2358">
                  <c:v>38020</c:v>
                </c:pt>
                <c:pt idx="2359">
                  <c:v>38021</c:v>
                </c:pt>
                <c:pt idx="2360">
                  <c:v>38022</c:v>
                </c:pt>
                <c:pt idx="2361">
                  <c:v>38023</c:v>
                </c:pt>
                <c:pt idx="2362">
                  <c:v>38026</c:v>
                </c:pt>
                <c:pt idx="2363">
                  <c:v>38027</c:v>
                </c:pt>
                <c:pt idx="2364">
                  <c:v>38028</c:v>
                </c:pt>
                <c:pt idx="2365">
                  <c:v>38029</c:v>
                </c:pt>
                <c:pt idx="2366">
                  <c:v>38030</c:v>
                </c:pt>
                <c:pt idx="2367">
                  <c:v>38033</c:v>
                </c:pt>
                <c:pt idx="2368">
                  <c:v>38034</c:v>
                </c:pt>
                <c:pt idx="2369">
                  <c:v>38035</c:v>
                </c:pt>
                <c:pt idx="2370">
                  <c:v>38036</c:v>
                </c:pt>
                <c:pt idx="2371">
                  <c:v>38037</c:v>
                </c:pt>
                <c:pt idx="2372">
                  <c:v>38040</c:v>
                </c:pt>
                <c:pt idx="2373">
                  <c:v>38041</c:v>
                </c:pt>
                <c:pt idx="2374">
                  <c:v>38042</c:v>
                </c:pt>
                <c:pt idx="2375">
                  <c:v>38043</c:v>
                </c:pt>
                <c:pt idx="2376">
                  <c:v>38044</c:v>
                </c:pt>
                <c:pt idx="2377">
                  <c:v>38047</c:v>
                </c:pt>
                <c:pt idx="2378">
                  <c:v>38048</c:v>
                </c:pt>
                <c:pt idx="2379">
                  <c:v>38049</c:v>
                </c:pt>
                <c:pt idx="2380">
                  <c:v>38050</c:v>
                </c:pt>
                <c:pt idx="2381">
                  <c:v>38051</c:v>
                </c:pt>
                <c:pt idx="2382">
                  <c:v>38054</c:v>
                </c:pt>
                <c:pt idx="2383">
                  <c:v>38055</c:v>
                </c:pt>
                <c:pt idx="2384">
                  <c:v>38056</c:v>
                </c:pt>
                <c:pt idx="2385">
                  <c:v>38057</c:v>
                </c:pt>
                <c:pt idx="2386">
                  <c:v>38058</c:v>
                </c:pt>
                <c:pt idx="2387">
                  <c:v>38061</c:v>
                </c:pt>
                <c:pt idx="2388">
                  <c:v>38062</c:v>
                </c:pt>
                <c:pt idx="2389">
                  <c:v>38063</c:v>
                </c:pt>
                <c:pt idx="2390">
                  <c:v>38064</c:v>
                </c:pt>
                <c:pt idx="2391">
                  <c:v>38065</c:v>
                </c:pt>
                <c:pt idx="2392">
                  <c:v>38068</c:v>
                </c:pt>
                <c:pt idx="2393">
                  <c:v>38069</c:v>
                </c:pt>
                <c:pt idx="2394">
                  <c:v>38070</c:v>
                </c:pt>
                <c:pt idx="2395">
                  <c:v>38071</c:v>
                </c:pt>
                <c:pt idx="2396">
                  <c:v>38072</c:v>
                </c:pt>
                <c:pt idx="2397">
                  <c:v>38075</c:v>
                </c:pt>
                <c:pt idx="2398">
                  <c:v>38076</c:v>
                </c:pt>
                <c:pt idx="2399">
                  <c:v>38077</c:v>
                </c:pt>
                <c:pt idx="2400">
                  <c:v>38078</c:v>
                </c:pt>
                <c:pt idx="2401">
                  <c:v>38079</c:v>
                </c:pt>
                <c:pt idx="2402">
                  <c:v>38082</c:v>
                </c:pt>
                <c:pt idx="2403">
                  <c:v>38083</c:v>
                </c:pt>
                <c:pt idx="2404">
                  <c:v>38084</c:v>
                </c:pt>
                <c:pt idx="2405">
                  <c:v>38085</c:v>
                </c:pt>
                <c:pt idx="2406">
                  <c:v>38086</c:v>
                </c:pt>
                <c:pt idx="2407">
                  <c:v>38089</c:v>
                </c:pt>
                <c:pt idx="2408">
                  <c:v>38090</c:v>
                </c:pt>
                <c:pt idx="2409">
                  <c:v>38091</c:v>
                </c:pt>
                <c:pt idx="2410">
                  <c:v>38092</c:v>
                </c:pt>
                <c:pt idx="2411">
                  <c:v>38093</c:v>
                </c:pt>
                <c:pt idx="2412">
                  <c:v>38096</c:v>
                </c:pt>
                <c:pt idx="2413">
                  <c:v>38097</c:v>
                </c:pt>
                <c:pt idx="2414">
                  <c:v>38098</c:v>
                </c:pt>
                <c:pt idx="2415">
                  <c:v>38099</c:v>
                </c:pt>
                <c:pt idx="2416">
                  <c:v>38100</c:v>
                </c:pt>
                <c:pt idx="2417">
                  <c:v>38103</c:v>
                </c:pt>
                <c:pt idx="2418">
                  <c:v>38104</c:v>
                </c:pt>
                <c:pt idx="2419">
                  <c:v>38105</c:v>
                </c:pt>
                <c:pt idx="2420">
                  <c:v>38106</c:v>
                </c:pt>
                <c:pt idx="2421">
                  <c:v>38107</c:v>
                </c:pt>
                <c:pt idx="2422">
                  <c:v>38110</c:v>
                </c:pt>
                <c:pt idx="2423">
                  <c:v>38111</c:v>
                </c:pt>
                <c:pt idx="2424">
                  <c:v>38112</c:v>
                </c:pt>
                <c:pt idx="2425">
                  <c:v>38113</c:v>
                </c:pt>
                <c:pt idx="2426">
                  <c:v>38114</c:v>
                </c:pt>
                <c:pt idx="2427">
                  <c:v>38117</c:v>
                </c:pt>
                <c:pt idx="2428">
                  <c:v>38118</c:v>
                </c:pt>
                <c:pt idx="2429">
                  <c:v>38119</c:v>
                </c:pt>
                <c:pt idx="2430">
                  <c:v>38120</c:v>
                </c:pt>
                <c:pt idx="2431">
                  <c:v>38121</c:v>
                </c:pt>
                <c:pt idx="2432">
                  <c:v>38124</c:v>
                </c:pt>
                <c:pt idx="2433">
                  <c:v>38125</c:v>
                </c:pt>
                <c:pt idx="2434">
                  <c:v>38126</c:v>
                </c:pt>
                <c:pt idx="2435">
                  <c:v>38127</c:v>
                </c:pt>
                <c:pt idx="2436">
                  <c:v>38128</c:v>
                </c:pt>
                <c:pt idx="2437">
                  <c:v>38131</c:v>
                </c:pt>
                <c:pt idx="2438">
                  <c:v>38132</c:v>
                </c:pt>
                <c:pt idx="2439">
                  <c:v>38133</c:v>
                </c:pt>
                <c:pt idx="2440">
                  <c:v>38134</c:v>
                </c:pt>
                <c:pt idx="2441">
                  <c:v>38135</c:v>
                </c:pt>
                <c:pt idx="2442">
                  <c:v>38138</c:v>
                </c:pt>
                <c:pt idx="2443">
                  <c:v>38139</c:v>
                </c:pt>
                <c:pt idx="2444">
                  <c:v>38140</c:v>
                </c:pt>
                <c:pt idx="2445">
                  <c:v>38141</c:v>
                </c:pt>
                <c:pt idx="2446">
                  <c:v>38142</c:v>
                </c:pt>
                <c:pt idx="2447">
                  <c:v>38145</c:v>
                </c:pt>
                <c:pt idx="2448">
                  <c:v>38146</c:v>
                </c:pt>
                <c:pt idx="2449">
                  <c:v>38147</c:v>
                </c:pt>
                <c:pt idx="2450">
                  <c:v>38148</c:v>
                </c:pt>
                <c:pt idx="2451">
                  <c:v>38149</c:v>
                </c:pt>
                <c:pt idx="2452">
                  <c:v>38152</c:v>
                </c:pt>
                <c:pt idx="2453">
                  <c:v>38153</c:v>
                </c:pt>
                <c:pt idx="2454">
                  <c:v>38154</c:v>
                </c:pt>
                <c:pt idx="2455">
                  <c:v>38155</c:v>
                </c:pt>
                <c:pt idx="2456">
                  <c:v>38156</c:v>
                </c:pt>
                <c:pt idx="2457">
                  <c:v>38159</c:v>
                </c:pt>
                <c:pt idx="2458">
                  <c:v>38160</c:v>
                </c:pt>
                <c:pt idx="2459">
                  <c:v>38161</c:v>
                </c:pt>
                <c:pt idx="2460">
                  <c:v>38162</c:v>
                </c:pt>
                <c:pt idx="2461">
                  <c:v>38163</c:v>
                </c:pt>
                <c:pt idx="2462">
                  <c:v>38166</c:v>
                </c:pt>
                <c:pt idx="2463">
                  <c:v>38167</c:v>
                </c:pt>
                <c:pt idx="2464">
                  <c:v>38168</c:v>
                </c:pt>
                <c:pt idx="2465">
                  <c:v>38169</c:v>
                </c:pt>
                <c:pt idx="2466">
                  <c:v>38170</c:v>
                </c:pt>
                <c:pt idx="2467">
                  <c:v>38173</c:v>
                </c:pt>
                <c:pt idx="2468">
                  <c:v>38174</c:v>
                </c:pt>
                <c:pt idx="2469">
                  <c:v>38175</c:v>
                </c:pt>
                <c:pt idx="2470">
                  <c:v>38176</c:v>
                </c:pt>
                <c:pt idx="2471">
                  <c:v>38177</c:v>
                </c:pt>
                <c:pt idx="2472">
                  <c:v>38180</c:v>
                </c:pt>
                <c:pt idx="2473">
                  <c:v>38181</c:v>
                </c:pt>
                <c:pt idx="2474">
                  <c:v>38182</c:v>
                </c:pt>
                <c:pt idx="2475">
                  <c:v>38183</c:v>
                </c:pt>
                <c:pt idx="2476">
                  <c:v>38184</c:v>
                </c:pt>
                <c:pt idx="2477">
                  <c:v>38187</c:v>
                </c:pt>
                <c:pt idx="2478">
                  <c:v>38188</c:v>
                </c:pt>
                <c:pt idx="2479">
                  <c:v>38189</c:v>
                </c:pt>
                <c:pt idx="2480">
                  <c:v>38190</c:v>
                </c:pt>
                <c:pt idx="2481">
                  <c:v>38191</c:v>
                </c:pt>
                <c:pt idx="2482">
                  <c:v>38194</c:v>
                </c:pt>
                <c:pt idx="2483">
                  <c:v>38195</c:v>
                </c:pt>
                <c:pt idx="2484">
                  <c:v>38196</c:v>
                </c:pt>
                <c:pt idx="2485">
                  <c:v>38197</c:v>
                </c:pt>
                <c:pt idx="2486">
                  <c:v>38198</c:v>
                </c:pt>
                <c:pt idx="2487">
                  <c:v>38201</c:v>
                </c:pt>
                <c:pt idx="2488">
                  <c:v>38202</c:v>
                </c:pt>
                <c:pt idx="2489">
                  <c:v>38203</c:v>
                </c:pt>
                <c:pt idx="2490">
                  <c:v>38204</c:v>
                </c:pt>
                <c:pt idx="2491">
                  <c:v>38205</c:v>
                </c:pt>
                <c:pt idx="2492">
                  <c:v>38208</c:v>
                </c:pt>
                <c:pt idx="2493">
                  <c:v>38209</c:v>
                </c:pt>
                <c:pt idx="2494">
                  <c:v>38210</c:v>
                </c:pt>
                <c:pt idx="2495">
                  <c:v>38211</c:v>
                </c:pt>
                <c:pt idx="2496">
                  <c:v>38212</c:v>
                </c:pt>
                <c:pt idx="2497">
                  <c:v>38215</c:v>
                </c:pt>
                <c:pt idx="2498">
                  <c:v>38216</c:v>
                </c:pt>
                <c:pt idx="2499">
                  <c:v>38217</c:v>
                </c:pt>
                <c:pt idx="2500">
                  <c:v>38218</c:v>
                </c:pt>
                <c:pt idx="2501">
                  <c:v>38219</c:v>
                </c:pt>
                <c:pt idx="2502">
                  <c:v>38222</c:v>
                </c:pt>
                <c:pt idx="2503">
                  <c:v>38223</c:v>
                </c:pt>
                <c:pt idx="2504">
                  <c:v>38224</c:v>
                </c:pt>
                <c:pt idx="2505">
                  <c:v>38225</c:v>
                </c:pt>
                <c:pt idx="2506">
                  <c:v>38226</c:v>
                </c:pt>
                <c:pt idx="2507">
                  <c:v>38229</c:v>
                </c:pt>
                <c:pt idx="2508">
                  <c:v>38230</c:v>
                </c:pt>
                <c:pt idx="2509">
                  <c:v>38231</c:v>
                </c:pt>
                <c:pt idx="2510">
                  <c:v>38232</c:v>
                </c:pt>
                <c:pt idx="2511">
                  <c:v>38233</c:v>
                </c:pt>
                <c:pt idx="2512">
                  <c:v>38236</c:v>
                </c:pt>
                <c:pt idx="2513">
                  <c:v>38237</c:v>
                </c:pt>
                <c:pt idx="2514">
                  <c:v>38238</c:v>
                </c:pt>
                <c:pt idx="2515">
                  <c:v>38239</c:v>
                </c:pt>
                <c:pt idx="2516">
                  <c:v>38240</c:v>
                </c:pt>
                <c:pt idx="2517">
                  <c:v>38243</c:v>
                </c:pt>
                <c:pt idx="2518">
                  <c:v>38244</c:v>
                </c:pt>
                <c:pt idx="2519">
                  <c:v>38245</c:v>
                </c:pt>
                <c:pt idx="2520">
                  <c:v>38246</c:v>
                </c:pt>
                <c:pt idx="2521">
                  <c:v>38247</c:v>
                </c:pt>
                <c:pt idx="2522">
                  <c:v>38250</c:v>
                </c:pt>
                <c:pt idx="2523">
                  <c:v>38251</c:v>
                </c:pt>
                <c:pt idx="2524">
                  <c:v>38252</c:v>
                </c:pt>
                <c:pt idx="2525">
                  <c:v>38253</c:v>
                </c:pt>
                <c:pt idx="2526">
                  <c:v>38254</c:v>
                </c:pt>
                <c:pt idx="2527">
                  <c:v>38257</c:v>
                </c:pt>
                <c:pt idx="2528">
                  <c:v>38258</c:v>
                </c:pt>
                <c:pt idx="2529">
                  <c:v>38259</c:v>
                </c:pt>
                <c:pt idx="2530">
                  <c:v>38260</c:v>
                </c:pt>
                <c:pt idx="2531">
                  <c:v>38261</c:v>
                </c:pt>
                <c:pt idx="2532">
                  <c:v>38264</c:v>
                </c:pt>
                <c:pt idx="2533">
                  <c:v>38265</c:v>
                </c:pt>
                <c:pt idx="2534">
                  <c:v>38266</c:v>
                </c:pt>
                <c:pt idx="2535">
                  <c:v>38267</c:v>
                </c:pt>
                <c:pt idx="2536">
                  <c:v>38268</c:v>
                </c:pt>
                <c:pt idx="2537">
                  <c:v>38271</c:v>
                </c:pt>
                <c:pt idx="2538">
                  <c:v>38272</c:v>
                </c:pt>
                <c:pt idx="2539">
                  <c:v>38273</c:v>
                </c:pt>
                <c:pt idx="2540">
                  <c:v>38274</c:v>
                </c:pt>
                <c:pt idx="2541">
                  <c:v>38275</c:v>
                </c:pt>
                <c:pt idx="2542">
                  <c:v>38278</c:v>
                </c:pt>
                <c:pt idx="2543">
                  <c:v>38279</c:v>
                </c:pt>
                <c:pt idx="2544">
                  <c:v>38280</c:v>
                </c:pt>
                <c:pt idx="2545">
                  <c:v>38281</c:v>
                </c:pt>
                <c:pt idx="2546">
                  <c:v>38282</c:v>
                </c:pt>
                <c:pt idx="2547">
                  <c:v>38285</c:v>
                </c:pt>
                <c:pt idx="2548">
                  <c:v>38286</c:v>
                </c:pt>
                <c:pt idx="2549">
                  <c:v>38287</c:v>
                </c:pt>
                <c:pt idx="2550">
                  <c:v>38288</c:v>
                </c:pt>
                <c:pt idx="2551">
                  <c:v>38289</c:v>
                </c:pt>
                <c:pt idx="2552">
                  <c:v>38292</c:v>
                </c:pt>
                <c:pt idx="2553">
                  <c:v>38293</c:v>
                </c:pt>
                <c:pt idx="2554">
                  <c:v>38294</c:v>
                </c:pt>
                <c:pt idx="2555">
                  <c:v>38295</c:v>
                </c:pt>
                <c:pt idx="2556">
                  <c:v>38296</c:v>
                </c:pt>
                <c:pt idx="2557">
                  <c:v>38299</c:v>
                </c:pt>
                <c:pt idx="2558">
                  <c:v>38300</c:v>
                </c:pt>
                <c:pt idx="2559">
                  <c:v>38301</c:v>
                </c:pt>
                <c:pt idx="2560">
                  <c:v>38302</c:v>
                </c:pt>
                <c:pt idx="2561">
                  <c:v>38303</c:v>
                </c:pt>
                <c:pt idx="2562">
                  <c:v>38306</c:v>
                </c:pt>
                <c:pt idx="2563">
                  <c:v>38307</c:v>
                </c:pt>
                <c:pt idx="2564">
                  <c:v>38308</c:v>
                </c:pt>
                <c:pt idx="2565">
                  <c:v>38309</c:v>
                </c:pt>
                <c:pt idx="2566">
                  <c:v>38310</c:v>
                </c:pt>
                <c:pt idx="2567">
                  <c:v>38313</c:v>
                </c:pt>
                <c:pt idx="2568">
                  <c:v>38314</c:v>
                </c:pt>
                <c:pt idx="2569">
                  <c:v>38315</c:v>
                </c:pt>
                <c:pt idx="2570">
                  <c:v>38316</c:v>
                </c:pt>
                <c:pt idx="2571">
                  <c:v>38317</c:v>
                </c:pt>
                <c:pt idx="2572">
                  <c:v>38320</c:v>
                </c:pt>
                <c:pt idx="2573">
                  <c:v>38321</c:v>
                </c:pt>
                <c:pt idx="2574">
                  <c:v>38322</c:v>
                </c:pt>
                <c:pt idx="2575">
                  <c:v>38323</c:v>
                </c:pt>
                <c:pt idx="2576">
                  <c:v>38324</c:v>
                </c:pt>
                <c:pt idx="2577">
                  <c:v>38327</c:v>
                </c:pt>
                <c:pt idx="2578">
                  <c:v>38328</c:v>
                </c:pt>
                <c:pt idx="2579">
                  <c:v>38329</c:v>
                </c:pt>
                <c:pt idx="2580">
                  <c:v>38330</c:v>
                </c:pt>
                <c:pt idx="2581">
                  <c:v>38331</c:v>
                </c:pt>
                <c:pt idx="2582">
                  <c:v>38334</c:v>
                </c:pt>
                <c:pt idx="2583">
                  <c:v>38335</c:v>
                </c:pt>
                <c:pt idx="2584">
                  <c:v>38336</c:v>
                </c:pt>
                <c:pt idx="2585">
                  <c:v>38337</c:v>
                </c:pt>
                <c:pt idx="2586">
                  <c:v>38338</c:v>
                </c:pt>
                <c:pt idx="2587">
                  <c:v>38341</c:v>
                </c:pt>
                <c:pt idx="2588">
                  <c:v>38342</c:v>
                </c:pt>
                <c:pt idx="2589">
                  <c:v>38343</c:v>
                </c:pt>
                <c:pt idx="2590">
                  <c:v>38344</c:v>
                </c:pt>
                <c:pt idx="2591">
                  <c:v>38345</c:v>
                </c:pt>
                <c:pt idx="2592">
                  <c:v>38348</c:v>
                </c:pt>
                <c:pt idx="2593">
                  <c:v>38349</c:v>
                </c:pt>
                <c:pt idx="2594">
                  <c:v>38350</c:v>
                </c:pt>
                <c:pt idx="2595">
                  <c:v>38351</c:v>
                </c:pt>
                <c:pt idx="2596">
                  <c:v>38352</c:v>
                </c:pt>
                <c:pt idx="2597">
                  <c:v>38355</c:v>
                </c:pt>
                <c:pt idx="2598">
                  <c:v>38356</c:v>
                </c:pt>
                <c:pt idx="2599">
                  <c:v>38357</c:v>
                </c:pt>
                <c:pt idx="2600">
                  <c:v>38358</c:v>
                </c:pt>
                <c:pt idx="2601">
                  <c:v>38359</c:v>
                </c:pt>
                <c:pt idx="2602">
                  <c:v>38362</c:v>
                </c:pt>
                <c:pt idx="2603">
                  <c:v>38363</c:v>
                </c:pt>
                <c:pt idx="2604">
                  <c:v>38364</c:v>
                </c:pt>
                <c:pt idx="2605">
                  <c:v>38365</c:v>
                </c:pt>
                <c:pt idx="2606">
                  <c:v>38366</c:v>
                </c:pt>
                <c:pt idx="2607">
                  <c:v>38369</c:v>
                </c:pt>
                <c:pt idx="2608">
                  <c:v>38370</c:v>
                </c:pt>
                <c:pt idx="2609">
                  <c:v>38371</c:v>
                </c:pt>
                <c:pt idx="2610">
                  <c:v>38372</c:v>
                </c:pt>
                <c:pt idx="2611">
                  <c:v>38373</c:v>
                </c:pt>
                <c:pt idx="2612">
                  <c:v>38376</c:v>
                </c:pt>
                <c:pt idx="2613">
                  <c:v>38377</c:v>
                </c:pt>
                <c:pt idx="2614">
                  <c:v>38378</c:v>
                </c:pt>
                <c:pt idx="2615">
                  <c:v>38379</c:v>
                </c:pt>
                <c:pt idx="2616">
                  <c:v>38380</c:v>
                </c:pt>
                <c:pt idx="2617">
                  <c:v>38383</c:v>
                </c:pt>
                <c:pt idx="2618">
                  <c:v>38384</c:v>
                </c:pt>
                <c:pt idx="2619">
                  <c:v>38385</c:v>
                </c:pt>
                <c:pt idx="2620">
                  <c:v>38386</c:v>
                </c:pt>
                <c:pt idx="2621">
                  <c:v>38387</c:v>
                </c:pt>
                <c:pt idx="2622">
                  <c:v>38390</c:v>
                </c:pt>
                <c:pt idx="2623">
                  <c:v>38391</c:v>
                </c:pt>
                <c:pt idx="2624">
                  <c:v>38392</c:v>
                </c:pt>
                <c:pt idx="2625">
                  <c:v>38393</c:v>
                </c:pt>
                <c:pt idx="2626">
                  <c:v>38394</c:v>
                </c:pt>
                <c:pt idx="2627">
                  <c:v>38397</c:v>
                </c:pt>
                <c:pt idx="2628">
                  <c:v>38398</c:v>
                </c:pt>
                <c:pt idx="2629">
                  <c:v>38399</c:v>
                </c:pt>
                <c:pt idx="2630">
                  <c:v>38400</c:v>
                </c:pt>
                <c:pt idx="2631">
                  <c:v>38401</c:v>
                </c:pt>
                <c:pt idx="2632">
                  <c:v>38404</c:v>
                </c:pt>
                <c:pt idx="2633">
                  <c:v>38405</c:v>
                </c:pt>
                <c:pt idx="2634">
                  <c:v>38406</c:v>
                </c:pt>
                <c:pt idx="2635">
                  <c:v>38407</c:v>
                </c:pt>
                <c:pt idx="2636">
                  <c:v>38408</c:v>
                </c:pt>
                <c:pt idx="2637">
                  <c:v>38411</c:v>
                </c:pt>
                <c:pt idx="2638">
                  <c:v>38412</c:v>
                </c:pt>
                <c:pt idx="2639">
                  <c:v>38413</c:v>
                </c:pt>
                <c:pt idx="2640">
                  <c:v>38414</c:v>
                </c:pt>
                <c:pt idx="2641">
                  <c:v>38415</c:v>
                </c:pt>
                <c:pt idx="2642">
                  <c:v>38418</c:v>
                </c:pt>
                <c:pt idx="2643">
                  <c:v>38419</c:v>
                </c:pt>
                <c:pt idx="2644">
                  <c:v>38420</c:v>
                </c:pt>
                <c:pt idx="2645">
                  <c:v>38421</c:v>
                </c:pt>
                <c:pt idx="2646">
                  <c:v>38422</c:v>
                </c:pt>
                <c:pt idx="2647">
                  <c:v>38425</c:v>
                </c:pt>
                <c:pt idx="2648">
                  <c:v>38426</c:v>
                </c:pt>
                <c:pt idx="2649">
                  <c:v>38427</c:v>
                </c:pt>
                <c:pt idx="2650">
                  <c:v>38428</c:v>
                </c:pt>
                <c:pt idx="2651">
                  <c:v>38429</c:v>
                </c:pt>
                <c:pt idx="2652">
                  <c:v>38432</c:v>
                </c:pt>
                <c:pt idx="2653">
                  <c:v>38433</c:v>
                </c:pt>
                <c:pt idx="2654">
                  <c:v>38434</c:v>
                </c:pt>
                <c:pt idx="2655">
                  <c:v>38435</c:v>
                </c:pt>
                <c:pt idx="2656">
                  <c:v>38436</c:v>
                </c:pt>
                <c:pt idx="2657">
                  <c:v>38439</c:v>
                </c:pt>
                <c:pt idx="2658">
                  <c:v>38440</c:v>
                </c:pt>
                <c:pt idx="2659">
                  <c:v>38441</c:v>
                </c:pt>
                <c:pt idx="2660">
                  <c:v>38442</c:v>
                </c:pt>
                <c:pt idx="2661">
                  <c:v>38443</c:v>
                </c:pt>
                <c:pt idx="2662">
                  <c:v>38446</c:v>
                </c:pt>
                <c:pt idx="2663">
                  <c:v>38447</c:v>
                </c:pt>
                <c:pt idx="2664">
                  <c:v>38448</c:v>
                </c:pt>
                <c:pt idx="2665">
                  <c:v>38449</c:v>
                </c:pt>
                <c:pt idx="2666">
                  <c:v>38450</c:v>
                </c:pt>
                <c:pt idx="2667">
                  <c:v>38453</c:v>
                </c:pt>
                <c:pt idx="2668">
                  <c:v>38454</c:v>
                </c:pt>
                <c:pt idx="2669">
                  <c:v>38455</c:v>
                </c:pt>
                <c:pt idx="2670">
                  <c:v>38456</c:v>
                </c:pt>
                <c:pt idx="2671">
                  <c:v>38457</c:v>
                </c:pt>
                <c:pt idx="2672">
                  <c:v>38460</c:v>
                </c:pt>
                <c:pt idx="2673">
                  <c:v>38461</c:v>
                </c:pt>
                <c:pt idx="2674">
                  <c:v>38462</c:v>
                </c:pt>
                <c:pt idx="2675">
                  <c:v>38463</c:v>
                </c:pt>
                <c:pt idx="2676">
                  <c:v>38464</c:v>
                </c:pt>
                <c:pt idx="2677">
                  <c:v>38467</c:v>
                </c:pt>
                <c:pt idx="2678">
                  <c:v>38468</c:v>
                </c:pt>
                <c:pt idx="2679">
                  <c:v>38469</c:v>
                </c:pt>
                <c:pt idx="2680">
                  <c:v>38470</c:v>
                </c:pt>
                <c:pt idx="2681">
                  <c:v>38471</c:v>
                </c:pt>
                <c:pt idx="2682">
                  <c:v>38474</c:v>
                </c:pt>
                <c:pt idx="2683">
                  <c:v>38475</c:v>
                </c:pt>
                <c:pt idx="2684">
                  <c:v>38476</c:v>
                </c:pt>
                <c:pt idx="2685">
                  <c:v>38477</c:v>
                </c:pt>
                <c:pt idx="2686">
                  <c:v>38478</c:v>
                </c:pt>
                <c:pt idx="2687">
                  <c:v>38481</c:v>
                </c:pt>
                <c:pt idx="2688">
                  <c:v>38482</c:v>
                </c:pt>
                <c:pt idx="2689">
                  <c:v>38483</c:v>
                </c:pt>
                <c:pt idx="2690">
                  <c:v>38484</c:v>
                </c:pt>
                <c:pt idx="2691">
                  <c:v>38485</c:v>
                </c:pt>
                <c:pt idx="2692">
                  <c:v>38488</c:v>
                </c:pt>
                <c:pt idx="2693">
                  <c:v>38489</c:v>
                </c:pt>
                <c:pt idx="2694">
                  <c:v>38490</c:v>
                </c:pt>
                <c:pt idx="2695">
                  <c:v>38491</c:v>
                </c:pt>
                <c:pt idx="2696">
                  <c:v>38492</c:v>
                </c:pt>
                <c:pt idx="2697">
                  <c:v>38495</c:v>
                </c:pt>
                <c:pt idx="2698">
                  <c:v>38496</c:v>
                </c:pt>
                <c:pt idx="2699">
                  <c:v>38497</c:v>
                </c:pt>
                <c:pt idx="2700">
                  <c:v>38498</c:v>
                </c:pt>
                <c:pt idx="2701">
                  <c:v>38499</c:v>
                </c:pt>
                <c:pt idx="2702">
                  <c:v>38502</c:v>
                </c:pt>
                <c:pt idx="2703">
                  <c:v>38503</c:v>
                </c:pt>
                <c:pt idx="2704">
                  <c:v>38504</c:v>
                </c:pt>
                <c:pt idx="2705">
                  <c:v>38505</c:v>
                </c:pt>
                <c:pt idx="2706">
                  <c:v>38506</c:v>
                </c:pt>
                <c:pt idx="2707">
                  <c:v>38509</c:v>
                </c:pt>
                <c:pt idx="2708">
                  <c:v>38510</c:v>
                </c:pt>
                <c:pt idx="2709">
                  <c:v>38511</c:v>
                </c:pt>
                <c:pt idx="2710">
                  <c:v>38512</c:v>
                </c:pt>
                <c:pt idx="2711">
                  <c:v>38513</c:v>
                </c:pt>
                <c:pt idx="2712">
                  <c:v>38516</c:v>
                </c:pt>
                <c:pt idx="2713">
                  <c:v>38517</c:v>
                </c:pt>
                <c:pt idx="2714">
                  <c:v>38518</c:v>
                </c:pt>
                <c:pt idx="2715">
                  <c:v>38519</c:v>
                </c:pt>
                <c:pt idx="2716">
                  <c:v>38520</c:v>
                </c:pt>
                <c:pt idx="2717">
                  <c:v>38523</c:v>
                </c:pt>
                <c:pt idx="2718">
                  <c:v>38524</c:v>
                </c:pt>
                <c:pt idx="2719">
                  <c:v>38525</c:v>
                </c:pt>
                <c:pt idx="2720">
                  <c:v>38526</c:v>
                </c:pt>
                <c:pt idx="2721">
                  <c:v>38527</c:v>
                </c:pt>
                <c:pt idx="2722">
                  <c:v>38530</c:v>
                </c:pt>
                <c:pt idx="2723">
                  <c:v>38531</c:v>
                </c:pt>
                <c:pt idx="2724">
                  <c:v>38532</c:v>
                </c:pt>
                <c:pt idx="2725">
                  <c:v>38533</c:v>
                </c:pt>
                <c:pt idx="2726">
                  <c:v>38534</c:v>
                </c:pt>
                <c:pt idx="2727">
                  <c:v>38537</c:v>
                </c:pt>
                <c:pt idx="2728">
                  <c:v>38538</c:v>
                </c:pt>
                <c:pt idx="2729">
                  <c:v>38539</c:v>
                </c:pt>
                <c:pt idx="2730">
                  <c:v>38540</c:v>
                </c:pt>
                <c:pt idx="2731">
                  <c:v>38541</c:v>
                </c:pt>
                <c:pt idx="2732">
                  <c:v>38544</c:v>
                </c:pt>
                <c:pt idx="2733">
                  <c:v>38545</c:v>
                </c:pt>
                <c:pt idx="2734">
                  <c:v>38546</c:v>
                </c:pt>
                <c:pt idx="2735">
                  <c:v>38547</c:v>
                </c:pt>
                <c:pt idx="2736">
                  <c:v>38548</c:v>
                </c:pt>
                <c:pt idx="2737">
                  <c:v>38551</c:v>
                </c:pt>
                <c:pt idx="2738">
                  <c:v>38552</c:v>
                </c:pt>
                <c:pt idx="2739">
                  <c:v>38553</c:v>
                </c:pt>
                <c:pt idx="2740">
                  <c:v>38554</c:v>
                </c:pt>
                <c:pt idx="2741">
                  <c:v>38555</c:v>
                </c:pt>
                <c:pt idx="2742">
                  <c:v>38558</c:v>
                </c:pt>
                <c:pt idx="2743">
                  <c:v>38559</c:v>
                </c:pt>
                <c:pt idx="2744">
                  <c:v>38560</c:v>
                </c:pt>
                <c:pt idx="2745">
                  <c:v>38561</c:v>
                </c:pt>
                <c:pt idx="2746">
                  <c:v>38562</c:v>
                </c:pt>
                <c:pt idx="2747">
                  <c:v>38565</c:v>
                </c:pt>
                <c:pt idx="2748">
                  <c:v>38566</c:v>
                </c:pt>
                <c:pt idx="2749">
                  <c:v>38567</c:v>
                </c:pt>
                <c:pt idx="2750">
                  <c:v>38568</c:v>
                </c:pt>
                <c:pt idx="2751">
                  <c:v>38569</c:v>
                </c:pt>
                <c:pt idx="2752">
                  <c:v>38572</c:v>
                </c:pt>
                <c:pt idx="2753">
                  <c:v>38573</c:v>
                </c:pt>
                <c:pt idx="2754">
                  <c:v>38574</c:v>
                </c:pt>
                <c:pt idx="2755">
                  <c:v>38575</c:v>
                </c:pt>
                <c:pt idx="2756">
                  <c:v>38576</c:v>
                </c:pt>
                <c:pt idx="2757">
                  <c:v>38579</c:v>
                </c:pt>
                <c:pt idx="2758">
                  <c:v>38580</c:v>
                </c:pt>
                <c:pt idx="2759">
                  <c:v>38581</c:v>
                </c:pt>
                <c:pt idx="2760">
                  <c:v>38582</c:v>
                </c:pt>
                <c:pt idx="2761">
                  <c:v>38583</c:v>
                </c:pt>
                <c:pt idx="2762">
                  <c:v>38586</c:v>
                </c:pt>
                <c:pt idx="2763">
                  <c:v>38587</c:v>
                </c:pt>
                <c:pt idx="2764">
                  <c:v>38588</c:v>
                </c:pt>
                <c:pt idx="2765">
                  <c:v>38589</c:v>
                </c:pt>
                <c:pt idx="2766">
                  <c:v>38590</c:v>
                </c:pt>
                <c:pt idx="2767">
                  <c:v>38593</c:v>
                </c:pt>
                <c:pt idx="2768">
                  <c:v>38594</c:v>
                </c:pt>
                <c:pt idx="2769">
                  <c:v>38595</c:v>
                </c:pt>
                <c:pt idx="2770">
                  <c:v>38596</c:v>
                </c:pt>
                <c:pt idx="2771">
                  <c:v>38597</c:v>
                </c:pt>
                <c:pt idx="2772">
                  <c:v>38600</c:v>
                </c:pt>
                <c:pt idx="2773">
                  <c:v>38601</c:v>
                </c:pt>
                <c:pt idx="2774">
                  <c:v>38602</c:v>
                </c:pt>
                <c:pt idx="2775">
                  <c:v>38603</c:v>
                </c:pt>
                <c:pt idx="2776">
                  <c:v>38604</c:v>
                </c:pt>
                <c:pt idx="2777">
                  <c:v>38607</c:v>
                </c:pt>
                <c:pt idx="2778">
                  <c:v>38608</c:v>
                </c:pt>
                <c:pt idx="2779">
                  <c:v>38609</c:v>
                </c:pt>
                <c:pt idx="2780">
                  <c:v>38610</c:v>
                </c:pt>
                <c:pt idx="2781">
                  <c:v>38611</c:v>
                </c:pt>
                <c:pt idx="2782">
                  <c:v>38614</c:v>
                </c:pt>
                <c:pt idx="2783">
                  <c:v>38615</c:v>
                </c:pt>
                <c:pt idx="2784">
                  <c:v>38616</c:v>
                </c:pt>
                <c:pt idx="2785">
                  <c:v>38617</c:v>
                </c:pt>
                <c:pt idx="2786">
                  <c:v>38618</c:v>
                </c:pt>
                <c:pt idx="2787">
                  <c:v>38621</c:v>
                </c:pt>
                <c:pt idx="2788">
                  <c:v>38622</c:v>
                </c:pt>
                <c:pt idx="2789">
                  <c:v>38623</c:v>
                </c:pt>
                <c:pt idx="2790">
                  <c:v>38624</c:v>
                </c:pt>
                <c:pt idx="2791">
                  <c:v>38625</c:v>
                </c:pt>
                <c:pt idx="2792">
                  <c:v>38628</c:v>
                </c:pt>
                <c:pt idx="2793">
                  <c:v>38629</c:v>
                </c:pt>
                <c:pt idx="2794">
                  <c:v>38630</c:v>
                </c:pt>
                <c:pt idx="2795">
                  <c:v>38631</c:v>
                </c:pt>
                <c:pt idx="2796">
                  <c:v>38632</c:v>
                </c:pt>
                <c:pt idx="2797">
                  <c:v>38635</c:v>
                </c:pt>
                <c:pt idx="2798">
                  <c:v>38636</c:v>
                </c:pt>
                <c:pt idx="2799">
                  <c:v>38637</c:v>
                </c:pt>
                <c:pt idx="2800">
                  <c:v>38638</c:v>
                </c:pt>
                <c:pt idx="2801">
                  <c:v>38639</c:v>
                </c:pt>
                <c:pt idx="2802">
                  <c:v>38642</c:v>
                </c:pt>
                <c:pt idx="2803">
                  <c:v>38643</c:v>
                </c:pt>
                <c:pt idx="2804">
                  <c:v>38644</c:v>
                </c:pt>
                <c:pt idx="2805">
                  <c:v>38645</c:v>
                </c:pt>
                <c:pt idx="2806">
                  <c:v>38646</c:v>
                </c:pt>
                <c:pt idx="2807">
                  <c:v>38649</c:v>
                </c:pt>
                <c:pt idx="2808">
                  <c:v>38650</c:v>
                </c:pt>
                <c:pt idx="2809">
                  <c:v>38651</c:v>
                </c:pt>
                <c:pt idx="2810">
                  <c:v>38652</c:v>
                </c:pt>
                <c:pt idx="2811">
                  <c:v>38653</c:v>
                </c:pt>
                <c:pt idx="2812">
                  <c:v>38656</c:v>
                </c:pt>
                <c:pt idx="2813">
                  <c:v>38657</c:v>
                </c:pt>
                <c:pt idx="2814">
                  <c:v>38658</c:v>
                </c:pt>
                <c:pt idx="2815">
                  <c:v>38659</c:v>
                </c:pt>
                <c:pt idx="2816">
                  <c:v>38660</c:v>
                </c:pt>
                <c:pt idx="2817">
                  <c:v>38663</c:v>
                </c:pt>
                <c:pt idx="2818">
                  <c:v>38664</c:v>
                </c:pt>
                <c:pt idx="2819">
                  <c:v>38665</c:v>
                </c:pt>
                <c:pt idx="2820">
                  <c:v>38666</c:v>
                </c:pt>
                <c:pt idx="2821">
                  <c:v>38667</c:v>
                </c:pt>
                <c:pt idx="2822">
                  <c:v>38670</c:v>
                </c:pt>
                <c:pt idx="2823">
                  <c:v>38671</c:v>
                </c:pt>
                <c:pt idx="2824">
                  <c:v>38672</c:v>
                </c:pt>
                <c:pt idx="2825">
                  <c:v>38673</c:v>
                </c:pt>
                <c:pt idx="2826">
                  <c:v>38674</c:v>
                </c:pt>
                <c:pt idx="2827">
                  <c:v>38677</c:v>
                </c:pt>
                <c:pt idx="2828">
                  <c:v>38678</c:v>
                </c:pt>
                <c:pt idx="2829">
                  <c:v>38679</c:v>
                </c:pt>
                <c:pt idx="2830">
                  <c:v>38680</c:v>
                </c:pt>
                <c:pt idx="2831">
                  <c:v>38681</c:v>
                </c:pt>
                <c:pt idx="2832">
                  <c:v>38684</c:v>
                </c:pt>
                <c:pt idx="2833">
                  <c:v>38685</c:v>
                </c:pt>
                <c:pt idx="2834">
                  <c:v>38686</c:v>
                </c:pt>
                <c:pt idx="2835">
                  <c:v>38687</c:v>
                </c:pt>
                <c:pt idx="2836">
                  <c:v>38688</c:v>
                </c:pt>
                <c:pt idx="2837">
                  <c:v>38691</c:v>
                </c:pt>
                <c:pt idx="2838">
                  <c:v>38692</c:v>
                </c:pt>
                <c:pt idx="2839">
                  <c:v>38693</c:v>
                </c:pt>
                <c:pt idx="2840">
                  <c:v>38694</c:v>
                </c:pt>
                <c:pt idx="2841">
                  <c:v>38695</c:v>
                </c:pt>
                <c:pt idx="2842">
                  <c:v>38698</c:v>
                </c:pt>
                <c:pt idx="2843">
                  <c:v>38699</c:v>
                </c:pt>
                <c:pt idx="2844">
                  <c:v>38700</c:v>
                </c:pt>
                <c:pt idx="2845">
                  <c:v>38701</c:v>
                </c:pt>
                <c:pt idx="2846">
                  <c:v>38702</c:v>
                </c:pt>
                <c:pt idx="2847">
                  <c:v>38705</c:v>
                </c:pt>
                <c:pt idx="2848">
                  <c:v>38706</c:v>
                </c:pt>
                <c:pt idx="2849">
                  <c:v>38707</c:v>
                </c:pt>
                <c:pt idx="2850">
                  <c:v>38708</c:v>
                </c:pt>
                <c:pt idx="2851">
                  <c:v>38709</c:v>
                </c:pt>
                <c:pt idx="2852">
                  <c:v>38712</c:v>
                </c:pt>
                <c:pt idx="2853">
                  <c:v>38713</c:v>
                </c:pt>
                <c:pt idx="2854">
                  <c:v>38714</c:v>
                </c:pt>
                <c:pt idx="2855">
                  <c:v>38715</c:v>
                </c:pt>
                <c:pt idx="2856">
                  <c:v>38716</c:v>
                </c:pt>
                <c:pt idx="2857">
                  <c:v>38719</c:v>
                </c:pt>
                <c:pt idx="2858">
                  <c:v>38720</c:v>
                </c:pt>
                <c:pt idx="2859">
                  <c:v>38721</c:v>
                </c:pt>
                <c:pt idx="2860">
                  <c:v>38722</c:v>
                </c:pt>
                <c:pt idx="2861">
                  <c:v>38723</c:v>
                </c:pt>
                <c:pt idx="2862">
                  <c:v>38726</c:v>
                </c:pt>
                <c:pt idx="2863">
                  <c:v>38727</c:v>
                </c:pt>
                <c:pt idx="2864">
                  <c:v>38728</c:v>
                </c:pt>
                <c:pt idx="2865">
                  <c:v>38729</c:v>
                </c:pt>
                <c:pt idx="2866">
                  <c:v>38730</c:v>
                </c:pt>
                <c:pt idx="2867">
                  <c:v>38733</c:v>
                </c:pt>
                <c:pt idx="2868">
                  <c:v>38734</c:v>
                </c:pt>
                <c:pt idx="2869">
                  <c:v>38735</c:v>
                </c:pt>
                <c:pt idx="2870">
                  <c:v>38736</c:v>
                </c:pt>
                <c:pt idx="2871">
                  <c:v>38737</c:v>
                </c:pt>
                <c:pt idx="2872">
                  <c:v>38740</c:v>
                </c:pt>
                <c:pt idx="2873">
                  <c:v>38741</c:v>
                </c:pt>
                <c:pt idx="2874">
                  <c:v>38742</c:v>
                </c:pt>
                <c:pt idx="2875">
                  <c:v>38743</c:v>
                </c:pt>
                <c:pt idx="2876">
                  <c:v>38744</c:v>
                </c:pt>
                <c:pt idx="2877">
                  <c:v>38747</c:v>
                </c:pt>
                <c:pt idx="2878">
                  <c:v>38748</c:v>
                </c:pt>
                <c:pt idx="2879">
                  <c:v>38749</c:v>
                </c:pt>
                <c:pt idx="2880">
                  <c:v>38750</c:v>
                </c:pt>
                <c:pt idx="2881">
                  <c:v>38751</c:v>
                </c:pt>
                <c:pt idx="2882">
                  <c:v>38754</c:v>
                </c:pt>
                <c:pt idx="2883">
                  <c:v>38755</c:v>
                </c:pt>
                <c:pt idx="2884">
                  <c:v>38756</c:v>
                </c:pt>
                <c:pt idx="2885">
                  <c:v>38757</c:v>
                </c:pt>
                <c:pt idx="2886">
                  <c:v>38758</c:v>
                </c:pt>
                <c:pt idx="2887">
                  <c:v>38761</c:v>
                </c:pt>
                <c:pt idx="2888">
                  <c:v>38762</c:v>
                </c:pt>
                <c:pt idx="2889">
                  <c:v>38763</c:v>
                </c:pt>
                <c:pt idx="2890">
                  <c:v>38764</c:v>
                </c:pt>
                <c:pt idx="2891">
                  <c:v>38765</c:v>
                </c:pt>
                <c:pt idx="2892">
                  <c:v>38768</c:v>
                </c:pt>
                <c:pt idx="2893">
                  <c:v>38769</c:v>
                </c:pt>
                <c:pt idx="2894">
                  <c:v>38770</c:v>
                </c:pt>
                <c:pt idx="2895">
                  <c:v>38771</c:v>
                </c:pt>
                <c:pt idx="2896">
                  <c:v>38772</c:v>
                </c:pt>
                <c:pt idx="2897">
                  <c:v>38775</c:v>
                </c:pt>
                <c:pt idx="2898">
                  <c:v>38776</c:v>
                </c:pt>
                <c:pt idx="2899">
                  <c:v>38777</c:v>
                </c:pt>
                <c:pt idx="2900">
                  <c:v>38778</c:v>
                </c:pt>
                <c:pt idx="2901">
                  <c:v>38779</c:v>
                </c:pt>
                <c:pt idx="2902">
                  <c:v>38782</c:v>
                </c:pt>
                <c:pt idx="2903">
                  <c:v>38783</c:v>
                </c:pt>
                <c:pt idx="2904">
                  <c:v>38784</c:v>
                </c:pt>
                <c:pt idx="2905">
                  <c:v>38785</c:v>
                </c:pt>
                <c:pt idx="2906">
                  <c:v>38786</c:v>
                </c:pt>
                <c:pt idx="2907">
                  <c:v>38789</c:v>
                </c:pt>
                <c:pt idx="2908">
                  <c:v>38790</c:v>
                </c:pt>
                <c:pt idx="2909">
                  <c:v>38791</c:v>
                </c:pt>
                <c:pt idx="2910">
                  <c:v>38792</c:v>
                </c:pt>
                <c:pt idx="2911">
                  <c:v>38793</c:v>
                </c:pt>
                <c:pt idx="2912">
                  <c:v>38796</c:v>
                </c:pt>
                <c:pt idx="2913">
                  <c:v>38797</c:v>
                </c:pt>
                <c:pt idx="2914">
                  <c:v>38798</c:v>
                </c:pt>
                <c:pt idx="2915">
                  <c:v>38799</c:v>
                </c:pt>
                <c:pt idx="2916">
                  <c:v>38800</c:v>
                </c:pt>
                <c:pt idx="2917">
                  <c:v>38803</c:v>
                </c:pt>
                <c:pt idx="2918">
                  <c:v>38804</c:v>
                </c:pt>
                <c:pt idx="2919">
                  <c:v>38805</c:v>
                </c:pt>
                <c:pt idx="2920">
                  <c:v>38806</c:v>
                </c:pt>
                <c:pt idx="2921">
                  <c:v>38807</c:v>
                </c:pt>
                <c:pt idx="2922">
                  <c:v>38810</c:v>
                </c:pt>
                <c:pt idx="2923">
                  <c:v>38811</c:v>
                </c:pt>
                <c:pt idx="2924">
                  <c:v>38812</c:v>
                </c:pt>
                <c:pt idx="2925">
                  <c:v>38813</c:v>
                </c:pt>
                <c:pt idx="2926">
                  <c:v>38814</c:v>
                </c:pt>
                <c:pt idx="2927">
                  <c:v>38817</c:v>
                </c:pt>
                <c:pt idx="2928">
                  <c:v>38818</c:v>
                </c:pt>
                <c:pt idx="2929">
                  <c:v>38819</c:v>
                </c:pt>
                <c:pt idx="2930">
                  <c:v>38820</c:v>
                </c:pt>
                <c:pt idx="2931">
                  <c:v>38821</c:v>
                </c:pt>
                <c:pt idx="2932">
                  <c:v>38824</c:v>
                </c:pt>
                <c:pt idx="2933">
                  <c:v>38825</c:v>
                </c:pt>
                <c:pt idx="2934">
                  <c:v>38826</c:v>
                </c:pt>
                <c:pt idx="2935">
                  <c:v>38827</c:v>
                </c:pt>
                <c:pt idx="2936">
                  <c:v>38828</c:v>
                </c:pt>
                <c:pt idx="2937">
                  <c:v>38831</c:v>
                </c:pt>
                <c:pt idx="2938">
                  <c:v>38832</c:v>
                </c:pt>
                <c:pt idx="2939">
                  <c:v>38833</c:v>
                </c:pt>
                <c:pt idx="2940">
                  <c:v>38834</c:v>
                </c:pt>
                <c:pt idx="2941">
                  <c:v>38835</c:v>
                </c:pt>
                <c:pt idx="2942">
                  <c:v>38838</c:v>
                </c:pt>
                <c:pt idx="2943">
                  <c:v>38839</c:v>
                </c:pt>
                <c:pt idx="2944">
                  <c:v>38840</c:v>
                </c:pt>
                <c:pt idx="2945">
                  <c:v>38841</c:v>
                </c:pt>
                <c:pt idx="2946">
                  <c:v>38842</c:v>
                </c:pt>
                <c:pt idx="2947">
                  <c:v>38845</c:v>
                </c:pt>
                <c:pt idx="2948">
                  <c:v>38846</c:v>
                </c:pt>
                <c:pt idx="2949">
                  <c:v>38847</c:v>
                </c:pt>
                <c:pt idx="2950">
                  <c:v>38848</c:v>
                </c:pt>
                <c:pt idx="2951">
                  <c:v>38849</c:v>
                </c:pt>
                <c:pt idx="2952">
                  <c:v>38852</c:v>
                </c:pt>
                <c:pt idx="2953">
                  <c:v>38853</c:v>
                </c:pt>
                <c:pt idx="2954">
                  <c:v>38854</c:v>
                </c:pt>
                <c:pt idx="2955">
                  <c:v>38855</c:v>
                </c:pt>
                <c:pt idx="2956">
                  <c:v>38856</c:v>
                </c:pt>
                <c:pt idx="2957">
                  <c:v>38859</c:v>
                </c:pt>
                <c:pt idx="2958">
                  <c:v>38860</c:v>
                </c:pt>
                <c:pt idx="2959">
                  <c:v>38861</c:v>
                </c:pt>
                <c:pt idx="2960">
                  <c:v>38862</c:v>
                </c:pt>
                <c:pt idx="2961">
                  <c:v>38863</c:v>
                </c:pt>
                <c:pt idx="2962">
                  <c:v>38866</c:v>
                </c:pt>
                <c:pt idx="2963">
                  <c:v>38867</c:v>
                </c:pt>
                <c:pt idx="2964">
                  <c:v>38868</c:v>
                </c:pt>
                <c:pt idx="2965">
                  <c:v>38869</c:v>
                </c:pt>
                <c:pt idx="2966">
                  <c:v>38870</c:v>
                </c:pt>
                <c:pt idx="2967">
                  <c:v>38873</c:v>
                </c:pt>
                <c:pt idx="2968">
                  <c:v>38874</c:v>
                </c:pt>
                <c:pt idx="2969">
                  <c:v>38875</c:v>
                </c:pt>
                <c:pt idx="2970">
                  <c:v>38876</c:v>
                </c:pt>
                <c:pt idx="2971">
                  <c:v>38877</c:v>
                </c:pt>
                <c:pt idx="2972">
                  <c:v>38880</c:v>
                </c:pt>
                <c:pt idx="2973">
                  <c:v>38881</c:v>
                </c:pt>
                <c:pt idx="2974">
                  <c:v>38882</c:v>
                </c:pt>
                <c:pt idx="2975">
                  <c:v>38883</c:v>
                </c:pt>
                <c:pt idx="2976">
                  <c:v>38884</c:v>
                </c:pt>
                <c:pt idx="2977">
                  <c:v>38887</c:v>
                </c:pt>
                <c:pt idx="2978">
                  <c:v>38888</c:v>
                </c:pt>
                <c:pt idx="2979">
                  <c:v>38889</c:v>
                </c:pt>
                <c:pt idx="2980">
                  <c:v>38890</c:v>
                </c:pt>
                <c:pt idx="2981">
                  <c:v>38891</c:v>
                </c:pt>
                <c:pt idx="2982">
                  <c:v>38894</c:v>
                </c:pt>
                <c:pt idx="2983">
                  <c:v>38895</c:v>
                </c:pt>
                <c:pt idx="2984">
                  <c:v>38896</c:v>
                </c:pt>
                <c:pt idx="2985">
                  <c:v>38897</c:v>
                </c:pt>
                <c:pt idx="2986">
                  <c:v>38898</c:v>
                </c:pt>
                <c:pt idx="2987">
                  <c:v>38901</c:v>
                </c:pt>
                <c:pt idx="2988">
                  <c:v>38902</c:v>
                </c:pt>
                <c:pt idx="2989">
                  <c:v>38903</c:v>
                </c:pt>
                <c:pt idx="2990">
                  <c:v>38904</c:v>
                </c:pt>
                <c:pt idx="2991">
                  <c:v>38905</c:v>
                </c:pt>
                <c:pt idx="2992">
                  <c:v>38908</c:v>
                </c:pt>
                <c:pt idx="2993">
                  <c:v>38909</c:v>
                </c:pt>
                <c:pt idx="2994">
                  <c:v>38910</c:v>
                </c:pt>
                <c:pt idx="2995">
                  <c:v>38911</c:v>
                </c:pt>
                <c:pt idx="2996">
                  <c:v>38912</c:v>
                </c:pt>
                <c:pt idx="2997">
                  <c:v>38915</c:v>
                </c:pt>
                <c:pt idx="2998">
                  <c:v>38916</c:v>
                </c:pt>
                <c:pt idx="2999">
                  <c:v>38917</c:v>
                </c:pt>
                <c:pt idx="3000">
                  <c:v>38918</c:v>
                </c:pt>
                <c:pt idx="3001">
                  <c:v>38919</c:v>
                </c:pt>
                <c:pt idx="3002">
                  <c:v>38922</c:v>
                </c:pt>
                <c:pt idx="3003">
                  <c:v>38923</c:v>
                </c:pt>
                <c:pt idx="3004">
                  <c:v>38924</c:v>
                </c:pt>
                <c:pt idx="3005">
                  <c:v>38925</c:v>
                </c:pt>
                <c:pt idx="3006">
                  <c:v>38926</c:v>
                </c:pt>
                <c:pt idx="3007">
                  <c:v>38929</c:v>
                </c:pt>
                <c:pt idx="3008">
                  <c:v>38930</c:v>
                </c:pt>
                <c:pt idx="3009">
                  <c:v>38931</c:v>
                </c:pt>
                <c:pt idx="3010">
                  <c:v>38932</c:v>
                </c:pt>
                <c:pt idx="3011">
                  <c:v>38933</c:v>
                </c:pt>
                <c:pt idx="3012">
                  <c:v>38936</c:v>
                </c:pt>
                <c:pt idx="3013">
                  <c:v>38937</c:v>
                </c:pt>
                <c:pt idx="3014">
                  <c:v>38938</c:v>
                </c:pt>
                <c:pt idx="3015">
                  <c:v>38939</c:v>
                </c:pt>
                <c:pt idx="3016">
                  <c:v>38940</c:v>
                </c:pt>
                <c:pt idx="3017">
                  <c:v>38943</c:v>
                </c:pt>
                <c:pt idx="3018">
                  <c:v>38944</c:v>
                </c:pt>
                <c:pt idx="3019">
                  <c:v>38945</c:v>
                </c:pt>
                <c:pt idx="3020">
                  <c:v>38946</c:v>
                </c:pt>
                <c:pt idx="3021">
                  <c:v>38947</c:v>
                </c:pt>
                <c:pt idx="3022">
                  <c:v>38950</c:v>
                </c:pt>
                <c:pt idx="3023">
                  <c:v>38951</c:v>
                </c:pt>
                <c:pt idx="3024">
                  <c:v>38952</c:v>
                </c:pt>
                <c:pt idx="3025">
                  <c:v>38953</c:v>
                </c:pt>
                <c:pt idx="3026">
                  <c:v>38954</c:v>
                </c:pt>
                <c:pt idx="3027">
                  <c:v>38957</c:v>
                </c:pt>
                <c:pt idx="3028">
                  <c:v>38958</c:v>
                </c:pt>
                <c:pt idx="3029">
                  <c:v>38959</c:v>
                </c:pt>
                <c:pt idx="3030">
                  <c:v>38960</c:v>
                </c:pt>
                <c:pt idx="3031">
                  <c:v>38961</c:v>
                </c:pt>
                <c:pt idx="3032">
                  <c:v>38964</c:v>
                </c:pt>
                <c:pt idx="3033">
                  <c:v>38965</c:v>
                </c:pt>
                <c:pt idx="3034">
                  <c:v>38966</c:v>
                </c:pt>
                <c:pt idx="3035">
                  <c:v>38967</c:v>
                </c:pt>
                <c:pt idx="3036">
                  <c:v>38968</c:v>
                </c:pt>
                <c:pt idx="3037">
                  <c:v>38971</c:v>
                </c:pt>
                <c:pt idx="3038">
                  <c:v>38972</c:v>
                </c:pt>
                <c:pt idx="3039">
                  <c:v>38973</c:v>
                </c:pt>
                <c:pt idx="3040">
                  <c:v>38974</c:v>
                </c:pt>
                <c:pt idx="3041">
                  <c:v>38975</c:v>
                </c:pt>
                <c:pt idx="3042">
                  <c:v>38978</c:v>
                </c:pt>
                <c:pt idx="3043">
                  <c:v>38979</c:v>
                </c:pt>
                <c:pt idx="3044">
                  <c:v>38980</c:v>
                </c:pt>
                <c:pt idx="3045">
                  <c:v>38981</c:v>
                </c:pt>
                <c:pt idx="3046">
                  <c:v>38982</c:v>
                </c:pt>
                <c:pt idx="3047">
                  <c:v>38985</c:v>
                </c:pt>
                <c:pt idx="3048">
                  <c:v>38986</c:v>
                </c:pt>
                <c:pt idx="3049">
                  <c:v>38987</c:v>
                </c:pt>
                <c:pt idx="3050">
                  <c:v>38988</c:v>
                </c:pt>
                <c:pt idx="3051">
                  <c:v>38989</c:v>
                </c:pt>
                <c:pt idx="3052">
                  <c:v>38992</c:v>
                </c:pt>
                <c:pt idx="3053">
                  <c:v>38993</c:v>
                </c:pt>
                <c:pt idx="3054">
                  <c:v>38994</c:v>
                </c:pt>
                <c:pt idx="3055">
                  <c:v>38995</c:v>
                </c:pt>
                <c:pt idx="3056">
                  <c:v>38996</c:v>
                </c:pt>
                <c:pt idx="3057">
                  <c:v>38999</c:v>
                </c:pt>
                <c:pt idx="3058">
                  <c:v>39000</c:v>
                </c:pt>
                <c:pt idx="3059">
                  <c:v>39001</c:v>
                </c:pt>
                <c:pt idx="3060">
                  <c:v>39002</c:v>
                </c:pt>
                <c:pt idx="3061">
                  <c:v>39003</c:v>
                </c:pt>
                <c:pt idx="3062">
                  <c:v>39006</c:v>
                </c:pt>
                <c:pt idx="3063">
                  <c:v>39007</c:v>
                </c:pt>
                <c:pt idx="3064">
                  <c:v>39008</c:v>
                </c:pt>
                <c:pt idx="3065">
                  <c:v>39009</c:v>
                </c:pt>
                <c:pt idx="3066">
                  <c:v>39010</c:v>
                </c:pt>
                <c:pt idx="3067">
                  <c:v>39013</c:v>
                </c:pt>
                <c:pt idx="3068">
                  <c:v>39014</c:v>
                </c:pt>
                <c:pt idx="3069">
                  <c:v>39015</c:v>
                </c:pt>
                <c:pt idx="3070">
                  <c:v>39016</c:v>
                </c:pt>
                <c:pt idx="3071">
                  <c:v>39017</c:v>
                </c:pt>
                <c:pt idx="3072">
                  <c:v>39020</c:v>
                </c:pt>
                <c:pt idx="3073">
                  <c:v>39021</c:v>
                </c:pt>
                <c:pt idx="3074">
                  <c:v>39022</c:v>
                </c:pt>
                <c:pt idx="3075">
                  <c:v>39023</c:v>
                </c:pt>
                <c:pt idx="3076">
                  <c:v>39024</c:v>
                </c:pt>
                <c:pt idx="3077">
                  <c:v>39027</c:v>
                </c:pt>
                <c:pt idx="3078">
                  <c:v>39028</c:v>
                </c:pt>
                <c:pt idx="3079">
                  <c:v>39029</c:v>
                </c:pt>
                <c:pt idx="3080">
                  <c:v>39030</c:v>
                </c:pt>
                <c:pt idx="3081">
                  <c:v>39031</c:v>
                </c:pt>
                <c:pt idx="3082">
                  <c:v>39034</c:v>
                </c:pt>
                <c:pt idx="3083">
                  <c:v>39035</c:v>
                </c:pt>
                <c:pt idx="3084">
                  <c:v>39036</c:v>
                </c:pt>
                <c:pt idx="3085">
                  <c:v>39037</c:v>
                </c:pt>
                <c:pt idx="3086">
                  <c:v>39038</c:v>
                </c:pt>
                <c:pt idx="3087">
                  <c:v>39041</c:v>
                </c:pt>
                <c:pt idx="3088">
                  <c:v>39042</c:v>
                </c:pt>
                <c:pt idx="3089">
                  <c:v>39043</c:v>
                </c:pt>
                <c:pt idx="3090">
                  <c:v>39044</c:v>
                </c:pt>
                <c:pt idx="3091">
                  <c:v>39045</c:v>
                </c:pt>
                <c:pt idx="3092">
                  <c:v>39048</c:v>
                </c:pt>
                <c:pt idx="3093">
                  <c:v>39049</c:v>
                </c:pt>
                <c:pt idx="3094">
                  <c:v>39050</c:v>
                </c:pt>
                <c:pt idx="3095">
                  <c:v>39051</c:v>
                </c:pt>
                <c:pt idx="3096">
                  <c:v>39052</c:v>
                </c:pt>
                <c:pt idx="3097">
                  <c:v>39055</c:v>
                </c:pt>
                <c:pt idx="3098">
                  <c:v>39056</c:v>
                </c:pt>
                <c:pt idx="3099">
                  <c:v>39057</c:v>
                </c:pt>
                <c:pt idx="3100">
                  <c:v>39058</c:v>
                </c:pt>
                <c:pt idx="3101">
                  <c:v>39059</c:v>
                </c:pt>
                <c:pt idx="3102">
                  <c:v>39062</c:v>
                </c:pt>
                <c:pt idx="3103">
                  <c:v>39063</c:v>
                </c:pt>
                <c:pt idx="3104">
                  <c:v>39064</c:v>
                </c:pt>
                <c:pt idx="3105">
                  <c:v>39065</c:v>
                </c:pt>
                <c:pt idx="3106">
                  <c:v>39066</c:v>
                </c:pt>
                <c:pt idx="3107">
                  <c:v>39069</c:v>
                </c:pt>
                <c:pt idx="3108">
                  <c:v>39070</c:v>
                </c:pt>
                <c:pt idx="3109">
                  <c:v>39071</c:v>
                </c:pt>
                <c:pt idx="3110">
                  <c:v>39072</c:v>
                </c:pt>
                <c:pt idx="3111">
                  <c:v>39073</c:v>
                </c:pt>
                <c:pt idx="3112">
                  <c:v>39076</c:v>
                </c:pt>
                <c:pt idx="3113">
                  <c:v>39077</c:v>
                </c:pt>
                <c:pt idx="3114">
                  <c:v>39078</c:v>
                </c:pt>
                <c:pt idx="3115">
                  <c:v>39079</c:v>
                </c:pt>
                <c:pt idx="3116">
                  <c:v>39080</c:v>
                </c:pt>
                <c:pt idx="3117">
                  <c:v>39083</c:v>
                </c:pt>
                <c:pt idx="3118">
                  <c:v>39084</c:v>
                </c:pt>
                <c:pt idx="3119">
                  <c:v>39085</c:v>
                </c:pt>
                <c:pt idx="3120">
                  <c:v>39086</c:v>
                </c:pt>
                <c:pt idx="3121">
                  <c:v>39087</c:v>
                </c:pt>
                <c:pt idx="3122">
                  <c:v>39090</c:v>
                </c:pt>
                <c:pt idx="3123">
                  <c:v>39091</c:v>
                </c:pt>
                <c:pt idx="3124">
                  <c:v>39092</c:v>
                </c:pt>
                <c:pt idx="3125">
                  <c:v>39093</c:v>
                </c:pt>
                <c:pt idx="3126">
                  <c:v>39094</c:v>
                </c:pt>
                <c:pt idx="3127">
                  <c:v>39097</c:v>
                </c:pt>
                <c:pt idx="3128">
                  <c:v>39098</c:v>
                </c:pt>
                <c:pt idx="3129">
                  <c:v>39099</c:v>
                </c:pt>
                <c:pt idx="3130">
                  <c:v>39100</c:v>
                </c:pt>
                <c:pt idx="3131">
                  <c:v>39101</c:v>
                </c:pt>
                <c:pt idx="3132">
                  <c:v>39104</c:v>
                </c:pt>
                <c:pt idx="3133">
                  <c:v>39105</c:v>
                </c:pt>
                <c:pt idx="3134">
                  <c:v>39106</c:v>
                </c:pt>
                <c:pt idx="3135">
                  <c:v>39107</c:v>
                </c:pt>
                <c:pt idx="3136">
                  <c:v>39108</c:v>
                </c:pt>
                <c:pt idx="3137">
                  <c:v>39111</c:v>
                </c:pt>
                <c:pt idx="3138">
                  <c:v>39112</c:v>
                </c:pt>
                <c:pt idx="3139">
                  <c:v>39113</c:v>
                </c:pt>
                <c:pt idx="3140">
                  <c:v>39114</c:v>
                </c:pt>
                <c:pt idx="3141">
                  <c:v>39115</c:v>
                </c:pt>
                <c:pt idx="3142">
                  <c:v>39118</c:v>
                </c:pt>
                <c:pt idx="3143">
                  <c:v>39119</c:v>
                </c:pt>
                <c:pt idx="3144">
                  <c:v>39120</c:v>
                </c:pt>
                <c:pt idx="3145">
                  <c:v>39121</c:v>
                </c:pt>
                <c:pt idx="3146">
                  <c:v>39122</c:v>
                </c:pt>
                <c:pt idx="3147">
                  <c:v>39125</c:v>
                </c:pt>
                <c:pt idx="3148">
                  <c:v>39126</c:v>
                </c:pt>
                <c:pt idx="3149">
                  <c:v>39127</c:v>
                </c:pt>
                <c:pt idx="3150">
                  <c:v>39128</c:v>
                </c:pt>
                <c:pt idx="3151">
                  <c:v>39129</c:v>
                </c:pt>
                <c:pt idx="3152">
                  <c:v>39132</c:v>
                </c:pt>
                <c:pt idx="3153">
                  <c:v>39133</c:v>
                </c:pt>
                <c:pt idx="3154">
                  <c:v>39134</c:v>
                </c:pt>
                <c:pt idx="3155">
                  <c:v>39135</c:v>
                </c:pt>
                <c:pt idx="3156">
                  <c:v>39136</c:v>
                </c:pt>
                <c:pt idx="3157">
                  <c:v>39139</c:v>
                </c:pt>
                <c:pt idx="3158">
                  <c:v>39140</c:v>
                </c:pt>
                <c:pt idx="3159">
                  <c:v>39141</c:v>
                </c:pt>
                <c:pt idx="3160">
                  <c:v>39142</c:v>
                </c:pt>
                <c:pt idx="3161">
                  <c:v>39143</c:v>
                </c:pt>
                <c:pt idx="3162">
                  <c:v>39146</c:v>
                </c:pt>
                <c:pt idx="3163">
                  <c:v>39147</c:v>
                </c:pt>
                <c:pt idx="3164">
                  <c:v>39148</c:v>
                </c:pt>
                <c:pt idx="3165">
                  <c:v>39149</c:v>
                </c:pt>
                <c:pt idx="3166">
                  <c:v>39150</c:v>
                </c:pt>
                <c:pt idx="3167">
                  <c:v>39153</c:v>
                </c:pt>
                <c:pt idx="3168">
                  <c:v>39154</c:v>
                </c:pt>
                <c:pt idx="3169">
                  <c:v>39155</c:v>
                </c:pt>
                <c:pt idx="3170">
                  <c:v>39156</c:v>
                </c:pt>
                <c:pt idx="3171">
                  <c:v>39157</c:v>
                </c:pt>
                <c:pt idx="3172">
                  <c:v>39160</c:v>
                </c:pt>
                <c:pt idx="3173">
                  <c:v>39161</c:v>
                </c:pt>
                <c:pt idx="3174">
                  <c:v>39162</c:v>
                </c:pt>
                <c:pt idx="3175">
                  <c:v>39163</c:v>
                </c:pt>
                <c:pt idx="3176">
                  <c:v>39164</c:v>
                </c:pt>
                <c:pt idx="3177">
                  <c:v>39167</c:v>
                </c:pt>
                <c:pt idx="3178">
                  <c:v>39168</c:v>
                </c:pt>
                <c:pt idx="3179">
                  <c:v>39169</c:v>
                </c:pt>
                <c:pt idx="3180">
                  <c:v>39170</c:v>
                </c:pt>
                <c:pt idx="3181">
                  <c:v>39171</c:v>
                </c:pt>
                <c:pt idx="3182">
                  <c:v>39174</c:v>
                </c:pt>
                <c:pt idx="3183">
                  <c:v>39175</c:v>
                </c:pt>
                <c:pt idx="3184">
                  <c:v>39176</c:v>
                </c:pt>
                <c:pt idx="3185">
                  <c:v>39177</c:v>
                </c:pt>
                <c:pt idx="3186">
                  <c:v>39178</c:v>
                </c:pt>
                <c:pt idx="3187">
                  <c:v>39181</c:v>
                </c:pt>
                <c:pt idx="3188">
                  <c:v>39182</c:v>
                </c:pt>
                <c:pt idx="3189">
                  <c:v>39183</c:v>
                </c:pt>
                <c:pt idx="3190">
                  <c:v>39184</c:v>
                </c:pt>
                <c:pt idx="3191">
                  <c:v>39185</c:v>
                </c:pt>
                <c:pt idx="3192">
                  <c:v>39188</c:v>
                </c:pt>
                <c:pt idx="3193">
                  <c:v>39189</c:v>
                </c:pt>
                <c:pt idx="3194">
                  <c:v>39190</c:v>
                </c:pt>
                <c:pt idx="3195">
                  <c:v>39191</c:v>
                </c:pt>
                <c:pt idx="3196">
                  <c:v>39192</c:v>
                </c:pt>
                <c:pt idx="3197">
                  <c:v>39195</c:v>
                </c:pt>
                <c:pt idx="3198">
                  <c:v>39196</c:v>
                </c:pt>
                <c:pt idx="3199">
                  <c:v>39197</c:v>
                </c:pt>
                <c:pt idx="3200">
                  <c:v>39198</c:v>
                </c:pt>
                <c:pt idx="3201">
                  <c:v>39199</c:v>
                </c:pt>
                <c:pt idx="3202">
                  <c:v>39202</c:v>
                </c:pt>
                <c:pt idx="3203">
                  <c:v>39203</c:v>
                </c:pt>
                <c:pt idx="3204">
                  <c:v>39204</c:v>
                </c:pt>
                <c:pt idx="3205">
                  <c:v>39205</c:v>
                </c:pt>
                <c:pt idx="3206">
                  <c:v>39206</c:v>
                </c:pt>
                <c:pt idx="3207">
                  <c:v>39209</c:v>
                </c:pt>
                <c:pt idx="3208">
                  <c:v>39210</c:v>
                </c:pt>
                <c:pt idx="3209">
                  <c:v>39211</c:v>
                </c:pt>
                <c:pt idx="3210">
                  <c:v>39212</c:v>
                </c:pt>
                <c:pt idx="3211">
                  <c:v>39213</c:v>
                </c:pt>
                <c:pt idx="3212">
                  <c:v>39216</c:v>
                </c:pt>
                <c:pt idx="3213">
                  <c:v>39217</c:v>
                </c:pt>
                <c:pt idx="3214">
                  <c:v>39218</c:v>
                </c:pt>
                <c:pt idx="3215">
                  <c:v>39219</c:v>
                </c:pt>
                <c:pt idx="3216">
                  <c:v>39220</c:v>
                </c:pt>
                <c:pt idx="3217">
                  <c:v>39223</c:v>
                </c:pt>
                <c:pt idx="3218">
                  <c:v>39224</c:v>
                </c:pt>
                <c:pt idx="3219">
                  <c:v>39225</c:v>
                </c:pt>
                <c:pt idx="3220">
                  <c:v>39226</c:v>
                </c:pt>
                <c:pt idx="3221">
                  <c:v>39227</c:v>
                </c:pt>
                <c:pt idx="3222">
                  <c:v>39230</c:v>
                </c:pt>
                <c:pt idx="3223">
                  <c:v>39231</c:v>
                </c:pt>
                <c:pt idx="3224">
                  <c:v>39232</c:v>
                </c:pt>
                <c:pt idx="3225">
                  <c:v>39233</c:v>
                </c:pt>
                <c:pt idx="3226">
                  <c:v>39234</c:v>
                </c:pt>
                <c:pt idx="3227">
                  <c:v>39237</c:v>
                </c:pt>
                <c:pt idx="3228">
                  <c:v>39238</c:v>
                </c:pt>
                <c:pt idx="3229">
                  <c:v>39239</c:v>
                </c:pt>
                <c:pt idx="3230">
                  <c:v>39240</c:v>
                </c:pt>
                <c:pt idx="3231">
                  <c:v>39241</c:v>
                </c:pt>
                <c:pt idx="3232">
                  <c:v>39244</c:v>
                </c:pt>
                <c:pt idx="3233">
                  <c:v>39245</c:v>
                </c:pt>
                <c:pt idx="3234">
                  <c:v>39246</c:v>
                </c:pt>
                <c:pt idx="3235">
                  <c:v>39247</c:v>
                </c:pt>
                <c:pt idx="3236">
                  <c:v>39248</c:v>
                </c:pt>
                <c:pt idx="3237">
                  <c:v>39251</c:v>
                </c:pt>
                <c:pt idx="3238">
                  <c:v>39252</c:v>
                </c:pt>
                <c:pt idx="3239">
                  <c:v>39253</c:v>
                </c:pt>
                <c:pt idx="3240">
                  <c:v>39254</c:v>
                </c:pt>
                <c:pt idx="3241">
                  <c:v>39255</c:v>
                </c:pt>
                <c:pt idx="3242">
                  <c:v>39258</c:v>
                </c:pt>
                <c:pt idx="3243">
                  <c:v>39259</c:v>
                </c:pt>
                <c:pt idx="3244">
                  <c:v>39260</c:v>
                </c:pt>
                <c:pt idx="3245">
                  <c:v>39261</c:v>
                </c:pt>
                <c:pt idx="3246">
                  <c:v>39262</c:v>
                </c:pt>
                <c:pt idx="3247">
                  <c:v>39265</c:v>
                </c:pt>
                <c:pt idx="3248">
                  <c:v>39266</c:v>
                </c:pt>
                <c:pt idx="3249">
                  <c:v>39267</c:v>
                </c:pt>
                <c:pt idx="3250">
                  <c:v>39268</c:v>
                </c:pt>
                <c:pt idx="3251">
                  <c:v>39269</c:v>
                </c:pt>
                <c:pt idx="3252">
                  <c:v>39272</c:v>
                </c:pt>
                <c:pt idx="3253">
                  <c:v>39273</c:v>
                </c:pt>
                <c:pt idx="3254">
                  <c:v>39274</c:v>
                </c:pt>
                <c:pt idx="3255">
                  <c:v>39275</c:v>
                </c:pt>
                <c:pt idx="3256">
                  <c:v>39276</c:v>
                </c:pt>
                <c:pt idx="3257">
                  <c:v>39279</c:v>
                </c:pt>
                <c:pt idx="3258">
                  <c:v>39280</c:v>
                </c:pt>
                <c:pt idx="3259">
                  <c:v>39281</c:v>
                </c:pt>
                <c:pt idx="3260">
                  <c:v>39282</c:v>
                </c:pt>
                <c:pt idx="3261">
                  <c:v>39283</c:v>
                </c:pt>
                <c:pt idx="3262">
                  <c:v>39286</c:v>
                </c:pt>
                <c:pt idx="3263">
                  <c:v>39287</c:v>
                </c:pt>
                <c:pt idx="3264">
                  <c:v>39288</c:v>
                </c:pt>
                <c:pt idx="3265">
                  <c:v>39289</c:v>
                </c:pt>
                <c:pt idx="3266">
                  <c:v>39290</c:v>
                </c:pt>
                <c:pt idx="3267">
                  <c:v>39293</c:v>
                </c:pt>
                <c:pt idx="3268">
                  <c:v>39294</c:v>
                </c:pt>
                <c:pt idx="3269">
                  <c:v>39295</c:v>
                </c:pt>
                <c:pt idx="3270">
                  <c:v>39296</c:v>
                </c:pt>
                <c:pt idx="3271">
                  <c:v>39297</c:v>
                </c:pt>
                <c:pt idx="3272">
                  <c:v>39300</c:v>
                </c:pt>
                <c:pt idx="3273">
                  <c:v>39301</c:v>
                </c:pt>
                <c:pt idx="3274">
                  <c:v>39302</c:v>
                </c:pt>
                <c:pt idx="3275">
                  <c:v>39303</c:v>
                </c:pt>
                <c:pt idx="3276">
                  <c:v>39304</c:v>
                </c:pt>
                <c:pt idx="3277">
                  <c:v>39307</c:v>
                </c:pt>
                <c:pt idx="3278">
                  <c:v>39308</c:v>
                </c:pt>
                <c:pt idx="3279">
                  <c:v>39309</c:v>
                </c:pt>
                <c:pt idx="3280">
                  <c:v>39310</c:v>
                </c:pt>
                <c:pt idx="3281">
                  <c:v>39311</c:v>
                </c:pt>
                <c:pt idx="3282">
                  <c:v>39314</c:v>
                </c:pt>
                <c:pt idx="3283">
                  <c:v>39315</c:v>
                </c:pt>
                <c:pt idx="3284">
                  <c:v>39316</c:v>
                </c:pt>
                <c:pt idx="3285">
                  <c:v>39317</c:v>
                </c:pt>
                <c:pt idx="3286">
                  <c:v>39318</c:v>
                </c:pt>
                <c:pt idx="3287">
                  <c:v>39321</c:v>
                </c:pt>
                <c:pt idx="3288">
                  <c:v>39322</c:v>
                </c:pt>
                <c:pt idx="3289">
                  <c:v>39323</c:v>
                </c:pt>
                <c:pt idx="3290">
                  <c:v>39324</c:v>
                </c:pt>
                <c:pt idx="3291">
                  <c:v>39325</c:v>
                </c:pt>
                <c:pt idx="3292">
                  <c:v>39328</c:v>
                </c:pt>
                <c:pt idx="3293">
                  <c:v>39329</c:v>
                </c:pt>
                <c:pt idx="3294">
                  <c:v>39330</c:v>
                </c:pt>
                <c:pt idx="3295">
                  <c:v>39331</c:v>
                </c:pt>
                <c:pt idx="3296">
                  <c:v>39332</c:v>
                </c:pt>
                <c:pt idx="3297">
                  <c:v>39335</c:v>
                </c:pt>
                <c:pt idx="3298">
                  <c:v>39336</c:v>
                </c:pt>
                <c:pt idx="3299">
                  <c:v>39337</c:v>
                </c:pt>
                <c:pt idx="3300">
                  <c:v>39338</c:v>
                </c:pt>
                <c:pt idx="3301">
                  <c:v>39339</c:v>
                </c:pt>
                <c:pt idx="3302">
                  <c:v>39342</c:v>
                </c:pt>
                <c:pt idx="3303">
                  <c:v>39343</c:v>
                </c:pt>
                <c:pt idx="3304">
                  <c:v>39344</c:v>
                </c:pt>
                <c:pt idx="3305">
                  <c:v>39345</c:v>
                </c:pt>
                <c:pt idx="3306">
                  <c:v>39346</c:v>
                </c:pt>
                <c:pt idx="3307">
                  <c:v>39349</c:v>
                </c:pt>
                <c:pt idx="3308">
                  <c:v>39350</c:v>
                </c:pt>
                <c:pt idx="3309">
                  <c:v>39351</c:v>
                </c:pt>
                <c:pt idx="3310">
                  <c:v>39352</c:v>
                </c:pt>
                <c:pt idx="3311">
                  <c:v>39353</c:v>
                </c:pt>
                <c:pt idx="3312">
                  <c:v>39356</c:v>
                </c:pt>
                <c:pt idx="3313">
                  <c:v>39357</c:v>
                </c:pt>
                <c:pt idx="3314">
                  <c:v>39358</c:v>
                </c:pt>
                <c:pt idx="3315">
                  <c:v>39359</c:v>
                </c:pt>
                <c:pt idx="3316">
                  <c:v>39360</c:v>
                </c:pt>
                <c:pt idx="3317">
                  <c:v>39363</c:v>
                </c:pt>
                <c:pt idx="3318">
                  <c:v>39364</c:v>
                </c:pt>
                <c:pt idx="3319">
                  <c:v>39365</c:v>
                </c:pt>
                <c:pt idx="3320">
                  <c:v>39366</c:v>
                </c:pt>
                <c:pt idx="3321">
                  <c:v>39367</c:v>
                </c:pt>
                <c:pt idx="3322">
                  <c:v>39370</c:v>
                </c:pt>
                <c:pt idx="3323">
                  <c:v>39371</c:v>
                </c:pt>
                <c:pt idx="3324">
                  <c:v>39372</c:v>
                </c:pt>
                <c:pt idx="3325">
                  <c:v>39373</c:v>
                </c:pt>
                <c:pt idx="3326">
                  <c:v>39374</c:v>
                </c:pt>
                <c:pt idx="3327">
                  <c:v>39377</c:v>
                </c:pt>
                <c:pt idx="3328">
                  <c:v>39378</c:v>
                </c:pt>
                <c:pt idx="3329">
                  <c:v>39379</c:v>
                </c:pt>
                <c:pt idx="3330">
                  <c:v>39380</c:v>
                </c:pt>
                <c:pt idx="3331">
                  <c:v>39381</c:v>
                </c:pt>
                <c:pt idx="3332">
                  <c:v>39384</c:v>
                </c:pt>
                <c:pt idx="3333">
                  <c:v>39385</c:v>
                </c:pt>
                <c:pt idx="3334">
                  <c:v>39386</c:v>
                </c:pt>
                <c:pt idx="3335">
                  <c:v>39387</c:v>
                </c:pt>
                <c:pt idx="3336">
                  <c:v>39388</c:v>
                </c:pt>
                <c:pt idx="3337">
                  <c:v>39391</c:v>
                </c:pt>
                <c:pt idx="3338">
                  <c:v>39392</c:v>
                </c:pt>
                <c:pt idx="3339">
                  <c:v>39393</c:v>
                </c:pt>
                <c:pt idx="3340">
                  <c:v>39394</c:v>
                </c:pt>
                <c:pt idx="3341">
                  <c:v>39395</c:v>
                </c:pt>
                <c:pt idx="3342">
                  <c:v>39398</c:v>
                </c:pt>
                <c:pt idx="3343">
                  <c:v>39399</c:v>
                </c:pt>
                <c:pt idx="3344">
                  <c:v>39400</c:v>
                </c:pt>
                <c:pt idx="3345">
                  <c:v>39401</c:v>
                </c:pt>
                <c:pt idx="3346">
                  <c:v>39402</c:v>
                </c:pt>
                <c:pt idx="3347">
                  <c:v>39405</c:v>
                </c:pt>
                <c:pt idx="3348">
                  <c:v>39406</c:v>
                </c:pt>
                <c:pt idx="3349">
                  <c:v>39407</c:v>
                </c:pt>
                <c:pt idx="3350">
                  <c:v>39408</c:v>
                </c:pt>
                <c:pt idx="3351">
                  <c:v>39409</c:v>
                </c:pt>
                <c:pt idx="3352">
                  <c:v>39412</c:v>
                </c:pt>
                <c:pt idx="3353">
                  <c:v>39413</c:v>
                </c:pt>
                <c:pt idx="3354">
                  <c:v>39414</c:v>
                </c:pt>
                <c:pt idx="3355">
                  <c:v>39415</c:v>
                </c:pt>
                <c:pt idx="3356">
                  <c:v>39416</c:v>
                </c:pt>
                <c:pt idx="3357">
                  <c:v>39419</c:v>
                </c:pt>
                <c:pt idx="3358">
                  <c:v>39420</c:v>
                </c:pt>
                <c:pt idx="3359">
                  <c:v>39421</c:v>
                </c:pt>
                <c:pt idx="3360">
                  <c:v>39422</c:v>
                </c:pt>
                <c:pt idx="3361">
                  <c:v>39423</c:v>
                </c:pt>
                <c:pt idx="3362">
                  <c:v>39426</c:v>
                </c:pt>
                <c:pt idx="3363">
                  <c:v>39427</c:v>
                </c:pt>
                <c:pt idx="3364">
                  <c:v>39428</c:v>
                </c:pt>
                <c:pt idx="3365">
                  <c:v>39429</c:v>
                </c:pt>
                <c:pt idx="3366">
                  <c:v>39430</c:v>
                </c:pt>
                <c:pt idx="3367">
                  <c:v>39433</c:v>
                </c:pt>
                <c:pt idx="3368">
                  <c:v>39434</c:v>
                </c:pt>
                <c:pt idx="3369">
                  <c:v>39435</c:v>
                </c:pt>
                <c:pt idx="3370">
                  <c:v>39436</c:v>
                </c:pt>
                <c:pt idx="3371">
                  <c:v>39437</c:v>
                </c:pt>
                <c:pt idx="3372">
                  <c:v>39440</c:v>
                </c:pt>
                <c:pt idx="3373">
                  <c:v>39441</c:v>
                </c:pt>
                <c:pt idx="3374">
                  <c:v>39442</c:v>
                </c:pt>
                <c:pt idx="3375">
                  <c:v>39443</c:v>
                </c:pt>
                <c:pt idx="3376">
                  <c:v>39444</c:v>
                </c:pt>
                <c:pt idx="3377">
                  <c:v>39447</c:v>
                </c:pt>
                <c:pt idx="3378">
                  <c:v>39448</c:v>
                </c:pt>
                <c:pt idx="3379">
                  <c:v>39449</c:v>
                </c:pt>
                <c:pt idx="3380">
                  <c:v>39450</c:v>
                </c:pt>
                <c:pt idx="3381">
                  <c:v>39451</c:v>
                </c:pt>
                <c:pt idx="3382">
                  <c:v>39454</c:v>
                </c:pt>
                <c:pt idx="3383">
                  <c:v>39455</c:v>
                </c:pt>
                <c:pt idx="3384">
                  <c:v>39456</c:v>
                </c:pt>
                <c:pt idx="3385">
                  <c:v>39457</c:v>
                </c:pt>
                <c:pt idx="3386">
                  <c:v>39458</c:v>
                </c:pt>
                <c:pt idx="3387">
                  <c:v>39461</c:v>
                </c:pt>
                <c:pt idx="3388">
                  <c:v>39462</c:v>
                </c:pt>
                <c:pt idx="3389">
                  <c:v>39463</c:v>
                </c:pt>
                <c:pt idx="3390">
                  <c:v>39464</c:v>
                </c:pt>
                <c:pt idx="3391">
                  <c:v>39465</c:v>
                </c:pt>
                <c:pt idx="3392">
                  <c:v>39468</c:v>
                </c:pt>
                <c:pt idx="3393">
                  <c:v>39469</c:v>
                </c:pt>
                <c:pt idx="3394">
                  <c:v>39470</c:v>
                </c:pt>
                <c:pt idx="3395">
                  <c:v>39471</c:v>
                </c:pt>
                <c:pt idx="3396">
                  <c:v>39472</c:v>
                </c:pt>
                <c:pt idx="3397">
                  <c:v>39475</c:v>
                </c:pt>
                <c:pt idx="3398">
                  <c:v>39476</c:v>
                </c:pt>
                <c:pt idx="3399">
                  <c:v>39477</c:v>
                </c:pt>
                <c:pt idx="3400">
                  <c:v>39478</c:v>
                </c:pt>
                <c:pt idx="3401">
                  <c:v>39479</c:v>
                </c:pt>
                <c:pt idx="3402">
                  <c:v>39482</c:v>
                </c:pt>
                <c:pt idx="3403">
                  <c:v>39483</c:v>
                </c:pt>
                <c:pt idx="3404">
                  <c:v>39484</c:v>
                </c:pt>
                <c:pt idx="3405">
                  <c:v>39485</c:v>
                </c:pt>
                <c:pt idx="3406">
                  <c:v>39486</c:v>
                </c:pt>
                <c:pt idx="3407">
                  <c:v>39489</c:v>
                </c:pt>
                <c:pt idx="3408">
                  <c:v>39490</c:v>
                </c:pt>
                <c:pt idx="3409">
                  <c:v>39491</c:v>
                </c:pt>
                <c:pt idx="3410">
                  <c:v>39492</c:v>
                </c:pt>
                <c:pt idx="3411">
                  <c:v>39493</c:v>
                </c:pt>
                <c:pt idx="3412">
                  <c:v>39496</c:v>
                </c:pt>
                <c:pt idx="3413">
                  <c:v>39497</c:v>
                </c:pt>
                <c:pt idx="3414">
                  <c:v>39498</c:v>
                </c:pt>
                <c:pt idx="3415">
                  <c:v>39499</c:v>
                </c:pt>
                <c:pt idx="3416">
                  <c:v>39500</c:v>
                </c:pt>
                <c:pt idx="3417">
                  <c:v>39503</c:v>
                </c:pt>
                <c:pt idx="3418">
                  <c:v>39504</c:v>
                </c:pt>
                <c:pt idx="3419">
                  <c:v>39505</c:v>
                </c:pt>
                <c:pt idx="3420">
                  <c:v>39506</c:v>
                </c:pt>
                <c:pt idx="3421">
                  <c:v>39507</c:v>
                </c:pt>
                <c:pt idx="3422">
                  <c:v>39510</c:v>
                </c:pt>
                <c:pt idx="3423">
                  <c:v>39511</c:v>
                </c:pt>
                <c:pt idx="3424">
                  <c:v>39512</c:v>
                </c:pt>
                <c:pt idx="3425">
                  <c:v>39513</c:v>
                </c:pt>
                <c:pt idx="3426">
                  <c:v>39514</c:v>
                </c:pt>
                <c:pt idx="3427">
                  <c:v>39517</c:v>
                </c:pt>
                <c:pt idx="3428">
                  <c:v>39518</c:v>
                </c:pt>
                <c:pt idx="3429">
                  <c:v>39519</c:v>
                </c:pt>
                <c:pt idx="3430">
                  <c:v>39520</c:v>
                </c:pt>
                <c:pt idx="3431">
                  <c:v>39521</c:v>
                </c:pt>
                <c:pt idx="3432">
                  <c:v>39524</c:v>
                </c:pt>
                <c:pt idx="3433">
                  <c:v>39525</c:v>
                </c:pt>
                <c:pt idx="3434">
                  <c:v>39526</c:v>
                </c:pt>
                <c:pt idx="3435">
                  <c:v>39527</c:v>
                </c:pt>
                <c:pt idx="3436">
                  <c:v>39528</c:v>
                </c:pt>
                <c:pt idx="3437">
                  <c:v>39531</c:v>
                </c:pt>
                <c:pt idx="3438">
                  <c:v>39532</c:v>
                </c:pt>
                <c:pt idx="3439">
                  <c:v>39533</c:v>
                </c:pt>
                <c:pt idx="3440">
                  <c:v>39534</c:v>
                </c:pt>
                <c:pt idx="3441">
                  <c:v>39535</c:v>
                </c:pt>
                <c:pt idx="3442">
                  <c:v>39538</c:v>
                </c:pt>
                <c:pt idx="3443">
                  <c:v>39539</c:v>
                </c:pt>
                <c:pt idx="3444">
                  <c:v>39540</c:v>
                </c:pt>
                <c:pt idx="3445">
                  <c:v>39541</c:v>
                </c:pt>
                <c:pt idx="3446">
                  <c:v>39542</c:v>
                </c:pt>
                <c:pt idx="3447">
                  <c:v>39545</c:v>
                </c:pt>
                <c:pt idx="3448">
                  <c:v>39546</c:v>
                </c:pt>
                <c:pt idx="3449">
                  <c:v>39547</c:v>
                </c:pt>
                <c:pt idx="3450">
                  <c:v>39548</c:v>
                </c:pt>
                <c:pt idx="3451">
                  <c:v>39549</c:v>
                </c:pt>
                <c:pt idx="3452">
                  <c:v>39552</c:v>
                </c:pt>
                <c:pt idx="3453">
                  <c:v>39553</c:v>
                </c:pt>
                <c:pt idx="3454">
                  <c:v>39554</c:v>
                </c:pt>
                <c:pt idx="3455">
                  <c:v>39555</c:v>
                </c:pt>
                <c:pt idx="3456">
                  <c:v>39556</c:v>
                </c:pt>
                <c:pt idx="3457">
                  <c:v>39559</c:v>
                </c:pt>
                <c:pt idx="3458">
                  <c:v>39560</c:v>
                </c:pt>
                <c:pt idx="3459">
                  <c:v>39561</c:v>
                </c:pt>
                <c:pt idx="3460">
                  <c:v>39562</c:v>
                </c:pt>
                <c:pt idx="3461">
                  <c:v>39563</c:v>
                </c:pt>
                <c:pt idx="3462">
                  <c:v>39566</c:v>
                </c:pt>
                <c:pt idx="3463">
                  <c:v>39567</c:v>
                </c:pt>
                <c:pt idx="3464">
                  <c:v>39568</c:v>
                </c:pt>
                <c:pt idx="3465">
                  <c:v>39569</c:v>
                </c:pt>
                <c:pt idx="3466">
                  <c:v>39570</c:v>
                </c:pt>
                <c:pt idx="3467">
                  <c:v>39573</c:v>
                </c:pt>
                <c:pt idx="3468">
                  <c:v>39574</c:v>
                </c:pt>
                <c:pt idx="3469">
                  <c:v>39575</c:v>
                </c:pt>
                <c:pt idx="3470">
                  <c:v>39576</c:v>
                </c:pt>
                <c:pt idx="3471">
                  <c:v>39577</c:v>
                </c:pt>
                <c:pt idx="3472">
                  <c:v>39580</c:v>
                </c:pt>
                <c:pt idx="3473">
                  <c:v>39581</c:v>
                </c:pt>
                <c:pt idx="3474">
                  <c:v>39582</c:v>
                </c:pt>
                <c:pt idx="3475">
                  <c:v>39583</c:v>
                </c:pt>
                <c:pt idx="3476">
                  <c:v>39584</c:v>
                </c:pt>
                <c:pt idx="3477">
                  <c:v>39587</c:v>
                </c:pt>
                <c:pt idx="3478">
                  <c:v>39588</c:v>
                </c:pt>
                <c:pt idx="3479">
                  <c:v>39589</c:v>
                </c:pt>
                <c:pt idx="3480">
                  <c:v>39590</c:v>
                </c:pt>
                <c:pt idx="3481">
                  <c:v>39591</c:v>
                </c:pt>
                <c:pt idx="3482">
                  <c:v>39594</c:v>
                </c:pt>
                <c:pt idx="3483">
                  <c:v>39595</c:v>
                </c:pt>
                <c:pt idx="3484">
                  <c:v>39596</c:v>
                </c:pt>
                <c:pt idx="3485">
                  <c:v>39597</c:v>
                </c:pt>
                <c:pt idx="3486">
                  <c:v>39598</c:v>
                </c:pt>
                <c:pt idx="3487">
                  <c:v>39601</c:v>
                </c:pt>
                <c:pt idx="3488">
                  <c:v>39602</c:v>
                </c:pt>
                <c:pt idx="3489">
                  <c:v>39603</c:v>
                </c:pt>
                <c:pt idx="3490">
                  <c:v>39604</c:v>
                </c:pt>
                <c:pt idx="3491">
                  <c:v>39605</c:v>
                </c:pt>
                <c:pt idx="3492">
                  <c:v>39608</c:v>
                </c:pt>
                <c:pt idx="3493">
                  <c:v>39609</c:v>
                </c:pt>
                <c:pt idx="3494">
                  <c:v>39610</c:v>
                </c:pt>
                <c:pt idx="3495">
                  <c:v>39611</c:v>
                </c:pt>
                <c:pt idx="3496">
                  <c:v>39612</c:v>
                </c:pt>
                <c:pt idx="3497">
                  <c:v>39615</c:v>
                </c:pt>
                <c:pt idx="3498">
                  <c:v>39616</c:v>
                </c:pt>
                <c:pt idx="3499">
                  <c:v>39617</c:v>
                </c:pt>
                <c:pt idx="3500">
                  <c:v>39618</c:v>
                </c:pt>
                <c:pt idx="3501">
                  <c:v>39619</c:v>
                </c:pt>
                <c:pt idx="3502">
                  <c:v>39622</c:v>
                </c:pt>
                <c:pt idx="3503">
                  <c:v>39623</c:v>
                </c:pt>
                <c:pt idx="3504">
                  <c:v>39624</c:v>
                </c:pt>
                <c:pt idx="3505">
                  <c:v>39625</c:v>
                </c:pt>
                <c:pt idx="3506">
                  <c:v>39626</c:v>
                </c:pt>
                <c:pt idx="3507">
                  <c:v>39629</c:v>
                </c:pt>
                <c:pt idx="3508">
                  <c:v>39630</c:v>
                </c:pt>
                <c:pt idx="3509">
                  <c:v>39631</c:v>
                </c:pt>
                <c:pt idx="3510">
                  <c:v>39632</c:v>
                </c:pt>
                <c:pt idx="3511">
                  <c:v>39633</c:v>
                </c:pt>
                <c:pt idx="3512">
                  <c:v>39636</c:v>
                </c:pt>
                <c:pt idx="3513">
                  <c:v>39637</c:v>
                </c:pt>
                <c:pt idx="3514">
                  <c:v>39638</c:v>
                </c:pt>
                <c:pt idx="3515">
                  <c:v>39639</c:v>
                </c:pt>
                <c:pt idx="3516">
                  <c:v>39640</c:v>
                </c:pt>
                <c:pt idx="3517">
                  <c:v>39643</c:v>
                </c:pt>
                <c:pt idx="3518">
                  <c:v>39644</c:v>
                </c:pt>
                <c:pt idx="3519">
                  <c:v>39645</c:v>
                </c:pt>
                <c:pt idx="3520">
                  <c:v>39646</c:v>
                </c:pt>
                <c:pt idx="3521">
                  <c:v>39647</c:v>
                </c:pt>
                <c:pt idx="3522">
                  <c:v>39650</c:v>
                </c:pt>
                <c:pt idx="3523">
                  <c:v>39651</c:v>
                </c:pt>
                <c:pt idx="3524">
                  <c:v>39652</c:v>
                </c:pt>
                <c:pt idx="3525">
                  <c:v>39653</c:v>
                </c:pt>
                <c:pt idx="3526">
                  <c:v>39654</c:v>
                </c:pt>
                <c:pt idx="3527">
                  <c:v>39657</c:v>
                </c:pt>
                <c:pt idx="3528">
                  <c:v>39658</c:v>
                </c:pt>
                <c:pt idx="3529">
                  <c:v>39659</c:v>
                </c:pt>
                <c:pt idx="3530">
                  <c:v>39660</c:v>
                </c:pt>
                <c:pt idx="3531">
                  <c:v>39661</c:v>
                </c:pt>
                <c:pt idx="3532">
                  <c:v>39664</c:v>
                </c:pt>
                <c:pt idx="3533">
                  <c:v>39665</c:v>
                </c:pt>
                <c:pt idx="3534">
                  <c:v>39666</c:v>
                </c:pt>
                <c:pt idx="3535">
                  <c:v>39667</c:v>
                </c:pt>
                <c:pt idx="3536">
                  <c:v>39668</c:v>
                </c:pt>
                <c:pt idx="3537">
                  <c:v>39671</c:v>
                </c:pt>
                <c:pt idx="3538">
                  <c:v>39672</c:v>
                </c:pt>
                <c:pt idx="3539">
                  <c:v>39673</c:v>
                </c:pt>
                <c:pt idx="3540">
                  <c:v>39674</c:v>
                </c:pt>
                <c:pt idx="3541">
                  <c:v>39675</c:v>
                </c:pt>
                <c:pt idx="3542">
                  <c:v>39678</c:v>
                </c:pt>
                <c:pt idx="3543">
                  <c:v>39679</c:v>
                </c:pt>
                <c:pt idx="3544">
                  <c:v>39680</c:v>
                </c:pt>
                <c:pt idx="3545">
                  <c:v>39681</c:v>
                </c:pt>
                <c:pt idx="3546">
                  <c:v>39682</c:v>
                </c:pt>
                <c:pt idx="3547">
                  <c:v>39685</c:v>
                </c:pt>
                <c:pt idx="3548">
                  <c:v>39686</c:v>
                </c:pt>
                <c:pt idx="3549">
                  <c:v>39687</c:v>
                </c:pt>
                <c:pt idx="3550">
                  <c:v>39688</c:v>
                </c:pt>
                <c:pt idx="3551">
                  <c:v>39689</c:v>
                </c:pt>
                <c:pt idx="3552">
                  <c:v>39692</c:v>
                </c:pt>
                <c:pt idx="3553">
                  <c:v>39693</c:v>
                </c:pt>
                <c:pt idx="3554">
                  <c:v>39694</c:v>
                </c:pt>
                <c:pt idx="3555">
                  <c:v>39695</c:v>
                </c:pt>
                <c:pt idx="3556">
                  <c:v>39696</c:v>
                </c:pt>
                <c:pt idx="3557">
                  <c:v>39699</c:v>
                </c:pt>
                <c:pt idx="3558">
                  <c:v>39700</c:v>
                </c:pt>
                <c:pt idx="3559">
                  <c:v>39701</c:v>
                </c:pt>
                <c:pt idx="3560">
                  <c:v>39702</c:v>
                </c:pt>
                <c:pt idx="3561">
                  <c:v>39703</c:v>
                </c:pt>
                <c:pt idx="3562">
                  <c:v>39706</c:v>
                </c:pt>
                <c:pt idx="3563">
                  <c:v>39707</c:v>
                </c:pt>
                <c:pt idx="3564">
                  <c:v>39708</c:v>
                </c:pt>
                <c:pt idx="3565">
                  <c:v>39709</c:v>
                </c:pt>
                <c:pt idx="3566">
                  <c:v>39710</c:v>
                </c:pt>
                <c:pt idx="3567">
                  <c:v>39713</c:v>
                </c:pt>
                <c:pt idx="3568">
                  <c:v>39714</c:v>
                </c:pt>
                <c:pt idx="3569">
                  <c:v>39715</c:v>
                </c:pt>
                <c:pt idx="3570">
                  <c:v>39716</c:v>
                </c:pt>
                <c:pt idx="3571">
                  <c:v>39717</c:v>
                </c:pt>
                <c:pt idx="3572">
                  <c:v>39720</c:v>
                </c:pt>
                <c:pt idx="3573">
                  <c:v>39721</c:v>
                </c:pt>
                <c:pt idx="3574">
                  <c:v>39722</c:v>
                </c:pt>
                <c:pt idx="3575">
                  <c:v>39723</c:v>
                </c:pt>
                <c:pt idx="3576">
                  <c:v>39724</c:v>
                </c:pt>
                <c:pt idx="3577">
                  <c:v>39727</c:v>
                </c:pt>
                <c:pt idx="3578">
                  <c:v>39728</c:v>
                </c:pt>
                <c:pt idx="3579">
                  <c:v>39729</c:v>
                </c:pt>
                <c:pt idx="3580">
                  <c:v>39730</c:v>
                </c:pt>
                <c:pt idx="3581">
                  <c:v>39731</c:v>
                </c:pt>
                <c:pt idx="3582">
                  <c:v>39734</c:v>
                </c:pt>
                <c:pt idx="3583">
                  <c:v>39735</c:v>
                </c:pt>
                <c:pt idx="3584">
                  <c:v>39736</c:v>
                </c:pt>
                <c:pt idx="3585">
                  <c:v>39737</c:v>
                </c:pt>
                <c:pt idx="3586">
                  <c:v>39738</c:v>
                </c:pt>
                <c:pt idx="3587">
                  <c:v>39741</c:v>
                </c:pt>
                <c:pt idx="3588">
                  <c:v>39742</c:v>
                </c:pt>
                <c:pt idx="3589">
                  <c:v>39743</c:v>
                </c:pt>
                <c:pt idx="3590">
                  <c:v>39744</c:v>
                </c:pt>
                <c:pt idx="3591">
                  <c:v>39745</c:v>
                </c:pt>
                <c:pt idx="3592">
                  <c:v>39748</c:v>
                </c:pt>
                <c:pt idx="3593">
                  <c:v>39749</c:v>
                </c:pt>
                <c:pt idx="3594">
                  <c:v>39750</c:v>
                </c:pt>
                <c:pt idx="3595">
                  <c:v>39751</c:v>
                </c:pt>
                <c:pt idx="3596">
                  <c:v>39752</c:v>
                </c:pt>
                <c:pt idx="3597">
                  <c:v>39755</c:v>
                </c:pt>
                <c:pt idx="3598">
                  <c:v>39756</c:v>
                </c:pt>
                <c:pt idx="3599">
                  <c:v>39757</c:v>
                </c:pt>
                <c:pt idx="3600">
                  <c:v>39758</c:v>
                </c:pt>
                <c:pt idx="3601">
                  <c:v>39759</c:v>
                </c:pt>
                <c:pt idx="3602">
                  <c:v>39762</c:v>
                </c:pt>
                <c:pt idx="3603">
                  <c:v>39763</c:v>
                </c:pt>
                <c:pt idx="3604">
                  <c:v>39764</c:v>
                </c:pt>
                <c:pt idx="3605">
                  <c:v>39765</c:v>
                </c:pt>
                <c:pt idx="3606">
                  <c:v>39766</c:v>
                </c:pt>
                <c:pt idx="3607">
                  <c:v>39769</c:v>
                </c:pt>
                <c:pt idx="3608">
                  <c:v>39770</c:v>
                </c:pt>
                <c:pt idx="3609">
                  <c:v>39771</c:v>
                </c:pt>
                <c:pt idx="3610">
                  <c:v>39772</c:v>
                </c:pt>
                <c:pt idx="3611">
                  <c:v>39773</c:v>
                </c:pt>
                <c:pt idx="3612">
                  <c:v>39776</c:v>
                </c:pt>
                <c:pt idx="3613">
                  <c:v>39777</c:v>
                </c:pt>
                <c:pt idx="3614">
                  <c:v>39778</c:v>
                </c:pt>
                <c:pt idx="3615">
                  <c:v>39779</c:v>
                </c:pt>
                <c:pt idx="3616">
                  <c:v>39780</c:v>
                </c:pt>
                <c:pt idx="3617">
                  <c:v>39783</c:v>
                </c:pt>
                <c:pt idx="3618">
                  <c:v>39784</c:v>
                </c:pt>
                <c:pt idx="3619">
                  <c:v>39785</c:v>
                </c:pt>
                <c:pt idx="3620">
                  <c:v>39786</c:v>
                </c:pt>
                <c:pt idx="3621">
                  <c:v>39787</c:v>
                </c:pt>
                <c:pt idx="3622">
                  <c:v>39790</c:v>
                </c:pt>
                <c:pt idx="3623">
                  <c:v>39791</c:v>
                </c:pt>
                <c:pt idx="3624">
                  <c:v>39792</c:v>
                </c:pt>
                <c:pt idx="3625">
                  <c:v>39793</c:v>
                </c:pt>
                <c:pt idx="3626">
                  <c:v>39794</c:v>
                </c:pt>
                <c:pt idx="3627">
                  <c:v>39797</c:v>
                </c:pt>
                <c:pt idx="3628">
                  <c:v>39798</c:v>
                </c:pt>
                <c:pt idx="3629">
                  <c:v>39799</c:v>
                </c:pt>
                <c:pt idx="3630">
                  <c:v>39800</c:v>
                </c:pt>
                <c:pt idx="3631">
                  <c:v>39801</c:v>
                </c:pt>
                <c:pt idx="3632">
                  <c:v>39804</c:v>
                </c:pt>
                <c:pt idx="3633">
                  <c:v>39805</c:v>
                </c:pt>
                <c:pt idx="3634">
                  <c:v>39806</c:v>
                </c:pt>
                <c:pt idx="3635">
                  <c:v>39807</c:v>
                </c:pt>
                <c:pt idx="3636">
                  <c:v>39808</c:v>
                </c:pt>
                <c:pt idx="3637">
                  <c:v>39811</c:v>
                </c:pt>
                <c:pt idx="3638">
                  <c:v>39812</c:v>
                </c:pt>
                <c:pt idx="3639">
                  <c:v>39813</c:v>
                </c:pt>
                <c:pt idx="3640">
                  <c:v>39814</c:v>
                </c:pt>
                <c:pt idx="3641">
                  <c:v>39815</c:v>
                </c:pt>
                <c:pt idx="3642">
                  <c:v>39818</c:v>
                </c:pt>
                <c:pt idx="3643">
                  <c:v>39819</c:v>
                </c:pt>
                <c:pt idx="3644">
                  <c:v>39820</c:v>
                </c:pt>
                <c:pt idx="3645">
                  <c:v>39821</c:v>
                </c:pt>
                <c:pt idx="3646">
                  <c:v>39822</c:v>
                </c:pt>
                <c:pt idx="3647">
                  <c:v>39825</c:v>
                </c:pt>
                <c:pt idx="3648">
                  <c:v>39826</c:v>
                </c:pt>
                <c:pt idx="3649">
                  <c:v>39827</c:v>
                </c:pt>
                <c:pt idx="3650">
                  <c:v>39828</c:v>
                </c:pt>
                <c:pt idx="3651">
                  <c:v>39829</c:v>
                </c:pt>
                <c:pt idx="3652">
                  <c:v>39832</c:v>
                </c:pt>
                <c:pt idx="3653">
                  <c:v>39833</c:v>
                </c:pt>
                <c:pt idx="3654">
                  <c:v>39834</c:v>
                </c:pt>
                <c:pt idx="3655">
                  <c:v>39835</c:v>
                </c:pt>
                <c:pt idx="3656">
                  <c:v>39836</c:v>
                </c:pt>
                <c:pt idx="3657">
                  <c:v>39839</c:v>
                </c:pt>
                <c:pt idx="3658">
                  <c:v>39840</c:v>
                </c:pt>
                <c:pt idx="3659">
                  <c:v>39841</c:v>
                </c:pt>
                <c:pt idx="3660">
                  <c:v>39842</c:v>
                </c:pt>
                <c:pt idx="3661">
                  <c:v>39843</c:v>
                </c:pt>
                <c:pt idx="3662">
                  <c:v>39846</c:v>
                </c:pt>
                <c:pt idx="3663">
                  <c:v>39847</c:v>
                </c:pt>
                <c:pt idx="3664">
                  <c:v>39848</c:v>
                </c:pt>
                <c:pt idx="3665">
                  <c:v>39849</c:v>
                </c:pt>
                <c:pt idx="3666">
                  <c:v>39850</c:v>
                </c:pt>
                <c:pt idx="3667">
                  <c:v>39853</c:v>
                </c:pt>
                <c:pt idx="3668">
                  <c:v>39854</c:v>
                </c:pt>
                <c:pt idx="3669">
                  <c:v>39855</c:v>
                </c:pt>
                <c:pt idx="3670">
                  <c:v>39856</c:v>
                </c:pt>
                <c:pt idx="3671">
                  <c:v>39857</c:v>
                </c:pt>
                <c:pt idx="3672">
                  <c:v>39860</c:v>
                </c:pt>
                <c:pt idx="3673">
                  <c:v>39861</c:v>
                </c:pt>
                <c:pt idx="3674">
                  <c:v>39862</c:v>
                </c:pt>
                <c:pt idx="3675">
                  <c:v>39863</c:v>
                </c:pt>
                <c:pt idx="3676">
                  <c:v>39864</c:v>
                </c:pt>
                <c:pt idx="3677">
                  <c:v>39867</c:v>
                </c:pt>
                <c:pt idx="3678">
                  <c:v>39868</c:v>
                </c:pt>
                <c:pt idx="3679">
                  <c:v>39869</c:v>
                </c:pt>
                <c:pt idx="3680">
                  <c:v>39870</c:v>
                </c:pt>
                <c:pt idx="3681">
                  <c:v>39871</c:v>
                </c:pt>
                <c:pt idx="3682">
                  <c:v>39874</c:v>
                </c:pt>
                <c:pt idx="3683">
                  <c:v>39875</c:v>
                </c:pt>
                <c:pt idx="3684">
                  <c:v>39876</c:v>
                </c:pt>
                <c:pt idx="3685">
                  <c:v>39877</c:v>
                </c:pt>
                <c:pt idx="3686">
                  <c:v>39878</c:v>
                </c:pt>
                <c:pt idx="3687">
                  <c:v>39881</c:v>
                </c:pt>
                <c:pt idx="3688">
                  <c:v>39882</c:v>
                </c:pt>
                <c:pt idx="3689">
                  <c:v>39883</c:v>
                </c:pt>
                <c:pt idx="3690">
                  <c:v>39884</c:v>
                </c:pt>
                <c:pt idx="3691">
                  <c:v>39885</c:v>
                </c:pt>
                <c:pt idx="3692">
                  <c:v>39888</c:v>
                </c:pt>
                <c:pt idx="3693">
                  <c:v>39889</c:v>
                </c:pt>
                <c:pt idx="3694">
                  <c:v>39890</c:v>
                </c:pt>
                <c:pt idx="3695">
                  <c:v>39891</c:v>
                </c:pt>
                <c:pt idx="3696">
                  <c:v>39892</c:v>
                </c:pt>
                <c:pt idx="3697">
                  <c:v>39895</c:v>
                </c:pt>
                <c:pt idx="3698">
                  <c:v>39896</c:v>
                </c:pt>
                <c:pt idx="3699">
                  <c:v>39897</c:v>
                </c:pt>
                <c:pt idx="3700">
                  <c:v>39898</c:v>
                </c:pt>
                <c:pt idx="3701">
                  <c:v>39899</c:v>
                </c:pt>
                <c:pt idx="3702">
                  <c:v>39902</c:v>
                </c:pt>
                <c:pt idx="3703">
                  <c:v>39903</c:v>
                </c:pt>
                <c:pt idx="3704">
                  <c:v>39904</c:v>
                </c:pt>
                <c:pt idx="3705">
                  <c:v>39905</c:v>
                </c:pt>
                <c:pt idx="3706">
                  <c:v>39906</c:v>
                </c:pt>
                <c:pt idx="3707">
                  <c:v>39909</c:v>
                </c:pt>
                <c:pt idx="3708">
                  <c:v>39910</c:v>
                </c:pt>
                <c:pt idx="3709">
                  <c:v>39911</c:v>
                </c:pt>
                <c:pt idx="3710">
                  <c:v>39912</c:v>
                </c:pt>
                <c:pt idx="3711">
                  <c:v>39913</c:v>
                </c:pt>
                <c:pt idx="3712">
                  <c:v>39916</c:v>
                </c:pt>
                <c:pt idx="3713">
                  <c:v>39917</c:v>
                </c:pt>
                <c:pt idx="3714">
                  <c:v>39918</c:v>
                </c:pt>
                <c:pt idx="3715">
                  <c:v>39919</c:v>
                </c:pt>
                <c:pt idx="3716">
                  <c:v>39920</c:v>
                </c:pt>
                <c:pt idx="3717">
                  <c:v>39923</c:v>
                </c:pt>
                <c:pt idx="3718">
                  <c:v>39924</c:v>
                </c:pt>
                <c:pt idx="3719">
                  <c:v>39925</c:v>
                </c:pt>
                <c:pt idx="3720">
                  <c:v>39926</c:v>
                </c:pt>
                <c:pt idx="3721">
                  <c:v>39927</c:v>
                </c:pt>
                <c:pt idx="3722">
                  <c:v>39930</c:v>
                </c:pt>
                <c:pt idx="3723">
                  <c:v>39931</c:v>
                </c:pt>
                <c:pt idx="3724">
                  <c:v>39932</c:v>
                </c:pt>
                <c:pt idx="3725">
                  <c:v>39933</c:v>
                </c:pt>
                <c:pt idx="3726">
                  <c:v>39934</c:v>
                </c:pt>
                <c:pt idx="3727">
                  <c:v>39937</c:v>
                </c:pt>
                <c:pt idx="3728">
                  <c:v>39938</c:v>
                </c:pt>
                <c:pt idx="3729">
                  <c:v>39939</c:v>
                </c:pt>
                <c:pt idx="3730">
                  <c:v>39940</c:v>
                </c:pt>
                <c:pt idx="3731">
                  <c:v>39941</c:v>
                </c:pt>
                <c:pt idx="3732">
                  <c:v>39944</c:v>
                </c:pt>
                <c:pt idx="3733">
                  <c:v>39945</c:v>
                </c:pt>
                <c:pt idx="3734">
                  <c:v>39946</c:v>
                </c:pt>
                <c:pt idx="3735">
                  <c:v>39947</c:v>
                </c:pt>
                <c:pt idx="3736">
                  <c:v>39948</c:v>
                </c:pt>
                <c:pt idx="3737">
                  <c:v>39951</c:v>
                </c:pt>
                <c:pt idx="3738">
                  <c:v>39952</c:v>
                </c:pt>
                <c:pt idx="3739">
                  <c:v>39953</c:v>
                </c:pt>
                <c:pt idx="3740">
                  <c:v>39954</c:v>
                </c:pt>
                <c:pt idx="3741">
                  <c:v>39955</c:v>
                </c:pt>
                <c:pt idx="3742">
                  <c:v>39958</c:v>
                </c:pt>
                <c:pt idx="3743">
                  <c:v>39959</c:v>
                </c:pt>
                <c:pt idx="3744">
                  <c:v>39960</c:v>
                </c:pt>
                <c:pt idx="3745">
                  <c:v>39961</c:v>
                </c:pt>
                <c:pt idx="3746">
                  <c:v>39962</c:v>
                </c:pt>
                <c:pt idx="3747">
                  <c:v>39965</c:v>
                </c:pt>
                <c:pt idx="3748">
                  <c:v>39966</c:v>
                </c:pt>
                <c:pt idx="3749">
                  <c:v>39967</c:v>
                </c:pt>
                <c:pt idx="3750">
                  <c:v>39968</c:v>
                </c:pt>
                <c:pt idx="3751">
                  <c:v>39969</c:v>
                </c:pt>
                <c:pt idx="3752">
                  <c:v>39972</c:v>
                </c:pt>
                <c:pt idx="3753">
                  <c:v>39973</c:v>
                </c:pt>
                <c:pt idx="3754">
                  <c:v>39974</c:v>
                </c:pt>
                <c:pt idx="3755">
                  <c:v>39975</c:v>
                </c:pt>
                <c:pt idx="3756">
                  <c:v>39976</c:v>
                </c:pt>
                <c:pt idx="3757">
                  <c:v>39979</c:v>
                </c:pt>
                <c:pt idx="3758">
                  <c:v>39980</c:v>
                </c:pt>
                <c:pt idx="3759">
                  <c:v>39981</c:v>
                </c:pt>
                <c:pt idx="3760">
                  <c:v>39982</c:v>
                </c:pt>
                <c:pt idx="3761">
                  <c:v>39983</c:v>
                </c:pt>
                <c:pt idx="3762">
                  <c:v>39986</c:v>
                </c:pt>
                <c:pt idx="3763">
                  <c:v>39987</c:v>
                </c:pt>
                <c:pt idx="3764">
                  <c:v>39988</c:v>
                </c:pt>
                <c:pt idx="3765">
                  <c:v>39989</c:v>
                </c:pt>
                <c:pt idx="3766">
                  <c:v>39990</c:v>
                </c:pt>
                <c:pt idx="3767">
                  <c:v>39993</c:v>
                </c:pt>
                <c:pt idx="3768">
                  <c:v>39994</c:v>
                </c:pt>
                <c:pt idx="3769">
                  <c:v>39995</c:v>
                </c:pt>
                <c:pt idx="3770">
                  <c:v>39996</c:v>
                </c:pt>
                <c:pt idx="3771">
                  <c:v>39997</c:v>
                </c:pt>
                <c:pt idx="3772">
                  <c:v>40000</c:v>
                </c:pt>
                <c:pt idx="3773">
                  <c:v>40001</c:v>
                </c:pt>
                <c:pt idx="3774">
                  <c:v>40002</c:v>
                </c:pt>
                <c:pt idx="3775">
                  <c:v>40003</c:v>
                </c:pt>
                <c:pt idx="3776">
                  <c:v>40004</c:v>
                </c:pt>
                <c:pt idx="3777">
                  <c:v>40007</c:v>
                </c:pt>
                <c:pt idx="3778">
                  <c:v>40008</c:v>
                </c:pt>
                <c:pt idx="3779">
                  <c:v>40009</c:v>
                </c:pt>
                <c:pt idx="3780">
                  <c:v>40010</c:v>
                </c:pt>
                <c:pt idx="3781">
                  <c:v>40011</c:v>
                </c:pt>
                <c:pt idx="3782">
                  <c:v>40014</c:v>
                </c:pt>
                <c:pt idx="3783">
                  <c:v>40015</c:v>
                </c:pt>
                <c:pt idx="3784">
                  <c:v>40016</c:v>
                </c:pt>
                <c:pt idx="3785">
                  <c:v>40017</c:v>
                </c:pt>
                <c:pt idx="3786">
                  <c:v>40018</c:v>
                </c:pt>
                <c:pt idx="3787">
                  <c:v>40021</c:v>
                </c:pt>
                <c:pt idx="3788">
                  <c:v>40022</c:v>
                </c:pt>
                <c:pt idx="3789">
                  <c:v>40023</c:v>
                </c:pt>
                <c:pt idx="3790">
                  <c:v>40024</c:v>
                </c:pt>
                <c:pt idx="3791">
                  <c:v>40025</c:v>
                </c:pt>
                <c:pt idx="3792">
                  <c:v>40028</c:v>
                </c:pt>
                <c:pt idx="3793">
                  <c:v>40029</c:v>
                </c:pt>
                <c:pt idx="3794">
                  <c:v>40030</c:v>
                </c:pt>
                <c:pt idx="3795">
                  <c:v>40031</c:v>
                </c:pt>
                <c:pt idx="3796">
                  <c:v>40032</c:v>
                </c:pt>
                <c:pt idx="3797">
                  <c:v>40035</c:v>
                </c:pt>
                <c:pt idx="3798">
                  <c:v>40036</c:v>
                </c:pt>
                <c:pt idx="3799">
                  <c:v>40037</c:v>
                </c:pt>
                <c:pt idx="3800">
                  <c:v>40038</c:v>
                </c:pt>
                <c:pt idx="3801">
                  <c:v>40039</c:v>
                </c:pt>
                <c:pt idx="3802">
                  <c:v>40042</c:v>
                </c:pt>
                <c:pt idx="3803">
                  <c:v>40043</c:v>
                </c:pt>
                <c:pt idx="3804">
                  <c:v>40044</c:v>
                </c:pt>
                <c:pt idx="3805">
                  <c:v>40045</c:v>
                </c:pt>
                <c:pt idx="3806">
                  <c:v>40046</c:v>
                </c:pt>
                <c:pt idx="3807">
                  <c:v>40049</c:v>
                </c:pt>
                <c:pt idx="3808">
                  <c:v>40050</c:v>
                </c:pt>
                <c:pt idx="3809">
                  <c:v>40051</c:v>
                </c:pt>
                <c:pt idx="3810">
                  <c:v>40052</c:v>
                </c:pt>
                <c:pt idx="3811">
                  <c:v>40053</c:v>
                </c:pt>
                <c:pt idx="3812">
                  <c:v>40056</c:v>
                </c:pt>
                <c:pt idx="3813">
                  <c:v>40057</c:v>
                </c:pt>
                <c:pt idx="3814">
                  <c:v>40058</c:v>
                </c:pt>
                <c:pt idx="3815">
                  <c:v>40059</c:v>
                </c:pt>
                <c:pt idx="3816">
                  <c:v>40060</c:v>
                </c:pt>
                <c:pt idx="3817">
                  <c:v>40063</c:v>
                </c:pt>
                <c:pt idx="3818">
                  <c:v>40064</c:v>
                </c:pt>
                <c:pt idx="3819">
                  <c:v>40065</c:v>
                </c:pt>
                <c:pt idx="3820">
                  <c:v>40066</c:v>
                </c:pt>
                <c:pt idx="3821">
                  <c:v>40067</c:v>
                </c:pt>
                <c:pt idx="3822">
                  <c:v>40070</c:v>
                </c:pt>
                <c:pt idx="3823">
                  <c:v>40071</c:v>
                </c:pt>
                <c:pt idx="3824">
                  <c:v>40072</c:v>
                </c:pt>
                <c:pt idx="3825">
                  <c:v>40073</c:v>
                </c:pt>
                <c:pt idx="3826">
                  <c:v>40074</c:v>
                </c:pt>
                <c:pt idx="3827">
                  <c:v>40077</c:v>
                </c:pt>
                <c:pt idx="3828">
                  <c:v>40078</c:v>
                </c:pt>
                <c:pt idx="3829">
                  <c:v>40079</c:v>
                </c:pt>
                <c:pt idx="3830">
                  <c:v>40080</c:v>
                </c:pt>
                <c:pt idx="3831">
                  <c:v>40081</c:v>
                </c:pt>
                <c:pt idx="3832">
                  <c:v>40084</c:v>
                </c:pt>
                <c:pt idx="3833">
                  <c:v>40085</c:v>
                </c:pt>
                <c:pt idx="3834">
                  <c:v>40086</c:v>
                </c:pt>
                <c:pt idx="3835">
                  <c:v>40087</c:v>
                </c:pt>
                <c:pt idx="3836">
                  <c:v>40088</c:v>
                </c:pt>
                <c:pt idx="3837">
                  <c:v>40091</c:v>
                </c:pt>
                <c:pt idx="3838">
                  <c:v>40092</c:v>
                </c:pt>
                <c:pt idx="3839">
                  <c:v>40093</c:v>
                </c:pt>
                <c:pt idx="3840">
                  <c:v>40094</c:v>
                </c:pt>
                <c:pt idx="3841">
                  <c:v>40095</c:v>
                </c:pt>
                <c:pt idx="3842">
                  <c:v>40098</c:v>
                </c:pt>
                <c:pt idx="3843">
                  <c:v>40099</c:v>
                </c:pt>
                <c:pt idx="3844">
                  <c:v>40100</c:v>
                </c:pt>
                <c:pt idx="3845">
                  <c:v>40101</c:v>
                </c:pt>
                <c:pt idx="3846">
                  <c:v>40102</c:v>
                </c:pt>
                <c:pt idx="3847">
                  <c:v>40105</c:v>
                </c:pt>
                <c:pt idx="3848">
                  <c:v>40106</c:v>
                </c:pt>
                <c:pt idx="3849">
                  <c:v>40107</c:v>
                </c:pt>
                <c:pt idx="3850">
                  <c:v>40108</c:v>
                </c:pt>
                <c:pt idx="3851">
                  <c:v>40109</c:v>
                </c:pt>
                <c:pt idx="3852">
                  <c:v>40112</c:v>
                </c:pt>
                <c:pt idx="3853">
                  <c:v>40113</c:v>
                </c:pt>
                <c:pt idx="3854">
                  <c:v>40114</c:v>
                </c:pt>
                <c:pt idx="3855">
                  <c:v>40115</c:v>
                </c:pt>
                <c:pt idx="3856">
                  <c:v>40116</c:v>
                </c:pt>
                <c:pt idx="3857">
                  <c:v>40119</c:v>
                </c:pt>
                <c:pt idx="3858">
                  <c:v>40120</c:v>
                </c:pt>
                <c:pt idx="3859">
                  <c:v>40121</c:v>
                </c:pt>
                <c:pt idx="3860">
                  <c:v>40122</c:v>
                </c:pt>
                <c:pt idx="3861">
                  <c:v>40123</c:v>
                </c:pt>
                <c:pt idx="3862">
                  <c:v>40126</c:v>
                </c:pt>
                <c:pt idx="3863">
                  <c:v>40127</c:v>
                </c:pt>
                <c:pt idx="3864">
                  <c:v>40128</c:v>
                </c:pt>
                <c:pt idx="3865">
                  <c:v>40129</c:v>
                </c:pt>
                <c:pt idx="3866">
                  <c:v>40130</c:v>
                </c:pt>
                <c:pt idx="3867">
                  <c:v>40133</c:v>
                </c:pt>
                <c:pt idx="3868">
                  <c:v>40134</c:v>
                </c:pt>
                <c:pt idx="3869">
                  <c:v>40135</c:v>
                </c:pt>
                <c:pt idx="3870">
                  <c:v>40136</c:v>
                </c:pt>
                <c:pt idx="3871">
                  <c:v>40137</c:v>
                </c:pt>
                <c:pt idx="3872">
                  <c:v>40140</c:v>
                </c:pt>
                <c:pt idx="3873">
                  <c:v>40141</c:v>
                </c:pt>
                <c:pt idx="3874">
                  <c:v>40142</c:v>
                </c:pt>
                <c:pt idx="3875">
                  <c:v>40143</c:v>
                </c:pt>
                <c:pt idx="3876">
                  <c:v>40144</c:v>
                </c:pt>
                <c:pt idx="3877">
                  <c:v>40147</c:v>
                </c:pt>
                <c:pt idx="3878">
                  <c:v>40148</c:v>
                </c:pt>
                <c:pt idx="3879">
                  <c:v>40149</c:v>
                </c:pt>
                <c:pt idx="3880">
                  <c:v>40150</c:v>
                </c:pt>
                <c:pt idx="3881">
                  <c:v>40151</c:v>
                </c:pt>
                <c:pt idx="3882">
                  <c:v>40154</c:v>
                </c:pt>
                <c:pt idx="3883">
                  <c:v>40155</c:v>
                </c:pt>
                <c:pt idx="3884">
                  <c:v>40156</c:v>
                </c:pt>
                <c:pt idx="3885">
                  <c:v>40157</c:v>
                </c:pt>
                <c:pt idx="3886">
                  <c:v>40158</c:v>
                </c:pt>
                <c:pt idx="3887">
                  <c:v>40161</c:v>
                </c:pt>
                <c:pt idx="3888">
                  <c:v>40162</c:v>
                </c:pt>
                <c:pt idx="3889">
                  <c:v>40163</c:v>
                </c:pt>
                <c:pt idx="3890">
                  <c:v>40164</c:v>
                </c:pt>
                <c:pt idx="3891">
                  <c:v>40165</c:v>
                </c:pt>
                <c:pt idx="3892">
                  <c:v>40168</c:v>
                </c:pt>
                <c:pt idx="3893">
                  <c:v>40169</c:v>
                </c:pt>
                <c:pt idx="3894">
                  <c:v>40170</c:v>
                </c:pt>
                <c:pt idx="3895">
                  <c:v>40171</c:v>
                </c:pt>
                <c:pt idx="3896">
                  <c:v>40172</c:v>
                </c:pt>
                <c:pt idx="3897">
                  <c:v>40175</c:v>
                </c:pt>
                <c:pt idx="3898">
                  <c:v>40176</c:v>
                </c:pt>
                <c:pt idx="3899">
                  <c:v>40177</c:v>
                </c:pt>
                <c:pt idx="3900">
                  <c:v>40178</c:v>
                </c:pt>
                <c:pt idx="3901">
                  <c:v>40179</c:v>
                </c:pt>
                <c:pt idx="3902">
                  <c:v>40182</c:v>
                </c:pt>
                <c:pt idx="3903">
                  <c:v>40183</c:v>
                </c:pt>
                <c:pt idx="3904">
                  <c:v>40184</c:v>
                </c:pt>
                <c:pt idx="3905">
                  <c:v>40185</c:v>
                </c:pt>
                <c:pt idx="3906">
                  <c:v>40186</c:v>
                </c:pt>
                <c:pt idx="3907">
                  <c:v>40189</c:v>
                </c:pt>
                <c:pt idx="3908">
                  <c:v>40190</c:v>
                </c:pt>
                <c:pt idx="3909">
                  <c:v>40191</c:v>
                </c:pt>
                <c:pt idx="3910">
                  <c:v>40192</c:v>
                </c:pt>
                <c:pt idx="3911">
                  <c:v>40193</c:v>
                </c:pt>
                <c:pt idx="3912">
                  <c:v>40196</c:v>
                </c:pt>
                <c:pt idx="3913">
                  <c:v>40197</c:v>
                </c:pt>
                <c:pt idx="3914">
                  <c:v>40198</c:v>
                </c:pt>
                <c:pt idx="3915">
                  <c:v>40199</c:v>
                </c:pt>
                <c:pt idx="3916">
                  <c:v>40200</c:v>
                </c:pt>
                <c:pt idx="3917">
                  <c:v>40203</c:v>
                </c:pt>
                <c:pt idx="3918">
                  <c:v>40204</c:v>
                </c:pt>
                <c:pt idx="3919">
                  <c:v>40205</c:v>
                </c:pt>
                <c:pt idx="3920">
                  <c:v>40206</c:v>
                </c:pt>
                <c:pt idx="3921">
                  <c:v>40207</c:v>
                </c:pt>
                <c:pt idx="3922">
                  <c:v>40210</c:v>
                </c:pt>
                <c:pt idx="3923">
                  <c:v>40211</c:v>
                </c:pt>
                <c:pt idx="3924">
                  <c:v>40212</c:v>
                </c:pt>
                <c:pt idx="3925">
                  <c:v>40213</c:v>
                </c:pt>
                <c:pt idx="3926">
                  <c:v>40214</c:v>
                </c:pt>
                <c:pt idx="3927">
                  <c:v>40217</c:v>
                </c:pt>
                <c:pt idx="3928">
                  <c:v>40218</c:v>
                </c:pt>
                <c:pt idx="3929">
                  <c:v>40219</c:v>
                </c:pt>
                <c:pt idx="3930">
                  <c:v>40220</c:v>
                </c:pt>
                <c:pt idx="3931">
                  <c:v>40221</c:v>
                </c:pt>
                <c:pt idx="3932">
                  <c:v>40224</c:v>
                </c:pt>
                <c:pt idx="3933">
                  <c:v>40225</c:v>
                </c:pt>
                <c:pt idx="3934">
                  <c:v>40226</c:v>
                </c:pt>
                <c:pt idx="3935">
                  <c:v>40227</c:v>
                </c:pt>
                <c:pt idx="3936">
                  <c:v>40228</c:v>
                </c:pt>
                <c:pt idx="3937">
                  <c:v>40231</c:v>
                </c:pt>
                <c:pt idx="3938">
                  <c:v>40232</c:v>
                </c:pt>
                <c:pt idx="3939">
                  <c:v>40233</c:v>
                </c:pt>
                <c:pt idx="3940">
                  <c:v>40234</c:v>
                </c:pt>
                <c:pt idx="3941">
                  <c:v>40235</c:v>
                </c:pt>
                <c:pt idx="3942">
                  <c:v>40238</c:v>
                </c:pt>
                <c:pt idx="3943">
                  <c:v>40239</c:v>
                </c:pt>
                <c:pt idx="3944">
                  <c:v>40240</c:v>
                </c:pt>
                <c:pt idx="3945">
                  <c:v>40241</c:v>
                </c:pt>
                <c:pt idx="3946">
                  <c:v>40242</c:v>
                </c:pt>
                <c:pt idx="3947">
                  <c:v>40245</c:v>
                </c:pt>
                <c:pt idx="3948">
                  <c:v>40246</c:v>
                </c:pt>
                <c:pt idx="3949">
                  <c:v>40247</c:v>
                </c:pt>
                <c:pt idx="3950">
                  <c:v>40248</c:v>
                </c:pt>
                <c:pt idx="3951">
                  <c:v>40249</c:v>
                </c:pt>
                <c:pt idx="3952">
                  <c:v>40252</c:v>
                </c:pt>
                <c:pt idx="3953">
                  <c:v>40253</c:v>
                </c:pt>
                <c:pt idx="3954">
                  <c:v>40254</c:v>
                </c:pt>
                <c:pt idx="3955">
                  <c:v>40255</c:v>
                </c:pt>
                <c:pt idx="3956">
                  <c:v>40256</c:v>
                </c:pt>
                <c:pt idx="3957">
                  <c:v>40259</c:v>
                </c:pt>
                <c:pt idx="3958">
                  <c:v>40260</c:v>
                </c:pt>
                <c:pt idx="3959">
                  <c:v>40261</c:v>
                </c:pt>
                <c:pt idx="3960">
                  <c:v>40262</c:v>
                </c:pt>
                <c:pt idx="3961">
                  <c:v>40263</c:v>
                </c:pt>
                <c:pt idx="3962">
                  <c:v>40266</c:v>
                </c:pt>
                <c:pt idx="3963">
                  <c:v>40267</c:v>
                </c:pt>
                <c:pt idx="3964">
                  <c:v>40268</c:v>
                </c:pt>
                <c:pt idx="3965">
                  <c:v>40269</c:v>
                </c:pt>
                <c:pt idx="3966">
                  <c:v>40270</c:v>
                </c:pt>
                <c:pt idx="3967">
                  <c:v>40273</c:v>
                </c:pt>
                <c:pt idx="3968">
                  <c:v>40274</c:v>
                </c:pt>
                <c:pt idx="3969">
                  <c:v>40275</c:v>
                </c:pt>
                <c:pt idx="3970">
                  <c:v>40276</c:v>
                </c:pt>
                <c:pt idx="3971">
                  <c:v>40277</c:v>
                </c:pt>
                <c:pt idx="3972">
                  <c:v>40280</c:v>
                </c:pt>
                <c:pt idx="3973">
                  <c:v>40281</c:v>
                </c:pt>
                <c:pt idx="3974">
                  <c:v>40282</c:v>
                </c:pt>
                <c:pt idx="3975">
                  <c:v>40283</c:v>
                </c:pt>
                <c:pt idx="3976">
                  <c:v>40284</c:v>
                </c:pt>
                <c:pt idx="3977">
                  <c:v>40287</c:v>
                </c:pt>
                <c:pt idx="3978">
                  <c:v>40288</c:v>
                </c:pt>
                <c:pt idx="3979">
                  <c:v>40289</c:v>
                </c:pt>
                <c:pt idx="3980">
                  <c:v>40290</c:v>
                </c:pt>
                <c:pt idx="3981">
                  <c:v>40291</c:v>
                </c:pt>
                <c:pt idx="3982">
                  <c:v>40294</c:v>
                </c:pt>
                <c:pt idx="3983">
                  <c:v>40295</c:v>
                </c:pt>
                <c:pt idx="3984">
                  <c:v>40296</c:v>
                </c:pt>
                <c:pt idx="3985">
                  <c:v>40297</c:v>
                </c:pt>
                <c:pt idx="3986">
                  <c:v>40298</c:v>
                </c:pt>
                <c:pt idx="3987">
                  <c:v>40301</c:v>
                </c:pt>
                <c:pt idx="3988">
                  <c:v>40302</c:v>
                </c:pt>
                <c:pt idx="3989">
                  <c:v>40303</c:v>
                </c:pt>
                <c:pt idx="3990">
                  <c:v>40304</c:v>
                </c:pt>
                <c:pt idx="3991">
                  <c:v>40305</c:v>
                </c:pt>
                <c:pt idx="3992">
                  <c:v>40308</c:v>
                </c:pt>
                <c:pt idx="3993">
                  <c:v>40309</c:v>
                </c:pt>
                <c:pt idx="3994">
                  <c:v>40310</c:v>
                </c:pt>
                <c:pt idx="3995">
                  <c:v>40311</c:v>
                </c:pt>
                <c:pt idx="3996">
                  <c:v>40312</c:v>
                </c:pt>
                <c:pt idx="3997">
                  <c:v>40315</c:v>
                </c:pt>
                <c:pt idx="3998">
                  <c:v>40316</c:v>
                </c:pt>
                <c:pt idx="3999">
                  <c:v>40317</c:v>
                </c:pt>
                <c:pt idx="4000">
                  <c:v>40318</c:v>
                </c:pt>
                <c:pt idx="4001">
                  <c:v>40319</c:v>
                </c:pt>
                <c:pt idx="4002">
                  <c:v>40322</c:v>
                </c:pt>
                <c:pt idx="4003">
                  <c:v>40323</c:v>
                </c:pt>
                <c:pt idx="4004">
                  <c:v>40324</c:v>
                </c:pt>
                <c:pt idx="4005">
                  <c:v>40325</c:v>
                </c:pt>
                <c:pt idx="4006">
                  <c:v>40326</c:v>
                </c:pt>
                <c:pt idx="4007">
                  <c:v>40329</c:v>
                </c:pt>
                <c:pt idx="4008">
                  <c:v>40330</c:v>
                </c:pt>
                <c:pt idx="4009">
                  <c:v>40331</c:v>
                </c:pt>
                <c:pt idx="4010">
                  <c:v>40332</c:v>
                </c:pt>
                <c:pt idx="4011">
                  <c:v>40333</c:v>
                </c:pt>
                <c:pt idx="4012">
                  <c:v>40336</c:v>
                </c:pt>
                <c:pt idx="4013">
                  <c:v>40337</c:v>
                </c:pt>
                <c:pt idx="4014">
                  <c:v>40338</c:v>
                </c:pt>
                <c:pt idx="4015">
                  <c:v>40339</c:v>
                </c:pt>
                <c:pt idx="4016">
                  <c:v>40340</c:v>
                </c:pt>
                <c:pt idx="4017">
                  <c:v>40343</c:v>
                </c:pt>
                <c:pt idx="4018">
                  <c:v>40344</c:v>
                </c:pt>
                <c:pt idx="4019">
                  <c:v>40345</c:v>
                </c:pt>
                <c:pt idx="4020">
                  <c:v>40346</c:v>
                </c:pt>
                <c:pt idx="4021">
                  <c:v>40347</c:v>
                </c:pt>
                <c:pt idx="4022">
                  <c:v>40350</c:v>
                </c:pt>
                <c:pt idx="4023">
                  <c:v>40351</c:v>
                </c:pt>
                <c:pt idx="4024">
                  <c:v>40352</c:v>
                </c:pt>
                <c:pt idx="4025">
                  <c:v>40353</c:v>
                </c:pt>
                <c:pt idx="4026">
                  <c:v>40354</c:v>
                </c:pt>
                <c:pt idx="4027">
                  <c:v>40357</c:v>
                </c:pt>
                <c:pt idx="4028">
                  <c:v>40358</c:v>
                </c:pt>
                <c:pt idx="4029">
                  <c:v>40359</c:v>
                </c:pt>
                <c:pt idx="4030">
                  <c:v>40360</c:v>
                </c:pt>
                <c:pt idx="4031">
                  <c:v>40361</c:v>
                </c:pt>
                <c:pt idx="4032">
                  <c:v>40364</c:v>
                </c:pt>
                <c:pt idx="4033">
                  <c:v>40365</c:v>
                </c:pt>
                <c:pt idx="4034">
                  <c:v>40366</c:v>
                </c:pt>
                <c:pt idx="4035">
                  <c:v>40367</c:v>
                </c:pt>
                <c:pt idx="4036">
                  <c:v>40368</c:v>
                </c:pt>
                <c:pt idx="4037">
                  <c:v>40371</c:v>
                </c:pt>
                <c:pt idx="4038">
                  <c:v>40372</c:v>
                </c:pt>
                <c:pt idx="4039">
                  <c:v>40373</c:v>
                </c:pt>
                <c:pt idx="4040">
                  <c:v>40374</c:v>
                </c:pt>
                <c:pt idx="4041">
                  <c:v>40375</c:v>
                </c:pt>
                <c:pt idx="4042">
                  <c:v>40378</c:v>
                </c:pt>
                <c:pt idx="4043">
                  <c:v>40379</c:v>
                </c:pt>
                <c:pt idx="4044">
                  <c:v>40380</c:v>
                </c:pt>
                <c:pt idx="4045">
                  <c:v>40381</c:v>
                </c:pt>
                <c:pt idx="4046">
                  <c:v>40382</c:v>
                </c:pt>
                <c:pt idx="4047">
                  <c:v>40385</c:v>
                </c:pt>
                <c:pt idx="4048">
                  <c:v>40386</c:v>
                </c:pt>
                <c:pt idx="4049">
                  <c:v>40387</c:v>
                </c:pt>
                <c:pt idx="4050">
                  <c:v>40388</c:v>
                </c:pt>
                <c:pt idx="4051">
                  <c:v>40389</c:v>
                </c:pt>
                <c:pt idx="4052">
                  <c:v>40392</c:v>
                </c:pt>
                <c:pt idx="4053">
                  <c:v>40393</c:v>
                </c:pt>
                <c:pt idx="4054">
                  <c:v>40394</c:v>
                </c:pt>
                <c:pt idx="4055">
                  <c:v>40395</c:v>
                </c:pt>
                <c:pt idx="4056">
                  <c:v>40396</c:v>
                </c:pt>
                <c:pt idx="4057">
                  <c:v>40399</c:v>
                </c:pt>
                <c:pt idx="4058">
                  <c:v>40400</c:v>
                </c:pt>
                <c:pt idx="4059">
                  <c:v>40401</c:v>
                </c:pt>
                <c:pt idx="4060">
                  <c:v>40402</c:v>
                </c:pt>
                <c:pt idx="4061">
                  <c:v>40403</c:v>
                </c:pt>
                <c:pt idx="4062">
                  <c:v>40406</c:v>
                </c:pt>
                <c:pt idx="4063">
                  <c:v>40407</c:v>
                </c:pt>
                <c:pt idx="4064">
                  <c:v>40408</c:v>
                </c:pt>
                <c:pt idx="4065">
                  <c:v>40409</c:v>
                </c:pt>
                <c:pt idx="4066">
                  <c:v>40410</c:v>
                </c:pt>
                <c:pt idx="4067">
                  <c:v>40413</c:v>
                </c:pt>
                <c:pt idx="4068">
                  <c:v>40414</c:v>
                </c:pt>
                <c:pt idx="4069">
                  <c:v>40415</c:v>
                </c:pt>
                <c:pt idx="4070">
                  <c:v>40416</c:v>
                </c:pt>
                <c:pt idx="4071">
                  <c:v>40417</c:v>
                </c:pt>
                <c:pt idx="4072">
                  <c:v>40420</c:v>
                </c:pt>
                <c:pt idx="4073">
                  <c:v>40421</c:v>
                </c:pt>
                <c:pt idx="4074">
                  <c:v>40422</c:v>
                </c:pt>
                <c:pt idx="4075">
                  <c:v>40423</c:v>
                </c:pt>
                <c:pt idx="4076">
                  <c:v>40424</c:v>
                </c:pt>
                <c:pt idx="4077">
                  <c:v>40427</c:v>
                </c:pt>
                <c:pt idx="4078">
                  <c:v>40428</c:v>
                </c:pt>
                <c:pt idx="4079">
                  <c:v>40429</c:v>
                </c:pt>
                <c:pt idx="4080">
                  <c:v>40430</c:v>
                </c:pt>
                <c:pt idx="4081">
                  <c:v>40431</c:v>
                </c:pt>
                <c:pt idx="4082">
                  <c:v>40434</c:v>
                </c:pt>
                <c:pt idx="4083">
                  <c:v>40435</c:v>
                </c:pt>
                <c:pt idx="4084">
                  <c:v>40436</c:v>
                </c:pt>
                <c:pt idx="4085">
                  <c:v>40437</c:v>
                </c:pt>
                <c:pt idx="4086">
                  <c:v>40438</c:v>
                </c:pt>
                <c:pt idx="4087">
                  <c:v>40441</c:v>
                </c:pt>
                <c:pt idx="4088">
                  <c:v>40442</c:v>
                </c:pt>
                <c:pt idx="4089">
                  <c:v>40443</c:v>
                </c:pt>
                <c:pt idx="4090">
                  <c:v>40444</c:v>
                </c:pt>
                <c:pt idx="4091">
                  <c:v>40445</c:v>
                </c:pt>
                <c:pt idx="4092">
                  <c:v>40448</c:v>
                </c:pt>
                <c:pt idx="4093">
                  <c:v>40449</c:v>
                </c:pt>
                <c:pt idx="4094">
                  <c:v>40450</c:v>
                </c:pt>
                <c:pt idx="4095">
                  <c:v>40451</c:v>
                </c:pt>
                <c:pt idx="4096">
                  <c:v>40452</c:v>
                </c:pt>
                <c:pt idx="4097">
                  <c:v>40455</c:v>
                </c:pt>
                <c:pt idx="4098">
                  <c:v>40456</c:v>
                </c:pt>
                <c:pt idx="4099">
                  <c:v>40457</c:v>
                </c:pt>
                <c:pt idx="4100">
                  <c:v>40458</c:v>
                </c:pt>
                <c:pt idx="4101">
                  <c:v>40459</c:v>
                </c:pt>
                <c:pt idx="4102">
                  <c:v>40462</c:v>
                </c:pt>
                <c:pt idx="4103">
                  <c:v>40463</c:v>
                </c:pt>
                <c:pt idx="4104">
                  <c:v>40464</c:v>
                </c:pt>
                <c:pt idx="4105">
                  <c:v>40465</c:v>
                </c:pt>
                <c:pt idx="4106">
                  <c:v>40466</c:v>
                </c:pt>
                <c:pt idx="4107">
                  <c:v>40469</c:v>
                </c:pt>
                <c:pt idx="4108">
                  <c:v>40470</c:v>
                </c:pt>
                <c:pt idx="4109">
                  <c:v>40471</c:v>
                </c:pt>
                <c:pt idx="4110">
                  <c:v>40472</c:v>
                </c:pt>
                <c:pt idx="4111">
                  <c:v>40473</c:v>
                </c:pt>
                <c:pt idx="4112">
                  <c:v>40476</c:v>
                </c:pt>
                <c:pt idx="4113">
                  <c:v>40477</c:v>
                </c:pt>
                <c:pt idx="4114">
                  <c:v>40478</c:v>
                </c:pt>
                <c:pt idx="4115">
                  <c:v>40479</c:v>
                </c:pt>
                <c:pt idx="4116">
                  <c:v>40480</c:v>
                </c:pt>
                <c:pt idx="4117">
                  <c:v>40483</c:v>
                </c:pt>
                <c:pt idx="4118">
                  <c:v>40484</c:v>
                </c:pt>
                <c:pt idx="4119">
                  <c:v>40485</c:v>
                </c:pt>
                <c:pt idx="4120">
                  <c:v>40486</c:v>
                </c:pt>
                <c:pt idx="4121">
                  <c:v>40487</c:v>
                </c:pt>
                <c:pt idx="4122">
                  <c:v>40490</c:v>
                </c:pt>
                <c:pt idx="4123">
                  <c:v>40491</c:v>
                </c:pt>
                <c:pt idx="4124">
                  <c:v>40492</c:v>
                </c:pt>
                <c:pt idx="4125">
                  <c:v>40493</c:v>
                </c:pt>
                <c:pt idx="4126">
                  <c:v>40494</c:v>
                </c:pt>
                <c:pt idx="4127">
                  <c:v>40497</c:v>
                </c:pt>
                <c:pt idx="4128">
                  <c:v>40498</c:v>
                </c:pt>
                <c:pt idx="4129">
                  <c:v>40499</c:v>
                </c:pt>
                <c:pt idx="4130">
                  <c:v>40500</c:v>
                </c:pt>
                <c:pt idx="4131">
                  <c:v>40501</c:v>
                </c:pt>
                <c:pt idx="4132">
                  <c:v>40504</c:v>
                </c:pt>
                <c:pt idx="4133">
                  <c:v>40505</c:v>
                </c:pt>
                <c:pt idx="4134">
                  <c:v>40506</c:v>
                </c:pt>
                <c:pt idx="4135">
                  <c:v>40507</c:v>
                </c:pt>
                <c:pt idx="4136">
                  <c:v>40508</c:v>
                </c:pt>
                <c:pt idx="4137">
                  <c:v>40511</c:v>
                </c:pt>
                <c:pt idx="4138">
                  <c:v>40512</c:v>
                </c:pt>
                <c:pt idx="4139">
                  <c:v>40513</c:v>
                </c:pt>
                <c:pt idx="4140">
                  <c:v>40514</c:v>
                </c:pt>
                <c:pt idx="4141">
                  <c:v>40515</c:v>
                </c:pt>
                <c:pt idx="4142">
                  <c:v>40518</c:v>
                </c:pt>
                <c:pt idx="4143">
                  <c:v>40519</c:v>
                </c:pt>
                <c:pt idx="4144">
                  <c:v>40520</c:v>
                </c:pt>
                <c:pt idx="4145">
                  <c:v>40521</c:v>
                </c:pt>
                <c:pt idx="4146">
                  <c:v>40522</c:v>
                </c:pt>
                <c:pt idx="4147">
                  <c:v>40525</c:v>
                </c:pt>
                <c:pt idx="4148">
                  <c:v>40526</c:v>
                </c:pt>
                <c:pt idx="4149">
                  <c:v>40527</c:v>
                </c:pt>
                <c:pt idx="4150">
                  <c:v>40528</c:v>
                </c:pt>
                <c:pt idx="4151">
                  <c:v>40529</c:v>
                </c:pt>
                <c:pt idx="4152">
                  <c:v>40532</c:v>
                </c:pt>
                <c:pt idx="4153">
                  <c:v>40533</c:v>
                </c:pt>
                <c:pt idx="4154">
                  <c:v>40534</c:v>
                </c:pt>
                <c:pt idx="4155">
                  <c:v>40535</c:v>
                </c:pt>
                <c:pt idx="4156">
                  <c:v>40536</c:v>
                </c:pt>
                <c:pt idx="4157">
                  <c:v>40539</c:v>
                </c:pt>
                <c:pt idx="4158">
                  <c:v>40540</c:v>
                </c:pt>
                <c:pt idx="4159">
                  <c:v>40541</c:v>
                </c:pt>
                <c:pt idx="4160">
                  <c:v>40542</c:v>
                </c:pt>
                <c:pt idx="4161">
                  <c:v>40543</c:v>
                </c:pt>
                <c:pt idx="4162">
                  <c:v>40546</c:v>
                </c:pt>
                <c:pt idx="4163">
                  <c:v>40547</c:v>
                </c:pt>
                <c:pt idx="4164">
                  <c:v>40548</c:v>
                </c:pt>
                <c:pt idx="4165">
                  <c:v>40549</c:v>
                </c:pt>
                <c:pt idx="4166">
                  <c:v>40550</c:v>
                </c:pt>
                <c:pt idx="4167">
                  <c:v>40553</c:v>
                </c:pt>
                <c:pt idx="4168">
                  <c:v>40554</c:v>
                </c:pt>
                <c:pt idx="4169">
                  <c:v>40555</c:v>
                </c:pt>
                <c:pt idx="4170">
                  <c:v>40556</c:v>
                </c:pt>
                <c:pt idx="4171">
                  <c:v>40557</c:v>
                </c:pt>
                <c:pt idx="4172">
                  <c:v>40560</c:v>
                </c:pt>
                <c:pt idx="4173">
                  <c:v>40561</c:v>
                </c:pt>
                <c:pt idx="4174">
                  <c:v>40562</c:v>
                </c:pt>
                <c:pt idx="4175">
                  <c:v>40563</c:v>
                </c:pt>
                <c:pt idx="4176">
                  <c:v>40564</c:v>
                </c:pt>
                <c:pt idx="4177">
                  <c:v>40567</c:v>
                </c:pt>
                <c:pt idx="4178">
                  <c:v>40568</c:v>
                </c:pt>
                <c:pt idx="4179">
                  <c:v>40569</c:v>
                </c:pt>
                <c:pt idx="4180">
                  <c:v>40570</c:v>
                </c:pt>
                <c:pt idx="4181">
                  <c:v>40571</c:v>
                </c:pt>
                <c:pt idx="4182">
                  <c:v>40574</c:v>
                </c:pt>
                <c:pt idx="4183">
                  <c:v>40575</c:v>
                </c:pt>
                <c:pt idx="4184">
                  <c:v>40576</c:v>
                </c:pt>
                <c:pt idx="4185">
                  <c:v>40577</c:v>
                </c:pt>
                <c:pt idx="4186">
                  <c:v>40578</c:v>
                </c:pt>
                <c:pt idx="4187">
                  <c:v>40581</c:v>
                </c:pt>
                <c:pt idx="4188">
                  <c:v>40582</c:v>
                </c:pt>
                <c:pt idx="4189">
                  <c:v>40583</c:v>
                </c:pt>
                <c:pt idx="4190">
                  <c:v>40584</c:v>
                </c:pt>
                <c:pt idx="4191">
                  <c:v>40585</c:v>
                </c:pt>
                <c:pt idx="4192">
                  <c:v>40588</c:v>
                </c:pt>
                <c:pt idx="4193">
                  <c:v>40589</c:v>
                </c:pt>
                <c:pt idx="4194">
                  <c:v>40590</c:v>
                </c:pt>
                <c:pt idx="4195">
                  <c:v>40591</c:v>
                </c:pt>
                <c:pt idx="4196">
                  <c:v>40592</c:v>
                </c:pt>
                <c:pt idx="4197">
                  <c:v>40595</c:v>
                </c:pt>
                <c:pt idx="4198">
                  <c:v>40596</c:v>
                </c:pt>
                <c:pt idx="4199">
                  <c:v>40597</c:v>
                </c:pt>
                <c:pt idx="4200">
                  <c:v>40598</c:v>
                </c:pt>
                <c:pt idx="4201">
                  <c:v>40599</c:v>
                </c:pt>
                <c:pt idx="4202">
                  <c:v>40602</c:v>
                </c:pt>
                <c:pt idx="4203">
                  <c:v>40603</c:v>
                </c:pt>
                <c:pt idx="4204">
                  <c:v>40604</c:v>
                </c:pt>
                <c:pt idx="4205">
                  <c:v>40605</c:v>
                </c:pt>
                <c:pt idx="4206">
                  <c:v>40606</c:v>
                </c:pt>
                <c:pt idx="4207">
                  <c:v>40609</c:v>
                </c:pt>
                <c:pt idx="4208">
                  <c:v>40610</c:v>
                </c:pt>
                <c:pt idx="4209">
                  <c:v>40611</c:v>
                </c:pt>
                <c:pt idx="4210">
                  <c:v>40612</c:v>
                </c:pt>
                <c:pt idx="4211">
                  <c:v>40613</c:v>
                </c:pt>
                <c:pt idx="4212">
                  <c:v>40616</c:v>
                </c:pt>
                <c:pt idx="4213">
                  <c:v>40617</c:v>
                </c:pt>
                <c:pt idx="4214">
                  <c:v>40618</c:v>
                </c:pt>
                <c:pt idx="4215">
                  <c:v>40619</c:v>
                </c:pt>
                <c:pt idx="4216">
                  <c:v>40620</c:v>
                </c:pt>
                <c:pt idx="4217">
                  <c:v>40623</c:v>
                </c:pt>
                <c:pt idx="4218">
                  <c:v>40624</c:v>
                </c:pt>
                <c:pt idx="4219">
                  <c:v>40625</c:v>
                </c:pt>
                <c:pt idx="4220">
                  <c:v>40626</c:v>
                </c:pt>
                <c:pt idx="4221">
                  <c:v>40627</c:v>
                </c:pt>
                <c:pt idx="4222">
                  <c:v>40630</c:v>
                </c:pt>
                <c:pt idx="4223">
                  <c:v>40631</c:v>
                </c:pt>
                <c:pt idx="4224">
                  <c:v>40632</c:v>
                </c:pt>
                <c:pt idx="4225">
                  <c:v>40633</c:v>
                </c:pt>
                <c:pt idx="4226">
                  <c:v>40634</c:v>
                </c:pt>
                <c:pt idx="4227">
                  <c:v>40637</c:v>
                </c:pt>
                <c:pt idx="4228">
                  <c:v>40638</c:v>
                </c:pt>
                <c:pt idx="4229">
                  <c:v>40639</c:v>
                </c:pt>
                <c:pt idx="4230">
                  <c:v>40640</c:v>
                </c:pt>
                <c:pt idx="4231">
                  <c:v>40641</c:v>
                </c:pt>
                <c:pt idx="4232">
                  <c:v>40644</c:v>
                </c:pt>
                <c:pt idx="4233">
                  <c:v>40645</c:v>
                </c:pt>
                <c:pt idx="4234">
                  <c:v>40646</c:v>
                </c:pt>
                <c:pt idx="4235">
                  <c:v>40647</c:v>
                </c:pt>
                <c:pt idx="4236">
                  <c:v>40648</c:v>
                </c:pt>
                <c:pt idx="4237">
                  <c:v>40651</c:v>
                </c:pt>
                <c:pt idx="4238">
                  <c:v>40652</c:v>
                </c:pt>
                <c:pt idx="4239">
                  <c:v>40653</c:v>
                </c:pt>
                <c:pt idx="4240">
                  <c:v>40654</c:v>
                </c:pt>
                <c:pt idx="4241">
                  <c:v>40655</c:v>
                </c:pt>
                <c:pt idx="4242">
                  <c:v>40658</c:v>
                </c:pt>
                <c:pt idx="4243">
                  <c:v>40659</c:v>
                </c:pt>
                <c:pt idx="4244">
                  <c:v>40660</c:v>
                </c:pt>
                <c:pt idx="4245">
                  <c:v>40661</c:v>
                </c:pt>
                <c:pt idx="4246">
                  <c:v>40662</c:v>
                </c:pt>
                <c:pt idx="4247">
                  <c:v>40665</c:v>
                </c:pt>
                <c:pt idx="4248">
                  <c:v>40666</c:v>
                </c:pt>
                <c:pt idx="4249">
                  <c:v>40667</c:v>
                </c:pt>
                <c:pt idx="4250">
                  <c:v>40668</c:v>
                </c:pt>
                <c:pt idx="4251">
                  <c:v>40669</c:v>
                </c:pt>
                <c:pt idx="4252">
                  <c:v>40672</c:v>
                </c:pt>
                <c:pt idx="4253">
                  <c:v>40673</c:v>
                </c:pt>
                <c:pt idx="4254">
                  <c:v>40674</c:v>
                </c:pt>
                <c:pt idx="4255">
                  <c:v>40675</c:v>
                </c:pt>
                <c:pt idx="4256">
                  <c:v>40676</c:v>
                </c:pt>
                <c:pt idx="4257">
                  <c:v>40679</c:v>
                </c:pt>
                <c:pt idx="4258">
                  <c:v>40680</c:v>
                </c:pt>
                <c:pt idx="4259">
                  <c:v>40681</c:v>
                </c:pt>
                <c:pt idx="4260">
                  <c:v>40682</c:v>
                </c:pt>
                <c:pt idx="4261">
                  <c:v>40683</c:v>
                </c:pt>
                <c:pt idx="4262">
                  <c:v>40686</c:v>
                </c:pt>
                <c:pt idx="4263">
                  <c:v>40687</c:v>
                </c:pt>
                <c:pt idx="4264">
                  <c:v>40688</c:v>
                </c:pt>
                <c:pt idx="4265">
                  <c:v>40689</c:v>
                </c:pt>
                <c:pt idx="4266">
                  <c:v>40690</c:v>
                </c:pt>
                <c:pt idx="4267">
                  <c:v>40693</c:v>
                </c:pt>
                <c:pt idx="4268">
                  <c:v>40694</c:v>
                </c:pt>
                <c:pt idx="4269">
                  <c:v>40695</c:v>
                </c:pt>
                <c:pt idx="4270">
                  <c:v>40696</c:v>
                </c:pt>
                <c:pt idx="4271">
                  <c:v>40697</c:v>
                </c:pt>
                <c:pt idx="4272">
                  <c:v>40700</c:v>
                </c:pt>
                <c:pt idx="4273">
                  <c:v>40701</c:v>
                </c:pt>
                <c:pt idx="4274">
                  <c:v>40702</c:v>
                </c:pt>
                <c:pt idx="4275">
                  <c:v>40703</c:v>
                </c:pt>
                <c:pt idx="4276">
                  <c:v>40704</c:v>
                </c:pt>
                <c:pt idx="4277">
                  <c:v>40707</c:v>
                </c:pt>
                <c:pt idx="4278">
                  <c:v>40708</c:v>
                </c:pt>
                <c:pt idx="4279">
                  <c:v>40709</c:v>
                </c:pt>
                <c:pt idx="4280">
                  <c:v>40710</c:v>
                </c:pt>
                <c:pt idx="4281">
                  <c:v>40711</c:v>
                </c:pt>
                <c:pt idx="4282">
                  <c:v>40714</c:v>
                </c:pt>
                <c:pt idx="4283">
                  <c:v>40715</c:v>
                </c:pt>
                <c:pt idx="4284">
                  <c:v>40716</c:v>
                </c:pt>
                <c:pt idx="4285">
                  <c:v>40717</c:v>
                </c:pt>
                <c:pt idx="4286">
                  <c:v>40718</c:v>
                </c:pt>
                <c:pt idx="4287">
                  <c:v>40721</c:v>
                </c:pt>
                <c:pt idx="4288">
                  <c:v>40722</c:v>
                </c:pt>
                <c:pt idx="4289">
                  <c:v>40723</c:v>
                </c:pt>
                <c:pt idx="4290">
                  <c:v>40724</c:v>
                </c:pt>
                <c:pt idx="4291">
                  <c:v>40725</c:v>
                </c:pt>
                <c:pt idx="4292">
                  <c:v>40728</c:v>
                </c:pt>
                <c:pt idx="4293">
                  <c:v>40729</c:v>
                </c:pt>
                <c:pt idx="4294">
                  <c:v>40730</c:v>
                </c:pt>
                <c:pt idx="4295">
                  <c:v>40731</c:v>
                </c:pt>
                <c:pt idx="4296">
                  <c:v>40732</c:v>
                </c:pt>
                <c:pt idx="4297">
                  <c:v>40735</c:v>
                </c:pt>
                <c:pt idx="4298">
                  <c:v>40736</c:v>
                </c:pt>
                <c:pt idx="4299">
                  <c:v>40737</c:v>
                </c:pt>
                <c:pt idx="4300">
                  <c:v>40738</c:v>
                </c:pt>
                <c:pt idx="4301">
                  <c:v>40739</c:v>
                </c:pt>
                <c:pt idx="4302">
                  <c:v>40742</c:v>
                </c:pt>
                <c:pt idx="4303">
                  <c:v>40743</c:v>
                </c:pt>
                <c:pt idx="4304">
                  <c:v>40744</c:v>
                </c:pt>
                <c:pt idx="4305">
                  <c:v>40745</c:v>
                </c:pt>
                <c:pt idx="4306">
                  <c:v>40746</c:v>
                </c:pt>
                <c:pt idx="4307">
                  <c:v>40749</c:v>
                </c:pt>
                <c:pt idx="4308">
                  <c:v>40750</c:v>
                </c:pt>
                <c:pt idx="4309">
                  <c:v>40751</c:v>
                </c:pt>
                <c:pt idx="4310">
                  <c:v>40752</c:v>
                </c:pt>
                <c:pt idx="4311">
                  <c:v>40753</c:v>
                </c:pt>
                <c:pt idx="4312">
                  <c:v>40756</c:v>
                </c:pt>
                <c:pt idx="4313">
                  <c:v>40757</c:v>
                </c:pt>
                <c:pt idx="4314">
                  <c:v>40758</c:v>
                </c:pt>
                <c:pt idx="4315">
                  <c:v>40759</c:v>
                </c:pt>
                <c:pt idx="4316">
                  <c:v>40760</c:v>
                </c:pt>
                <c:pt idx="4317">
                  <c:v>40763</c:v>
                </c:pt>
                <c:pt idx="4318">
                  <c:v>40764</c:v>
                </c:pt>
                <c:pt idx="4319">
                  <c:v>40765</c:v>
                </c:pt>
                <c:pt idx="4320">
                  <c:v>40766</c:v>
                </c:pt>
                <c:pt idx="4321">
                  <c:v>40767</c:v>
                </c:pt>
                <c:pt idx="4322">
                  <c:v>40770</c:v>
                </c:pt>
                <c:pt idx="4323">
                  <c:v>40771</c:v>
                </c:pt>
                <c:pt idx="4324">
                  <c:v>40772</c:v>
                </c:pt>
                <c:pt idx="4325">
                  <c:v>40773</c:v>
                </c:pt>
                <c:pt idx="4326">
                  <c:v>40774</c:v>
                </c:pt>
                <c:pt idx="4327">
                  <c:v>40777</c:v>
                </c:pt>
                <c:pt idx="4328">
                  <c:v>40778</c:v>
                </c:pt>
                <c:pt idx="4329">
                  <c:v>40779</c:v>
                </c:pt>
                <c:pt idx="4330">
                  <c:v>40780</c:v>
                </c:pt>
                <c:pt idx="4331">
                  <c:v>40781</c:v>
                </c:pt>
                <c:pt idx="4332">
                  <c:v>40784</c:v>
                </c:pt>
                <c:pt idx="4333">
                  <c:v>40785</c:v>
                </c:pt>
                <c:pt idx="4334">
                  <c:v>40786</c:v>
                </c:pt>
                <c:pt idx="4335">
                  <c:v>40787</c:v>
                </c:pt>
                <c:pt idx="4336">
                  <c:v>40788</c:v>
                </c:pt>
                <c:pt idx="4337">
                  <c:v>40791</c:v>
                </c:pt>
                <c:pt idx="4338">
                  <c:v>40792</c:v>
                </c:pt>
                <c:pt idx="4339">
                  <c:v>40793</c:v>
                </c:pt>
                <c:pt idx="4340">
                  <c:v>40794</c:v>
                </c:pt>
                <c:pt idx="4341">
                  <c:v>40795</c:v>
                </c:pt>
                <c:pt idx="4342">
                  <c:v>40798</c:v>
                </c:pt>
                <c:pt idx="4343">
                  <c:v>40799</c:v>
                </c:pt>
                <c:pt idx="4344">
                  <c:v>40800</c:v>
                </c:pt>
                <c:pt idx="4345">
                  <c:v>40801</c:v>
                </c:pt>
                <c:pt idx="4346">
                  <c:v>40802</c:v>
                </c:pt>
                <c:pt idx="4347">
                  <c:v>40805</c:v>
                </c:pt>
                <c:pt idx="4348">
                  <c:v>40806</c:v>
                </c:pt>
                <c:pt idx="4349">
                  <c:v>40807</c:v>
                </c:pt>
                <c:pt idx="4350">
                  <c:v>40808</c:v>
                </c:pt>
                <c:pt idx="4351">
                  <c:v>40809</c:v>
                </c:pt>
                <c:pt idx="4352">
                  <c:v>40812</c:v>
                </c:pt>
                <c:pt idx="4353">
                  <c:v>40813</c:v>
                </c:pt>
                <c:pt idx="4354">
                  <c:v>40814</c:v>
                </c:pt>
                <c:pt idx="4355">
                  <c:v>40815</c:v>
                </c:pt>
                <c:pt idx="4356">
                  <c:v>40816</c:v>
                </c:pt>
                <c:pt idx="4357">
                  <c:v>40819</c:v>
                </c:pt>
                <c:pt idx="4358">
                  <c:v>40820</c:v>
                </c:pt>
                <c:pt idx="4359">
                  <c:v>40821</c:v>
                </c:pt>
                <c:pt idx="4360">
                  <c:v>40822</c:v>
                </c:pt>
                <c:pt idx="4361">
                  <c:v>40823</c:v>
                </c:pt>
                <c:pt idx="4362">
                  <c:v>40826</c:v>
                </c:pt>
                <c:pt idx="4363">
                  <c:v>40827</c:v>
                </c:pt>
                <c:pt idx="4364">
                  <c:v>40828</c:v>
                </c:pt>
                <c:pt idx="4365">
                  <c:v>40829</c:v>
                </c:pt>
                <c:pt idx="4366">
                  <c:v>40830</c:v>
                </c:pt>
                <c:pt idx="4367">
                  <c:v>40833</c:v>
                </c:pt>
                <c:pt idx="4368">
                  <c:v>40834</c:v>
                </c:pt>
                <c:pt idx="4369">
                  <c:v>40835</c:v>
                </c:pt>
                <c:pt idx="4370">
                  <c:v>40836</c:v>
                </c:pt>
                <c:pt idx="4371">
                  <c:v>40837</c:v>
                </c:pt>
                <c:pt idx="4372">
                  <c:v>40840</c:v>
                </c:pt>
                <c:pt idx="4373">
                  <c:v>40841</c:v>
                </c:pt>
                <c:pt idx="4374">
                  <c:v>40842</c:v>
                </c:pt>
                <c:pt idx="4375">
                  <c:v>40843</c:v>
                </c:pt>
                <c:pt idx="4376">
                  <c:v>40844</c:v>
                </c:pt>
                <c:pt idx="4377">
                  <c:v>40847</c:v>
                </c:pt>
                <c:pt idx="4378">
                  <c:v>40848</c:v>
                </c:pt>
                <c:pt idx="4379">
                  <c:v>40849</c:v>
                </c:pt>
                <c:pt idx="4380">
                  <c:v>40850</c:v>
                </c:pt>
                <c:pt idx="4381">
                  <c:v>40851</c:v>
                </c:pt>
                <c:pt idx="4382">
                  <c:v>40854</c:v>
                </c:pt>
                <c:pt idx="4383">
                  <c:v>40855</c:v>
                </c:pt>
                <c:pt idx="4384">
                  <c:v>40856</c:v>
                </c:pt>
                <c:pt idx="4385">
                  <c:v>40857</c:v>
                </c:pt>
                <c:pt idx="4386">
                  <c:v>40858</c:v>
                </c:pt>
                <c:pt idx="4387">
                  <c:v>40861</c:v>
                </c:pt>
                <c:pt idx="4388">
                  <c:v>40862</c:v>
                </c:pt>
                <c:pt idx="4389">
                  <c:v>40863</c:v>
                </c:pt>
                <c:pt idx="4390">
                  <c:v>40864</c:v>
                </c:pt>
                <c:pt idx="4391">
                  <c:v>40865</c:v>
                </c:pt>
                <c:pt idx="4392">
                  <c:v>40868</c:v>
                </c:pt>
                <c:pt idx="4393">
                  <c:v>40869</c:v>
                </c:pt>
                <c:pt idx="4394">
                  <c:v>40870</c:v>
                </c:pt>
                <c:pt idx="4395">
                  <c:v>40871</c:v>
                </c:pt>
                <c:pt idx="4396">
                  <c:v>40872</c:v>
                </c:pt>
                <c:pt idx="4397">
                  <c:v>40875</c:v>
                </c:pt>
                <c:pt idx="4398">
                  <c:v>40876</c:v>
                </c:pt>
                <c:pt idx="4399">
                  <c:v>40877</c:v>
                </c:pt>
                <c:pt idx="4400">
                  <c:v>40878</c:v>
                </c:pt>
                <c:pt idx="4401">
                  <c:v>40879</c:v>
                </c:pt>
                <c:pt idx="4402">
                  <c:v>40882</c:v>
                </c:pt>
                <c:pt idx="4403">
                  <c:v>40883</c:v>
                </c:pt>
                <c:pt idx="4404">
                  <c:v>40884</c:v>
                </c:pt>
                <c:pt idx="4405">
                  <c:v>40885</c:v>
                </c:pt>
                <c:pt idx="4406">
                  <c:v>40886</c:v>
                </c:pt>
                <c:pt idx="4407">
                  <c:v>40889</c:v>
                </c:pt>
                <c:pt idx="4408">
                  <c:v>40890</c:v>
                </c:pt>
                <c:pt idx="4409">
                  <c:v>40891</c:v>
                </c:pt>
                <c:pt idx="4410">
                  <c:v>40892</c:v>
                </c:pt>
                <c:pt idx="4411">
                  <c:v>40893</c:v>
                </c:pt>
                <c:pt idx="4412">
                  <c:v>40896</c:v>
                </c:pt>
                <c:pt idx="4413">
                  <c:v>40897</c:v>
                </c:pt>
                <c:pt idx="4414">
                  <c:v>40898</c:v>
                </c:pt>
                <c:pt idx="4415">
                  <c:v>40899</c:v>
                </c:pt>
                <c:pt idx="4416">
                  <c:v>40900</c:v>
                </c:pt>
                <c:pt idx="4417">
                  <c:v>40903</c:v>
                </c:pt>
                <c:pt idx="4418">
                  <c:v>40904</c:v>
                </c:pt>
                <c:pt idx="4419">
                  <c:v>40905</c:v>
                </c:pt>
                <c:pt idx="4420">
                  <c:v>40906</c:v>
                </c:pt>
                <c:pt idx="4421">
                  <c:v>40907</c:v>
                </c:pt>
                <c:pt idx="4422">
                  <c:v>40910</c:v>
                </c:pt>
                <c:pt idx="4423">
                  <c:v>40911</c:v>
                </c:pt>
                <c:pt idx="4424">
                  <c:v>40912</c:v>
                </c:pt>
                <c:pt idx="4425">
                  <c:v>40913</c:v>
                </c:pt>
                <c:pt idx="4426">
                  <c:v>40914</c:v>
                </c:pt>
                <c:pt idx="4427">
                  <c:v>40917</c:v>
                </c:pt>
                <c:pt idx="4428">
                  <c:v>40918</c:v>
                </c:pt>
                <c:pt idx="4429">
                  <c:v>40919</c:v>
                </c:pt>
                <c:pt idx="4430">
                  <c:v>40920</c:v>
                </c:pt>
                <c:pt idx="4431">
                  <c:v>40921</c:v>
                </c:pt>
                <c:pt idx="4432">
                  <c:v>40924</c:v>
                </c:pt>
                <c:pt idx="4433">
                  <c:v>40925</c:v>
                </c:pt>
                <c:pt idx="4434">
                  <c:v>40926</c:v>
                </c:pt>
                <c:pt idx="4435">
                  <c:v>40927</c:v>
                </c:pt>
                <c:pt idx="4436">
                  <c:v>40928</c:v>
                </c:pt>
                <c:pt idx="4437">
                  <c:v>40931</c:v>
                </c:pt>
                <c:pt idx="4438">
                  <c:v>40932</c:v>
                </c:pt>
                <c:pt idx="4439">
                  <c:v>40933</c:v>
                </c:pt>
                <c:pt idx="4440">
                  <c:v>40934</c:v>
                </c:pt>
                <c:pt idx="4441">
                  <c:v>40935</c:v>
                </c:pt>
                <c:pt idx="4442">
                  <c:v>40938</c:v>
                </c:pt>
                <c:pt idx="4443">
                  <c:v>40939</c:v>
                </c:pt>
                <c:pt idx="4444">
                  <c:v>40940</c:v>
                </c:pt>
                <c:pt idx="4445">
                  <c:v>40941</c:v>
                </c:pt>
                <c:pt idx="4446">
                  <c:v>40942</c:v>
                </c:pt>
                <c:pt idx="4447">
                  <c:v>40945</c:v>
                </c:pt>
                <c:pt idx="4448">
                  <c:v>40946</c:v>
                </c:pt>
                <c:pt idx="4449">
                  <c:v>40947</c:v>
                </c:pt>
                <c:pt idx="4450">
                  <c:v>40948</c:v>
                </c:pt>
                <c:pt idx="4451">
                  <c:v>40949</c:v>
                </c:pt>
                <c:pt idx="4452">
                  <c:v>40952</c:v>
                </c:pt>
                <c:pt idx="4453">
                  <c:v>40953</c:v>
                </c:pt>
                <c:pt idx="4454">
                  <c:v>40954</c:v>
                </c:pt>
                <c:pt idx="4455">
                  <c:v>40955</c:v>
                </c:pt>
                <c:pt idx="4456">
                  <c:v>40956</c:v>
                </c:pt>
                <c:pt idx="4457">
                  <c:v>40959</c:v>
                </c:pt>
                <c:pt idx="4458">
                  <c:v>40960</c:v>
                </c:pt>
                <c:pt idx="4459">
                  <c:v>40961</c:v>
                </c:pt>
                <c:pt idx="4460">
                  <c:v>40962</c:v>
                </c:pt>
                <c:pt idx="4461">
                  <c:v>40963</c:v>
                </c:pt>
                <c:pt idx="4462">
                  <c:v>40966</c:v>
                </c:pt>
                <c:pt idx="4463">
                  <c:v>40967</c:v>
                </c:pt>
                <c:pt idx="4464">
                  <c:v>40968</c:v>
                </c:pt>
                <c:pt idx="4465">
                  <c:v>40969</c:v>
                </c:pt>
                <c:pt idx="4466">
                  <c:v>40970</c:v>
                </c:pt>
                <c:pt idx="4467">
                  <c:v>40973</c:v>
                </c:pt>
                <c:pt idx="4468">
                  <c:v>40974</c:v>
                </c:pt>
                <c:pt idx="4469">
                  <c:v>40975</c:v>
                </c:pt>
                <c:pt idx="4470">
                  <c:v>40976</c:v>
                </c:pt>
                <c:pt idx="4471">
                  <c:v>40977</c:v>
                </c:pt>
                <c:pt idx="4472">
                  <c:v>40980</c:v>
                </c:pt>
                <c:pt idx="4473">
                  <c:v>40981</c:v>
                </c:pt>
                <c:pt idx="4474">
                  <c:v>40982</c:v>
                </c:pt>
                <c:pt idx="4475">
                  <c:v>40983</c:v>
                </c:pt>
                <c:pt idx="4476">
                  <c:v>40984</c:v>
                </c:pt>
                <c:pt idx="4477">
                  <c:v>40987</c:v>
                </c:pt>
                <c:pt idx="4478">
                  <c:v>40988</c:v>
                </c:pt>
                <c:pt idx="4479">
                  <c:v>40989</c:v>
                </c:pt>
                <c:pt idx="4480">
                  <c:v>40990</c:v>
                </c:pt>
                <c:pt idx="4481">
                  <c:v>40991</c:v>
                </c:pt>
                <c:pt idx="4482">
                  <c:v>40994</c:v>
                </c:pt>
                <c:pt idx="4483">
                  <c:v>40995</c:v>
                </c:pt>
                <c:pt idx="4484">
                  <c:v>40996</c:v>
                </c:pt>
                <c:pt idx="4485">
                  <c:v>40997</c:v>
                </c:pt>
                <c:pt idx="4486">
                  <c:v>40998</c:v>
                </c:pt>
                <c:pt idx="4487">
                  <c:v>41001</c:v>
                </c:pt>
                <c:pt idx="4488">
                  <c:v>41002</c:v>
                </c:pt>
                <c:pt idx="4489">
                  <c:v>41003</c:v>
                </c:pt>
                <c:pt idx="4490">
                  <c:v>41004</c:v>
                </c:pt>
                <c:pt idx="4491">
                  <c:v>41005</c:v>
                </c:pt>
                <c:pt idx="4492">
                  <c:v>41008</c:v>
                </c:pt>
                <c:pt idx="4493">
                  <c:v>41009</c:v>
                </c:pt>
                <c:pt idx="4494">
                  <c:v>41010</c:v>
                </c:pt>
                <c:pt idx="4495">
                  <c:v>41011</c:v>
                </c:pt>
                <c:pt idx="4496">
                  <c:v>41012</c:v>
                </c:pt>
                <c:pt idx="4497">
                  <c:v>41015</c:v>
                </c:pt>
                <c:pt idx="4498">
                  <c:v>41016</c:v>
                </c:pt>
                <c:pt idx="4499">
                  <c:v>41017</c:v>
                </c:pt>
                <c:pt idx="4500">
                  <c:v>41018</c:v>
                </c:pt>
                <c:pt idx="4501">
                  <c:v>41019</c:v>
                </c:pt>
                <c:pt idx="4502">
                  <c:v>41022</c:v>
                </c:pt>
                <c:pt idx="4503">
                  <c:v>41023</c:v>
                </c:pt>
                <c:pt idx="4504">
                  <c:v>41024</c:v>
                </c:pt>
                <c:pt idx="4505">
                  <c:v>41025</c:v>
                </c:pt>
                <c:pt idx="4506">
                  <c:v>41026</c:v>
                </c:pt>
                <c:pt idx="4507">
                  <c:v>41029</c:v>
                </c:pt>
                <c:pt idx="4508">
                  <c:v>41030</c:v>
                </c:pt>
                <c:pt idx="4509">
                  <c:v>41031</c:v>
                </c:pt>
                <c:pt idx="4510">
                  <c:v>41032</c:v>
                </c:pt>
                <c:pt idx="4511">
                  <c:v>41033</c:v>
                </c:pt>
                <c:pt idx="4512">
                  <c:v>41036</c:v>
                </c:pt>
                <c:pt idx="4513">
                  <c:v>41037</c:v>
                </c:pt>
                <c:pt idx="4514">
                  <c:v>41038</c:v>
                </c:pt>
                <c:pt idx="4515">
                  <c:v>41039</c:v>
                </c:pt>
                <c:pt idx="4516">
                  <c:v>41040</c:v>
                </c:pt>
                <c:pt idx="4517">
                  <c:v>41043</c:v>
                </c:pt>
                <c:pt idx="4518">
                  <c:v>41044</c:v>
                </c:pt>
                <c:pt idx="4519">
                  <c:v>41045</c:v>
                </c:pt>
                <c:pt idx="4520">
                  <c:v>41046</c:v>
                </c:pt>
                <c:pt idx="4521">
                  <c:v>41047</c:v>
                </c:pt>
                <c:pt idx="4522">
                  <c:v>41050</c:v>
                </c:pt>
                <c:pt idx="4523">
                  <c:v>41051</c:v>
                </c:pt>
                <c:pt idx="4524">
                  <c:v>41052</c:v>
                </c:pt>
                <c:pt idx="4525">
                  <c:v>41053</c:v>
                </c:pt>
                <c:pt idx="4526">
                  <c:v>41054</c:v>
                </c:pt>
                <c:pt idx="4527">
                  <c:v>41057</c:v>
                </c:pt>
                <c:pt idx="4528">
                  <c:v>41058</c:v>
                </c:pt>
                <c:pt idx="4529">
                  <c:v>41059</c:v>
                </c:pt>
                <c:pt idx="4530">
                  <c:v>41060</c:v>
                </c:pt>
                <c:pt idx="4531">
                  <c:v>41061</c:v>
                </c:pt>
                <c:pt idx="4532">
                  <c:v>41064</c:v>
                </c:pt>
                <c:pt idx="4533">
                  <c:v>41065</c:v>
                </c:pt>
                <c:pt idx="4534">
                  <c:v>41066</c:v>
                </c:pt>
                <c:pt idx="4535">
                  <c:v>41067</c:v>
                </c:pt>
                <c:pt idx="4536">
                  <c:v>41068</c:v>
                </c:pt>
                <c:pt idx="4537">
                  <c:v>41071</c:v>
                </c:pt>
                <c:pt idx="4538">
                  <c:v>41072</c:v>
                </c:pt>
                <c:pt idx="4539">
                  <c:v>41073</c:v>
                </c:pt>
                <c:pt idx="4540">
                  <c:v>41074</c:v>
                </c:pt>
                <c:pt idx="4541">
                  <c:v>41075</c:v>
                </c:pt>
                <c:pt idx="4542">
                  <c:v>41078</c:v>
                </c:pt>
                <c:pt idx="4543">
                  <c:v>41079</c:v>
                </c:pt>
                <c:pt idx="4544">
                  <c:v>41080</c:v>
                </c:pt>
                <c:pt idx="4545">
                  <c:v>41081</c:v>
                </c:pt>
                <c:pt idx="4546">
                  <c:v>41082</c:v>
                </c:pt>
                <c:pt idx="4547">
                  <c:v>41085</c:v>
                </c:pt>
                <c:pt idx="4548">
                  <c:v>41086</c:v>
                </c:pt>
                <c:pt idx="4549">
                  <c:v>41087</c:v>
                </c:pt>
                <c:pt idx="4550">
                  <c:v>41088</c:v>
                </c:pt>
                <c:pt idx="4551">
                  <c:v>41089</c:v>
                </c:pt>
                <c:pt idx="4552">
                  <c:v>41092</c:v>
                </c:pt>
                <c:pt idx="4553">
                  <c:v>41093</c:v>
                </c:pt>
                <c:pt idx="4554">
                  <c:v>41094</c:v>
                </c:pt>
                <c:pt idx="4555">
                  <c:v>41095</c:v>
                </c:pt>
                <c:pt idx="4556">
                  <c:v>41096</c:v>
                </c:pt>
                <c:pt idx="4557">
                  <c:v>41099</c:v>
                </c:pt>
                <c:pt idx="4558">
                  <c:v>41100</c:v>
                </c:pt>
                <c:pt idx="4559">
                  <c:v>41101</c:v>
                </c:pt>
                <c:pt idx="4560">
                  <c:v>41102</c:v>
                </c:pt>
                <c:pt idx="4561">
                  <c:v>41103</c:v>
                </c:pt>
                <c:pt idx="4562">
                  <c:v>41106</c:v>
                </c:pt>
                <c:pt idx="4563">
                  <c:v>41107</c:v>
                </c:pt>
                <c:pt idx="4564">
                  <c:v>41108</c:v>
                </c:pt>
                <c:pt idx="4565">
                  <c:v>41109</c:v>
                </c:pt>
                <c:pt idx="4566">
                  <c:v>41110</c:v>
                </c:pt>
                <c:pt idx="4567">
                  <c:v>41113</c:v>
                </c:pt>
                <c:pt idx="4568">
                  <c:v>41114</c:v>
                </c:pt>
                <c:pt idx="4569">
                  <c:v>41115</c:v>
                </c:pt>
                <c:pt idx="4570">
                  <c:v>41116</c:v>
                </c:pt>
                <c:pt idx="4571">
                  <c:v>41117</c:v>
                </c:pt>
                <c:pt idx="4572">
                  <c:v>41120</c:v>
                </c:pt>
                <c:pt idx="4573">
                  <c:v>41121</c:v>
                </c:pt>
                <c:pt idx="4574">
                  <c:v>41122</c:v>
                </c:pt>
                <c:pt idx="4575">
                  <c:v>41123</c:v>
                </c:pt>
                <c:pt idx="4576">
                  <c:v>41124</c:v>
                </c:pt>
                <c:pt idx="4577">
                  <c:v>41127</c:v>
                </c:pt>
                <c:pt idx="4578">
                  <c:v>41128</c:v>
                </c:pt>
                <c:pt idx="4579">
                  <c:v>41129</c:v>
                </c:pt>
                <c:pt idx="4580">
                  <c:v>41130</c:v>
                </c:pt>
                <c:pt idx="4581">
                  <c:v>41131</c:v>
                </c:pt>
                <c:pt idx="4582">
                  <c:v>41134</c:v>
                </c:pt>
                <c:pt idx="4583">
                  <c:v>41135</c:v>
                </c:pt>
                <c:pt idx="4584">
                  <c:v>41136</c:v>
                </c:pt>
                <c:pt idx="4585">
                  <c:v>41137</c:v>
                </c:pt>
                <c:pt idx="4586">
                  <c:v>41138</c:v>
                </c:pt>
                <c:pt idx="4587">
                  <c:v>41141</c:v>
                </c:pt>
                <c:pt idx="4588">
                  <c:v>41142</c:v>
                </c:pt>
                <c:pt idx="4589">
                  <c:v>41143</c:v>
                </c:pt>
                <c:pt idx="4590">
                  <c:v>41144</c:v>
                </c:pt>
                <c:pt idx="4591">
                  <c:v>41145</c:v>
                </c:pt>
                <c:pt idx="4592">
                  <c:v>41148</c:v>
                </c:pt>
                <c:pt idx="4593">
                  <c:v>41149</c:v>
                </c:pt>
                <c:pt idx="4594">
                  <c:v>41150</c:v>
                </c:pt>
                <c:pt idx="4595">
                  <c:v>41151</c:v>
                </c:pt>
                <c:pt idx="4596">
                  <c:v>41152</c:v>
                </c:pt>
                <c:pt idx="4597">
                  <c:v>41155</c:v>
                </c:pt>
                <c:pt idx="4598">
                  <c:v>41156</c:v>
                </c:pt>
                <c:pt idx="4599">
                  <c:v>41157</c:v>
                </c:pt>
                <c:pt idx="4600">
                  <c:v>41158</c:v>
                </c:pt>
                <c:pt idx="4601">
                  <c:v>41159</c:v>
                </c:pt>
                <c:pt idx="4602">
                  <c:v>41162</c:v>
                </c:pt>
                <c:pt idx="4603">
                  <c:v>41163</c:v>
                </c:pt>
                <c:pt idx="4604">
                  <c:v>41164</c:v>
                </c:pt>
                <c:pt idx="4605">
                  <c:v>41165</c:v>
                </c:pt>
                <c:pt idx="4606">
                  <c:v>41166</c:v>
                </c:pt>
                <c:pt idx="4607">
                  <c:v>41169</c:v>
                </c:pt>
                <c:pt idx="4608">
                  <c:v>41170</c:v>
                </c:pt>
                <c:pt idx="4609">
                  <c:v>41171</c:v>
                </c:pt>
                <c:pt idx="4610">
                  <c:v>41172</c:v>
                </c:pt>
                <c:pt idx="4611">
                  <c:v>41173</c:v>
                </c:pt>
                <c:pt idx="4612">
                  <c:v>41176</c:v>
                </c:pt>
                <c:pt idx="4613">
                  <c:v>41177</c:v>
                </c:pt>
                <c:pt idx="4614">
                  <c:v>41178</c:v>
                </c:pt>
                <c:pt idx="4615">
                  <c:v>41179</c:v>
                </c:pt>
                <c:pt idx="4616">
                  <c:v>41180</c:v>
                </c:pt>
                <c:pt idx="4617">
                  <c:v>41183</c:v>
                </c:pt>
                <c:pt idx="4618">
                  <c:v>41184</c:v>
                </c:pt>
                <c:pt idx="4619">
                  <c:v>41185</c:v>
                </c:pt>
                <c:pt idx="4620">
                  <c:v>41186</c:v>
                </c:pt>
                <c:pt idx="4621">
                  <c:v>41187</c:v>
                </c:pt>
                <c:pt idx="4622">
                  <c:v>41190</c:v>
                </c:pt>
                <c:pt idx="4623">
                  <c:v>41191</c:v>
                </c:pt>
                <c:pt idx="4624">
                  <c:v>41192</c:v>
                </c:pt>
                <c:pt idx="4625">
                  <c:v>41193</c:v>
                </c:pt>
                <c:pt idx="4626">
                  <c:v>41194</c:v>
                </c:pt>
                <c:pt idx="4627">
                  <c:v>41197</c:v>
                </c:pt>
                <c:pt idx="4628">
                  <c:v>41198</c:v>
                </c:pt>
                <c:pt idx="4629">
                  <c:v>41199</c:v>
                </c:pt>
                <c:pt idx="4630">
                  <c:v>41200</c:v>
                </c:pt>
                <c:pt idx="4631">
                  <c:v>41201</c:v>
                </c:pt>
                <c:pt idx="4632">
                  <c:v>41204</c:v>
                </c:pt>
                <c:pt idx="4633">
                  <c:v>41205</c:v>
                </c:pt>
                <c:pt idx="4634">
                  <c:v>41206</c:v>
                </c:pt>
                <c:pt idx="4635">
                  <c:v>41207</c:v>
                </c:pt>
                <c:pt idx="4636">
                  <c:v>41208</c:v>
                </c:pt>
                <c:pt idx="4637">
                  <c:v>41211</c:v>
                </c:pt>
                <c:pt idx="4638">
                  <c:v>41212</c:v>
                </c:pt>
                <c:pt idx="4639">
                  <c:v>41213</c:v>
                </c:pt>
                <c:pt idx="4640">
                  <c:v>41214</c:v>
                </c:pt>
                <c:pt idx="4641">
                  <c:v>41215</c:v>
                </c:pt>
                <c:pt idx="4642">
                  <c:v>41218</c:v>
                </c:pt>
                <c:pt idx="4643">
                  <c:v>41219</c:v>
                </c:pt>
                <c:pt idx="4644">
                  <c:v>41220</c:v>
                </c:pt>
                <c:pt idx="4645">
                  <c:v>41221</c:v>
                </c:pt>
                <c:pt idx="4646">
                  <c:v>41222</c:v>
                </c:pt>
                <c:pt idx="4647">
                  <c:v>41225</c:v>
                </c:pt>
                <c:pt idx="4648">
                  <c:v>41226</c:v>
                </c:pt>
                <c:pt idx="4649">
                  <c:v>41227</c:v>
                </c:pt>
                <c:pt idx="4650">
                  <c:v>41228</c:v>
                </c:pt>
                <c:pt idx="4651">
                  <c:v>41229</c:v>
                </c:pt>
                <c:pt idx="4652">
                  <c:v>41232</c:v>
                </c:pt>
                <c:pt idx="4653">
                  <c:v>41233</c:v>
                </c:pt>
                <c:pt idx="4654">
                  <c:v>41234</c:v>
                </c:pt>
                <c:pt idx="4655">
                  <c:v>41235</c:v>
                </c:pt>
                <c:pt idx="4656">
                  <c:v>41236</c:v>
                </c:pt>
                <c:pt idx="4657">
                  <c:v>41239</c:v>
                </c:pt>
                <c:pt idx="4658">
                  <c:v>41240</c:v>
                </c:pt>
                <c:pt idx="4659">
                  <c:v>41241</c:v>
                </c:pt>
                <c:pt idx="4660">
                  <c:v>41242</c:v>
                </c:pt>
                <c:pt idx="4661">
                  <c:v>41243</c:v>
                </c:pt>
                <c:pt idx="4662">
                  <c:v>41246</c:v>
                </c:pt>
                <c:pt idx="4663">
                  <c:v>41247</c:v>
                </c:pt>
                <c:pt idx="4664">
                  <c:v>41248</c:v>
                </c:pt>
                <c:pt idx="4665">
                  <c:v>41249</c:v>
                </c:pt>
                <c:pt idx="4666">
                  <c:v>41250</c:v>
                </c:pt>
                <c:pt idx="4667">
                  <c:v>41253</c:v>
                </c:pt>
                <c:pt idx="4668">
                  <c:v>41254</c:v>
                </c:pt>
                <c:pt idx="4669">
                  <c:v>41255</c:v>
                </c:pt>
                <c:pt idx="4670">
                  <c:v>41256</c:v>
                </c:pt>
                <c:pt idx="4671">
                  <c:v>41257</c:v>
                </c:pt>
                <c:pt idx="4672">
                  <c:v>41260</c:v>
                </c:pt>
                <c:pt idx="4673">
                  <c:v>41261</c:v>
                </c:pt>
                <c:pt idx="4674">
                  <c:v>41262</c:v>
                </c:pt>
                <c:pt idx="4675">
                  <c:v>41263</c:v>
                </c:pt>
                <c:pt idx="4676">
                  <c:v>41264</c:v>
                </c:pt>
                <c:pt idx="4677">
                  <c:v>41267</c:v>
                </c:pt>
                <c:pt idx="4678">
                  <c:v>41268</c:v>
                </c:pt>
                <c:pt idx="4679">
                  <c:v>41269</c:v>
                </c:pt>
                <c:pt idx="4680">
                  <c:v>41270</c:v>
                </c:pt>
                <c:pt idx="4681">
                  <c:v>41271</c:v>
                </c:pt>
                <c:pt idx="4682">
                  <c:v>41274</c:v>
                </c:pt>
                <c:pt idx="4683">
                  <c:v>41275</c:v>
                </c:pt>
                <c:pt idx="4684">
                  <c:v>41276</c:v>
                </c:pt>
                <c:pt idx="4685">
                  <c:v>41277</c:v>
                </c:pt>
                <c:pt idx="4686">
                  <c:v>41278</c:v>
                </c:pt>
                <c:pt idx="4687">
                  <c:v>41281</c:v>
                </c:pt>
                <c:pt idx="4688">
                  <c:v>41282</c:v>
                </c:pt>
                <c:pt idx="4689">
                  <c:v>41283</c:v>
                </c:pt>
                <c:pt idx="4690">
                  <c:v>41284</c:v>
                </c:pt>
                <c:pt idx="4691">
                  <c:v>41285</c:v>
                </c:pt>
                <c:pt idx="4692">
                  <c:v>41288</c:v>
                </c:pt>
                <c:pt idx="4693">
                  <c:v>41289</c:v>
                </c:pt>
                <c:pt idx="4694">
                  <c:v>41290</c:v>
                </c:pt>
                <c:pt idx="4695">
                  <c:v>41291</c:v>
                </c:pt>
                <c:pt idx="4696">
                  <c:v>41292</c:v>
                </c:pt>
                <c:pt idx="4697">
                  <c:v>41295</c:v>
                </c:pt>
                <c:pt idx="4698">
                  <c:v>41296</c:v>
                </c:pt>
                <c:pt idx="4699">
                  <c:v>41297</c:v>
                </c:pt>
                <c:pt idx="4700">
                  <c:v>41298</c:v>
                </c:pt>
                <c:pt idx="4701">
                  <c:v>41299</c:v>
                </c:pt>
                <c:pt idx="4702">
                  <c:v>41302</c:v>
                </c:pt>
                <c:pt idx="4703">
                  <c:v>41303</c:v>
                </c:pt>
                <c:pt idx="4704">
                  <c:v>41304</c:v>
                </c:pt>
                <c:pt idx="4705">
                  <c:v>41305</c:v>
                </c:pt>
                <c:pt idx="4706">
                  <c:v>41306</c:v>
                </c:pt>
                <c:pt idx="4707">
                  <c:v>41309</c:v>
                </c:pt>
                <c:pt idx="4708">
                  <c:v>41310</c:v>
                </c:pt>
                <c:pt idx="4709">
                  <c:v>41311</c:v>
                </c:pt>
                <c:pt idx="4710">
                  <c:v>41312</c:v>
                </c:pt>
                <c:pt idx="4711">
                  <c:v>41313</c:v>
                </c:pt>
                <c:pt idx="4712">
                  <c:v>41316</c:v>
                </c:pt>
                <c:pt idx="4713">
                  <c:v>41317</c:v>
                </c:pt>
                <c:pt idx="4714">
                  <c:v>41318</c:v>
                </c:pt>
                <c:pt idx="4715">
                  <c:v>41319</c:v>
                </c:pt>
                <c:pt idx="4716">
                  <c:v>41320</c:v>
                </c:pt>
                <c:pt idx="4717">
                  <c:v>41323</c:v>
                </c:pt>
                <c:pt idx="4718">
                  <c:v>41324</c:v>
                </c:pt>
                <c:pt idx="4719">
                  <c:v>41325</c:v>
                </c:pt>
                <c:pt idx="4720">
                  <c:v>41326</c:v>
                </c:pt>
                <c:pt idx="4721">
                  <c:v>41327</c:v>
                </c:pt>
                <c:pt idx="4722">
                  <c:v>41330</c:v>
                </c:pt>
                <c:pt idx="4723">
                  <c:v>41331</c:v>
                </c:pt>
                <c:pt idx="4724">
                  <c:v>41332</c:v>
                </c:pt>
                <c:pt idx="4725">
                  <c:v>41333</c:v>
                </c:pt>
                <c:pt idx="4726">
                  <c:v>41334</c:v>
                </c:pt>
                <c:pt idx="4727">
                  <c:v>41337</c:v>
                </c:pt>
                <c:pt idx="4728">
                  <c:v>41338</c:v>
                </c:pt>
                <c:pt idx="4729">
                  <c:v>41339</c:v>
                </c:pt>
                <c:pt idx="4730">
                  <c:v>41340</c:v>
                </c:pt>
                <c:pt idx="4731">
                  <c:v>41341</c:v>
                </c:pt>
                <c:pt idx="4732">
                  <c:v>41344</c:v>
                </c:pt>
                <c:pt idx="4733">
                  <c:v>41345</c:v>
                </c:pt>
                <c:pt idx="4734">
                  <c:v>41346</c:v>
                </c:pt>
                <c:pt idx="4735">
                  <c:v>41347</c:v>
                </c:pt>
                <c:pt idx="4736">
                  <c:v>41348</c:v>
                </c:pt>
                <c:pt idx="4737">
                  <c:v>41351</c:v>
                </c:pt>
                <c:pt idx="4738">
                  <c:v>41352</c:v>
                </c:pt>
                <c:pt idx="4739">
                  <c:v>41353</c:v>
                </c:pt>
                <c:pt idx="4740">
                  <c:v>41354</c:v>
                </c:pt>
                <c:pt idx="4741">
                  <c:v>41355</c:v>
                </c:pt>
                <c:pt idx="4742">
                  <c:v>41358</c:v>
                </c:pt>
                <c:pt idx="4743">
                  <c:v>41359</c:v>
                </c:pt>
                <c:pt idx="4744">
                  <c:v>41360</c:v>
                </c:pt>
                <c:pt idx="4745">
                  <c:v>41361</c:v>
                </c:pt>
                <c:pt idx="4746">
                  <c:v>41362</c:v>
                </c:pt>
                <c:pt idx="4747">
                  <c:v>41365</c:v>
                </c:pt>
                <c:pt idx="4748">
                  <c:v>41366</c:v>
                </c:pt>
                <c:pt idx="4749">
                  <c:v>41367</c:v>
                </c:pt>
                <c:pt idx="4750">
                  <c:v>41368</c:v>
                </c:pt>
                <c:pt idx="4751">
                  <c:v>41369</c:v>
                </c:pt>
                <c:pt idx="4752">
                  <c:v>41372</c:v>
                </c:pt>
                <c:pt idx="4753">
                  <c:v>41373</c:v>
                </c:pt>
                <c:pt idx="4754">
                  <c:v>41374</c:v>
                </c:pt>
                <c:pt idx="4755">
                  <c:v>41375</c:v>
                </c:pt>
                <c:pt idx="4756">
                  <c:v>41376</c:v>
                </c:pt>
                <c:pt idx="4757">
                  <c:v>41379</c:v>
                </c:pt>
                <c:pt idx="4758">
                  <c:v>41380</c:v>
                </c:pt>
                <c:pt idx="4759">
                  <c:v>41381</c:v>
                </c:pt>
                <c:pt idx="4760">
                  <c:v>41382</c:v>
                </c:pt>
                <c:pt idx="4761">
                  <c:v>41383</c:v>
                </c:pt>
                <c:pt idx="4762">
                  <c:v>41386</c:v>
                </c:pt>
                <c:pt idx="4763">
                  <c:v>41387</c:v>
                </c:pt>
                <c:pt idx="4764">
                  <c:v>41388</c:v>
                </c:pt>
                <c:pt idx="4765">
                  <c:v>41389</c:v>
                </c:pt>
                <c:pt idx="4766">
                  <c:v>41390</c:v>
                </c:pt>
                <c:pt idx="4767">
                  <c:v>41393</c:v>
                </c:pt>
                <c:pt idx="4768">
                  <c:v>41394</c:v>
                </c:pt>
                <c:pt idx="4769">
                  <c:v>41395</c:v>
                </c:pt>
                <c:pt idx="4770">
                  <c:v>41396</c:v>
                </c:pt>
                <c:pt idx="4771">
                  <c:v>41397</c:v>
                </c:pt>
                <c:pt idx="4772">
                  <c:v>41400</c:v>
                </c:pt>
                <c:pt idx="4773">
                  <c:v>41401</c:v>
                </c:pt>
                <c:pt idx="4774">
                  <c:v>41402</c:v>
                </c:pt>
                <c:pt idx="4775">
                  <c:v>41403</c:v>
                </c:pt>
                <c:pt idx="4776">
                  <c:v>41404</c:v>
                </c:pt>
                <c:pt idx="4777">
                  <c:v>41407</c:v>
                </c:pt>
                <c:pt idx="4778">
                  <c:v>41408</c:v>
                </c:pt>
                <c:pt idx="4779">
                  <c:v>41409</c:v>
                </c:pt>
                <c:pt idx="4780">
                  <c:v>41410</c:v>
                </c:pt>
                <c:pt idx="4781">
                  <c:v>41411</c:v>
                </c:pt>
                <c:pt idx="4782">
                  <c:v>41414</c:v>
                </c:pt>
                <c:pt idx="4783">
                  <c:v>41415</c:v>
                </c:pt>
                <c:pt idx="4784">
                  <c:v>41416</c:v>
                </c:pt>
                <c:pt idx="4785">
                  <c:v>41417</c:v>
                </c:pt>
                <c:pt idx="4786">
                  <c:v>41418</c:v>
                </c:pt>
                <c:pt idx="4787">
                  <c:v>41421</c:v>
                </c:pt>
                <c:pt idx="4788">
                  <c:v>41422</c:v>
                </c:pt>
                <c:pt idx="4789">
                  <c:v>41423</c:v>
                </c:pt>
                <c:pt idx="4790">
                  <c:v>41424</c:v>
                </c:pt>
                <c:pt idx="4791">
                  <c:v>41425</c:v>
                </c:pt>
                <c:pt idx="4792">
                  <c:v>41428</c:v>
                </c:pt>
                <c:pt idx="4793">
                  <c:v>41429</c:v>
                </c:pt>
                <c:pt idx="4794">
                  <c:v>41430</c:v>
                </c:pt>
                <c:pt idx="4795">
                  <c:v>41431</c:v>
                </c:pt>
                <c:pt idx="4796">
                  <c:v>41432</c:v>
                </c:pt>
                <c:pt idx="4797">
                  <c:v>41435</c:v>
                </c:pt>
                <c:pt idx="4798">
                  <c:v>41436</c:v>
                </c:pt>
                <c:pt idx="4799">
                  <c:v>41437</c:v>
                </c:pt>
                <c:pt idx="4800">
                  <c:v>41438</c:v>
                </c:pt>
                <c:pt idx="4801">
                  <c:v>41439</c:v>
                </c:pt>
                <c:pt idx="4802">
                  <c:v>41442</c:v>
                </c:pt>
                <c:pt idx="4803">
                  <c:v>41443</c:v>
                </c:pt>
                <c:pt idx="4804">
                  <c:v>41444</c:v>
                </c:pt>
                <c:pt idx="4805">
                  <c:v>41445</c:v>
                </c:pt>
                <c:pt idx="4806">
                  <c:v>41446</c:v>
                </c:pt>
                <c:pt idx="4807">
                  <c:v>41449</c:v>
                </c:pt>
                <c:pt idx="4808">
                  <c:v>41450</c:v>
                </c:pt>
                <c:pt idx="4809">
                  <c:v>41451</c:v>
                </c:pt>
                <c:pt idx="4810">
                  <c:v>41452</c:v>
                </c:pt>
                <c:pt idx="4811">
                  <c:v>41453</c:v>
                </c:pt>
                <c:pt idx="4812">
                  <c:v>41456</c:v>
                </c:pt>
                <c:pt idx="4813">
                  <c:v>41457</c:v>
                </c:pt>
                <c:pt idx="4814">
                  <c:v>41458</c:v>
                </c:pt>
                <c:pt idx="4815">
                  <c:v>41459</c:v>
                </c:pt>
                <c:pt idx="4816">
                  <c:v>41460</c:v>
                </c:pt>
                <c:pt idx="4817">
                  <c:v>41463</c:v>
                </c:pt>
                <c:pt idx="4818">
                  <c:v>41464</c:v>
                </c:pt>
                <c:pt idx="4819">
                  <c:v>41465</c:v>
                </c:pt>
                <c:pt idx="4820">
                  <c:v>41466</c:v>
                </c:pt>
                <c:pt idx="4821">
                  <c:v>41467</c:v>
                </c:pt>
                <c:pt idx="4822">
                  <c:v>41470</c:v>
                </c:pt>
                <c:pt idx="4823">
                  <c:v>41471</c:v>
                </c:pt>
                <c:pt idx="4824">
                  <c:v>41472</c:v>
                </c:pt>
                <c:pt idx="4825">
                  <c:v>41473</c:v>
                </c:pt>
                <c:pt idx="4826">
                  <c:v>41474</c:v>
                </c:pt>
                <c:pt idx="4827">
                  <c:v>41477</c:v>
                </c:pt>
                <c:pt idx="4828">
                  <c:v>41478</c:v>
                </c:pt>
                <c:pt idx="4829">
                  <c:v>41479</c:v>
                </c:pt>
                <c:pt idx="4830">
                  <c:v>41480</c:v>
                </c:pt>
                <c:pt idx="4831">
                  <c:v>41481</c:v>
                </c:pt>
                <c:pt idx="4832">
                  <c:v>41484</c:v>
                </c:pt>
                <c:pt idx="4833">
                  <c:v>41485</c:v>
                </c:pt>
                <c:pt idx="4834">
                  <c:v>41486</c:v>
                </c:pt>
                <c:pt idx="4835">
                  <c:v>41487</c:v>
                </c:pt>
                <c:pt idx="4836">
                  <c:v>41488</c:v>
                </c:pt>
                <c:pt idx="4837">
                  <c:v>41491</c:v>
                </c:pt>
                <c:pt idx="4838">
                  <c:v>41492</c:v>
                </c:pt>
                <c:pt idx="4839">
                  <c:v>41493</c:v>
                </c:pt>
                <c:pt idx="4840">
                  <c:v>41494</c:v>
                </c:pt>
                <c:pt idx="4841">
                  <c:v>41495</c:v>
                </c:pt>
                <c:pt idx="4842">
                  <c:v>41498</c:v>
                </c:pt>
                <c:pt idx="4843">
                  <c:v>41499</c:v>
                </c:pt>
                <c:pt idx="4844">
                  <c:v>41500</c:v>
                </c:pt>
                <c:pt idx="4845">
                  <c:v>41501</c:v>
                </c:pt>
                <c:pt idx="4846">
                  <c:v>41502</c:v>
                </c:pt>
                <c:pt idx="4847">
                  <c:v>41505</c:v>
                </c:pt>
                <c:pt idx="4848">
                  <c:v>41506</c:v>
                </c:pt>
                <c:pt idx="4849">
                  <c:v>41507</c:v>
                </c:pt>
                <c:pt idx="4850">
                  <c:v>41508</c:v>
                </c:pt>
                <c:pt idx="4851">
                  <c:v>41509</c:v>
                </c:pt>
                <c:pt idx="4852">
                  <c:v>41512</c:v>
                </c:pt>
                <c:pt idx="4853">
                  <c:v>41513</c:v>
                </c:pt>
                <c:pt idx="4854">
                  <c:v>41514</c:v>
                </c:pt>
                <c:pt idx="4855">
                  <c:v>41515</c:v>
                </c:pt>
                <c:pt idx="4856">
                  <c:v>41516</c:v>
                </c:pt>
                <c:pt idx="4857">
                  <c:v>41519</c:v>
                </c:pt>
                <c:pt idx="4858">
                  <c:v>41520</c:v>
                </c:pt>
                <c:pt idx="4859">
                  <c:v>41521</c:v>
                </c:pt>
                <c:pt idx="4860">
                  <c:v>41522</c:v>
                </c:pt>
                <c:pt idx="4861">
                  <c:v>41523</c:v>
                </c:pt>
                <c:pt idx="4862">
                  <c:v>41526</c:v>
                </c:pt>
                <c:pt idx="4863">
                  <c:v>41527</c:v>
                </c:pt>
                <c:pt idx="4864">
                  <c:v>41528</c:v>
                </c:pt>
                <c:pt idx="4865">
                  <c:v>41529</c:v>
                </c:pt>
                <c:pt idx="4866">
                  <c:v>41530</c:v>
                </c:pt>
                <c:pt idx="4867">
                  <c:v>41533</c:v>
                </c:pt>
                <c:pt idx="4868">
                  <c:v>41534</c:v>
                </c:pt>
                <c:pt idx="4869">
                  <c:v>41535</c:v>
                </c:pt>
                <c:pt idx="4870">
                  <c:v>41536</c:v>
                </c:pt>
                <c:pt idx="4871">
                  <c:v>41537</c:v>
                </c:pt>
                <c:pt idx="4872">
                  <c:v>41540</c:v>
                </c:pt>
                <c:pt idx="4873">
                  <c:v>41541</c:v>
                </c:pt>
                <c:pt idx="4874">
                  <c:v>41542</c:v>
                </c:pt>
                <c:pt idx="4875">
                  <c:v>41543</c:v>
                </c:pt>
                <c:pt idx="4876">
                  <c:v>41544</c:v>
                </c:pt>
                <c:pt idx="4877">
                  <c:v>41547</c:v>
                </c:pt>
                <c:pt idx="4878">
                  <c:v>41548</c:v>
                </c:pt>
                <c:pt idx="4879">
                  <c:v>41549</c:v>
                </c:pt>
                <c:pt idx="4880">
                  <c:v>41550</c:v>
                </c:pt>
                <c:pt idx="4881">
                  <c:v>41551</c:v>
                </c:pt>
                <c:pt idx="4882">
                  <c:v>41554</c:v>
                </c:pt>
                <c:pt idx="4883">
                  <c:v>41555</c:v>
                </c:pt>
                <c:pt idx="4884">
                  <c:v>41556</c:v>
                </c:pt>
                <c:pt idx="4885">
                  <c:v>41557</c:v>
                </c:pt>
                <c:pt idx="4886">
                  <c:v>41558</c:v>
                </c:pt>
                <c:pt idx="4887">
                  <c:v>41561</c:v>
                </c:pt>
                <c:pt idx="4888">
                  <c:v>41562</c:v>
                </c:pt>
                <c:pt idx="4889">
                  <c:v>41563</c:v>
                </c:pt>
                <c:pt idx="4890">
                  <c:v>41564</c:v>
                </c:pt>
                <c:pt idx="4891">
                  <c:v>41565</c:v>
                </c:pt>
                <c:pt idx="4892">
                  <c:v>41568</c:v>
                </c:pt>
                <c:pt idx="4893">
                  <c:v>41569</c:v>
                </c:pt>
                <c:pt idx="4894">
                  <c:v>41570</c:v>
                </c:pt>
                <c:pt idx="4895">
                  <c:v>41571</c:v>
                </c:pt>
                <c:pt idx="4896">
                  <c:v>41572</c:v>
                </c:pt>
                <c:pt idx="4897">
                  <c:v>41575</c:v>
                </c:pt>
                <c:pt idx="4898">
                  <c:v>41576</c:v>
                </c:pt>
                <c:pt idx="4899">
                  <c:v>41577</c:v>
                </c:pt>
                <c:pt idx="4900">
                  <c:v>41578</c:v>
                </c:pt>
                <c:pt idx="4901">
                  <c:v>41579</c:v>
                </c:pt>
                <c:pt idx="4902">
                  <c:v>41582</c:v>
                </c:pt>
                <c:pt idx="4903">
                  <c:v>41583</c:v>
                </c:pt>
                <c:pt idx="4904">
                  <c:v>41584</c:v>
                </c:pt>
                <c:pt idx="4905">
                  <c:v>41585</c:v>
                </c:pt>
                <c:pt idx="4906">
                  <c:v>41586</c:v>
                </c:pt>
                <c:pt idx="4907">
                  <c:v>41589</c:v>
                </c:pt>
                <c:pt idx="4908">
                  <c:v>41590</c:v>
                </c:pt>
                <c:pt idx="4909">
                  <c:v>41591</c:v>
                </c:pt>
                <c:pt idx="4910">
                  <c:v>41592</c:v>
                </c:pt>
                <c:pt idx="4911">
                  <c:v>41593</c:v>
                </c:pt>
                <c:pt idx="4912">
                  <c:v>41596</c:v>
                </c:pt>
                <c:pt idx="4913">
                  <c:v>41597</c:v>
                </c:pt>
                <c:pt idx="4914">
                  <c:v>41598</c:v>
                </c:pt>
                <c:pt idx="4915">
                  <c:v>41599</c:v>
                </c:pt>
                <c:pt idx="4916">
                  <c:v>41600</c:v>
                </c:pt>
                <c:pt idx="4917">
                  <c:v>41603</c:v>
                </c:pt>
                <c:pt idx="4918">
                  <c:v>41604</c:v>
                </c:pt>
                <c:pt idx="4919">
                  <c:v>41605</c:v>
                </c:pt>
                <c:pt idx="4920">
                  <c:v>41606</c:v>
                </c:pt>
                <c:pt idx="4921">
                  <c:v>41607</c:v>
                </c:pt>
                <c:pt idx="4922">
                  <c:v>41610</c:v>
                </c:pt>
                <c:pt idx="4923">
                  <c:v>41611</c:v>
                </c:pt>
                <c:pt idx="4924">
                  <c:v>41612</c:v>
                </c:pt>
                <c:pt idx="4925">
                  <c:v>41613</c:v>
                </c:pt>
                <c:pt idx="4926">
                  <c:v>41614</c:v>
                </c:pt>
                <c:pt idx="4927">
                  <c:v>41617</c:v>
                </c:pt>
                <c:pt idx="4928">
                  <c:v>41618</c:v>
                </c:pt>
                <c:pt idx="4929">
                  <c:v>41619</c:v>
                </c:pt>
                <c:pt idx="4930">
                  <c:v>41620</c:v>
                </c:pt>
                <c:pt idx="4931">
                  <c:v>41621</c:v>
                </c:pt>
                <c:pt idx="4932">
                  <c:v>41624</c:v>
                </c:pt>
                <c:pt idx="4933">
                  <c:v>41625</c:v>
                </c:pt>
                <c:pt idx="4934">
                  <c:v>41626</c:v>
                </c:pt>
                <c:pt idx="4935">
                  <c:v>41627</c:v>
                </c:pt>
                <c:pt idx="4936">
                  <c:v>41628</c:v>
                </c:pt>
                <c:pt idx="4937">
                  <c:v>41631</c:v>
                </c:pt>
                <c:pt idx="4938">
                  <c:v>41632</c:v>
                </c:pt>
                <c:pt idx="4939">
                  <c:v>41633</c:v>
                </c:pt>
                <c:pt idx="4940">
                  <c:v>41634</c:v>
                </c:pt>
                <c:pt idx="4941">
                  <c:v>41635</c:v>
                </c:pt>
                <c:pt idx="4942">
                  <c:v>41638</c:v>
                </c:pt>
                <c:pt idx="4943">
                  <c:v>41639</c:v>
                </c:pt>
                <c:pt idx="4944">
                  <c:v>41640</c:v>
                </c:pt>
                <c:pt idx="4945">
                  <c:v>41641</c:v>
                </c:pt>
                <c:pt idx="4946">
                  <c:v>41642</c:v>
                </c:pt>
                <c:pt idx="4947">
                  <c:v>41645</c:v>
                </c:pt>
                <c:pt idx="4948">
                  <c:v>41646</c:v>
                </c:pt>
                <c:pt idx="4949">
                  <c:v>41647</c:v>
                </c:pt>
                <c:pt idx="4950">
                  <c:v>41648</c:v>
                </c:pt>
                <c:pt idx="4951">
                  <c:v>41649</c:v>
                </c:pt>
                <c:pt idx="4952">
                  <c:v>41652</c:v>
                </c:pt>
                <c:pt idx="4953">
                  <c:v>41653</c:v>
                </c:pt>
                <c:pt idx="4954">
                  <c:v>41654</c:v>
                </c:pt>
                <c:pt idx="4955">
                  <c:v>41655</c:v>
                </c:pt>
                <c:pt idx="4956">
                  <c:v>41656</c:v>
                </c:pt>
                <c:pt idx="4957">
                  <c:v>41659</c:v>
                </c:pt>
                <c:pt idx="4958">
                  <c:v>41660</c:v>
                </c:pt>
                <c:pt idx="4959">
                  <c:v>41661</c:v>
                </c:pt>
                <c:pt idx="4960">
                  <c:v>41662</c:v>
                </c:pt>
                <c:pt idx="4961">
                  <c:v>41663</c:v>
                </c:pt>
                <c:pt idx="4962">
                  <c:v>41666</c:v>
                </c:pt>
                <c:pt idx="4963">
                  <c:v>41667</c:v>
                </c:pt>
                <c:pt idx="4964">
                  <c:v>41668</c:v>
                </c:pt>
                <c:pt idx="4965">
                  <c:v>41669</c:v>
                </c:pt>
                <c:pt idx="4966">
                  <c:v>41670</c:v>
                </c:pt>
                <c:pt idx="4967">
                  <c:v>41673</c:v>
                </c:pt>
                <c:pt idx="4968">
                  <c:v>41674</c:v>
                </c:pt>
                <c:pt idx="4969">
                  <c:v>41675</c:v>
                </c:pt>
                <c:pt idx="4970">
                  <c:v>41676</c:v>
                </c:pt>
                <c:pt idx="4971">
                  <c:v>41677</c:v>
                </c:pt>
                <c:pt idx="4972">
                  <c:v>41680</c:v>
                </c:pt>
                <c:pt idx="4973">
                  <c:v>41681</c:v>
                </c:pt>
                <c:pt idx="4974">
                  <c:v>41682</c:v>
                </c:pt>
                <c:pt idx="4975">
                  <c:v>41683</c:v>
                </c:pt>
                <c:pt idx="4976">
                  <c:v>41684</c:v>
                </c:pt>
                <c:pt idx="4977">
                  <c:v>41687</c:v>
                </c:pt>
                <c:pt idx="4978">
                  <c:v>41688</c:v>
                </c:pt>
                <c:pt idx="4979">
                  <c:v>41689</c:v>
                </c:pt>
                <c:pt idx="4980">
                  <c:v>41690</c:v>
                </c:pt>
                <c:pt idx="4981">
                  <c:v>41691</c:v>
                </c:pt>
                <c:pt idx="4982">
                  <c:v>41694</c:v>
                </c:pt>
                <c:pt idx="4983">
                  <c:v>41695</c:v>
                </c:pt>
                <c:pt idx="4984">
                  <c:v>41696</c:v>
                </c:pt>
                <c:pt idx="4985">
                  <c:v>41697</c:v>
                </c:pt>
                <c:pt idx="4986">
                  <c:v>41698</c:v>
                </c:pt>
                <c:pt idx="4987">
                  <c:v>41701</c:v>
                </c:pt>
                <c:pt idx="4988">
                  <c:v>41702</c:v>
                </c:pt>
                <c:pt idx="4989">
                  <c:v>41703</c:v>
                </c:pt>
                <c:pt idx="4990">
                  <c:v>41704</c:v>
                </c:pt>
                <c:pt idx="4991">
                  <c:v>41705</c:v>
                </c:pt>
                <c:pt idx="4992">
                  <c:v>41708</c:v>
                </c:pt>
                <c:pt idx="4993">
                  <c:v>41709</c:v>
                </c:pt>
                <c:pt idx="4994">
                  <c:v>41710</c:v>
                </c:pt>
                <c:pt idx="4995">
                  <c:v>41711</c:v>
                </c:pt>
                <c:pt idx="4996">
                  <c:v>41712</c:v>
                </c:pt>
                <c:pt idx="4997">
                  <c:v>41715</c:v>
                </c:pt>
                <c:pt idx="4998">
                  <c:v>41716</c:v>
                </c:pt>
                <c:pt idx="4999">
                  <c:v>41717</c:v>
                </c:pt>
                <c:pt idx="5000">
                  <c:v>41718</c:v>
                </c:pt>
                <c:pt idx="5001">
                  <c:v>41719</c:v>
                </c:pt>
                <c:pt idx="5002">
                  <c:v>41722</c:v>
                </c:pt>
                <c:pt idx="5003">
                  <c:v>41723</c:v>
                </c:pt>
                <c:pt idx="5004">
                  <c:v>41724</c:v>
                </c:pt>
                <c:pt idx="5005">
                  <c:v>41725</c:v>
                </c:pt>
                <c:pt idx="5006">
                  <c:v>41726</c:v>
                </c:pt>
                <c:pt idx="5007">
                  <c:v>41729</c:v>
                </c:pt>
                <c:pt idx="5008">
                  <c:v>41730</c:v>
                </c:pt>
                <c:pt idx="5009">
                  <c:v>41731</c:v>
                </c:pt>
                <c:pt idx="5010">
                  <c:v>41732</c:v>
                </c:pt>
                <c:pt idx="5011">
                  <c:v>41733</c:v>
                </c:pt>
                <c:pt idx="5012">
                  <c:v>41736</c:v>
                </c:pt>
                <c:pt idx="5013">
                  <c:v>41737</c:v>
                </c:pt>
                <c:pt idx="5014">
                  <c:v>41738</c:v>
                </c:pt>
                <c:pt idx="5015">
                  <c:v>41739</c:v>
                </c:pt>
                <c:pt idx="5016">
                  <c:v>41740</c:v>
                </c:pt>
                <c:pt idx="5017">
                  <c:v>41743</c:v>
                </c:pt>
                <c:pt idx="5018">
                  <c:v>41744</c:v>
                </c:pt>
                <c:pt idx="5019">
                  <c:v>41745</c:v>
                </c:pt>
                <c:pt idx="5020">
                  <c:v>41746</c:v>
                </c:pt>
                <c:pt idx="5021">
                  <c:v>41747</c:v>
                </c:pt>
                <c:pt idx="5022">
                  <c:v>41750</c:v>
                </c:pt>
                <c:pt idx="5023">
                  <c:v>41751</c:v>
                </c:pt>
                <c:pt idx="5024">
                  <c:v>41752</c:v>
                </c:pt>
                <c:pt idx="5025">
                  <c:v>41753</c:v>
                </c:pt>
                <c:pt idx="5026">
                  <c:v>41754</c:v>
                </c:pt>
                <c:pt idx="5027">
                  <c:v>41757</c:v>
                </c:pt>
                <c:pt idx="5028">
                  <c:v>41758</c:v>
                </c:pt>
                <c:pt idx="5029">
                  <c:v>41759</c:v>
                </c:pt>
                <c:pt idx="5030">
                  <c:v>41760</c:v>
                </c:pt>
                <c:pt idx="5031">
                  <c:v>41761</c:v>
                </c:pt>
                <c:pt idx="5032">
                  <c:v>41764</c:v>
                </c:pt>
                <c:pt idx="5033">
                  <c:v>41765</c:v>
                </c:pt>
                <c:pt idx="5034">
                  <c:v>41766</c:v>
                </c:pt>
                <c:pt idx="5035">
                  <c:v>41767</c:v>
                </c:pt>
                <c:pt idx="5036">
                  <c:v>41768</c:v>
                </c:pt>
                <c:pt idx="5037">
                  <c:v>41771</c:v>
                </c:pt>
                <c:pt idx="5038">
                  <c:v>41772</c:v>
                </c:pt>
                <c:pt idx="5039">
                  <c:v>41773</c:v>
                </c:pt>
                <c:pt idx="5040">
                  <c:v>41774</c:v>
                </c:pt>
                <c:pt idx="5041">
                  <c:v>41775</c:v>
                </c:pt>
                <c:pt idx="5042">
                  <c:v>41778</c:v>
                </c:pt>
                <c:pt idx="5043">
                  <c:v>41779</c:v>
                </c:pt>
                <c:pt idx="5044">
                  <c:v>41780</c:v>
                </c:pt>
                <c:pt idx="5045">
                  <c:v>41781</c:v>
                </c:pt>
                <c:pt idx="5046">
                  <c:v>41782</c:v>
                </c:pt>
                <c:pt idx="5047">
                  <c:v>41785</c:v>
                </c:pt>
                <c:pt idx="5048">
                  <c:v>41786</c:v>
                </c:pt>
                <c:pt idx="5049">
                  <c:v>41787</c:v>
                </c:pt>
                <c:pt idx="5050">
                  <c:v>41788</c:v>
                </c:pt>
                <c:pt idx="5051">
                  <c:v>41789</c:v>
                </c:pt>
                <c:pt idx="5052">
                  <c:v>41792</c:v>
                </c:pt>
                <c:pt idx="5053">
                  <c:v>41793</c:v>
                </c:pt>
                <c:pt idx="5054">
                  <c:v>41794</c:v>
                </c:pt>
                <c:pt idx="5055">
                  <c:v>41795</c:v>
                </c:pt>
                <c:pt idx="5056">
                  <c:v>41796</c:v>
                </c:pt>
                <c:pt idx="5057">
                  <c:v>41799</c:v>
                </c:pt>
                <c:pt idx="5058">
                  <c:v>41800</c:v>
                </c:pt>
                <c:pt idx="5059">
                  <c:v>41801</c:v>
                </c:pt>
                <c:pt idx="5060">
                  <c:v>41802</c:v>
                </c:pt>
                <c:pt idx="5061">
                  <c:v>41803</c:v>
                </c:pt>
                <c:pt idx="5062">
                  <c:v>41806</c:v>
                </c:pt>
                <c:pt idx="5063">
                  <c:v>41807</c:v>
                </c:pt>
                <c:pt idx="5064">
                  <c:v>41808</c:v>
                </c:pt>
                <c:pt idx="5065">
                  <c:v>41809</c:v>
                </c:pt>
                <c:pt idx="5066">
                  <c:v>41810</c:v>
                </c:pt>
                <c:pt idx="5067">
                  <c:v>41813</c:v>
                </c:pt>
                <c:pt idx="5068">
                  <c:v>41814</c:v>
                </c:pt>
                <c:pt idx="5069">
                  <c:v>41815</c:v>
                </c:pt>
                <c:pt idx="5070">
                  <c:v>41816</c:v>
                </c:pt>
                <c:pt idx="5071">
                  <c:v>41817</c:v>
                </c:pt>
                <c:pt idx="5072">
                  <c:v>41820</c:v>
                </c:pt>
                <c:pt idx="5073">
                  <c:v>41821</c:v>
                </c:pt>
                <c:pt idx="5074">
                  <c:v>41822</c:v>
                </c:pt>
                <c:pt idx="5075">
                  <c:v>41823</c:v>
                </c:pt>
                <c:pt idx="5076">
                  <c:v>41824</c:v>
                </c:pt>
                <c:pt idx="5077">
                  <c:v>41827</c:v>
                </c:pt>
                <c:pt idx="5078">
                  <c:v>41828</c:v>
                </c:pt>
                <c:pt idx="5079">
                  <c:v>41829</c:v>
                </c:pt>
                <c:pt idx="5080">
                  <c:v>41830</c:v>
                </c:pt>
                <c:pt idx="5081">
                  <c:v>41831</c:v>
                </c:pt>
                <c:pt idx="5082">
                  <c:v>41834</c:v>
                </c:pt>
                <c:pt idx="5083">
                  <c:v>41835</c:v>
                </c:pt>
                <c:pt idx="5084">
                  <c:v>41836</c:v>
                </c:pt>
                <c:pt idx="5085">
                  <c:v>41837</c:v>
                </c:pt>
                <c:pt idx="5086">
                  <c:v>41838</c:v>
                </c:pt>
                <c:pt idx="5087">
                  <c:v>41841</c:v>
                </c:pt>
                <c:pt idx="5088">
                  <c:v>41842</c:v>
                </c:pt>
                <c:pt idx="5089">
                  <c:v>41843</c:v>
                </c:pt>
                <c:pt idx="5090">
                  <c:v>41844</c:v>
                </c:pt>
                <c:pt idx="5091">
                  <c:v>41845</c:v>
                </c:pt>
                <c:pt idx="5092">
                  <c:v>41848</c:v>
                </c:pt>
                <c:pt idx="5093">
                  <c:v>41849</c:v>
                </c:pt>
                <c:pt idx="5094">
                  <c:v>41850</c:v>
                </c:pt>
                <c:pt idx="5095">
                  <c:v>41851</c:v>
                </c:pt>
                <c:pt idx="5096">
                  <c:v>41852</c:v>
                </c:pt>
                <c:pt idx="5097">
                  <c:v>41855</c:v>
                </c:pt>
                <c:pt idx="5098">
                  <c:v>41856</c:v>
                </c:pt>
                <c:pt idx="5099">
                  <c:v>41857</c:v>
                </c:pt>
                <c:pt idx="5100">
                  <c:v>41858</c:v>
                </c:pt>
                <c:pt idx="5101">
                  <c:v>41859</c:v>
                </c:pt>
                <c:pt idx="5102">
                  <c:v>41862</c:v>
                </c:pt>
                <c:pt idx="5103">
                  <c:v>41863</c:v>
                </c:pt>
                <c:pt idx="5104">
                  <c:v>41864</c:v>
                </c:pt>
                <c:pt idx="5105">
                  <c:v>41865</c:v>
                </c:pt>
                <c:pt idx="5106">
                  <c:v>41866</c:v>
                </c:pt>
                <c:pt idx="5107">
                  <c:v>41869</c:v>
                </c:pt>
                <c:pt idx="5108">
                  <c:v>41870</c:v>
                </c:pt>
                <c:pt idx="5109">
                  <c:v>41871</c:v>
                </c:pt>
                <c:pt idx="5110">
                  <c:v>41872</c:v>
                </c:pt>
                <c:pt idx="5111">
                  <c:v>41873</c:v>
                </c:pt>
                <c:pt idx="5112">
                  <c:v>41876</c:v>
                </c:pt>
                <c:pt idx="5113">
                  <c:v>41877</c:v>
                </c:pt>
                <c:pt idx="5114">
                  <c:v>41878</c:v>
                </c:pt>
                <c:pt idx="5115">
                  <c:v>41879</c:v>
                </c:pt>
                <c:pt idx="5116">
                  <c:v>41880</c:v>
                </c:pt>
                <c:pt idx="5117">
                  <c:v>41883</c:v>
                </c:pt>
                <c:pt idx="5118">
                  <c:v>41884</c:v>
                </c:pt>
                <c:pt idx="5119">
                  <c:v>41885</c:v>
                </c:pt>
                <c:pt idx="5120">
                  <c:v>41886</c:v>
                </c:pt>
                <c:pt idx="5121">
                  <c:v>41887</c:v>
                </c:pt>
                <c:pt idx="5122">
                  <c:v>41890</c:v>
                </c:pt>
                <c:pt idx="5123">
                  <c:v>41891</c:v>
                </c:pt>
                <c:pt idx="5124">
                  <c:v>41892</c:v>
                </c:pt>
                <c:pt idx="5125">
                  <c:v>41893</c:v>
                </c:pt>
                <c:pt idx="5126">
                  <c:v>41894</c:v>
                </c:pt>
                <c:pt idx="5127">
                  <c:v>41897</c:v>
                </c:pt>
                <c:pt idx="5128">
                  <c:v>41898</c:v>
                </c:pt>
                <c:pt idx="5129">
                  <c:v>41899</c:v>
                </c:pt>
                <c:pt idx="5130">
                  <c:v>41900</c:v>
                </c:pt>
                <c:pt idx="5131">
                  <c:v>41901</c:v>
                </c:pt>
                <c:pt idx="5132">
                  <c:v>41904</c:v>
                </c:pt>
                <c:pt idx="5133">
                  <c:v>41905</c:v>
                </c:pt>
                <c:pt idx="5134">
                  <c:v>41906</c:v>
                </c:pt>
                <c:pt idx="5135">
                  <c:v>41907</c:v>
                </c:pt>
                <c:pt idx="5136">
                  <c:v>41908</c:v>
                </c:pt>
                <c:pt idx="5137">
                  <c:v>41911</c:v>
                </c:pt>
                <c:pt idx="5138">
                  <c:v>41912</c:v>
                </c:pt>
                <c:pt idx="5139">
                  <c:v>41913</c:v>
                </c:pt>
                <c:pt idx="5140">
                  <c:v>41914</c:v>
                </c:pt>
                <c:pt idx="5141">
                  <c:v>41915</c:v>
                </c:pt>
                <c:pt idx="5142">
                  <c:v>41918</c:v>
                </c:pt>
                <c:pt idx="5143">
                  <c:v>41919</c:v>
                </c:pt>
                <c:pt idx="5144">
                  <c:v>41920</c:v>
                </c:pt>
                <c:pt idx="5145">
                  <c:v>41921</c:v>
                </c:pt>
                <c:pt idx="5146">
                  <c:v>41922</c:v>
                </c:pt>
                <c:pt idx="5147">
                  <c:v>41925</c:v>
                </c:pt>
                <c:pt idx="5148">
                  <c:v>41926</c:v>
                </c:pt>
                <c:pt idx="5149">
                  <c:v>41927</c:v>
                </c:pt>
                <c:pt idx="5150">
                  <c:v>41928</c:v>
                </c:pt>
                <c:pt idx="5151">
                  <c:v>41929</c:v>
                </c:pt>
                <c:pt idx="5152">
                  <c:v>41932</c:v>
                </c:pt>
                <c:pt idx="5153">
                  <c:v>41933</c:v>
                </c:pt>
                <c:pt idx="5154">
                  <c:v>41934</c:v>
                </c:pt>
                <c:pt idx="5155">
                  <c:v>41935</c:v>
                </c:pt>
                <c:pt idx="5156">
                  <c:v>41936</c:v>
                </c:pt>
                <c:pt idx="5157">
                  <c:v>41939</c:v>
                </c:pt>
                <c:pt idx="5158">
                  <c:v>41940</c:v>
                </c:pt>
                <c:pt idx="5159">
                  <c:v>41941</c:v>
                </c:pt>
                <c:pt idx="5160">
                  <c:v>41942</c:v>
                </c:pt>
                <c:pt idx="5161">
                  <c:v>41943</c:v>
                </c:pt>
                <c:pt idx="5162">
                  <c:v>41946</c:v>
                </c:pt>
                <c:pt idx="5163">
                  <c:v>41947</c:v>
                </c:pt>
                <c:pt idx="5164">
                  <c:v>41948</c:v>
                </c:pt>
                <c:pt idx="5165">
                  <c:v>41949</c:v>
                </c:pt>
                <c:pt idx="5166">
                  <c:v>41950</c:v>
                </c:pt>
                <c:pt idx="5167">
                  <c:v>41953</c:v>
                </c:pt>
                <c:pt idx="5168">
                  <c:v>41954</c:v>
                </c:pt>
                <c:pt idx="5169">
                  <c:v>41955</c:v>
                </c:pt>
                <c:pt idx="5170">
                  <c:v>41956</c:v>
                </c:pt>
                <c:pt idx="5171">
                  <c:v>41957</c:v>
                </c:pt>
                <c:pt idx="5172">
                  <c:v>41960</c:v>
                </c:pt>
                <c:pt idx="5173">
                  <c:v>41961</c:v>
                </c:pt>
                <c:pt idx="5174">
                  <c:v>41962</c:v>
                </c:pt>
                <c:pt idx="5175">
                  <c:v>41963</c:v>
                </c:pt>
                <c:pt idx="5176">
                  <c:v>41964</c:v>
                </c:pt>
                <c:pt idx="5177">
                  <c:v>41967</c:v>
                </c:pt>
                <c:pt idx="5178">
                  <c:v>41968</c:v>
                </c:pt>
                <c:pt idx="5179">
                  <c:v>41969</c:v>
                </c:pt>
                <c:pt idx="5180">
                  <c:v>41970</c:v>
                </c:pt>
                <c:pt idx="5181">
                  <c:v>41971</c:v>
                </c:pt>
                <c:pt idx="5182">
                  <c:v>41974</c:v>
                </c:pt>
                <c:pt idx="5183">
                  <c:v>41975</c:v>
                </c:pt>
                <c:pt idx="5184">
                  <c:v>41976</c:v>
                </c:pt>
                <c:pt idx="5185">
                  <c:v>41977</c:v>
                </c:pt>
                <c:pt idx="5186">
                  <c:v>41978</c:v>
                </c:pt>
                <c:pt idx="5187">
                  <c:v>41981</c:v>
                </c:pt>
                <c:pt idx="5188">
                  <c:v>41982</c:v>
                </c:pt>
                <c:pt idx="5189">
                  <c:v>41983</c:v>
                </c:pt>
                <c:pt idx="5190">
                  <c:v>41984</c:v>
                </c:pt>
                <c:pt idx="5191">
                  <c:v>41985</c:v>
                </c:pt>
                <c:pt idx="5192">
                  <c:v>41988</c:v>
                </c:pt>
                <c:pt idx="5193">
                  <c:v>41989</c:v>
                </c:pt>
                <c:pt idx="5194">
                  <c:v>41990</c:v>
                </c:pt>
                <c:pt idx="5195">
                  <c:v>41991</c:v>
                </c:pt>
                <c:pt idx="5196">
                  <c:v>41992</c:v>
                </c:pt>
                <c:pt idx="5197">
                  <c:v>41995</c:v>
                </c:pt>
                <c:pt idx="5198">
                  <c:v>41996</c:v>
                </c:pt>
                <c:pt idx="5199">
                  <c:v>41997</c:v>
                </c:pt>
                <c:pt idx="5200">
                  <c:v>41998</c:v>
                </c:pt>
                <c:pt idx="5201">
                  <c:v>41999</c:v>
                </c:pt>
                <c:pt idx="5202">
                  <c:v>42002</c:v>
                </c:pt>
                <c:pt idx="5203">
                  <c:v>42003</c:v>
                </c:pt>
                <c:pt idx="5204">
                  <c:v>42004</c:v>
                </c:pt>
                <c:pt idx="5205">
                  <c:v>42005</c:v>
                </c:pt>
                <c:pt idx="5206">
                  <c:v>42006</c:v>
                </c:pt>
                <c:pt idx="5207">
                  <c:v>42009</c:v>
                </c:pt>
                <c:pt idx="5208">
                  <c:v>42010</c:v>
                </c:pt>
                <c:pt idx="5209">
                  <c:v>42011</c:v>
                </c:pt>
                <c:pt idx="5210">
                  <c:v>42012</c:v>
                </c:pt>
                <c:pt idx="5211">
                  <c:v>42013</c:v>
                </c:pt>
                <c:pt idx="5212">
                  <c:v>42016</c:v>
                </c:pt>
                <c:pt idx="5213">
                  <c:v>42017</c:v>
                </c:pt>
                <c:pt idx="5214">
                  <c:v>42018</c:v>
                </c:pt>
                <c:pt idx="5215">
                  <c:v>42019</c:v>
                </c:pt>
                <c:pt idx="5216">
                  <c:v>42020</c:v>
                </c:pt>
                <c:pt idx="5217">
                  <c:v>42023</c:v>
                </c:pt>
                <c:pt idx="5218">
                  <c:v>42024</c:v>
                </c:pt>
                <c:pt idx="5219">
                  <c:v>42025</c:v>
                </c:pt>
                <c:pt idx="5220">
                  <c:v>42026</c:v>
                </c:pt>
                <c:pt idx="5221">
                  <c:v>42027</c:v>
                </c:pt>
                <c:pt idx="5222">
                  <c:v>42030</c:v>
                </c:pt>
                <c:pt idx="5223">
                  <c:v>42031</c:v>
                </c:pt>
                <c:pt idx="5224">
                  <c:v>42032</c:v>
                </c:pt>
                <c:pt idx="5225">
                  <c:v>42033</c:v>
                </c:pt>
                <c:pt idx="5226">
                  <c:v>42034</c:v>
                </c:pt>
                <c:pt idx="5227">
                  <c:v>42037</c:v>
                </c:pt>
                <c:pt idx="5228">
                  <c:v>42038</c:v>
                </c:pt>
                <c:pt idx="5229">
                  <c:v>42039</c:v>
                </c:pt>
                <c:pt idx="5230">
                  <c:v>42040</c:v>
                </c:pt>
                <c:pt idx="5231">
                  <c:v>42041</c:v>
                </c:pt>
                <c:pt idx="5232">
                  <c:v>42044</c:v>
                </c:pt>
                <c:pt idx="5233">
                  <c:v>42045</c:v>
                </c:pt>
                <c:pt idx="5234">
                  <c:v>42046</c:v>
                </c:pt>
                <c:pt idx="5235">
                  <c:v>42047</c:v>
                </c:pt>
                <c:pt idx="5236">
                  <c:v>42048</c:v>
                </c:pt>
                <c:pt idx="5237">
                  <c:v>42051</c:v>
                </c:pt>
                <c:pt idx="5238">
                  <c:v>42052</c:v>
                </c:pt>
                <c:pt idx="5239">
                  <c:v>42053</c:v>
                </c:pt>
                <c:pt idx="5240">
                  <c:v>42054</c:v>
                </c:pt>
                <c:pt idx="5241">
                  <c:v>42055</c:v>
                </c:pt>
                <c:pt idx="5242">
                  <c:v>42058</c:v>
                </c:pt>
                <c:pt idx="5243">
                  <c:v>42059</c:v>
                </c:pt>
                <c:pt idx="5244">
                  <c:v>42060</c:v>
                </c:pt>
                <c:pt idx="5245">
                  <c:v>42061</c:v>
                </c:pt>
                <c:pt idx="5246">
                  <c:v>42062</c:v>
                </c:pt>
                <c:pt idx="5247">
                  <c:v>42065</c:v>
                </c:pt>
                <c:pt idx="5248">
                  <c:v>42066</c:v>
                </c:pt>
                <c:pt idx="5249">
                  <c:v>42067</c:v>
                </c:pt>
                <c:pt idx="5250">
                  <c:v>42068</c:v>
                </c:pt>
                <c:pt idx="5251">
                  <c:v>42069</c:v>
                </c:pt>
                <c:pt idx="5252">
                  <c:v>42072</c:v>
                </c:pt>
                <c:pt idx="5253">
                  <c:v>42073</c:v>
                </c:pt>
                <c:pt idx="5254">
                  <c:v>42074</c:v>
                </c:pt>
                <c:pt idx="5255">
                  <c:v>42075</c:v>
                </c:pt>
                <c:pt idx="5256">
                  <c:v>42076</c:v>
                </c:pt>
                <c:pt idx="5257">
                  <c:v>42079</c:v>
                </c:pt>
                <c:pt idx="5258">
                  <c:v>42080</c:v>
                </c:pt>
                <c:pt idx="5259">
                  <c:v>42081</c:v>
                </c:pt>
                <c:pt idx="5260">
                  <c:v>42082</c:v>
                </c:pt>
                <c:pt idx="5261">
                  <c:v>42083</c:v>
                </c:pt>
                <c:pt idx="5262">
                  <c:v>42086</c:v>
                </c:pt>
                <c:pt idx="5263">
                  <c:v>42087</c:v>
                </c:pt>
                <c:pt idx="5264">
                  <c:v>42088</c:v>
                </c:pt>
                <c:pt idx="5265">
                  <c:v>42089</c:v>
                </c:pt>
                <c:pt idx="5266">
                  <c:v>42090</c:v>
                </c:pt>
                <c:pt idx="5267">
                  <c:v>42093</c:v>
                </c:pt>
                <c:pt idx="5268">
                  <c:v>42094</c:v>
                </c:pt>
                <c:pt idx="5269">
                  <c:v>42095</c:v>
                </c:pt>
                <c:pt idx="5270">
                  <c:v>42096</c:v>
                </c:pt>
                <c:pt idx="5271">
                  <c:v>42097</c:v>
                </c:pt>
                <c:pt idx="5272">
                  <c:v>42100</c:v>
                </c:pt>
                <c:pt idx="5273">
                  <c:v>42101</c:v>
                </c:pt>
                <c:pt idx="5274">
                  <c:v>42102</c:v>
                </c:pt>
                <c:pt idx="5275">
                  <c:v>42103</c:v>
                </c:pt>
                <c:pt idx="5276">
                  <c:v>42104</c:v>
                </c:pt>
                <c:pt idx="5277">
                  <c:v>42107</c:v>
                </c:pt>
                <c:pt idx="5278">
                  <c:v>42108</c:v>
                </c:pt>
                <c:pt idx="5279">
                  <c:v>42109</c:v>
                </c:pt>
                <c:pt idx="5280">
                  <c:v>42110</c:v>
                </c:pt>
                <c:pt idx="5281">
                  <c:v>42111</c:v>
                </c:pt>
                <c:pt idx="5282">
                  <c:v>42114</c:v>
                </c:pt>
                <c:pt idx="5283">
                  <c:v>42115</c:v>
                </c:pt>
                <c:pt idx="5284">
                  <c:v>42116</c:v>
                </c:pt>
                <c:pt idx="5285">
                  <c:v>42117</c:v>
                </c:pt>
                <c:pt idx="5286">
                  <c:v>42118</c:v>
                </c:pt>
                <c:pt idx="5287">
                  <c:v>42121</c:v>
                </c:pt>
                <c:pt idx="5288">
                  <c:v>42122</c:v>
                </c:pt>
                <c:pt idx="5289">
                  <c:v>42123</c:v>
                </c:pt>
                <c:pt idx="5290">
                  <c:v>42124</c:v>
                </c:pt>
                <c:pt idx="5291">
                  <c:v>42125</c:v>
                </c:pt>
                <c:pt idx="5292">
                  <c:v>42128</c:v>
                </c:pt>
                <c:pt idx="5293">
                  <c:v>42129</c:v>
                </c:pt>
                <c:pt idx="5294">
                  <c:v>42130</c:v>
                </c:pt>
                <c:pt idx="5295">
                  <c:v>42131</c:v>
                </c:pt>
                <c:pt idx="5296">
                  <c:v>42132</c:v>
                </c:pt>
                <c:pt idx="5297">
                  <c:v>42135</c:v>
                </c:pt>
                <c:pt idx="5298">
                  <c:v>42136</c:v>
                </c:pt>
                <c:pt idx="5299">
                  <c:v>42137</c:v>
                </c:pt>
                <c:pt idx="5300">
                  <c:v>42138</c:v>
                </c:pt>
                <c:pt idx="5301">
                  <c:v>42139</c:v>
                </c:pt>
                <c:pt idx="5302">
                  <c:v>42142</c:v>
                </c:pt>
                <c:pt idx="5303">
                  <c:v>42143</c:v>
                </c:pt>
                <c:pt idx="5304">
                  <c:v>42144</c:v>
                </c:pt>
                <c:pt idx="5305">
                  <c:v>42145</c:v>
                </c:pt>
                <c:pt idx="5306">
                  <c:v>42146</c:v>
                </c:pt>
                <c:pt idx="5307">
                  <c:v>42149</c:v>
                </c:pt>
                <c:pt idx="5308">
                  <c:v>42150</c:v>
                </c:pt>
                <c:pt idx="5309">
                  <c:v>42151</c:v>
                </c:pt>
                <c:pt idx="5310">
                  <c:v>42152</c:v>
                </c:pt>
                <c:pt idx="5311">
                  <c:v>42153</c:v>
                </c:pt>
                <c:pt idx="5312">
                  <c:v>42156</c:v>
                </c:pt>
                <c:pt idx="5313">
                  <c:v>42157</c:v>
                </c:pt>
                <c:pt idx="5314">
                  <c:v>42158</c:v>
                </c:pt>
                <c:pt idx="5315">
                  <c:v>42159</c:v>
                </c:pt>
                <c:pt idx="5316">
                  <c:v>42160</c:v>
                </c:pt>
                <c:pt idx="5317">
                  <c:v>42163</c:v>
                </c:pt>
                <c:pt idx="5318">
                  <c:v>42164</c:v>
                </c:pt>
                <c:pt idx="5319">
                  <c:v>42165</c:v>
                </c:pt>
                <c:pt idx="5320">
                  <c:v>42166</c:v>
                </c:pt>
                <c:pt idx="5321">
                  <c:v>42167</c:v>
                </c:pt>
                <c:pt idx="5322">
                  <c:v>42170</c:v>
                </c:pt>
                <c:pt idx="5323">
                  <c:v>42171</c:v>
                </c:pt>
                <c:pt idx="5324">
                  <c:v>42172</c:v>
                </c:pt>
                <c:pt idx="5325">
                  <c:v>42173</c:v>
                </c:pt>
                <c:pt idx="5326">
                  <c:v>42174</c:v>
                </c:pt>
                <c:pt idx="5327">
                  <c:v>42177</c:v>
                </c:pt>
                <c:pt idx="5328">
                  <c:v>42178</c:v>
                </c:pt>
                <c:pt idx="5329">
                  <c:v>42179</c:v>
                </c:pt>
                <c:pt idx="5330">
                  <c:v>42180</c:v>
                </c:pt>
                <c:pt idx="5331">
                  <c:v>42181</c:v>
                </c:pt>
                <c:pt idx="5332">
                  <c:v>42184</c:v>
                </c:pt>
                <c:pt idx="5333">
                  <c:v>42185</c:v>
                </c:pt>
                <c:pt idx="5334">
                  <c:v>42186</c:v>
                </c:pt>
                <c:pt idx="5335">
                  <c:v>42187</c:v>
                </c:pt>
                <c:pt idx="5336">
                  <c:v>42188</c:v>
                </c:pt>
                <c:pt idx="5337">
                  <c:v>42191</c:v>
                </c:pt>
                <c:pt idx="5338">
                  <c:v>42192</c:v>
                </c:pt>
                <c:pt idx="5339">
                  <c:v>42193</c:v>
                </c:pt>
                <c:pt idx="5340">
                  <c:v>42194</c:v>
                </c:pt>
                <c:pt idx="5341">
                  <c:v>42195</c:v>
                </c:pt>
                <c:pt idx="5342">
                  <c:v>42198</c:v>
                </c:pt>
                <c:pt idx="5343">
                  <c:v>42199</c:v>
                </c:pt>
                <c:pt idx="5344">
                  <c:v>42200</c:v>
                </c:pt>
                <c:pt idx="5345">
                  <c:v>42201</c:v>
                </c:pt>
                <c:pt idx="5346">
                  <c:v>42202</c:v>
                </c:pt>
                <c:pt idx="5347">
                  <c:v>42205</c:v>
                </c:pt>
                <c:pt idx="5348">
                  <c:v>42206</c:v>
                </c:pt>
                <c:pt idx="5349">
                  <c:v>42207</c:v>
                </c:pt>
                <c:pt idx="5350">
                  <c:v>42208</c:v>
                </c:pt>
                <c:pt idx="5351">
                  <c:v>42209</c:v>
                </c:pt>
                <c:pt idx="5352">
                  <c:v>42212</c:v>
                </c:pt>
                <c:pt idx="5353">
                  <c:v>42213</c:v>
                </c:pt>
                <c:pt idx="5354">
                  <c:v>42214</c:v>
                </c:pt>
                <c:pt idx="5355">
                  <c:v>42215</c:v>
                </c:pt>
                <c:pt idx="5356">
                  <c:v>42216</c:v>
                </c:pt>
                <c:pt idx="5357">
                  <c:v>42219</c:v>
                </c:pt>
                <c:pt idx="5358">
                  <c:v>42220</c:v>
                </c:pt>
                <c:pt idx="5359">
                  <c:v>42221</c:v>
                </c:pt>
                <c:pt idx="5360">
                  <c:v>42222</c:v>
                </c:pt>
                <c:pt idx="5361">
                  <c:v>42223</c:v>
                </c:pt>
                <c:pt idx="5362">
                  <c:v>42226</c:v>
                </c:pt>
                <c:pt idx="5363">
                  <c:v>42227</c:v>
                </c:pt>
                <c:pt idx="5364">
                  <c:v>42228</c:v>
                </c:pt>
                <c:pt idx="5365">
                  <c:v>42229</c:v>
                </c:pt>
                <c:pt idx="5366">
                  <c:v>42230</c:v>
                </c:pt>
                <c:pt idx="5367">
                  <c:v>42233</c:v>
                </c:pt>
                <c:pt idx="5368">
                  <c:v>42234</c:v>
                </c:pt>
                <c:pt idx="5369">
                  <c:v>42235</c:v>
                </c:pt>
                <c:pt idx="5370">
                  <c:v>42236</c:v>
                </c:pt>
                <c:pt idx="5371">
                  <c:v>42237</c:v>
                </c:pt>
                <c:pt idx="5372">
                  <c:v>42240</c:v>
                </c:pt>
                <c:pt idx="5373">
                  <c:v>42241</c:v>
                </c:pt>
                <c:pt idx="5374">
                  <c:v>42242</c:v>
                </c:pt>
                <c:pt idx="5375">
                  <c:v>42243</c:v>
                </c:pt>
                <c:pt idx="5376">
                  <c:v>42244</c:v>
                </c:pt>
                <c:pt idx="5377">
                  <c:v>42247</c:v>
                </c:pt>
                <c:pt idx="5378">
                  <c:v>42248</c:v>
                </c:pt>
                <c:pt idx="5379">
                  <c:v>42249</c:v>
                </c:pt>
                <c:pt idx="5380">
                  <c:v>42250</c:v>
                </c:pt>
                <c:pt idx="5381">
                  <c:v>42251</c:v>
                </c:pt>
                <c:pt idx="5382">
                  <c:v>42254</c:v>
                </c:pt>
                <c:pt idx="5383">
                  <c:v>42255</c:v>
                </c:pt>
                <c:pt idx="5384">
                  <c:v>42256</c:v>
                </c:pt>
                <c:pt idx="5385">
                  <c:v>42257</c:v>
                </c:pt>
                <c:pt idx="5386">
                  <c:v>42258</c:v>
                </c:pt>
                <c:pt idx="5387">
                  <c:v>42261</c:v>
                </c:pt>
                <c:pt idx="5388">
                  <c:v>42262</c:v>
                </c:pt>
                <c:pt idx="5389">
                  <c:v>42263</c:v>
                </c:pt>
                <c:pt idx="5390">
                  <c:v>42264</c:v>
                </c:pt>
                <c:pt idx="5391">
                  <c:v>42265</c:v>
                </c:pt>
                <c:pt idx="5392">
                  <c:v>42268</c:v>
                </c:pt>
                <c:pt idx="5393">
                  <c:v>42269</c:v>
                </c:pt>
                <c:pt idx="5394">
                  <c:v>42270</c:v>
                </c:pt>
                <c:pt idx="5395">
                  <c:v>42271</c:v>
                </c:pt>
                <c:pt idx="5396">
                  <c:v>42272</c:v>
                </c:pt>
                <c:pt idx="5397">
                  <c:v>42275</c:v>
                </c:pt>
                <c:pt idx="5398">
                  <c:v>42276</c:v>
                </c:pt>
                <c:pt idx="5399">
                  <c:v>42277</c:v>
                </c:pt>
                <c:pt idx="5400">
                  <c:v>42278</c:v>
                </c:pt>
                <c:pt idx="5401">
                  <c:v>42279</c:v>
                </c:pt>
                <c:pt idx="5402">
                  <c:v>42282</c:v>
                </c:pt>
                <c:pt idx="5403">
                  <c:v>42283</c:v>
                </c:pt>
                <c:pt idx="5404">
                  <c:v>42284</c:v>
                </c:pt>
                <c:pt idx="5405">
                  <c:v>42285</c:v>
                </c:pt>
                <c:pt idx="5406">
                  <c:v>42286</c:v>
                </c:pt>
                <c:pt idx="5407">
                  <c:v>42289</c:v>
                </c:pt>
                <c:pt idx="5408">
                  <c:v>42290</c:v>
                </c:pt>
                <c:pt idx="5409">
                  <c:v>42291</c:v>
                </c:pt>
                <c:pt idx="5410">
                  <c:v>42292</c:v>
                </c:pt>
                <c:pt idx="5411">
                  <c:v>42293</c:v>
                </c:pt>
                <c:pt idx="5412">
                  <c:v>42296</c:v>
                </c:pt>
                <c:pt idx="5413">
                  <c:v>42297</c:v>
                </c:pt>
                <c:pt idx="5414">
                  <c:v>42298</c:v>
                </c:pt>
                <c:pt idx="5415">
                  <c:v>42299</c:v>
                </c:pt>
                <c:pt idx="5416">
                  <c:v>42300</c:v>
                </c:pt>
                <c:pt idx="5417">
                  <c:v>42303</c:v>
                </c:pt>
                <c:pt idx="5418">
                  <c:v>42304</c:v>
                </c:pt>
                <c:pt idx="5419">
                  <c:v>42305</c:v>
                </c:pt>
                <c:pt idx="5420">
                  <c:v>42306</c:v>
                </c:pt>
                <c:pt idx="5421">
                  <c:v>42307</c:v>
                </c:pt>
                <c:pt idx="5422">
                  <c:v>42310</c:v>
                </c:pt>
                <c:pt idx="5423">
                  <c:v>42311</c:v>
                </c:pt>
                <c:pt idx="5424">
                  <c:v>42312</c:v>
                </c:pt>
                <c:pt idx="5425">
                  <c:v>42313</c:v>
                </c:pt>
                <c:pt idx="5426">
                  <c:v>42314</c:v>
                </c:pt>
                <c:pt idx="5427">
                  <c:v>42317</c:v>
                </c:pt>
                <c:pt idx="5428">
                  <c:v>42318</c:v>
                </c:pt>
                <c:pt idx="5429">
                  <c:v>42319</c:v>
                </c:pt>
                <c:pt idx="5430">
                  <c:v>42320</c:v>
                </c:pt>
                <c:pt idx="5431">
                  <c:v>42321</c:v>
                </c:pt>
                <c:pt idx="5432">
                  <c:v>42324</c:v>
                </c:pt>
                <c:pt idx="5433">
                  <c:v>42325</c:v>
                </c:pt>
                <c:pt idx="5434">
                  <c:v>42326</c:v>
                </c:pt>
                <c:pt idx="5435">
                  <c:v>42327</c:v>
                </c:pt>
                <c:pt idx="5436">
                  <c:v>42328</c:v>
                </c:pt>
                <c:pt idx="5437">
                  <c:v>42331</c:v>
                </c:pt>
                <c:pt idx="5438">
                  <c:v>42332</c:v>
                </c:pt>
                <c:pt idx="5439">
                  <c:v>42333</c:v>
                </c:pt>
                <c:pt idx="5440">
                  <c:v>42334</c:v>
                </c:pt>
                <c:pt idx="5441">
                  <c:v>42335</c:v>
                </c:pt>
                <c:pt idx="5442">
                  <c:v>42338</c:v>
                </c:pt>
                <c:pt idx="5443">
                  <c:v>42339</c:v>
                </c:pt>
                <c:pt idx="5444">
                  <c:v>42340</c:v>
                </c:pt>
                <c:pt idx="5445">
                  <c:v>42341</c:v>
                </c:pt>
                <c:pt idx="5446">
                  <c:v>42342</c:v>
                </c:pt>
                <c:pt idx="5447">
                  <c:v>42345</c:v>
                </c:pt>
                <c:pt idx="5448">
                  <c:v>42346</c:v>
                </c:pt>
                <c:pt idx="5449">
                  <c:v>42347</c:v>
                </c:pt>
                <c:pt idx="5450">
                  <c:v>42348</c:v>
                </c:pt>
                <c:pt idx="5451">
                  <c:v>42349</c:v>
                </c:pt>
                <c:pt idx="5452">
                  <c:v>42352</c:v>
                </c:pt>
                <c:pt idx="5453">
                  <c:v>42353</c:v>
                </c:pt>
                <c:pt idx="5454">
                  <c:v>42354</c:v>
                </c:pt>
                <c:pt idx="5455">
                  <c:v>42355</c:v>
                </c:pt>
                <c:pt idx="5456">
                  <c:v>42356</c:v>
                </c:pt>
                <c:pt idx="5457">
                  <c:v>42359</c:v>
                </c:pt>
                <c:pt idx="5458">
                  <c:v>42360</c:v>
                </c:pt>
                <c:pt idx="5459">
                  <c:v>42361</c:v>
                </c:pt>
                <c:pt idx="5460">
                  <c:v>42362</c:v>
                </c:pt>
                <c:pt idx="5461">
                  <c:v>42363</c:v>
                </c:pt>
                <c:pt idx="5462">
                  <c:v>42366</c:v>
                </c:pt>
                <c:pt idx="5463">
                  <c:v>42367</c:v>
                </c:pt>
                <c:pt idx="5464">
                  <c:v>42368</c:v>
                </c:pt>
                <c:pt idx="5465">
                  <c:v>42369</c:v>
                </c:pt>
                <c:pt idx="5466">
                  <c:v>42370</c:v>
                </c:pt>
                <c:pt idx="5467">
                  <c:v>42373</c:v>
                </c:pt>
                <c:pt idx="5468">
                  <c:v>42374</c:v>
                </c:pt>
                <c:pt idx="5469">
                  <c:v>42375</c:v>
                </c:pt>
                <c:pt idx="5470">
                  <c:v>42376</c:v>
                </c:pt>
                <c:pt idx="5471">
                  <c:v>42377</c:v>
                </c:pt>
                <c:pt idx="5472">
                  <c:v>42380</c:v>
                </c:pt>
                <c:pt idx="5473">
                  <c:v>42381</c:v>
                </c:pt>
                <c:pt idx="5474">
                  <c:v>42382</c:v>
                </c:pt>
                <c:pt idx="5475">
                  <c:v>42383</c:v>
                </c:pt>
                <c:pt idx="5476">
                  <c:v>42384</c:v>
                </c:pt>
                <c:pt idx="5477">
                  <c:v>42387</c:v>
                </c:pt>
                <c:pt idx="5478">
                  <c:v>42388</c:v>
                </c:pt>
                <c:pt idx="5479">
                  <c:v>42389</c:v>
                </c:pt>
                <c:pt idx="5480">
                  <c:v>42390</c:v>
                </c:pt>
                <c:pt idx="5481">
                  <c:v>42391</c:v>
                </c:pt>
                <c:pt idx="5482">
                  <c:v>42394</c:v>
                </c:pt>
                <c:pt idx="5483">
                  <c:v>42395</c:v>
                </c:pt>
                <c:pt idx="5484">
                  <c:v>42396</c:v>
                </c:pt>
                <c:pt idx="5485">
                  <c:v>42397</c:v>
                </c:pt>
                <c:pt idx="5486">
                  <c:v>42398</c:v>
                </c:pt>
                <c:pt idx="5487">
                  <c:v>42401</c:v>
                </c:pt>
                <c:pt idx="5488">
                  <c:v>42402</c:v>
                </c:pt>
                <c:pt idx="5489">
                  <c:v>42403</c:v>
                </c:pt>
                <c:pt idx="5490">
                  <c:v>42404</c:v>
                </c:pt>
                <c:pt idx="5491">
                  <c:v>42405</c:v>
                </c:pt>
                <c:pt idx="5492">
                  <c:v>42408</c:v>
                </c:pt>
                <c:pt idx="5493">
                  <c:v>42409</c:v>
                </c:pt>
                <c:pt idx="5494">
                  <c:v>42410</c:v>
                </c:pt>
                <c:pt idx="5495">
                  <c:v>42411</c:v>
                </c:pt>
                <c:pt idx="5496">
                  <c:v>42412</c:v>
                </c:pt>
                <c:pt idx="5497">
                  <c:v>42415</c:v>
                </c:pt>
                <c:pt idx="5498">
                  <c:v>42416</c:v>
                </c:pt>
                <c:pt idx="5499">
                  <c:v>42417</c:v>
                </c:pt>
                <c:pt idx="5500">
                  <c:v>42418</c:v>
                </c:pt>
                <c:pt idx="5501">
                  <c:v>42419</c:v>
                </c:pt>
                <c:pt idx="5502">
                  <c:v>42422</c:v>
                </c:pt>
                <c:pt idx="5503">
                  <c:v>42423</c:v>
                </c:pt>
                <c:pt idx="5504">
                  <c:v>42424</c:v>
                </c:pt>
                <c:pt idx="5505">
                  <c:v>42425</c:v>
                </c:pt>
                <c:pt idx="5506">
                  <c:v>42426</c:v>
                </c:pt>
                <c:pt idx="5507">
                  <c:v>42429</c:v>
                </c:pt>
                <c:pt idx="5508">
                  <c:v>42430</c:v>
                </c:pt>
                <c:pt idx="5509">
                  <c:v>42431</c:v>
                </c:pt>
                <c:pt idx="5510">
                  <c:v>42432</c:v>
                </c:pt>
                <c:pt idx="5511">
                  <c:v>42433</c:v>
                </c:pt>
                <c:pt idx="5512">
                  <c:v>42436</c:v>
                </c:pt>
                <c:pt idx="5513">
                  <c:v>42437</c:v>
                </c:pt>
                <c:pt idx="5514">
                  <c:v>42438</c:v>
                </c:pt>
                <c:pt idx="5515">
                  <c:v>42439</c:v>
                </c:pt>
                <c:pt idx="5516">
                  <c:v>42440</c:v>
                </c:pt>
                <c:pt idx="5517">
                  <c:v>42443</c:v>
                </c:pt>
                <c:pt idx="5518">
                  <c:v>42444</c:v>
                </c:pt>
                <c:pt idx="5519">
                  <c:v>42445</c:v>
                </c:pt>
                <c:pt idx="5520">
                  <c:v>42446</c:v>
                </c:pt>
                <c:pt idx="5521">
                  <c:v>42447</c:v>
                </c:pt>
                <c:pt idx="5522">
                  <c:v>42450</c:v>
                </c:pt>
                <c:pt idx="5523">
                  <c:v>42451</c:v>
                </c:pt>
                <c:pt idx="5524">
                  <c:v>42452</c:v>
                </c:pt>
                <c:pt idx="5525">
                  <c:v>42453</c:v>
                </c:pt>
                <c:pt idx="5526">
                  <c:v>42454</c:v>
                </c:pt>
                <c:pt idx="5527">
                  <c:v>42457</c:v>
                </c:pt>
                <c:pt idx="5528">
                  <c:v>42458</c:v>
                </c:pt>
                <c:pt idx="5529">
                  <c:v>42459</c:v>
                </c:pt>
                <c:pt idx="5530">
                  <c:v>42460</c:v>
                </c:pt>
                <c:pt idx="5531">
                  <c:v>42461</c:v>
                </c:pt>
                <c:pt idx="5532">
                  <c:v>42464</c:v>
                </c:pt>
                <c:pt idx="5533">
                  <c:v>42465</c:v>
                </c:pt>
                <c:pt idx="5534">
                  <c:v>42466</c:v>
                </c:pt>
                <c:pt idx="5535">
                  <c:v>42467</c:v>
                </c:pt>
                <c:pt idx="5536">
                  <c:v>42468</c:v>
                </c:pt>
                <c:pt idx="5537">
                  <c:v>42471</c:v>
                </c:pt>
                <c:pt idx="5538">
                  <c:v>42472</c:v>
                </c:pt>
                <c:pt idx="5539">
                  <c:v>42473</c:v>
                </c:pt>
                <c:pt idx="5540">
                  <c:v>42474</c:v>
                </c:pt>
                <c:pt idx="5541">
                  <c:v>42475</c:v>
                </c:pt>
                <c:pt idx="5542">
                  <c:v>42478</c:v>
                </c:pt>
                <c:pt idx="5543">
                  <c:v>42479</c:v>
                </c:pt>
                <c:pt idx="5544">
                  <c:v>42480</c:v>
                </c:pt>
                <c:pt idx="5545">
                  <c:v>42481</c:v>
                </c:pt>
                <c:pt idx="5546">
                  <c:v>42482</c:v>
                </c:pt>
                <c:pt idx="5547">
                  <c:v>42485</c:v>
                </c:pt>
                <c:pt idx="5548">
                  <c:v>42486</c:v>
                </c:pt>
                <c:pt idx="5549">
                  <c:v>42487</c:v>
                </c:pt>
                <c:pt idx="5550">
                  <c:v>42488</c:v>
                </c:pt>
                <c:pt idx="5551">
                  <c:v>42489</c:v>
                </c:pt>
                <c:pt idx="5552">
                  <c:v>42492</c:v>
                </c:pt>
                <c:pt idx="5553">
                  <c:v>42493</c:v>
                </c:pt>
                <c:pt idx="5554">
                  <c:v>42494</c:v>
                </c:pt>
                <c:pt idx="5555">
                  <c:v>42495</c:v>
                </c:pt>
                <c:pt idx="5556">
                  <c:v>42496</c:v>
                </c:pt>
                <c:pt idx="5557">
                  <c:v>42499</c:v>
                </c:pt>
                <c:pt idx="5558">
                  <c:v>42500</c:v>
                </c:pt>
                <c:pt idx="5559">
                  <c:v>42501</c:v>
                </c:pt>
                <c:pt idx="5560">
                  <c:v>42502</c:v>
                </c:pt>
                <c:pt idx="5561">
                  <c:v>42503</c:v>
                </c:pt>
                <c:pt idx="5562">
                  <c:v>42506</c:v>
                </c:pt>
                <c:pt idx="5563">
                  <c:v>42507</c:v>
                </c:pt>
                <c:pt idx="5564">
                  <c:v>42508</c:v>
                </c:pt>
                <c:pt idx="5565">
                  <c:v>42509</c:v>
                </c:pt>
                <c:pt idx="5566">
                  <c:v>42510</c:v>
                </c:pt>
                <c:pt idx="5567">
                  <c:v>42513</c:v>
                </c:pt>
                <c:pt idx="5568">
                  <c:v>42514</c:v>
                </c:pt>
                <c:pt idx="5569">
                  <c:v>42515</c:v>
                </c:pt>
                <c:pt idx="5570">
                  <c:v>42516</c:v>
                </c:pt>
                <c:pt idx="5571">
                  <c:v>42517</c:v>
                </c:pt>
                <c:pt idx="5572">
                  <c:v>42520</c:v>
                </c:pt>
                <c:pt idx="5573">
                  <c:v>42521</c:v>
                </c:pt>
                <c:pt idx="5574">
                  <c:v>42522</c:v>
                </c:pt>
                <c:pt idx="5575">
                  <c:v>42523</c:v>
                </c:pt>
                <c:pt idx="5576">
                  <c:v>42524</c:v>
                </c:pt>
                <c:pt idx="5577">
                  <c:v>42527</c:v>
                </c:pt>
                <c:pt idx="5578">
                  <c:v>42528</c:v>
                </c:pt>
                <c:pt idx="5579">
                  <c:v>42529</c:v>
                </c:pt>
                <c:pt idx="5580">
                  <c:v>42530</c:v>
                </c:pt>
                <c:pt idx="5581">
                  <c:v>42531</c:v>
                </c:pt>
                <c:pt idx="5582">
                  <c:v>42534</c:v>
                </c:pt>
                <c:pt idx="5583">
                  <c:v>42535</c:v>
                </c:pt>
                <c:pt idx="5584">
                  <c:v>42536</c:v>
                </c:pt>
                <c:pt idx="5585">
                  <c:v>42537</c:v>
                </c:pt>
                <c:pt idx="5586">
                  <c:v>42538</c:v>
                </c:pt>
                <c:pt idx="5587">
                  <c:v>42541</c:v>
                </c:pt>
                <c:pt idx="5588">
                  <c:v>42542</c:v>
                </c:pt>
                <c:pt idx="5589">
                  <c:v>42543</c:v>
                </c:pt>
                <c:pt idx="5590">
                  <c:v>42544</c:v>
                </c:pt>
                <c:pt idx="5591">
                  <c:v>42545</c:v>
                </c:pt>
                <c:pt idx="5592">
                  <c:v>42548</c:v>
                </c:pt>
                <c:pt idx="5593">
                  <c:v>42549</c:v>
                </c:pt>
                <c:pt idx="5594">
                  <c:v>42550</c:v>
                </c:pt>
                <c:pt idx="5595">
                  <c:v>42551</c:v>
                </c:pt>
                <c:pt idx="5596">
                  <c:v>42552</c:v>
                </c:pt>
                <c:pt idx="5597">
                  <c:v>42555</c:v>
                </c:pt>
                <c:pt idx="5598">
                  <c:v>42556</c:v>
                </c:pt>
                <c:pt idx="5599">
                  <c:v>42557</c:v>
                </c:pt>
                <c:pt idx="5600">
                  <c:v>42558</c:v>
                </c:pt>
                <c:pt idx="5601">
                  <c:v>42559</c:v>
                </c:pt>
                <c:pt idx="5602">
                  <c:v>42562</c:v>
                </c:pt>
                <c:pt idx="5603">
                  <c:v>42563</c:v>
                </c:pt>
                <c:pt idx="5604">
                  <c:v>42564</c:v>
                </c:pt>
                <c:pt idx="5605">
                  <c:v>42565</c:v>
                </c:pt>
                <c:pt idx="5606">
                  <c:v>42566</c:v>
                </c:pt>
                <c:pt idx="5607">
                  <c:v>42569</c:v>
                </c:pt>
                <c:pt idx="5608">
                  <c:v>42570</c:v>
                </c:pt>
                <c:pt idx="5609">
                  <c:v>42571</c:v>
                </c:pt>
                <c:pt idx="5610">
                  <c:v>42572</c:v>
                </c:pt>
                <c:pt idx="5611">
                  <c:v>42573</c:v>
                </c:pt>
                <c:pt idx="5612">
                  <c:v>42576</c:v>
                </c:pt>
                <c:pt idx="5613">
                  <c:v>42577</c:v>
                </c:pt>
                <c:pt idx="5614">
                  <c:v>42578</c:v>
                </c:pt>
                <c:pt idx="5615">
                  <c:v>42579</c:v>
                </c:pt>
                <c:pt idx="5616">
                  <c:v>42580</c:v>
                </c:pt>
                <c:pt idx="5617">
                  <c:v>42583</c:v>
                </c:pt>
                <c:pt idx="5618">
                  <c:v>42584</c:v>
                </c:pt>
                <c:pt idx="5619">
                  <c:v>42585</c:v>
                </c:pt>
                <c:pt idx="5620">
                  <c:v>42586</c:v>
                </c:pt>
                <c:pt idx="5621">
                  <c:v>42587</c:v>
                </c:pt>
                <c:pt idx="5622">
                  <c:v>42590</c:v>
                </c:pt>
                <c:pt idx="5623">
                  <c:v>42591</c:v>
                </c:pt>
                <c:pt idx="5624">
                  <c:v>42592</c:v>
                </c:pt>
                <c:pt idx="5625">
                  <c:v>42593</c:v>
                </c:pt>
                <c:pt idx="5626">
                  <c:v>42594</c:v>
                </c:pt>
                <c:pt idx="5627">
                  <c:v>42597</c:v>
                </c:pt>
                <c:pt idx="5628">
                  <c:v>42598</c:v>
                </c:pt>
                <c:pt idx="5629">
                  <c:v>42599</c:v>
                </c:pt>
                <c:pt idx="5630">
                  <c:v>42600</c:v>
                </c:pt>
                <c:pt idx="5631">
                  <c:v>42601</c:v>
                </c:pt>
                <c:pt idx="5632">
                  <c:v>42604</c:v>
                </c:pt>
                <c:pt idx="5633">
                  <c:v>42605</c:v>
                </c:pt>
                <c:pt idx="5634">
                  <c:v>42606</c:v>
                </c:pt>
                <c:pt idx="5635">
                  <c:v>42607</c:v>
                </c:pt>
                <c:pt idx="5636">
                  <c:v>42608</c:v>
                </c:pt>
                <c:pt idx="5637">
                  <c:v>42611</c:v>
                </c:pt>
                <c:pt idx="5638">
                  <c:v>42612</c:v>
                </c:pt>
                <c:pt idx="5639">
                  <c:v>42613</c:v>
                </c:pt>
                <c:pt idx="5640">
                  <c:v>42614</c:v>
                </c:pt>
                <c:pt idx="5641">
                  <c:v>42615</c:v>
                </c:pt>
                <c:pt idx="5642">
                  <c:v>42618</c:v>
                </c:pt>
                <c:pt idx="5643">
                  <c:v>42619</c:v>
                </c:pt>
                <c:pt idx="5644">
                  <c:v>42620</c:v>
                </c:pt>
                <c:pt idx="5645">
                  <c:v>42621</c:v>
                </c:pt>
                <c:pt idx="5646">
                  <c:v>42622</c:v>
                </c:pt>
                <c:pt idx="5647">
                  <c:v>42625</c:v>
                </c:pt>
                <c:pt idx="5648">
                  <c:v>42626</c:v>
                </c:pt>
                <c:pt idx="5649">
                  <c:v>42627</c:v>
                </c:pt>
                <c:pt idx="5650">
                  <c:v>42628</c:v>
                </c:pt>
                <c:pt idx="5651">
                  <c:v>42629</c:v>
                </c:pt>
                <c:pt idx="5652">
                  <c:v>42632</c:v>
                </c:pt>
                <c:pt idx="5653">
                  <c:v>42633</c:v>
                </c:pt>
                <c:pt idx="5654">
                  <c:v>42634</c:v>
                </c:pt>
                <c:pt idx="5655">
                  <c:v>42635</c:v>
                </c:pt>
                <c:pt idx="5656">
                  <c:v>42636</c:v>
                </c:pt>
                <c:pt idx="5657">
                  <c:v>42639</c:v>
                </c:pt>
                <c:pt idx="5658">
                  <c:v>42640</c:v>
                </c:pt>
                <c:pt idx="5659">
                  <c:v>42641</c:v>
                </c:pt>
                <c:pt idx="5660">
                  <c:v>42642</c:v>
                </c:pt>
                <c:pt idx="5661">
                  <c:v>42643</c:v>
                </c:pt>
                <c:pt idx="5662">
                  <c:v>42646</c:v>
                </c:pt>
                <c:pt idx="5663">
                  <c:v>42647</c:v>
                </c:pt>
                <c:pt idx="5664">
                  <c:v>42648</c:v>
                </c:pt>
                <c:pt idx="5665">
                  <c:v>42649</c:v>
                </c:pt>
                <c:pt idx="5666">
                  <c:v>42650</c:v>
                </c:pt>
                <c:pt idx="5667">
                  <c:v>42653</c:v>
                </c:pt>
                <c:pt idx="5668">
                  <c:v>42654</c:v>
                </c:pt>
                <c:pt idx="5669">
                  <c:v>42655</c:v>
                </c:pt>
                <c:pt idx="5670">
                  <c:v>42656</c:v>
                </c:pt>
                <c:pt idx="5671">
                  <c:v>42657</c:v>
                </c:pt>
                <c:pt idx="5672">
                  <c:v>42660</c:v>
                </c:pt>
                <c:pt idx="5673">
                  <c:v>42661</c:v>
                </c:pt>
                <c:pt idx="5674">
                  <c:v>42662</c:v>
                </c:pt>
                <c:pt idx="5675">
                  <c:v>42663</c:v>
                </c:pt>
                <c:pt idx="5676">
                  <c:v>42664</c:v>
                </c:pt>
                <c:pt idx="5677">
                  <c:v>42667</c:v>
                </c:pt>
                <c:pt idx="5678">
                  <c:v>42668</c:v>
                </c:pt>
                <c:pt idx="5679">
                  <c:v>42669</c:v>
                </c:pt>
                <c:pt idx="5680">
                  <c:v>42670</c:v>
                </c:pt>
                <c:pt idx="5681">
                  <c:v>42671</c:v>
                </c:pt>
                <c:pt idx="5682">
                  <c:v>42674</c:v>
                </c:pt>
                <c:pt idx="5683">
                  <c:v>42675</c:v>
                </c:pt>
                <c:pt idx="5684">
                  <c:v>42676</c:v>
                </c:pt>
                <c:pt idx="5685">
                  <c:v>42677</c:v>
                </c:pt>
                <c:pt idx="5686">
                  <c:v>42678</c:v>
                </c:pt>
                <c:pt idx="5687">
                  <c:v>42681</c:v>
                </c:pt>
                <c:pt idx="5688">
                  <c:v>42682</c:v>
                </c:pt>
                <c:pt idx="5689">
                  <c:v>42683</c:v>
                </c:pt>
                <c:pt idx="5690">
                  <c:v>42684</c:v>
                </c:pt>
                <c:pt idx="5691">
                  <c:v>42685</c:v>
                </c:pt>
                <c:pt idx="5692">
                  <c:v>42688</c:v>
                </c:pt>
                <c:pt idx="5693">
                  <c:v>42689</c:v>
                </c:pt>
                <c:pt idx="5694">
                  <c:v>42690</c:v>
                </c:pt>
                <c:pt idx="5695">
                  <c:v>42691</c:v>
                </c:pt>
                <c:pt idx="5696">
                  <c:v>42692</c:v>
                </c:pt>
                <c:pt idx="5697">
                  <c:v>42695</c:v>
                </c:pt>
                <c:pt idx="5698">
                  <c:v>42696</c:v>
                </c:pt>
                <c:pt idx="5699">
                  <c:v>42697</c:v>
                </c:pt>
                <c:pt idx="5700">
                  <c:v>42698</c:v>
                </c:pt>
                <c:pt idx="5701">
                  <c:v>42699</c:v>
                </c:pt>
                <c:pt idx="5702">
                  <c:v>42702</c:v>
                </c:pt>
                <c:pt idx="5703">
                  <c:v>42703</c:v>
                </c:pt>
                <c:pt idx="5704">
                  <c:v>42704</c:v>
                </c:pt>
                <c:pt idx="5705">
                  <c:v>42705</c:v>
                </c:pt>
                <c:pt idx="5706">
                  <c:v>42706</c:v>
                </c:pt>
                <c:pt idx="5707">
                  <c:v>42709</c:v>
                </c:pt>
                <c:pt idx="5708">
                  <c:v>42710</c:v>
                </c:pt>
                <c:pt idx="5709">
                  <c:v>42711</c:v>
                </c:pt>
                <c:pt idx="5710">
                  <c:v>42712</c:v>
                </c:pt>
                <c:pt idx="5711">
                  <c:v>42713</c:v>
                </c:pt>
                <c:pt idx="5712">
                  <c:v>42716</c:v>
                </c:pt>
                <c:pt idx="5713">
                  <c:v>42717</c:v>
                </c:pt>
                <c:pt idx="5714">
                  <c:v>42718</c:v>
                </c:pt>
                <c:pt idx="5715">
                  <c:v>42719</c:v>
                </c:pt>
                <c:pt idx="5716">
                  <c:v>42720</c:v>
                </c:pt>
                <c:pt idx="5717">
                  <c:v>42723</c:v>
                </c:pt>
                <c:pt idx="5718">
                  <c:v>42724</c:v>
                </c:pt>
                <c:pt idx="5719">
                  <c:v>42725</c:v>
                </c:pt>
                <c:pt idx="5720">
                  <c:v>42726</c:v>
                </c:pt>
                <c:pt idx="5721">
                  <c:v>42727</c:v>
                </c:pt>
                <c:pt idx="5722">
                  <c:v>42730</c:v>
                </c:pt>
                <c:pt idx="5723">
                  <c:v>42731</c:v>
                </c:pt>
                <c:pt idx="5724">
                  <c:v>42732</c:v>
                </c:pt>
                <c:pt idx="5725">
                  <c:v>42733</c:v>
                </c:pt>
                <c:pt idx="5726">
                  <c:v>42734</c:v>
                </c:pt>
                <c:pt idx="5727">
                  <c:v>42737</c:v>
                </c:pt>
                <c:pt idx="5728">
                  <c:v>42738</c:v>
                </c:pt>
                <c:pt idx="5729">
                  <c:v>42739</c:v>
                </c:pt>
                <c:pt idx="5730">
                  <c:v>42740</c:v>
                </c:pt>
                <c:pt idx="5731">
                  <c:v>42741</c:v>
                </c:pt>
                <c:pt idx="5732">
                  <c:v>42744</c:v>
                </c:pt>
                <c:pt idx="5733">
                  <c:v>42745</c:v>
                </c:pt>
                <c:pt idx="5734">
                  <c:v>42746</c:v>
                </c:pt>
                <c:pt idx="5735">
                  <c:v>42747</c:v>
                </c:pt>
                <c:pt idx="5736">
                  <c:v>42748</c:v>
                </c:pt>
                <c:pt idx="5737">
                  <c:v>42751</c:v>
                </c:pt>
                <c:pt idx="5738">
                  <c:v>42752</c:v>
                </c:pt>
                <c:pt idx="5739">
                  <c:v>42753</c:v>
                </c:pt>
                <c:pt idx="5740">
                  <c:v>42754</c:v>
                </c:pt>
                <c:pt idx="5741">
                  <c:v>42755</c:v>
                </c:pt>
                <c:pt idx="5742">
                  <c:v>42758</c:v>
                </c:pt>
                <c:pt idx="5743">
                  <c:v>42759</c:v>
                </c:pt>
                <c:pt idx="5744">
                  <c:v>42760</c:v>
                </c:pt>
                <c:pt idx="5745">
                  <c:v>42761</c:v>
                </c:pt>
                <c:pt idx="5746">
                  <c:v>42762</c:v>
                </c:pt>
                <c:pt idx="5747">
                  <c:v>42765</c:v>
                </c:pt>
                <c:pt idx="5748">
                  <c:v>42766</c:v>
                </c:pt>
                <c:pt idx="5749">
                  <c:v>42767</c:v>
                </c:pt>
                <c:pt idx="5750">
                  <c:v>42768</c:v>
                </c:pt>
                <c:pt idx="5751">
                  <c:v>42769</c:v>
                </c:pt>
                <c:pt idx="5752">
                  <c:v>42772</c:v>
                </c:pt>
                <c:pt idx="5753">
                  <c:v>42773</c:v>
                </c:pt>
                <c:pt idx="5754">
                  <c:v>42774</c:v>
                </c:pt>
                <c:pt idx="5755">
                  <c:v>42775</c:v>
                </c:pt>
                <c:pt idx="5756">
                  <c:v>42776</c:v>
                </c:pt>
                <c:pt idx="5757">
                  <c:v>42779</c:v>
                </c:pt>
                <c:pt idx="5758">
                  <c:v>42780</c:v>
                </c:pt>
                <c:pt idx="5759">
                  <c:v>42781</c:v>
                </c:pt>
                <c:pt idx="5760">
                  <c:v>42782</c:v>
                </c:pt>
                <c:pt idx="5761">
                  <c:v>42783</c:v>
                </c:pt>
                <c:pt idx="5762">
                  <c:v>42786</c:v>
                </c:pt>
                <c:pt idx="5763">
                  <c:v>42787</c:v>
                </c:pt>
                <c:pt idx="5764">
                  <c:v>42788</c:v>
                </c:pt>
                <c:pt idx="5765">
                  <c:v>42789</c:v>
                </c:pt>
                <c:pt idx="5766">
                  <c:v>42790</c:v>
                </c:pt>
                <c:pt idx="5767">
                  <c:v>42793</c:v>
                </c:pt>
                <c:pt idx="5768">
                  <c:v>42794</c:v>
                </c:pt>
                <c:pt idx="5769">
                  <c:v>42795</c:v>
                </c:pt>
                <c:pt idx="5770">
                  <c:v>42796</c:v>
                </c:pt>
                <c:pt idx="5771">
                  <c:v>42797</c:v>
                </c:pt>
                <c:pt idx="5772">
                  <c:v>42800</c:v>
                </c:pt>
                <c:pt idx="5773">
                  <c:v>42801</c:v>
                </c:pt>
                <c:pt idx="5774">
                  <c:v>42802</c:v>
                </c:pt>
                <c:pt idx="5775">
                  <c:v>42803</c:v>
                </c:pt>
                <c:pt idx="5776">
                  <c:v>42804</c:v>
                </c:pt>
                <c:pt idx="5777">
                  <c:v>42807</c:v>
                </c:pt>
                <c:pt idx="5778">
                  <c:v>42808</c:v>
                </c:pt>
                <c:pt idx="5779">
                  <c:v>42809</c:v>
                </c:pt>
                <c:pt idx="5780">
                  <c:v>42810</c:v>
                </c:pt>
                <c:pt idx="5781">
                  <c:v>42811</c:v>
                </c:pt>
                <c:pt idx="5782">
                  <c:v>42814</c:v>
                </c:pt>
                <c:pt idx="5783">
                  <c:v>42815</c:v>
                </c:pt>
                <c:pt idx="5784">
                  <c:v>42816</c:v>
                </c:pt>
                <c:pt idx="5785">
                  <c:v>42817</c:v>
                </c:pt>
                <c:pt idx="5786">
                  <c:v>42818</c:v>
                </c:pt>
                <c:pt idx="5787">
                  <c:v>42821</c:v>
                </c:pt>
                <c:pt idx="5788">
                  <c:v>42822</c:v>
                </c:pt>
                <c:pt idx="5789">
                  <c:v>42823</c:v>
                </c:pt>
                <c:pt idx="5790">
                  <c:v>42824</c:v>
                </c:pt>
                <c:pt idx="5791">
                  <c:v>42825</c:v>
                </c:pt>
                <c:pt idx="5792">
                  <c:v>42828</c:v>
                </c:pt>
                <c:pt idx="5793">
                  <c:v>42829</c:v>
                </c:pt>
                <c:pt idx="5794">
                  <c:v>42830</c:v>
                </c:pt>
                <c:pt idx="5795">
                  <c:v>42831</c:v>
                </c:pt>
                <c:pt idx="5796">
                  <c:v>42832</c:v>
                </c:pt>
                <c:pt idx="5797">
                  <c:v>42835</c:v>
                </c:pt>
                <c:pt idx="5798">
                  <c:v>42836</c:v>
                </c:pt>
                <c:pt idx="5799">
                  <c:v>42837</c:v>
                </c:pt>
                <c:pt idx="5800">
                  <c:v>42838</c:v>
                </c:pt>
                <c:pt idx="5801">
                  <c:v>42839</c:v>
                </c:pt>
                <c:pt idx="5802">
                  <c:v>42842</c:v>
                </c:pt>
                <c:pt idx="5803">
                  <c:v>42843</c:v>
                </c:pt>
                <c:pt idx="5804">
                  <c:v>42844</c:v>
                </c:pt>
                <c:pt idx="5805">
                  <c:v>42845</c:v>
                </c:pt>
                <c:pt idx="5806">
                  <c:v>42846</c:v>
                </c:pt>
                <c:pt idx="5807">
                  <c:v>42849</c:v>
                </c:pt>
                <c:pt idx="5808">
                  <c:v>42850</c:v>
                </c:pt>
                <c:pt idx="5809">
                  <c:v>42851</c:v>
                </c:pt>
                <c:pt idx="5810">
                  <c:v>42852</c:v>
                </c:pt>
                <c:pt idx="5811">
                  <c:v>42853</c:v>
                </c:pt>
                <c:pt idx="5812">
                  <c:v>42856</c:v>
                </c:pt>
                <c:pt idx="5813">
                  <c:v>42857</c:v>
                </c:pt>
                <c:pt idx="5814">
                  <c:v>42858</c:v>
                </c:pt>
                <c:pt idx="5815">
                  <c:v>42859</c:v>
                </c:pt>
                <c:pt idx="5816">
                  <c:v>42860</c:v>
                </c:pt>
                <c:pt idx="5817">
                  <c:v>42863</c:v>
                </c:pt>
                <c:pt idx="5818">
                  <c:v>42864</c:v>
                </c:pt>
                <c:pt idx="5819">
                  <c:v>42865</c:v>
                </c:pt>
                <c:pt idx="5820">
                  <c:v>42866</c:v>
                </c:pt>
                <c:pt idx="5821">
                  <c:v>42867</c:v>
                </c:pt>
                <c:pt idx="5822">
                  <c:v>42870</c:v>
                </c:pt>
                <c:pt idx="5823">
                  <c:v>42871</c:v>
                </c:pt>
                <c:pt idx="5824">
                  <c:v>42872</c:v>
                </c:pt>
                <c:pt idx="5825">
                  <c:v>42873</c:v>
                </c:pt>
                <c:pt idx="5826">
                  <c:v>42874</c:v>
                </c:pt>
                <c:pt idx="5827">
                  <c:v>42877</c:v>
                </c:pt>
                <c:pt idx="5828">
                  <c:v>42878</c:v>
                </c:pt>
                <c:pt idx="5829">
                  <c:v>42879</c:v>
                </c:pt>
                <c:pt idx="5830">
                  <c:v>42880</c:v>
                </c:pt>
                <c:pt idx="5831">
                  <c:v>42881</c:v>
                </c:pt>
                <c:pt idx="5832">
                  <c:v>42884</c:v>
                </c:pt>
                <c:pt idx="5833">
                  <c:v>42885</c:v>
                </c:pt>
                <c:pt idx="5834">
                  <c:v>42886</c:v>
                </c:pt>
                <c:pt idx="5835">
                  <c:v>42887</c:v>
                </c:pt>
                <c:pt idx="5836">
                  <c:v>42888</c:v>
                </c:pt>
                <c:pt idx="5837">
                  <c:v>42891</c:v>
                </c:pt>
                <c:pt idx="5838">
                  <c:v>42892</c:v>
                </c:pt>
                <c:pt idx="5839">
                  <c:v>42893</c:v>
                </c:pt>
                <c:pt idx="5840">
                  <c:v>42894</c:v>
                </c:pt>
                <c:pt idx="5841">
                  <c:v>42895</c:v>
                </c:pt>
                <c:pt idx="5842">
                  <c:v>42898</c:v>
                </c:pt>
                <c:pt idx="5843">
                  <c:v>42899</c:v>
                </c:pt>
                <c:pt idx="5844">
                  <c:v>42900</c:v>
                </c:pt>
                <c:pt idx="5845">
                  <c:v>42901</c:v>
                </c:pt>
                <c:pt idx="5846">
                  <c:v>42902</c:v>
                </c:pt>
                <c:pt idx="5847">
                  <c:v>42905</c:v>
                </c:pt>
                <c:pt idx="5848">
                  <c:v>42906</c:v>
                </c:pt>
                <c:pt idx="5849">
                  <c:v>42907</c:v>
                </c:pt>
                <c:pt idx="5850">
                  <c:v>42908</c:v>
                </c:pt>
                <c:pt idx="5851">
                  <c:v>42909</c:v>
                </c:pt>
                <c:pt idx="5852">
                  <c:v>42912</c:v>
                </c:pt>
                <c:pt idx="5853">
                  <c:v>42913</c:v>
                </c:pt>
                <c:pt idx="5854">
                  <c:v>42914</c:v>
                </c:pt>
                <c:pt idx="5855">
                  <c:v>42915</c:v>
                </c:pt>
                <c:pt idx="5856">
                  <c:v>42916</c:v>
                </c:pt>
                <c:pt idx="5857">
                  <c:v>42919</c:v>
                </c:pt>
                <c:pt idx="5858">
                  <c:v>42920</c:v>
                </c:pt>
                <c:pt idx="5859">
                  <c:v>42921</c:v>
                </c:pt>
                <c:pt idx="5860">
                  <c:v>42922</c:v>
                </c:pt>
                <c:pt idx="5861">
                  <c:v>42923</c:v>
                </c:pt>
                <c:pt idx="5862">
                  <c:v>42926</c:v>
                </c:pt>
                <c:pt idx="5863">
                  <c:v>42927</c:v>
                </c:pt>
                <c:pt idx="5864">
                  <c:v>42928</c:v>
                </c:pt>
                <c:pt idx="5865">
                  <c:v>42929</c:v>
                </c:pt>
                <c:pt idx="5866">
                  <c:v>42930</c:v>
                </c:pt>
                <c:pt idx="5867">
                  <c:v>42933</c:v>
                </c:pt>
                <c:pt idx="5868">
                  <c:v>42934</c:v>
                </c:pt>
                <c:pt idx="5869">
                  <c:v>42935</c:v>
                </c:pt>
                <c:pt idx="5870">
                  <c:v>42936</c:v>
                </c:pt>
                <c:pt idx="5871">
                  <c:v>42937</c:v>
                </c:pt>
                <c:pt idx="5872">
                  <c:v>42940</c:v>
                </c:pt>
                <c:pt idx="5873">
                  <c:v>42941</c:v>
                </c:pt>
                <c:pt idx="5874">
                  <c:v>42942</c:v>
                </c:pt>
                <c:pt idx="5875">
                  <c:v>42943</c:v>
                </c:pt>
                <c:pt idx="5876">
                  <c:v>42944</c:v>
                </c:pt>
                <c:pt idx="5877">
                  <c:v>42947</c:v>
                </c:pt>
                <c:pt idx="5878">
                  <c:v>42948</c:v>
                </c:pt>
                <c:pt idx="5879">
                  <c:v>42949</c:v>
                </c:pt>
                <c:pt idx="5880">
                  <c:v>42950</c:v>
                </c:pt>
                <c:pt idx="5881">
                  <c:v>42951</c:v>
                </c:pt>
                <c:pt idx="5882">
                  <c:v>42954</c:v>
                </c:pt>
                <c:pt idx="5883">
                  <c:v>42955</c:v>
                </c:pt>
                <c:pt idx="5884">
                  <c:v>42956</c:v>
                </c:pt>
                <c:pt idx="5885">
                  <c:v>42957</c:v>
                </c:pt>
                <c:pt idx="5886">
                  <c:v>42958</c:v>
                </c:pt>
                <c:pt idx="5887">
                  <c:v>42961</c:v>
                </c:pt>
                <c:pt idx="5888">
                  <c:v>42962</c:v>
                </c:pt>
                <c:pt idx="5889">
                  <c:v>42963</c:v>
                </c:pt>
                <c:pt idx="5890">
                  <c:v>42964</c:v>
                </c:pt>
                <c:pt idx="5891">
                  <c:v>42965</c:v>
                </c:pt>
                <c:pt idx="5892">
                  <c:v>42968</c:v>
                </c:pt>
                <c:pt idx="5893">
                  <c:v>42969</c:v>
                </c:pt>
                <c:pt idx="5894">
                  <c:v>42970</c:v>
                </c:pt>
                <c:pt idx="5895">
                  <c:v>42971</c:v>
                </c:pt>
                <c:pt idx="5896">
                  <c:v>42972</c:v>
                </c:pt>
                <c:pt idx="5897">
                  <c:v>42975</c:v>
                </c:pt>
                <c:pt idx="5898">
                  <c:v>42976</c:v>
                </c:pt>
                <c:pt idx="5899">
                  <c:v>42977</c:v>
                </c:pt>
                <c:pt idx="5900">
                  <c:v>42978</c:v>
                </c:pt>
                <c:pt idx="5901">
                  <c:v>42979</c:v>
                </c:pt>
                <c:pt idx="5902">
                  <c:v>42982</c:v>
                </c:pt>
                <c:pt idx="5903">
                  <c:v>42983</c:v>
                </c:pt>
                <c:pt idx="5904">
                  <c:v>42984</c:v>
                </c:pt>
                <c:pt idx="5905">
                  <c:v>42985</c:v>
                </c:pt>
                <c:pt idx="5906">
                  <c:v>42986</c:v>
                </c:pt>
                <c:pt idx="5907">
                  <c:v>42989</c:v>
                </c:pt>
                <c:pt idx="5908">
                  <c:v>42990</c:v>
                </c:pt>
                <c:pt idx="5909">
                  <c:v>42991</c:v>
                </c:pt>
                <c:pt idx="5910">
                  <c:v>42992</c:v>
                </c:pt>
                <c:pt idx="5911">
                  <c:v>42993</c:v>
                </c:pt>
                <c:pt idx="5912">
                  <c:v>42996</c:v>
                </c:pt>
                <c:pt idx="5913">
                  <c:v>42997</c:v>
                </c:pt>
                <c:pt idx="5914">
                  <c:v>42998</c:v>
                </c:pt>
                <c:pt idx="5915">
                  <c:v>42999</c:v>
                </c:pt>
                <c:pt idx="5916">
                  <c:v>43000</c:v>
                </c:pt>
                <c:pt idx="5917">
                  <c:v>43003</c:v>
                </c:pt>
                <c:pt idx="5918">
                  <c:v>43004</c:v>
                </c:pt>
                <c:pt idx="5919">
                  <c:v>43005</c:v>
                </c:pt>
                <c:pt idx="5920">
                  <c:v>43006</c:v>
                </c:pt>
                <c:pt idx="5921">
                  <c:v>43007</c:v>
                </c:pt>
                <c:pt idx="5922">
                  <c:v>43010</c:v>
                </c:pt>
                <c:pt idx="5923">
                  <c:v>43011</c:v>
                </c:pt>
                <c:pt idx="5924">
                  <c:v>43012</c:v>
                </c:pt>
                <c:pt idx="5925">
                  <c:v>43013</c:v>
                </c:pt>
                <c:pt idx="5926">
                  <c:v>43014</c:v>
                </c:pt>
                <c:pt idx="5927">
                  <c:v>43017</c:v>
                </c:pt>
                <c:pt idx="5928">
                  <c:v>43018</c:v>
                </c:pt>
                <c:pt idx="5929">
                  <c:v>43019</c:v>
                </c:pt>
                <c:pt idx="5930">
                  <c:v>43020</c:v>
                </c:pt>
                <c:pt idx="5931">
                  <c:v>43021</c:v>
                </c:pt>
                <c:pt idx="5932">
                  <c:v>43024</c:v>
                </c:pt>
                <c:pt idx="5933">
                  <c:v>43025</c:v>
                </c:pt>
                <c:pt idx="5934">
                  <c:v>43026</c:v>
                </c:pt>
                <c:pt idx="5935">
                  <c:v>43027</c:v>
                </c:pt>
                <c:pt idx="5936">
                  <c:v>43028</c:v>
                </c:pt>
                <c:pt idx="5937">
                  <c:v>43031</c:v>
                </c:pt>
                <c:pt idx="5938">
                  <c:v>43032</c:v>
                </c:pt>
                <c:pt idx="5939">
                  <c:v>43033</c:v>
                </c:pt>
                <c:pt idx="5940">
                  <c:v>43034</c:v>
                </c:pt>
                <c:pt idx="5941">
                  <c:v>43035</c:v>
                </c:pt>
                <c:pt idx="5942">
                  <c:v>43038</c:v>
                </c:pt>
                <c:pt idx="5943">
                  <c:v>43039</c:v>
                </c:pt>
                <c:pt idx="5944">
                  <c:v>43040</c:v>
                </c:pt>
                <c:pt idx="5945">
                  <c:v>43041</c:v>
                </c:pt>
                <c:pt idx="5946">
                  <c:v>43042</c:v>
                </c:pt>
                <c:pt idx="5947">
                  <c:v>43045</c:v>
                </c:pt>
                <c:pt idx="5948">
                  <c:v>43046</c:v>
                </c:pt>
                <c:pt idx="5949">
                  <c:v>43047</c:v>
                </c:pt>
                <c:pt idx="5950">
                  <c:v>43048</c:v>
                </c:pt>
                <c:pt idx="5951">
                  <c:v>43049</c:v>
                </c:pt>
                <c:pt idx="5952">
                  <c:v>43052</c:v>
                </c:pt>
                <c:pt idx="5953">
                  <c:v>43053</c:v>
                </c:pt>
                <c:pt idx="5954">
                  <c:v>43054</c:v>
                </c:pt>
                <c:pt idx="5955">
                  <c:v>43055</c:v>
                </c:pt>
                <c:pt idx="5956">
                  <c:v>43056</c:v>
                </c:pt>
                <c:pt idx="5957">
                  <c:v>43059</c:v>
                </c:pt>
                <c:pt idx="5958">
                  <c:v>43060</c:v>
                </c:pt>
                <c:pt idx="5959">
                  <c:v>43061</c:v>
                </c:pt>
                <c:pt idx="5960">
                  <c:v>43062</c:v>
                </c:pt>
                <c:pt idx="5961">
                  <c:v>43063</c:v>
                </c:pt>
                <c:pt idx="5962">
                  <c:v>43066</c:v>
                </c:pt>
                <c:pt idx="5963">
                  <c:v>43067</c:v>
                </c:pt>
                <c:pt idx="5964">
                  <c:v>43068</c:v>
                </c:pt>
                <c:pt idx="5965">
                  <c:v>43069</c:v>
                </c:pt>
                <c:pt idx="5966">
                  <c:v>43070</c:v>
                </c:pt>
                <c:pt idx="5967">
                  <c:v>43073</c:v>
                </c:pt>
                <c:pt idx="5968">
                  <c:v>43074</c:v>
                </c:pt>
                <c:pt idx="5969">
                  <c:v>43075</c:v>
                </c:pt>
                <c:pt idx="5970">
                  <c:v>43076</c:v>
                </c:pt>
                <c:pt idx="5971">
                  <c:v>43077</c:v>
                </c:pt>
                <c:pt idx="5972">
                  <c:v>43080</c:v>
                </c:pt>
                <c:pt idx="5973">
                  <c:v>43081</c:v>
                </c:pt>
                <c:pt idx="5974">
                  <c:v>43082</c:v>
                </c:pt>
                <c:pt idx="5975">
                  <c:v>43083</c:v>
                </c:pt>
                <c:pt idx="5976">
                  <c:v>43084</c:v>
                </c:pt>
                <c:pt idx="5977">
                  <c:v>43087</c:v>
                </c:pt>
                <c:pt idx="5978">
                  <c:v>43088</c:v>
                </c:pt>
                <c:pt idx="5979">
                  <c:v>43089</c:v>
                </c:pt>
                <c:pt idx="5980">
                  <c:v>43090</c:v>
                </c:pt>
                <c:pt idx="5981">
                  <c:v>43091</c:v>
                </c:pt>
                <c:pt idx="5982">
                  <c:v>43094</c:v>
                </c:pt>
                <c:pt idx="5983">
                  <c:v>43095</c:v>
                </c:pt>
                <c:pt idx="5984">
                  <c:v>43096</c:v>
                </c:pt>
                <c:pt idx="5985">
                  <c:v>43097</c:v>
                </c:pt>
                <c:pt idx="5986">
                  <c:v>43098</c:v>
                </c:pt>
                <c:pt idx="5987">
                  <c:v>43101</c:v>
                </c:pt>
                <c:pt idx="5988">
                  <c:v>43102</c:v>
                </c:pt>
                <c:pt idx="5989">
                  <c:v>43103</c:v>
                </c:pt>
                <c:pt idx="5990">
                  <c:v>43104</c:v>
                </c:pt>
                <c:pt idx="5991">
                  <c:v>43105</c:v>
                </c:pt>
                <c:pt idx="5992">
                  <c:v>43108</c:v>
                </c:pt>
                <c:pt idx="5993">
                  <c:v>43109</c:v>
                </c:pt>
                <c:pt idx="5994">
                  <c:v>43110</c:v>
                </c:pt>
                <c:pt idx="5995">
                  <c:v>43111</c:v>
                </c:pt>
                <c:pt idx="5996">
                  <c:v>43112</c:v>
                </c:pt>
                <c:pt idx="5997">
                  <c:v>43115</c:v>
                </c:pt>
                <c:pt idx="5998">
                  <c:v>43116</c:v>
                </c:pt>
                <c:pt idx="5999">
                  <c:v>43117</c:v>
                </c:pt>
                <c:pt idx="6000">
                  <c:v>43118</c:v>
                </c:pt>
                <c:pt idx="6001">
                  <c:v>43119</c:v>
                </c:pt>
                <c:pt idx="6002">
                  <c:v>43122</c:v>
                </c:pt>
                <c:pt idx="6003">
                  <c:v>43123</c:v>
                </c:pt>
                <c:pt idx="6004">
                  <c:v>43124</c:v>
                </c:pt>
                <c:pt idx="6005">
                  <c:v>43125</c:v>
                </c:pt>
                <c:pt idx="6006">
                  <c:v>43126</c:v>
                </c:pt>
                <c:pt idx="6007">
                  <c:v>43129</c:v>
                </c:pt>
                <c:pt idx="6008">
                  <c:v>43130</c:v>
                </c:pt>
                <c:pt idx="6009">
                  <c:v>43131</c:v>
                </c:pt>
                <c:pt idx="6010">
                  <c:v>43132</c:v>
                </c:pt>
                <c:pt idx="6011">
                  <c:v>43133</c:v>
                </c:pt>
                <c:pt idx="6012">
                  <c:v>43136</c:v>
                </c:pt>
                <c:pt idx="6013">
                  <c:v>43137</c:v>
                </c:pt>
                <c:pt idx="6014">
                  <c:v>43138</c:v>
                </c:pt>
                <c:pt idx="6015">
                  <c:v>43139</c:v>
                </c:pt>
                <c:pt idx="6016">
                  <c:v>43140</c:v>
                </c:pt>
                <c:pt idx="6017">
                  <c:v>43143</c:v>
                </c:pt>
                <c:pt idx="6018">
                  <c:v>43144</c:v>
                </c:pt>
                <c:pt idx="6019">
                  <c:v>43145</c:v>
                </c:pt>
                <c:pt idx="6020">
                  <c:v>43146</c:v>
                </c:pt>
                <c:pt idx="6021">
                  <c:v>43147</c:v>
                </c:pt>
                <c:pt idx="6022">
                  <c:v>43150</c:v>
                </c:pt>
                <c:pt idx="6023">
                  <c:v>43151</c:v>
                </c:pt>
                <c:pt idx="6024">
                  <c:v>43152</c:v>
                </c:pt>
                <c:pt idx="6025">
                  <c:v>43153</c:v>
                </c:pt>
                <c:pt idx="6026">
                  <c:v>43154</c:v>
                </c:pt>
                <c:pt idx="6027">
                  <c:v>43157</c:v>
                </c:pt>
                <c:pt idx="6028">
                  <c:v>43158</c:v>
                </c:pt>
                <c:pt idx="6029">
                  <c:v>43159</c:v>
                </c:pt>
                <c:pt idx="6030">
                  <c:v>43160</c:v>
                </c:pt>
                <c:pt idx="6031">
                  <c:v>43161</c:v>
                </c:pt>
                <c:pt idx="6032">
                  <c:v>43164</c:v>
                </c:pt>
                <c:pt idx="6033">
                  <c:v>43165</c:v>
                </c:pt>
                <c:pt idx="6034">
                  <c:v>43166</c:v>
                </c:pt>
                <c:pt idx="6035">
                  <c:v>43167</c:v>
                </c:pt>
                <c:pt idx="6036">
                  <c:v>43168</c:v>
                </c:pt>
                <c:pt idx="6037">
                  <c:v>43171</c:v>
                </c:pt>
                <c:pt idx="6038">
                  <c:v>43172</c:v>
                </c:pt>
                <c:pt idx="6039">
                  <c:v>43173</c:v>
                </c:pt>
                <c:pt idx="6040">
                  <c:v>43174</c:v>
                </c:pt>
                <c:pt idx="6041">
                  <c:v>43175</c:v>
                </c:pt>
                <c:pt idx="6042">
                  <c:v>43178</c:v>
                </c:pt>
                <c:pt idx="6043">
                  <c:v>43179</c:v>
                </c:pt>
                <c:pt idx="6044">
                  <c:v>43180</c:v>
                </c:pt>
                <c:pt idx="6045">
                  <c:v>43181</c:v>
                </c:pt>
                <c:pt idx="6046">
                  <c:v>43182</c:v>
                </c:pt>
                <c:pt idx="6047">
                  <c:v>43185</c:v>
                </c:pt>
                <c:pt idx="6048">
                  <c:v>43186</c:v>
                </c:pt>
                <c:pt idx="6049">
                  <c:v>43187</c:v>
                </c:pt>
                <c:pt idx="6050">
                  <c:v>43188</c:v>
                </c:pt>
                <c:pt idx="6051">
                  <c:v>43189</c:v>
                </c:pt>
                <c:pt idx="6052">
                  <c:v>43192</c:v>
                </c:pt>
                <c:pt idx="6053">
                  <c:v>43193</c:v>
                </c:pt>
                <c:pt idx="6054">
                  <c:v>43194</c:v>
                </c:pt>
                <c:pt idx="6055">
                  <c:v>43195</c:v>
                </c:pt>
                <c:pt idx="6056">
                  <c:v>43196</c:v>
                </c:pt>
                <c:pt idx="6057">
                  <c:v>43199</c:v>
                </c:pt>
                <c:pt idx="6058">
                  <c:v>43200</c:v>
                </c:pt>
                <c:pt idx="6059">
                  <c:v>43201</c:v>
                </c:pt>
                <c:pt idx="6060">
                  <c:v>43202</c:v>
                </c:pt>
                <c:pt idx="6061">
                  <c:v>43203</c:v>
                </c:pt>
                <c:pt idx="6062">
                  <c:v>43206</c:v>
                </c:pt>
                <c:pt idx="6063">
                  <c:v>43207</c:v>
                </c:pt>
                <c:pt idx="6064">
                  <c:v>43208</c:v>
                </c:pt>
                <c:pt idx="6065">
                  <c:v>43209</c:v>
                </c:pt>
                <c:pt idx="6066">
                  <c:v>43210</c:v>
                </c:pt>
                <c:pt idx="6067">
                  <c:v>43213</c:v>
                </c:pt>
                <c:pt idx="6068">
                  <c:v>43214</c:v>
                </c:pt>
                <c:pt idx="6069">
                  <c:v>43215</c:v>
                </c:pt>
                <c:pt idx="6070">
                  <c:v>43216</c:v>
                </c:pt>
                <c:pt idx="6071">
                  <c:v>43217</c:v>
                </c:pt>
                <c:pt idx="6072">
                  <c:v>43220</c:v>
                </c:pt>
                <c:pt idx="6073">
                  <c:v>43221</c:v>
                </c:pt>
                <c:pt idx="6074">
                  <c:v>43222</c:v>
                </c:pt>
                <c:pt idx="6075">
                  <c:v>43223</c:v>
                </c:pt>
                <c:pt idx="6076">
                  <c:v>43224</c:v>
                </c:pt>
                <c:pt idx="6077">
                  <c:v>43227</c:v>
                </c:pt>
                <c:pt idx="6078">
                  <c:v>43228</c:v>
                </c:pt>
                <c:pt idx="6079">
                  <c:v>43229</c:v>
                </c:pt>
                <c:pt idx="6080">
                  <c:v>43230</c:v>
                </c:pt>
                <c:pt idx="6081">
                  <c:v>43231</c:v>
                </c:pt>
                <c:pt idx="6082">
                  <c:v>43234</c:v>
                </c:pt>
                <c:pt idx="6083">
                  <c:v>43235</c:v>
                </c:pt>
                <c:pt idx="6084">
                  <c:v>43236</c:v>
                </c:pt>
                <c:pt idx="6085">
                  <c:v>43237</c:v>
                </c:pt>
                <c:pt idx="6086">
                  <c:v>43238</c:v>
                </c:pt>
                <c:pt idx="6087">
                  <c:v>43241</c:v>
                </c:pt>
                <c:pt idx="6088">
                  <c:v>43242</c:v>
                </c:pt>
                <c:pt idx="6089">
                  <c:v>43243</c:v>
                </c:pt>
                <c:pt idx="6090">
                  <c:v>43244</c:v>
                </c:pt>
                <c:pt idx="6091">
                  <c:v>43245</c:v>
                </c:pt>
                <c:pt idx="6092">
                  <c:v>43248</c:v>
                </c:pt>
                <c:pt idx="6093">
                  <c:v>43249</c:v>
                </c:pt>
                <c:pt idx="6094">
                  <c:v>43250</c:v>
                </c:pt>
                <c:pt idx="6095">
                  <c:v>43251</c:v>
                </c:pt>
                <c:pt idx="6096">
                  <c:v>43252</c:v>
                </c:pt>
                <c:pt idx="6097">
                  <c:v>43255</c:v>
                </c:pt>
                <c:pt idx="6098">
                  <c:v>43256</c:v>
                </c:pt>
                <c:pt idx="6099">
                  <c:v>43257</c:v>
                </c:pt>
                <c:pt idx="6100">
                  <c:v>43258</c:v>
                </c:pt>
                <c:pt idx="6101">
                  <c:v>43259</c:v>
                </c:pt>
                <c:pt idx="6102">
                  <c:v>43262</c:v>
                </c:pt>
                <c:pt idx="6103">
                  <c:v>43263</c:v>
                </c:pt>
                <c:pt idx="6104">
                  <c:v>43264</c:v>
                </c:pt>
                <c:pt idx="6105">
                  <c:v>43265</c:v>
                </c:pt>
                <c:pt idx="6106">
                  <c:v>43266</c:v>
                </c:pt>
                <c:pt idx="6107">
                  <c:v>43269</c:v>
                </c:pt>
                <c:pt idx="6108">
                  <c:v>43270</c:v>
                </c:pt>
                <c:pt idx="6109">
                  <c:v>43271</c:v>
                </c:pt>
                <c:pt idx="6110">
                  <c:v>43272</c:v>
                </c:pt>
                <c:pt idx="6111">
                  <c:v>43273</c:v>
                </c:pt>
                <c:pt idx="6112">
                  <c:v>43276</c:v>
                </c:pt>
                <c:pt idx="6113">
                  <c:v>43277</c:v>
                </c:pt>
                <c:pt idx="6114">
                  <c:v>43278</c:v>
                </c:pt>
                <c:pt idx="6115">
                  <c:v>43279</c:v>
                </c:pt>
                <c:pt idx="6116">
                  <c:v>43280</c:v>
                </c:pt>
                <c:pt idx="6117">
                  <c:v>43283</c:v>
                </c:pt>
                <c:pt idx="6118">
                  <c:v>43284</c:v>
                </c:pt>
                <c:pt idx="6119">
                  <c:v>43285</c:v>
                </c:pt>
                <c:pt idx="6120">
                  <c:v>43286</c:v>
                </c:pt>
                <c:pt idx="6121">
                  <c:v>43287</c:v>
                </c:pt>
                <c:pt idx="6122">
                  <c:v>43290</c:v>
                </c:pt>
                <c:pt idx="6123">
                  <c:v>43291</c:v>
                </c:pt>
                <c:pt idx="6124">
                  <c:v>43292</c:v>
                </c:pt>
                <c:pt idx="6125">
                  <c:v>43293</c:v>
                </c:pt>
                <c:pt idx="6126">
                  <c:v>43294</c:v>
                </c:pt>
                <c:pt idx="6127">
                  <c:v>43297</c:v>
                </c:pt>
                <c:pt idx="6128">
                  <c:v>43298</c:v>
                </c:pt>
                <c:pt idx="6129">
                  <c:v>43299</c:v>
                </c:pt>
                <c:pt idx="6130">
                  <c:v>43300</c:v>
                </c:pt>
                <c:pt idx="6131">
                  <c:v>43301</c:v>
                </c:pt>
                <c:pt idx="6132">
                  <c:v>43304</c:v>
                </c:pt>
                <c:pt idx="6133">
                  <c:v>43305</c:v>
                </c:pt>
                <c:pt idx="6134">
                  <c:v>43306</c:v>
                </c:pt>
                <c:pt idx="6135">
                  <c:v>43307</c:v>
                </c:pt>
                <c:pt idx="6136">
                  <c:v>43308</c:v>
                </c:pt>
                <c:pt idx="6137">
                  <c:v>43311</c:v>
                </c:pt>
                <c:pt idx="6138">
                  <c:v>43312</c:v>
                </c:pt>
                <c:pt idx="6139">
                  <c:v>43313</c:v>
                </c:pt>
                <c:pt idx="6140">
                  <c:v>43314</c:v>
                </c:pt>
                <c:pt idx="6141">
                  <c:v>43315</c:v>
                </c:pt>
                <c:pt idx="6142">
                  <c:v>43318</c:v>
                </c:pt>
                <c:pt idx="6143">
                  <c:v>43319</c:v>
                </c:pt>
                <c:pt idx="6144">
                  <c:v>43320</c:v>
                </c:pt>
                <c:pt idx="6145">
                  <c:v>43321</c:v>
                </c:pt>
                <c:pt idx="6146">
                  <c:v>43322</c:v>
                </c:pt>
                <c:pt idx="6147">
                  <c:v>43325</c:v>
                </c:pt>
                <c:pt idx="6148">
                  <c:v>43326</c:v>
                </c:pt>
                <c:pt idx="6149">
                  <c:v>43327</c:v>
                </c:pt>
                <c:pt idx="6150">
                  <c:v>43328</c:v>
                </c:pt>
                <c:pt idx="6151">
                  <c:v>43329</c:v>
                </c:pt>
                <c:pt idx="6152">
                  <c:v>43332</c:v>
                </c:pt>
                <c:pt idx="6153">
                  <c:v>43333</c:v>
                </c:pt>
                <c:pt idx="6154">
                  <c:v>43334</c:v>
                </c:pt>
                <c:pt idx="6155">
                  <c:v>43335</c:v>
                </c:pt>
                <c:pt idx="6156">
                  <c:v>43336</c:v>
                </c:pt>
                <c:pt idx="6157">
                  <c:v>43339</c:v>
                </c:pt>
                <c:pt idx="6158">
                  <c:v>43340</c:v>
                </c:pt>
                <c:pt idx="6159">
                  <c:v>43341</c:v>
                </c:pt>
                <c:pt idx="6160">
                  <c:v>43342</c:v>
                </c:pt>
                <c:pt idx="6161">
                  <c:v>43343</c:v>
                </c:pt>
                <c:pt idx="6162">
                  <c:v>43346</c:v>
                </c:pt>
                <c:pt idx="6163">
                  <c:v>43347</c:v>
                </c:pt>
                <c:pt idx="6164">
                  <c:v>43348</c:v>
                </c:pt>
                <c:pt idx="6165">
                  <c:v>43349</c:v>
                </c:pt>
                <c:pt idx="6166">
                  <c:v>43350</c:v>
                </c:pt>
                <c:pt idx="6167">
                  <c:v>43353</c:v>
                </c:pt>
                <c:pt idx="6168">
                  <c:v>43354</c:v>
                </c:pt>
                <c:pt idx="6169">
                  <c:v>43355</c:v>
                </c:pt>
                <c:pt idx="6170">
                  <c:v>43356</c:v>
                </c:pt>
                <c:pt idx="6171">
                  <c:v>43357</c:v>
                </c:pt>
                <c:pt idx="6172">
                  <c:v>43360</c:v>
                </c:pt>
                <c:pt idx="6173">
                  <c:v>43361</c:v>
                </c:pt>
                <c:pt idx="6174">
                  <c:v>43362</c:v>
                </c:pt>
                <c:pt idx="6175">
                  <c:v>43363</c:v>
                </c:pt>
                <c:pt idx="6176">
                  <c:v>43364</c:v>
                </c:pt>
                <c:pt idx="6177">
                  <c:v>43367</c:v>
                </c:pt>
                <c:pt idx="6178">
                  <c:v>43368</c:v>
                </c:pt>
                <c:pt idx="6179">
                  <c:v>43369</c:v>
                </c:pt>
                <c:pt idx="6180">
                  <c:v>43370</c:v>
                </c:pt>
                <c:pt idx="6181">
                  <c:v>43371</c:v>
                </c:pt>
                <c:pt idx="6182">
                  <c:v>43374</c:v>
                </c:pt>
                <c:pt idx="6183">
                  <c:v>43375</c:v>
                </c:pt>
                <c:pt idx="6184">
                  <c:v>43376</c:v>
                </c:pt>
                <c:pt idx="6185">
                  <c:v>43377</c:v>
                </c:pt>
                <c:pt idx="6186">
                  <c:v>43378</c:v>
                </c:pt>
                <c:pt idx="6187">
                  <c:v>43381</c:v>
                </c:pt>
                <c:pt idx="6188">
                  <c:v>43382</c:v>
                </c:pt>
                <c:pt idx="6189">
                  <c:v>43383</c:v>
                </c:pt>
                <c:pt idx="6190">
                  <c:v>43384</c:v>
                </c:pt>
                <c:pt idx="6191">
                  <c:v>43385</c:v>
                </c:pt>
                <c:pt idx="6192">
                  <c:v>43388</c:v>
                </c:pt>
                <c:pt idx="6193">
                  <c:v>43389</c:v>
                </c:pt>
                <c:pt idx="6194">
                  <c:v>43390</c:v>
                </c:pt>
                <c:pt idx="6195">
                  <c:v>43391</c:v>
                </c:pt>
                <c:pt idx="6196">
                  <c:v>43392</c:v>
                </c:pt>
                <c:pt idx="6197">
                  <c:v>43395</c:v>
                </c:pt>
                <c:pt idx="6198">
                  <c:v>43396</c:v>
                </c:pt>
                <c:pt idx="6199">
                  <c:v>43397</c:v>
                </c:pt>
                <c:pt idx="6200">
                  <c:v>43398</c:v>
                </c:pt>
                <c:pt idx="6201">
                  <c:v>43399</c:v>
                </c:pt>
                <c:pt idx="6202">
                  <c:v>43402</c:v>
                </c:pt>
                <c:pt idx="6203">
                  <c:v>43403</c:v>
                </c:pt>
                <c:pt idx="6204">
                  <c:v>43404</c:v>
                </c:pt>
                <c:pt idx="6205">
                  <c:v>43405</c:v>
                </c:pt>
                <c:pt idx="6206">
                  <c:v>43406</c:v>
                </c:pt>
                <c:pt idx="6207">
                  <c:v>43409</c:v>
                </c:pt>
                <c:pt idx="6208">
                  <c:v>43410</c:v>
                </c:pt>
                <c:pt idx="6209">
                  <c:v>43411</c:v>
                </c:pt>
                <c:pt idx="6210">
                  <c:v>43412</c:v>
                </c:pt>
                <c:pt idx="6211">
                  <c:v>43413</c:v>
                </c:pt>
                <c:pt idx="6212">
                  <c:v>43416</c:v>
                </c:pt>
                <c:pt idx="6213">
                  <c:v>43417</c:v>
                </c:pt>
                <c:pt idx="6214">
                  <c:v>43418</c:v>
                </c:pt>
                <c:pt idx="6215">
                  <c:v>43419</c:v>
                </c:pt>
                <c:pt idx="6216">
                  <c:v>43420</c:v>
                </c:pt>
                <c:pt idx="6217">
                  <c:v>43423</c:v>
                </c:pt>
                <c:pt idx="6218">
                  <c:v>43424</c:v>
                </c:pt>
                <c:pt idx="6219">
                  <c:v>43425</c:v>
                </c:pt>
                <c:pt idx="6220">
                  <c:v>43426</c:v>
                </c:pt>
                <c:pt idx="6221">
                  <c:v>43427</c:v>
                </c:pt>
                <c:pt idx="6222">
                  <c:v>43430</c:v>
                </c:pt>
                <c:pt idx="6223">
                  <c:v>43431</c:v>
                </c:pt>
                <c:pt idx="6224">
                  <c:v>43432</c:v>
                </c:pt>
                <c:pt idx="6225">
                  <c:v>43433</c:v>
                </c:pt>
                <c:pt idx="6226">
                  <c:v>43434</c:v>
                </c:pt>
                <c:pt idx="6227">
                  <c:v>43437</c:v>
                </c:pt>
                <c:pt idx="6228">
                  <c:v>43438</c:v>
                </c:pt>
                <c:pt idx="6229">
                  <c:v>43439</c:v>
                </c:pt>
                <c:pt idx="6230">
                  <c:v>43440</c:v>
                </c:pt>
                <c:pt idx="6231">
                  <c:v>43441</c:v>
                </c:pt>
                <c:pt idx="6232">
                  <c:v>43444</c:v>
                </c:pt>
                <c:pt idx="6233">
                  <c:v>43445</c:v>
                </c:pt>
                <c:pt idx="6234">
                  <c:v>43446</c:v>
                </c:pt>
                <c:pt idx="6235">
                  <c:v>43447</c:v>
                </c:pt>
                <c:pt idx="6236">
                  <c:v>43448</c:v>
                </c:pt>
                <c:pt idx="6237">
                  <c:v>43451</c:v>
                </c:pt>
                <c:pt idx="6238">
                  <c:v>43452</c:v>
                </c:pt>
                <c:pt idx="6239">
                  <c:v>43453</c:v>
                </c:pt>
                <c:pt idx="6240">
                  <c:v>43454</c:v>
                </c:pt>
                <c:pt idx="6241">
                  <c:v>43455</c:v>
                </c:pt>
                <c:pt idx="6242">
                  <c:v>43458</c:v>
                </c:pt>
                <c:pt idx="6243">
                  <c:v>43459</c:v>
                </c:pt>
                <c:pt idx="6244">
                  <c:v>43460</c:v>
                </c:pt>
                <c:pt idx="6245">
                  <c:v>43461</c:v>
                </c:pt>
                <c:pt idx="6246">
                  <c:v>43462</c:v>
                </c:pt>
                <c:pt idx="6247">
                  <c:v>43465</c:v>
                </c:pt>
                <c:pt idx="6248">
                  <c:v>43466</c:v>
                </c:pt>
                <c:pt idx="6249">
                  <c:v>43467</c:v>
                </c:pt>
                <c:pt idx="6250">
                  <c:v>43468</c:v>
                </c:pt>
                <c:pt idx="6251">
                  <c:v>43469</c:v>
                </c:pt>
                <c:pt idx="6252">
                  <c:v>43472</c:v>
                </c:pt>
                <c:pt idx="6253">
                  <c:v>43473</c:v>
                </c:pt>
                <c:pt idx="6254">
                  <c:v>43474</c:v>
                </c:pt>
                <c:pt idx="6255">
                  <c:v>43475</c:v>
                </c:pt>
                <c:pt idx="6256">
                  <c:v>43476</c:v>
                </c:pt>
                <c:pt idx="6257">
                  <c:v>43479</c:v>
                </c:pt>
                <c:pt idx="6258">
                  <c:v>43480</c:v>
                </c:pt>
                <c:pt idx="6259">
                  <c:v>43481</c:v>
                </c:pt>
                <c:pt idx="6260">
                  <c:v>43482</c:v>
                </c:pt>
                <c:pt idx="6261">
                  <c:v>43483</c:v>
                </c:pt>
                <c:pt idx="6262">
                  <c:v>43486</c:v>
                </c:pt>
                <c:pt idx="6263">
                  <c:v>43487</c:v>
                </c:pt>
                <c:pt idx="6264">
                  <c:v>43488</c:v>
                </c:pt>
                <c:pt idx="6265">
                  <c:v>43489</c:v>
                </c:pt>
                <c:pt idx="6266">
                  <c:v>43490</c:v>
                </c:pt>
                <c:pt idx="6267">
                  <c:v>43493</c:v>
                </c:pt>
                <c:pt idx="6268">
                  <c:v>43494</c:v>
                </c:pt>
                <c:pt idx="6269">
                  <c:v>43495</c:v>
                </c:pt>
                <c:pt idx="6270">
                  <c:v>43496</c:v>
                </c:pt>
                <c:pt idx="6271">
                  <c:v>43497</c:v>
                </c:pt>
                <c:pt idx="6272">
                  <c:v>43500</c:v>
                </c:pt>
                <c:pt idx="6273">
                  <c:v>43501</c:v>
                </c:pt>
                <c:pt idx="6274">
                  <c:v>43502</c:v>
                </c:pt>
                <c:pt idx="6275">
                  <c:v>43503</c:v>
                </c:pt>
                <c:pt idx="6276">
                  <c:v>43504</c:v>
                </c:pt>
                <c:pt idx="6277">
                  <c:v>43507</c:v>
                </c:pt>
                <c:pt idx="6278">
                  <c:v>43508</c:v>
                </c:pt>
                <c:pt idx="6279">
                  <c:v>43509</c:v>
                </c:pt>
                <c:pt idx="6280">
                  <c:v>43510</c:v>
                </c:pt>
                <c:pt idx="6281">
                  <c:v>43511</c:v>
                </c:pt>
                <c:pt idx="6282">
                  <c:v>43514</c:v>
                </c:pt>
                <c:pt idx="6283">
                  <c:v>43515</c:v>
                </c:pt>
                <c:pt idx="6284">
                  <c:v>43516</c:v>
                </c:pt>
                <c:pt idx="6285">
                  <c:v>43517</c:v>
                </c:pt>
                <c:pt idx="6286">
                  <c:v>43518</c:v>
                </c:pt>
                <c:pt idx="6287">
                  <c:v>43521</c:v>
                </c:pt>
                <c:pt idx="6288">
                  <c:v>43522</c:v>
                </c:pt>
                <c:pt idx="6289">
                  <c:v>43523</c:v>
                </c:pt>
                <c:pt idx="6290">
                  <c:v>43524</c:v>
                </c:pt>
                <c:pt idx="6291">
                  <c:v>43525</c:v>
                </c:pt>
                <c:pt idx="6292">
                  <c:v>43528</c:v>
                </c:pt>
                <c:pt idx="6293">
                  <c:v>43529</c:v>
                </c:pt>
                <c:pt idx="6294">
                  <c:v>43530</c:v>
                </c:pt>
                <c:pt idx="6295">
                  <c:v>43531</c:v>
                </c:pt>
                <c:pt idx="6296">
                  <c:v>43532</c:v>
                </c:pt>
                <c:pt idx="6297">
                  <c:v>43535</c:v>
                </c:pt>
                <c:pt idx="6298">
                  <c:v>43536</c:v>
                </c:pt>
                <c:pt idx="6299">
                  <c:v>43537</c:v>
                </c:pt>
                <c:pt idx="6300">
                  <c:v>43538</c:v>
                </c:pt>
                <c:pt idx="6301">
                  <c:v>43539</c:v>
                </c:pt>
                <c:pt idx="6302">
                  <c:v>43542</c:v>
                </c:pt>
                <c:pt idx="6303">
                  <c:v>43543</c:v>
                </c:pt>
                <c:pt idx="6304">
                  <c:v>43544</c:v>
                </c:pt>
                <c:pt idx="6305">
                  <c:v>43545</c:v>
                </c:pt>
                <c:pt idx="6306">
                  <c:v>43546</c:v>
                </c:pt>
                <c:pt idx="6307">
                  <c:v>43549</c:v>
                </c:pt>
                <c:pt idx="6308">
                  <c:v>43550</c:v>
                </c:pt>
                <c:pt idx="6309">
                  <c:v>43551</c:v>
                </c:pt>
                <c:pt idx="6310">
                  <c:v>43552</c:v>
                </c:pt>
                <c:pt idx="6311">
                  <c:v>43553</c:v>
                </c:pt>
                <c:pt idx="6312">
                  <c:v>43556</c:v>
                </c:pt>
                <c:pt idx="6313">
                  <c:v>43557</c:v>
                </c:pt>
                <c:pt idx="6314">
                  <c:v>43558</c:v>
                </c:pt>
                <c:pt idx="6315">
                  <c:v>43559</c:v>
                </c:pt>
                <c:pt idx="6316">
                  <c:v>43560</c:v>
                </c:pt>
                <c:pt idx="6317">
                  <c:v>43563</c:v>
                </c:pt>
                <c:pt idx="6318">
                  <c:v>43564</c:v>
                </c:pt>
                <c:pt idx="6319">
                  <c:v>43565</c:v>
                </c:pt>
                <c:pt idx="6320">
                  <c:v>43566</c:v>
                </c:pt>
                <c:pt idx="6321">
                  <c:v>43567</c:v>
                </c:pt>
                <c:pt idx="6322">
                  <c:v>43570</c:v>
                </c:pt>
                <c:pt idx="6323">
                  <c:v>43571</c:v>
                </c:pt>
                <c:pt idx="6324">
                  <c:v>43572</c:v>
                </c:pt>
                <c:pt idx="6325">
                  <c:v>43573</c:v>
                </c:pt>
                <c:pt idx="6326">
                  <c:v>43574</c:v>
                </c:pt>
                <c:pt idx="6327">
                  <c:v>43577</c:v>
                </c:pt>
                <c:pt idx="6328">
                  <c:v>43578</c:v>
                </c:pt>
                <c:pt idx="6329">
                  <c:v>43579</c:v>
                </c:pt>
                <c:pt idx="6330">
                  <c:v>43580</c:v>
                </c:pt>
                <c:pt idx="6331">
                  <c:v>43581</c:v>
                </c:pt>
                <c:pt idx="6332">
                  <c:v>43584</c:v>
                </c:pt>
                <c:pt idx="6333">
                  <c:v>43585</c:v>
                </c:pt>
                <c:pt idx="6334">
                  <c:v>43586</c:v>
                </c:pt>
                <c:pt idx="6335">
                  <c:v>43587</c:v>
                </c:pt>
                <c:pt idx="6336">
                  <c:v>43588</c:v>
                </c:pt>
                <c:pt idx="6337">
                  <c:v>43591</c:v>
                </c:pt>
                <c:pt idx="6338">
                  <c:v>43592</c:v>
                </c:pt>
                <c:pt idx="6339">
                  <c:v>43593</c:v>
                </c:pt>
                <c:pt idx="6340">
                  <c:v>43594</c:v>
                </c:pt>
                <c:pt idx="6341">
                  <c:v>43595</c:v>
                </c:pt>
                <c:pt idx="6342">
                  <c:v>43598</c:v>
                </c:pt>
                <c:pt idx="6343">
                  <c:v>43599</c:v>
                </c:pt>
                <c:pt idx="6344">
                  <c:v>43600</c:v>
                </c:pt>
                <c:pt idx="6345">
                  <c:v>43601</c:v>
                </c:pt>
                <c:pt idx="6346">
                  <c:v>43602</c:v>
                </c:pt>
                <c:pt idx="6347">
                  <c:v>43605</c:v>
                </c:pt>
                <c:pt idx="6348">
                  <c:v>43606</c:v>
                </c:pt>
                <c:pt idx="6349">
                  <c:v>43607</c:v>
                </c:pt>
                <c:pt idx="6350">
                  <c:v>43608</c:v>
                </c:pt>
                <c:pt idx="6351">
                  <c:v>43609</c:v>
                </c:pt>
                <c:pt idx="6352">
                  <c:v>43612</c:v>
                </c:pt>
                <c:pt idx="6353">
                  <c:v>43613</c:v>
                </c:pt>
                <c:pt idx="6354">
                  <c:v>43614</c:v>
                </c:pt>
                <c:pt idx="6355">
                  <c:v>43615</c:v>
                </c:pt>
                <c:pt idx="6356">
                  <c:v>43616</c:v>
                </c:pt>
                <c:pt idx="6357">
                  <c:v>43619</c:v>
                </c:pt>
                <c:pt idx="6358">
                  <c:v>43620</c:v>
                </c:pt>
                <c:pt idx="6359">
                  <c:v>43621</c:v>
                </c:pt>
                <c:pt idx="6360">
                  <c:v>43622</c:v>
                </c:pt>
                <c:pt idx="6361">
                  <c:v>43623</c:v>
                </c:pt>
                <c:pt idx="6362">
                  <c:v>43626</c:v>
                </c:pt>
                <c:pt idx="6363">
                  <c:v>43627</c:v>
                </c:pt>
                <c:pt idx="6364">
                  <c:v>43628</c:v>
                </c:pt>
                <c:pt idx="6365">
                  <c:v>43629</c:v>
                </c:pt>
                <c:pt idx="6366">
                  <c:v>43630</c:v>
                </c:pt>
                <c:pt idx="6367">
                  <c:v>43633</c:v>
                </c:pt>
                <c:pt idx="6368">
                  <c:v>43634</c:v>
                </c:pt>
                <c:pt idx="6369">
                  <c:v>43635</c:v>
                </c:pt>
                <c:pt idx="6370">
                  <c:v>43636</c:v>
                </c:pt>
                <c:pt idx="6371">
                  <c:v>43637</c:v>
                </c:pt>
                <c:pt idx="6372">
                  <c:v>43640</c:v>
                </c:pt>
                <c:pt idx="6373">
                  <c:v>43641</c:v>
                </c:pt>
                <c:pt idx="6374">
                  <c:v>43642</c:v>
                </c:pt>
                <c:pt idx="6375">
                  <c:v>43643</c:v>
                </c:pt>
                <c:pt idx="6376">
                  <c:v>43644</c:v>
                </c:pt>
                <c:pt idx="6377">
                  <c:v>43647</c:v>
                </c:pt>
                <c:pt idx="6378">
                  <c:v>43648</c:v>
                </c:pt>
                <c:pt idx="6379">
                  <c:v>43649</c:v>
                </c:pt>
                <c:pt idx="6380">
                  <c:v>43650</c:v>
                </c:pt>
                <c:pt idx="6381">
                  <c:v>43651</c:v>
                </c:pt>
                <c:pt idx="6382">
                  <c:v>43654</c:v>
                </c:pt>
                <c:pt idx="6383">
                  <c:v>43655</c:v>
                </c:pt>
                <c:pt idx="6384">
                  <c:v>43656</c:v>
                </c:pt>
                <c:pt idx="6385">
                  <c:v>43657</c:v>
                </c:pt>
                <c:pt idx="6386">
                  <c:v>43658</c:v>
                </c:pt>
                <c:pt idx="6387">
                  <c:v>43661</c:v>
                </c:pt>
                <c:pt idx="6388">
                  <c:v>43662</c:v>
                </c:pt>
                <c:pt idx="6389">
                  <c:v>43663</c:v>
                </c:pt>
                <c:pt idx="6390">
                  <c:v>43664</c:v>
                </c:pt>
                <c:pt idx="6391">
                  <c:v>43665</c:v>
                </c:pt>
                <c:pt idx="6392">
                  <c:v>43668</c:v>
                </c:pt>
                <c:pt idx="6393">
                  <c:v>43669</c:v>
                </c:pt>
                <c:pt idx="6394">
                  <c:v>43670</c:v>
                </c:pt>
                <c:pt idx="6395">
                  <c:v>43671</c:v>
                </c:pt>
                <c:pt idx="6396">
                  <c:v>43672</c:v>
                </c:pt>
                <c:pt idx="6397">
                  <c:v>43675</c:v>
                </c:pt>
                <c:pt idx="6398">
                  <c:v>43676</c:v>
                </c:pt>
                <c:pt idx="6399">
                  <c:v>43677</c:v>
                </c:pt>
                <c:pt idx="6400">
                  <c:v>43678</c:v>
                </c:pt>
                <c:pt idx="6401">
                  <c:v>43679</c:v>
                </c:pt>
                <c:pt idx="6402">
                  <c:v>43682</c:v>
                </c:pt>
                <c:pt idx="6403">
                  <c:v>43683</c:v>
                </c:pt>
                <c:pt idx="6404">
                  <c:v>43684</c:v>
                </c:pt>
                <c:pt idx="6405">
                  <c:v>43685</c:v>
                </c:pt>
                <c:pt idx="6406">
                  <c:v>43686</c:v>
                </c:pt>
                <c:pt idx="6407">
                  <c:v>43689</c:v>
                </c:pt>
                <c:pt idx="6408">
                  <c:v>43690</c:v>
                </c:pt>
                <c:pt idx="6409">
                  <c:v>43691</c:v>
                </c:pt>
                <c:pt idx="6410">
                  <c:v>43692</c:v>
                </c:pt>
                <c:pt idx="6411">
                  <c:v>43693</c:v>
                </c:pt>
                <c:pt idx="6412">
                  <c:v>43696</c:v>
                </c:pt>
                <c:pt idx="6413">
                  <c:v>43697</c:v>
                </c:pt>
                <c:pt idx="6414">
                  <c:v>43698</c:v>
                </c:pt>
                <c:pt idx="6415">
                  <c:v>43699</c:v>
                </c:pt>
                <c:pt idx="6416">
                  <c:v>43700</c:v>
                </c:pt>
                <c:pt idx="6417">
                  <c:v>43703</c:v>
                </c:pt>
                <c:pt idx="6418">
                  <c:v>43704</c:v>
                </c:pt>
                <c:pt idx="6419">
                  <c:v>43705</c:v>
                </c:pt>
                <c:pt idx="6420">
                  <c:v>43706</c:v>
                </c:pt>
                <c:pt idx="6421">
                  <c:v>43707</c:v>
                </c:pt>
                <c:pt idx="6422">
                  <c:v>43710</c:v>
                </c:pt>
                <c:pt idx="6423">
                  <c:v>43711</c:v>
                </c:pt>
                <c:pt idx="6424">
                  <c:v>43712</c:v>
                </c:pt>
                <c:pt idx="6425">
                  <c:v>43713</c:v>
                </c:pt>
                <c:pt idx="6426">
                  <c:v>43714</c:v>
                </c:pt>
                <c:pt idx="6427">
                  <c:v>43717</c:v>
                </c:pt>
                <c:pt idx="6428">
                  <c:v>43718</c:v>
                </c:pt>
                <c:pt idx="6429">
                  <c:v>43719</c:v>
                </c:pt>
                <c:pt idx="6430">
                  <c:v>43720</c:v>
                </c:pt>
                <c:pt idx="6431">
                  <c:v>43721</c:v>
                </c:pt>
                <c:pt idx="6432">
                  <c:v>43724</c:v>
                </c:pt>
                <c:pt idx="6433">
                  <c:v>43725</c:v>
                </c:pt>
                <c:pt idx="6434">
                  <c:v>43726</c:v>
                </c:pt>
                <c:pt idx="6435">
                  <c:v>43727</c:v>
                </c:pt>
                <c:pt idx="6436">
                  <c:v>43728</c:v>
                </c:pt>
                <c:pt idx="6437">
                  <c:v>43731</c:v>
                </c:pt>
                <c:pt idx="6438">
                  <c:v>43732</c:v>
                </c:pt>
                <c:pt idx="6439">
                  <c:v>43733</c:v>
                </c:pt>
                <c:pt idx="6440">
                  <c:v>43734</c:v>
                </c:pt>
                <c:pt idx="6441">
                  <c:v>43735</c:v>
                </c:pt>
                <c:pt idx="6442">
                  <c:v>43738</c:v>
                </c:pt>
                <c:pt idx="6443">
                  <c:v>43739</c:v>
                </c:pt>
                <c:pt idx="6444">
                  <c:v>43740</c:v>
                </c:pt>
                <c:pt idx="6445">
                  <c:v>43741</c:v>
                </c:pt>
                <c:pt idx="6446">
                  <c:v>43742</c:v>
                </c:pt>
                <c:pt idx="6447">
                  <c:v>43745</c:v>
                </c:pt>
                <c:pt idx="6448">
                  <c:v>43746</c:v>
                </c:pt>
                <c:pt idx="6449">
                  <c:v>43747</c:v>
                </c:pt>
                <c:pt idx="6450">
                  <c:v>43748</c:v>
                </c:pt>
                <c:pt idx="6451">
                  <c:v>43749</c:v>
                </c:pt>
                <c:pt idx="6452">
                  <c:v>43752</c:v>
                </c:pt>
                <c:pt idx="6453">
                  <c:v>43753</c:v>
                </c:pt>
                <c:pt idx="6454">
                  <c:v>43754</c:v>
                </c:pt>
                <c:pt idx="6455">
                  <c:v>43755</c:v>
                </c:pt>
                <c:pt idx="6456">
                  <c:v>43756</c:v>
                </c:pt>
                <c:pt idx="6457">
                  <c:v>43759</c:v>
                </c:pt>
                <c:pt idx="6458">
                  <c:v>43760</c:v>
                </c:pt>
                <c:pt idx="6459">
                  <c:v>43761</c:v>
                </c:pt>
                <c:pt idx="6460">
                  <c:v>43762</c:v>
                </c:pt>
                <c:pt idx="6461">
                  <c:v>43763</c:v>
                </c:pt>
                <c:pt idx="6462">
                  <c:v>43766</c:v>
                </c:pt>
                <c:pt idx="6463">
                  <c:v>43767</c:v>
                </c:pt>
                <c:pt idx="6464">
                  <c:v>43768</c:v>
                </c:pt>
                <c:pt idx="6465">
                  <c:v>43769</c:v>
                </c:pt>
                <c:pt idx="6466">
                  <c:v>43770</c:v>
                </c:pt>
                <c:pt idx="6467">
                  <c:v>43773</c:v>
                </c:pt>
                <c:pt idx="6468">
                  <c:v>43774</c:v>
                </c:pt>
                <c:pt idx="6469">
                  <c:v>43775</c:v>
                </c:pt>
                <c:pt idx="6470">
                  <c:v>43776</c:v>
                </c:pt>
                <c:pt idx="6471">
                  <c:v>43777</c:v>
                </c:pt>
                <c:pt idx="6472">
                  <c:v>43780</c:v>
                </c:pt>
                <c:pt idx="6473">
                  <c:v>43781</c:v>
                </c:pt>
                <c:pt idx="6474">
                  <c:v>43782</c:v>
                </c:pt>
                <c:pt idx="6475">
                  <c:v>43783</c:v>
                </c:pt>
                <c:pt idx="6476">
                  <c:v>43784</c:v>
                </c:pt>
                <c:pt idx="6477">
                  <c:v>43787</c:v>
                </c:pt>
                <c:pt idx="6478">
                  <c:v>43788</c:v>
                </c:pt>
                <c:pt idx="6479">
                  <c:v>43789</c:v>
                </c:pt>
                <c:pt idx="6480">
                  <c:v>43790</c:v>
                </c:pt>
                <c:pt idx="6481">
                  <c:v>43791</c:v>
                </c:pt>
                <c:pt idx="6482">
                  <c:v>43794</c:v>
                </c:pt>
                <c:pt idx="6483">
                  <c:v>43795</c:v>
                </c:pt>
                <c:pt idx="6484">
                  <c:v>43796</c:v>
                </c:pt>
                <c:pt idx="6485">
                  <c:v>43797</c:v>
                </c:pt>
                <c:pt idx="6486">
                  <c:v>43798</c:v>
                </c:pt>
                <c:pt idx="6487">
                  <c:v>43801</c:v>
                </c:pt>
                <c:pt idx="6488">
                  <c:v>43802</c:v>
                </c:pt>
                <c:pt idx="6489">
                  <c:v>43803</c:v>
                </c:pt>
                <c:pt idx="6490">
                  <c:v>43804</c:v>
                </c:pt>
                <c:pt idx="6491">
                  <c:v>43805</c:v>
                </c:pt>
                <c:pt idx="6492">
                  <c:v>43808</c:v>
                </c:pt>
                <c:pt idx="6493">
                  <c:v>43809</c:v>
                </c:pt>
                <c:pt idx="6494">
                  <c:v>43810</c:v>
                </c:pt>
                <c:pt idx="6495">
                  <c:v>43811</c:v>
                </c:pt>
                <c:pt idx="6496">
                  <c:v>43812</c:v>
                </c:pt>
                <c:pt idx="6497">
                  <c:v>43815</c:v>
                </c:pt>
                <c:pt idx="6498">
                  <c:v>43816</c:v>
                </c:pt>
                <c:pt idx="6499">
                  <c:v>43817</c:v>
                </c:pt>
                <c:pt idx="6500">
                  <c:v>43818</c:v>
                </c:pt>
                <c:pt idx="6501">
                  <c:v>43819</c:v>
                </c:pt>
                <c:pt idx="6502">
                  <c:v>43822</c:v>
                </c:pt>
                <c:pt idx="6503">
                  <c:v>43823</c:v>
                </c:pt>
                <c:pt idx="6504">
                  <c:v>43824</c:v>
                </c:pt>
                <c:pt idx="6505">
                  <c:v>43825</c:v>
                </c:pt>
                <c:pt idx="6506">
                  <c:v>43826</c:v>
                </c:pt>
                <c:pt idx="6507">
                  <c:v>43829</c:v>
                </c:pt>
                <c:pt idx="6508">
                  <c:v>43830</c:v>
                </c:pt>
                <c:pt idx="6509">
                  <c:v>43831</c:v>
                </c:pt>
                <c:pt idx="6510">
                  <c:v>43832</c:v>
                </c:pt>
                <c:pt idx="6511">
                  <c:v>43833</c:v>
                </c:pt>
                <c:pt idx="6512">
                  <c:v>43836</c:v>
                </c:pt>
                <c:pt idx="6513">
                  <c:v>43837</c:v>
                </c:pt>
                <c:pt idx="6514">
                  <c:v>43838</c:v>
                </c:pt>
                <c:pt idx="6515">
                  <c:v>43839</c:v>
                </c:pt>
                <c:pt idx="6516">
                  <c:v>43840</c:v>
                </c:pt>
                <c:pt idx="6517">
                  <c:v>43843</c:v>
                </c:pt>
                <c:pt idx="6518">
                  <c:v>43844</c:v>
                </c:pt>
                <c:pt idx="6519">
                  <c:v>43845</c:v>
                </c:pt>
                <c:pt idx="6520">
                  <c:v>43846</c:v>
                </c:pt>
                <c:pt idx="6521">
                  <c:v>43847</c:v>
                </c:pt>
                <c:pt idx="6522">
                  <c:v>43850</c:v>
                </c:pt>
                <c:pt idx="6523">
                  <c:v>43851</c:v>
                </c:pt>
                <c:pt idx="6524">
                  <c:v>43852</c:v>
                </c:pt>
                <c:pt idx="6525">
                  <c:v>43853</c:v>
                </c:pt>
                <c:pt idx="6526">
                  <c:v>43854</c:v>
                </c:pt>
                <c:pt idx="6527">
                  <c:v>43857</c:v>
                </c:pt>
                <c:pt idx="6528">
                  <c:v>43858</c:v>
                </c:pt>
                <c:pt idx="6529">
                  <c:v>43859</c:v>
                </c:pt>
                <c:pt idx="6530">
                  <c:v>43860</c:v>
                </c:pt>
                <c:pt idx="6531">
                  <c:v>43861</c:v>
                </c:pt>
                <c:pt idx="6532">
                  <c:v>43864</c:v>
                </c:pt>
                <c:pt idx="6533">
                  <c:v>43865</c:v>
                </c:pt>
                <c:pt idx="6534">
                  <c:v>43866</c:v>
                </c:pt>
                <c:pt idx="6535">
                  <c:v>43867</c:v>
                </c:pt>
                <c:pt idx="6536">
                  <c:v>43868</c:v>
                </c:pt>
                <c:pt idx="6537">
                  <c:v>43871</c:v>
                </c:pt>
                <c:pt idx="6538">
                  <c:v>43872</c:v>
                </c:pt>
                <c:pt idx="6539">
                  <c:v>43873</c:v>
                </c:pt>
                <c:pt idx="6540">
                  <c:v>43874</c:v>
                </c:pt>
                <c:pt idx="6541">
                  <c:v>43875</c:v>
                </c:pt>
                <c:pt idx="6542">
                  <c:v>43878</c:v>
                </c:pt>
                <c:pt idx="6543">
                  <c:v>43879</c:v>
                </c:pt>
                <c:pt idx="6544">
                  <c:v>43880</c:v>
                </c:pt>
                <c:pt idx="6545">
                  <c:v>43881</c:v>
                </c:pt>
                <c:pt idx="6546">
                  <c:v>43882</c:v>
                </c:pt>
                <c:pt idx="6547">
                  <c:v>43885</c:v>
                </c:pt>
                <c:pt idx="6548">
                  <c:v>43886</c:v>
                </c:pt>
                <c:pt idx="6549">
                  <c:v>43887</c:v>
                </c:pt>
                <c:pt idx="6550">
                  <c:v>43888</c:v>
                </c:pt>
                <c:pt idx="6551">
                  <c:v>43889</c:v>
                </c:pt>
                <c:pt idx="6552">
                  <c:v>43892</c:v>
                </c:pt>
                <c:pt idx="6553">
                  <c:v>43893</c:v>
                </c:pt>
                <c:pt idx="6554">
                  <c:v>43894</c:v>
                </c:pt>
                <c:pt idx="6555">
                  <c:v>43895</c:v>
                </c:pt>
                <c:pt idx="6556">
                  <c:v>43896</c:v>
                </c:pt>
                <c:pt idx="6557">
                  <c:v>43899</c:v>
                </c:pt>
                <c:pt idx="6558">
                  <c:v>43900</c:v>
                </c:pt>
                <c:pt idx="6559">
                  <c:v>43901</c:v>
                </c:pt>
                <c:pt idx="6560">
                  <c:v>43902</c:v>
                </c:pt>
                <c:pt idx="6561">
                  <c:v>43903</c:v>
                </c:pt>
                <c:pt idx="6562">
                  <c:v>43906</c:v>
                </c:pt>
                <c:pt idx="6563">
                  <c:v>43907</c:v>
                </c:pt>
                <c:pt idx="6564">
                  <c:v>43908</c:v>
                </c:pt>
                <c:pt idx="6565">
                  <c:v>43909</c:v>
                </c:pt>
                <c:pt idx="6566">
                  <c:v>43910</c:v>
                </c:pt>
                <c:pt idx="6567">
                  <c:v>43913</c:v>
                </c:pt>
                <c:pt idx="6568">
                  <c:v>43914</c:v>
                </c:pt>
                <c:pt idx="6569">
                  <c:v>43915</c:v>
                </c:pt>
                <c:pt idx="6570">
                  <c:v>43916</c:v>
                </c:pt>
                <c:pt idx="6571">
                  <c:v>43917</c:v>
                </c:pt>
                <c:pt idx="6572">
                  <c:v>43920</c:v>
                </c:pt>
                <c:pt idx="6573">
                  <c:v>43921</c:v>
                </c:pt>
                <c:pt idx="6574">
                  <c:v>43922</c:v>
                </c:pt>
                <c:pt idx="6575">
                  <c:v>43923</c:v>
                </c:pt>
                <c:pt idx="6576">
                  <c:v>43924</c:v>
                </c:pt>
                <c:pt idx="6577">
                  <c:v>43927</c:v>
                </c:pt>
                <c:pt idx="6578">
                  <c:v>43928</c:v>
                </c:pt>
                <c:pt idx="6579">
                  <c:v>43929</c:v>
                </c:pt>
                <c:pt idx="6580">
                  <c:v>43930</c:v>
                </c:pt>
                <c:pt idx="6581">
                  <c:v>43931</c:v>
                </c:pt>
                <c:pt idx="6582">
                  <c:v>43934</c:v>
                </c:pt>
                <c:pt idx="6583">
                  <c:v>43935</c:v>
                </c:pt>
                <c:pt idx="6584">
                  <c:v>43936</c:v>
                </c:pt>
                <c:pt idx="6585">
                  <c:v>43937</c:v>
                </c:pt>
                <c:pt idx="6586">
                  <c:v>43938</c:v>
                </c:pt>
                <c:pt idx="6587">
                  <c:v>43941</c:v>
                </c:pt>
                <c:pt idx="6588">
                  <c:v>43942</c:v>
                </c:pt>
                <c:pt idx="6589">
                  <c:v>43943</c:v>
                </c:pt>
                <c:pt idx="6590">
                  <c:v>43944</c:v>
                </c:pt>
                <c:pt idx="6591">
                  <c:v>43945</c:v>
                </c:pt>
                <c:pt idx="6592">
                  <c:v>43948</c:v>
                </c:pt>
                <c:pt idx="6593">
                  <c:v>43949</c:v>
                </c:pt>
                <c:pt idx="6594">
                  <c:v>43950</c:v>
                </c:pt>
                <c:pt idx="6595">
                  <c:v>43951</c:v>
                </c:pt>
                <c:pt idx="6596">
                  <c:v>43952</c:v>
                </c:pt>
                <c:pt idx="6597">
                  <c:v>43955</c:v>
                </c:pt>
                <c:pt idx="6598">
                  <c:v>43956</c:v>
                </c:pt>
                <c:pt idx="6599">
                  <c:v>43957</c:v>
                </c:pt>
                <c:pt idx="6600">
                  <c:v>43958</c:v>
                </c:pt>
                <c:pt idx="6601">
                  <c:v>43959</c:v>
                </c:pt>
                <c:pt idx="6602">
                  <c:v>43962</c:v>
                </c:pt>
                <c:pt idx="6603">
                  <c:v>43963</c:v>
                </c:pt>
                <c:pt idx="6604">
                  <c:v>43964</c:v>
                </c:pt>
                <c:pt idx="6605">
                  <c:v>43965</c:v>
                </c:pt>
                <c:pt idx="6606">
                  <c:v>43966</c:v>
                </c:pt>
                <c:pt idx="6607">
                  <c:v>43969</c:v>
                </c:pt>
                <c:pt idx="6608">
                  <c:v>43970</c:v>
                </c:pt>
                <c:pt idx="6609">
                  <c:v>43971</c:v>
                </c:pt>
                <c:pt idx="6610">
                  <c:v>43972</c:v>
                </c:pt>
                <c:pt idx="6611">
                  <c:v>43973</c:v>
                </c:pt>
                <c:pt idx="6612">
                  <c:v>43976</c:v>
                </c:pt>
                <c:pt idx="6613">
                  <c:v>43977</c:v>
                </c:pt>
                <c:pt idx="6614">
                  <c:v>43978</c:v>
                </c:pt>
                <c:pt idx="6615">
                  <c:v>43979</c:v>
                </c:pt>
                <c:pt idx="6616">
                  <c:v>43980</c:v>
                </c:pt>
                <c:pt idx="6617">
                  <c:v>43983</c:v>
                </c:pt>
                <c:pt idx="6618">
                  <c:v>43984</c:v>
                </c:pt>
                <c:pt idx="6619">
                  <c:v>43985</c:v>
                </c:pt>
                <c:pt idx="6620">
                  <c:v>43986</c:v>
                </c:pt>
                <c:pt idx="6621">
                  <c:v>43987</c:v>
                </c:pt>
                <c:pt idx="6622">
                  <c:v>43990</c:v>
                </c:pt>
                <c:pt idx="6623">
                  <c:v>43991</c:v>
                </c:pt>
                <c:pt idx="6624">
                  <c:v>43992</c:v>
                </c:pt>
                <c:pt idx="6625">
                  <c:v>43993</c:v>
                </c:pt>
                <c:pt idx="6626">
                  <c:v>43994</c:v>
                </c:pt>
                <c:pt idx="6627">
                  <c:v>43997</c:v>
                </c:pt>
                <c:pt idx="6628">
                  <c:v>43998</c:v>
                </c:pt>
                <c:pt idx="6629">
                  <c:v>43999</c:v>
                </c:pt>
                <c:pt idx="6630">
                  <c:v>44000</c:v>
                </c:pt>
                <c:pt idx="6631">
                  <c:v>44001</c:v>
                </c:pt>
                <c:pt idx="6632">
                  <c:v>44004</c:v>
                </c:pt>
                <c:pt idx="6633">
                  <c:v>44005</c:v>
                </c:pt>
                <c:pt idx="6634">
                  <c:v>44006</c:v>
                </c:pt>
                <c:pt idx="6635">
                  <c:v>44007</c:v>
                </c:pt>
                <c:pt idx="6636">
                  <c:v>44008</c:v>
                </c:pt>
                <c:pt idx="6637">
                  <c:v>44011</c:v>
                </c:pt>
                <c:pt idx="6638">
                  <c:v>44012</c:v>
                </c:pt>
                <c:pt idx="6639">
                  <c:v>44013</c:v>
                </c:pt>
                <c:pt idx="6640">
                  <c:v>44014</c:v>
                </c:pt>
                <c:pt idx="6641">
                  <c:v>44015</c:v>
                </c:pt>
                <c:pt idx="6642">
                  <c:v>44018</c:v>
                </c:pt>
                <c:pt idx="6643">
                  <c:v>44019</c:v>
                </c:pt>
                <c:pt idx="6644">
                  <c:v>44020</c:v>
                </c:pt>
                <c:pt idx="6645">
                  <c:v>44021</c:v>
                </c:pt>
                <c:pt idx="6646">
                  <c:v>44022</c:v>
                </c:pt>
                <c:pt idx="6647">
                  <c:v>44025</c:v>
                </c:pt>
                <c:pt idx="6648">
                  <c:v>44026</c:v>
                </c:pt>
                <c:pt idx="6649">
                  <c:v>44027</c:v>
                </c:pt>
                <c:pt idx="6650">
                  <c:v>44028</c:v>
                </c:pt>
                <c:pt idx="6651">
                  <c:v>44029</c:v>
                </c:pt>
                <c:pt idx="6652">
                  <c:v>44032</c:v>
                </c:pt>
                <c:pt idx="6653">
                  <c:v>44033</c:v>
                </c:pt>
                <c:pt idx="6654">
                  <c:v>44034</c:v>
                </c:pt>
                <c:pt idx="6655">
                  <c:v>44035</c:v>
                </c:pt>
                <c:pt idx="6656">
                  <c:v>44036</c:v>
                </c:pt>
                <c:pt idx="6657">
                  <c:v>44039</c:v>
                </c:pt>
                <c:pt idx="6658">
                  <c:v>44040</c:v>
                </c:pt>
                <c:pt idx="6659">
                  <c:v>44041</c:v>
                </c:pt>
                <c:pt idx="6660">
                  <c:v>44042</c:v>
                </c:pt>
                <c:pt idx="6661">
                  <c:v>44043</c:v>
                </c:pt>
                <c:pt idx="6662">
                  <c:v>44046</c:v>
                </c:pt>
                <c:pt idx="6663">
                  <c:v>44047</c:v>
                </c:pt>
                <c:pt idx="6664">
                  <c:v>44048</c:v>
                </c:pt>
                <c:pt idx="6665">
                  <c:v>44049</c:v>
                </c:pt>
                <c:pt idx="6666">
                  <c:v>44050</c:v>
                </c:pt>
                <c:pt idx="6667">
                  <c:v>44053</c:v>
                </c:pt>
                <c:pt idx="6668">
                  <c:v>44054</c:v>
                </c:pt>
                <c:pt idx="6669">
                  <c:v>44055</c:v>
                </c:pt>
                <c:pt idx="6670">
                  <c:v>44056</c:v>
                </c:pt>
                <c:pt idx="6671">
                  <c:v>44057</c:v>
                </c:pt>
                <c:pt idx="6672">
                  <c:v>44060</c:v>
                </c:pt>
                <c:pt idx="6673">
                  <c:v>44061</c:v>
                </c:pt>
                <c:pt idx="6674">
                  <c:v>44062</c:v>
                </c:pt>
                <c:pt idx="6675">
                  <c:v>44063</c:v>
                </c:pt>
                <c:pt idx="6676">
                  <c:v>44064</c:v>
                </c:pt>
                <c:pt idx="6677">
                  <c:v>44067</c:v>
                </c:pt>
                <c:pt idx="6678">
                  <c:v>44068</c:v>
                </c:pt>
                <c:pt idx="6679">
                  <c:v>44069</c:v>
                </c:pt>
                <c:pt idx="6680">
                  <c:v>44070</c:v>
                </c:pt>
                <c:pt idx="6681">
                  <c:v>44071</c:v>
                </c:pt>
                <c:pt idx="6682">
                  <c:v>44074</c:v>
                </c:pt>
                <c:pt idx="6683">
                  <c:v>44075</c:v>
                </c:pt>
                <c:pt idx="6684">
                  <c:v>44076</c:v>
                </c:pt>
                <c:pt idx="6685">
                  <c:v>44077</c:v>
                </c:pt>
                <c:pt idx="6686">
                  <c:v>44078</c:v>
                </c:pt>
                <c:pt idx="6687">
                  <c:v>44081</c:v>
                </c:pt>
                <c:pt idx="6688">
                  <c:v>44082</c:v>
                </c:pt>
                <c:pt idx="6689">
                  <c:v>44083</c:v>
                </c:pt>
                <c:pt idx="6690">
                  <c:v>44084</c:v>
                </c:pt>
                <c:pt idx="6691">
                  <c:v>44085</c:v>
                </c:pt>
                <c:pt idx="6692">
                  <c:v>44088</c:v>
                </c:pt>
                <c:pt idx="6693">
                  <c:v>44089</c:v>
                </c:pt>
                <c:pt idx="6694">
                  <c:v>44090</c:v>
                </c:pt>
                <c:pt idx="6695">
                  <c:v>44091</c:v>
                </c:pt>
                <c:pt idx="6696">
                  <c:v>44092</c:v>
                </c:pt>
                <c:pt idx="6697">
                  <c:v>44095</c:v>
                </c:pt>
                <c:pt idx="6698">
                  <c:v>44096</c:v>
                </c:pt>
                <c:pt idx="6699">
                  <c:v>44097</c:v>
                </c:pt>
                <c:pt idx="6700">
                  <c:v>44098</c:v>
                </c:pt>
                <c:pt idx="6701">
                  <c:v>44099</c:v>
                </c:pt>
                <c:pt idx="6702">
                  <c:v>44102</c:v>
                </c:pt>
                <c:pt idx="6703">
                  <c:v>44103</c:v>
                </c:pt>
                <c:pt idx="6704">
                  <c:v>44104</c:v>
                </c:pt>
                <c:pt idx="6705">
                  <c:v>44105</c:v>
                </c:pt>
                <c:pt idx="6706">
                  <c:v>44106</c:v>
                </c:pt>
                <c:pt idx="6707">
                  <c:v>44109</c:v>
                </c:pt>
                <c:pt idx="6708">
                  <c:v>44110</c:v>
                </c:pt>
                <c:pt idx="6709">
                  <c:v>44111</c:v>
                </c:pt>
                <c:pt idx="6710">
                  <c:v>44112</c:v>
                </c:pt>
                <c:pt idx="6711">
                  <c:v>44113</c:v>
                </c:pt>
                <c:pt idx="6712">
                  <c:v>44116</c:v>
                </c:pt>
                <c:pt idx="6713">
                  <c:v>44117</c:v>
                </c:pt>
                <c:pt idx="6714">
                  <c:v>44118</c:v>
                </c:pt>
                <c:pt idx="6715">
                  <c:v>44119</c:v>
                </c:pt>
                <c:pt idx="6716">
                  <c:v>44120</c:v>
                </c:pt>
                <c:pt idx="6717">
                  <c:v>44123</c:v>
                </c:pt>
                <c:pt idx="6718">
                  <c:v>44124</c:v>
                </c:pt>
                <c:pt idx="6719">
                  <c:v>44125</c:v>
                </c:pt>
                <c:pt idx="6720">
                  <c:v>44126</c:v>
                </c:pt>
                <c:pt idx="6721">
                  <c:v>44127</c:v>
                </c:pt>
                <c:pt idx="6722">
                  <c:v>44130</c:v>
                </c:pt>
                <c:pt idx="6723">
                  <c:v>44131</c:v>
                </c:pt>
                <c:pt idx="6724">
                  <c:v>44132</c:v>
                </c:pt>
                <c:pt idx="6725">
                  <c:v>44133</c:v>
                </c:pt>
                <c:pt idx="6726">
                  <c:v>44134</c:v>
                </c:pt>
                <c:pt idx="6727">
                  <c:v>44137</c:v>
                </c:pt>
                <c:pt idx="6728">
                  <c:v>44138</c:v>
                </c:pt>
                <c:pt idx="6729">
                  <c:v>44139</c:v>
                </c:pt>
                <c:pt idx="6730">
                  <c:v>44140</c:v>
                </c:pt>
                <c:pt idx="6731">
                  <c:v>44141</c:v>
                </c:pt>
                <c:pt idx="6732">
                  <c:v>44144</c:v>
                </c:pt>
                <c:pt idx="6733">
                  <c:v>44145</c:v>
                </c:pt>
                <c:pt idx="6734">
                  <c:v>44146</c:v>
                </c:pt>
                <c:pt idx="6735">
                  <c:v>44147</c:v>
                </c:pt>
                <c:pt idx="6736">
                  <c:v>44148</c:v>
                </c:pt>
                <c:pt idx="6737">
                  <c:v>44151</c:v>
                </c:pt>
                <c:pt idx="6738">
                  <c:v>44152</c:v>
                </c:pt>
                <c:pt idx="6739">
                  <c:v>44153</c:v>
                </c:pt>
                <c:pt idx="6740">
                  <c:v>44154</c:v>
                </c:pt>
                <c:pt idx="6741">
                  <c:v>44155</c:v>
                </c:pt>
                <c:pt idx="6742">
                  <c:v>44158</c:v>
                </c:pt>
                <c:pt idx="6743">
                  <c:v>44159</c:v>
                </c:pt>
                <c:pt idx="6744">
                  <c:v>44160</c:v>
                </c:pt>
                <c:pt idx="6745">
                  <c:v>44161</c:v>
                </c:pt>
                <c:pt idx="6746">
                  <c:v>44162</c:v>
                </c:pt>
                <c:pt idx="6747">
                  <c:v>44165</c:v>
                </c:pt>
                <c:pt idx="6748">
                  <c:v>44166</c:v>
                </c:pt>
                <c:pt idx="6749">
                  <c:v>44167</c:v>
                </c:pt>
                <c:pt idx="6750">
                  <c:v>44168</c:v>
                </c:pt>
                <c:pt idx="6751">
                  <c:v>44169</c:v>
                </c:pt>
                <c:pt idx="6752">
                  <c:v>44172</c:v>
                </c:pt>
                <c:pt idx="6753">
                  <c:v>44173</c:v>
                </c:pt>
                <c:pt idx="6754">
                  <c:v>44174</c:v>
                </c:pt>
                <c:pt idx="6755">
                  <c:v>44175</c:v>
                </c:pt>
                <c:pt idx="6756">
                  <c:v>44176</c:v>
                </c:pt>
                <c:pt idx="6757">
                  <c:v>44179</c:v>
                </c:pt>
                <c:pt idx="6758">
                  <c:v>44180</c:v>
                </c:pt>
                <c:pt idx="6759">
                  <c:v>44181</c:v>
                </c:pt>
                <c:pt idx="6760">
                  <c:v>44182</c:v>
                </c:pt>
                <c:pt idx="6761">
                  <c:v>44183</c:v>
                </c:pt>
                <c:pt idx="6762">
                  <c:v>44186</c:v>
                </c:pt>
                <c:pt idx="6763">
                  <c:v>44187</c:v>
                </c:pt>
                <c:pt idx="6764">
                  <c:v>44188</c:v>
                </c:pt>
                <c:pt idx="6765">
                  <c:v>44189</c:v>
                </c:pt>
                <c:pt idx="6766">
                  <c:v>44190</c:v>
                </c:pt>
                <c:pt idx="6767">
                  <c:v>44193</c:v>
                </c:pt>
                <c:pt idx="6768">
                  <c:v>44194</c:v>
                </c:pt>
                <c:pt idx="6769">
                  <c:v>44195</c:v>
                </c:pt>
                <c:pt idx="6770">
                  <c:v>44196</c:v>
                </c:pt>
                <c:pt idx="6771">
                  <c:v>44197</c:v>
                </c:pt>
                <c:pt idx="6772">
                  <c:v>44200</c:v>
                </c:pt>
                <c:pt idx="6773">
                  <c:v>44201</c:v>
                </c:pt>
                <c:pt idx="6774">
                  <c:v>44202</c:v>
                </c:pt>
                <c:pt idx="6775">
                  <c:v>44203</c:v>
                </c:pt>
                <c:pt idx="6776">
                  <c:v>44204</c:v>
                </c:pt>
                <c:pt idx="6777">
                  <c:v>44207</c:v>
                </c:pt>
                <c:pt idx="6778">
                  <c:v>44208</c:v>
                </c:pt>
                <c:pt idx="6779">
                  <c:v>44209</c:v>
                </c:pt>
                <c:pt idx="6780">
                  <c:v>44210</c:v>
                </c:pt>
                <c:pt idx="6781">
                  <c:v>44211</c:v>
                </c:pt>
                <c:pt idx="6782">
                  <c:v>44214</c:v>
                </c:pt>
                <c:pt idx="6783">
                  <c:v>44215</c:v>
                </c:pt>
                <c:pt idx="6784">
                  <c:v>44216</c:v>
                </c:pt>
                <c:pt idx="6785">
                  <c:v>44217</c:v>
                </c:pt>
                <c:pt idx="6786">
                  <c:v>44218</c:v>
                </c:pt>
                <c:pt idx="6787">
                  <c:v>44221</c:v>
                </c:pt>
                <c:pt idx="6788">
                  <c:v>44222</c:v>
                </c:pt>
                <c:pt idx="6789">
                  <c:v>44223</c:v>
                </c:pt>
                <c:pt idx="6790">
                  <c:v>44224</c:v>
                </c:pt>
                <c:pt idx="6791">
                  <c:v>44225</c:v>
                </c:pt>
                <c:pt idx="6792">
                  <c:v>44228</c:v>
                </c:pt>
                <c:pt idx="6793">
                  <c:v>44229</c:v>
                </c:pt>
                <c:pt idx="6794">
                  <c:v>44230</c:v>
                </c:pt>
                <c:pt idx="6795">
                  <c:v>44231</c:v>
                </c:pt>
                <c:pt idx="6796">
                  <c:v>44232</c:v>
                </c:pt>
                <c:pt idx="6797">
                  <c:v>44235</c:v>
                </c:pt>
                <c:pt idx="6798">
                  <c:v>44236</c:v>
                </c:pt>
                <c:pt idx="6799">
                  <c:v>44237</c:v>
                </c:pt>
                <c:pt idx="6800">
                  <c:v>44238</c:v>
                </c:pt>
                <c:pt idx="6801">
                  <c:v>44239</c:v>
                </c:pt>
                <c:pt idx="6802">
                  <c:v>44242</c:v>
                </c:pt>
                <c:pt idx="6803">
                  <c:v>44243</c:v>
                </c:pt>
                <c:pt idx="6804">
                  <c:v>44244</c:v>
                </c:pt>
                <c:pt idx="6805">
                  <c:v>44245</c:v>
                </c:pt>
                <c:pt idx="6806">
                  <c:v>44246</c:v>
                </c:pt>
                <c:pt idx="6807">
                  <c:v>44249</c:v>
                </c:pt>
                <c:pt idx="6808">
                  <c:v>44250</c:v>
                </c:pt>
                <c:pt idx="6809">
                  <c:v>44251</c:v>
                </c:pt>
                <c:pt idx="6810">
                  <c:v>44252</c:v>
                </c:pt>
                <c:pt idx="6811">
                  <c:v>44253</c:v>
                </c:pt>
                <c:pt idx="6812">
                  <c:v>44256</c:v>
                </c:pt>
                <c:pt idx="6813">
                  <c:v>44257</c:v>
                </c:pt>
                <c:pt idx="6814">
                  <c:v>44258</c:v>
                </c:pt>
                <c:pt idx="6815">
                  <c:v>44259</c:v>
                </c:pt>
                <c:pt idx="6816">
                  <c:v>44260</c:v>
                </c:pt>
                <c:pt idx="6817">
                  <c:v>44263</c:v>
                </c:pt>
                <c:pt idx="6818">
                  <c:v>44264</c:v>
                </c:pt>
                <c:pt idx="6819">
                  <c:v>44265</c:v>
                </c:pt>
                <c:pt idx="6820">
                  <c:v>44266</c:v>
                </c:pt>
                <c:pt idx="6821">
                  <c:v>44267</c:v>
                </c:pt>
                <c:pt idx="6822">
                  <c:v>44270</c:v>
                </c:pt>
                <c:pt idx="6823">
                  <c:v>44271</c:v>
                </c:pt>
                <c:pt idx="6824">
                  <c:v>44272</c:v>
                </c:pt>
                <c:pt idx="6825">
                  <c:v>44273</c:v>
                </c:pt>
                <c:pt idx="6826">
                  <c:v>44274</c:v>
                </c:pt>
                <c:pt idx="6827">
                  <c:v>44277</c:v>
                </c:pt>
                <c:pt idx="6828">
                  <c:v>44278</c:v>
                </c:pt>
                <c:pt idx="6829">
                  <c:v>44279</c:v>
                </c:pt>
                <c:pt idx="6830">
                  <c:v>44280</c:v>
                </c:pt>
                <c:pt idx="6831">
                  <c:v>44281</c:v>
                </c:pt>
                <c:pt idx="6832">
                  <c:v>44284</c:v>
                </c:pt>
                <c:pt idx="6833">
                  <c:v>44285</c:v>
                </c:pt>
                <c:pt idx="6834">
                  <c:v>44286</c:v>
                </c:pt>
                <c:pt idx="6835">
                  <c:v>44287</c:v>
                </c:pt>
                <c:pt idx="6836">
                  <c:v>44288</c:v>
                </c:pt>
                <c:pt idx="6837">
                  <c:v>44291</c:v>
                </c:pt>
                <c:pt idx="6838">
                  <c:v>44292</c:v>
                </c:pt>
                <c:pt idx="6839">
                  <c:v>44293</c:v>
                </c:pt>
                <c:pt idx="6840">
                  <c:v>44294</c:v>
                </c:pt>
                <c:pt idx="6841">
                  <c:v>44295</c:v>
                </c:pt>
                <c:pt idx="6842">
                  <c:v>44298</c:v>
                </c:pt>
                <c:pt idx="6843">
                  <c:v>44299</c:v>
                </c:pt>
                <c:pt idx="6844">
                  <c:v>44300</c:v>
                </c:pt>
                <c:pt idx="6845">
                  <c:v>44301</c:v>
                </c:pt>
                <c:pt idx="6846">
                  <c:v>44302</c:v>
                </c:pt>
                <c:pt idx="6847">
                  <c:v>44305</c:v>
                </c:pt>
                <c:pt idx="6848">
                  <c:v>44306</c:v>
                </c:pt>
                <c:pt idx="6849">
                  <c:v>44307</c:v>
                </c:pt>
                <c:pt idx="6850">
                  <c:v>44308</c:v>
                </c:pt>
                <c:pt idx="6851">
                  <c:v>44309</c:v>
                </c:pt>
                <c:pt idx="6852">
                  <c:v>44312</c:v>
                </c:pt>
                <c:pt idx="6853">
                  <c:v>44313</c:v>
                </c:pt>
                <c:pt idx="6854">
                  <c:v>44314</c:v>
                </c:pt>
                <c:pt idx="6855">
                  <c:v>44315</c:v>
                </c:pt>
                <c:pt idx="6856">
                  <c:v>44316</c:v>
                </c:pt>
                <c:pt idx="6857">
                  <c:v>44319</c:v>
                </c:pt>
                <c:pt idx="6858">
                  <c:v>44320</c:v>
                </c:pt>
                <c:pt idx="6859">
                  <c:v>44321</c:v>
                </c:pt>
                <c:pt idx="6860">
                  <c:v>44322</c:v>
                </c:pt>
                <c:pt idx="6861">
                  <c:v>44323</c:v>
                </c:pt>
                <c:pt idx="6862">
                  <c:v>44326</c:v>
                </c:pt>
                <c:pt idx="6863">
                  <c:v>44327</c:v>
                </c:pt>
                <c:pt idx="6864">
                  <c:v>44328</c:v>
                </c:pt>
                <c:pt idx="6865">
                  <c:v>44329</c:v>
                </c:pt>
                <c:pt idx="6866">
                  <c:v>44330</c:v>
                </c:pt>
                <c:pt idx="6867">
                  <c:v>44333</c:v>
                </c:pt>
                <c:pt idx="6868">
                  <c:v>44334</c:v>
                </c:pt>
                <c:pt idx="6869">
                  <c:v>44335</c:v>
                </c:pt>
                <c:pt idx="6870">
                  <c:v>44336</c:v>
                </c:pt>
                <c:pt idx="6871">
                  <c:v>44337</c:v>
                </c:pt>
                <c:pt idx="6872">
                  <c:v>44340</c:v>
                </c:pt>
                <c:pt idx="6873">
                  <c:v>44341</c:v>
                </c:pt>
                <c:pt idx="6874">
                  <c:v>44342</c:v>
                </c:pt>
                <c:pt idx="6875">
                  <c:v>44343</c:v>
                </c:pt>
                <c:pt idx="6876">
                  <c:v>44344</c:v>
                </c:pt>
                <c:pt idx="6877">
                  <c:v>44347</c:v>
                </c:pt>
                <c:pt idx="6878">
                  <c:v>44348</c:v>
                </c:pt>
                <c:pt idx="6879">
                  <c:v>44349</c:v>
                </c:pt>
                <c:pt idx="6880">
                  <c:v>44350</c:v>
                </c:pt>
                <c:pt idx="6881">
                  <c:v>44351</c:v>
                </c:pt>
                <c:pt idx="6882">
                  <c:v>44354</c:v>
                </c:pt>
                <c:pt idx="6883">
                  <c:v>44355</c:v>
                </c:pt>
                <c:pt idx="6884">
                  <c:v>44356</c:v>
                </c:pt>
                <c:pt idx="6885">
                  <c:v>44357</c:v>
                </c:pt>
                <c:pt idx="6886">
                  <c:v>44358</c:v>
                </c:pt>
                <c:pt idx="6887">
                  <c:v>44361</c:v>
                </c:pt>
                <c:pt idx="6888">
                  <c:v>44362</c:v>
                </c:pt>
                <c:pt idx="6889">
                  <c:v>44363</c:v>
                </c:pt>
                <c:pt idx="6890">
                  <c:v>44364</c:v>
                </c:pt>
                <c:pt idx="6891">
                  <c:v>44365</c:v>
                </c:pt>
                <c:pt idx="6892">
                  <c:v>44368</c:v>
                </c:pt>
                <c:pt idx="6893">
                  <c:v>44369</c:v>
                </c:pt>
                <c:pt idx="6894">
                  <c:v>44370</c:v>
                </c:pt>
                <c:pt idx="6895">
                  <c:v>44371</c:v>
                </c:pt>
                <c:pt idx="6896">
                  <c:v>44372</c:v>
                </c:pt>
                <c:pt idx="6897">
                  <c:v>44375</c:v>
                </c:pt>
                <c:pt idx="6898">
                  <c:v>44376</c:v>
                </c:pt>
                <c:pt idx="6899">
                  <c:v>44377</c:v>
                </c:pt>
                <c:pt idx="6900">
                  <c:v>44378</c:v>
                </c:pt>
                <c:pt idx="6901">
                  <c:v>44379</c:v>
                </c:pt>
                <c:pt idx="6902">
                  <c:v>44382</c:v>
                </c:pt>
                <c:pt idx="6903">
                  <c:v>44383</c:v>
                </c:pt>
                <c:pt idx="6904">
                  <c:v>44384</c:v>
                </c:pt>
                <c:pt idx="6905">
                  <c:v>44385</c:v>
                </c:pt>
                <c:pt idx="6906">
                  <c:v>44386</c:v>
                </c:pt>
                <c:pt idx="6907">
                  <c:v>44389</c:v>
                </c:pt>
                <c:pt idx="6908">
                  <c:v>44390</c:v>
                </c:pt>
                <c:pt idx="6909">
                  <c:v>44391</c:v>
                </c:pt>
                <c:pt idx="6910">
                  <c:v>44392</c:v>
                </c:pt>
                <c:pt idx="6911">
                  <c:v>44393</c:v>
                </c:pt>
                <c:pt idx="6912">
                  <c:v>44396</c:v>
                </c:pt>
                <c:pt idx="6913">
                  <c:v>44397</c:v>
                </c:pt>
                <c:pt idx="6914">
                  <c:v>44398</c:v>
                </c:pt>
                <c:pt idx="6915">
                  <c:v>44399</c:v>
                </c:pt>
                <c:pt idx="6916">
                  <c:v>44400</c:v>
                </c:pt>
                <c:pt idx="6917">
                  <c:v>44403</c:v>
                </c:pt>
                <c:pt idx="6918">
                  <c:v>44404</c:v>
                </c:pt>
                <c:pt idx="6919">
                  <c:v>44405</c:v>
                </c:pt>
                <c:pt idx="6920">
                  <c:v>44406</c:v>
                </c:pt>
                <c:pt idx="6921">
                  <c:v>44407</c:v>
                </c:pt>
                <c:pt idx="6922">
                  <c:v>44410</c:v>
                </c:pt>
                <c:pt idx="6923">
                  <c:v>44411</c:v>
                </c:pt>
                <c:pt idx="6924">
                  <c:v>44412</c:v>
                </c:pt>
                <c:pt idx="6925">
                  <c:v>44413</c:v>
                </c:pt>
                <c:pt idx="6926">
                  <c:v>44414</c:v>
                </c:pt>
                <c:pt idx="6927">
                  <c:v>44417</c:v>
                </c:pt>
                <c:pt idx="6928">
                  <c:v>44418</c:v>
                </c:pt>
                <c:pt idx="6929">
                  <c:v>44419</c:v>
                </c:pt>
                <c:pt idx="6930">
                  <c:v>44420</c:v>
                </c:pt>
                <c:pt idx="6931">
                  <c:v>44421</c:v>
                </c:pt>
                <c:pt idx="6932">
                  <c:v>44424</c:v>
                </c:pt>
                <c:pt idx="6933">
                  <c:v>44425</c:v>
                </c:pt>
                <c:pt idx="6934">
                  <c:v>44426</c:v>
                </c:pt>
                <c:pt idx="6935">
                  <c:v>44427</c:v>
                </c:pt>
                <c:pt idx="6936">
                  <c:v>44428</c:v>
                </c:pt>
                <c:pt idx="6937">
                  <c:v>44431</c:v>
                </c:pt>
                <c:pt idx="6938">
                  <c:v>44432</c:v>
                </c:pt>
                <c:pt idx="6939">
                  <c:v>44433</c:v>
                </c:pt>
                <c:pt idx="6940">
                  <c:v>44434</c:v>
                </c:pt>
                <c:pt idx="6941">
                  <c:v>44435</c:v>
                </c:pt>
                <c:pt idx="6942">
                  <c:v>44438</c:v>
                </c:pt>
                <c:pt idx="6943">
                  <c:v>44439</c:v>
                </c:pt>
                <c:pt idx="6944">
                  <c:v>44440</c:v>
                </c:pt>
                <c:pt idx="6945">
                  <c:v>44441</c:v>
                </c:pt>
                <c:pt idx="6946">
                  <c:v>44442</c:v>
                </c:pt>
                <c:pt idx="6947">
                  <c:v>44445</c:v>
                </c:pt>
                <c:pt idx="6948">
                  <c:v>44446</c:v>
                </c:pt>
                <c:pt idx="6949">
                  <c:v>44447</c:v>
                </c:pt>
                <c:pt idx="6950">
                  <c:v>44448</c:v>
                </c:pt>
                <c:pt idx="6951">
                  <c:v>44449</c:v>
                </c:pt>
                <c:pt idx="6952">
                  <c:v>44452</c:v>
                </c:pt>
                <c:pt idx="6953">
                  <c:v>44453</c:v>
                </c:pt>
                <c:pt idx="6954">
                  <c:v>44454</c:v>
                </c:pt>
                <c:pt idx="6955">
                  <c:v>44455</c:v>
                </c:pt>
                <c:pt idx="6956">
                  <c:v>44456</c:v>
                </c:pt>
                <c:pt idx="6957">
                  <c:v>44459</c:v>
                </c:pt>
                <c:pt idx="6958">
                  <c:v>44460</c:v>
                </c:pt>
                <c:pt idx="6959">
                  <c:v>44461</c:v>
                </c:pt>
                <c:pt idx="6960">
                  <c:v>44462</c:v>
                </c:pt>
                <c:pt idx="6961">
                  <c:v>44463</c:v>
                </c:pt>
                <c:pt idx="6962">
                  <c:v>44466</c:v>
                </c:pt>
                <c:pt idx="6963">
                  <c:v>44467</c:v>
                </c:pt>
                <c:pt idx="6964">
                  <c:v>44468</c:v>
                </c:pt>
                <c:pt idx="6965">
                  <c:v>44469</c:v>
                </c:pt>
                <c:pt idx="6966">
                  <c:v>44470</c:v>
                </c:pt>
                <c:pt idx="6967">
                  <c:v>44473</c:v>
                </c:pt>
                <c:pt idx="6968">
                  <c:v>44474</c:v>
                </c:pt>
                <c:pt idx="6969">
                  <c:v>44475</c:v>
                </c:pt>
                <c:pt idx="6970">
                  <c:v>44476</c:v>
                </c:pt>
                <c:pt idx="6971">
                  <c:v>44477</c:v>
                </c:pt>
                <c:pt idx="6972">
                  <c:v>44480</c:v>
                </c:pt>
                <c:pt idx="6973">
                  <c:v>44481</c:v>
                </c:pt>
                <c:pt idx="6974">
                  <c:v>44482</c:v>
                </c:pt>
                <c:pt idx="6975">
                  <c:v>44483</c:v>
                </c:pt>
                <c:pt idx="6976">
                  <c:v>44484</c:v>
                </c:pt>
                <c:pt idx="6977">
                  <c:v>44487</c:v>
                </c:pt>
                <c:pt idx="6978">
                  <c:v>44488</c:v>
                </c:pt>
                <c:pt idx="6979">
                  <c:v>44489</c:v>
                </c:pt>
                <c:pt idx="6980">
                  <c:v>44490</c:v>
                </c:pt>
                <c:pt idx="6981">
                  <c:v>44491</c:v>
                </c:pt>
                <c:pt idx="6982">
                  <c:v>44494</c:v>
                </c:pt>
                <c:pt idx="6983">
                  <c:v>44495</c:v>
                </c:pt>
                <c:pt idx="6984">
                  <c:v>44496</c:v>
                </c:pt>
                <c:pt idx="6985">
                  <c:v>44497</c:v>
                </c:pt>
                <c:pt idx="6986">
                  <c:v>44498</c:v>
                </c:pt>
                <c:pt idx="6987">
                  <c:v>44501</c:v>
                </c:pt>
                <c:pt idx="6988">
                  <c:v>44502</c:v>
                </c:pt>
                <c:pt idx="6989">
                  <c:v>44503</c:v>
                </c:pt>
                <c:pt idx="6990">
                  <c:v>44504</c:v>
                </c:pt>
                <c:pt idx="6991">
                  <c:v>44505</c:v>
                </c:pt>
                <c:pt idx="6992">
                  <c:v>44508</c:v>
                </c:pt>
                <c:pt idx="6993">
                  <c:v>44509</c:v>
                </c:pt>
                <c:pt idx="6994">
                  <c:v>44510</c:v>
                </c:pt>
                <c:pt idx="6995">
                  <c:v>44511</c:v>
                </c:pt>
                <c:pt idx="6996">
                  <c:v>44512</c:v>
                </c:pt>
                <c:pt idx="6997">
                  <c:v>44515</c:v>
                </c:pt>
                <c:pt idx="6998">
                  <c:v>44516</c:v>
                </c:pt>
                <c:pt idx="6999">
                  <c:v>44517</c:v>
                </c:pt>
                <c:pt idx="7000">
                  <c:v>44518</c:v>
                </c:pt>
                <c:pt idx="7001">
                  <c:v>44519</c:v>
                </c:pt>
                <c:pt idx="7002">
                  <c:v>44522</c:v>
                </c:pt>
                <c:pt idx="7003">
                  <c:v>44523</c:v>
                </c:pt>
                <c:pt idx="7004">
                  <c:v>44524</c:v>
                </c:pt>
                <c:pt idx="7005">
                  <c:v>44525</c:v>
                </c:pt>
                <c:pt idx="7006">
                  <c:v>44526</c:v>
                </c:pt>
                <c:pt idx="7007">
                  <c:v>44529</c:v>
                </c:pt>
                <c:pt idx="7008">
                  <c:v>44530</c:v>
                </c:pt>
                <c:pt idx="7009">
                  <c:v>44531</c:v>
                </c:pt>
                <c:pt idx="7010">
                  <c:v>44532</c:v>
                </c:pt>
                <c:pt idx="7011">
                  <c:v>44533</c:v>
                </c:pt>
                <c:pt idx="7012">
                  <c:v>44536</c:v>
                </c:pt>
                <c:pt idx="7013">
                  <c:v>44537</c:v>
                </c:pt>
                <c:pt idx="7014">
                  <c:v>44538</c:v>
                </c:pt>
                <c:pt idx="7015">
                  <c:v>44539</c:v>
                </c:pt>
                <c:pt idx="7016">
                  <c:v>44540</c:v>
                </c:pt>
                <c:pt idx="7017">
                  <c:v>44543</c:v>
                </c:pt>
                <c:pt idx="7018">
                  <c:v>44544</c:v>
                </c:pt>
                <c:pt idx="7019">
                  <c:v>44545</c:v>
                </c:pt>
                <c:pt idx="7020">
                  <c:v>44546</c:v>
                </c:pt>
                <c:pt idx="7021">
                  <c:v>44547</c:v>
                </c:pt>
                <c:pt idx="7022">
                  <c:v>44550</c:v>
                </c:pt>
                <c:pt idx="7023">
                  <c:v>44551</c:v>
                </c:pt>
                <c:pt idx="7024">
                  <c:v>44552</c:v>
                </c:pt>
                <c:pt idx="7025">
                  <c:v>44553</c:v>
                </c:pt>
                <c:pt idx="7026">
                  <c:v>44554</c:v>
                </c:pt>
                <c:pt idx="7027">
                  <c:v>44557</c:v>
                </c:pt>
                <c:pt idx="7028">
                  <c:v>44558</c:v>
                </c:pt>
                <c:pt idx="7029">
                  <c:v>44559</c:v>
                </c:pt>
                <c:pt idx="7030">
                  <c:v>44560</c:v>
                </c:pt>
                <c:pt idx="7031">
                  <c:v>44561</c:v>
                </c:pt>
                <c:pt idx="7032">
                  <c:v>44564</c:v>
                </c:pt>
                <c:pt idx="7033">
                  <c:v>44565</c:v>
                </c:pt>
                <c:pt idx="7034">
                  <c:v>44566</c:v>
                </c:pt>
                <c:pt idx="7035">
                  <c:v>44567</c:v>
                </c:pt>
                <c:pt idx="7036">
                  <c:v>44568</c:v>
                </c:pt>
                <c:pt idx="7037">
                  <c:v>44571</c:v>
                </c:pt>
                <c:pt idx="7038">
                  <c:v>44572</c:v>
                </c:pt>
                <c:pt idx="7039">
                  <c:v>44573</c:v>
                </c:pt>
                <c:pt idx="7040">
                  <c:v>44574</c:v>
                </c:pt>
                <c:pt idx="7041">
                  <c:v>44575</c:v>
                </c:pt>
                <c:pt idx="7042">
                  <c:v>44578</c:v>
                </c:pt>
                <c:pt idx="7043">
                  <c:v>44579</c:v>
                </c:pt>
                <c:pt idx="7044">
                  <c:v>44580</c:v>
                </c:pt>
                <c:pt idx="7045">
                  <c:v>44581</c:v>
                </c:pt>
                <c:pt idx="7046">
                  <c:v>44582</c:v>
                </c:pt>
                <c:pt idx="7047">
                  <c:v>44585</c:v>
                </c:pt>
                <c:pt idx="7048">
                  <c:v>44586</c:v>
                </c:pt>
                <c:pt idx="7049">
                  <c:v>44587</c:v>
                </c:pt>
                <c:pt idx="7050">
                  <c:v>44588</c:v>
                </c:pt>
                <c:pt idx="7051">
                  <c:v>44589</c:v>
                </c:pt>
                <c:pt idx="7052">
                  <c:v>44592</c:v>
                </c:pt>
                <c:pt idx="7053">
                  <c:v>44593</c:v>
                </c:pt>
                <c:pt idx="7054">
                  <c:v>44594</c:v>
                </c:pt>
                <c:pt idx="7055">
                  <c:v>44595</c:v>
                </c:pt>
                <c:pt idx="7056">
                  <c:v>44596</c:v>
                </c:pt>
                <c:pt idx="7057">
                  <c:v>44599</c:v>
                </c:pt>
                <c:pt idx="7058">
                  <c:v>44600</c:v>
                </c:pt>
                <c:pt idx="7059">
                  <c:v>44601</c:v>
                </c:pt>
                <c:pt idx="7060">
                  <c:v>44602</c:v>
                </c:pt>
                <c:pt idx="7061">
                  <c:v>44603</c:v>
                </c:pt>
                <c:pt idx="7062">
                  <c:v>44606</c:v>
                </c:pt>
                <c:pt idx="7063">
                  <c:v>44607</c:v>
                </c:pt>
                <c:pt idx="7064">
                  <c:v>44608</c:v>
                </c:pt>
                <c:pt idx="7065">
                  <c:v>44609</c:v>
                </c:pt>
                <c:pt idx="7066">
                  <c:v>44610</c:v>
                </c:pt>
                <c:pt idx="7067">
                  <c:v>44613</c:v>
                </c:pt>
                <c:pt idx="7068">
                  <c:v>44614</c:v>
                </c:pt>
                <c:pt idx="7069">
                  <c:v>44615</c:v>
                </c:pt>
                <c:pt idx="7070">
                  <c:v>44616</c:v>
                </c:pt>
                <c:pt idx="7071">
                  <c:v>44617</c:v>
                </c:pt>
                <c:pt idx="7072">
                  <c:v>44620</c:v>
                </c:pt>
                <c:pt idx="7073">
                  <c:v>44621</c:v>
                </c:pt>
                <c:pt idx="7074">
                  <c:v>44622</c:v>
                </c:pt>
                <c:pt idx="7075">
                  <c:v>44623</c:v>
                </c:pt>
                <c:pt idx="7076">
                  <c:v>44624</c:v>
                </c:pt>
                <c:pt idx="7077">
                  <c:v>44627</c:v>
                </c:pt>
                <c:pt idx="7078">
                  <c:v>44628</c:v>
                </c:pt>
                <c:pt idx="7079">
                  <c:v>44629</c:v>
                </c:pt>
                <c:pt idx="7080">
                  <c:v>44630</c:v>
                </c:pt>
                <c:pt idx="7081">
                  <c:v>44631</c:v>
                </c:pt>
                <c:pt idx="7082">
                  <c:v>44634</c:v>
                </c:pt>
                <c:pt idx="7083">
                  <c:v>44635</c:v>
                </c:pt>
                <c:pt idx="7084">
                  <c:v>44636</c:v>
                </c:pt>
                <c:pt idx="7085">
                  <c:v>44637</c:v>
                </c:pt>
                <c:pt idx="7086">
                  <c:v>44638</c:v>
                </c:pt>
                <c:pt idx="7087">
                  <c:v>44641</c:v>
                </c:pt>
                <c:pt idx="7088">
                  <c:v>44642</c:v>
                </c:pt>
                <c:pt idx="7089">
                  <c:v>44643</c:v>
                </c:pt>
                <c:pt idx="7090">
                  <c:v>44644</c:v>
                </c:pt>
                <c:pt idx="7091">
                  <c:v>44645</c:v>
                </c:pt>
                <c:pt idx="7092">
                  <c:v>44648</c:v>
                </c:pt>
                <c:pt idx="7093">
                  <c:v>44649</c:v>
                </c:pt>
                <c:pt idx="7094">
                  <c:v>44650</c:v>
                </c:pt>
                <c:pt idx="7095">
                  <c:v>44651</c:v>
                </c:pt>
                <c:pt idx="7096">
                  <c:v>44652</c:v>
                </c:pt>
                <c:pt idx="7097">
                  <c:v>44655</c:v>
                </c:pt>
                <c:pt idx="7098">
                  <c:v>44656</c:v>
                </c:pt>
                <c:pt idx="7099">
                  <c:v>44657</c:v>
                </c:pt>
                <c:pt idx="7100">
                  <c:v>44658</c:v>
                </c:pt>
                <c:pt idx="7101">
                  <c:v>44659</c:v>
                </c:pt>
                <c:pt idx="7102">
                  <c:v>44662</c:v>
                </c:pt>
                <c:pt idx="7103">
                  <c:v>44663</c:v>
                </c:pt>
                <c:pt idx="7104">
                  <c:v>44664</c:v>
                </c:pt>
                <c:pt idx="7105">
                  <c:v>44665</c:v>
                </c:pt>
                <c:pt idx="7106">
                  <c:v>44666</c:v>
                </c:pt>
                <c:pt idx="7107">
                  <c:v>44669</c:v>
                </c:pt>
                <c:pt idx="7108">
                  <c:v>44670</c:v>
                </c:pt>
                <c:pt idx="7109">
                  <c:v>44671</c:v>
                </c:pt>
                <c:pt idx="7110">
                  <c:v>44672</c:v>
                </c:pt>
                <c:pt idx="7111">
                  <c:v>44673</c:v>
                </c:pt>
                <c:pt idx="7112">
                  <c:v>44676</c:v>
                </c:pt>
                <c:pt idx="7113">
                  <c:v>44677</c:v>
                </c:pt>
                <c:pt idx="7114">
                  <c:v>44678</c:v>
                </c:pt>
                <c:pt idx="7115">
                  <c:v>44679</c:v>
                </c:pt>
                <c:pt idx="7116">
                  <c:v>44680</c:v>
                </c:pt>
                <c:pt idx="7117">
                  <c:v>44683</c:v>
                </c:pt>
                <c:pt idx="7118">
                  <c:v>44684</c:v>
                </c:pt>
                <c:pt idx="7119">
                  <c:v>44685</c:v>
                </c:pt>
                <c:pt idx="7120">
                  <c:v>44686</c:v>
                </c:pt>
                <c:pt idx="7121">
                  <c:v>44687</c:v>
                </c:pt>
                <c:pt idx="7122">
                  <c:v>44690</c:v>
                </c:pt>
                <c:pt idx="7123">
                  <c:v>44691</c:v>
                </c:pt>
                <c:pt idx="7124">
                  <c:v>44692</c:v>
                </c:pt>
                <c:pt idx="7125">
                  <c:v>44693</c:v>
                </c:pt>
                <c:pt idx="7126">
                  <c:v>44694</c:v>
                </c:pt>
                <c:pt idx="7127">
                  <c:v>44697</c:v>
                </c:pt>
                <c:pt idx="7128">
                  <c:v>44698</c:v>
                </c:pt>
                <c:pt idx="7129">
                  <c:v>44699</c:v>
                </c:pt>
                <c:pt idx="7130">
                  <c:v>44700</c:v>
                </c:pt>
                <c:pt idx="7131">
                  <c:v>44701</c:v>
                </c:pt>
                <c:pt idx="7132">
                  <c:v>44704</c:v>
                </c:pt>
                <c:pt idx="7133">
                  <c:v>44705</c:v>
                </c:pt>
                <c:pt idx="7134">
                  <c:v>44706</c:v>
                </c:pt>
                <c:pt idx="7135">
                  <c:v>44707</c:v>
                </c:pt>
                <c:pt idx="7136">
                  <c:v>44708</c:v>
                </c:pt>
                <c:pt idx="7137">
                  <c:v>44711</c:v>
                </c:pt>
                <c:pt idx="7138">
                  <c:v>44712</c:v>
                </c:pt>
                <c:pt idx="7139">
                  <c:v>44713</c:v>
                </c:pt>
                <c:pt idx="7140">
                  <c:v>44714</c:v>
                </c:pt>
                <c:pt idx="7141">
                  <c:v>44715</c:v>
                </c:pt>
                <c:pt idx="7142">
                  <c:v>44718</c:v>
                </c:pt>
                <c:pt idx="7143">
                  <c:v>44719</c:v>
                </c:pt>
                <c:pt idx="7144">
                  <c:v>44720</c:v>
                </c:pt>
                <c:pt idx="7145">
                  <c:v>44721</c:v>
                </c:pt>
                <c:pt idx="7146">
                  <c:v>44722</c:v>
                </c:pt>
                <c:pt idx="7147">
                  <c:v>44725</c:v>
                </c:pt>
                <c:pt idx="7148">
                  <c:v>44726</c:v>
                </c:pt>
                <c:pt idx="7149">
                  <c:v>44727</c:v>
                </c:pt>
                <c:pt idx="7150">
                  <c:v>44728</c:v>
                </c:pt>
                <c:pt idx="7151">
                  <c:v>44729</c:v>
                </c:pt>
                <c:pt idx="7152">
                  <c:v>44732</c:v>
                </c:pt>
                <c:pt idx="7153">
                  <c:v>44733</c:v>
                </c:pt>
                <c:pt idx="7154">
                  <c:v>44734</c:v>
                </c:pt>
                <c:pt idx="7155">
                  <c:v>44735</c:v>
                </c:pt>
                <c:pt idx="7156">
                  <c:v>44736</c:v>
                </c:pt>
                <c:pt idx="7157">
                  <c:v>44739</c:v>
                </c:pt>
                <c:pt idx="7158">
                  <c:v>44740</c:v>
                </c:pt>
                <c:pt idx="7159">
                  <c:v>44741</c:v>
                </c:pt>
                <c:pt idx="7160">
                  <c:v>44742</c:v>
                </c:pt>
                <c:pt idx="7161">
                  <c:v>44743</c:v>
                </c:pt>
                <c:pt idx="7162">
                  <c:v>44746</c:v>
                </c:pt>
                <c:pt idx="7163">
                  <c:v>44747</c:v>
                </c:pt>
                <c:pt idx="7164">
                  <c:v>44748</c:v>
                </c:pt>
                <c:pt idx="7165">
                  <c:v>44749</c:v>
                </c:pt>
                <c:pt idx="7166">
                  <c:v>44750</c:v>
                </c:pt>
                <c:pt idx="7167">
                  <c:v>44753</c:v>
                </c:pt>
                <c:pt idx="7168">
                  <c:v>44754</c:v>
                </c:pt>
                <c:pt idx="7169">
                  <c:v>44755</c:v>
                </c:pt>
                <c:pt idx="7170">
                  <c:v>44756</c:v>
                </c:pt>
                <c:pt idx="7171">
                  <c:v>44757</c:v>
                </c:pt>
                <c:pt idx="7172">
                  <c:v>44760</c:v>
                </c:pt>
                <c:pt idx="7173">
                  <c:v>44761</c:v>
                </c:pt>
                <c:pt idx="7174">
                  <c:v>44762</c:v>
                </c:pt>
                <c:pt idx="7175">
                  <c:v>44763</c:v>
                </c:pt>
                <c:pt idx="7176">
                  <c:v>44764</c:v>
                </c:pt>
                <c:pt idx="7177">
                  <c:v>44767</c:v>
                </c:pt>
                <c:pt idx="7178">
                  <c:v>44768</c:v>
                </c:pt>
                <c:pt idx="7179">
                  <c:v>44769</c:v>
                </c:pt>
                <c:pt idx="7180">
                  <c:v>44770</c:v>
                </c:pt>
                <c:pt idx="7181">
                  <c:v>44771</c:v>
                </c:pt>
                <c:pt idx="7182">
                  <c:v>44774</c:v>
                </c:pt>
                <c:pt idx="7183">
                  <c:v>44775</c:v>
                </c:pt>
                <c:pt idx="7184">
                  <c:v>44776</c:v>
                </c:pt>
                <c:pt idx="7185">
                  <c:v>44777</c:v>
                </c:pt>
                <c:pt idx="7186">
                  <c:v>44778</c:v>
                </c:pt>
                <c:pt idx="7187">
                  <c:v>44781</c:v>
                </c:pt>
                <c:pt idx="7188">
                  <c:v>44782</c:v>
                </c:pt>
                <c:pt idx="7189">
                  <c:v>44783</c:v>
                </c:pt>
                <c:pt idx="7190">
                  <c:v>44784</c:v>
                </c:pt>
                <c:pt idx="7191">
                  <c:v>44785</c:v>
                </c:pt>
                <c:pt idx="7192">
                  <c:v>44788</c:v>
                </c:pt>
                <c:pt idx="7193">
                  <c:v>44789</c:v>
                </c:pt>
                <c:pt idx="7194">
                  <c:v>44790</c:v>
                </c:pt>
                <c:pt idx="7195">
                  <c:v>44791</c:v>
                </c:pt>
                <c:pt idx="7196">
                  <c:v>44792</c:v>
                </c:pt>
                <c:pt idx="7197">
                  <c:v>44795</c:v>
                </c:pt>
                <c:pt idx="7198">
                  <c:v>44796</c:v>
                </c:pt>
                <c:pt idx="7199">
                  <c:v>44797</c:v>
                </c:pt>
                <c:pt idx="7200">
                  <c:v>44798</c:v>
                </c:pt>
                <c:pt idx="7201">
                  <c:v>44799</c:v>
                </c:pt>
                <c:pt idx="7202">
                  <c:v>44802</c:v>
                </c:pt>
                <c:pt idx="7203">
                  <c:v>44803</c:v>
                </c:pt>
                <c:pt idx="7204">
                  <c:v>44804</c:v>
                </c:pt>
                <c:pt idx="7205">
                  <c:v>44805</c:v>
                </c:pt>
                <c:pt idx="7206">
                  <c:v>44806</c:v>
                </c:pt>
                <c:pt idx="7207">
                  <c:v>44809</c:v>
                </c:pt>
                <c:pt idx="7208">
                  <c:v>44810</c:v>
                </c:pt>
                <c:pt idx="7209">
                  <c:v>44811</c:v>
                </c:pt>
                <c:pt idx="7210">
                  <c:v>44812</c:v>
                </c:pt>
                <c:pt idx="7211">
                  <c:v>44813</c:v>
                </c:pt>
                <c:pt idx="7212">
                  <c:v>44816</c:v>
                </c:pt>
                <c:pt idx="7213">
                  <c:v>44817</c:v>
                </c:pt>
                <c:pt idx="7214">
                  <c:v>44818</c:v>
                </c:pt>
                <c:pt idx="7215">
                  <c:v>44819</c:v>
                </c:pt>
                <c:pt idx="7216">
                  <c:v>44820</c:v>
                </c:pt>
                <c:pt idx="7217">
                  <c:v>44823</c:v>
                </c:pt>
                <c:pt idx="7218">
                  <c:v>44824</c:v>
                </c:pt>
                <c:pt idx="7219">
                  <c:v>44825</c:v>
                </c:pt>
                <c:pt idx="7220">
                  <c:v>44826</c:v>
                </c:pt>
                <c:pt idx="7221">
                  <c:v>44827</c:v>
                </c:pt>
                <c:pt idx="7222">
                  <c:v>44830</c:v>
                </c:pt>
                <c:pt idx="7223">
                  <c:v>44831</c:v>
                </c:pt>
                <c:pt idx="7224">
                  <c:v>44832</c:v>
                </c:pt>
                <c:pt idx="7225">
                  <c:v>44833</c:v>
                </c:pt>
                <c:pt idx="7226">
                  <c:v>44834</c:v>
                </c:pt>
                <c:pt idx="7227">
                  <c:v>44837</c:v>
                </c:pt>
                <c:pt idx="7228">
                  <c:v>44838</c:v>
                </c:pt>
                <c:pt idx="7229">
                  <c:v>44839</c:v>
                </c:pt>
                <c:pt idx="7230">
                  <c:v>44840</c:v>
                </c:pt>
                <c:pt idx="7231">
                  <c:v>44841</c:v>
                </c:pt>
                <c:pt idx="7232">
                  <c:v>44844</c:v>
                </c:pt>
                <c:pt idx="7233">
                  <c:v>44845</c:v>
                </c:pt>
                <c:pt idx="7234">
                  <c:v>44846</c:v>
                </c:pt>
                <c:pt idx="7235">
                  <c:v>44847</c:v>
                </c:pt>
                <c:pt idx="7236">
                  <c:v>44848</c:v>
                </c:pt>
                <c:pt idx="7237">
                  <c:v>44851</c:v>
                </c:pt>
                <c:pt idx="7238">
                  <c:v>44852</c:v>
                </c:pt>
                <c:pt idx="7239">
                  <c:v>44853</c:v>
                </c:pt>
                <c:pt idx="7240">
                  <c:v>44854</c:v>
                </c:pt>
                <c:pt idx="7241">
                  <c:v>44855</c:v>
                </c:pt>
                <c:pt idx="7242">
                  <c:v>44858</c:v>
                </c:pt>
                <c:pt idx="7243">
                  <c:v>44859</c:v>
                </c:pt>
                <c:pt idx="7244">
                  <c:v>44860</c:v>
                </c:pt>
                <c:pt idx="7245">
                  <c:v>44861</c:v>
                </c:pt>
                <c:pt idx="7246">
                  <c:v>44862</c:v>
                </c:pt>
                <c:pt idx="7247">
                  <c:v>44865</c:v>
                </c:pt>
                <c:pt idx="7248">
                  <c:v>44866</c:v>
                </c:pt>
                <c:pt idx="7249">
                  <c:v>44867</c:v>
                </c:pt>
                <c:pt idx="7250">
                  <c:v>44868</c:v>
                </c:pt>
                <c:pt idx="7251">
                  <c:v>44869</c:v>
                </c:pt>
                <c:pt idx="7252">
                  <c:v>44872</c:v>
                </c:pt>
                <c:pt idx="7253">
                  <c:v>44873</c:v>
                </c:pt>
                <c:pt idx="7254">
                  <c:v>44874</c:v>
                </c:pt>
                <c:pt idx="7255">
                  <c:v>44875</c:v>
                </c:pt>
                <c:pt idx="7256">
                  <c:v>44876</c:v>
                </c:pt>
                <c:pt idx="7257">
                  <c:v>44879</c:v>
                </c:pt>
                <c:pt idx="7258">
                  <c:v>44880</c:v>
                </c:pt>
                <c:pt idx="7259">
                  <c:v>44881</c:v>
                </c:pt>
                <c:pt idx="7260">
                  <c:v>44882</c:v>
                </c:pt>
                <c:pt idx="7261">
                  <c:v>44883</c:v>
                </c:pt>
                <c:pt idx="7262">
                  <c:v>44886</c:v>
                </c:pt>
                <c:pt idx="7263">
                  <c:v>44887</c:v>
                </c:pt>
                <c:pt idx="7264">
                  <c:v>44888</c:v>
                </c:pt>
                <c:pt idx="7265">
                  <c:v>44889</c:v>
                </c:pt>
                <c:pt idx="7266">
                  <c:v>44890</c:v>
                </c:pt>
                <c:pt idx="7267">
                  <c:v>44893</c:v>
                </c:pt>
                <c:pt idx="7268">
                  <c:v>44894</c:v>
                </c:pt>
                <c:pt idx="7269">
                  <c:v>44895</c:v>
                </c:pt>
                <c:pt idx="7270">
                  <c:v>44896</c:v>
                </c:pt>
                <c:pt idx="7271">
                  <c:v>44897</c:v>
                </c:pt>
                <c:pt idx="7272">
                  <c:v>44900</c:v>
                </c:pt>
                <c:pt idx="7273">
                  <c:v>44901</c:v>
                </c:pt>
                <c:pt idx="7274">
                  <c:v>44902</c:v>
                </c:pt>
                <c:pt idx="7275">
                  <c:v>44903</c:v>
                </c:pt>
                <c:pt idx="7276">
                  <c:v>44904</c:v>
                </c:pt>
                <c:pt idx="7277">
                  <c:v>44907</c:v>
                </c:pt>
                <c:pt idx="7278">
                  <c:v>44908</c:v>
                </c:pt>
                <c:pt idx="7279">
                  <c:v>44909</c:v>
                </c:pt>
                <c:pt idx="7280">
                  <c:v>44910</c:v>
                </c:pt>
                <c:pt idx="7281">
                  <c:v>44911</c:v>
                </c:pt>
                <c:pt idx="7282">
                  <c:v>44914</c:v>
                </c:pt>
                <c:pt idx="7283">
                  <c:v>44915</c:v>
                </c:pt>
                <c:pt idx="7284">
                  <c:v>44916</c:v>
                </c:pt>
                <c:pt idx="7285">
                  <c:v>44917</c:v>
                </c:pt>
                <c:pt idx="7286">
                  <c:v>44918</c:v>
                </c:pt>
                <c:pt idx="7287">
                  <c:v>44921</c:v>
                </c:pt>
                <c:pt idx="7288">
                  <c:v>44922</c:v>
                </c:pt>
                <c:pt idx="7289">
                  <c:v>44923</c:v>
                </c:pt>
                <c:pt idx="7290">
                  <c:v>44924</c:v>
                </c:pt>
                <c:pt idx="7291">
                  <c:v>44925</c:v>
                </c:pt>
                <c:pt idx="7292">
                  <c:v>44928</c:v>
                </c:pt>
                <c:pt idx="7293">
                  <c:v>44929</c:v>
                </c:pt>
                <c:pt idx="7294">
                  <c:v>44930</c:v>
                </c:pt>
                <c:pt idx="7295">
                  <c:v>44931</c:v>
                </c:pt>
                <c:pt idx="7296">
                  <c:v>44932</c:v>
                </c:pt>
                <c:pt idx="7297">
                  <c:v>44935</c:v>
                </c:pt>
                <c:pt idx="7298">
                  <c:v>44936</c:v>
                </c:pt>
                <c:pt idx="7299">
                  <c:v>44937</c:v>
                </c:pt>
                <c:pt idx="7300">
                  <c:v>44938</c:v>
                </c:pt>
                <c:pt idx="7301">
                  <c:v>44939</c:v>
                </c:pt>
                <c:pt idx="7302">
                  <c:v>44942</c:v>
                </c:pt>
                <c:pt idx="7303">
                  <c:v>44943</c:v>
                </c:pt>
                <c:pt idx="7304">
                  <c:v>44944</c:v>
                </c:pt>
                <c:pt idx="7305">
                  <c:v>44945</c:v>
                </c:pt>
                <c:pt idx="7306">
                  <c:v>44946</c:v>
                </c:pt>
                <c:pt idx="7307">
                  <c:v>44949</c:v>
                </c:pt>
                <c:pt idx="7308">
                  <c:v>44950</c:v>
                </c:pt>
                <c:pt idx="7309">
                  <c:v>44951</c:v>
                </c:pt>
                <c:pt idx="7310">
                  <c:v>44952</c:v>
                </c:pt>
                <c:pt idx="7311">
                  <c:v>44953</c:v>
                </c:pt>
                <c:pt idx="7312">
                  <c:v>44956</c:v>
                </c:pt>
                <c:pt idx="7313">
                  <c:v>44957</c:v>
                </c:pt>
                <c:pt idx="7314">
                  <c:v>44958</c:v>
                </c:pt>
                <c:pt idx="7315">
                  <c:v>44959</c:v>
                </c:pt>
                <c:pt idx="7316">
                  <c:v>44960</c:v>
                </c:pt>
                <c:pt idx="7317">
                  <c:v>44963</c:v>
                </c:pt>
                <c:pt idx="7318">
                  <c:v>44964</c:v>
                </c:pt>
                <c:pt idx="7319">
                  <c:v>44965</c:v>
                </c:pt>
                <c:pt idx="7320">
                  <c:v>44966</c:v>
                </c:pt>
                <c:pt idx="7321">
                  <c:v>44967</c:v>
                </c:pt>
                <c:pt idx="7322">
                  <c:v>44970</c:v>
                </c:pt>
                <c:pt idx="7323">
                  <c:v>44971</c:v>
                </c:pt>
                <c:pt idx="7324">
                  <c:v>44972</c:v>
                </c:pt>
                <c:pt idx="7325">
                  <c:v>44973</c:v>
                </c:pt>
                <c:pt idx="7326">
                  <c:v>44974</c:v>
                </c:pt>
                <c:pt idx="7327">
                  <c:v>44977</c:v>
                </c:pt>
                <c:pt idx="7328">
                  <c:v>44978</c:v>
                </c:pt>
                <c:pt idx="7329">
                  <c:v>44979</c:v>
                </c:pt>
                <c:pt idx="7330">
                  <c:v>44980</c:v>
                </c:pt>
                <c:pt idx="7331">
                  <c:v>44981</c:v>
                </c:pt>
                <c:pt idx="7332">
                  <c:v>44984</c:v>
                </c:pt>
                <c:pt idx="7333">
                  <c:v>44985</c:v>
                </c:pt>
                <c:pt idx="7334">
                  <c:v>44986</c:v>
                </c:pt>
                <c:pt idx="7335">
                  <c:v>44987</c:v>
                </c:pt>
                <c:pt idx="7336">
                  <c:v>44988</c:v>
                </c:pt>
                <c:pt idx="7337">
                  <c:v>44991</c:v>
                </c:pt>
                <c:pt idx="7338">
                  <c:v>44992</c:v>
                </c:pt>
                <c:pt idx="7339">
                  <c:v>44993</c:v>
                </c:pt>
                <c:pt idx="7340">
                  <c:v>44994</c:v>
                </c:pt>
                <c:pt idx="7341">
                  <c:v>44995</c:v>
                </c:pt>
                <c:pt idx="7342">
                  <c:v>44998</c:v>
                </c:pt>
                <c:pt idx="7343">
                  <c:v>44999</c:v>
                </c:pt>
                <c:pt idx="7344">
                  <c:v>45000</c:v>
                </c:pt>
                <c:pt idx="7345">
                  <c:v>45001</c:v>
                </c:pt>
                <c:pt idx="7346">
                  <c:v>45002</c:v>
                </c:pt>
                <c:pt idx="7347">
                  <c:v>45005</c:v>
                </c:pt>
                <c:pt idx="7348">
                  <c:v>45006</c:v>
                </c:pt>
                <c:pt idx="7349">
                  <c:v>45007</c:v>
                </c:pt>
                <c:pt idx="7350">
                  <c:v>45008</c:v>
                </c:pt>
                <c:pt idx="7351">
                  <c:v>45009</c:v>
                </c:pt>
                <c:pt idx="7352">
                  <c:v>45012</c:v>
                </c:pt>
                <c:pt idx="7353">
                  <c:v>45013</c:v>
                </c:pt>
                <c:pt idx="7354">
                  <c:v>45014</c:v>
                </c:pt>
                <c:pt idx="7355">
                  <c:v>45015</c:v>
                </c:pt>
                <c:pt idx="7356">
                  <c:v>45016</c:v>
                </c:pt>
                <c:pt idx="7357">
                  <c:v>45019</c:v>
                </c:pt>
                <c:pt idx="7358">
                  <c:v>45020</c:v>
                </c:pt>
                <c:pt idx="7359">
                  <c:v>45021</c:v>
                </c:pt>
                <c:pt idx="7360">
                  <c:v>45022</c:v>
                </c:pt>
                <c:pt idx="7361">
                  <c:v>45023</c:v>
                </c:pt>
                <c:pt idx="7362">
                  <c:v>45026</c:v>
                </c:pt>
                <c:pt idx="7363">
                  <c:v>45027</c:v>
                </c:pt>
                <c:pt idx="7364">
                  <c:v>45028</c:v>
                </c:pt>
                <c:pt idx="7365">
                  <c:v>45029</c:v>
                </c:pt>
                <c:pt idx="7366">
                  <c:v>45030</c:v>
                </c:pt>
                <c:pt idx="7367">
                  <c:v>45033</c:v>
                </c:pt>
                <c:pt idx="7368">
                  <c:v>45034</c:v>
                </c:pt>
                <c:pt idx="7369">
                  <c:v>45035</c:v>
                </c:pt>
                <c:pt idx="7370">
                  <c:v>45036</c:v>
                </c:pt>
                <c:pt idx="7371">
                  <c:v>45037</c:v>
                </c:pt>
                <c:pt idx="7372">
                  <c:v>45040</c:v>
                </c:pt>
                <c:pt idx="7373">
                  <c:v>45041</c:v>
                </c:pt>
                <c:pt idx="7374">
                  <c:v>45042</c:v>
                </c:pt>
                <c:pt idx="7375">
                  <c:v>45043</c:v>
                </c:pt>
                <c:pt idx="7376">
                  <c:v>45044</c:v>
                </c:pt>
                <c:pt idx="7377">
                  <c:v>45047</c:v>
                </c:pt>
                <c:pt idx="7378">
                  <c:v>45048</c:v>
                </c:pt>
                <c:pt idx="7379">
                  <c:v>45049</c:v>
                </c:pt>
                <c:pt idx="7380">
                  <c:v>45050</c:v>
                </c:pt>
                <c:pt idx="7381">
                  <c:v>45051</c:v>
                </c:pt>
                <c:pt idx="7382">
                  <c:v>45054</c:v>
                </c:pt>
                <c:pt idx="7383">
                  <c:v>45055</c:v>
                </c:pt>
                <c:pt idx="7384">
                  <c:v>45056</c:v>
                </c:pt>
                <c:pt idx="7385">
                  <c:v>45057</c:v>
                </c:pt>
                <c:pt idx="7386">
                  <c:v>45058</c:v>
                </c:pt>
                <c:pt idx="7387">
                  <c:v>45061</c:v>
                </c:pt>
                <c:pt idx="7388">
                  <c:v>45062</c:v>
                </c:pt>
                <c:pt idx="7389">
                  <c:v>45063</c:v>
                </c:pt>
                <c:pt idx="7390">
                  <c:v>45064</c:v>
                </c:pt>
                <c:pt idx="7391">
                  <c:v>45065</c:v>
                </c:pt>
                <c:pt idx="7392">
                  <c:v>45068</c:v>
                </c:pt>
                <c:pt idx="7393">
                  <c:v>45069</c:v>
                </c:pt>
                <c:pt idx="7394">
                  <c:v>45070</c:v>
                </c:pt>
                <c:pt idx="7395">
                  <c:v>45071</c:v>
                </c:pt>
                <c:pt idx="7396">
                  <c:v>45072</c:v>
                </c:pt>
                <c:pt idx="7397">
                  <c:v>45075</c:v>
                </c:pt>
                <c:pt idx="7398">
                  <c:v>45076</c:v>
                </c:pt>
                <c:pt idx="7399">
                  <c:v>45077</c:v>
                </c:pt>
                <c:pt idx="7400">
                  <c:v>45078</c:v>
                </c:pt>
                <c:pt idx="7401">
                  <c:v>45079</c:v>
                </c:pt>
                <c:pt idx="7402">
                  <c:v>45082</c:v>
                </c:pt>
                <c:pt idx="7403">
                  <c:v>45083</c:v>
                </c:pt>
                <c:pt idx="7404">
                  <c:v>45084</c:v>
                </c:pt>
                <c:pt idx="7405">
                  <c:v>45085</c:v>
                </c:pt>
                <c:pt idx="7406">
                  <c:v>45086</c:v>
                </c:pt>
                <c:pt idx="7407">
                  <c:v>45089</c:v>
                </c:pt>
                <c:pt idx="7408">
                  <c:v>45090</c:v>
                </c:pt>
                <c:pt idx="7409">
                  <c:v>45091</c:v>
                </c:pt>
                <c:pt idx="7410">
                  <c:v>45092</c:v>
                </c:pt>
                <c:pt idx="7411">
                  <c:v>45093</c:v>
                </c:pt>
                <c:pt idx="7412">
                  <c:v>45096</c:v>
                </c:pt>
                <c:pt idx="7413">
                  <c:v>45097</c:v>
                </c:pt>
                <c:pt idx="7414">
                  <c:v>45098</c:v>
                </c:pt>
                <c:pt idx="7415">
                  <c:v>45099</c:v>
                </c:pt>
                <c:pt idx="7416">
                  <c:v>45100</c:v>
                </c:pt>
                <c:pt idx="7417">
                  <c:v>45103</c:v>
                </c:pt>
                <c:pt idx="7418">
                  <c:v>45104</c:v>
                </c:pt>
                <c:pt idx="7419">
                  <c:v>45105</c:v>
                </c:pt>
                <c:pt idx="7420">
                  <c:v>45106</c:v>
                </c:pt>
                <c:pt idx="7421">
                  <c:v>45107</c:v>
                </c:pt>
                <c:pt idx="7422">
                  <c:v>45110</c:v>
                </c:pt>
                <c:pt idx="7423">
                  <c:v>45111</c:v>
                </c:pt>
                <c:pt idx="7424">
                  <c:v>45112</c:v>
                </c:pt>
                <c:pt idx="7425">
                  <c:v>45113</c:v>
                </c:pt>
                <c:pt idx="7426">
                  <c:v>45114</c:v>
                </c:pt>
                <c:pt idx="7427">
                  <c:v>45117</c:v>
                </c:pt>
                <c:pt idx="7428">
                  <c:v>45118</c:v>
                </c:pt>
                <c:pt idx="7429">
                  <c:v>45119</c:v>
                </c:pt>
                <c:pt idx="7430">
                  <c:v>45120</c:v>
                </c:pt>
                <c:pt idx="7431">
                  <c:v>45121</c:v>
                </c:pt>
                <c:pt idx="7432">
                  <c:v>45124</c:v>
                </c:pt>
                <c:pt idx="7433">
                  <c:v>45125</c:v>
                </c:pt>
                <c:pt idx="7434">
                  <c:v>45126</c:v>
                </c:pt>
                <c:pt idx="7435">
                  <c:v>45127</c:v>
                </c:pt>
                <c:pt idx="7436">
                  <c:v>45128</c:v>
                </c:pt>
                <c:pt idx="7437">
                  <c:v>45131</c:v>
                </c:pt>
                <c:pt idx="7438">
                  <c:v>45132</c:v>
                </c:pt>
                <c:pt idx="7439">
                  <c:v>45133</c:v>
                </c:pt>
                <c:pt idx="7440">
                  <c:v>45134</c:v>
                </c:pt>
                <c:pt idx="7441">
                  <c:v>45135</c:v>
                </c:pt>
                <c:pt idx="7442">
                  <c:v>45138</c:v>
                </c:pt>
                <c:pt idx="7443">
                  <c:v>45139</c:v>
                </c:pt>
                <c:pt idx="7444">
                  <c:v>45140</c:v>
                </c:pt>
                <c:pt idx="7445">
                  <c:v>45141</c:v>
                </c:pt>
                <c:pt idx="7446">
                  <c:v>45142</c:v>
                </c:pt>
                <c:pt idx="7447">
                  <c:v>45145</c:v>
                </c:pt>
                <c:pt idx="7448">
                  <c:v>45146</c:v>
                </c:pt>
                <c:pt idx="7449">
                  <c:v>45147</c:v>
                </c:pt>
                <c:pt idx="7450">
                  <c:v>45148</c:v>
                </c:pt>
                <c:pt idx="7451">
                  <c:v>45149</c:v>
                </c:pt>
                <c:pt idx="7452">
                  <c:v>45152</c:v>
                </c:pt>
                <c:pt idx="7453">
                  <c:v>45153</c:v>
                </c:pt>
                <c:pt idx="7454">
                  <c:v>45154</c:v>
                </c:pt>
                <c:pt idx="7455">
                  <c:v>45155</c:v>
                </c:pt>
                <c:pt idx="7456">
                  <c:v>45156</c:v>
                </c:pt>
                <c:pt idx="7457">
                  <c:v>45159</c:v>
                </c:pt>
                <c:pt idx="7458">
                  <c:v>45160</c:v>
                </c:pt>
                <c:pt idx="7459">
                  <c:v>45161</c:v>
                </c:pt>
                <c:pt idx="7460">
                  <c:v>45162</c:v>
                </c:pt>
                <c:pt idx="7461">
                  <c:v>45163</c:v>
                </c:pt>
                <c:pt idx="7462">
                  <c:v>45166</c:v>
                </c:pt>
                <c:pt idx="7463">
                  <c:v>45167</c:v>
                </c:pt>
                <c:pt idx="7464">
                  <c:v>45168</c:v>
                </c:pt>
                <c:pt idx="7465">
                  <c:v>45169</c:v>
                </c:pt>
                <c:pt idx="7466">
                  <c:v>45170</c:v>
                </c:pt>
                <c:pt idx="7467">
                  <c:v>45173</c:v>
                </c:pt>
                <c:pt idx="7468">
                  <c:v>45174</c:v>
                </c:pt>
                <c:pt idx="7469">
                  <c:v>45175</c:v>
                </c:pt>
                <c:pt idx="7470">
                  <c:v>45176</c:v>
                </c:pt>
                <c:pt idx="7471">
                  <c:v>45177</c:v>
                </c:pt>
                <c:pt idx="7472">
                  <c:v>45180</c:v>
                </c:pt>
                <c:pt idx="7473">
                  <c:v>45181</c:v>
                </c:pt>
                <c:pt idx="7474">
                  <c:v>45182</c:v>
                </c:pt>
                <c:pt idx="7475">
                  <c:v>45183</c:v>
                </c:pt>
                <c:pt idx="7476">
                  <c:v>45184</c:v>
                </c:pt>
                <c:pt idx="7477">
                  <c:v>45187</c:v>
                </c:pt>
                <c:pt idx="7478">
                  <c:v>45188</c:v>
                </c:pt>
                <c:pt idx="7479">
                  <c:v>45189</c:v>
                </c:pt>
                <c:pt idx="7480">
                  <c:v>45190</c:v>
                </c:pt>
                <c:pt idx="7481">
                  <c:v>45191</c:v>
                </c:pt>
                <c:pt idx="7482">
                  <c:v>45194</c:v>
                </c:pt>
                <c:pt idx="7483">
                  <c:v>45195</c:v>
                </c:pt>
                <c:pt idx="7484">
                  <c:v>45196</c:v>
                </c:pt>
                <c:pt idx="7485">
                  <c:v>45197</c:v>
                </c:pt>
                <c:pt idx="7486">
                  <c:v>45198</c:v>
                </c:pt>
                <c:pt idx="7487">
                  <c:v>45201</c:v>
                </c:pt>
                <c:pt idx="7488">
                  <c:v>45202</c:v>
                </c:pt>
                <c:pt idx="7489">
                  <c:v>45203</c:v>
                </c:pt>
                <c:pt idx="7490">
                  <c:v>45204</c:v>
                </c:pt>
                <c:pt idx="7491">
                  <c:v>45205</c:v>
                </c:pt>
                <c:pt idx="7492">
                  <c:v>45208</c:v>
                </c:pt>
                <c:pt idx="7493">
                  <c:v>45209</c:v>
                </c:pt>
                <c:pt idx="7494">
                  <c:v>45210</c:v>
                </c:pt>
                <c:pt idx="7495">
                  <c:v>45211</c:v>
                </c:pt>
                <c:pt idx="7496">
                  <c:v>45212</c:v>
                </c:pt>
                <c:pt idx="7497">
                  <c:v>45215</c:v>
                </c:pt>
                <c:pt idx="7498">
                  <c:v>45216</c:v>
                </c:pt>
                <c:pt idx="7499">
                  <c:v>45217</c:v>
                </c:pt>
                <c:pt idx="7500">
                  <c:v>45218</c:v>
                </c:pt>
                <c:pt idx="7501">
                  <c:v>45219</c:v>
                </c:pt>
                <c:pt idx="7502">
                  <c:v>45222</c:v>
                </c:pt>
                <c:pt idx="7503">
                  <c:v>45223</c:v>
                </c:pt>
                <c:pt idx="7504">
                  <c:v>45224</c:v>
                </c:pt>
                <c:pt idx="7505">
                  <c:v>45225</c:v>
                </c:pt>
                <c:pt idx="7506">
                  <c:v>45226</c:v>
                </c:pt>
                <c:pt idx="7507">
                  <c:v>45229</c:v>
                </c:pt>
                <c:pt idx="7508">
                  <c:v>45230</c:v>
                </c:pt>
                <c:pt idx="7509">
                  <c:v>45231</c:v>
                </c:pt>
                <c:pt idx="7510">
                  <c:v>45232</c:v>
                </c:pt>
                <c:pt idx="7511">
                  <c:v>45233</c:v>
                </c:pt>
                <c:pt idx="7512">
                  <c:v>45236</c:v>
                </c:pt>
                <c:pt idx="7513">
                  <c:v>45237</c:v>
                </c:pt>
                <c:pt idx="7514">
                  <c:v>45238</c:v>
                </c:pt>
                <c:pt idx="7515">
                  <c:v>45239</c:v>
                </c:pt>
                <c:pt idx="7516">
                  <c:v>45240</c:v>
                </c:pt>
                <c:pt idx="7517">
                  <c:v>45243</c:v>
                </c:pt>
                <c:pt idx="7518">
                  <c:v>45244</c:v>
                </c:pt>
                <c:pt idx="7519">
                  <c:v>45245</c:v>
                </c:pt>
                <c:pt idx="7520">
                  <c:v>45246</c:v>
                </c:pt>
                <c:pt idx="7521">
                  <c:v>45247</c:v>
                </c:pt>
                <c:pt idx="7522">
                  <c:v>45250</c:v>
                </c:pt>
                <c:pt idx="7523">
                  <c:v>45251</c:v>
                </c:pt>
                <c:pt idx="7524">
                  <c:v>45252</c:v>
                </c:pt>
                <c:pt idx="7525">
                  <c:v>45253</c:v>
                </c:pt>
                <c:pt idx="7526">
                  <c:v>45254</c:v>
                </c:pt>
                <c:pt idx="7527">
                  <c:v>45257</c:v>
                </c:pt>
                <c:pt idx="7528">
                  <c:v>45258</c:v>
                </c:pt>
                <c:pt idx="7529">
                  <c:v>45259</c:v>
                </c:pt>
                <c:pt idx="7530">
                  <c:v>45260</c:v>
                </c:pt>
                <c:pt idx="7531">
                  <c:v>45261</c:v>
                </c:pt>
                <c:pt idx="7532">
                  <c:v>45264</c:v>
                </c:pt>
                <c:pt idx="7533">
                  <c:v>45265</c:v>
                </c:pt>
                <c:pt idx="7534">
                  <c:v>45266</c:v>
                </c:pt>
                <c:pt idx="7535">
                  <c:v>45267</c:v>
                </c:pt>
                <c:pt idx="7536">
                  <c:v>45268</c:v>
                </c:pt>
                <c:pt idx="7537">
                  <c:v>45271</c:v>
                </c:pt>
                <c:pt idx="7538">
                  <c:v>45272</c:v>
                </c:pt>
                <c:pt idx="7539">
                  <c:v>45273</c:v>
                </c:pt>
                <c:pt idx="7540">
                  <c:v>45274</c:v>
                </c:pt>
                <c:pt idx="7541">
                  <c:v>45275</c:v>
                </c:pt>
                <c:pt idx="7542">
                  <c:v>45278</c:v>
                </c:pt>
                <c:pt idx="7543">
                  <c:v>45279</c:v>
                </c:pt>
                <c:pt idx="7544">
                  <c:v>45280</c:v>
                </c:pt>
                <c:pt idx="7545">
                  <c:v>45281</c:v>
                </c:pt>
                <c:pt idx="7546">
                  <c:v>45282</c:v>
                </c:pt>
                <c:pt idx="7547">
                  <c:v>45285</c:v>
                </c:pt>
                <c:pt idx="7548">
                  <c:v>45286</c:v>
                </c:pt>
                <c:pt idx="7549">
                  <c:v>45287</c:v>
                </c:pt>
                <c:pt idx="7550">
                  <c:v>45288</c:v>
                </c:pt>
                <c:pt idx="7551">
                  <c:v>45289</c:v>
                </c:pt>
                <c:pt idx="7552">
                  <c:v>45292</c:v>
                </c:pt>
                <c:pt idx="7553">
                  <c:v>45293</c:v>
                </c:pt>
                <c:pt idx="7554">
                  <c:v>45294</c:v>
                </c:pt>
                <c:pt idx="7555">
                  <c:v>45295</c:v>
                </c:pt>
                <c:pt idx="7556">
                  <c:v>45296</c:v>
                </c:pt>
                <c:pt idx="7557">
                  <c:v>45299</c:v>
                </c:pt>
                <c:pt idx="7558">
                  <c:v>45300</c:v>
                </c:pt>
                <c:pt idx="7559">
                  <c:v>45301</c:v>
                </c:pt>
                <c:pt idx="7560">
                  <c:v>45302</c:v>
                </c:pt>
                <c:pt idx="7561">
                  <c:v>45303</c:v>
                </c:pt>
                <c:pt idx="7562">
                  <c:v>45306</c:v>
                </c:pt>
                <c:pt idx="7563">
                  <c:v>45307</c:v>
                </c:pt>
                <c:pt idx="7564">
                  <c:v>45308</c:v>
                </c:pt>
                <c:pt idx="7565">
                  <c:v>45309</c:v>
                </c:pt>
                <c:pt idx="7566">
                  <c:v>45310</c:v>
                </c:pt>
                <c:pt idx="7567">
                  <c:v>45313</c:v>
                </c:pt>
                <c:pt idx="7568">
                  <c:v>45314</c:v>
                </c:pt>
                <c:pt idx="7569">
                  <c:v>45315</c:v>
                </c:pt>
                <c:pt idx="7570">
                  <c:v>45316</c:v>
                </c:pt>
                <c:pt idx="7571">
                  <c:v>45317</c:v>
                </c:pt>
                <c:pt idx="7572">
                  <c:v>45320</c:v>
                </c:pt>
                <c:pt idx="7573">
                  <c:v>45321</c:v>
                </c:pt>
                <c:pt idx="7574">
                  <c:v>45322</c:v>
                </c:pt>
                <c:pt idx="7575">
                  <c:v>45323</c:v>
                </c:pt>
                <c:pt idx="7576">
                  <c:v>45324</c:v>
                </c:pt>
                <c:pt idx="7577">
                  <c:v>45327</c:v>
                </c:pt>
                <c:pt idx="7578">
                  <c:v>45328</c:v>
                </c:pt>
                <c:pt idx="7579">
                  <c:v>45329</c:v>
                </c:pt>
                <c:pt idx="7580">
                  <c:v>45330</c:v>
                </c:pt>
                <c:pt idx="7581">
                  <c:v>45331</c:v>
                </c:pt>
                <c:pt idx="7582">
                  <c:v>45334</c:v>
                </c:pt>
                <c:pt idx="7583">
                  <c:v>45335</c:v>
                </c:pt>
                <c:pt idx="7584">
                  <c:v>45336</c:v>
                </c:pt>
                <c:pt idx="7585">
                  <c:v>45337</c:v>
                </c:pt>
                <c:pt idx="7586">
                  <c:v>45338</c:v>
                </c:pt>
                <c:pt idx="7587">
                  <c:v>45341</c:v>
                </c:pt>
                <c:pt idx="7588">
                  <c:v>45342</c:v>
                </c:pt>
                <c:pt idx="7589">
                  <c:v>45343</c:v>
                </c:pt>
                <c:pt idx="7590">
                  <c:v>45344</c:v>
                </c:pt>
                <c:pt idx="7591">
                  <c:v>45345</c:v>
                </c:pt>
                <c:pt idx="7592">
                  <c:v>45348</c:v>
                </c:pt>
                <c:pt idx="7593">
                  <c:v>45349</c:v>
                </c:pt>
                <c:pt idx="7594">
                  <c:v>45350</c:v>
                </c:pt>
                <c:pt idx="7595">
                  <c:v>45351</c:v>
                </c:pt>
                <c:pt idx="7596">
                  <c:v>45352</c:v>
                </c:pt>
                <c:pt idx="7597">
                  <c:v>45355</c:v>
                </c:pt>
                <c:pt idx="7598">
                  <c:v>45356</c:v>
                </c:pt>
                <c:pt idx="7599">
                  <c:v>45357</c:v>
                </c:pt>
                <c:pt idx="7600">
                  <c:v>45358</c:v>
                </c:pt>
                <c:pt idx="7601">
                  <c:v>45359</c:v>
                </c:pt>
                <c:pt idx="7602">
                  <c:v>45362</c:v>
                </c:pt>
                <c:pt idx="7603">
                  <c:v>45363</c:v>
                </c:pt>
                <c:pt idx="7604">
                  <c:v>45364</c:v>
                </c:pt>
                <c:pt idx="7605">
                  <c:v>45365</c:v>
                </c:pt>
                <c:pt idx="7606">
                  <c:v>45366</c:v>
                </c:pt>
                <c:pt idx="7607">
                  <c:v>45369</c:v>
                </c:pt>
                <c:pt idx="7608">
                  <c:v>45370</c:v>
                </c:pt>
                <c:pt idx="7609">
                  <c:v>45371</c:v>
                </c:pt>
                <c:pt idx="7610">
                  <c:v>45372</c:v>
                </c:pt>
                <c:pt idx="7611">
                  <c:v>45373</c:v>
                </c:pt>
                <c:pt idx="7612">
                  <c:v>45376</c:v>
                </c:pt>
                <c:pt idx="7613">
                  <c:v>45377</c:v>
                </c:pt>
                <c:pt idx="7614">
                  <c:v>45378</c:v>
                </c:pt>
                <c:pt idx="7615">
                  <c:v>45379</c:v>
                </c:pt>
                <c:pt idx="7616">
                  <c:v>45380</c:v>
                </c:pt>
                <c:pt idx="7617">
                  <c:v>45383</c:v>
                </c:pt>
                <c:pt idx="7618">
                  <c:v>45384</c:v>
                </c:pt>
                <c:pt idx="7619">
                  <c:v>45385</c:v>
                </c:pt>
                <c:pt idx="7620">
                  <c:v>45386</c:v>
                </c:pt>
                <c:pt idx="7621">
                  <c:v>45387</c:v>
                </c:pt>
                <c:pt idx="7622">
                  <c:v>45390</c:v>
                </c:pt>
                <c:pt idx="7623">
                  <c:v>45391</c:v>
                </c:pt>
                <c:pt idx="7624">
                  <c:v>45392</c:v>
                </c:pt>
                <c:pt idx="7625">
                  <c:v>45393</c:v>
                </c:pt>
                <c:pt idx="7626">
                  <c:v>45394</c:v>
                </c:pt>
                <c:pt idx="7627">
                  <c:v>45397</c:v>
                </c:pt>
                <c:pt idx="7628">
                  <c:v>45398</c:v>
                </c:pt>
                <c:pt idx="7629">
                  <c:v>45399</c:v>
                </c:pt>
                <c:pt idx="7630">
                  <c:v>45400</c:v>
                </c:pt>
                <c:pt idx="7631">
                  <c:v>45401</c:v>
                </c:pt>
                <c:pt idx="7632">
                  <c:v>45404</c:v>
                </c:pt>
                <c:pt idx="7633">
                  <c:v>45405</c:v>
                </c:pt>
                <c:pt idx="7634">
                  <c:v>45406</c:v>
                </c:pt>
                <c:pt idx="7635">
                  <c:v>45407</c:v>
                </c:pt>
                <c:pt idx="7636">
                  <c:v>45408</c:v>
                </c:pt>
                <c:pt idx="7637">
                  <c:v>45411</c:v>
                </c:pt>
                <c:pt idx="7638">
                  <c:v>45412</c:v>
                </c:pt>
                <c:pt idx="7639">
                  <c:v>45413</c:v>
                </c:pt>
                <c:pt idx="7640">
                  <c:v>45414</c:v>
                </c:pt>
                <c:pt idx="7641">
                  <c:v>45415</c:v>
                </c:pt>
                <c:pt idx="7642">
                  <c:v>45418</c:v>
                </c:pt>
                <c:pt idx="7643">
                  <c:v>45419</c:v>
                </c:pt>
                <c:pt idx="7644">
                  <c:v>45420</c:v>
                </c:pt>
                <c:pt idx="7645">
                  <c:v>45421</c:v>
                </c:pt>
                <c:pt idx="7646">
                  <c:v>45422</c:v>
                </c:pt>
                <c:pt idx="7647">
                  <c:v>45425</c:v>
                </c:pt>
                <c:pt idx="7648">
                  <c:v>45426</c:v>
                </c:pt>
                <c:pt idx="7649">
                  <c:v>45427</c:v>
                </c:pt>
                <c:pt idx="7650">
                  <c:v>45428</c:v>
                </c:pt>
                <c:pt idx="7651">
                  <c:v>45429</c:v>
                </c:pt>
                <c:pt idx="7652">
                  <c:v>45432</c:v>
                </c:pt>
                <c:pt idx="7653">
                  <c:v>45433</c:v>
                </c:pt>
                <c:pt idx="7654">
                  <c:v>45434</c:v>
                </c:pt>
                <c:pt idx="7655">
                  <c:v>45435</c:v>
                </c:pt>
                <c:pt idx="7656">
                  <c:v>45436</c:v>
                </c:pt>
                <c:pt idx="7657">
                  <c:v>45439</c:v>
                </c:pt>
                <c:pt idx="7658">
                  <c:v>45440</c:v>
                </c:pt>
                <c:pt idx="7659">
                  <c:v>45441</c:v>
                </c:pt>
                <c:pt idx="7660">
                  <c:v>45442</c:v>
                </c:pt>
                <c:pt idx="7661">
                  <c:v>45443</c:v>
                </c:pt>
                <c:pt idx="7662">
                  <c:v>45446</c:v>
                </c:pt>
                <c:pt idx="7663">
                  <c:v>45447</c:v>
                </c:pt>
                <c:pt idx="7664">
                  <c:v>45448</c:v>
                </c:pt>
                <c:pt idx="7665">
                  <c:v>45449</c:v>
                </c:pt>
                <c:pt idx="7666">
                  <c:v>45450</c:v>
                </c:pt>
                <c:pt idx="7667">
                  <c:v>45453</c:v>
                </c:pt>
                <c:pt idx="7668">
                  <c:v>45454</c:v>
                </c:pt>
                <c:pt idx="7669">
                  <c:v>45455</c:v>
                </c:pt>
                <c:pt idx="7670">
                  <c:v>45456</c:v>
                </c:pt>
                <c:pt idx="7671">
                  <c:v>45457</c:v>
                </c:pt>
                <c:pt idx="7672">
                  <c:v>45460</c:v>
                </c:pt>
                <c:pt idx="7673">
                  <c:v>45461</c:v>
                </c:pt>
                <c:pt idx="7674">
                  <c:v>45462</c:v>
                </c:pt>
                <c:pt idx="7675">
                  <c:v>45463</c:v>
                </c:pt>
                <c:pt idx="7676">
                  <c:v>45464</c:v>
                </c:pt>
                <c:pt idx="7677">
                  <c:v>45467</c:v>
                </c:pt>
                <c:pt idx="7678">
                  <c:v>45468</c:v>
                </c:pt>
                <c:pt idx="7679">
                  <c:v>45469</c:v>
                </c:pt>
                <c:pt idx="7680">
                  <c:v>45470</c:v>
                </c:pt>
                <c:pt idx="7681">
                  <c:v>45471</c:v>
                </c:pt>
                <c:pt idx="7682">
                  <c:v>45474</c:v>
                </c:pt>
                <c:pt idx="7683">
                  <c:v>45475</c:v>
                </c:pt>
                <c:pt idx="7684">
                  <c:v>45476</c:v>
                </c:pt>
                <c:pt idx="7685">
                  <c:v>45477</c:v>
                </c:pt>
                <c:pt idx="7686">
                  <c:v>45478</c:v>
                </c:pt>
                <c:pt idx="7687">
                  <c:v>45481</c:v>
                </c:pt>
                <c:pt idx="7688">
                  <c:v>45482</c:v>
                </c:pt>
                <c:pt idx="7689">
                  <c:v>45483</c:v>
                </c:pt>
                <c:pt idx="7690">
                  <c:v>45484</c:v>
                </c:pt>
                <c:pt idx="7691">
                  <c:v>45485</c:v>
                </c:pt>
                <c:pt idx="7692">
                  <c:v>45488</c:v>
                </c:pt>
                <c:pt idx="7693">
                  <c:v>45489</c:v>
                </c:pt>
                <c:pt idx="7694">
                  <c:v>45490</c:v>
                </c:pt>
                <c:pt idx="7695">
                  <c:v>45491</c:v>
                </c:pt>
                <c:pt idx="7696">
                  <c:v>45492</c:v>
                </c:pt>
                <c:pt idx="7697">
                  <c:v>45495</c:v>
                </c:pt>
                <c:pt idx="7698">
                  <c:v>45496</c:v>
                </c:pt>
                <c:pt idx="7699">
                  <c:v>45497</c:v>
                </c:pt>
                <c:pt idx="7700">
                  <c:v>45498</c:v>
                </c:pt>
                <c:pt idx="7701">
                  <c:v>45499</c:v>
                </c:pt>
                <c:pt idx="7702">
                  <c:v>45502</c:v>
                </c:pt>
                <c:pt idx="7703">
                  <c:v>45503</c:v>
                </c:pt>
                <c:pt idx="7704">
                  <c:v>45504</c:v>
                </c:pt>
                <c:pt idx="7705">
                  <c:v>45505</c:v>
                </c:pt>
                <c:pt idx="7706">
                  <c:v>45506</c:v>
                </c:pt>
                <c:pt idx="7707">
                  <c:v>45509</c:v>
                </c:pt>
                <c:pt idx="7708">
                  <c:v>45510</c:v>
                </c:pt>
                <c:pt idx="7709">
                  <c:v>45511</c:v>
                </c:pt>
                <c:pt idx="7710">
                  <c:v>45512</c:v>
                </c:pt>
                <c:pt idx="7711">
                  <c:v>45513</c:v>
                </c:pt>
                <c:pt idx="7712">
                  <c:v>45516</c:v>
                </c:pt>
                <c:pt idx="7713">
                  <c:v>45517</c:v>
                </c:pt>
                <c:pt idx="7714">
                  <c:v>45518</c:v>
                </c:pt>
                <c:pt idx="7715">
                  <c:v>45519</c:v>
                </c:pt>
                <c:pt idx="7716">
                  <c:v>45520</c:v>
                </c:pt>
                <c:pt idx="7717">
                  <c:v>45523</c:v>
                </c:pt>
                <c:pt idx="7718">
                  <c:v>45524</c:v>
                </c:pt>
                <c:pt idx="7719">
                  <c:v>45525</c:v>
                </c:pt>
                <c:pt idx="7720">
                  <c:v>45526</c:v>
                </c:pt>
                <c:pt idx="7721">
                  <c:v>45527</c:v>
                </c:pt>
                <c:pt idx="7722">
                  <c:v>45530</c:v>
                </c:pt>
                <c:pt idx="7723">
                  <c:v>45531</c:v>
                </c:pt>
                <c:pt idx="7724">
                  <c:v>45532</c:v>
                </c:pt>
                <c:pt idx="7725">
                  <c:v>45533</c:v>
                </c:pt>
                <c:pt idx="7726">
                  <c:v>45534</c:v>
                </c:pt>
                <c:pt idx="7727">
                  <c:v>45537</c:v>
                </c:pt>
                <c:pt idx="7728">
                  <c:v>45538</c:v>
                </c:pt>
                <c:pt idx="7729">
                  <c:v>45539</c:v>
                </c:pt>
                <c:pt idx="7730">
                  <c:v>45540</c:v>
                </c:pt>
                <c:pt idx="7731">
                  <c:v>45541</c:v>
                </c:pt>
                <c:pt idx="7732">
                  <c:v>45544</c:v>
                </c:pt>
                <c:pt idx="7733">
                  <c:v>45545</c:v>
                </c:pt>
                <c:pt idx="7734">
                  <c:v>45546</c:v>
                </c:pt>
                <c:pt idx="7735">
                  <c:v>45547</c:v>
                </c:pt>
                <c:pt idx="7736">
                  <c:v>45548</c:v>
                </c:pt>
                <c:pt idx="7737">
                  <c:v>45551</c:v>
                </c:pt>
                <c:pt idx="7738">
                  <c:v>45552</c:v>
                </c:pt>
                <c:pt idx="7739">
                  <c:v>45553</c:v>
                </c:pt>
                <c:pt idx="7740">
                  <c:v>45554</c:v>
                </c:pt>
                <c:pt idx="7741">
                  <c:v>45555</c:v>
                </c:pt>
                <c:pt idx="7742">
                  <c:v>45558</c:v>
                </c:pt>
                <c:pt idx="7743">
                  <c:v>45559</c:v>
                </c:pt>
                <c:pt idx="7744">
                  <c:v>45560</c:v>
                </c:pt>
                <c:pt idx="7745">
                  <c:v>45561</c:v>
                </c:pt>
                <c:pt idx="7746">
                  <c:v>45562</c:v>
                </c:pt>
                <c:pt idx="7747">
                  <c:v>45565</c:v>
                </c:pt>
                <c:pt idx="7748">
                  <c:v>45566</c:v>
                </c:pt>
                <c:pt idx="7749">
                  <c:v>45567</c:v>
                </c:pt>
                <c:pt idx="7750">
                  <c:v>45568</c:v>
                </c:pt>
                <c:pt idx="7751">
                  <c:v>45569</c:v>
                </c:pt>
                <c:pt idx="7752">
                  <c:v>45572</c:v>
                </c:pt>
                <c:pt idx="7753">
                  <c:v>45573</c:v>
                </c:pt>
                <c:pt idx="7754">
                  <c:v>45574</c:v>
                </c:pt>
                <c:pt idx="7755">
                  <c:v>45575</c:v>
                </c:pt>
                <c:pt idx="7756">
                  <c:v>45576</c:v>
                </c:pt>
                <c:pt idx="7757">
                  <c:v>45579</c:v>
                </c:pt>
                <c:pt idx="7758">
                  <c:v>45580</c:v>
                </c:pt>
                <c:pt idx="7759">
                  <c:v>45581</c:v>
                </c:pt>
                <c:pt idx="7760">
                  <c:v>45582</c:v>
                </c:pt>
                <c:pt idx="7761">
                  <c:v>45583</c:v>
                </c:pt>
                <c:pt idx="7762">
                  <c:v>45586</c:v>
                </c:pt>
                <c:pt idx="7763">
                  <c:v>45587</c:v>
                </c:pt>
                <c:pt idx="7764">
                  <c:v>45588</c:v>
                </c:pt>
                <c:pt idx="7765">
                  <c:v>45589</c:v>
                </c:pt>
                <c:pt idx="7766">
                  <c:v>45590</c:v>
                </c:pt>
                <c:pt idx="7767">
                  <c:v>45593</c:v>
                </c:pt>
                <c:pt idx="7768">
                  <c:v>45594</c:v>
                </c:pt>
                <c:pt idx="7769">
                  <c:v>45595</c:v>
                </c:pt>
                <c:pt idx="7770">
                  <c:v>45596</c:v>
                </c:pt>
                <c:pt idx="7771">
                  <c:v>45597</c:v>
                </c:pt>
                <c:pt idx="7772">
                  <c:v>45600</c:v>
                </c:pt>
                <c:pt idx="7773">
                  <c:v>45601</c:v>
                </c:pt>
                <c:pt idx="7774">
                  <c:v>45602</c:v>
                </c:pt>
                <c:pt idx="7775">
                  <c:v>45603</c:v>
                </c:pt>
                <c:pt idx="7776">
                  <c:v>45604</c:v>
                </c:pt>
                <c:pt idx="7777">
                  <c:v>45607</c:v>
                </c:pt>
                <c:pt idx="7778">
                  <c:v>45608</c:v>
                </c:pt>
                <c:pt idx="7779">
                  <c:v>45609</c:v>
                </c:pt>
                <c:pt idx="7780">
                  <c:v>45610</c:v>
                </c:pt>
                <c:pt idx="7781">
                  <c:v>45611</c:v>
                </c:pt>
                <c:pt idx="7782">
                  <c:v>45614</c:v>
                </c:pt>
                <c:pt idx="7783">
                  <c:v>45615</c:v>
                </c:pt>
                <c:pt idx="7784">
                  <c:v>45616</c:v>
                </c:pt>
                <c:pt idx="7785">
                  <c:v>45617</c:v>
                </c:pt>
                <c:pt idx="7786">
                  <c:v>45618</c:v>
                </c:pt>
                <c:pt idx="7787">
                  <c:v>45621</c:v>
                </c:pt>
              </c:numCache>
            </c:numRef>
          </c:cat>
          <c:val>
            <c:numRef>
              <c:f>Sheet1!$H$3:$H$7790</c:f>
              <c:numCache>
                <c:formatCode>General</c:formatCode>
                <c:ptCount val="7788"/>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7.17592592592592</c:v>
                </c:pt>
                <c:pt idx="21">
                  <c:v>107.17592592592592</c:v>
                </c:pt>
                <c:pt idx="22">
                  <c:v>107.17592592592592</c:v>
                </c:pt>
                <c:pt idx="23">
                  <c:v>107.17592592592592</c:v>
                </c:pt>
                <c:pt idx="24">
                  <c:v>107.17592592592592</c:v>
                </c:pt>
                <c:pt idx="25">
                  <c:v>107.17592592592592</c:v>
                </c:pt>
                <c:pt idx="26">
                  <c:v>107.17592592592592</c:v>
                </c:pt>
                <c:pt idx="27">
                  <c:v>107.17592592592592</c:v>
                </c:pt>
                <c:pt idx="28">
                  <c:v>107.17592592592592</c:v>
                </c:pt>
                <c:pt idx="29">
                  <c:v>107.17592592592592</c:v>
                </c:pt>
                <c:pt idx="30">
                  <c:v>107.17592592592592</c:v>
                </c:pt>
                <c:pt idx="31">
                  <c:v>107.17592592592592</c:v>
                </c:pt>
                <c:pt idx="32">
                  <c:v>107.17592592592592</c:v>
                </c:pt>
                <c:pt idx="33">
                  <c:v>107.17592592592592</c:v>
                </c:pt>
                <c:pt idx="34">
                  <c:v>107.17592592592592</c:v>
                </c:pt>
                <c:pt idx="35">
                  <c:v>107.17592592592592</c:v>
                </c:pt>
                <c:pt idx="36">
                  <c:v>107.17592592592592</c:v>
                </c:pt>
                <c:pt idx="37">
                  <c:v>107.17592592592592</c:v>
                </c:pt>
                <c:pt idx="38">
                  <c:v>107.17592592592592</c:v>
                </c:pt>
                <c:pt idx="39">
                  <c:v>107.17592592592592</c:v>
                </c:pt>
                <c:pt idx="40">
                  <c:v>118.75</c:v>
                </c:pt>
                <c:pt idx="41">
                  <c:v>118.75</c:v>
                </c:pt>
                <c:pt idx="42">
                  <c:v>118.75</c:v>
                </c:pt>
                <c:pt idx="43">
                  <c:v>118.75</c:v>
                </c:pt>
                <c:pt idx="44">
                  <c:v>118.75</c:v>
                </c:pt>
                <c:pt idx="45">
                  <c:v>118.75</c:v>
                </c:pt>
                <c:pt idx="46">
                  <c:v>118.75</c:v>
                </c:pt>
                <c:pt idx="47">
                  <c:v>118.75</c:v>
                </c:pt>
                <c:pt idx="48">
                  <c:v>118.75</c:v>
                </c:pt>
                <c:pt idx="49">
                  <c:v>118.75</c:v>
                </c:pt>
                <c:pt idx="50">
                  <c:v>118.75</c:v>
                </c:pt>
                <c:pt idx="51">
                  <c:v>118.75</c:v>
                </c:pt>
                <c:pt idx="52">
                  <c:v>118.75</c:v>
                </c:pt>
                <c:pt idx="53">
                  <c:v>118.75</c:v>
                </c:pt>
                <c:pt idx="54">
                  <c:v>118.75</c:v>
                </c:pt>
                <c:pt idx="55">
                  <c:v>118.75</c:v>
                </c:pt>
                <c:pt idx="56">
                  <c:v>118.75</c:v>
                </c:pt>
                <c:pt idx="57">
                  <c:v>118.75</c:v>
                </c:pt>
                <c:pt idx="58">
                  <c:v>118.75</c:v>
                </c:pt>
                <c:pt idx="59">
                  <c:v>118.75</c:v>
                </c:pt>
                <c:pt idx="60">
                  <c:v>118.75</c:v>
                </c:pt>
                <c:pt idx="61">
                  <c:v>118.75</c:v>
                </c:pt>
                <c:pt idx="62">
                  <c:v>118.75</c:v>
                </c:pt>
                <c:pt idx="63">
                  <c:v>118.75</c:v>
                </c:pt>
                <c:pt idx="64">
                  <c:v>118.75</c:v>
                </c:pt>
                <c:pt idx="65">
                  <c:v>130.9027777777778</c:v>
                </c:pt>
                <c:pt idx="66">
                  <c:v>130.9027777777778</c:v>
                </c:pt>
                <c:pt idx="67">
                  <c:v>130.9027777777778</c:v>
                </c:pt>
                <c:pt idx="68">
                  <c:v>130.9027777777778</c:v>
                </c:pt>
                <c:pt idx="69">
                  <c:v>130.9027777777778</c:v>
                </c:pt>
                <c:pt idx="70">
                  <c:v>130.9027777777778</c:v>
                </c:pt>
                <c:pt idx="71">
                  <c:v>130.9027777777778</c:v>
                </c:pt>
                <c:pt idx="72">
                  <c:v>130.9027777777778</c:v>
                </c:pt>
                <c:pt idx="73">
                  <c:v>130.9027777777778</c:v>
                </c:pt>
                <c:pt idx="74">
                  <c:v>130.9027777777778</c:v>
                </c:pt>
                <c:pt idx="75">
                  <c:v>130.9027777777778</c:v>
                </c:pt>
                <c:pt idx="76">
                  <c:v>130.9027777777778</c:v>
                </c:pt>
                <c:pt idx="77">
                  <c:v>130.9027777777778</c:v>
                </c:pt>
                <c:pt idx="78">
                  <c:v>130.9027777777778</c:v>
                </c:pt>
                <c:pt idx="79">
                  <c:v>130.9027777777778</c:v>
                </c:pt>
                <c:pt idx="80">
                  <c:v>130.9027777777778</c:v>
                </c:pt>
                <c:pt idx="81">
                  <c:v>130.9027777777778</c:v>
                </c:pt>
                <c:pt idx="82">
                  <c:v>130.9027777777778</c:v>
                </c:pt>
                <c:pt idx="83">
                  <c:v>130.9027777777778</c:v>
                </c:pt>
                <c:pt idx="84">
                  <c:v>130.9027777777778</c:v>
                </c:pt>
                <c:pt idx="85">
                  <c:v>126.5625</c:v>
                </c:pt>
                <c:pt idx="86">
                  <c:v>126.5625</c:v>
                </c:pt>
                <c:pt idx="87">
                  <c:v>126.5625</c:v>
                </c:pt>
                <c:pt idx="88">
                  <c:v>126.5625</c:v>
                </c:pt>
                <c:pt idx="89">
                  <c:v>126.5625</c:v>
                </c:pt>
                <c:pt idx="90">
                  <c:v>126.5625</c:v>
                </c:pt>
                <c:pt idx="91">
                  <c:v>126.5625</c:v>
                </c:pt>
                <c:pt idx="92">
                  <c:v>126.5625</c:v>
                </c:pt>
                <c:pt idx="93">
                  <c:v>126.5625</c:v>
                </c:pt>
                <c:pt idx="94">
                  <c:v>126.5625</c:v>
                </c:pt>
                <c:pt idx="95">
                  <c:v>126.5625</c:v>
                </c:pt>
                <c:pt idx="96">
                  <c:v>126.5625</c:v>
                </c:pt>
                <c:pt idx="97">
                  <c:v>126.5625</c:v>
                </c:pt>
                <c:pt idx="98">
                  <c:v>126.5625</c:v>
                </c:pt>
                <c:pt idx="99">
                  <c:v>126.5625</c:v>
                </c:pt>
                <c:pt idx="100">
                  <c:v>126.5625</c:v>
                </c:pt>
                <c:pt idx="101">
                  <c:v>126.5625</c:v>
                </c:pt>
                <c:pt idx="102">
                  <c:v>126.5625</c:v>
                </c:pt>
                <c:pt idx="103">
                  <c:v>126.5625</c:v>
                </c:pt>
                <c:pt idx="104">
                  <c:v>126.5625</c:v>
                </c:pt>
                <c:pt idx="105">
                  <c:v>132.5810185185185</c:v>
                </c:pt>
                <c:pt idx="106">
                  <c:v>132.5810185185185</c:v>
                </c:pt>
                <c:pt idx="107">
                  <c:v>132.5810185185185</c:v>
                </c:pt>
                <c:pt idx="108">
                  <c:v>132.5810185185185</c:v>
                </c:pt>
                <c:pt idx="109">
                  <c:v>132.5810185185185</c:v>
                </c:pt>
                <c:pt idx="110">
                  <c:v>132.5810185185185</c:v>
                </c:pt>
                <c:pt idx="111">
                  <c:v>132.5810185185185</c:v>
                </c:pt>
                <c:pt idx="112">
                  <c:v>132.5810185185185</c:v>
                </c:pt>
                <c:pt idx="113">
                  <c:v>132.5810185185185</c:v>
                </c:pt>
                <c:pt idx="114">
                  <c:v>132.5810185185185</c:v>
                </c:pt>
                <c:pt idx="115">
                  <c:v>132.5810185185185</c:v>
                </c:pt>
                <c:pt idx="116">
                  <c:v>132.5810185185185</c:v>
                </c:pt>
                <c:pt idx="117">
                  <c:v>132.5810185185185</c:v>
                </c:pt>
                <c:pt idx="118">
                  <c:v>132.5810185185185</c:v>
                </c:pt>
                <c:pt idx="119">
                  <c:v>132.5810185185185</c:v>
                </c:pt>
                <c:pt idx="120">
                  <c:v>132.5810185185185</c:v>
                </c:pt>
                <c:pt idx="121">
                  <c:v>132.5810185185185</c:v>
                </c:pt>
                <c:pt idx="122">
                  <c:v>132.5810185185185</c:v>
                </c:pt>
                <c:pt idx="123">
                  <c:v>132.5810185185185</c:v>
                </c:pt>
                <c:pt idx="124">
                  <c:v>132.5810185185185</c:v>
                </c:pt>
                <c:pt idx="125">
                  <c:v>132.5810185185185</c:v>
                </c:pt>
                <c:pt idx="126">
                  <c:v>132.5810185185185</c:v>
                </c:pt>
                <c:pt idx="127">
                  <c:v>132.5810185185185</c:v>
                </c:pt>
                <c:pt idx="128">
                  <c:v>132.5810185185185</c:v>
                </c:pt>
                <c:pt idx="129">
                  <c:v>132.5810185185185</c:v>
                </c:pt>
                <c:pt idx="130">
                  <c:v>132.5810185185185</c:v>
                </c:pt>
                <c:pt idx="131">
                  <c:v>132.5810185185185</c:v>
                </c:pt>
                <c:pt idx="132">
                  <c:v>132.5810185185185</c:v>
                </c:pt>
                <c:pt idx="133">
                  <c:v>132.5810185185185</c:v>
                </c:pt>
                <c:pt idx="134">
                  <c:v>132.5810185185185</c:v>
                </c:pt>
                <c:pt idx="135">
                  <c:v>132.5810185185185</c:v>
                </c:pt>
                <c:pt idx="136">
                  <c:v>132.5810185185185</c:v>
                </c:pt>
                <c:pt idx="137">
                  <c:v>132.5810185185185</c:v>
                </c:pt>
                <c:pt idx="138">
                  <c:v>132.5810185185185</c:v>
                </c:pt>
                <c:pt idx="139">
                  <c:v>132.5810185185185</c:v>
                </c:pt>
                <c:pt idx="140">
                  <c:v>132.5810185185185</c:v>
                </c:pt>
                <c:pt idx="141">
                  <c:v>132.5810185185185</c:v>
                </c:pt>
                <c:pt idx="142">
                  <c:v>132.5810185185185</c:v>
                </c:pt>
                <c:pt idx="143">
                  <c:v>132.5810185185185</c:v>
                </c:pt>
                <c:pt idx="144">
                  <c:v>132.5810185185185</c:v>
                </c:pt>
                <c:pt idx="145">
                  <c:v>132.5810185185185</c:v>
                </c:pt>
                <c:pt idx="146">
                  <c:v>132.5810185185185</c:v>
                </c:pt>
                <c:pt idx="147">
                  <c:v>132.5810185185185</c:v>
                </c:pt>
                <c:pt idx="148">
                  <c:v>132.5810185185185</c:v>
                </c:pt>
                <c:pt idx="149">
                  <c:v>132.5810185185185</c:v>
                </c:pt>
                <c:pt idx="150">
                  <c:v>128.93518518518522</c:v>
                </c:pt>
                <c:pt idx="151">
                  <c:v>128.93518518518522</c:v>
                </c:pt>
                <c:pt idx="152">
                  <c:v>128.93518518518522</c:v>
                </c:pt>
                <c:pt idx="153">
                  <c:v>128.93518518518522</c:v>
                </c:pt>
                <c:pt idx="154">
                  <c:v>128.93518518518522</c:v>
                </c:pt>
                <c:pt idx="155">
                  <c:v>128.93518518518522</c:v>
                </c:pt>
                <c:pt idx="156">
                  <c:v>128.93518518518522</c:v>
                </c:pt>
                <c:pt idx="157">
                  <c:v>128.93518518518522</c:v>
                </c:pt>
                <c:pt idx="158">
                  <c:v>128.93518518518522</c:v>
                </c:pt>
                <c:pt idx="159">
                  <c:v>128.93518518518522</c:v>
                </c:pt>
                <c:pt idx="160">
                  <c:v>128.93518518518522</c:v>
                </c:pt>
                <c:pt idx="161">
                  <c:v>128.93518518518522</c:v>
                </c:pt>
                <c:pt idx="162">
                  <c:v>128.93518518518522</c:v>
                </c:pt>
                <c:pt idx="163">
                  <c:v>128.93518518518522</c:v>
                </c:pt>
                <c:pt idx="164">
                  <c:v>128.93518518518522</c:v>
                </c:pt>
                <c:pt idx="165">
                  <c:v>128.93518518518522</c:v>
                </c:pt>
                <c:pt idx="166">
                  <c:v>128.93518518518522</c:v>
                </c:pt>
                <c:pt idx="167">
                  <c:v>128.93518518518522</c:v>
                </c:pt>
                <c:pt idx="168">
                  <c:v>128.93518518518522</c:v>
                </c:pt>
                <c:pt idx="169">
                  <c:v>128.93518518518522</c:v>
                </c:pt>
                <c:pt idx="170">
                  <c:v>130.61342592592592</c:v>
                </c:pt>
                <c:pt idx="171">
                  <c:v>130.61342592592592</c:v>
                </c:pt>
                <c:pt idx="172">
                  <c:v>130.61342592592592</c:v>
                </c:pt>
                <c:pt idx="173">
                  <c:v>130.61342592592592</c:v>
                </c:pt>
                <c:pt idx="174">
                  <c:v>130.61342592592592</c:v>
                </c:pt>
                <c:pt idx="175">
                  <c:v>130.61342592592592</c:v>
                </c:pt>
                <c:pt idx="176">
                  <c:v>130.61342592592592</c:v>
                </c:pt>
                <c:pt idx="177">
                  <c:v>130.61342592592592</c:v>
                </c:pt>
                <c:pt idx="178">
                  <c:v>130.61342592592592</c:v>
                </c:pt>
                <c:pt idx="179">
                  <c:v>130.61342592592592</c:v>
                </c:pt>
                <c:pt idx="180">
                  <c:v>130.61342592592592</c:v>
                </c:pt>
                <c:pt idx="181">
                  <c:v>130.61342592592592</c:v>
                </c:pt>
                <c:pt idx="182">
                  <c:v>130.61342592592592</c:v>
                </c:pt>
                <c:pt idx="183">
                  <c:v>130.61342592592592</c:v>
                </c:pt>
                <c:pt idx="184">
                  <c:v>130.61342592592592</c:v>
                </c:pt>
                <c:pt idx="185">
                  <c:v>130.61342592592592</c:v>
                </c:pt>
                <c:pt idx="186">
                  <c:v>130.61342592592592</c:v>
                </c:pt>
                <c:pt idx="187">
                  <c:v>130.61342592592592</c:v>
                </c:pt>
                <c:pt idx="188">
                  <c:v>130.61342592592592</c:v>
                </c:pt>
                <c:pt idx="189">
                  <c:v>130.61342592592592</c:v>
                </c:pt>
                <c:pt idx="190">
                  <c:v>130.61342592592592</c:v>
                </c:pt>
                <c:pt idx="191">
                  <c:v>130.61342592592592</c:v>
                </c:pt>
                <c:pt idx="192">
                  <c:v>130.61342592592592</c:v>
                </c:pt>
                <c:pt idx="193">
                  <c:v>130.61342592592592</c:v>
                </c:pt>
                <c:pt idx="194">
                  <c:v>130.61342592592592</c:v>
                </c:pt>
                <c:pt idx="195">
                  <c:v>90.277777777777786</c:v>
                </c:pt>
                <c:pt idx="196">
                  <c:v>90.277777777777786</c:v>
                </c:pt>
                <c:pt idx="197">
                  <c:v>90.277777777777786</c:v>
                </c:pt>
                <c:pt idx="198">
                  <c:v>90.277777777777786</c:v>
                </c:pt>
                <c:pt idx="199">
                  <c:v>90.277777777777786</c:v>
                </c:pt>
                <c:pt idx="200">
                  <c:v>90.277777777777786</c:v>
                </c:pt>
                <c:pt idx="201">
                  <c:v>90.277777777777786</c:v>
                </c:pt>
                <c:pt idx="202">
                  <c:v>90.277777777777786</c:v>
                </c:pt>
                <c:pt idx="203">
                  <c:v>90.277777777777786</c:v>
                </c:pt>
                <c:pt idx="204">
                  <c:v>90.277777777777786</c:v>
                </c:pt>
                <c:pt idx="205">
                  <c:v>90.277777777777786</c:v>
                </c:pt>
                <c:pt idx="206">
                  <c:v>90.277777777777786</c:v>
                </c:pt>
                <c:pt idx="207">
                  <c:v>90.277777777777786</c:v>
                </c:pt>
                <c:pt idx="208">
                  <c:v>90.277777777777786</c:v>
                </c:pt>
                <c:pt idx="209">
                  <c:v>90.277777777777786</c:v>
                </c:pt>
                <c:pt idx="210">
                  <c:v>90.277777777777786</c:v>
                </c:pt>
                <c:pt idx="211">
                  <c:v>90.277777777777786</c:v>
                </c:pt>
                <c:pt idx="212">
                  <c:v>90.277777777777786</c:v>
                </c:pt>
                <c:pt idx="213">
                  <c:v>90.277777777777786</c:v>
                </c:pt>
                <c:pt idx="214">
                  <c:v>90.277777777777786</c:v>
                </c:pt>
                <c:pt idx="215">
                  <c:v>88.541666666666671</c:v>
                </c:pt>
                <c:pt idx="216">
                  <c:v>88.541666666666671</c:v>
                </c:pt>
                <c:pt idx="217">
                  <c:v>88.541666666666671</c:v>
                </c:pt>
                <c:pt idx="218">
                  <c:v>88.541666666666671</c:v>
                </c:pt>
                <c:pt idx="219">
                  <c:v>88.541666666666671</c:v>
                </c:pt>
                <c:pt idx="220">
                  <c:v>88.541666666666671</c:v>
                </c:pt>
                <c:pt idx="221">
                  <c:v>88.541666666666671</c:v>
                </c:pt>
                <c:pt idx="222">
                  <c:v>88.541666666666671</c:v>
                </c:pt>
                <c:pt idx="223">
                  <c:v>88.541666666666671</c:v>
                </c:pt>
                <c:pt idx="224">
                  <c:v>88.541666666666671</c:v>
                </c:pt>
                <c:pt idx="225">
                  <c:v>88.541666666666671</c:v>
                </c:pt>
                <c:pt idx="226">
                  <c:v>88.541666666666671</c:v>
                </c:pt>
                <c:pt idx="227">
                  <c:v>88.541666666666671</c:v>
                </c:pt>
                <c:pt idx="228">
                  <c:v>88.541666666666671</c:v>
                </c:pt>
                <c:pt idx="229">
                  <c:v>88.541666666666671</c:v>
                </c:pt>
                <c:pt idx="230">
                  <c:v>88.541666666666671</c:v>
                </c:pt>
                <c:pt idx="231">
                  <c:v>88.541666666666671</c:v>
                </c:pt>
                <c:pt idx="232">
                  <c:v>88.541666666666671</c:v>
                </c:pt>
                <c:pt idx="233">
                  <c:v>88.541666666666671</c:v>
                </c:pt>
                <c:pt idx="234">
                  <c:v>88.541666666666671</c:v>
                </c:pt>
                <c:pt idx="235">
                  <c:v>87.037037037037038</c:v>
                </c:pt>
                <c:pt idx="236">
                  <c:v>87.037037037037038</c:v>
                </c:pt>
                <c:pt idx="237">
                  <c:v>87.037037037037038</c:v>
                </c:pt>
                <c:pt idx="238">
                  <c:v>87.037037037037038</c:v>
                </c:pt>
                <c:pt idx="239">
                  <c:v>87.037037037037038</c:v>
                </c:pt>
                <c:pt idx="240">
                  <c:v>87.037037037037038</c:v>
                </c:pt>
                <c:pt idx="241">
                  <c:v>87.037037037037038</c:v>
                </c:pt>
                <c:pt idx="242">
                  <c:v>87.037037037037038</c:v>
                </c:pt>
                <c:pt idx="243">
                  <c:v>87.037037037037038</c:v>
                </c:pt>
                <c:pt idx="244">
                  <c:v>87.037037037037038</c:v>
                </c:pt>
                <c:pt idx="245">
                  <c:v>87.037037037037038</c:v>
                </c:pt>
                <c:pt idx="246">
                  <c:v>87.037037037037038</c:v>
                </c:pt>
                <c:pt idx="247">
                  <c:v>87.037037037037038</c:v>
                </c:pt>
                <c:pt idx="248">
                  <c:v>87.037037037037038</c:v>
                </c:pt>
                <c:pt idx="249">
                  <c:v>87.037037037037038</c:v>
                </c:pt>
                <c:pt idx="250">
                  <c:v>87.037037037037038</c:v>
                </c:pt>
                <c:pt idx="251">
                  <c:v>87.037037037037038</c:v>
                </c:pt>
                <c:pt idx="252">
                  <c:v>87.037037037037038</c:v>
                </c:pt>
                <c:pt idx="253">
                  <c:v>87.037037037037038</c:v>
                </c:pt>
                <c:pt idx="254">
                  <c:v>87.037037037037038</c:v>
                </c:pt>
                <c:pt idx="255">
                  <c:v>87.037037037037038</c:v>
                </c:pt>
                <c:pt idx="256">
                  <c:v>87.037037037037038</c:v>
                </c:pt>
                <c:pt idx="257">
                  <c:v>87.037037037037038</c:v>
                </c:pt>
                <c:pt idx="258">
                  <c:v>87.037037037037038</c:v>
                </c:pt>
                <c:pt idx="259">
                  <c:v>87.037037037037038</c:v>
                </c:pt>
                <c:pt idx="260">
                  <c:v>92.766203703703709</c:v>
                </c:pt>
                <c:pt idx="261">
                  <c:v>92.766203703703709</c:v>
                </c:pt>
                <c:pt idx="262">
                  <c:v>92.766203703703709</c:v>
                </c:pt>
                <c:pt idx="263">
                  <c:v>92.766203703703709</c:v>
                </c:pt>
                <c:pt idx="264">
                  <c:v>92.766203703703709</c:v>
                </c:pt>
                <c:pt idx="265">
                  <c:v>92.766203703703709</c:v>
                </c:pt>
                <c:pt idx="266">
                  <c:v>92.766203703703709</c:v>
                </c:pt>
                <c:pt idx="267">
                  <c:v>92.766203703703709</c:v>
                </c:pt>
                <c:pt idx="268">
                  <c:v>92.766203703703709</c:v>
                </c:pt>
                <c:pt idx="269">
                  <c:v>92.766203703703709</c:v>
                </c:pt>
                <c:pt idx="270">
                  <c:v>92.766203703703709</c:v>
                </c:pt>
                <c:pt idx="271">
                  <c:v>92.766203703703709</c:v>
                </c:pt>
                <c:pt idx="272">
                  <c:v>92.766203703703709</c:v>
                </c:pt>
                <c:pt idx="273">
                  <c:v>92.766203703703709</c:v>
                </c:pt>
                <c:pt idx="274">
                  <c:v>92.766203703703709</c:v>
                </c:pt>
                <c:pt idx="275">
                  <c:v>92.766203703703709</c:v>
                </c:pt>
                <c:pt idx="276">
                  <c:v>92.766203703703709</c:v>
                </c:pt>
                <c:pt idx="277">
                  <c:v>92.766203703703709</c:v>
                </c:pt>
                <c:pt idx="278">
                  <c:v>92.766203703703709</c:v>
                </c:pt>
                <c:pt idx="279">
                  <c:v>92.766203703703709</c:v>
                </c:pt>
                <c:pt idx="280">
                  <c:v>98.148148148148152</c:v>
                </c:pt>
                <c:pt idx="281">
                  <c:v>98.148148148148152</c:v>
                </c:pt>
                <c:pt idx="282">
                  <c:v>98.148148148148152</c:v>
                </c:pt>
                <c:pt idx="283">
                  <c:v>98.148148148148152</c:v>
                </c:pt>
                <c:pt idx="284">
                  <c:v>98.148148148148152</c:v>
                </c:pt>
                <c:pt idx="285">
                  <c:v>98.148148148148152</c:v>
                </c:pt>
                <c:pt idx="286">
                  <c:v>98.148148148148152</c:v>
                </c:pt>
                <c:pt idx="287">
                  <c:v>98.148148148148152</c:v>
                </c:pt>
                <c:pt idx="288">
                  <c:v>98.148148148148152</c:v>
                </c:pt>
                <c:pt idx="289">
                  <c:v>98.148148148148152</c:v>
                </c:pt>
                <c:pt idx="290">
                  <c:v>98.148148148148152</c:v>
                </c:pt>
                <c:pt idx="291">
                  <c:v>98.148148148148152</c:v>
                </c:pt>
                <c:pt idx="292">
                  <c:v>98.148148148148152</c:v>
                </c:pt>
                <c:pt idx="293">
                  <c:v>98.148148148148152</c:v>
                </c:pt>
                <c:pt idx="294">
                  <c:v>98.148148148148152</c:v>
                </c:pt>
                <c:pt idx="295">
                  <c:v>98.148148148148152</c:v>
                </c:pt>
                <c:pt idx="296">
                  <c:v>98.148148148148152</c:v>
                </c:pt>
                <c:pt idx="297">
                  <c:v>98.148148148148152</c:v>
                </c:pt>
                <c:pt idx="298">
                  <c:v>98.148148148148152</c:v>
                </c:pt>
                <c:pt idx="299">
                  <c:v>98.148148148148152</c:v>
                </c:pt>
                <c:pt idx="300">
                  <c:v>109.54861111111111</c:v>
                </c:pt>
                <c:pt idx="301">
                  <c:v>109.54861111111111</c:v>
                </c:pt>
                <c:pt idx="302">
                  <c:v>109.54861111111111</c:v>
                </c:pt>
                <c:pt idx="303">
                  <c:v>109.54861111111111</c:v>
                </c:pt>
                <c:pt idx="304">
                  <c:v>109.54861111111111</c:v>
                </c:pt>
                <c:pt idx="305">
                  <c:v>109.54861111111111</c:v>
                </c:pt>
                <c:pt idx="306">
                  <c:v>109.54861111111111</c:v>
                </c:pt>
                <c:pt idx="307">
                  <c:v>109.54861111111111</c:v>
                </c:pt>
                <c:pt idx="308">
                  <c:v>109.54861111111111</c:v>
                </c:pt>
                <c:pt idx="309">
                  <c:v>109.54861111111111</c:v>
                </c:pt>
                <c:pt idx="310">
                  <c:v>109.54861111111111</c:v>
                </c:pt>
                <c:pt idx="311">
                  <c:v>109.54861111111111</c:v>
                </c:pt>
                <c:pt idx="312">
                  <c:v>109.54861111111111</c:v>
                </c:pt>
                <c:pt idx="313">
                  <c:v>109.54861111111111</c:v>
                </c:pt>
                <c:pt idx="314">
                  <c:v>109.54861111111111</c:v>
                </c:pt>
                <c:pt idx="315">
                  <c:v>109.54861111111111</c:v>
                </c:pt>
                <c:pt idx="316">
                  <c:v>109.54861111111111</c:v>
                </c:pt>
                <c:pt idx="317">
                  <c:v>109.54861111111111</c:v>
                </c:pt>
                <c:pt idx="318">
                  <c:v>109.54861111111111</c:v>
                </c:pt>
                <c:pt idx="319">
                  <c:v>109.54861111111111</c:v>
                </c:pt>
                <c:pt idx="320">
                  <c:v>109.54861111111111</c:v>
                </c:pt>
                <c:pt idx="321">
                  <c:v>109.54861111111111</c:v>
                </c:pt>
                <c:pt idx="322">
                  <c:v>109.54861111111111</c:v>
                </c:pt>
                <c:pt idx="323">
                  <c:v>109.54861111111111</c:v>
                </c:pt>
                <c:pt idx="324">
                  <c:v>109.54861111111111</c:v>
                </c:pt>
                <c:pt idx="325">
                  <c:v>99.479166666666671</c:v>
                </c:pt>
                <c:pt idx="326">
                  <c:v>99.479166666666671</c:v>
                </c:pt>
                <c:pt idx="327">
                  <c:v>99.479166666666671</c:v>
                </c:pt>
                <c:pt idx="328">
                  <c:v>99.479166666666671</c:v>
                </c:pt>
                <c:pt idx="329">
                  <c:v>99.479166666666671</c:v>
                </c:pt>
                <c:pt idx="330">
                  <c:v>99.479166666666671</c:v>
                </c:pt>
                <c:pt idx="331">
                  <c:v>99.479166666666671</c:v>
                </c:pt>
                <c:pt idx="332">
                  <c:v>99.479166666666671</c:v>
                </c:pt>
                <c:pt idx="333">
                  <c:v>99.479166666666671</c:v>
                </c:pt>
                <c:pt idx="334">
                  <c:v>99.479166666666671</c:v>
                </c:pt>
                <c:pt idx="335">
                  <c:v>99.479166666666671</c:v>
                </c:pt>
                <c:pt idx="336">
                  <c:v>99.479166666666671</c:v>
                </c:pt>
                <c:pt idx="337">
                  <c:v>99.479166666666671</c:v>
                </c:pt>
                <c:pt idx="338">
                  <c:v>99.479166666666671</c:v>
                </c:pt>
                <c:pt idx="339">
                  <c:v>99.479166666666671</c:v>
                </c:pt>
                <c:pt idx="340">
                  <c:v>99.479166666666671</c:v>
                </c:pt>
                <c:pt idx="341">
                  <c:v>99.479166666666671</c:v>
                </c:pt>
                <c:pt idx="342">
                  <c:v>99.479166666666671</c:v>
                </c:pt>
                <c:pt idx="343">
                  <c:v>99.479166666666671</c:v>
                </c:pt>
                <c:pt idx="344">
                  <c:v>99.479166666666671</c:v>
                </c:pt>
                <c:pt idx="345">
                  <c:v>108.3912037037037</c:v>
                </c:pt>
                <c:pt idx="346">
                  <c:v>108.3912037037037</c:v>
                </c:pt>
                <c:pt idx="347">
                  <c:v>108.3912037037037</c:v>
                </c:pt>
                <c:pt idx="348">
                  <c:v>108.3912037037037</c:v>
                </c:pt>
                <c:pt idx="349">
                  <c:v>108.3912037037037</c:v>
                </c:pt>
                <c:pt idx="350">
                  <c:v>108.3912037037037</c:v>
                </c:pt>
                <c:pt idx="351">
                  <c:v>108.3912037037037</c:v>
                </c:pt>
                <c:pt idx="352">
                  <c:v>108.3912037037037</c:v>
                </c:pt>
                <c:pt idx="353">
                  <c:v>108.3912037037037</c:v>
                </c:pt>
                <c:pt idx="354">
                  <c:v>108.3912037037037</c:v>
                </c:pt>
                <c:pt idx="355">
                  <c:v>108.3912037037037</c:v>
                </c:pt>
                <c:pt idx="356">
                  <c:v>108.3912037037037</c:v>
                </c:pt>
                <c:pt idx="357">
                  <c:v>108.3912037037037</c:v>
                </c:pt>
                <c:pt idx="358">
                  <c:v>108.3912037037037</c:v>
                </c:pt>
                <c:pt idx="359">
                  <c:v>108.3912037037037</c:v>
                </c:pt>
                <c:pt idx="360">
                  <c:v>108.3912037037037</c:v>
                </c:pt>
                <c:pt idx="361">
                  <c:v>108.3912037037037</c:v>
                </c:pt>
                <c:pt idx="362">
                  <c:v>108.3912037037037</c:v>
                </c:pt>
                <c:pt idx="363">
                  <c:v>108.3912037037037</c:v>
                </c:pt>
                <c:pt idx="364">
                  <c:v>108.3912037037037</c:v>
                </c:pt>
                <c:pt idx="365">
                  <c:v>108.3912037037037</c:v>
                </c:pt>
                <c:pt idx="366">
                  <c:v>108.3912037037037</c:v>
                </c:pt>
                <c:pt idx="367">
                  <c:v>108.3912037037037</c:v>
                </c:pt>
                <c:pt idx="368">
                  <c:v>108.3912037037037</c:v>
                </c:pt>
                <c:pt idx="369">
                  <c:v>108.3912037037037</c:v>
                </c:pt>
                <c:pt idx="370">
                  <c:v>110.87962962962963</c:v>
                </c:pt>
                <c:pt idx="371">
                  <c:v>110.87962962962963</c:v>
                </c:pt>
                <c:pt idx="372">
                  <c:v>110.87962962962963</c:v>
                </c:pt>
                <c:pt idx="373">
                  <c:v>110.87962962962963</c:v>
                </c:pt>
                <c:pt idx="374">
                  <c:v>110.87962962962963</c:v>
                </c:pt>
                <c:pt idx="375">
                  <c:v>110.87962962962963</c:v>
                </c:pt>
                <c:pt idx="376">
                  <c:v>110.87962962962963</c:v>
                </c:pt>
                <c:pt idx="377">
                  <c:v>110.87962962962963</c:v>
                </c:pt>
                <c:pt idx="378">
                  <c:v>110.87962962962963</c:v>
                </c:pt>
                <c:pt idx="379">
                  <c:v>110.87962962962963</c:v>
                </c:pt>
                <c:pt idx="380">
                  <c:v>110.87962962962963</c:v>
                </c:pt>
                <c:pt idx="381">
                  <c:v>110.87962962962963</c:v>
                </c:pt>
                <c:pt idx="382">
                  <c:v>110.87962962962963</c:v>
                </c:pt>
                <c:pt idx="383">
                  <c:v>110.87962962962963</c:v>
                </c:pt>
                <c:pt idx="384">
                  <c:v>110.87962962962963</c:v>
                </c:pt>
                <c:pt idx="385">
                  <c:v>110.87962962962963</c:v>
                </c:pt>
                <c:pt idx="386">
                  <c:v>110.87962962962963</c:v>
                </c:pt>
                <c:pt idx="387">
                  <c:v>110.87962962962963</c:v>
                </c:pt>
                <c:pt idx="388">
                  <c:v>110.87962962962963</c:v>
                </c:pt>
                <c:pt idx="389">
                  <c:v>110.87962962962963</c:v>
                </c:pt>
                <c:pt idx="390">
                  <c:v>111.86342592592592</c:v>
                </c:pt>
                <c:pt idx="391">
                  <c:v>111.86342592592592</c:v>
                </c:pt>
                <c:pt idx="392">
                  <c:v>111.86342592592592</c:v>
                </c:pt>
                <c:pt idx="393">
                  <c:v>111.86342592592592</c:v>
                </c:pt>
                <c:pt idx="394">
                  <c:v>111.86342592592592</c:v>
                </c:pt>
                <c:pt idx="395">
                  <c:v>111.86342592592592</c:v>
                </c:pt>
                <c:pt idx="396">
                  <c:v>111.86342592592592</c:v>
                </c:pt>
                <c:pt idx="397">
                  <c:v>111.86342592592592</c:v>
                </c:pt>
                <c:pt idx="398">
                  <c:v>111.86342592592592</c:v>
                </c:pt>
                <c:pt idx="399">
                  <c:v>111.86342592592592</c:v>
                </c:pt>
                <c:pt idx="400">
                  <c:v>111.86342592592592</c:v>
                </c:pt>
                <c:pt idx="401">
                  <c:v>111.86342592592592</c:v>
                </c:pt>
                <c:pt idx="402">
                  <c:v>111.86342592592592</c:v>
                </c:pt>
                <c:pt idx="403">
                  <c:v>111.86342592592592</c:v>
                </c:pt>
                <c:pt idx="404">
                  <c:v>111.86342592592592</c:v>
                </c:pt>
                <c:pt idx="405">
                  <c:v>111.86342592592592</c:v>
                </c:pt>
                <c:pt idx="406">
                  <c:v>111.86342592592592</c:v>
                </c:pt>
                <c:pt idx="407">
                  <c:v>111.86342592592592</c:v>
                </c:pt>
                <c:pt idx="408">
                  <c:v>111.86342592592592</c:v>
                </c:pt>
                <c:pt idx="409">
                  <c:v>111.86342592592592</c:v>
                </c:pt>
                <c:pt idx="410">
                  <c:v>120.19675925925925</c:v>
                </c:pt>
                <c:pt idx="411">
                  <c:v>120.19675925925925</c:v>
                </c:pt>
                <c:pt idx="412">
                  <c:v>120.19675925925925</c:v>
                </c:pt>
                <c:pt idx="413">
                  <c:v>120.19675925925925</c:v>
                </c:pt>
                <c:pt idx="414">
                  <c:v>120.19675925925925</c:v>
                </c:pt>
                <c:pt idx="415">
                  <c:v>120.19675925925925</c:v>
                </c:pt>
                <c:pt idx="416">
                  <c:v>120.19675925925925</c:v>
                </c:pt>
                <c:pt idx="417">
                  <c:v>120.19675925925925</c:v>
                </c:pt>
                <c:pt idx="418">
                  <c:v>120.19675925925925</c:v>
                </c:pt>
                <c:pt idx="419">
                  <c:v>120.19675925925925</c:v>
                </c:pt>
                <c:pt idx="420">
                  <c:v>120.19675925925925</c:v>
                </c:pt>
                <c:pt idx="421">
                  <c:v>120.19675925925925</c:v>
                </c:pt>
                <c:pt idx="422">
                  <c:v>120.19675925925925</c:v>
                </c:pt>
                <c:pt idx="423">
                  <c:v>120.19675925925925</c:v>
                </c:pt>
                <c:pt idx="424">
                  <c:v>120.19675925925925</c:v>
                </c:pt>
                <c:pt idx="425">
                  <c:v>120.19675925925925</c:v>
                </c:pt>
                <c:pt idx="426">
                  <c:v>120.19675925925925</c:v>
                </c:pt>
                <c:pt idx="427">
                  <c:v>120.19675925925925</c:v>
                </c:pt>
                <c:pt idx="428">
                  <c:v>120.19675925925925</c:v>
                </c:pt>
                <c:pt idx="429">
                  <c:v>120.19675925925925</c:v>
                </c:pt>
                <c:pt idx="430">
                  <c:v>120.19675925925925</c:v>
                </c:pt>
                <c:pt idx="431">
                  <c:v>120.19675925925925</c:v>
                </c:pt>
                <c:pt idx="432">
                  <c:v>120.19675925925925</c:v>
                </c:pt>
                <c:pt idx="433">
                  <c:v>120.19675925925925</c:v>
                </c:pt>
                <c:pt idx="434">
                  <c:v>120.19675925925925</c:v>
                </c:pt>
                <c:pt idx="435">
                  <c:v>123.32175925925925</c:v>
                </c:pt>
                <c:pt idx="436">
                  <c:v>123.32175925925925</c:v>
                </c:pt>
                <c:pt idx="437">
                  <c:v>123.32175925925925</c:v>
                </c:pt>
                <c:pt idx="438">
                  <c:v>123.32175925925925</c:v>
                </c:pt>
                <c:pt idx="439">
                  <c:v>123.32175925925925</c:v>
                </c:pt>
                <c:pt idx="440">
                  <c:v>123.32175925925925</c:v>
                </c:pt>
                <c:pt idx="441">
                  <c:v>123.32175925925925</c:v>
                </c:pt>
                <c:pt idx="442">
                  <c:v>123.32175925925925</c:v>
                </c:pt>
                <c:pt idx="443">
                  <c:v>123.32175925925925</c:v>
                </c:pt>
                <c:pt idx="444">
                  <c:v>123.32175925925925</c:v>
                </c:pt>
                <c:pt idx="445">
                  <c:v>123.32175925925925</c:v>
                </c:pt>
                <c:pt idx="446">
                  <c:v>123.32175925925925</c:v>
                </c:pt>
                <c:pt idx="447">
                  <c:v>123.32175925925925</c:v>
                </c:pt>
                <c:pt idx="448">
                  <c:v>123.32175925925925</c:v>
                </c:pt>
                <c:pt idx="449">
                  <c:v>123.32175925925925</c:v>
                </c:pt>
                <c:pt idx="450">
                  <c:v>123.32175925925925</c:v>
                </c:pt>
                <c:pt idx="451">
                  <c:v>123.32175925925925</c:v>
                </c:pt>
                <c:pt idx="452">
                  <c:v>123.32175925925925</c:v>
                </c:pt>
                <c:pt idx="453">
                  <c:v>123.32175925925925</c:v>
                </c:pt>
                <c:pt idx="454">
                  <c:v>123.32175925925925</c:v>
                </c:pt>
                <c:pt idx="455">
                  <c:v>126.96759259259258</c:v>
                </c:pt>
                <c:pt idx="456">
                  <c:v>126.96759259259258</c:v>
                </c:pt>
                <c:pt idx="457">
                  <c:v>126.96759259259258</c:v>
                </c:pt>
                <c:pt idx="458">
                  <c:v>126.96759259259258</c:v>
                </c:pt>
                <c:pt idx="459">
                  <c:v>126.96759259259258</c:v>
                </c:pt>
                <c:pt idx="460">
                  <c:v>126.96759259259258</c:v>
                </c:pt>
                <c:pt idx="461">
                  <c:v>126.96759259259258</c:v>
                </c:pt>
                <c:pt idx="462">
                  <c:v>126.96759259259258</c:v>
                </c:pt>
                <c:pt idx="463">
                  <c:v>126.96759259259258</c:v>
                </c:pt>
                <c:pt idx="464">
                  <c:v>126.96759259259258</c:v>
                </c:pt>
                <c:pt idx="465">
                  <c:v>126.96759259259258</c:v>
                </c:pt>
                <c:pt idx="466">
                  <c:v>126.96759259259258</c:v>
                </c:pt>
                <c:pt idx="467">
                  <c:v>126.96759259259258</c:v>
                </c:pt>
                <c:pt idx="468">
                  <c:v>126.96759259259258</c:v>
                </c:pt>
                <c:pt idx="469">
                  <c:v>126.96759259259258</c:v>
                </c:pt>
                <c:pt idx="470">
                  <c:v>126.96759259259258</c:v>
                </c:pt>
                <c:pt idx="471">
                  <c:v>126.96759259259258</c:v>
                </c:pt>
                <c:pt idx="472">
                  <c:v>126.96759259259258</c:v>
                </c:pt>
                <c:pt idx="473">
                  <c:v>126.96759259259258</c:v>
                </c:pt>
                <c:pt idx="474">
                  <c:v>126.96759259259258</c:v>
                </c:pt>
                <c:pt idx="475">
                  <c:v>134.14351851851853</c:v>
                </c:pt>
                <c:pt idx="476">
                  <c:v>134.14351851851853</c:v>
                </c:pt>
                <c:pt idx="477">
                  <c:v>134.14351851851853</c:v>
                </c:pt>
                <c:pt idx="478">
                  <c:v>134.14351851851853</c:v>
                </c:pt>
                <c:pt idx="479">
                  <c:v>134.14351851851853</c:v>
                </c:pt>
                <c:pt idx="480">
                  <c:v>134.14351851851853</c:v>
                </c:pt>
                <c:pt idx="481">
                  <c:v>134.14351851851853</c:v>
                </c:pt>
                <c:pt idx="482">
                  <c:v>134.14351851851853</c:v>
                </c:pt>
                <c:pt idx="483">
                  <c:v>134.14351851851853</c:v>
                </c:pt>
                <c:pt idx="484">
                  <c:v>134.14351851851853</c:v>
                </c:pt>
                <c:pt idx="485">
                  <c:v>134.14351851851853</c:v>
                </c:pt>
                <c:pt idx="486">
                  <c:v>134.14351851851853</c:v>
                </c:pt>
                <c:pt idx="487">
                  <c:v>134.14351851851853</c:v>
                </c:pt>
                <c:pt idx="488">
                  <c:v>134.14351851851853</c:v>
                </c:pt>
                <c:pt idx="489">
                  <c:v>134.14351851851853</c:v>
                </c:pt>
                <c:pt idx="490">
                  <c:v>134.14351851851853</c:v>
                </c:pt>
                <c:pt idx="491">
                  <c:v>134.14351851851853</c:v>
                </c:pt>
                <c:pt idx="492">
                  <c:v>134.14351851851853</c:v>
                </c:pt>
                <c:pt idx="493">
                  <c:v>134.14351851851853</c:v>
                </c:pt>
                <c:pt idx="494">
                  <c:v>134.14351851851853</c:v>
                </c:pt>
                <c:pt idx="495">
                  <c:v>134.14351851851853</c:v>
                </c:pt>
                <c:pt idx="496">
                  <c:v>134.14351851851853</c:v>
                </c:pt>
                <c:pt idx="497">
                  <c:v>134.14351851851853</c:v>
                </c:pt>
                <c:pt idx="498">
                  <c:v>134.14351851851853</c:v>
                </c:pt>
                <c:pt idx="499">
                  <c:v>134.14351851851853</c:v>
                </c:pt>
                <c:pt idx="500">
                  <c:v>136.40046296296299</c:v>
                </c:pt>
                <c:pt idx="501">
                  <c:v>136.40046296296299</c:v>
                </c:pt>
                <c:pt idx="502">
                  <c:v>136.40046296296299</c:v>
                </c:pt>
                <c:pt idx="503">
                  <c:v>136.40046296296299</c:v>
                </c:pt>
                <c:pt idx="504">
                  <c:v>136.40046296296299</c:v>
                </c:pt>
                <c:pt idx="505">
                  <c:v>136.40046296296299</c:v>
                </c:pt>
                <c:pt idx="506">
                  <c:v>136.40046296296299</c:v>
                </c:pt>
                <c:pt idx="507">
                  <c:v>136.40046296296299</c:v>
                </c:pt>
                <c:pt idx="508">
                  <c:v>136.40046296296299</c:v>
                </c:pt>
                <c:pt idx="509">
                  <c:v>136.40046296296299</c:v>
                </c:pt>
                <c:pt idx="510">
                  <c:v>136.40046296296299</c:v>
                </c:pt>
                <c:pt idx="511">
                  <c:v>136.40046296296299</c:v>
                </c:pt>
                <c:pt idx="512">
                  <c:v>136.40046296296299</c:v>
                </c:pt>
                <c:pt idx="513">
                  <c:v>136.40046296296299</c:v>
                </c:pt>
                <c:pt idx="514">
                  <c:v>136.40046296296299</c:v>
                </c:pt>
                <c:pt idx="515">
                  <c:v>136.40046296296299</c:v>
                </c:pt>
                <c:pt idx="516">
                  <c:v>136.40046296296299</c:v>
                </c:pt>
                <c:pt idx="517">
                  <c:v>136.40046296296299</c:v>
                </c:pt>
                <c:pt idx="518">
                  <c:v>136.40046296296299</c:v>
                </c:pt>
                <c:pt idx="519">
                  <c:v>136.40046296296299</c:v>
                </c:pt>
                <c:pt idx="520">
                  <c:v>134.25925925925927</c:v>
                </c:pt>
                <c:pt idx="521">
                  <c:v>134.25925925925927</c:v>
                </c:pt>
                <c:pt idx="522">
                  <c:v>134.25925925925927</c:v>
                </c:pt>
                <c:pt idx="523">
                  <c:v>134.25925925925927</c:v>
                </c:pt>
                <c:pt idx="524">
                  <c:v>134.25925925925927</c:v>
                </c:pt>
                <c:pt idx="525">
                  <c:v>134.25925925925927</c:v>
                </c:pt>
                <c:pt idx="526">
                  <c:v>134.25925925925927</c:v>
                </c:pt>
                <c:pt idx="527">
                  <c:v>134.25925925925927</c:v>
                </c:pt>
                <c:pt idx="528">
                  <c:v>134.25925925925927</c:v>
                </c:pt>
                <c:pt idx="529">
                  <c:v>134.25925925925927</c:v>
                </c:pt>
                <c:pt idx="530">
                  <c:v>134.25925925925927</c:v>
                </c:pt>
                <c:pt idx="531">
                  <c:v>134.25925925925927</c:v>
                </c:pt>
                <c:pt idx="532">
                  <c:v>134.25925925925927</c:v>
                </c:pt>
                <c:pt idx="533">
                  <c:v>134.25925925925927</c:v>
                </c:pt>
                <c:pt idx="534">
                  <c:v>134.25925925925927</c:v>
                </c:pt>
                <c:pt idx="535">
                  <c:v>134.25925925925927</c:v>
                </c:pt>
                <c:pt idx="536">
                  <c:v>134.25925925925927</c:v>
                </c:pt>
                <c:pt idx="537">
                  <c:v>134.25925925925927</c:v>
                </c:pt>
                <c:pt idx="538">
                  <c:v>134.25925925925927</c:v>
                </c:pt>
                <c:pt idx="539">
                  <c:v>134.25925925925927</c:v>
                </c:pt>
                <c:pt idx="540">
                  <c:v>134.25925925925927</c:v>
                </c:pt>
                <c:pt idx="541">
                  <c:v>134.25925925925927</c:v>
                </c:pt>
                <c:pt idx="542">
                  <c:v>134.25925925925927</c:v>
                </c:pt>
                <c:pt idx="543">
                  <c:v>134.25925925925927</c:v>
                </c:pt>
                <c:pt idx="544">
                  <c:v>134.25925925925927</c:v>
                </c:pt>
                <c:pt idx="545">
                  <c:v>133.10185185185185</c:v>
                </c:pt>
                <c:pt idx="546">
                  <c:v>133.10185185185185</c:v>
                </c:pt>
                <c:pt idx="547">
                  <c:v>133.10185185185185</c:v>
                </c:pt>
                <c:pt idx="548">
                  <c:v>133.10185185185185</c:v>
                </c:pt>
                <c:pt idx="549">
                  <c:v>133.10185185185185</c:v>
                </c:pt>
                <c:pt idx="550">
                  <c:v>133.10185185185185</c:v>
                </c:pt>
                <c:pt idx="551">
                  <c:v>133.10185185185185</c:v>
                </c:pt>
                <c:pt idx="552">
                  <c:v>133.10185185185185</c:v>
                </c:pt>
                <c:pt idx="553">
                  <c:v>133.10185185185185</c:v>
                </c:pt>
                <c:pt idx="554">
                  <c:v>133.10185185185185</c:v>
                </c:pt>
                <c:pt idx="555">
                  <c:v>133.10185185185185</c:v>
                </c:pt>
                <c:pt idx="556">
                  <c:v>133.10185185185185</c:v>
                </c:pt>
                <c:pt idx="557">
                  <c:v>133.10185185185185</c:v>
                </c:pt>
                <c:pt idx="558">
                  <c:v>133.10185185185185</c:v>
                </c:pt>
                <c:pt idx="559">
                  <c:v>133.10185185185185</c:v>
                </c:pt>
                <c:pt idx="560">
                  <c:v>133.10185185185185</c:v>
                </c:pt>
                <c:pt idx="561">
                  <c:v>133.10185185185185</c:v>
                </c:pt>
                <c:pt idx="562">
                  <c:v>133.10185185185185</c:v>
                </c:pt>
                <c:pt idx="563">
                  <c:v>133.10185185185185</c:v>
                </c:pt>
                <c:pt idx="564">
                  <c:v>133.10185185185185</c:v>
                </c:pt>
                <c:pt idx="565">
                  <c:v>138.59953703703704</c:v>
                </c:pt>
                <c:pt idx="566">
                  <c:v>138.59953703703704</c:v>
                </c:pt>
                <c:pt idx="567">
                  <c:v>138.59953703703704</c:v>
                </c:pt>
                <c:pt idx="568">
                  <c:v>138.59953703703704</c:v>
                </c:pt>
                <c:pt idx="569">
                  <c:v>138.59953703703704</c:v>
                </c:pt>
                <c:pt idx="570">
                  <c:v>138.59953703703704</c:v>
                </c:pt>
                <c:pt idx="571">
                  <c:v>138.59953703703704</c:v>
                </c:pt>
                <c:pt idx="572">
                  <c:v>138.59953703703704</c:v>
                </c:pt>
                <c:pt idx="573">
                  <c:v>138.59953703703704</c:v>
                </c:pt>
                <c:pt idx="574">
                  <c:v>138.59953703703704</c:v>
                </c:pt>
                <c:pt idx="575">
                  <c:v>138.59953703703704</c:v>
                </c:pt>
                <c:pt idx="576">
                  <c:v>138.59953703703704</c:v>
                </c:pt>
                <c:pt idx="577">
                  <c:v>138.59953703703704</c:v>
                </c:pt>
                <c:pt idx="578">
                  <c:v>138.59953703703704</c:v>
                </c:pt>
                <c:pt idx="579">
                  <c:v>138.59953703703704</c:v>
                </c:pt>
                <c:pt idx="580">
                  <c:v>138.59953703703704</c:v>
                </c:pt>
                <c:pt idx="581">
                  <c:v>138.59953703703704</c:v>
                </c:pt>
                <c:pt idx="582">
                  <c:v>138.59953703703704</c:v>
                </c:pt>
                <c:pt idx="583">
                  <c:v>138.59953703703704</c:v>
                </c:pt>
                <c:pt idx="584">
                  <c:v>138.59953703703704</c:v>
                </c:pt>
                <c:pt idx="585">
                  <c:v>138.71527777777777</c:v>
                </c:pt>
                <c:pt idx="586">
                  <c:v>138.71527777777777</c:v>
                </c:pt>
                <c:pt idx="587">
                  <c:v>138.71527777777777</c:v>
                </c:pt>
                <c:pt idx="588">
                  <c:v>138.71527777777777</c:v>
                </c:pt>
                <c:pt idx="589">
                  <c:v>138.71527777777777</c:v>
                </c:pt>
                <c:pt idx="590">
                  <c:v>138.71527777777777</c:v>
                </c:pt>
                <c:pt idx="591">
                  <c:v>138.71527777777777</c:v>
                </c:pt>
                <c:pt idx="592">
                  <c:v>138.71527777777777</c:v>
                </c:pt>
                <c:pt idx="593">
                  <c:v>138.71527777777777</c:v>
                </c:pt>
                <c:pt idx="594">
                  <c:v>138.71527777777777</c:v>
                </c:pt>
                <c:pt idx="595">
                  <c:v>138.71527777777777</c:v>
                </c:pt>
                <c:pt idx="596">
                  <c:v>138.71527777777777</c:v>
                </c:pt>
                <c:pt idx="597">
                  <c:v>138.71527777777777</c:v>
                </c:pt>
                <c:pt idx="598">
                  <c:v>138.71527777777777</c:v>
                </c:pt>
                <c:pt idx="599">
                  <c:v>138.71527777777777</c:v>
                </c:pt>
                <c:pt idx="600">
                  <c:v>138.71527777777777</c:v>
                </c:pt>
                <c:pt idx="601">
                  <c:v>138.71527777777777</c:v>
                </c:pt>
                <c:pt idx="602">
                  <c:v>138.71527777777777</c:v>
                </c:pt>
                <c:pt idx="603">
                  <c:v>138.71527777777777</c:v>
                </c:pt>
                <c:pt idx="604">
                  <c:v>138.71527777777777</c:v>
                </c:pt>
                <c:pt idx="605">
                  <c:v>146.12268518518519</c:v>
                </c:pt>
                <c:pt idx="606">
                  <c:v>146.12268518518519</c:v>
                </c:pt>
                <c:pt idx="607">
                  <c:v>146.12268518518519</c:v>
                </c:pt>
                <c:pt idx="608">
                  <c:v>146.12268518518519</c:v>
                </c:pt>
                <c:pt idx="609">
                  <c:v>146.12268518518519</c:v>
                </c:pt>
                <c:pt idx="610">
                  <c:v>146.12268518518519</c:v>
                </c:pt>
                <c:pt idx="611">
                  <c:v>146.12268518518519</c:v>
                </c:pt>
                <c:pt idx="612">
                  <c:v>146.12268518518519</c:v>
                </c:pt>
                <c:pt idx="613">
                  <c:v>146.12268518518519</c:v>
                </c:pt>
                <c:pt idx="614">
                  <c:v>146.12268518518519</c:v>
                </c:pt>
                <c:pt idx="615">
                  <c:v>146.12268518518519</c:v>
                </c:pt>
                <c:pt idx="616">
                  <c:v>146.12268518518519</c:v>
                </c:pt>
                <c:pt idx="617">
                  <c:v>146.12268518518519</c:v>
                </c:pt>
                <c:pt idx="618">
                  <c:v>146.12268518518519</c:v>
                </c:pt>
                <c:pt idx="619">
                  <c:v>146.12268518518519</c:v>
                </c:pt>
                <c:pt idx="620">
                  <c:v>146.12268518518519</c:v>
                </c:pt>
                <c:pt idx="621">
                  <c:v>146.12268518518519</c:v>
                </c:pt>
                <c:pt idx="622">
                  <c:v>146.12268518518519</c:v>
                </c:pt>
                <c:pt idx="623">
                  <c:v>146.12268518518519</c:v>
                </c:pt>
                <c:pt idx="624">
                  <c:v>146.12268518518519</c:v>
                </c:pt>
                <c:pt idx="625">
                  <c:v>146.12268518518519</c:v>
                </c:pt>
                <c:pt idx="626">
                  <c:v>146.12268518518519</c:v>
                </c:pt>
                <c:pt idx="627">
                  <c:v>146.12268518518519</c:v>
                </c:pt>
                <c:pt idx="628">
                  <c:v>146.12268518518519</c:v>
                </c:pt>
                <c:pt idx="629">
                  <c:v>146.12268518518519</c:v>
                </c:pt>
                <c:pt idx="630">
                  <c:v>155.38194444444443</c:v>
                </c:pt>
                <c:pt idx="631">
                  <c:v>155.38194444444443</c:v>
                </c:pt>
                <c:pt idx="632">
                  <c:v>155.38194444444443</c:v>
                </c:pt>
                <c:pt idx="633">
                  <c:v>155.38194444444443</c:v>
                </c:pt>
                <c:pt idx="634">
                  <c:v>155.38194444444443</c:v>
                </c:pt>
                <c:pt idx="635">
                  <c:v>155.38194444444443</c:v>
                </c:pt>
                <c:pt idx="636">
                  <c:v>155.38194444444443</c:v>
                </c:pt>
                <c:pt idx="637">
                  <c:v>155.38194444444443</c:v>
                </c:pt>
                <c:pt idx="638">
                  <c:v>155.38194444444443</c:v>
                </c:pt>
                <c:pt idx="639">
                  <c:v>155.38194444444443</c:v>
                </c:pt>
                <c:pt idx="640">
                  <c:v>155.38194444444443</c:v>
                </c:pt>
                <c:pt idx="641">
                  <c:v>155.38194444444443</c:v>
                </c:pt>
                <c:pt idx="642">
                  <c:v>155.38194444444443</c:v>
                </c:pt>
                <c:pt idx="643">
                  <c:v>155.38194444444443</c:v>
                </c:pt>
                <c:pt idx="644">
                  <c:v>155.38194444444443</c:v>
                </c:pt>
                <c:pt idx="645">
                  <c:v>155.38194444444443</c:v>
                </c:pt>
                <c:pt idx="646">
                  <c:v>155.38194444444443</c:v>
                </c:pt>
                <c:pt idx="647">
                  <c:v>155.38194444444443</c:v>
                </c:pt>
                <c:pt idx="648">
                  <c:v>155.38194444444443</c:v>
                </c:pt>
                <c:pt idx="649">
                  <c:v>155.38194444444443</c:v>
                </c:pt>
                <c:pt idx="650">
                  <c:v>156.36574074074073</c:v>
                </c:pt>
                <c:pt idx="651">
                  <c:v>156.36574074074073</c:v>
                </c:pt>
                <c:pt idx="652">
                  <c:v>156.36574074074073</c:v>
                </c:pt>
                <c:pt idx="653">
                  <c:v>156.36574074074073</c:v>
                </c:pt>
                <c:pt idx="654">
                  <c:v>156.36574074074073</c:v>
                </c:pt>
                <c:pt idx="655">
                  <c:v>156.36574074074073</c:v>
                </c:pt>
                <c:pt idx="656">
                  <c:v>156.36574074074073</c:v>
                </c:pt>
                <c:pt idx="657">
                  <c:v>156.36574074074073</c:v>
                </c:pt>
                <c:pt idx="658">
                  <c:v>156.36574074074073</c:v>
                </c:pt>
                <c:pt idx="659">
                  <c:v>156.36574074074073</c:v>
                </c:pt>
                <c:pt idx="660">
                  <c:v>156.36574074074073</c:v>
                </c:pt>
                <c:pt idx="661">
                  <c:v>156.36574074074073</c:v>
                </c:pt>
                <c:pt idx="662">
                  <c:v>156.36574074074073</c:v>
                </c:pt>
                <c:pt idx="663">
                  <c:v>156.36574074074073</c:v>
                </c:pt>
                <c:pt idx="664">
                  <c:v>156.36574074074073</c:v>
                </c:pt>
                <c:pt idx="665">
                  <c:v>156.36574074074073</c:v>
                </c:pt>
                <c:pt idx="666">
                  <c:v>156.36574074074073</c:v>
                </c:pt>
                <c:pt idx="667">
                  <c:v>156.36574074074073</c:v>
                </c:pt>
                <c:pt idx="668">
                  <c:v>156.36574074074073</c:v>
                </c:pt>
                <c:pt idx="669">
                  <c:v>156.36574074074073</c:v>
                </c:pt>
                <c:pt idx="670">
                  <c:v>159.0277777777778</c:v>
                </c:pt>
                <c:pt idx="671">
                  <c:v>159.0277777777778</c:v>
                </c:pt>
                <c:pt idx="672">
                  <c:v>159.0277777777778</c:v>
                </c:pt>
                <c:pt idx="673">
                  <c:v>159.0277777777778</c:v>
                </c:pt>
                <c:pt idx="674">
                  <c:v>159.0277777777778</c:v>
                </c:pt>
                <c:pt idx="675">
                  <c:v>159.0277777777778</c:v>
                </c:pt>
                <c:pt idx="676">
                  <c:v>159.0277777777778</c:v>
                </c:pt>
                <c:pt idx="677">
                  <c:v>159.0277777777778</c:v>
                </c:pt>
                <c:pt idx="678">
                  <c:v>159.0277777777778</c:v>
                </c:pt>
                <c:pt idx="679">
                  <c:v>159.0277777777778</c:v>
                </c:pt>
                <c:pt idx="680">
                  <c:v>159.0277777777778</c:v>
                </c:pt>
                <c:pt idx="681">
                  <c:v>159.0277777777778</c:v>
                </c:pt>
                <c:pt idx="682">
                  <c:v>159.0277777777778</c:v>
                </c:pt>
                <c:pt idx="683">
                  <c:v>159.0277777777778</c:v>
                </c:pt>
                <c:pt idx="684">
                  <c:v>159.0277777777778</c:v>
                </c:pt>
                <c:pt idx="685">
                  <c:v>159.0277777777778</c:v>
                </c:pt>
                <c:pt idx="686">
                  <c:v>159.0277777777778</c:v>
                </c:pt>
                <c:pt idx="687">
                  <c:v>159.0277777777778</c:v>
                </c:pt>
                <c:pt idx="688">
                  <c:v>159.0277777777778</c:v>
                </c:pt>
                <c:pt idx="689">
                  <c:v>159.0277777777778</c:v>
                </c:pt>
                <c:pt idx="690">
                  <c:v>159.0277777777778</c:v>
                </c:pt>
                <c:pt idx="691">
                  <c:v>159.0277777777778</c:v>
                </c:pt>
                <c:pt idx="692">
                  <c:v>159.0277777777778</c:v>
                </c:pt>
                <c:pt idx="693">
                  <c:v>159.0277777777778</c:v>
                </c:pt>
                <c:pt idx="694">
                  <c:v>159.0277777777778</c:v>
                </c:pt>
                <c:pt idx="695">
                  <c:v>162.09490740740742</c:v>
                </c:pt>
                <c:pt idx="696">
                  <c:v>162.09490740740742</c:v>
                </c:pt>
                <c:pt idx="697">
                  <c:v>162.09490740740742</c:v>
                </c:pt>
                <c:pt idx="698">
                  <c:v>162.09490740740742</c:v>
                </c:pt>
                <c:pt idx="699">
                  <c:v>162.09490740740742</c:v>
                </c:pt>
                <c:pt idx="700">
                  <c:v>162.09490740740742</c:v>
                </c:pt>
                <c:pt idx="701">
                  <c:v>162.09490740740742</c:v>
                </c:pt>
                <c:pt idx="702">
                  <c:v>162.09490740740742</c:v>
                </c:pt>
                <c:pt idx="703">
                  <c:v>162.09490740740742</c:v>
                </c:pt>
                <c:pt idx="704">
                  <c:v>162.09490740740742</c:v>
                </c:pt>
                <c:pt idx="705">
                  <c:v>162.09490740740742</c:v>
                </c:pt>
                <c:pt idx="706">
                  <c:v>162.09490740740742</c:v>
                </c:pt>
                <c:pt idx="707">
                  <c:v>162.09490740740742</c:v>
                </c:pt>
                <c:pt idx="708">
                  <c:v>162.09490740740742</c:v>
                </c:pt>
                <c:pt idx="709">
                  <c:v>162.09490740740742</c:v>
                </c:pt>
                <c:pt idx="710">
                  <c:v>162.09490740740742</c:v>
                </c:pt>
                <c:pt idx="711">
                  <c:v>162.09490740740742</c:v>
                </c:pt>
                <c:pt idx="712">
                  <c:v>162.09490740740742</c:v>
                </c:pt>
                <c:pt idx="713">
                  <c:v>162.09490740740742</c:v>
                </c:pt>
                <c:pt idx="714">
                  <c:v>162.09490740740742</c:v>
                </c:pt>
                <c:pt idx="715">
                  <c:v>165.79861111111111</c:v>
                </c:pt>
                <c:pt idx="716">
                  <c:v>165.79861111111111</c:v>
                </c:pt>
                <c:pt idx="717">
                  <c:v>165.79861111111111</c:v>
                </c:pt>
                <c:pt idx="718">
                  <c:v>165.79861111111111</c:v>
                </c:pt>
                <c:pt idx="719">
                  <c:v>165.79861111111111</c:v>
                </c:pt>
                <c:pt idx="720">
                  <c:v>165.79861111111111</c:v>
                </c:pt>
                <c:pt idx="721">
                  <c:v>165.79861111111111</c:v>
                </c:pt>
                <c:pt idx="722">
                  <c:v>165.79861111111111</c:v>
                </c:pt>
                <c:pt idx="723">
                  <c:v>165.79861111111111</c:v>
                </c:pt>
                <c:pt idx="724">
                  <c:v>165.79861111111111</c:v>
                </c:pt>
                <c:pt idx="725">
                  <c:v>165.79861111111111</c:v>
                </c:pt>
                <c:pt idx="726">
                  <c:v>165.79861111111111</c:v>
                </c:pt>
                <c:pt idx="727">
                  <c:v>165.79861111111111</c:v>
                </c:pt>
                <c:pt idx="728">
                  <c:v>165.79861111111111</c:v>
                </c:pt>
                <c:pt idx="729">
                  <c:v>165.79861111111111</c:v>
                </c:pt>
                <c:pt idx="730">
                  <c:v>165.79861111111111</c:v>
                </c:pt>
                <c:pt idx="731">
                  <c:v>165.79861111111111</c:v>
                </c:pt>
                <c:pt idx="732">
                  <c:v>165.79861111111111</c:v>
                </c:pt>
                <c:pt idx="733">
                  <c:v>165.79861111111111</c:v>
                </c:pt>
                <c:pt idx="734">
                  <c:v>165.79861111111111</c:v>
                </c:pt>
                <c:pt idx="735">
                  <c:v>165.79861111111111</c:v>
                </c:pt>
                <c:pt idx="736">
                  <c:v>165.79861111111111</c:v>
                </c:pt>
                <c:pt idx="737">
                  <c:v>165.79861111111111</c:v>
                </c:pt>
                <c:pt idx="738">
                  <c:v>165.79861111111111</c:v>
                </c:pt>
                <c:pt idx="739">
                  <c:v>165.79861111111111</c:v>
                </c:pt>
                <c:pt idx="740">
                  <c:v>170.08101851851853</c:v>
                </c:pt>
                <c:pt idx="741">
                  <c:v>170.08101851851853</c:v>
                </c:pt>
                <c:pt idx="742">
                  <c:v>170.08101851851853</c:v>
                </c:pt>
                <c:pt idx="743">
                  <c:v>170.08101851851853</c:v>
                </c:pt>
                <c:pt idx="744">
                  <c:v>170.08101851851853</c:v>
                </c:pt>
                <c:pt idx="745">
                  <c:v>170.08101851851853</c:v>
                </c:pt>
                <c:pt idx="746">
                  <c:v>170.08101851851853</c:v>
                </c:pt>
                <c:pt idx="747">
                  <c:v>170.08101851851853</c:v>
                </c:pt>
                <c:pt idx="748">
                  <c:v>170.08101851851853</c:v>
                </c:pt>
                <c:pt idx="749">
                  <c:v>170.08101851851853</c:v>
                </c:pt>
                <c:pt idx="750">
                  <c:v>170.08101851851853</c:v>
                </c:pt>
                <c:pt idx="751">
                  <c:v>170.08101851851853</c:v>
                </c:pt>
                <c:pt idx="752">
                  <c:v>170.08101851851853</c:v>
                </c:pt>
                <c:pt idx="753">
                  <c:v>170.08101851851853</c:v>
                </c:pt>
                <c:pt idx="754">
                  <c:v>170.08101851851853</c:v>
                </c:pt>
                <c:pt idx="755">
                  <c:v>170.08101851851853</c:v>
                </c:pt>
                <c:pt idx="756">
                  <c:v>170.08101851851853</c:v>
                </c:pt>
                <c:pt idx="757">
                  <c:v>170.08101851851853</c:v>
                </c:pt>
                <c:pt idx="758">
                  <c:v>170.08101851851853</c:v>
                </c:pt>
                <c:pt idx="759">
                  <c:v>170.08101851851853</c:v>
                </c:pt>
                <c:pt idx="760">
                  <c:v>166.72453703703701</c:v>
                </c:pt>
                <c:pt idx="761">
                  <c:v>166.72453703703701</c:v>
                </c:pt>
                <c:pt idx="762">
                  <c:v>166.72453703703701</c:v>
                </c:pt>
                <c:pt idx="763">
                  <c:v>166.72453703703701</c:v>
                </c:pt>
                <c:pt idx="764">
                  <c:v>166.72453703703701</c:v>
                </c:pt>
                <c:pt idx="765">
                  <c:v>166.72453703703701</c:v>
                </c:pt>
                <c:pt idx="766">
                  <c:v>166.72453703703701</c:v>
                </c:pt>
                <c:pt idx="767">
                  <c:v>166.72453703703701</c:v>
                </c:pt>
                <c:pt idx="768">
                  <c:v>166.72453703703701</c:v>
                </c:pt>
                <c:pt idx="769">
                  <c:v>166.72453703703701</c:v>
                </c:pt>
                <c:pt idx="770">
                  <c:v>166.72453703703701</c:v>
                </c:pt>
                <c:pt idx="771">
                  <c:v>166.72453703703701</c:v>
                </c:pt>
                <c:pt idx="772">
                  <c:v>166.72453703703701</c:v>
                </c:pt>
                <c:pt idx="773">
                  <c:v>166.72453703703701</c:v>
                </c:pt>
                <c:pt idx="774">
                  <c:v>166.72453703703701</c:v>
                </c:pt>
                <c:pt idx="775">
                  <c:v>166.72453703703701</c:v>
                </c:pt>
                <c:pt idx="776">
                  <c:v>166.72453703703701</c:v>
                </c:pt>
                <c:pt idx="777">
                  <c:v>166.72453703703701</c:v>
                </c:pt>
                <c:pt idx="778">
                  <c:v>166.72453703703701</c:v>
                </c:pt>
                <c:pt idx="779">
                  <c:v>166.72453703703701</c:v>
                </c:pt>
                <c:pt idx="780">
                  <c:v>165.91435185185185</c:v>
                </c:pt>
                <c:pt idx="781">
                  <c:v>165.91435185185185</c:v>
                </c:pt>
                <c:pt idx="782">
                  <c:v>165.91435185185185</c:v>
                </c:pt>
                <c:pt idx="783">
                  <c:v>165.91435185185185</c:v>
                </c:pt>
                <c:pt idx="784">
                  <c:v>165.91435185185185</c:v>
                </c:pt>
                <c:pt idx="785">
                  <c:v>165.91435185185185</c:v>
                </c:pt>
                <c:pt idx="786">
                  <c:v>165.91435185185185</c:v>
                </c:pt>
                <c:pt idx="787">
                  <c:v>165.91435185185185</c:v>
                </c:pt>
                <c:pt idx="788">
                  <c:v>165.91435185185185</c:v>
                </c:pt>
                <c:pt idx="789">
                  <c:v>165.91435185185185</c:v>
                </c:pt>
                <c:pt idx="790">
                  <c:v>165.91435185185185</c:v>
                </c:pt>
                <c:pt idx="791">
                  <c:v>165.91435185185185</c:v>
                </c:pt>
                <c:pt idx="792">
                  <c:v>165.91435185185185</c:v>
                </c:pt>
                <c:pt idx="793">
                  <c:v>165.91435185185185</c:v>
                </c:pt>
                <c:pt idx="794">
                  <c:v>165.91435185185185</c:v>
                </c:pt>
                <c:pt idx="795">
                  <c:v>165.91435185185185</c:v>
                </c:pt>
                <c:pt idx="796">
                  <c:v>165.91435185185185</c:v>
                </c:pt>
                <c:pt idx="797">
                  <c:v>165.91435185185185</c:v>
                </c:pt>
                <c:pt idx="798">
                  <c:v>165.91435185185185</c:v>
                </c:pt>
                <c:pt idx="799">
                  <c:v>165.91435185185185</c:v>
                </c:pt>
                <c:pt idx="800">
                  <c:v>165.91435185185185</c:v>
                </c:pt>
                <c:pt idx="801">
                  <c:v>165.91435185185185</c:v>
                </c:pt>
                <c:pt idx="802">
                  <c:v>165.91435185185185</c:v>
                </c:pt>
                <c:pt idx="803">
                  <c:v>165.91435185185185</c:v>
                </c:pt>
                <c:pt idx="804">
                  <c:v>165.91435185185185</c:v>
                </c:pt>
                <c:pt idx="805">
                  <c:v>177.02546296296299</c:v>
                </c:pt>
                <c:pt idx="806">
                  <c:v>177.02546296296299</c:v>
                </c:pt>
                <c:pt idx="807">
                  <c:v>177.02546296296299</c:v>
                </c:pt>
                <c:pt idx="808">
                  <c:v>177.02546296296299</c:v>
                </c:pt>
                <c:pt idx="809">
                  <c:v>177.02546296296299</c:v>
                </c:pt>
                <c:pt idx="810">
                  <c:v>177.02546296296299</c:v>
                </c:pt>
                <c:pt idx="811">
                  <c:v>177.02546296296299</c:v>
                </c:pt>
                <c:pt idx="812">
                  <c:v>177.02546296296299</c:v>
                </c:pt>
                <c:pt idx="813">
                  <c:v>177.02546296296299</c:v>
                </c:pt>
                <c:pt idx="814">
                  <c:v>177.02546296296299</c:v>
                </c:pt>
                <c:pt idx="815">
                  <c:v>177.02546296296299</c:v>
                </c:pt>
                <c:pt idx="816">
                  <c:v>177.02546296296299</c:v>
                </c:pt>
                <c:pt idx="817">
                  <c:v>177.02546296296299</c:v>
                </c:pt>
                <c:pt idx="818">
                  <c:v>177.02546296296299</c:v>
                </c:pt>
                <c:pt idx="819">
                  <c:v>177.02546296296299</c:v>
                </c:pt>
                <c:pt idx="820">
                  <c:v>177.02546296296299</c:v>
                </c:pt>
                <c:pt idx="821">
                  <c:v>177.02546296296299</c:v>
                </c:pt>
                <c:pt idx="822">
                  <c:v>177.02546296296299</c:v>
                </c:pt>
                <c:pt idx="823">
                  <c:v>177.02546296296299</c:v>
                </c:pt>
                <c:pt idx="824">
                  <c:v>177.02546296296299</c:v>
                </c:pt>
                <c:pt idx="825">
                  <c:v>172.91666666666669</c:v>
                </c:pt>
                <c:pt idx="826">
                  <c:v>172.91666666666669</c:v>
                </c:pt>
                <c:pt idx="827">
                  <c:v>172.91666666666669</c:v>
                </c:pt>
                <c:pt idx="828">
                  <c:v>172.91666666666669</c:v>
                </c:pt>
                <c:pt idx="829">
                  <c:v>172.91666666666669</c:v>
                </c:pt>
                <c:pt idx="830">
                  <c:v>172.91666666666669</c:v>
                </c:pt>
                <c:pt idx="831">
                  <c:v>172.91666666666669</c:v>
                </c:pt>
                <c:pt idx="832">
                  <c:v>172.91666666666669</c:v>
                </c:pt>
                <c:pt idx="833">
                  <c:v>172.91666666666669</c:v>
                </c:pt>
                <c:pt idx="834">
                  <c:v>172.91666666666669</c:v>
                </c:pt>
                <c:pt idx="835">
                  <c:v>172.91666666666669</c:v>
                </c:pt>
                <c:pt idx="836">
                  <c:v>172.91666666666669</c:v>
                </c:pt>
                <c:pt idx="837">
                  <c:v>172.91666666666669</c:v>
                </c:pt>
                <c:pt idx="838">
                  <c:v>172.91666666666669</c:v>
                </c:pt>
                <c:pt idx="839">
                  <c:v>172.91666666666669</c:v>
                </c:pt>
                <c:pt idx="840">
                  <c:v>172.91666666666669</c:v>
                </c:pt>
                <c:pt idx="841">
                  <c:v>172.91666666666669</c:v>
                </c:pt>
                <c:pt idx="842">
                  <c:v>172.91666666666669</c:v>
                </c:pt>
                <c:pt idx="843">
                  <c:v>172.91666666666669</c:v>
                </c:pt>
                <c:pt idx="844">
                  <c:v>172.91666666666669</c:v>
                </c:pt>
                <c:pt idx="845">
                  <c:v>175.3472222222222</c:v>
                </c:pt>
                <c:pt idx="846">
                  <c:v>175.3472222222222</c:v>
                </c:pt>
                <c:pt idx="847">
                  <c:v>175.3472222222222</c:v>
                </c:pt>
                <c:pt idx="848">
                  <c:v>175.3472222222222</c:v>
                </c:pt>
                <c:pt idx="849">
                  <c:v>175.3472222222222</c:v>
                </c:pt>
                <c:pt idx="850">
                  <c:v>175.3472222222222</c:v>
                </c:pt>
                <c:pt idx="851">
                  <c:v>175.3472222222222</c:v>
                </c:pt>
                <c:pt idx="852">
                  <c:v>175.3472222222222</c:v>
                </c:pt>
                <c:pt idx="853">
                  <c:v>175.3472222222222</c:v>
                </c:pt>
                <c:pt idx="854">
                  <c:v>175.3472222222222</c:v>
                </c:pt>
                <c:pt idx="855">
                  <c:v>175.3472222222222</c:v>
                </c:pt>
                <c:pt idx="856">
                  <c:v>175.3472222222222</c:v>
                </c:pt>
                <c:pt idx="857">
                  <c:v>175.3472222222222</c:v>
                </c:pt>
                <c:pt idx="858">
                  <c:v>175.3472222222222</c:v>
                </c:pt>
                <c:pt idx="859">
                  <c:v>175.3472222222222</c:v>
                </c:pt>
                <c:pt idx="860">
                  <c:v>175.3472222222222</c:v>
                </c:pt>
                <c:pt idx="861">
                  <c:v>175.3472222222222</c:v>
                </c:pt>
                <c:pt idx="862">
                  <c:v>175.3472222222222</c:v>
                </c:pt>
                <c:pt idx="863">
                  <c:v>175.3472222222222</c:v>
                </c:pt>
                <c:pt idx="864">
                  <c:v>175.3472222222222</c:v>
                </c:pt>
                <c:pt idx="865">
                  <c:v>175.2314814814815</c:v>
                </c:pt>
                <c:pt idx="866">
                  <c:v>175.2314814814815</c:v>
                </c:pt>
                <c:pt idx="867">
                  <c:v>175.2314814814815</c:v>
                </c:pt>
                <c:pt idx="868">
                  <c:v>175.2314814814815</c:v>
                </c:pt>
                <c:pt idx="869">
                  <c:v>175.2314814814815</c:v>
                </c:pt>
                <c:pt idx="870">
                  <c:v>175.2314814814815</c:v>
                </c:pt>
                <c:pt idx="871">
                  <c:v>175.2314814814815</c:v>
                </c:pt>
                <c:pt idx="872">
                  <c:v>175.2314814814815</c:v>
                </c:pt>
                <c:pt idx="873">
                  <c:v>175.2314814814815</c:v>
                </c:pt>
                <c:pt idx="874">
                  <c:v>175.2314814814815</c:v>
                </c:pt>
                <c:pt idx="875">
                  <c:v>175.2314814814815</c:v>
                </c:pt>
                <c:pt idx="876">
                  <c:v>175.2314814814815</c:v>
                </c:pt>
                <c:pt idx="877">
                  <c:v>175.2314814814815</c:v>
                </c:pt>
                <c:pt idx="878">
                  <c:v>175.2314814814815</c:v>
                </c:pt>
                <c:pt idx="879">
                  <c:v>175.2314814814815</c:v>
                </c:pt>
                <c:pt idx="880">
                  <c:v>175.2314814814815</c:v>
                </c:pt>
                <c:pt idx="881">
                  <c:v>175.2314814814815</c:v>
                </c:pt>
                <c:pt idx="882">
                  <c:v>175.2314814814815</c:v>
                </c:pt>
                <c:pt idx="883">
                  <c:v>175.2314814814815</c:v>
                </c:pt>
                <c:pt idx="884">
                  <c:v>175.2314814814815</c:v>
                </c:pt>
                <c:pt idx="885">
                  <c:v>175.2314814814815</c:v>
                </c:pt>
                <c:pt idx="886">
                  <c:v>175.2314814814815</c:v>
                </c:pt>
                <c:pt idx="887">
                  <c:v>175.2314814814815</c:v>
                </c:pt>
                <c:pt idx="888">
                  <c:v>175.2314814814815</c:v>
                </c:pt>
                <c:pt idx="889">
                  <c:v>175.2314814814815</c:v>
                </c:pt>
                <c:pt idx="890">
                  <c:v>174.13194444444443</c:v>
                </c:pt>
                <c:pt idx="891">
                  <c:v>174.13194444444443</c:v>
                </c:pt>
                <c:pt idx="892">
                  <c:v>174.13194444444443</c:v>
                </c:pt>
                <c:pt idx="893">
                  <c:v>174.13194444444443</c:v>
                </c:pt>
                <c:pt idx="894">
                  <c:v>174.13194444444443</c:v>
                </c:pt>
                <c:pt idx="895">
                  <c:v>174.13194444444443</c:v>
                </c:pt>
                <c:pt idx="896">
                  <c:v>174.13194444444443</c:v>
                </c:pt>
                <c:pt idx="897">
                  <c:v>174.13194444444443</c:v>
                </c:pt>
                <c:pt idx="898">
                  <c:v>174.13194444444443</c:v>
                </c:pt>
                <c:pt idx="899">
                  <c:v>174.13194444444443</c:v>
                </c:pt>
                <c:pt idx="900">
                  <c:v>174.13194444444443</c:v>
                </c:pt>
                <c:pt idx="901">
                  <c:v>174.13194444444443</c:v>
                </c:pt>
                <c:pt idx="902">
                  <c:v>174.13194444444443</c:v>
                </c:pt>
                <c:pt idx="903">
                  <c:v>174.13194444444443</c:v>
                </c:pt>
                <c:pt idx="904">
                  <c:v>174.13194444444443</c:v>
                </c:pt>
                <c:pt idx="905">
                  <c:v>174.13194444444443</c:v>
                </c:pt>
                <c:pt idx="906">
                  <c:v>174.13194444444443</c:v>
                </c:pt>
                <c:pt idx="907">
                  <c:v>174.13194444444443</c:v>
                </c:pt>
                <c:pt idx="908">
                  <c:v>174.13194444444443</c:v>
                </c:pt>
                <c:pt idx="909">
                  <c:v>174.13194444444443</c:v>
                </c:pt>
                <c:pt idx="910">
                  <c:v>178.99305555555557</c:v>
                </c:pt>
                <c:pt idx="911">
                  <c:v>178.99305555555557</c:v>
                </c:pt>
                <c:pt idx="912">
                  <c:v>178.99305555555557</c:v>
                </c:pt>
                <c:pt idx="913">
                  <c:v>178.99305555555557</c:v>
                </c:pt>
                <c:pt idx="914">
                  <c:v>178.99305555555557</c:v>
                </c:pt>
                <c:pt idx="915">
                  <c:v>178.99305555555557</c:v>
                </c:pt>
                <c:pt idx="916">
                  <c:v>178.99305555555557</c:v>
                </c:pt>
                <c:pt idx="917">
                  <c:v>178.99305555555557</c:v>
                </c:pt>
                <c:pt idx="918">
                  <c:v>178.99305555555557</c:v>
                </c:pt>
                <c:pt idx="919">
                  <c:v>178.99305555555557</c:v>
                </c:pt>
                <c:pt idx="920">
                  <c:v>178.99305555555557</c:v>
                </c:pt>
                <c:pt idx="921">
                  <c:v>178.99305555555557</c:v>
                </c:pt>
                <c:pt idx="922">
                  <c:v>178.99305555555557</c:v>
                </c:pt>
                <c:pt idx="923">
                  <c:v>178.99305555555557</c:v>
                </c:pt>
                <c:pt idx="924">
                  <c:v>178.99305555555557</c:v>
                </c:pt>
                <c:pt idx="925">
                  <c:v>178.99305555555557</c:v>
                </c:pt>
                <c:pt idx="926">
                  <c:v>178.99305555555557</c:v>
                </c:pt>
                <c:pt idx="927">
                  <c:v>178.99305555555557</c:v>
                </c:pt>
                <c:pt idx="928">
                  <c:v>178.99305555555557</c:v>
                </c:pt>
                <c:pt idx="929">
                  <c:v>178.99305555555557</c:v>
                </c:pt>
                <c:pt idx="930">
                  <c:v>178.99305555555557</c:v>
                </c:pt>
                <c:pt idx="931">
                  <c:v>178.99305555555557</c:v>
                </c:pt>
                <c:pt idx="932">
                  <c:v>178.99305555555557</c:v>
                </c:pt>
                <c:pt idx="933">
                  <c:v>178.99305555555557</c:v>
                </c:pt>
                <c:pt idx="934">
                  <c:v>178.99305555555557</c:v>
                </c:pt>
                <c:pt idx="935">
                  <c:v>186.74768518518519</c:v>
                </c:pt>
                <c:pt idx="936">
                  <c:v>186.74768518518519</c:v>
                </c:pt>
                <c:pt idx="937">
                  <c:v>186.74768518518519</c:v>
                </c:pt>
                <c:pt idx="938">
                  <c:v>186.74768518518519</c:v>
                </c:pt>
                <c:pt idx="939">
                  <c:v>186.74768518518519</c:v>
                </c:pt>
                <c:pt idx="940">
                  <c:v>186.74768518518519</c:v>
                </c:pt>
                <c:pt idx="941">
                  <c:v>186.74768518518519</c:v>
                </c:pt>
                <c:pt idx="942">
                  <c:v>186.74768518518519</c:v>
                </c:pt>
                <c:pt idx="943">
                  <c:v>186.74768518518519</c:v>
                </c:pt>
                <c:pt idx="944">
                  <c:v>186.74768518518519</c:v>
                </c:pt>
                <c:pt idx="945">
                  <c:v>186.74768518518519</c:v>
                </c:pt>
                <c:pt idx="946">
                  <c:v>186.74768518518519</c:v>
                </c:pt>
                <c:pt idx="947">
                  <c:v>186.74768518518519</c:v>
                </c:pt>
                <c:pt idx="948">
                  <c:v>186.74768518518519</c:v>
                </c:pt>
                <c:pt idx="949">
                  <c:v>186.74768518518519</c:v>
                </c:pt>
                <c:pt idx="950">
                  <c:v>186.74768518518519</c:v>
                </c:pt>
                <c:pt idx="951">
                  <c:v>186.74768518518519</c:v>
                </c:pt>
                <c:pt idx="952">
                  <c:v>186.74768518518519</c:v>
                </c:pt>
                <c:pt idx="953">
                  <c:v>186.74768518518519</c:v>
                </c:pt>
                <c:pt idx="954">
                  <c:v>186.74768518518519</c:v>
                </c:pt>
                <c:pt idx="955">
                  <c:v>193.5185185185185</c:v>
                </c:pt>
                <c:pt idx="956">
                  <c:v>193.5185185185185</c:v>
                </c:pt>
                <c:pt idx="957">
                  <c:v>193.5185185185185</c:v>
                </c:pt>
                <c:pt idx="958">
                  <c:v>193.5185185185185</c:v>
                </c:pt>
                <c:pt idx="959">
                  <c:v>193.5185185185185</c:v>
                </c:pt>
                <c:pt idx="960">
                  <c:v>193.5185185185185</c:v>
                </c:pt>
                <c:pt idx="961">
                  <c:v>193.5185185185185</c:v>
                </c:pt>
                <c:pt idx="962">
                  <c:v>193.5185185185185</c:v>
                </c:pt>
                <c:pt idx="963">
                  <c:v>193.5185185185185</c:v>
                </c:pt>
                <c:pt idx="964">
                  <c:v>193.5185185185185</c:v>
                </c:pt>
                <c:pt idx="965">
                  <c:v>193.5185185185185</c:v>
                </c:pt>
                <c:pt idx="966">
                  <c:v>193.5185185185185</c:v>
                </c:pt>
                <c:pt idx="967">
                  <c:v>193.5185185185185</c:v>
                </c:pt>
                <c:pt idx="968">
                  <c:v>193.5185185185185</c:v>
                </c:pt>
                <c:pt idx="969">
                  <c:v>193.5185185185185</c:v>
                </c:pt>
                <c:pt idx="970">
                  <c:v>193.5185185185185</c:v>
                </c:pt>
                <c:pt idx="971">
                  <c:v>193.5185185185185</c:v>
                </c:pt>
                <c:pt idx="972">
                  <c:v>193.5185185185185</c:v>
                </c:pt>
                <c:pt idx="973">
                  <c:v>193.5185185185185</c:v>
                </c:pt>
                <c:pt idx="974">
                  <c:v>193.5185185185185</c:v>
                </c:pt>
                <c:pt idx="975">
                  <c:v>177.02546296296299</c:v>
                </c:pt>
                <c:pt idx="976">
                  <c:v>177.02546296296299</c:v>
                </c:pt>
                <c:pt idx="977">
                  <c:v>177.02546296296299</c:v>
                </c:pt>
                <c:pt idx="978">
                  <c:v>177.02546296296299</c:v>
                </c:pt>
                <c:pt idx="979">
                  <c:v>177.02546296296299</c:v>
                </c:pt>
                <c:pt idx="980">
                  <c:v>177.02546296296299</c:v>
                </c:pt>
                <c:pt idx="981">
                  <c:v>177.02546296296299</c:v>
                </c:pt>
                <c:pt idx="982">
                  <c:v>177.02546296296299</c:v>
                </c:pt>
                <c:pt idx="983">
                  <c:v>177.02546296296299</c:v>
                </c:pt>
                <c:pt idx="984">
                  <c:v>177.02546296296299</c:v>
                </c:pt>
                <c:pt idx="985">
                  <c:v>177.02546296296299</c:v>
                </c:pt>
                <c:pt idx="986">
                  <c:v>177.02546296296299</c:v>
                </c:pt>
                <c:pt idx="987">
                  <c:v>177.02546296296299</c:v>
                </c:pt>
                <c:pt idx="988">
                  <c:v>177.02546296296299</c:v>
                </c:pt>
                <c:pt idx="989">
                  <c:v>177.02546296296299</c:v>
                </c:pt>
                <c:pt idx="990">
                  <c:v>177.02546296296299</c:v>
                </c:pt>
                <c:pt idx="991">
                  <c:v>177.02546296296299</c:v>
                </c:pt>
                <c:pt idx="992">
                  <c:v>177.02546296296299</c:v>
                </c:pt>
                <c:pt idx="993">
                  <c:v>177.02546296296299</c:v>
                </c:pt>
                <c:pt idx="994">
                  <c:v>177.02546296296299</c:v>
                </c:pt>
                <c:pt idx="995">
                  <c:v>177.02546296296299</c:v>
                </c:pt>
                <c:pt idx="996">
                  <c:v>177.02546296296299</c:v>
                </c:pt>
                <c:pt idx="997">
                  <c:v>177.02546296296299</c:v>
                </c:pt>
                <c:pt idx="998">
                  <c:v>177.02546296296299</c:v>
                </c:pt>
                <c:pt idx="999">
                  <c:v>177.02546296296299</c:v>
                </c:pt>
                <c:pt idx="1000">
                  <c:v>159.08564814814815</c:v>
                </c:pt>
                <c:pt idx="1001">
                  <c:v>159.08564814814815</c:v>
                </c:pt>
                <c:pt idx="1002">
                  <c:v>159.08564814814815</c:v>
                </c:pt>
                <c:pt idx="1003">
                  <c:v>159.08564814814815</c:v>
                </c:pt>
                <c:pt idx="1004">
                  <c:v>159.08564814814815</c:v>
                </c:pt>
                <c:pt idx="1005">
                  <c:v>159.08564814814815</c:v>
                </c:pt>
                <c:pt idx="1006">
                  <c:v>159.08564814814815</c:v>
                </c:pt>
                <c:pt idx="1007">
                  <c:v>159.08564814814815</c:v>
                </c:pt>
                <c:pt idx="1008">
                  <c:v>159.08564814814815</c:v>
                </c:pt>
                <c:pt idx="1009">
                  <c:v>159.08564814814815</c:v>
                </c:pt>
                <c:pt idx="1010">
                  <c:v>159.08564814814815</c:v>
                </c:pt>
                <c:pt idx="1011">
                  <c:v>159.08564814814815</c:v>
                </c:pt>
                <c:pt idx="1012">
                  <c:v>159.08564814814815</c:v>
                </c:pt>
                <c:pt idx="1013">
                  <c:v>159.08564814814815</c:v>
                </c:pt>
                <c:pt idx="1014">
                  <c:v>159.08564814814815</c:v>
                </c:pt>
                <c:pt idx="1015">
                  <c:v>159.08564814814815</c:v>
                </c:pt>
                <c:pt idx="1016">
                  <c:v>159.08564814814815</c:v>
                </c:pt>
                <c:pt idx="1017">
                  <c:v>159.08564814814815</c:v>
                </c:pt>
                <c:pt idx="1018">
                  <c:v>159.08564814814815</c:v>
                </c:pt>
                <c:pt idx="1019">
                  <c:v>159.08564814814815</c:v>
                </c:pt>
                <c:pt idx="1020">
                  <c:v>149.42129629629628</c:v>
                </c:pt>
                <c:pt idx="1021">
                  <c:v>149.42129629629628</c:v>
                </c:pt>
                <c:pt idx="1022">
                  <c:v>149.42129629629628</c:v>
                </c:pt>
                <c:pt idx="1023">
                  <c:v>149.42129629629628</c:v>
                </c:pt>
                <c:pt idx="1024">
                  <c:v>149.42129629629628</c:v>
                </c:pt>
                <c:pt idx="1025">
                  <c:v>149.42129629629628</c:v>
                </c:pt>
                <c:pt idx="1026">
                  <c:v>149.42129629629628</c:v>
                </c:pt>
                <c:pt idx="1027">
                  <c:v>149.42129629629628</c:v>
                </c:pt>
                <c:pt idx="1028">
                  <c:v>149.42129629629628</c:v>
                </c:pt>
                <c:pt idx="1029">
                  <c:v>149.42129629629628</c:v>
                </c:pt>
                <c:pt idx="1030">
                  <c:v>149.42129629629628</c:v>
                </c:pt>
                <c:pt idx="1031">
                  <c:v>149.42129629629628</c:v>
                </c:pt>
                <c:pt idx="1032">
                  <c:v>149.42129629629628</c:v>
                </c:pt>
                <c:pt idx="1033">
                  <c:v>149.42129629629628</c:v>
                </c:pt>
                <c:pt idx="1034">
                  <c:v>149.42129629629628</c:v>
                </c:pt>
                <c:pt idx="1035">
                  <c:v>149.42129629629628</c:v>
                </c:pt>
                <c:pt idx="1036">
                  <c:v>149.42129629629628</c:v>
                </c:pt>
                <c:pt idx="1037">
                  <c:v>149.42129629629628</c:v>
                </c:pt>
                <c:pt idx="1038">
                  <c:v>149.42129629629628</c:v>
                </c:pt>
                <c:pt idx="1039">
                  <c:v>149.42129629629628</c:v>
                </c:pt>
                <c:pt idx="1040">
                  <c:v>148.2060185185185</c:v>
                </c:pt>
                <c:pt idx="1041">
                  <c:v>148.2060185185185</c:v>
                </c:pt>
                <c:pt idx="1042">
                  <c:v>148.2060185185185</c:v>
                </c:pt>
                <c:pt idx="1043">
                  <c:v>148.2060185185185</c:v>
                </c:pt>
                <c:pt idx="1044">
                  <c:v>148.2060185185185</c:v>
                </c:pt>
                <c:pt idx="1045">
                  <c:v>148.2060185185185</c:v>
                </c:pt>
                <c:pt idx="1046">
                  <c:v>148.2060185185185</c:v>
                </c:pt>
                <c:pt idx="1047">
                  <c:v>148.2060185185185</c:v>
                </c:pt>
                <c:pt idx="1048">
                  <c:v>148.2060185185185</c:v>
                </c:pt>
                <c:pt idx="1049">
                  <c:v>148.2060185185185</c:v>
                </c:pt>
                <c:pt idx="1050">
                  <c:v>148.2060185185185</c:v>
                </c:pt>
                <c:pt idx="1051">
                  <c:v>148.2060185185185</c:v>
                </c:pt>
                <c:pt idx="1052">
                  <c:v>148.2060185185185</c:v>
                </c:pt>
                <c:pt idx="1053">
                  <c:v>148.2060185185185</c:v>
                </c:pt>
                <c:pt idx="1054">
                  <c:v>148.2060185185185</c:v>
                </c:pt>
                <c:pt idx="1055">
                  <c:v>148.2060185185185</c:v>
                </c:pt>
                <c:pt idx="1056">
                  <c:v>148.2060185185185</c:v>
                </c:pt>
                <c:pt idx="1057">
                  <c:v>148.2060185185185</c:v>
                </c:pt>
                <c:pt idx="1058">
                  <c:v>148.2060185185185</c:v>
                </c:pt>
                <c:pt idx="1059">
                  <c:v>148.2060185185185</c:v>
                </c:pt>
                <c:pt idx="1060">
                  <c:v>148.2060185185185</c:v>
                </c:pt>
                <c:pt idx="1061">
                  <c:v>148.2060185185185</c:v>
                </c:pt>
                <c:pt idx="1062">
                  <c:v>148.2060185185185</c:v>
                </c:pt>
                <c:pt idx="1063">
                  <c:v>148.2060185185185</c:v>
                </c:pt>
                <c:pt idx="1064">
                  <c:v>148.2060185185185</c:v>
                </c:pt>
                <c:pt idx="1065">
                  <c:v>131.53935185185185</c:v>
                </c:pt>
                <c:pt idx="1066">
                  <c:v>131.53935185185185</c:v>
                </c:pt>
                <c:pt idx="1067">
                  <c:v>131.53935185185185</c:v>
                </c:pt>
                <c:pt idx="1068">
                  <c:v>131.53935185185185</c:v>
                </c:pt>
                <c:pt idx="1069">
                  <c:v>131.53935185185185</c:v>
                </c:pt>
                <c:pt idx="1070">
                  <c:v>131.53935185185185</c:v>
                </c:pt>
                <c:pt idx="1071">
                  <c:v>131.53935185185185</c:v>
                </c:pt>
                <c:pt idx="1072">
                  <c:v>131.53935185185185</c:v>
                </c:pt>
                <c:pt idx="1073">
                  <c:v>131.53935185185185</c:v>
                </c:pt>
                <c:pt idx="1074">
                  <c:v>131.53935185185185</c:v>
                </c:pt>
                <c:pt idx="1075">
                  <c:v>131.53935185185185</c:v>
                </c:pt>
                <c:pt idx="1076">
                  <c:v>131.53935185185185</c:v>
                </c:pt>
                <c:pt idx="1077">
                  <c:v>131.53935185185185</c:v>
                </c:pt>
                <c:pt idx="1078">
                  <c:v>131.53935185185185</c:v>
                </c:pt>
                <c:pt idx="1079">
                  <c:v>131.53935185185185</c:v>
                </c:pt>
                <c:pt idx="1080">
                  <c:v>131.53935185185185</c:v>
                </c:pt>
                <c:pt idx="1081">
                  <c:v>131.53935185185185</c:v>
                </c:pt>
                <c:pt idx="1082">
                  <c:v>131.53935185185185</c:v>
                </c:pt>
                <c:pt idx="1083">
                  <c:v>131.53935185185185</c:v>
                </c:pt>
                <c:pt idx="1084">
                  <c:v>131.53935185185185</c:v>
                </c:pt>
                <c:pt idx="1085">
                  <c:v>114.81481481481481</c:v>
                </c:pt>
                <c:pt idx="1086">
                  <c:v>114.81481481481481</c:v>
                </c:pt>
                <c:pt idx="1087">
                  <c:v>114.81481481481481</c:v>
                </c:pt>
                <c:pt idx="1088">
                  <c:v>114.81481481481481</c:v>
                </c:pt>
                <c:pt idx="1089">
                  <c:v>114.81481481481481</c:v>
                </c:pt>
                <c:pt idx="1090">
                  <c:v>114.81481481481481</c:v>
                </c:pt>
                <c:pt idx="1091">
                  <c:v>114.81481481481481</c:v>
                </c:pt>
                <c:pt idx="1092">
                  <c:v>114.81481481481481</c:v>
                </c:pt>
                <c:pt idx="1093">
                  <c:v>114.81481481481481</c:v>
                </c:pt>
                <c:pt idx="1094">
                  <c:v>114.81481481481481</c:v>
                </c:pt>
                <c:pt idx="1095">
                  <c:v>114.81481481481481</c:v>
                </c:pt>
                <c:pt idx="1096">
                  <c:v>114.81481481481481</c:v>
                </c:pt>
                <c:pt idx="1097">
                  <c:v>114.81481481481481</c:v>
                </c:pt>
                <c:pt idx="1098">
                  <c:v>114.81481481481481</c:v>
                </c:pt>
                <c:pt idx="1099">
                  <c:v>114.81481481481481</c:v>
                </c:pt>
                <c:pt idx="1100">
                  <c:v>114.81481481481481</c:v>
                </c:pt>
                <c:pt idx="1101">
                  <c:v>114.81481481481481</c:v>
                </c:pt>
                <c:pt idx="1102">
                  <c:v>114.81481481481481</c:v>
                </c:pt>
                <c:pt idx="1103">
                  <c:v>114.81481481481481</c:v>
                </c:pt>
                <c:pt idx="1104">
                  <c:v>114.81481481481481</c:v>
                </c:pt>
                <c:pt idx="1105">
                  <c:v>107.52314814814817</c:v>
                </c:pt>
                <c:pt idx="1106">
                  <c:v>107.52314814814817</c:v>
                </c:pt>
                <c:pt idx="1107">
                  <c:v>107.52314814814817</c:v>
                </c:pt>
                <c:pt idx="1108">
                  <c:v>107.52314814814817</c:v>
                </c:pt>
                <c:pt idx="1109">
                  <c:v>107.52314814814817</c:v>
                </c:pt>
                <c:pt idx="1110">
                  <c:v>107.52314814814817</c:v>
                </c:pt>
                <c:pt idx="1111">
                  <c:v>107.52314814814817</c:v>
                </c:pt>
                <c:pt idx="1112">
                  <c:v>107.52314814814817</c:v>
                </c:pt>
                <c:pt idx="1113">
                  <c:v>107.52314814814817</c:v>
                </c:pt>
                <c:pt idx="1114">
                  <c:v>107.52314814814817</c:v>
                </c:pt>
                <c:pt idx="1115">
                  <c:v>107.52314814814817</c:v>
                </c:pt>
                <c:pt idx="1116">
                  <c:v>107.52314814814817</c:v>
                </c:pt>
                <c:pt idx="1117">
                  <c:v>107.52314814814817</c:v>
                </c:pt>
                <c:pt idx="1118">
                  <c:v>107.52314814814817</c:v>
                </c:pt>
                <c:pt idx="1119">
                  <c:v>107.52314814814817</c:v>
                </c:pt>
                <c:pt idx="1120">
                  <c:v>107.52314814814817</c:v>
                </c:pt>
                <c:pt idx="1121">
                  <c:v>107.52314814814817</c:v>
                </c:pt>
                <c:pt idx="1122">
                  <c:v>107.52314814814817</c:v>
                </c:pt>
                <c:pt idx="1123">
                  <c:v>107.52314814814817</c:v>
                </c:pt>
                <c:pt idx="1124">
                  <c:v>107.52314814814817</c:v>
                </c:pt>
                <c:pt idx="1125">
                  <c:v>107.52314814814817</c:v>
                </c:pt>
                <c:pt idx="1126">
                  <c:v>107.52314814814817</c:v>
                </c:pt>
                <c:pt idx="1127">
                  <c:v>107.52314814814817</c:v>
                </c:pt>
                <c:pt idx="1128">
                  <c:v>107.52314814814817</c:v>
                </c:pt>
                <c:pt idx="1129">
                  <c:v>107.52314814814817</c:v>
                </c:pt>
                <c:pt idx="1130">
                  <c:v>108.62268518518519</c:v>
                </c:pt>
                <c:pt idx="1131">
                  <c:v>108.62268518518519</c:v>
                </c:pt>
                <c:pt idx="1132">
                  <c:v>108.62268518518519</c:v>
                </c:pt>
                <c:pt idx="1133">
                  <c:v>108.62268518518519</c:v>
                </c:pt>
                <c:pt idx="1134">
                  <c:v>108.62268518518519</c:v>
                </c:pt>
                <c:pt idx="1135">
                  <c:v>108.62268518518519</c:v>
                </c:pt>
                <c:pt idx="1136">
                  <c:v>108.62268518518519</c:v>
                </c:pt>
                <c:pt idx="1137">
                  <c:v>108.62268518518519</c:v>
                </c:pt>
                <c:pt idx="1138">
                  <c:v>108.62268518518519</c:v>
                </c:pt>
                <c:pt idx="1139">
                  <c:v>108.62268518518519</c:v>
                </c:pt>
                <c:pt idx="1140">
                  <c:v>108.62268518518519</c:v>
                </c:pt>
                <c:pt idx="1141">
                  <c:v>108.62268518518519</c:v>
                </c:pt>
                <c:pt idx="1142">
                  <c:v>108.62268518518519</c:v>
                </c:pt>
                <c:pt idx="1143">
                  <c:v>108.62268518518519</c:v>
                </c:pt>
                <c:pt idx="1144">
                  <c:v>108.62268518518519</c:v>
                </c:pt>
                <c:pt idx="1145">
                  <c:v>108.62268518518519</c:v>
                </c:pt>
                <c:pt idx="1146">
                  <c:v>108.62268518518519</c:v>
                </c:pt>
                <c:pt idx="1147">
                  <c:v>108.62268518518519</c:v>
                </c:pt>
                <c:pt idx="1148">
                  <c:v>108.62268518518519</c:v>
                </c:pt>
                <c:pt idx="1149">
                  <c:v>108.62268518518519</c:v>
                </c:pt>
                <c:pt idx="1150">
                  <c:v>108.62268518518519</c:v>
                </c:pt>
                <c:pt idx="1151">
                  <c:v>108.62268518518519</c:v>
                </c:pt>
                <c:pt idx="1152">
                  <c:v>108.62268518518519</c:v>
                </c:pt>
                <c:pt idx="1153">
                  <c:v>108.62268518518519</c:v>
                </c:pt>
                <c:pt idx="1154">
                  <c:v>108.62268518518519</c:v>
                </c:pt>
                <c:pt idx="1155">
                  <c:v>108.62268518518519</c:v>
                </c:pt>
                <c:pt idx="1156">
                  <c:v>108.62268518518519</c:v>
                </c:pt>
                <c:pt idx="1157">
                  <c:v>108.62268518518519</c:v>
                </c:pt>
                <c:pt idx="1158">
                  <c:v>108.62268518518519</c:v>
                </c:pt>
                <c:pt idx="1159">
                  <c:v>108.62268518518519</c:v>
                </c:pt>
                <c:pt idx="1160">
                  <c:v>108.62268518518519</c:v>
                </c:pt>
                <c:pt idx="1161">
                  <c:v>108.62268518518519</c:v>
                </c:pt>
                <c:pt idx="1162">
                  <c:v>108.62268518518519</c:v>
                </c:pt>
                <c:pt idx="1163">
                  <c:v>108.62268518518519</c:v>
                </c:pt>
                <c:pt idx="1164">
                  <c:v>108.62268518518519</c:v>
                </c:pt>
                <c:pt idx="1165">
                  <c:v>108.62268518518519</c:v>
                </c:pt>
                <c:pt idx="1166">
                  <c:v>108.62268518518519</c:v>
                </c:pt>
                <c:pt idx="1167">
                  <c:v>108.62268518518519</c:v>
                </c:pt>
                <c:pt idx="1168">
                  <c:v>108.62268518518519</c:v>
                </c:pt>
                <c:pt idx="1169">
                  <c:v>108.62268518518519</c:v>
                </c:pt>
                <c:pt idx="1170">
                  <c:v>113.65740740740739</c:v>
                </c:pt>
                <c:pt idx="1171">
                  <c:v>113.65740740740739</c:v>
                </c:pt>
                <c:pt idx="1172">
                  <c:v>113.65740740740739</c:v>
                </c:pt>
                <c:pt idx="1173">
                  <c:v>113.65740740740739</c:v>
                </c:pt>
                <c:pt idx="1174">
                  <c:v>113.65740740740739</c:v>
                </c:pt>
                <c:pt idx="1175">
                  <c:v>113.65740740740739</c:v>
                </c:pt>
                <c:pt idx="1176">
                  <c:v>113.65740740740739</c:v>
                </c:pt>
                <c:pt idx="1177">
                  <c:v>113.65740740740739</c:v>
                </c:pt>
                <c:pt idx="1178">
                  <c:v>113.65740740740739</c:v>
                </c:pt>
                <c:pt idx="1179">
                  <c:v>113.65740740740739</c:v>
                </c:pt>
                <c:pt idx="1180">
                  <c:v>113.65740740740739</c:v>
                </c:pt>
                <c:pt idx="1181">
                  <c:v>113.65740740740739</c:v>
                </c:pt>
                <c:pt idx="1182">
                  <c:v>113.65740740740739</c:v>
                </c:pt>
                <c:pt idx="1183">
                  <c:v>113.65740740740739</c:v>
                </c:pt>
                <c:pt idx="1184">
                  <c:v>113.65740740740739</c:v>
                </c:pt>
                <c:pt idx="1185">
                  <c:v>113.65740740740739</c:v>
                </c:pt>
                <c:pt idx="1186">
                  <c:v>113.65740740740739</c:v>
                </c:pt>
                <c:pt idx="1187">
                  <c:v>113.65740740740739</c:v>
                </c:pt>
                <c:pt idx="1188">
                  <c:v>113.65740740740739</c:v>
                </c:pt>
                <c:pt idx="1189">
                  <c:v>113.65740740740739</c:v>
                </c:pt>
                <c:pt idx="1190">
                  <c:v>113.65740740740739</c:v>
                </c:pt>
                <c:pt idx="1191">
                  <c:v>113.65740740740739</c:v>
                </c:pt>
                <c:pt idx="1192">
                  <c:v>113.65740740740739</c:v>
                </c:pt>
                <c:pt idx="1193">
                  <c:v>113.65740740740739</c:v>
                </c:pt>
                <c:pt idx="1194">
                  <c:v>113.65740740740739</c:v>
                </c:pt>
                <c:pt idx="1195">
                  <c:v>130.9027777777778</c:v>
                </c:pt>
                <c:pt idx="1196">
                  <c:v>130.9027777777778</c:v>
                </c:pt>
                <c:pt idx="1197">
                  <c:v>130.9027777777778</c:v>
                </c:pt>
                <c:pt idx="1198">
                  <c:v>130.9027777777778</c:v>
                </c:pt>
                <c:pt idx="1199">
                  <c:v>130.9027777777778</c:v>
                </c:pt>
                <c:pt idx="1200">
                  <c:v>130.9027777777778</c:v>
                </c:pt>
                <c:pt idx="1201">
                  <c:v>130.9027777777778</c:v>
                </c:pt>
                <c:pt idx="1202">
                  <c:v>130.9027777777778</c:v>
                </c:pt>
                <c:pt idx="1203">
                  <c:v>130.9027777777778</c:v>
                </c:pt>
                <c:pt idx="1204">
                  <c:v>130.9027777777778</c:v>
                </c:pt>
                <c:pt idx="1205">
                  <c:v>130.9027777777778</c:v>
                </c:pt>
                <c:pt idx="1206">
                  <c:v>130.9027777777778</c:v>
                </c:pt>
                <c:pt idx="1207">
                  <c:v>130.9027777777778</c:v>
                </c:pt>
                <c:pt idx="1208">
                  <c:v>130.9027777777778</c:v>
                </c:pt>
                <c:pt idx="1209">
                  <c:v>130.9027777777778</c:v>
                </c:pt>
                <c:pt idx="1210">
                  <c:v>130.9027777777778</c:v>
                </c:pt>
                <c:pt idx="1211">
                  <c:v>130.9027777777778</c:v>
                </c:pt>
                <c:pt idx="1212">
                  <c:v>130.9027777777778</c:v>
                </c:pt>
                <c:pt idx="1213">
                  <c:v>130.9027777777778</c:v>
                </c:pt>
                <c:pt idx="1214">
                  <c:v>130.9027777777778</c:v>
                </c:pt>
                <c:pt idx="1215">
                  <c:v>121.9328703703704</c:v>
                </c:pt>
                <c:pt idx="1216">
                  <c:v>121.9328703703704</c:v>
                </c:pt>
                <c:pt idx="1217">
                  <c:v>121.9328703703704</c:v>
                </c:pt>
                <c:pt idx="1218">
                  <c:v>121.9328703703704</c:v>
                </c:pt>
                <c:pt idx="1219">
                  <c:v>121.9328703703704</c:v>
                </c:pt>
                <c:pt idx="1220">
                  <c:v>121.9328703703704</c:v>
                </c:pt>
                <c:pt idx="1221">
                  <c:v>121.9328703703704</c:v>
                </c:pt>
                <c:pt idx="1222">
                  <c:v>121.9328703703704</c:v>
                </c:pt>
                <c:pt idx="1223">
                  <c:v>121.9328703703704</c:v>
                </c:pt>
                <c:pt idx="1224">
                  <c:v>121.9328703703704</c:v>
                </c:pt>
                <c:pt idx="1225">
                  <c:v>121.9328703703704</c:v>
                </c:pt>
                <c:pt idx="1226">
                  <c:v>121.9328703703704</c:v>
                </c:pt>
                <c:pt idx="1227">
                  <c:v>121.9328703703704</c:v>
                </c:pt>
                <c:pt idx="1228">
                  <c:v>121.9328703703704</c:v>
                </c:pt>
                <c:pt idx="1229">
                  <c:v>121.9328703703704</c:v>
                </c:pt>
                <c:pt idx="1230">
                  <c:v>121.9328703703704</c:v>
                </c:pt>
                <c:pt idx="1231">
                  <c:v>121.9328703703704</c:v>
                </c:pt>
                <c:pt idx="1232">
                  <c:v>121.9328703703704</c:v>
                </c:pt>
                <c:pt idx="1233">
                  <c:v>121.9328703703704</c:v>
                </c:pt>
                <c:pt idx="1234">
                  <c:v>121.9328703703704</c:v>
                </c:pt>
                <c:pt idx="1235">
                  <c:v>129.80324074074073</c:v>
                </c:pt>
                <c:pt idx="1236">
                  <c:v>129.80324074074073</c:v>
                </c:pt>
                <c:pt idx="1237">
                  <c:v>129.80324074074073</c:v>
                </c:pt>
                <c:pt idx="1238">
                  <c:v>129.80324074074073</c:v>
                </c:pt>
                <c:pt idx="1239">
                  <c:v>129.80324074074073</c:v>
                </c:pt>
                <c:pt idx="1240">
                  <c:v>129.80324074074073</c:v>
                </c:pt>
                <c:pt idx="1241">
                  <c:v>129.80324074074073</c:v>
                </c:pt>
                <c:pt idx="1242">
                  <c:v>129.80324074074073</c:v>
                </c:pt>
                <c:pt idx="1243">
                  <c:v>129.80324074074073</c:v>
                </c:pt>
                <c:pt idx="1244">
                  <c:v>129.80324074074073</c:v>
                </c:pt>
                <c:pt idx="1245">
                  <c:v>129.80324074074073</c:v>
                </c:pt>
                <c:pt idx="1246">
                  <c:v>129.80324074074073</c:v>
                </c:pt>
                <c:pt idx="1247">
                  <c:v>129.80324074074073</c:v>
                </c:pt>
                <c:pt idx="1248">
                  <c:v>129.80324074074073</c:v>
                </c:pt>
                <c:pt idx="1249">
                  <c:v>129.80324074074073</c:v>
                </c:pt>
                <c:pt idx="1250">
                  <c:v>129.80324074074073</c:v>
                </c:pt>
                <c:pt idx="1251">
                  <c:v>129.80324074074073</c:v>
                </c:pt>
                <c:pt idx="1252">
                  <c:v>129.80324074074073</c:v>
                </c:pt>
                <c:pt idx="1253">
                  <c:v>129.80324074074073</c:v>
                </c:pt>
                <c:pt idx="1254">
                  <c:v>129.80324074074073</c:v>
                </c:pt>
                <c:pt idx="1255">
                  <c:v>129.80324074074073</c:v>
                </c:pt>
                <c:pt idx="1256">
                  <c:v>129.80324074074073</c:v>
                </c:pt>
                <c:pt idx="1257">
                  <c:v>129.80324074074073</c:v>
                </c:pt>
                <c:pt idx="1258">
                  <c:v>129.80324074074073</c:v>
                </c:pt>
                <c:pt idx="1259">
                  <c:v>129.80324074074073</c:v>
                </c:pt>
                <c:pt idx="1260">
                  <c:v>129.51388888888889</c:v>
                </c:pt>
                <c:pt idx="1261">
                  <c:v>129.51388888888889</c:v>
                </c:pt>
                <c:pt idx="1262">
                  <c:v>129.51388888888889</c:v>
                </c:pt>
                <c:pt idx="1263">
                  <c:v>129.51388888888889</c:v>
                </c:pt>
                <c:pt idx="1264">
                  <c:v>129.51388888888889</c:v>
                </c:pt>
                <c:pt idx="1265">
                  <c:v>129.51388888888889</c:v>
                </c:pt>
                <c:pt idx="1266">
                  <c:v>129.51388888888889</c:v>
                </c:pt>
                <c:pt idx="1267">
                  <c:v>129.51388888888889</c:v>
                </c:pt>
                <c:pt idx="1268">
                  <c:v>129.51388888888889</c:v>
                </c:pt>
                <c:pt idx="1269">
                  <c:v>129.51388888888889</c:v>
                </c:pt>
                <c:pt idx="1270">
                  <c:v>129.51388888888889</c:v>
                </c:pt>
                <c:pt idx="1271">
                  <c:v>129.51388888888889</c:v>
                </c:pt>
                <c:pt idx="1272">
                  <c:v>129.51388888888889</c:v>
                </c:pt>
                <c:pt idx="1273">
                  <c:v>129.51388888888889</c:v>
                </c:pt>
                <c:pt idx="1274">
                  <c:v>129.51388888888889</c:v>
                </c:pt>
                <c:pt idx="1275">
                  <c:v>129.51388888888889</c:v>
                </c:pt>
                <c:pt idx="1276">
                  <c:v>129.51388888888889</c:v>
                </c:pt>
                <c:pt idx="1277">
                  <c:v>129.51388888888889</c:v>
                </c:pt>
                <c:pt idx="1278">
                  <c:v>129.51388888888889</c:v>
                </c:pt>
                <c:pt idx="1279">
                  <c:v>129.51388888888889</c:v>
                </c:pt>
                <c:pt idx="1280">
                  <c:v>127.5462962962963</c:v>
                </c:pt>
                <c:pt idx="1281">
                  <c:v>127.5462962962963</c:v>
                </c:pt>
                <c:pt idx="1282">
                  <c:v>127.5462962962963</c:v>
                </c:pt>
                <c:pt idx="1283">
                  <c:v>127.5462962962963</c:v>
                </c:pt>
                <c:pt idx="1284">
                  <c:v>127.5462962962963</c:v>
                </c:pt>
                <c:pt idx="1285">
                  <c:v>127.5462962962963</c:v>
                </c:pt>
                <c:pt idx="1286">
                  <c:v>127.5462962962963</c:v>
                </c:pt>
                <c:pt idx="1287">
                  <c:v>127.5462962962963</c:v>
                </c:pt>
                <c:pt idx="1288">
                  <c:v>127.5462962962963</c:v>
                </c:pt>
                <c:pt idx="1289">
                  <c:v>127.5462962962963</c:v>
                </c:pt>
                <c:pt idx="1290">
                  <c:v>127.5462962962963</c:v>
                </c:pt>
                <c:pt idx="1291">
                  <c:v>127.5462962962963</c:v>
                </c:pt>
                <c:pt idx="1292">
                  <c:v>127.5462962962963</c:v>
                </c:pt>
                <c:pt idx="1293">
                  <c:v>127.5462962962963</c:v>
                </c:pt>
                <c:pt idx="1294">
                  <c:v>127.5462962962963</c:v>
                </c:pt>
                <c:pt idx="1295">
                  <c:v>127.5462962962963</c:v>
                </c:pt>
                <c:pt idx="1296">
                  <c:v>127.5462962962963</c:v>
                </c:pt>
                <c:pt idx="1297">
                  <c:v>127.5462962962963</c:v>
                </c:pt>
                <c:pt idx="1298">
                  <c:v>127.5462962962963</c:v>
                </c:pt>
                <c:pt idx="1299">
                  <c:v>127.5462962962963</c:v>
                </c:pt>
                <c:pt idx="1300">
                  <c:v>127.5462962962963</c:v>
                </c:pt>
                <c:pt idx="1301">
                  <c:v>127.5462962962963</c:v>
                </c:pt>
                <c:pt idx="1302">
                  <c:v>127.5462962962963</c:v>
                </c:pt>
                <c:pt idx="1303">
                  <c:v>127.5462962962963</c:v>
                </c:pt>
                <c:pt idx="1304">
                  <c:v>127.5462962962963</c:v>
                </c:pt>
                <c:pt idx="1305">
                  <c:v>134.83796296296299</c:v>
                </c:pt>
                <c:pt idx="1306">
                  <c:v>134.83796296296299</c:v>
                </c:pt>
                <c:pt idx="1307">
                  <c:v>134.83796296296299</c:v>
                </c:pt>
                <c:pt idx="1308">
                  <c:v>134.83796296296299</c:v>
                </c:pt>
                <c:pt idx="1309">
                  <c:v>134.83796296296299</c:v>
                </c:pt>
                <c:pt idx="1310">
                  <c:v>134.83796296296299</c:v>
                </c:pt>
                <c:pt idx="1311">
                  <c:v>134.83796296296299</c:v>
                </c:pt>
                <c:pt idx="1312">
                  <c:v>134.83796296296299</c:v>
                </c:pt>
                <c:pt idx="1313">
                  <c:v>134.83796296296299</c:v>
                </c:pt>
                <c:pt idx="1314">
                  <c:v>134.83796296296299</c:v>
                </c:pt>
                <c:pt idx="1315">
                  <c:v>134.83796296296299</c:v>
                </c:pt>
                <c:pt idx="1316">
                  <c:v>134.83796296296299</c:v>
                </c:pt>
                <c:pt idx="1317">
                  <c:v>134.83796296296299</c:v>
                </c:pt>
                <c:pt idx="1318">
                  <c:v>134.83796296296299</c:v>
                </c:pt>
                <c:pt idx="1319">
                  <c:v>134.83796296296299</c:v>
                </c:pt>
                <c:pt idx="1320">
                  <c:v>134.83796296296299</c:v>
                </c:pt>
                <c:pt idx="1321">
                  <c:v>134.83796296296299</c:v>
                </c:pt>
                <c:pt idx="1322">
                  <c:v>134.83796296296299</c:v>
                </c:pt>
                <c:pt idx="1323">
                  <c:v>134.83796296296299</c:v>
                </c:pt>
                <c:pt idx="1324">
                  <c:v>134.83796296296299</c:v>
                </c:pt>
                <c:pt idx="1325">
                  <c:v>143.9814814814815</c:v>
                </c:pt>
                <c:pt idx="1326">
                  <c:v>143.9814814814815</c:v>
                </c:pt>
                <c:pt idx="1327">
                  <c:v>143.9814814814815</c:v>
                </c:pt>
                <c:pt idx="1328">
                  <c:v>143.9814814814815</c:v>
                </c:pt>
                <c:pt idx="1329">
                  <c:v>143.9814814814815</c:v>
                </c:pt>
                <c:pt idx="1330">
                  <c:v>143.9814814814815</c:v>
                </c:pt>
                <c:pt idx="1331">
                  <c:v>143.9814814814815</c:v>
                </c:pt>
                <c:pt idx="1332">
                  <c:v>143.9814814814815</c:v>
                </c:pt>
                <c:pt idx="1333">
                  <c:v>143.9814814814815</c:v>
                </c:pt>
                <c:pt idx="1334">
                  <c:v>143.9814814814815</c:v>
                </c:pt>
                <c:pt idx="1335">
                  <c:v>143.9814814814815</c:v>
                </c:pt>
                <c:pt idx="1336">
                  <c:v>143.9814814814815</c:v>
                </c:pt>
                <c:pt idx="1337">
                  <c:v>143.9814814814815</c:v>
                </c:pt>
                <c:pt idx="1338">
                  <c:v>143.9814814814815</c:v>
                </c:pt>
                <c:pt idx="1339">
                  <c:v>143.9814814814815</c:v>
                </c:pt>
                <c:pt idx="1340">
                  <c:v>143.9814814814815</c:v>
                </c:pt>
                <c:pt idx="1341">
                  <c:v>143.9814814814815</c:v>
                </c:pt>
                <c:pt idx="1342">
                  <c:v>143.9814814814815</c:v>
                </c:pt>
                <c:pt idx="1343">
                  <c:v>143.9814814814815</c:v>
                </c:pt>
                <c:pt idx="1344">
                  <c:v>143.9814814814815</c:v>
                </c:pt>
                <c:pt idx="1345">
                  <c:v>150.05787037037038</c:v>
                </c:pt>
                <c:pt idx="1346">
                  <c:v>150.05787037037038</c:v>
                </c:pt>
                <c:pt idx="1347">
                  <c:v>150.05787037037038</c:v>
                </c:pt>
                <c:pt idx="1348">
                  <c:v>150.05787037037038</c:v>
                </c:pt>
                <c:pt idx="1349">
                  <c:v>150.05787037037038</c:v>
                </c:pt>
                <c:pt idx="1350">
                  <c:v>150.05787037037038</c:v>
                </c:pt>
                <c:pt idx="1351">
                  <c:v>150.05787037037038</c:v>
                </c:pt>
                <c:pt idx="1352">
                  <c:v>150.05787037037038</c:v>
                </c:pt>
                <c:pt idx="1353">
                  <c:v>150.05787037037038</c:v>
                </c:pt>
                <c:pt idx="1354">
                  <c:v>150.05787037037038</c:v>
                </c:pt>
                <c:pt idx="1355">
                  <c:v>150.05787037037038</c:v>
                </c:pt>
                <c:pt idx="1356">
                  <c:v>150.05787037037038</c:v>
                </c:pt>
                <c:pt idx="1357">
                  <c:v>150.05787037037038</c:v>
                </c:pt>
                <c:pt idx="1358">
                  <c:v>150.05787037037038</c:v>
                </c:pt>
                <c:pt idx="1359">
                  <c:v>150.05787037037038</c:v>
                </c:pt>
                <c:pt idx="1360">
                  <c:v>150.05787037037038</c:v>
                </c:pt>
                <c:pt idx="1361">
                  <c:v>150.05787037037038</c:v>
                </c:pt>
                <c:pt idx="1362">
                  <c:v>150.05787037037038</c:v>
                </c:pt>
                <c:pt idx="1363">
                  <c:v>150.05787037037038</c:v>
                </c:pt>
                <c:pt idx="1364">
                  <c:v>150.05787037037038</c:v>
                </c:pt>
                <c:pt idx="1365">
                  <c:v>150.05787037037038</c:v>
                </c:pt>
                <c:pt idx="1366">
                  <c:v>150.05787037037038</c:v>
                </c:pt>
                <c:pt idx="1367">
                  <c:v>150.05787037037038</c:v>
                </c:pt>
                <c:pt idx="1368">
                  <c:v>150.05787037037038</c:v>
                </c:pt>
                <c:pt idx="1369">
                  <c:v>150.05787037037038</c:v>
                </c:pt>
                <c:pt idx="1370">
                  <c:v>155.49768518518519</c:v>
                </c:pt>
                <c:pt idx="1371">
                  <c:v>155.49768518518519</c:v>
                </c:pt>
                <c:pt idx="1372">
                  <c:v>155.49768518518519</c:v>
                </c:pt>
                <c:pt idx="1373">
                  <c:v>155.49768518518519</c:v>
                </c:pt>
                <c:pt idx="1374">
                  <c:v>155.49768518518519</c:v>
                </c:pt>
                <c:pt idx="1375">
                  <c:v>155.49768518518519</c:v>
                </c:pt>
                <c:pt idx="1376">
                  <c:v>155.49768518518519</c:v>
                </c:pt>
                <c:pt idx="1377">
                  <c:v>155.49768518518519</c:v>
                </c:pt>
                <c:pt idx="1378">
                  <c:v>155.49768518518519</c:v>
                </c:pt>
                <c:pt idx="1379">
                  <c:v>155.49768518518519</c:v>
                </c:pt>
                <c:pt idx="1380">
                  <c:v>155.49768518518519</c:v>
                </c:pt>
                <c:pt idx="1381">
                  <c:v>155.49768518518519</c:v>
                </c:pt>
                <c:pt idx="1382">
                  <c:v>155.49768518518519</c:v>
                </c:pt>
                <c:pt idx="1383">
                  <c:v>155.49768518518519</c:v>
                </c:pt>
                <c:pt idx="1384">
                  <c:v>155.49768518518519</c:v>
                </c:pt>
                <c:pt idx="1385">
                  <c:v>155.49768518518519</c:v>
                </c:pt>
                <c:pt idx="1386">
                  <c:v>155.49768518518519</c:v>
                </c:pt>
                <c:pt idx="1387">
                  <c:v>155.49768518518519</c:v>
                </c:pt>
                <c:pt idx="1388">
                  <c:v>155.49768518518519</c:v>
                </c:pt>
                <c:pt idx="1389">
                  <c:v>155.49768518518519</c:v>
                </c:pt>
                <c:pt idx="1390">
                  <c:v>159.375</c:v>
                </c:pt>
                <c:pt idx="1391">
                  <c:v>159.375</c:v>
                </c:pt>
                <c:pt idx="1392">
                  <c:v>159.375</c:v>
                </c:pt>
                <c:pt idx="1393">
                  <c:v>159.375</c:v>
                </c:pt>
                <c:pt idx="1394">
                  <c:v>159.375</c:v>
                </c:pt>
                <c:pt idx="1395">
                  <c:v>159.375</c:v>
                </c:pt>
                <c:pt idx="1396">
                  <c:v>159.375</c:v>
                </c:pt>
                <c:pt idx="1397">
                  <c:v>159.375</c:v>
                </c:pt>
                <c:pt idx="1398">
                  <c:v>159.375</c:v>
                </c:pt>
                <c:pt idx="1399">
                  <c:v>159.375</c:v>
                </c:pt>
                <c:pt idx="1400">
                  <c:v>159.375</c:v>
                </c:pt>
                <c:pt idx="1401">
                  <c:v>159.375</c:v>
                </c:pt>
                <c:pt idx="1402">
                  <c:v>159.375</c:v>
                </c:pt>
                <c:pt idx="1403">
                  <c:v>159.375</c:v>
                </c:pt>
                <c:pt idx="1404">
                  <c:v>159.375</c:v>
                </c:pt>
                <c:pt idx="1405">
                  <c:v>159.375</c:v>
                </c:pt>
                <c:pt idx="1406">
                  <c:v>159.375</c:v>
                </c:pt>
                <c:pt idx="1407">
                  <c:v>159.375</c:v>
                </c:pt>
                <c:pt idx="1408">
                  <c:v>159.375</c:v>
                </c:pt>
                <c:pt idx="1409">
                  <c:v>159.375</c:v>
                </c:pt>
                <c:pt idx="1410">
                  <c:v>176.04166666666666</c:v>
                </c:pt>
                <c:pt idx="1411">
                  <c:v>176.04166666666666</c:v>
                </c:pt>
                <c:pt idx="1412">
                  <c:v>176.04166666666666</c:v>
                </c:pt>
                <c:pt idx="1413">
                  <c:v>176.04166666666666</c:v>
                </c:pt>
                <c:pt idx="1414">
                  <c:v>176.04166666666666</c:v>
                </c:pt>
                <c:pt idx="1415">
                  <c:v>176.04166666666666</c:v>
                </c:pt>
                <c:pt idx="1416">
                  <c:v>176.04166666666666</c:v>
                </c:pt>
                <c:pt idx="1417">
                  <c:v>176.04166666666666</c:v>
                </c:pt>
                <c:pt idx="1418">
                  <c:v>176.04166666666666</c:v>
                </c:pt>
                <c:pt idx="1419">
                  <c:v>176.04166666666666</c:v>
                </c:pt>
                <c:pt idx="1420">
                  <c:v>176.04166666666666</c:v>
                </c:pt>
                <c:pt idx="1421">
                  <c:v>176.04166666666666</c:v>
                </c:pt>
                <c:pt idx="1422">
                  <c:v>176.04166666666666</c:v>
                </c:pt>
                <c:pt idx="1423">
                  <c:v>176.04166666666666</c:v>
                </c:pt>
                <c:pt idx="1424">
                  <c:v>176.04166666666666</c:v>
                </c:pt>
                <c:pt idx="1425">
                  <c:v>176.04166666666666</c:v>
                </c:pt>
                <c:pt idx="1426">
                  <c:v>176.04166666666666</c:v>
                </c:pt>
                <c:pt idx="1427">
                  <c:v>176.04166666666666</c:v>
                </c:pt>
                <c:pt idx="1428">
                  <c:v>176.04166666666666</c:v>
                </c:pt>
                <c:pt idx="1429">
                  <c:v>176.04166666666666</c:v>
                </c:pt>
                <c:pt idx="1430">
                  <c:v>176.04166666666666</c:v>
                </c:pt>
                <c:pt idx="1431">
                  <c:v>176.04166666666666</c:v>
                </c:pt>
                <c:pt idx="1432">
                  <c:v>176.04166666666666</c:v>
                </c:pt>
                <c:pt idx="1433">
                  <c:v>176.04166666666666</c:v>
                </c:pt>
                <c:pt idx="1434">
                  <c:v>176.04166666666666</c:v>
                </c:pt>
                <c:pt idx="1435">
                  <c:v>184.89583333333331</c:v>
                </c:pt>
                <c:pt idx="1436">
                  <c:v>184.89583333333331</c:v>
                </c:pt>
                <c:pt idx="1437">
                  <c:v>184.89583333333331</c:v>
                </c:pt>
                <c:pt idx="1438">
                  <c:v>184.89583333333331</c:v>
                </c:pt>
                <c:pt idx="1439">
                  <c:v>184.89583333333331</c:v>
                </c:pt>
                <c:pt idx="1440">
                  <c:v>184.89583333333331</c:v>
                </c:pt>
                <c:pt idx="1441">
                  <c:v>184.89583333333331</c:v>
                </c:pt>
                <c:pt idx="1442">
                  <c:v>184.89583333333331</c:v>
                </c:pt>
                <c:pt idx="1443">
                  <c:v>184.89583333333331</c:v>
                </c:pt>
                <c:pt idx="1444">
                  <c:v>184.89583333333331</c:v>
                </c:pt>
                <c:pt idx="1445">
                  <c:v>184.89583333333331</c:v>
                </c:pt>
                <c:pt idx="1446">
                  <c:v>184.89583333333331</c:v>
                </c:pt>
                <c:pt idx="1447">
                  <c:v>184.89583333333331</c:v>
                </c:pt>
                <c:pt idx="1448">
                  <c:v>184.89583333333331</c:v>
                </c:pt>
                <c:pt idx="1449">
                  <c:v>184.89583333333331</c:v>
                </c:pt>
                <c:pt idx="1450">
                  <c:v>184.89583333333331</c:v>
                </c:pt>
                <c:pt idx="1451">
                  <c:v>184.89583333333331</c:v>
                </c:pt>
                <c:pt idx="1452">
                  <c:v>184.89583333333331</c:v>
                </c:pt>
                <c:pt idx="1453">
                  <c:v>184.89583333333331</c:v>
                </c:pt>
                <c:pt idx="1454">
                  <c:v>184.89583333333331</c:v>
                </c:pt>
                <c:pt idx="1455">
                  <c:v>195.48611111111111</c:v>
                </c:pt>
                <c:pt idx="1456">
                  <c:v>195.48611111111111</c:v>
                </c:pt>
                <c:pt idx="1457">
                  <c:v>195.48611111111111</c:v>
                </c:pt>
                <c:pt idx="1458">
                  <c:v>195.48611111111111</c:v>
                </c:pt>
                <c:pt idx="1459">
                  <c:v>195.48611111111111</c:v>
                </c:pt>
                <c:pt idx="1460">
                  <c:v>195.48611111111111</c:v>
                </c:pt>
                <c:pt idx="1461">
                  <c:v>195.48611111111111</c:v>
                </c:pt>
                <c:pt idx="1462">
                  <c:v>195.48611111111111</c:v>
                </c:pt>
                <c:pt idx="1463">
                  <c:v>195.48611111111111</c:v>
                </c:pt>
                <c:pt idx="1464">
                  <c:v>195.48611111111111</c:v>
                </c:pt>
                <c:pt idx="1465">
                  <c:v>195.48611111111111</c:v>
                </c:pt>
                <c:pt idx="1466">
                  <c:v>195.48611111111111</c:v>
                </c:pt>
                <c:pt idx="1467">
                  <c:v>195.48611111111111</c:v>
                </c:pt>
                <c:pt idx="1468">
                  <c:v>195.48611111111111</c:v>
                </c:pt>
                <c:pt idx="1469">
                  <c:v>195.48611111111111</c:v>
                </c:pt>
                <c:pt idx="1470">
                  <c:v>195.48611111111111</c:v>
                </c:pt>
                <c:pt idx="1471">
                  <c:v>195.48611111111111</c:v>
                </c:pt>
                <c:pt idx="1472">
                  <c:v>195.48611111111111</c:v>
                </c:pt>
                <c:pt idx="1473">
                  <c:v>195.48611111111111</c:v>
                </c:pt>
                <c:pt idx="1474">
                  <c:v>195.48611111111111</c:v>
                </c:pt>
                <c:pt idx="1475">
                  <c:v>199.59490740740739</c:v>
                </c:pt>
                <c:pt idx="1476">
                  <c:v>199.59490740740739</c:v>
                </c:pt>
                <c:pt idx="1477">
                  <c:v>199.59490740740739</c:v>
                </c:pt>
                <c:pt idx="1478">
                  <c:v>199.59490740740739</c:v>
                </c:pt>
                <c:pt idx="1479">
                  <c:v>199.59490740740739</c:v>
                </c:pt>
                <c:pt idx="1480">
                  <c:v>199.59490740740739</c:v>
                </c:pt>
                <c:pt idx="1481">
                  <c:v>199.59490740740739</c:v>
                </c:pt>
                <c:pt idx="1482">
                  <c:v>199.59490740740739</c:v>
                </c:pt>
                <c:pt idx="1483">
                  <c:v>199.59490740740739</c:v>
                </c:pt>
                <c:pt idx="1484">
                  <c:v>199.59490740740739</c:v>
                </c:pt>
                <c:pt idx="1485">
                  <c:v>199.59490740740739</c:v>
                </c:pt>
                <c:pt idx="1486">
                  <c:v>199.59490740740739</c:v>
                </c:pt>
                <c:pt idx="1487">
                  <c:v>199.59490740740739</c:v>
                </c:pt>
                <c:pt idx="1488">
                  <c:v>199.59490740740739</c:v>
                </c:pt>
                <c:pt idx="1489">
                  <c:v>199.59490740740739</c:v>
                </c:pt>
                <c:pt idx="1490">
                  <c:v>199.59490740740739</c:v>
                </c:pt>
                <c:pt idx="1491">
                  <c:v>199.59490740740739</c:v>
                </c:pt>
                <c:pt idx="1492">
                  <c:v>199.59490740740739</c:v>
                </c:pt>
                <c:pt idx="1493">
                  <c:v>199.59490740740739</c:v>
                </c:pt>
                <c:pt idx="1494">
                  <c:v>199.59490740740739</c:v>
                </c:pt>
                <c:pt idx="1495">
                  <c:v>199.59490740740739</c:v>
                </c:pt>
                <c:pt idx="1496">
                  <c:v>199.59490740740739</c:v>
                </c:pt>
                <c:pt idx="1497">
                  <c:v>199.59490740740739</c:v>
                </c:pt>
                <c:pt idx="1498">
                  <c:v>199.59490740740739</c:v>
                </c:pt>
                <c:pt idx="1499">
                  <c:v>199.59490740740739</c:v>
                </c:pt>
                <c:pt idx="1500">
                  <c:v>211.5740740740741</c:v>
                </c:pt>
                <c:pt idx="1501">
                  <c:v>211.5740740740741</c:v>
                </c:pt>
                <c:pt idx="1502">
                  <c:v>211.5740740740741</c:v>
                </c:pt>
                <c:pt idx="1503">
                  <c:v>211.5740740740741</c:v>
                </c:pt>
                <c:pt idx="1504">
                  <c:v>211.5740740740741</c:v>
                </c:pt>
                <c:pt idx="1505">
                  <c:v>211.5740740740741</c:v>
                </c:pt>
                <c:pt idx="1506">
                  <c:v>211.5740740740741</c:v>
                </c:pt>
                <c:pt idx="1507">
                  <c:v>211.5740740740741</c:v>
                </c:pt>
                <c:pt idx="1508">
                  <c:v>211.5740740740741</c:v>
                </c:pt>
                <c:pt idx="1509">
                  <c:v>211.5740740740741</c:v>
                </c:pt>
                <c:pt idx="1510">
                  <c:v>211.5740740740741</c:v>
                </c:pt>
                <c:pt idx="1511">
                  <c:v>211.5740740740741</c:v>
                </c:pt>
                <c:pt idx="1512">
                  <c:v>211.5740740740741</c:v>
                </c:pt>
                <c:pt idx="1513">
                  <c:v>211.5740740740741</c:v>
                </c:pt>
                <c:pt idx="1514">
                  <c:v>211.5740740740741</c:v>
                </c:pt>
                <c:pt idx="1515">
                  <c:v>211.5740740740741</c:v>
                </c:pt>
                <c:pt idx="1516">
                  <c:v>211.5740740740741</c:v>
                </c:pt>
                <c:pt idx="1517">
                  <c:v>211.5740740740741</c:v>
                </c:pt>
                <c:pt idx="1518">
                  <c:v>211.5740740740741</c:v>
                </c:pt>
                <c:pt idx="1519">
                  <c:v>211.5740740740741</c:v>
                </c:pt>
                <c:pt idx="1520">
                  <c:v>219.32870370370372</c:v>
                </c:pt>
                <c:pt idx="1521">
                  <c:v>219.32870370370372</c:v>
                </c:pt>
                <c:pt idx="1522">
                  <c:v>219.32870370370372</c:v>
                </c:pt>
                <c:pt idx="1523">
                  <c:v>219.32870370370372</c:v>
                </c:pt>
                <c:pt idx="1524">
                  <c:v>219.32870370370372</c:v>
                </c:pt>
                <c:pt idx="1525">
                  <c:v>219.32870370370372</c:v>
                </c:pt>
                <c:pt idx="1526">
                  <c:v>219.32870370370372</c:v>
                </c:pt>
                <c:pt idx="1527">
                  <c:v>219.32870370370372</c:v>
                </c:pt>
                <c:pt idx="1528">
                  <c:v>219.32870370370372</c:v>
                </c:pt>
                <c:pt idx="1529">
                  <c:v>219.32870370370372</c:v>
                </c:pt>
                <c:pt idx="1530">
                  <c:v>219.32870370370372</c:v>
                </c:pt>
                <c:pt idx="1531">
                  <c:v>219.32870370370372</c:v>
                </c:pt>
                <c:pt idx="1532">
                  <c:v>219.32870370370372</c:v>
                </c:pt>
                <c:pt idx="1533">
                  <c:v>219.32870370370372</c:v>
                </c:pt>
                <c:pt idx="1534">
                  <c:v>219.32870370370372</c:v>
                </c:pt>
                <c:pt idx="1535">
                  <c:v>219.32870370370372</c:v>
                </c:pt>
                <c:pt idx="1536">
                  <c:v>219.32870370370372</c:v>
                </c:pt>
                <c:pt idx="1537">
                  <c:v>219.32870370370372</c:v>
                </c:pt>
                <c:pt idx="1538">
                  <c:v>219.32870370370372</c:v>
                </c:pt>
                <c:pt idx="1539">
                  <c:v>219.32870370370372</c:v>
                </c:pt>
                <c:pt idx="1540">
                  <c:v>226.21527777777777</c:v>
                </c:pt>
                <c:pt idx="1541">
                  <c:v>226.21527777777777</c:v>
                </c:pt>
                <c:pt idx="1542">
                  <c:v>226.21527777777777</c:v>
                </c:pt>
                <c:pt idx="1543">
                  <c:v>226.21527777777777</c:v>
                </c:pt>
                <c:pt idx="1544">
                  <c:v>226.21527777777777</c:v>
                </c:pt>
                <c:pt idx="1545">
                  <c:v>226.21527777777777</c:v>
                </c:pt>
                <c:pt idx="1546">
                  <c:v>226.21527777777777</c:v>
                </c:pt>
                <c:pt idx="1547">
                  <c:v>226.21527777777777</c:v>
                </c:pt>
                <c:pt idx="1548">
                  <c:v>226.21527777777777</c:v>
                </c:pt>
                <c:pt idx="1549">
                  <c:v>226.21527777777777</c:v>
                </c:pt>
                <c:pt idx="1550">
                  <c:v>226.21527777777777</c:v>
                </c:pt>
                <c:pt idx="1551">
                  <c:v>226.21527777777777</c:v>
                </c:pt>
                <c:pt idx="1552">
                  <c:v>226.21527777777777</c:v>
                </c:pt>
                <c:pt idx="1553">
                  <c:v>226.21527777777777</c:v>
                </c:pt>
                <c:pt idx="1554">
                  <c:v>226.21527777777777</c:v>
                </c:pt>
                <c:pt idx="1555">
                  <c:v>226.21527777777777</c:v>
                </c:pt>
                <c:pt idx="1556">
                  <c:v>226.21527777777777</c:v>
                </c:pt>
                <c:pt idx="1557">
                  <c:v>226.21527777777777</c:v>
                </c:pt>
                <c:pt idx="1558">
                  <c:v>226.21527777777777</c:v>
                </c:pt>
                <c:pt idx="1559">
                  <c:v>226.21527777777777</c:v>
                </c:pt>
                <c:pt idx="1560">
                  <c:v>226.21527777777777</c:v>
                </c:pt>
                <c:pt idx="1561">
                  <c:v>226.21527777777777</c:v>
                </c:pt>
                <c:pt idx="1562">
                  <c:v>226.21527777777777</c:v>
                </c:pt>
                <c:pt idx="1563">
                  <c:v>226.21527777777777</c:v>
                </c:pt>
                <c:pt idx="1564">
                  <c:v>226.21527777777777</c:v>
                </c:pt>
                <c:pt idx="1565">
                  <c:v>234.375</c:v>
                </c:pt>
                <c:pt idx="1566">
                  <c:v>234.375</c:v>
                </c:pt>
                <c:pt idx="1567">
                  <c:v>234.375</c:v>
                </c:pt>
                <c:pt idx="1568">
                  <c:v>234.375</c:v>
                </c:pt>
                <c:pt idx="1569">
                  <c:v>234.375</c:v>
                </c:pt>
                <c:pt idx="1570">
                  <c:v>234.375</c:v>
                </c:pt>
                <c:pt idx="1571">
                  <c:v>234.375</c:v>
                </c:pt>
                <c:pt idx="1572">
                  <c:v>234.375</c:v>
                </c:pt>
                <c:pt idx="1573">
                  <c:v>234.375</c:v>
                </c:pt>
                <c:pt idx="1574">
                  <c:v>234.375</c:v>
                </c:pt>
                <c:pt idx="1575">
                  <c:v>234.375</c:v>
                </c:pt>
                <c:pt idx="1576">
                  <c:v>234.375</c:v>
                </c:pt>
                <c:pt idx="1577">
                  <c:v>234.375</c:v>
                </c:pt>
                <c:pt idx="1578">
                  <c:v>234.375</c:v>
                </c:pt>
                <c:pt idx="1579">
                  <c:v>234.375</c:v>
                </c:pt>
                <c:pt idx="1580">
                  <c:v>234.375</c:v>
                </c:pt>
                <c:pt idx="1581">
                  <c:v>234.375</c:v>
                </c:pt>
                <c:pt idx="1582">
                  <c:v>234.375</c:v>
                </c:pt>
                <c:pt idx="1583">
                  <c:v>234.375</c:v>
                </c:pt>
                <c:pt idx="1584">
                  <c:v>234.375</c:v>
                </c:pt>
                <c:pt idx="1585">
                  <c:v>245.08101851851856</c:v>
                </c:pt>
                <c:pt idx="1586">
                  <c:v>245.08101851851856</c:v>
                </c:pt>
                <c:pt idx="1587">
                  <c:v>245.08101851851856</c:v>
                </c:pt>
                <c:pt idx="1588">
                  <c:v>245.08101851851856</c:v>
                </c:pt>
                <c:pt idx="1589">
                  <c:v>245.08101851851856</c:v>
                </c:pt>
                <c:pt idx="1590">
                  <c:v>245.08101851851856</c:v>
                </c:pt>
                <c:pt idx="1591">
                  <c:v>245.08101851851856</c:v>
                </c:pt>
                <c:pt idx="1592">
                  <c:v>245.08101851851856</c:v>
                </c:pt>
                <c:pt idx="1593">
                  <c:v>245.08101851851856</c:v>
                </c:pt>
                <c:pt idx="1594">
                  <c:v>245.08101851851856</c:v>
                </c:pt>
                <c:pt idx="1595">
                  <c:v>245.08101851851856</c:v>
                </c:pt>
                <c:pt idx="1596">
                  <c:v>245.08101851851856</c:v>
                </c:pt>
                <c:pt idx="1597">
                  <c:v>245.08101851851856</c:v>
                </c:pt>
                <c:pt idx="1598">
                  <c:v>245.08101851851856</c:v>
                </c:pt>
                <c:pt idx="1599">
                  <c:v>245.08101851851856</c:v>
                </c:pt>
                <c:pt idx="1600">
                  <c:v>245.08101851851856</c:v>
                </c:pt>
                <c:pt idx="1601">
                  <c:v>245.08101851851856</c:v>
                </c:pt>
                <c:pt idx="1602">
                  <c:v>245.08101851851856</c:v>
                </c:pt>
                <c:pt idx="1603">
                  <c:v>245.08101851851856</c:v>
                </c:pt>
                <c:pt idx="1604">
                  <c:v>245.08101851851856</c:v>
                </c:pt>
                <c:pt idx="1605">
                  <c:v>246.93287037037038</c:v>
                </c:pt>
                <c:pt idx="1606">
                  <c:v>246.93287037037038</c:v>
                </c:pt>
                <c:pt idx="1607">
                  <c:v>246.93287037037038</c:v>
                </c:pt>
                <c:pt idx="1608">
                  <c:v>246.93287037037038</c:v>
                </c:pt>
                <c:pt idx="1609">
                  <c:v>246.93287037037038</c:v>
                </c:pt>
                <c:pt idx="1610">
                  <c:v>246.93287037037038</c:v>
                </c:pt>
                <c:pt idx="1611">
                  <c:v>246.93287037037038</c:v>
                </c:pt>
                <c:pt idx="1612">
                  <c:v>246.93287037037038</c:v>
                </c:pt>
                <c:pt idx="1613">
                  <c:v>246.93287037037038</c:v>
                </c:pt>
                <c:pt idx="1614">
                  <c:v>246.93287037037038</c:v>
                </c:pt>
                <c:pt idx="1615">
                  <c:v>246.93287037037038</c:v>
                </c:pt>
                <c:pt idx="1616">
                  <c:v>246.93287037037038</c:v>
                </c:pt>
                <c:pt idx="1617">
                  <c:v>246.93287037037038</c:v>
                </c:pt>
                <c:pt idx="1618">
                  <c:v>246.93287037037038</c:v>
                </c:pt>
                <c:pt idx="1619">
                  <c:v>246.93287037037038</c:v>
                </c:pt>
                <c:pt idx="1620">
                  <c:v>246.93287037037038</c:v>
                </c:pt>
                <c:pt idx="1621">
                  <c:v>246.93287037037038</c:v>
                </c:pt>
                <c:pt idx="1622">
                  <c:v>246.93287037037038</c:v>
                </c:pt>
                <c:pt idx="1623">
                  <c:v>246.93287037037038</c:v>
                </c:pt>
                <c:pt idx="1624">
                  <c:v>246.93287037037038</c:v>
                </c:pt>
                <c:pt idx="1625">
                  <c:v>246.93287037037038</c:v>
                </c:pt>
                <c:pt idx="1626">
                  <c:v>246.93287037037038</c:v>
                </c:pt>
                <c:pt idx="1627">
                  <c:v>246.93287037037038</c:v>
                </c:pt>
                <c:pt idx="1628">
                  <c:v>246.93287037037038</c:v>
                </c:pt>
                <c:pt idx="1629">
                  <c:v>246.93287037037038</c:v>
                </c:pt>
                <c:pt idx="1630">
                  <c:v>230.49768518518522</c:v>
                </c:pt>
                <c:pt idx="1631">
                  <c:v>230.49768518518522</c:v>
                </c:pt>
                <c:pt idx="1632">
                  <c:v>230.49768518518522</c:v>
                </c:pt>
                <c:pt idx="1633">
                  <c:v>230.49768518518522</c:v>
                </c:pt>
                <c:pt idx="1634">
                  <c:v>230.49768518518522</c:v>
                </c:pt>
                <c:pt idx="1635">
                  <c:v>230.49768518518522</c:v>
                </c:pt>
                <c:pt idx="1636">
                  <c:v>230.49768518518522</c:v>
                </c:pt>
                <c:pt idx="1637">
                  <c:v>230.49768518518522</c:v>
                </c:pt>
                <c:pt idx="1638">
                  <c:v>230.49768518518522</c:v>
                </c:pt>
                <c:pt idx="1639">
                  <c:v>230.49768518518522</c:v>
                </c:pt>
                <c:pt idx="1640">
                  <c:v>230.49768518518522</c:v>
                </c:pt>
                <c:pt idx="1641">
                  <c:v>230.49768518518522</c:v>
                </c:pt>
                <c:pt idx="1642">
                  <c:v>230.49768518518522</c:v>
                </c:pt>
                <c:pt idx="1643">
                  <c:v>230.49768518518522</c:v>
                </c:pt>
                <c:pt idx="1644">
                  <c:v>230.49768518518522</c:v>
                </c:pt>
                <c:pt idx="1645">
                  <c:v>230.49768518518522</c:v>
                </c:pt>
                <c:pt idx="1646">
                  <c:v>230.49768518518522</c:v>
                </c:pt>
                <c:pt idx="1647">
                  <c:v>230.49768518518522</c:v>
                </c:pt>
                <c:pt idx="1648">
                  <c:v>230.49768518518522</c:v>
                </c:pt>
                <c:pt idx="1649">
                  <c:v>230.49768518518522</c:v>
                </c:pt>
                <c:pt idx="1650">
                  <c:v>224.82638888888889</c:v>
                </c:pt>
                <c:pt idx="1651">
                  <c:v>224.82638888888889</c:v>
                </c:pt>
                <c:pt idx="1652">
                  <c:v>224.82638888888889</c:v>
                </c:pt>
                <c:pt idx="1653">
                  <c:v>224.82638888888889</c:v>
                </c:pt>
                <c:pt idx="1654">
                  <c:v>224.82638888888889</c:v>
                </c:pt>
                <c:pt idx="1655">
                  <c:v>224.82638888888889</c:v>
                </c:pt>
                <c:pt idx="1656">
                  <c:v>224.82638888888889</c:v>
                </c:pt>
                <c:pt idx="1657">
                  <c:v>224.82638888888889</c:v>
                </c:pt>
                <c:pt idx="1658">
                  <c:v>224.82638888888889</c:v>
                </c:pt>
                <c:pt idx="1659">
                  <c:v>224.82638888888889</c:v>
                </c:pt>
                <c:pt idx="1660">
                  <c:v>224.82638888888889</c:v>
                </c:pt>
                <c:pt idx="1661">
                  <c:v>224.82638888888889</c:v>
                </c:pt>
                <c:pt idx="1662">
                  <c:v>224.82638888888889</c:v>
                </c:pt>
                <c:pt idx="1663">
                  <c:v>224.82638888888889</c:v>
                </c:pt>
                <c:pt idx="1664">
                  <c:v>224.82638888888889</c:v>
                </c:pt>
                <c:pt idx="1665">
                  <c:v>224.82638888888889</c:v>
                </c:pt>
                <c:pt idx="1666">
                  <c:v>224.82638888888889</c:v>
                </c:pt>
                <c:pt idx="1667">
                  <c:v>224.82638888888889</c:v>
                </c:pt>
                <c:pt idx="1668">
                  <c:v>224.82638888888889</c:v>
                </c:pt>
                <c:pt idx="1669">
                  <c:v>224.82638888888889</c:v>
                </c:pt>
                <c:pt idx="1670">
                  <c:v>209.95370370370372</c:v>
                </c:pt>
                <c:pt idx="1671">
                  <c:v>209.95370370370372</c:v>
                </c:pt>
                <c:pt idx="1672">
                  <c:v>209.95370370370372</c:v>
                </c:pt>
                <c:pt idx="1673">
                  <c:v>209.95370370370372</c:v>
                </c:pt>
                <c:pt idx="1674">
                  <c:v>209.95370370370372</c:v>
                </c:pt>
                <c:pt idx="1675">
                  <c:v>209.95370370370372</c:v>
                </c:pt>
                <c:pt idx="1676">
                  <c:v>209.95370370370372</c:v>
                </c:pt>
                <c:pt idx="1677">
                  <c:v>209.95370370370372</c:v>
                </c:pt>
                <c:pt idx="1678">
                  <c:v>209.95370370370372</c:v>
                </c:pt>
                <c:pt idx="1679">
                  <c:v>209.95370370370372</c:v>
                </c:pt>
                <c:pt idx="1680">
                  <c:v>209.95370370370372</c:v>
                </c:pt>
                <c:pt idx="1681">
                  <c:v>209.95370370370372</c:v>
                </c:pt>
                <c:pt idx="1682">
                  <c:v>209.95370370370372</c:v>
                </c:pt>
                <c:pt idx="1683">
                  <c:v>209.95370370370372</c:v>
                </c:pt>
                <c:pt idx="1684">
                  <c:v>209.95370370370372</c:v>
                </c:pt>
                <c:pt idx="1685">
                  <c:v>209.95370370370372</c:v>
                </c:pt>
                <c:pt idx="1686">
                  <c:v>209.95370370370372</c:v>
                </c:pt>
                <c:pt idx="1687">
                  <c:v>209.95370370370372</c:v>
                </c:pt>
                <c:pt idx="1688">
                  <c:v>209.95370370370372</c:v>
                </c:pt>
                <c:pt idx="1689">
                  <c:v>209.95370370370372</c:v>
                </c:pt>
                <c:pt idx="1690">
                  <c:v>209.95370370370372</c:v>
                </c:pt>
                <c:pt idx="1691">
                  <c:v>209.95370370370372</c:v>
                </c:pt>
                <c:pt idx="1692">
                  <c:v>209.95370370370372</c:v>
                </c:pt>
                <c:pt idx="1693">
                  <c:v>209.95370370370372</c:v>
                </c:pt>
                <c:pt idx="1694">
                  <c:v>209.95370370370372</c:v>
                </c:pt>
                <c:pt idx="1695">
                  <c:v>161.5162037037037</c:v>
                </c:pt>
                <c:pt idx="1696">
                  <c:v>161.5162037037037</c:v>
                </c:pt>
                <c:pt idx="1697">
                  <c:v>161.5162037037037</c:v>
                </c:pt>
                <c:pt idx="1698">
                  <c:v>161.5162037037037</c:v>
                </c:pt>
                <c:pt idx="1699">
                  <c:v>161.5162037037037</c:v>
                </c:pt>
                <c:pt idx="1700">
                  <c:v>161.5162037037037</c:v>
                </c:pt>
                <c:pt idx="1701">
                  <c:v>161.5162037037037</c:v>
                </c:pt>
                <c:pt idx="1702">
                  <c:v>161.5162037037037</c:v>
                </c:pt>
                <c:pt idx="1703">
                  <c:v>161.5162037037037</c:v>
                </c:pt>
                <c:pt idx="1704">
                  <c:v>161.5162037037037</c:v>
                </c:pt>
                <c:pt idx="1705">
                  <c:v>161.5162037037037</c:v>
                </c:pt>
                <c:pt idx="1706">
                  <c:v>161.5162037037037</c:v>
                </c:pt>
                <c:pt idx="1707">
                  <c:v>161.5162037037037</c:v>
                </c:pt>
                <c:pt idx="1708">
                  <c:v>161.5162037037037</c:v>
                </c:pt>
                <c:pt idx="1709">
                  <c:v>161.5162037037037</c:v>
                </c:pt>
                <c:pt idx="1710">
                  <c:v>161.5162037037037</c:v>
                </c:pt>
                <c:pt idx="1711">
                  <c:v>161.5162037037037</c:v>
                </c:pt>
                <c:pt idx="1712">
                  <c:v>161.5162037037037</c:v>
                </c:pt>
                <c:pt idx="1713">
                  <c:v>161.5162037037037</c:v>
                </c:pt>
                <c:pt idx="1714">
                  <c:v>161.5162037037037</c:v>
                </c:pt>
                <c:pt idx="1715">
                  <c:v>134.6064814814815</c:v>
                </c:pt>
                <c:pt idx="1716">
                  <c:v>134.6064814814815</c:v>
                </c:pt>
                <c:pt idx="1717">
                  <c:v>134.6064814814815</c:v>
                </c:pt>
                <c:pt idx="1718">
                  <c:v>134.6064814814815</c:v>
                </c:pt>
                <c:pt idx="1719">
                  <c:v>134.6064814814815</c:v>
                </c:pt>
                <c:pt idx="1720">
                  <c:v>134.6064814814815</c:v>
                </c:pt>
                <c:pt idx="1721">
                  <c:v>134.6064814814815</c:v>
                </c:pt>
                <c:pt idx="1722">
                  <c:v>134.6064814814815</c:v>
                </c:pt>
                <c:pt idx="1723">
                  <c:v>134.6064814814815</c:v>
                </c:pt>
                <c:pt idx="1724">
                  <c:v>134.6064814814815</c:v>
                </c:pt>
                <c:pt idx="1725">
                  <c:v>134.6064814814815</c:v>
                </c:pt>
                <c:pt idx="1726">
                  <c:v>134.6064814814815</c:v>
                </c:pt>
                <c:pt idx="1727">
                  <c:v>134.6064814814815</c:v>
                </c:pt>
                <c:pt idx="1728">
                  <c:v>134.6064814814815</c:v>
                </c:pt>
                <c:pt idx="1729">
                  <c:v>134.6064814814815</c:v>
                </c:pt>
                <c:pt idx="1730">
                  <c:v>134.6064814814815</c:v>
                </c:pt>
                <c:pt idx="1731">
                  <c:v>134.6064814814815</c:v>
                </c:pt>
                <c:pt idx="1732">
                  <c:v>134.6064814814815</c:v>
                </c:pt>
                <c:pt idx="1733">
                  <c:v>134.6064814814815</c:v>
                </c:pt>
                <c:pt idx="1734">
                  <c:v>134.6064814814815</c:v>
                </c:pt>
                <c:pt idx="1735">
                  <c:v>134.6064814814815</c:v>
                </c:pt>
                <c:pt idx="1736">
                  <c:v>134.6064814814815</c:v>
                </c:pt>
                <c:pt idx="1737">
                  <c:v>134.6064814814815</c:v>
                </c:pt>
                <c:pt idx="1738">
                  <c:v>134.6064814814815</c:v>
                </c:pt>
                <c:pt idx="1739">
                  <c:v>134.6064814814815</c:v>
                </c:pt>
                <c:pt idx="1740">
                  <c:v>99.18981481481481</c:v>
                </c:pt>
                <c:pt idx="1741">
                  <c:v>99.18981481481481</c:v>
                </c:pt>
                <c:pt idx="1742">
                  <c:v>99.18981481481481</c:v>
                </c:pt>
                <c:pt idx="1743">
                  <c:v>99.18981481481481</c:v>
                </c:pt>
                <c:pt idx="1744">
                  <c:v>99.18981481481481</c:v>
                </c:pt>
                <c:pt idx="1745">
                  <c:v>99.18981481481481</c:v>
                </c:pt>
                <c:pt idx="1746">
                  <c:v>99.18981481481481</c:v>
                </c:pt>
                <c:pt idx="1747">
                  <c:v>99.18981481481481</c:v>
                </c:pt>
                <c:pt idx="1748">
                  <c:v>99.18981481481481</c:v>
                </c:pt>
                <c:pt idx="1749">
                  <c:v>99.18981481481481</c:v>
                </c:pt>
                <c:pt idx="1750">
                  <c:v>99.18981481481481</c:v>
                </c:pt>
                <c:pt idx="1751">
                  <c:v>99.18981481481481</c:v>
                </c:pt>
                <c:pt idx="1752">
                  <c:v>99.18981481481481</c:v>
                </c:pt>
                <c:pt idx="1753">
                  <c:v>99.18981481481481</c:v>
                </c:pt>
                <c:pt idx="1754">
                  <c:v>99.18981481481481</c:v>
                </c:pt>
                <c:pt idx="1755">
                  <c:v>99.18981481481481</c:v>
                </c:pt>
                <c:pt idx="1756">
                  <c:v>99.18981481481481</c:v>
                </c:pt>
                <c:pt idx="1757">
                  <c:v>99.18981481481481</c:v>
                </c:pt>
                <c:pt idx="1758">
                  <c:v>99.18981481481481</c:v>
                </c:pt>
                <c:pt idx="1759">
                  <c:v>99.18981481481481</c:v>
                </c:pt>
                <c:pt idx="1760">
                  <c:v>57.291666666666664</c:v>
                </c:pt>
                <c:pt idx="1761">
                  <c:v>57.291666666666664</c:v>
                </c:pt>
                <c:pt idx="1762">
                  <c:v>57.291666666666664</c:v>
                </c:pt>
                <c:pt idx="1763">
                  <c:v>57.291666666666664</c:v>
                </c:pt>
                <c:pt idx="1764">
                  <c:v>57.291666666666664</c:v>
                </c:pt>
                <c:pt idx="1765">
                  <c:v>57.291666666666664</c:v>
                </c:pt>
                <c:pt idx="1766">
                  <c:v>57.291666666666664</c:v>
                </c:pt>
                <c:pt idx="1767">
                  <c:v>57.291666666666664</c:v>
                </c:pt>
                <c:pt idx="1768">
                  <c:v>57.291666666666664</c:v>
                </c:pt>
                <c:pt idx="1769">
                  <c:v>57.291666666666664</c:v>
                </c:pt>
                <c:pt idx="1770">
                  <c:v>57.291666666666664</c:v>
                </c:pt>
                <c:pt idx="1771">
                  <c:v>57.291666666666664</c:v>
                </c:pt>
                <c:pt idx="1772">
                  <c:v>57.291666666666664</c:v>
                </c:pt>
                <c:pt idx="1773">
                  <c:v>57.291666666666664</c:v>
                </c:pt>
                <c:pt idx="1774">
                  <c:v>57.291666666666664</c:v>
                </c:pt>
                <c:pt idx="1775">
                  <c:v>57.291666666666664</c:v>
                </c:pt>
                <c:pt idx="1776">
                  <c:v>57.291666666666664</c:v>
                </c:pt>
                <c:pt idx="1777">
                  <c:v>57.291666666666664</c:v>
                </c:pt>
                <c:pt idx="1778">
                  <c:v>57.291666666666664</c:v>
                </c:pt>
                <c:pt idx="1779">
                  <c:v>57.291666666666664</c:v>
                </c:pt>
                <c:pt idx="1780">
                  <c:v>4.6875</c:v>
                </c:pt>
                <c:pt idx="1781">
                  <c:v>4.6875</c:v>
                </c:pt>
                <c:pt idx="1782">
                  <c:v>4.6875</c:v>
                </c:pt>
                <c:pt idx="1783">
                  <c:v>4.6875</c:v>
                </c:pt>
                <c:pt idx="1784">
                  <c:v>4.6875</c:v>
                </c:pt>
                <c:pt idx="1785">
                  <c:v>4.6875</c:v>
                </c:pt>
                <c:pt idx="1786">
                  <c:v>4.6875</c:v>
                </c:pt>
                <c:pt idx="1787">
                  <c:v>4.6875</c:v>
                </c:pt>
                <c:pt idx="1788">
                  <c:v>4.6875</c:v>
                </c:pt>
                <c:pt idx="1789">
                  <c:v>4.6875</c:v>
                </c:pt>
                <c:pt idx="1790">
                  <c:v>4.6875</c:v>
                </c:pt>
                <c:pt idx="1791">
                  <c:v>4.6875</c:v>
                </c:pt>
                <c:pt idx="1792">
                  <c:v>4.6875</c:v>
                </c:pt>
                <c:pt idx="1793">
                  <c:v>4.6875</c:v>
                </c:pt>
                <c:pt idx="1794">
                  <c:v>4.6875</c:v>
                </c:pt>
                <c:pt idx="1795">
                  <c:v>4.6875</c:v>
                </c:pt>
                <c:pt idx="1796">
                  <c:v>4.6875</c:v>
                </c:pt>
                <c:pt idx="1797">
                  <c:v>4.6875</c:v>
                </c:pt>
                <c:pt idx="1798">
                  <c:v>4.6875</c:v>
                </c:pt>
                <c:pt idx="1799">
                  <c:v>4.6875</c:v>
                </c:pt>
                <c:pt idx="1800">
                  <c:v>4.6875</c:v>
                </c:pt>
                <c:pt idx="1801">
                  <c:v>4.6875</c:v>
                </c:pt>
                <c:pt idx="1802">
                  <c:v>4.6875</c:v>
                </c:pt>
                <c:pt idx="1803">
                  <c:v>4.6875</c:v>
                </c:pt>
                <c:pt idx="1804">
                  <c:v>4.6875</c:v>
                </c:pt>
                <c:pt idx="1805">
                  <c:v>-36.342592592592595</c:v>
                </c:pt>
                <c:pt idx="1806">
                  <c:v>-36.342592592592595</c:v>
                </c:pt>
                <c:pt idx="1807">
                  <c:v>-36.342592592592595</c:v>
                </c:pt>
                <c:pt idx="1808">
                  <c:v>-36.342592592592595</c:v>
                </c:pt>
                <c:pt idx="1809">
                  <c:v>-36.342592592592595</c:v>
                </c:pt>
                <c:pt idx="1810">
                  <c:v>-36.342592592592595</c:v>
                </c:pt>
                <c:pt idx="1811">
                  <c:v>-36.342592592592595</c:v>
                </c:pt>
                <c:pt idx="1812">
                  <c:v>-36.342592592592595</c:v>
                </c:pt>
                <c:pt idx="1813">
                  <c:v>-36.342592592592595</c:v>
                </c:pt>
                <c:pt idx="1814">
                  <c:v>-36.342592592592595</c:v>
                </c:pt>
                <c:pt idx="1815">
                  <c:v>-36.342592592592595</c:v>
                </c:pt>
                <c:pt idx="1816">
                  <c:v>-36.342592592592595</c:v>
                </c:pt>
                <c:pt idx="1817">
                  <c:v>-36.342592592592595</c:v>
                </c:pt>
                <c:pt idx="1818">
                  <c:v>-36.342592592592595</c:v>
                </c:pt>
                <c:pt idx="1819">
                  <c:v>-36.342592592592595</c:v>
                </c:pt>
                <c:pt idx="1820">
                  <c:v>-36.342592592592595</c:v>
                </c:pt>
                <c:pt idx="1821">
                  <c:v>-36.342592592592595</c:v>
                </c:pt>
                <c:pt idx="1822">
                  <c:v>-36.342592592592595</c:v>
                </c:pt>
                <c:pt idx="1823">
                  <c:v>-36.342592592592595</c:v>
                </c:pt>
                <c:pt idx="1824">
                  <c:v>-36.342592592592595</c:v>
                </c:pt>
                <c:pt idx="1825">
                  <c:v>-55.381944444444443</c:v>
                </c:pt>
                <c:pt idx="1826">
                  <c:v>-55.381944444444443</c:v>
                </c:pt>
                <c:pt idx="1827">
                  <c:v>-55.381944444444443</c:v>
                </c:pt>
                <c:pt idx="1828">
                  <c:v>-55.381944444444443</c:v>
                </c:pt>
                <c:pt idx="1829">
                  <c:v>-55.381944444444443</c:v>
                </c:pt>
                <c:pt idx="1830">
                  <c:v>-55.381944444444443</c:v>
                </c:pt>
                <c:pt idx="1831">
                  <c:v>-55.381944444444443</c:v>
                </c:pt>
                <c:pt idx="1832">
                  <c:v>-55.381944444444443</c:v>
                </c:pt>
                <c:pt idx="1833">
                  <c:v>-55.381944444444443</c:v>
                </c:pt>
                <c:pt idx="1834">
                  <c:v>-55.381944444444443</c:v>
                </c:pt>
                <c:pt idx="1835">
                  <c:v>-55.381944444444443</c:v>
                </c:pt>
                <c:pt idx="1836">
                  <c:v>-55.381944444444443</c:v>
                </c:pt>
                <c:pt idx="1837">
                  <c:v>-55.381944444444443</c:v>
                </c:pt>
                <c:pt idx="1838">
                  <c:v>-55.381944444444443</c:v>
                </c:pt>
                <c:pt idx="1839">
                  <c:v>-55.381944444444443</c:v>
                </c:pt>
                <c:pt idx="1840">
                  <c:v>-55.381944444444443</c:v>
                </c:pt>
                <c:pt idx="1841">
                  <c:v>-55.381944444444443</c:v>
                </c:pt>
                <c:pt idx="1842">
                  <c:v>-55.381944444444443</c:v>
                </c:pt>
                <c:pt idx="1843">
                  <c:v>-55.381944444444443</c:v>
                </c:pt>
                <c:pt idx="1844">
                  <c:v>-55.381944444444443</c:v>
                </c:pt>
                <c:pt idx="1845">
                  <c:v>-82.291666666666657</c:v>
                </c:pt>
                <c:pt idx="1846">
                  <c:v>-82.291666666666657</c:v>
                </c:pt>
                <c:pt idx="1847">
                  <c:v>-82.291666666666657</c:v>
                </c:pt>
                <c:pt idx="1848">
                  <c:v>-82.291666666666657</c:v>
                </c:pt>
                <c:pt idx="1849">
                  <c:v>-82.291666666666657</c:v>
                </c:pt>
                <c:pt idx="1850">
                  <c:v>-82.291666666666657</c:v>
                </c:pt>
                <c:pt idx="1851">
                  <c:v>-82.291666666666657</c:v>
                </c:pt>
                <c:pt idx="1852">
                  <c:v>-82.291666666666657</c:v>
                </c:pt>
                <c:pt idx="1853">
                  <c:v>-82.291666666666657</c:v>
                </c:pt>
                <c:pt idx="1854">
                  <c:v>-82.291666666666657</c:v>
                </c:pt>
                <c:pt idx="1855">
                  <c:v>-82.291666666666657</c:v>
                </c:pt>
                <c:pt idx="1856">
                  <c:v>-82.291666666666657</c:v>
                </c:pt>
                <c:pt idx="1857">
                  <c:v>-82.291666666666657</c:v>
                </c:pt>
                <c:pt idx="1858">
                  <c:v>-82.291666666666657</c:v>
                </c:pt>
                <c:pt idx="1859">
                  <c:v>-82.291666666666657</c:v>
                </c:pt>
                <c:pt idx="1860">
                  <c:v>-82.291666666666657</c:v>
                </c:pt>
                <c:pt idx="1861">
                  <c:v>-82.291666666666657</c:v>
                </c:pt>
                <c:pt idx="1862">
                  <c:v>-82.291666666666657</c:v>
                </c:pt>
                <c:pt idx="1863">
                  <c:v>-82.291666666666657</c:v>
                </c:pt>
                <c:pt idx="1864">
                  <c:v>-82.291666666666657</c:v>
                </c:pt>
                <c:pt idx="1865">
                  <c:v>-97.974537037037052</c:v>
                </c:pt>
                <c:pt idx="1866">
                  <c:v>-97.974537037037052</c:v>
                </c:pt>
                <c:pt idx="1867">
                  <c:v>-97.974537037037052</c:v>
                </c:pt>
                <c:pt idx="1868">
                  <c:v>-97.974537037037052</c:v>
                </c:pt>
                <c:pt idx="1869">
                  <c:v>-97.974537037037052</c:v>
                </c:pt>
                <c:pt idx="1870">
                  <c:v>-97.974537037037052</c:v>
                </c:pt>
                <c:pt idx="1871">
                  <c:v>-97.974537037037052</c:v>
                </c:pt>
                <c:pt idx="1872">
                  <c:v>-97.974537037037052</c:v>
                </c:pt>
                <c:pt idx="1873">
                  <c:v>-97.974537037037052</c:v>
                </c:pt>
                <c:pt idx="1874">
                  <c:v>-97.974537037037052</c:v>
                </c:pt>
                <c:pt idx="1875">
                  <c:v>-97.974537037037052</c:v>
                </c:pt>
                <c:pt idx="1876">
                  <c:v>-97.974537037037052</c:v>
                </c:pt>
                <c:pt idx="1877">
                  <c:v>-97.974537037037052</c:v>
                </c:pt>
                <c:pt idx="1878">
                  <c:v>-97.974537037037052</c:v>
                </c:pt>
                <c:pt idx="1879">
                  <c:v>-97.974537037037052</c:v>
                </c:pt>
                <c:pt idx="1880">
                  <c:v>-97.974537037037052</c:v>
                </c:pt>
                <c:pt idx="1881">
                  <c:v>-97.974537037037052</c:v>
                </c:pt>
                <c:pt idx="1882">
                  <c:v>-97.974537037037052</c:v>
                </c:pt>
                <c:pt idx="1883">
                  <c:v>-97.974537037037052</c:v>
                </c:pt>
                <c:pt idx="1884">
                  <c:v>-97.974537037037052</c:v>
                </c:pt>
                <c:pt idx="1885">
                  <c:v>-97.974537037037052</c:v>
                </c:pt>
                <c:pt idx="1886">
                  <c:v>-97.974537037037052</c:v>
                </c:pt>
                <c:pt idx="1887">
                  <c:v>-97.974537037037052</c:v>
                </c:pt>
                <c:pt idx="1888">
                  <c:v>-97.974537037037052</c:v>
                </c:pt>
                <c:pt idx="1889">
                  <c:v>-97.974537037037052</c:v>
                </c:pt>
                <c:pt idx="1890">
                  <c:v>-88.368055555555543</c:v>
                </c:pt>
                <c:pt idx="1891">
                  <c:v>-88.368055555555543</c:v>
                </c:pt>
                <c:pt idx="1892">
                  <c:v>-88.368055555555543</c:v>
                </c:pt>
                <c:pt idx="1893">
                  <c:v>-88.368055555555543</c:v>
                </c:pt>
                <c:pt idx="1894">
                  <c:v>-88.368055555555543</c:v>
                </c:pt>
                <c:pt idx="1895">
                  <c:v>-88.368055555555543</c:v>
                </c:pt>
                <c:pt idx="1896">
                  <c:v>-88.368055555555543</c:v>
                </c:pt>
                <c:pt idx="1897">
                  <c:v>-88.368055555555543</c:v>
                </c:pt>
                <c:pt idx="1898">
                  <c:v>-88.368055555555543</c:v>
                </c:pt>
                <c:pt idx="1899">
                  <c:v>-88.368055555555543</c:v>
                </c:pt>
                <c:pt idx="1900">
                  <c:v>-88.368055555555543</c:v>
                </c:pt>
                <c:pt idx="1901">
                  <c:v>-88.368055555555543</c:v>
                </c:pt>
                <c:pt idx="1902">
                  <c:v>-88.368055555555543</c:v>
                </c:pt>
                <c:pt idx="1903">
                  <c:v>-88.368055555555543</c:v>
                </c:pt>
                <c:pt idx="1904">
                  <c:v>-88.368055555555543</c:v>
                </c:pt>
                <c:pt idx="1905">
                  <c:v>-88.368055555555543</c:v>
                </c:pt>
                <c:pt idx="1906">
                  <c:v>-88.368055555555543</c:v>
                </c:pt>
                <c:pt idx="1907">
                  <c:v>-88.368055555555543</c:v>
                </c:pt>
                <c:pt idx="1908">
                  <c:v>-88.368055555555543</c:v>
                </c:pt>
                <c:pt idx="1909">
                  <c:v>-88.368055555555543</c:v>
                </c:pt>
                <c:pt idx="1910">
                  <c:v>-94.212962962962948</c:v>
                </c:pt>
                <c:pt idx="1911">
                  <c:v>-94.212962962962948</c:v>
                </c:pt>
                <c:pt idx="1912">
                  <c:v>-94.212962962962948</c:v>
                </c:pt>
                <c:pt idx="1913">
                  <c:v>-94.212962962962948</c:v>
                </c:pt>
                <c:pt idx="1914">
                  <c:v>-94.212962962962948</c:v>
                </c:pt>
                <c:pt idx="1915">
                  <c:v>-94.212962962962948</c:v>
                </c:pt>
                <c:pt idx="1916">
                  <c:v>-94.212962962962948</c:v>
                </c:pt>
                <c:pt idx="1917">
                  <c:v>-94.212962962962948</c:v>
                </c:pt>
                <c:pt idx="1918">
                  <c:v>-94.212962962962948</c:v>
                </c:pt>
                <c:pt idx="1919">
                  <c:v>-94.212962962962948</c:v>
                </c:pt>
                <c:pt idx="1920">
                  <c:v>-94.212962962962948</c:v>
                </c:pt>
                <c:pt idx="1921">
                  <c:v>-94.212962962962948</c:v>
                </c:pt>
                <c:pt idx="1922">
                  <c:v>-94.212962962962948</c:v>
                </c:pt>
                <c:pt idx="1923">
                  <c:v>-94.212962962962948</c:v>
                </c:pt>
                <c:pt idx="1924">
                  <c:v>-94.212962962962948</c:v>
                </c:pt>
                <c:pt idx="1925">
                  <c:v>-94.212962962962948</c:v>
                </c:pt>
                <c:pt idx="1926">
                  <c:v>-94.212962962962948</c:v>
                </c:pt>
                <c:pt idx="1927">
                  <c:v>-94.212962962962948</c:v>
                </c:pt>
                <c:pt idx="1928">
                  <c:v>-94.212962962962948</c:v>
                </c:pt>
                <c:pt idx="1929">
                  <c:v>-94.212962962962948</c:v>
                </c:pt>
                <c:pt idx="1930">
                  <c:v>-94.212962962962948</c:v>
                </c:pt>
                <c:pt idx="1931">
                  <c:v>-94.212962962962948</c:v>
                </c:pt>
                <c:pt idx="1932">
                  <c:v>-94.212962962962948</c:v>
                </c:pt>
                <c:pt idx="1933">
                  <c:v>-94.212962962962948</c:v>
                </c:pt>
                <c:pt idx="1934">
                  <c:v>-94.212962962962948</c:v>
                </c:pt>
                <c:pt idx="1935">
                  <c:v>-78.009259259259267</c:v>
                </c:pt>
                <c:pt idx="1936">
                  <c:v>-78.009259259259267</c:v>
                </c:pt>
                <c:pt idx="1937">
                  <c:v>-78.009259259259267</c:v>
                </c:pt>
                <c:pt idx="1938">
                  <c:v>-78.009259259259267</c:v>
                </c:pt>
                <c:pt idx="1939">
                  <c:v>-78.009259259259267</c:v>
                </c:pt>
                <c:pt idx="1940">
                  <c:v>-78.009259259259267</c:v>
                </c:pt>
                <c:pt idx="1941">
                  <c:v>-78.009259259259267</c:v>
                </c:pt>
                <c:pt idx="1942">
                  <c:v>-78.009259259259267</c:v>
                </c:pt>
                <c:pt idx="1943">
                  <c:v>-78.009259259259267</c:v>
                </c:pt>
                <c:pt idx="1944">
                  <c:v>-78.009259259259267</c:v>
                </c:pt>
                <c:pt idx="1945">
                  <c:v>-78.009259259259267</c:v>
                </c:pt>
                <c:pt idx="1946">
                  <c:v>-78.009259259259267</c:v>
                </c:pt>
                <c:pt idx="1947">
                  <c:v>-78.009259259259267</c:v>
                </c:pt>
                <c:pt idx="1948">
                  <c:v>-78.009259259259267</c:v>
                </c:pt>
                <c:pt idx="1949">
                  <c:v>-78.009259259259267</c:v>
                </c:pt>
                <c:pt idx="1950">
                  <c:v>-78.009259259259267</c:v>
                </c:pt>
                <c:pt idx="1951">
                  <c:v>-78.009259259259267</c:v>
                </c:pt>
                <c:pt idx="1952">
                  <c:v>-78.009259259259267</c:v>
                </c:pt>
                <c:pt idx="1953">
                  <c:v>-78.009259259259267</c:v>
                </c:pt>
                <c:pt idx="1954">
                  <c:v>-78.009259259259267</c:v>
                </c:pt>
                <c:pt idx="1955">
                  <c:v>-69.849537037037052</c:v>
                </c:pt>
                <c:pt idx="1956">
                  <c:v>-69.849537037037052</c:v>
                </c:pt>
                <c:pt idx="1957">
                  <c:v>-69.849537037037052</c:v>
                </c:pt>
                <c:pt idx="1958">
                  <c:v>-69.849537037037052</c:v>
                </c:pt>
                <c:pt idx="1959">
                  <c:v>-69.849537037037052</c:v>
                </c:pt>
                <c:pt idx="1960">
                  <c:v>-69.849537037037052</c:v>
                </c:pt>
                <c:pt idx="1961">
                  <c:v>-69.849537037037052</c:v>
                </c:pt>
                <c:pt idx="1962">
                  <c:v>-69.849537037037052</c:v>
                </c:pt>
                <c:pt idx="1963">
                  <c:v>-69.849537037037052</c:v>
                </c:pt>
                <c:pt idx="1964">
                  <c:v>-69.849537037037052</c:v>
                </c:pt>
                <c:pt idx="1965">
                  <c:v>-69.849537037037052</c:v>
                </c:pt>
                <c:pt idx="1966">
                  <c:v>-69.849537037037052</c:v>
                </c:pt>
                <c:pt idx="1967">
                  <c:v>-69.849537037037052</c:v>
                </c:pt>
                <c:pt idx="1968">
                  <c:v>-69.849537037037052</c:v>
                </c:pt>
                <c:pt idx="1969">
                  <c:v>-69.849537037037052</c:v>
                </c:pt>
                <c:pt idx="1970">
                  <c:v>-69.849537037037052</c:v>
                </c:pt>
                <c:pt idx="1971">
                  <c:v>-69.849537037037052</c:v>
                </c:pt>
                <c:pt idx="1972">
                  <c:v>-69.849537037037052</c:v>
                </c:pt>
                <c:pt idx="1973">
                  <c:v>-69.849537037037052</c:v>
                </c:pt>
                <c:pt idx="1974">
                  <c:v>-69.849537037037052</c:v>
                </c:pt>
                <c:pt idx="1975">
                  <c:v>-61.458333333333336</c:v>
                </c:pt>
                <c:pt idx="1976">
                  <c:v>-61.458333333333336</c:v>
                </c:pt>
                <c:pt idx="1977">
                  <c:v>-61.458333333333336</c:v>
                </c:pt>
                <c:pt idx="1978">
                  <c:v>-61.458333333333336</c:v>
                </c:pt>
                <c:pt idx="1979">
                  <c:v>-61.458333333333336</c:v>
                </c:pt>
                <c:pt idx="1980">
                  <c:v>-61.458333333333336</c:v>
                </c:pt>
                <c:pt idx="1981">
                  <c:v>-61.458333333333336</c:v>
                </c:pt>
                <c:pt idx="1982">
                  <c:v>-61.458333333333336</c:v>
                </c:pt>
                <c:pt idx="1983">
                  <c:v>-61.458333333333336</c:v>
                </c:pt>
                <c:pt idx="1984">
                  <c:v>-61.458333333333336</c:v>
                </c:pt>
                <c:pt idx="1985">
                  <c:v>-61.458333333333336</c:v>
                </c:pt>
                <c:pt idx="1986">
                  <c:v>-61.458333333333336</c:v>
                </c:pt>
                <c:pt idx="1987">
                  <c:v>-61.458333333333336</c:v>
                </c:pt>
                <c:pt idx="1988">
                  <c:v>-61.458333333333336</c:v>
                </c:pt>
                <c:pt idx="1989">
                  <c:v>-61.458333333333336</c:v>
                </c:pt>
                <c:pt idx="1990">
                  <c:v>-61.458333333333336</c:v>
                </c:pt>
                <c:pt idx="1991">
                  <c:v>-61.458333333333336</c:v>
                </c:pt>
                <c:pt idx="1992">
                  <c:v>-61.458333333333336</c:v>
                </c:pt>
                <c:pt idx="1993">
                  <c:v>-61.458333333333336</c:v>
                </c:pt>
                <c:pt idx="1994">
                  <c:v>-61.458333333333336</c:v>
                </c:pt>
                <c:pt idx="1995">
                  <c:v>-61.458333333333336</c:v>
                </c:pt>
                <c:pt idx="1996">
                  <c:v>-61.458333333333336</c:v>
                </c:pt>
                <c:pt idx="1997">
                  <c:v>-61.458333333333336</c:v>
                </c:pt>
                <c:pt idx="1998">
                  <c:v>-61.458333333333336</c:v>
                </c:pt>
                <c:pt idx="1999">
                  <c:v>-61.458333333333336</c:v>
                </c:pt>
                <c:pt idx="2000">
                  <c:v>-37.557870370370374</c:v>
                </c:pt>
                <c:pt idx="2001">
                  <c:v>-37.557870370370374</c:v>
                </c:pt>
                <c:pt idx="2002">
                  <c:v>-37.557870370370374</c:v>
                </c:pt>
                <c:pt idx="2003">
                  <c:v>-37.557870370370374</c:v>
                </c:pt>
                <c:pt idx="2004">
                  <c:v>-37.557870370370374</c:v>
                </c:pt>
                <c:pt idx="2005">
                  <c:v>-37.557870370370374</c:v>
                </c:pt>
                <c:pt idx="2006">
                  <c:v>-37.557870370370374</c:v>
                </c:pt>
                <c:pt idx="2007">
                  <c:v>-37.557870370370374</c:v>
                </c:pt>
                <c:pt idx="2008">
                  <c:v>-37.557870370370374</c:v>
                </c:pt>
                <c:pt idx="2009">
                  <c:v>-37.557870370370374</c:v>
                </c:pt>
                <c:pt idx="2010">
                  <c:v>-37.557870370370374</c:v>
                </c:pt>
                <c:pt idx="2011">
                  <c:v>-37.557870370370374</c:v>
                </c:pt>
                <c:pt idx="2012">
                  <c:v>-37.557870370370374</c:v>
                </c:pt>
                <c:pt idx="2013">
                  <c:v>-37.557870370370374</c:v>
                </c:pt>
                <c:pt idx="2014">
                  <c:v>-37.557870370370374</c:v>
                </c:pt>
                <c:pt idx="2015">
                  <c:v>-37.557870370370374</c:v>
                </c:pt>
                <c:pt idx="2016">
                  <c:v>-37.557870370370374</c:v>
                </c:pt>
                <c:pt idx="2017">
                  <c:v>-37.557870370370374</c:v>
                </c:pt>
                <c:pt idx="2018">
                  <c:v>-37.557870370370374</c:v>
                </c:pt>
                <c:pt idx="2019">
                  <c:v>-37.557870370370374</c:v>
                </c:pt>
                <c:pt idx="2020">
                  <c:v>-24.652777777777775</c:v>
                </c:pt>
                <c:pt idx="2021">
                  <c:v>-24.652777777777775</c:v>
                </c:pt>
                <c:pt idx="2022">
                  <c:v>-24.652777777777775</c:v>
                </c:pt>
                <c:pt idx="2023">
                  <c:v>-24.652777777777775</c:v>
                </c:pt>
                <c:pt idx="2024">
                  <c:v>-24.652777777777775</c:v>
                </c:pt>
                <c:pt idx="2025">
                  <c:v>-24.652777777777775</c:v>
                </c:pt>
                <c:pt idx="2026">
                  <c:v>-24.652777777777775</c:v>
                </c:pt>
                <c:pt idx="2027">
                  <c:v>-24.652777777777775</c:v>
                </c:pt>
                <c:pt idx="2028">
                  <c:v>-24.652777777777775</c:v>
                </c:pt>
                <c:pt idx="2029">
                  <c:v>-24.652777777777775</c:v>
                </c:pt>
                <c:pt idx="2030">
                  <c:v>-24.652777777777775</c:v>
                </c:pt>
                <c:pt idx="2031">
                  <c:v>-24.652777777777775</c:v>
                </c:pt>
                <c:pt idx="2032">
                  <c:v>-24.652777777777775</c:v>
                </c:pt>
                <c:pt idx="2033">
                  <c:v>-24.652777777777775</c:v>
                </c:pt>
                <c:pt idx="2034">
                  <c:v>-24.652777777777775</c:v>
                </c:pt>
                <c:pt idx="2035">
                  <c:v>-24.652777777777775</c:v>
                </c:pt>
                <c:pt idx="2036">
                  <c:v>-24.652777777777775</c:v>
                </c:pt>
                <c:pt idx="2037">
                  <c:v>-24.652777777777775</c:v>
                </c:pt>
                <c:pt idx="2038">
                  <c:v>-24.652777777777775</c:v>
                </c:pt>
                <c:pt idx="2039">
                  <c:v>-24.652777777777775</c:v>
                </c:pt>
                <c:pt idx="2040">
                  <c:v>-13.194444444444445</c:v>
                </c:pt>
                <c:pt idx="2041">
                  <c:v>-13.194444444444445</c:v>
                </c:pt>
                <c:pt idx="2042">
                  <c:v>-13.194444444444445</c:v>
                </c:pt>
                <c:pt idx="2043">
                  <c:v>-13.194444444444445</c:v>
                </c:pt>
                <c:pt idx="2044">
                  <c:v>-13.194444444444445</c:v>
                </c:pt>
                <c:pt idx="2045">
                  <c:v>-13.194444444444445</c:v>
                </c:pt>
                <c:pt idx="2046">
                  <c:v>-13.194444444444445</c:v>
                </c:pt>
                <c:pt idx="2047">
                  <c:v>-13.194444444444445</c:v>
                </c:pt>
                <c:pt idx="2048">
                  <c:v>-13.194444444444445</c:v>
                </c:pt>
                <c:pt idx="2049">
                  <c:v>-13.194444444444445</c:v>
                </c:pt>
                <c:pt idx="2050">
                  <c:v>-13.194444444444445</c:v>
                </c:pt>
                <c:pt idx="2051">
                  <c:v>-13.194444444444445</c:v>
                </c:pt>
                <c:pt idx="2052">
                  <c:v>-13.194444444444445</c:v>
                </c:pt>
                <c:pt idx="2053">
                  <c:v>-13.194444444444445</c:v>
                </c:pt>
                <c:pt idx="2054">
                  <c:v>-13.194444444444445</c:v>
                </c:pt>
                <c:pt idx="2055">
                  <c:v>-13.194444444444445</c:v>
                </c:pt>
                <c:pt idx="2056">
                  <c:v>-13.194444444444445</c:v>
                </c:pt>
                <c:pt idx="2057">
                  <c:v>-13.194444444444445</c:v>
                </c:pt>
                <c:pt idx="2058">
                  <c:v>-13.194444444444445</c:v>
                </c:pt>
                <c:pt idx="2059">
                  <c:v>-13.194444444444445</c:v>
                </c:pt>
                <c:pt idx="2060">
                  <c:v>-13.194444444444445</c:v>
                </c:pt>
                <c:pt idx="2061">
                  <c:v>-13.194444444444445</c:v>
                </c:pt>
                <c:pt idx="2062">
                  <c:v>-13.194444444444445</c:v>
                </c:pt>
                <c:pt idx="2063">
                  <c:v>-13.194444444444445</c:v>
                </c:pt>
                <c:pt idx="2064">
                  <c:v>-13.194444444444445</c:v>
                </c:pt>
                <c:pt idx="2065">
                  <c:v>-1.5046296296296295</c:v>
                </c:pt>
                <c:pt idx="2066">
                  <c:v>-1.5046296296296295</c:v>
                </c:pt>
                <c:pt idx="2067">
                  <c:v>-1.5046296296296295</c:v>
                </c:pt>
                <c:pt idx="2068">
                  <c:v>-1.5046296296296295</c:v>
                </c:pt>
                <c:pt idx="2069">
                  <c:v>-1.5046296296296295</c:v>
                </c:pt>
                <c:pt idx="2070">
                  <c:v>-1.5046296296296295</c:v>
                </c:pt>
                <c:pt idx="2071">
                  <c:v>-1.5046296296296295</c:v>
                </c:pt>
                <c:pt idx="2072">
                  <c:v>-1.5046296296296295</c:v>
                </c:pt>
                <c:pt idx="2073">
                  <c:v>-1.5046296296296295</c:v>
                </c:pt>
                <c:pt idx="2074">
                  <c:v>-1.5046296296296295</c:v>
                </c:pt>
                <c:pt idx="2075">
                  <c:v>-1.5046296296296295</c:v>
                </c:pt>
                <c:pt idx="2076">
                  <c:v>-1.5046296296296295</c:v>
                </c:pt>
                <c:pt idx="2077">
                  <c:v>-1.5046296296296295</c:v>
                </c:pt>
                <c:pt idx="2078">
                  <c:v>-1.5046296296296295</c:v>
                </c:pt>
                <c:pt idx="2079">
                  <c:v>-1.5046296296296295</c:v>
                </c:pt>
                <c:pt idx="2080">
                  <c:v>-1.5046296296296295</c:v>
                </c:pt>
                <c:pt idx="2081">
                  <c:v>-1.5046296296296295</c:v>
                </c:pt>
                <c:pt idx="2082">
                  <c:v>-1.5046296296296295</c:v>
                </c:pt>
                <c:pt idx="2083">
                  <c:v>-1.5046296296296295</c:v>
                </c:pt>
                <c:pt idx="2084">
                  <c:v>-1.5046296296296295</c:v>
                </c:pt>
                <c:pt idx="2085">
                  <c:v>10.069444444444443</c:v>
                </c:pt>
                <c:pt idx="2086">
                  <c:v>10.069444444444443</c:v>
                </c:pt>
                <c:pt idx="2087">
                  <c:v>10.069444444444443</c:v>
                </c:pt>
                <c:pt idx="2088">
                  <c:v>10.069444444444443</c:v>
                </c:pt>
                <c:pt idx="2089">
                  <c:v>10.069444444444443</c:v>
                </c:pt>
                <c:pt idx="2090">
                  <c:v>10.069444444444443</c:v>
                </c:pt>
                <c:pt idx="2091">
                  <c:v>10.069444444444443</c:v>
                </c:pt>
                <c:pt idx="2092">
                  <c:v>10.069444444444443</c:v>
                </c:pt>
                <c:pt idx="2093">
                  <c:v>10.069444444444443</c:v>
                </c:pt>
                <c:pt idx="2094">
                  <c:v>10.069444444444443</c:v>
                </c:pt>
                <c:pt idx="2095">
                  <c:v>10.069444444444443</c:v>
                </c:pt>
                <c:pt idx="2096">
                  <c:v>10.069444444444443</c:v>
                </c:pt>
                <c:pt idx="2097">
                  <c:v>10.069444444444443</c:v>
                </c:pt>
                <c:pt idx="2098">
                  <c:v>10.069444444444443</c:v>
                </c:pt>
                <c:pt idx="2099">
                  <c:v>10.069444444444443</c:v>
                </c:pt>
                <c:pt idx="2100">
                  <c:v>10.069444444444443</c:v>
                </c:pt>
                <c:pt idx="2101">
                  <c:v>10.069444444444443</c:v>
                </c:pt>
                <c:pt idx="2102">
                  <c:v>10.069444444444443</c:v>
                </c:pt>
                <c:pt idx="2103">
                  <c:v>10.069444444444443</c:v>
                </c:pt>
                <c:pt idx="2104">
                  <c:v>10.069444444444443</c:v>
                </c:pt>
                <c:pt idx="2105">
                  <c:v>10.069444444444443</c:v>
                </c:pt>
                <c:pt idx="2106">
                  <c:v>10.069444444444443</c:v>
                </c:pt>
                <c:pt idx="2107">
                  <c:v>10.069444444444443</c:v>
                </c:pt>
                <c:pt idx="2108">
                  <c:v>10.069444444444443</c:v>
                </c:pt>
                <c:pt idx="2109">
                  <c:v>10.069444444444443</c:v>
                </c:pt>
                <c:pt idx="2110">
                  <c:v>1.9097222222222223</c:v>
                </c:pt>
                <c:pt idx="2111">
                  <c:v>1.9097222222222223</c:v>
                </c:pt>
                <c:pt idx="2112">
                  <c:v>1.9097222222222223</c:v>
                </c:pt>
                <c:pt idx="2113">
                  <c:v>1.9097222222222223</c:v>
                </c:pt>
                <c:pt idx="2114">
                  <c:v>1.9097222222222223</c:v>
                </c:pt>
                <c:pt idx="2115">
                  <c:v>1.9097222222222223</c:v>
                </c:pt>
                <c:pt idx="2116">
                  <c:v>1.9097222222222223</c:v>
                </c:pt>
                <c:pt idx="2117">
                  <c:v>1.9097222222222223</c:v>
                </c:pt>
                <c:pt idx="2118">
                  <c:v>1.9097222222222223</c:v>
                </c:pt>
                <c:pt idx="2119">
                  <c:v>1.9097222222222223</c:v>
                </c:pt>
                <c:pt idx="2120">
                  <c:v>1.9097222222222223</c:v>
                </c:pt>
                <c:pt idx="2121">
                  <c:v>1.9097222222222223</c:v>
                </c:pt>
                <c:pt idx="2122">
                  <c:v>1.9097222222222223</c:v>
                </c:pt>
                <c:pt idx="2123">
                  <c:v>1.9097222222222223</c:v>
                </c:pt>
                <c:pt idx="2124">
                  <c:v>1.9097222222222223</c:v>
                </c:pt>
                <c:pt idx="2125">
                  <c:v>1.9097222222222223</c:v>
                </c:pt>
                <c:pt idx="2126">
                  <c:v>1.9097222222222223</c:v>
                </c:pt>
                <c:pt idx="2127">
                  <c:v>1.9097222222222223</c:v>
                </c:pt>
                <c:pt idx="2128">
                  <c:v>1.9097222222222223</c:v>
                </c:pt>
                <c:pt idx="2129">
                  <c:v>1.9097222222222223</c:v>
                </c:pt>
                <c:pt idx="2130">
                  <c:v>7.0601851851851842</c:v>
                </c:pt>
                <c:pt idx="2131">
                  <c:v>7.0601851851851842</c:v>
                </c:pt>
                <c:pt idx="2132">
                  <c:v>7.0601851851851842</c:v>
                </c:pt>
                <c:pt idx="2133">
                  <c:v>7.0601851851851842</c:v>
                </c:pt>
                <c:pt idx="2134">
                  <c:v>7.0601851851851842</c:v>
                </c:pt>
                <c:pt idx="2135">
                  <c:v>7.0601851851851842</c:v>
                </c:pt>
                <c:pt idx="2136">
                  <c:v>7.0601851851851842</c:v>
                </c:pt>
                <c:pt idx="2137">
                  <c:v>7.0601851851851842</c:v>
                </c:pt>
                <c:pt idx="2138">
                  <c:v>7.0601851851851842</c:v>
                </c:pt>
                <c:pt idx="2139">
                  <c:v>7.0601851851851842</c:v>
                </c:pt>
                <c:pt idx="2140">
                  <c:v>7.0601851851851842</c:v>
                </c:pt>
                <c:pt idx="2141">
                  <c:v>7.0601851851851842</c:v>
                </c:pt>
                <c:pt idx="2142">
                  <c:v>7.0601851851851842</c:v>
                </c:pt>
                <c:pt idx="2143">
                  <c:v>7.0601851851851842</c:v>
                </c:pt>
                <c:pt idx="2144">
                  <c:v>7.0601851851851842</c:v>
                </c:pt>
                <c:pt idx="2145">
                  <c:v>7.0601851851851842</c:v>
                </c:pt>
                <c:pt idx="2146">
                  <c:v>7.0601851851851842</c:v>
                </c:pt>
                <c:pt idx="2147">
                  <c:v>7.0601851851851842</c:v>
                </c:pt>
                <c:pt idx="2148">
                  <c:v>7.0601851851851842</c:v>
                </c:pt>
                <c:pt idx="2149">
                  <c:v>7.0601851851851842</c:v>
                </c:pt>
                <c:pt idx="2150">
                  <c:v>14.004629629629632</c:v>
                </c:pt>
                <c:pt idx="2151">
                  <c:v>14.004629629629632</c:v>
                </c:pt>
                <c:pt idx="2152">
                  <c:v>14.004629629629632</c:v>
                </c:pt>
                <c:pt idx="2153">
                  <c:v>14.004629629629632</c:v>
                </c:pt>
                <c:pt idx="2154">
                  <c:v>14.004629629629632</c:v>
                </c:pt>
                <c:pt idx="2155">
                  <c:v>14.004629629629632</c:v>
                </c:pt>
                <c:pt idx="2156">
                  <c:v>14.004629629629632</c:v>
                </c:pt>
                <c:pt idx="2157">
                  <c:v>14.004629629629632</c:v>
                </c:pt>
                <c:pt idx="2158">
                  <c:v>14.004629629629632</c:v>
                </c:pt>
                <c:pt idx="2159">
                  <c:v>14.004629629629632</c:v>
                </c:pt>
                <c:pt idx="2160">
                  <c:v>14.004629629629632</c:v>
                </c:pt>
                <c:pt idx="2161">
                  <c:v>14.004629629629632</c:v>
                </c:pt>
                <c:pt idx="2162">
                  <c:v>14.004629629629632</c:v>
                </c:pt>
                <c:pt idx="2163">
                  <c:v>14.004629629629632</c:v>
                </c:pt>
                <c:pt idx="2164">
                  <c:v>14.004629629629632</c:v>
                </c:pt>
                <c:pt idx="2165">
                  <c:v>14.004629629629632</c:v>
                </c:pt>
                <c:pt idx="2166">
                  <c:v>14.004629629629632</c:v>
                </c:pt>
                <c:pt idx="2167">
                  <c:v>14.004629629629632</c:v>
                </c:pt>
                <c:pt idx="2168">
                  <c:v>14.004629629629632</c:v>
                </c:pt>
                <c:pt idx="2169">
                  <c:v>14.004629629629632</c:v>
                </c:pt>
                <c:pt idx="2170">
                  <c:v>19.328703703703706</c:v>
                </c:pt>
                <c:pt idx="2171">
                  <c:v>19.328703703703706</c:v>
                </c:pt>
                <c:pt idx="2172">
                  <c:v>19.328703703703706</c:v>
                </c:pt>
                <c:pt idx="2173">
                  <c:v>19.328703703703706</c:v>
                </c:pt>
                <c:pt idx="2174">
                  <c:v>19.328703703703706</c:v>
                </c:pt>
                <c:pt idx="2175">
                  <c:v>19.328703703703706</c:v>
                </c:pt>
                <c:pt idx="2176">
                  <c:v>19.328703703703706</c:v>
                </c:pt>
                <c:pt idx="2177">
                  <c:v>19.328703703703706</c:v>
                </c:pt>
                <c:pt idx="2178">
                  <c:v>19.328703703703706</c:v>
                </c:pt>
                <c:pt idx="2179">
                  <c:v>19.328703703703706</c:v>
                </c:pt>
                <c:pt idx="2180">
                  <c:v>19.328703703703706</c:v>
                </c:pt>
                <c:pt idx="2181">
                  <c:v>19.328703703703706</c:v>
                </c:pt>
                <c:pt idx="2182">
                  <c:v>19.328703703703706</c:v>
                </c:pt>
                <c:pt idx="2183">
                  <c:v>19.328703703703706</c:v>
                </c:pt>
                <c:pt idx="2184">
                  <c:v>19.328703703703706</c:v>
                </c:pt>
                <c:pt idx="2185">
                  <c:v>19.328703703703706</c:v>
                </c:pt>
                <c:pt idx="2186">
                  <c:v>19.328703703703706</c:v>
                </c:pt>
                <c:pt idx="2187">
                  <c:v>19.328703703703706</c:v>
                </c:pt>
                <c:pt idx="2188">
                  <c:v>19.328703703703706</c:v>
                </c:pt>
                <c:pt idx="2189">
                  <c:v>19.328703703703706</c:v>
                </c:pt>
                <c:pt idx="2190">
                  <c:v>19.328703703703706</c:v>
                </c:pt>
                <c:pt idx="2191">
                  <c:v>19.328703703703706</c:v>
                </c:pt>
                <c:pt idx="2192">
                  <c:v>19.328703703703706</c:v>
                </c:pt>
                <c:pt idx="2193">
                  <c:v>19.328703703703706</c:v>
                </c:pt>
                <c:pt idx="2194">
                  <c:v>19.328703703703706</c:v>
                </c:pt>
                <c:pt idx="2195">
                  <c:v>27.546296296296298</c:v>
                </c:pt>
                <c:pt idx="2196">
                  <c:v>27.546296296296298</c:v>
                </c:pt>
                <c:pt idx="2197">
                  <c:v>27.546296296296298</c:v>
                </c:pt>
                <c:pt idx="2198">
                  <c:v>27.546296296296298</c:v>
                </c:pt>
                <c:pt idx="2199">
                  <c:v>27.546296296296298</c:v>
                </c:pt>
                <c:pt idx="2200">
                  <c:v>27.546296296296298</c:v>
                </c:pt>
                <c:pt idx="2201">
                  <c:v>27.546296296296298</c:v>
                </c:pt>
                <c:pt idx="2202">
                  <c:v>27.546296296296298</c:v>
                </c:pt>
                <c:pt idx="2203">
                  <c:v>27.546296296296298</c:v>
                </c:pt>
                <c:pt idx="2204">
                  <c:v>27.546296296296298</c:v>
                </c:pt>
                <c:pt idx="2205">
                  <c:v>27.546296296296298</c:v>
                </c:pt>
                <c:pt idx="2206">
                  <c:v>27.546296296296298</c:v>
                </c:pt>
                <c:pt idx="2207">
                  <c:v>27.546296296296298</c:v>
                </c:pt>
                <c:pt idx="2208">
                  <c:v>27.546296296296298</c:v>
                </c:pt>
                <c:pt idx="2209">
                  <c:v>27.546296296296298</c:v>
                </c:pt>
                <c:pt idx="2210">
                  <c:v>27.546296296296298</c:v>
                </c:pt>
                <c:pt idx="2211">
                  <c:v>27.546296296296298</c:v>
                </c:pt>
                <c:pt idx="2212">
                  <c:v>27.546296296296298</c:v>
                </c:pt>
                <c:pt idx="2213">
                  <c:v>27.546296296296298</c:v>
                </c:pt>
                <c:pt idx="2214">
                  <c:v>27.546296296296298</c:v>
                </c:pt>
                <c:pt idx="2215">
                  <c:v>37.557870370370374</c:v>
                </c:pt>
                <c:pt idx="2216">
                  <c:v>37.557870370370374</c:v>
                </c:pt>
                <c:pt idx="2217">
                  <c:v>37.557870370370374</c:v>
                </c:pt>
                <c:pt idx="2218">
                  <c:v>37.557870370370374</c:v>
                </c:pt>
                <c:pt idx="2219">
                  <c:v>37.557870370370374</c:v>
                </c:pt>
                <c:pt idx="2220">
                  <c:v>37.557870370370374</c:v>
                </c:pt>
                <c:pt idx="2221">
                  <c:v>37.557870370370374</c:v>
                </c:pt>
                <c:pt idx="2222">
                  <c:v>37.557870370370374</c:v>
                </c:pt>
                <c:pt idx="2223">
                  <c:v>37.557870370370374</c:v>
                </c:pt>
                <c:pt idx="2224">
                  <c:v>37.557870370370374</c:v>
                </c:pt>
                <c:pt idx="2225">
                  <c:v>37.557870370370374</c:v>
                </c:pt>
                <c:pt idx="2226">
                  <c:v>37.557870370370374</c:v>
                </c:pt>
                <c:pt idx="2227">
                  <c:v>37.557870370370374</c:v>
                </c:pt>
                <c:pt idx="2228">
                  <c:v>37.557870370370374</c:v>
                </c:pt>
                <c:pt idx="2229">
                  <c:v>37.557870370370374</c:v>
                </c:pt>
                <c:pt idx="2230">
                  <c:v>37.557870370370374</c:v>
                </c:pt>
                <c:pt idx="2231">
                  <c:v>37.557870370370374</c:v>
                </c:pt>
                <c:pt idx="2232">
                  <c:v>37.557870370370374</c:v>
                </c:pt>
                <c:pt idx="2233">
                  <c:v>37.557870370370374</c:v>
                </c:pt>
                <c:pt idx="2234">
                  <c:v>37.557870370370374</c:v>
                </c:pt>
                <c:pt idx="2235">
                  <c:v>51.909722222222221</c:v>
                </c:pt>
                <c:pt idx="2236">
                  <c:v>51.909722222222221</c:v>
                </c:pt>
                <c:pt idx="2237">
                  <c:v>51.909722222222221</c:v>
                </c:pt>
                <c:pt idx="2238">
                  <c:v>51.909722222222221</c:v>
                </c:pt>
                <c:pt idx="2239">
                  <c:v>51.909722222222221</c:v>
                </c:pt>
                <c:pt idx="2240">
                  <c:v>51.909722222222221</c:v>
                </c:pt>
                <c:pt idx="2241">
                  <c:v>51.909722222222221</c:v>
                </c:pt>
                <c:pt idx="2242">
                  <c:v>51.909722222222221</c:v>
                </c:pt>
                <c:pt idx="2243">
                  <c:v>51.909722222222221</c:v>
                </c:pt>
                <c:pt idx="2244">
                  <c:v>51.909722222222221</c:v>
                </c:pt>
                <c:pt idx="2245">
                  <c:v>51.909722222222221</c:v>
                </c:pt>
                <c:pt idx="2246">
                  <c:v>51.909722222222221</c:v>
                </c:pt>
                <c:pt idx="2247">
                  <c:v>51.909722222222221</c:v>
                </c:pt>
                <c:pt idx="2248">
                  <c:v>51.909722222222221</c:v>
                </c:pt>
                <c:pt idx="2249">
                  <c:v>51.909722222222221</c:v>
                </c:pt>
                <c:pt idx="2250">
                  <c:v>51.909722222222221</c:v>
                </c:pt>
                <c:pt idx="2251">
                  <c:v>51.909722222222221</c:v>
                </c:pt>
                <c:pt idx="2252">
                  <c:v>51.909722222222221</c:v>
                </c:pt>
                <c:pt idx="2253">
                  <c:v>51.909722222222221</c:v>
                </c:pt>
                <c:pt idx="2254">
                  <c:v>51.909722222222221</c:v>
                </c:pt>
                <c:pt idx="2255">
                  <c:v>51.909722222222221</c:v>
                </c:pt>
                <c:pt idx="2256">
                  <c:v>51.909722222222221</c:v>
                </c:pt>
                <c:pt idx="2257">
                  <c:v>51.909722222222221</c:v>
                </c:pt>
                <c:pt idx="2258">
                  <c:v>51.909722222222221</c:v>
                </c:pt>
                <c:pt idx="2259">
                  <c:v>51.909722222222221</c:v>
                </c:pt>
                <c:pt idx="2260">
                  <c:v>59.490740740740748</c:v>
                </c:pt>
                <c:pt idx="2261">
                  <c:v>59.490740740740748</c:v>
                </c:pt>
                <c:pt idx="2262">
                  <c:v>59.490740740740748</c:v>
                </c:pt>
                <c:pt idx="2263">
                  <c:v>59.490740740740748</c:v>
                </c:pt>
                <c:pt idx="2264">
                  <c:v>59.490740740740748</c:v>
                </c:pt>
                <c:pt idx="2265">
                  <c:v>59.490740740740748</c:v>
                </c:pt>
                <c:pt idx="2266">
                  <c:v>59.490740740740748</c:v>
                </c:pt>
                <c:pt idx="2267">
                  <c:v>59.490740740740748</c:v>
                </c:pt>
                <c:pt idx="2268">
                  <c:v>59.490740740740748</c:v>
                </c:pt>
                <c:pt idx="2269">
                  <c:v>59.490740740740748</c:v>
                </c:pt>
                <c:pt idx="2270">
                  <c:v>59.490740740740748</c:v>
                </c:pt>
                <c:pt idx="2271">
                  <c:v>59.490740740740748</c:v>
                </c:pt>
                <c:pt idx="2272">
                  <c:v>59.490740740740748</c:v>
                </c:pt>
                <c:pt idx="2273">
                  <c:v>59.490740740740748</c:v>
                </c:pt>
                <c:pt idx="2274">
                  <c:v>59.490740740740748</c:v>
                </c:pt>
                <c:pt idx="2275">
                  <c:v>59.490740740740748</c:v>
                </c:pt>
                <c:pt idx="2276">
                  <c:v>59.490740740740748</c:v>
                </c:pt>
                <c:pt idx="2277">
                  <c:v>59.490740740740748</c:v>
                </c:pt>
                <c:pt idx="2278">
                  <c:v>59.490740740740748</c:v>
                </c:pt>
                <c:pt idx="2279">
                  <c:v>59.490740740740748</c:v>
                </c:pt>
                <c:pt idx="2280">
                  <c:v>72.974537037037038</c:v>
                </c:pt>
                <c:pt idx="2281">
                  <c:v>72.974537037037038</c:v>
                </c:pt>
                <c:pt idx="2282">
                  <c:v>72.974537037037038</c:v>
                </c:pt>
                <c:pt idx="2283">
                  <c:v>72.974537037037038</c:v>
                </c:pt>
                <c:pt idx="2284">
                  <c:v>72.974537037037038</c:v>
                </c:pt>
                <c:pt idx="2285">
                  <c:v>72.974537037037038</c:v>
                </c:pt>
                <c:pt idx="2286">
                  <c:v>72.974537037037038</c:v>
                </c:pt>
                <c:pt idx="2287">
                  <c:v>72.974537037037038</c:v>
                </c:pt>
                <c:pt idx="2288">
                  <c:v>72.974537037037038</c:v>
                </c:pt>
                <c:pt idx="2289">
                  <c:v>72.974537037037038</c:v>
                </c:pt>
                <c:pt idx="2290">
                  <c:v>72.974537037037038</c:v>
                </c:pt>
                <c:pt idx="2291">
                  <c:v>72.974537037037038</c:v>
                </c:pt>
                <c:pt idx="2292">
                  <c:v>72.974537037037038</c:v>
                </c:pt>
                <c:pt idx="2293">
                  <c:v>72.974537037037038</c:v>
                </c:pt>
                <c:pt idx="2294">
                  <c:v>72.974537037037038</c:v>
                </c:pt>
                <c:pt idx="2295">
                  <c:v>72.974537037037038</c:v>
                </c:pt>
                <c:pt idx="2296">
                  <c:v>72.974537037037038</c:v>
                </c:pt>
                <c:pt idx="2297">
                  <c:v>72.974537037037038</c:v>
                </c:pt>
                <c:pt idx="2298">
                  <c:v>72.974537037037038</c:v>
                </c:pt>
                <c:pt idx="2299">
                  <c:v>72.974537037037038</c:v>
                </c:pt>
                <c:pt idx="2300">
                  <c:v>72.974537037037038</c:v>
                </c:pt>
                <c:pt idx="2301">
                  <c:v>72.974537037037038</c:v>
                </c:pt>
                <c:pt idx="2302">
                  <c:v>72.974537037037038</c:v>
                </c:pt>
                <c:pt idx="2303">
                  <c:v>72.974537037037038</c:v>
                </c:pt>
                <c:pt idx="2304">
                  <c:v>72.974537037037038</c:v>
                </c:pt>
                <c:pt idx="2305">
                  <c:v>81.192129629629633</c:v>
                </c:pt>
                <c:pt idx="2306">
                  <c:v>81.192129629629633</c:v>
                </c:pt>
                <c:pt idx="2307">
                  <c:v>81.192129629629633</c:v>
                </c:pt>
                <c:pt idx="2308">
                  <c:v>81.192129629629633</c:v>
                </c:pt>
                <c:pt idx="2309">
                  <c:v>81.192129629629633</c:v>
                </c:pt>
                <c:pt idx="2310">
                  <c:v>81.192129629629633</c:v>
                </c:pt>
                <c:pt idx="2311">
                  <c:v>81.192129629629633</c:v>
                </c:pt>
                <c:pt idx="2312">
                  <c:v>81.192129629629633</c:v>
                </c:pt>
                <c:pt idx="2313">
                  <c:v>81.192129629629633</c:v>
                </c:pt>
                <c:pt idx="2314">
                  <c:v>81.192129629629633</c:v>
                </c:pt>
                <c:pt idx="2315">
                  <c:v>81.192129629629633</c:v>
                </c:pt>
                <c:pt idx="2316">
                  <c:v>81.192129629629633</c:v>
                </c:pt>
                <c:pt idx="2317">
                  <c:v>81.192129629629633</c:v>
                </c:pt>
                <c:pt idx="2318">
                  <c:v>81.192129629629633</c:v>
                </c:pt>
                <c:pt idx="2319">
                  <c:v>81.192129629629633</c:v>
                </c:pt>
                <c:pt idx="2320">
                  <c:v>81.192129629629633</c:v>
                </c:pt>
                <c:pt idx="2321">
                  <c:v>81.192129629629633</c:v>
                </c:pt>
                <c:pt idx="2322">
                  <c:v>81.192129629629633</c:v>
                </c:pt>
                <c:pt idx="2323">
                  <c:v>81.192129629629633</c:v>
                </c:pt>
                <c:pt idx="2324">
                  <c:v>81.192129629629633</c:v>
                </c:pt>
                <c:pt idx="2325">
                  <c:v>92.129629629629633</c:v>
                </c:pt>
                <c:pt idx="2326">
                  <c:v>92.129629629629633</c:v>
                </c:pt>
                <c:pt idx="2327">
                  <c:v>92.129629629629633</c:v>
                </c:pt>
                <c:pt idx="2328">
                  <c:v>92.129629629629633</c:v>
                </c:pt>
                <c:pt idx="2329">
                  <c:v>92.129629629629633</c:v>
                </c:pt>
                <c:pt idx="2330">
                  <c:v>92.129629629629633</c:v>
                </c:pt>
                <c:pt idx="2331">
                  <c:v>92.129629629629633</c:v>
                </c:pt>
                <c:pt idx="2332">
                  <c:v>92.129629629629633</c:v>
                </c:pt>
                <c:pt idx="2333">
                  <c:v>92.129629629629633</c:v>
                </c:pt>
                <c:pt idx="2334">
                  <c:v>92.129629629629633</c:v>
                </c:pt>
                <c:pt idx="2335">
                  <c:v>92.129629629629633</c:v>
                </c:pt>
                <c:pt idx="2336">
                  <c:v>92.129629629629633</c:v>
                </c:pt>
                <c:pt idx="2337">
                  <c:v>92.129629629629633</c:v>
                </c:pt>
                <c:pt idx="2338">
                  <c:v>92.129629629629633</c:v>
                </c:pt>
                <c:pt idx="2339">
                  <c:v>92.129629629629633</c:v>
                </c:pt>
                <c:pt idx="2340">
                  <c:v>92.129629629629633</c:v>
                </c:pt>
                <c:pt idx="2341">
                  <c:v>92.129629629629633</c:v>
                </c:pt>
                <c:pt idx="2342">
                  <c:v>92.129629629629633</c:v>
                </c:pt>
                <c:pt idx="2343">
                  <c:v>92.129629629629633</c:v>
                </c:pt>
                <c:pt idx="2344">
                  <c:v>92.129629629629633</c:v>
                </c:pt>
                <c:pt idx="2345">
                  <c:v>103.29861111111111</c:v>
                </c:pt>
                <c:pt idx="2346">
                  <c:v>103.29861111111111</c:v>
                </c:pt>
                <c:pt idx="2347">
                  <c:v>103.29861111111111</c:v>
                </c:pt>
                <c:pt idx="2348">
                  <c:v>103.29861111111111</c:v>
                </c:pt>
                <c:pt idx="2349">
                  <c:v>103.29861111111111</c:v>
                </c:pt>
                <c:pt idx="2350">
                  <c:v>103.29861111111111</c:v>
                </c:pt>
                <c:pt idx="2351">
                  <c:v>103.29861111111111</c:v>
                </c:pt>
                <c:pt idx="2352">
                  <c:v>103.29861111111111</c:v>
                </c:pt>
                <c:pt idx="2353">
                  <c:v>103.29861111111111</c:v>
                </c:pt>
                <c:pt idx="2354">
                  <c:v>103.29861111111111</c:v>
                </c:pt>
                <c:pt idx="2355">
                  <c:v>103.29861111111111</c:v>
                </c:pt>
                <c:pt idx="2356">
                  <c:v>103.29861111111111</c:v>
                </c:pt>
                <c:pt idx="2357">
                  <c:v>103.29861111111111</c:v>
                </c:pt>
                <c:pt idx="2358">
                  <c:v>103.29861111111111</c:v>
                </c:pt>
                <c:pt idx="2359">
                  <c:v>103.29861111111111</c:v>
                </c:pt>
                <c:pt idx="2360">
                  <c:v>103.29861111111111</c:v>
                </c:pt>
                <c:pt idx="2361">
                  <c:v>103.29861111111111</c:v>
                </c:pt>
                <c:pt idx="2362">
                  <c:v>103.29861111111111</c:v>
                </c:pt>
                <c:pt idx="2363">
                  <c:v>103.29861111111111</c:v>
                </c:pt>
                <c:pt idx="2364">
                  <c:v>103.29861111111111</c:v>
                </c:pt>
                <c:pt idx="2365">
                  <c:v>103.29861111111111</c:v>
                </c:pt>
                <c:pt idx="2366">
                  <c:v>103.29861111111111</c:v>
                </c:pt>
                <c:pt idx="2367">
                  <c:v>103.29861111111111</c:v>
                </c:pt>
                <c:pt idx="2368">
                  <c:v>103.29861111111111</c:v>
                </c:pt>
                <c:pt idx="2369">
                  <c:v>103.29861111111111</c:v>
                </c:pt>
                <c:pt idx="2370">
                  <c:v>109.9537037037037</c:v>
                </c:pt>
                <c:pt idx="2371">
                  <c:v>109.9537037037037</c:v>
                </c:pt>
                <c:pt idx="2372">
                  <c:v>109.9537037037037</c:v>
                </c:pt>
                <c:pt idx="2373">
                  <c:v>109.9537037037037</c:v>
                </c:pt>
                <c:pt idx="2374">
                  <c:v>109.9537037037037</c:v>
                </c:pt>
                <c:pt idx="2375">
                  <c:v>109.9537037037037</c:v>
                </c:pt>
                <c:pt idx="2376">
                  <c:v>109.9537037037037</c:v>
                </c:pt>
                <c:pt idx="2377">
                  <c:v>109.9537037037037</c:v>
                </c:pt>
                <c:pt idx="2378">
                  <c:v>109.9537037037037</c:v>
                </c:pt>
                <c:pt idx="2379">
                  <c:v>109.9537037037037</c:v>
                </c:pt>
                <c:pt idx="2380">
                  <c:v>109.9537037037037</c:v>
                </c:pt>
                <c:pt idx="2381">
                  <c:v>109.9537037037037</c:v>
                </c:pt>
                <c:pt idx="2382">
                  <c:v>109.9537037037037</c:v>
                </c:pt>
                <c:pt idx="2383">
                  <c:v>109.9537037037037</c:v>
                </c:pt>
                <c:pt idx="2384">
                  <c:v>109.9537037037037</c:v>
                </c:pt>
                <c:pt idx="2385">
                  <c:v>109.9537037037037</c:v>
                </c:pt>
                <c:pt idx="2386">
                  <c:v>109.9537037037037</c:v>
                </c:pt>
                <c:pt idx="2387">
                  <c:v>109.9537037037037</c:v>
                </c:pt>
                <c:pt idx="2388">
                  <c:v>109.9537037037037</c:v>
                </c:pt>
                <c:pt idx="2389">
                  <c:v>109.9537037037037</c:v>
                </c:pt>
                <c:pt idx="2390">
                  <c:v>117.24537037037035</c:v>
                </c:pt>
                <c:pt idx="2391">
                  <c:v>117.24537037037035</c:v>
                </c:pt>
                <c:pt idx="2392">
                  <c:v>117.24537037037035</c:v>
                </c:pt>
                <c:pt idx="2393">
                  <c:v>117.24537037037035</c:v>
                </c:pt>
                <c:pt idx="2394">
                  <c:v>117.24537037037035</c:v>
                </c:pt>
                <c:pt idx="2395">
                  <c:v>117.24537037037035</c:v>
                </c:pt>
                <c:pt idx="2396">
                  <c:v>117.24537037037035</c:v>
                </c:pt>
                <c:pt idx="2397">
                  <c:v>117.24537037037035</c:v>
                </c:pt>
                <c:pt idx="2398">
                  <c:v>117.24537037037035</c:v>
                </c:pt>
                <c:pt idx="2399">
                  <c:v>117.24537037037035</c:v>
                </c:pt>
                <c:pt idx="2400">
                  <c:v>117.24537037037035</c:v>
                </c:pt>
                <c:pt idx="2401">
                  <c:v>117.24537037037035</c:v>
                </c:pt>
                <c:pt idx="2402">
                  <c:v>117.24537037037035</c:v>
                </c:pt>
                <c:pt idx="2403">
                  <c:v>117.24537037037035</c:v>
                </c:pt>
                <c:pt idx="2404">
                  <c:v>117.24537037037035</c:v>
                </c:pt>
                <c:pt idx="2405">
                  <c:v>117.24537037037035</c:v>
                </c:pt>
                <c:pt idx="2406">
                  <c:v>117.24537037037035</c:v>
                </c:pt>
                <c:pt idx="2407">
                  <c:v>117.24537037037035</c:v>
                </c:pt>
                <c:pt idx="2408">
                  <c:v>117.24537037037035</c:v>
                </c:pt>
                <c:pt idx="2409">
                  <c:v>117.24537037037035</c:v>
                </c:pt>
                <c:pt idx="2410">
                  <c:v>125.69444444444446</c:v>
                </c:pt>
                <c:pt idx="2411">
                  <c:v>125.69444444444446</c:v>
                </c:pt>
                <c:pt idx="2412">
                  <c:v>125.69444444444446</c:v>
                </c:pt>
                <c:pt idx="2413">
                  <c:v>125.69444444444446</c:v>
                </c:pt>
                <c:pt idx="2414">
                  <c:v>125.69444444444446</c:v>
                </c:pt>
                <c:pt idx="2415">
                  <c:v>125.69444444444446</c:v>
                </c:pt>
                <c:pt idx="2416">
                  <c:v>125.69444444444446</c:v>
                </c:pt>
                <c:pt idx="2417">
                  <c:v>125.69444444444446</c:v>
                </c:pt>
                <c:pt idx="2418">
                  <c:v>125.69444444444446</c:v>
                </c:pt>
                <c:pt idx="2419">
                  <c:v>125.69444444444446</c:v>
                </c:pt>
                <c:pt idx="2420">
                  <c:v>125.69444444444446</c:v>
                </c:pt>
                <c:pt idx="2421">
                  <c:v>125.69444444444446</c:v>
                </c:pt>
                <c:pt idx="2422">
                  <c:v>125.69444444444446</c:v>
                </c:pt>
                <c:pt idx="2423">
                  <c:v>125.69444444444446</c:v>
                </c:pt>
                <c:pt idx="2424">
                  <c:v>125.69444444444446</c:v>
                </c:pt>
                <c:pt idx="2425">
                  <c:v>125.69444444444446</c:v>
                </c:pt>
                <c:pt idx="2426">
                  <c:v>125.69444444444446</c:v>
                </c:pt>
                <c:pt idx="2427">
                  <c:v>125.69444444444446</c:v>
                </c:pt>
                <c:pt idx="2428">
                  <c:v>125.69444444444446</c:v>
                </c:pt>
                <c:pt idx="2429">
                  <c:v>125.69444444444446</c:v>
                </c:pt>
                <c:pt idx="2430">
                  <c:v>125.69444444444446</c:v>
                </c:pt>
                <c:pt idx="2431">
                  <c:v>125.69444444444446</c:v>
                </c:pt>
                <c:pt idx="2432">
                  <c:v>125.69444444444446</c:v>
                </c:pt>
                <c:pt idx="2433">
                  <c:v>125.69444444444446</c:v>
                </c:pt>
                <c:pt idx="2434">
                  <c:v>125.69444444444446</c:v>
                </c:pt>
                <c:pt idx="2435">
                  <c:v>135.0115740740741</c:v>
                </c:pt>
                <c:pt idx="2436">
                  <c:v>135.0115740740741</c:v>
                </c:pt>
                <c:pt idx="2437">
                  <c:v>135.0115740740741</c:v>
                </c:pt>
                <c:pt idx="2438">
                  <c:v>135.0115740740741</c:v>
                </c:pt>
                <c:pt idx="2439">
                  <c:v>135.0115740740741</c:v>
                </c:pt>
                <c:pt idx="2440">
                  <c:v>135.0115740740741</c:v>
                </c:pt>
                <c:pt idx="2441">
                  <c:v>135.0115740740741</c:v>
                </c:pt>
                <c:pt idx="2442">
                  <c:v>135.0115740740741</c:v>
                </c:pt>
                <c:pt idx="2443">
                  <c:v>135.0115740740741</c:v>
                </c:pt>
                <c:pt idx="2444">
                  <c:v>135.0115740740741</c:v>
                </c:pt>
                <c:pt idx="2445">
                  <c:v>135.0115740740741</c:v>
                </c:pt>
                <c:pt idx="2446">
                  <c:v>135.0115740740741</c:v>
                </c:pt>
                <c:pt idx="2447">
                  <c:v>135.0115740740741</c:v>
                </c:pt>
                <c:pt idx="2448">
                  <c:v>135.0115740740741</c:v>
                </c:pt>
                <c:pt idx="2449">
                  <c:v>135.0115740740741</c:v>
                </c:pt>
                <c:pt idx="2450">
                  <c:v>135.0115740740741</c:v>
                </c:pt>
                <c:pt idx="2451">
                  <c:v>135.0115740740741</c:v>
                </c:pt>
                <c:pt idx="2452">
                  <c:v>135.0115740740741</c:v>
                </c:pt>
                <c:pt idx="2453">
                  <c:v>135.0115740740741</c:v>
                </c:pt>
                <c:pt idx="2454">
                  <c:v>135.0115740740741</c:v>
                </c:pt>
                <c:pt idx="2455">
                  <c:v>146.23842592592592</c:v>
                </c:pt>
                <c:pt idx="2456">
                  <c:v>146.23842592592592</c:v>
                </c:pt>
                <c:pt idx="2457">
                  <c:v>146.23842592592592</c:v>
                </c:pt>
                <c:pt idx="2458">
                  <c:v>146.23842592592592</c:v>
                </c:pt>
                <c:pt idx="2459">
                  <c:v>146.23842592592592</c:v>
                </c:pt>
                <c:pt idx="2460">
                  <c:v>146.23842592592592</c:v>
                </c:pt>
                <c:pt idx="2461">
                  <c:v>146.23842592592592</c:v>
                </c:pt>
                <c:pt idx="2462">
                  <c:v>146.23842592592592</c:v>
                </c:pt>
                <c:pt idx="2463">
                  <c:v>146.23842592592592</c:v>
                </c:pt>
                <c:pt idx="2464">
                  <c:v>146.23842592592592</c:v>
                </c:pt>
                <c:pt idx="2465">
                  <c:v>146.23842592592592</c:v>
                </c:pt>
                <c:pt idx="2466">
                  <c:v>146.23842592592592</c:v>
                </c:pt>
                <c:pt idx="2467">
                  <c:v>146.23842592592592</c:v>
                </c:pt>
                <c:pt idx="2468">
                  <c:v>146.23842592592592</c:v>
                </c:pt>
                <c:pt idx="2469">
                  <c:v>146.23842592592592</c:v>
                </c:pt>
                <c:pt idx="2470">
                  <c:v>146.23842592592592</c:v>
                </c:pt>
                <c:pt idx="2471">
                  <c:v>146.23842592592592</c:v>
                </c:pt>
                <c:pt idx="2472">
                  <c:v>146.23842592592592</c:v>
                </c:pt>
                <c:pt idx="2473">
                  <c:v>146.23842592592592</c:v>
                </c:pt>
                <c:pt idx="2474">
                  <c:v>146.23842592592592</c:v>
                </c:pt>
                <c:pt idx="2475">
                  <c:v>155.49768518518519</c:v>
                </c:pt>
                <c:pt idx="2476">
                  <c:v>155.49768518518519</c:v>
                </c:pt>
                <c:pt idx="2477">
                  <c:v>155.49768518518519</c:v>
                </c:pt>
                <c:pt idx="2478">
                  <c:v>155.49768518518519</c:v>
                </c:pt>
                <c:pt idx="2479">
                  <c:v>155.49768518518519</c:v>
                </c:pt>
                <c:pt idx="2480">
                  <c:v>155.49768518518519</c:v>
                </c:pt>
                <c:pt idx="2481">
                  <c:v>155.49768518518519</c:v>
                </c:pt>
                <c:pt idx="2482">
                  <c:v>155.49768518518519</c:v>
                </c:pt>
                <c:pt idx="2483">
                  <c:v>155.49768518518519</c:v>
                </c:pt>
                <c:pt idx="2484">
                  <c:v>155.49768518518519</c:v>
                </c:pt>
                <c:pt idx="2485">
                  <c:v>155.49768518518519</c:v>
                </c:pt>
                <c:pt idx="2486">
                  <c:v>155.49768518518519</c:v>
                </c:pt>
                <c:pt idx="2487">
                  <c:v>155.49768518518519</c:v>
                </c:pt>
                <c:pt idx="2488">
                  <c:v>155.49768518518519</c:v>
                </c:pt>
                <c:pt idx="2489">
                  <c:v>155.49768518518519</c:v>
                </c:pt>
                <c:pt idx="2490">
                  <c:v>155.49768518518519</c:v>
                </c:pt>
                <c:pt idx="2491">
                  <c:v>155.49768518518519</c:v>
                </c:pt>
                <c:pt idx="2492">
                  <c:v>155.49768518518519</c:v>
                </c:pt>
                <c:pt idx="2493">
                  <c:v>155.49768518518519</c:v>
                </c:pt>
                <c:pt idx="2494">
                  <c:v>155.49768518518519</c:v>
                </c:pt>
                <c:pt idx="2495">
                  <c:v>155.49768518518519</c:v>
                </c:pt>
                <c:pt idx="2496">
                  <c:v>155.49768518518519</c:v>
                </c:pt>
                <c:pt idx="2497">
                  <c:v>155.49768518518519</c:v>
                </c:pt>
                <c:pt idx="2498">
                  <c:v>155.49768518518519</c:v>
                </c:pt>
                <c:pt idx="2499">
                  <c:v>155.49768518518519</c:v>
                </c:pt>
                <c:pt idx="2500">
                  <c:v>144.96527777777777</c:v>
                </c:pt>
                <c:pt idx="2501">
                  <c:v>144.96527777777777</c:v>
                </c:pt>
                <c:pt idx="2502">
                  <c:v>144.96527777777777</c:v>
                </c:pt>
                <c:pt idx="2503">
                  <c:v>144.96527777777777</c:v>
                </c:pt>
                <c:pt idx="2504">
                  <c:v>144.96527777777777</c:v>
                </c:pt>
                <c:pt idx="2505">
                  <c:v>144.96527777777777</c:v>
                </c:pt>
                <c:pt idx="2506">
                  <c:v>144.96527777777777</c:v>
                </c:pt>
                <c:pt idx="2507">
                  <c:v>144.96527777777777</c:v>
                </c:pt>
                <c:pt idx="2508">
                  <c:v>144.96527777777777</c:v>
                </c:pt>
                <c:pt idx="2509">
                  <c:v>144.96527777777777</c:v>
                </c:pt>
                <c:pt idx="2510">
                  <c:v>144.96527777777777</c:v>
                </c:pt>
                <c:pt idx="2511">
                  <c:v>144.96527777777777</c:v>
                </c:pt>
                <c:pt idx="2512">
                  <c:v>144.96527777777777</c:v>
                </c:pt>
                <c:pt idx="2513">
                  <c:v>144.96527777777777</c:v>
                </c:pt>
                <c:pt idx="2514">
                  <c:v>144.96527777777777</c:v>
                </c:pt>
                <c:pt idx="2515">
                  <c:v>144.96527777777777</c:v>
                </c:pt>
                <c:pt idx="2516">
                  <c:v>144.96527777777777</c:v>
                </c:pt>
                <c:pt idx="2517">
                  <c:v>144.96527777777777</c:v>
                </c:pt>
                <c:pt idx="2518">
                  <c:v>144.96527777777777</c:v>
                </c:pt>
                <c:pt idx="2519">
                  <c:v>144.96527777777777</c:v>
                </c:pt>
                <c:pt idx="2520">
                  <c:v>168.46064814814815</c:v>
                </c:pt>
                <c:pt idx="2521">
                  <c:v>168.46064814814815</c:v>
                </c:pt>
                <c:pt idx="2522">
                  <c:v>168.46064814814815</c:v>
                </c:pt>
                <c:pt idx="2523">
                  <c:v>168.46064814814815</c:v>
                </c:pt>
                <c:pt idx="2524">
                  <c:v>168.46064814814815</c:v>
                </c:pt>
                <c:pt idx="2525">
                  <c:v>168.46064814814815</c:v>
                </c:pt>
                <c:pt idx="2526">
                  <c:v>168.46064814814815</c:v>
                </c:pt>
                <c:pt idx="2527">
                  <c:v>168.46064814814815</c:v>
                </c:pt>
                <c:pt idx="2528">
                  <c:v>168.46064814814815</c:v>
                </c:pt>
                <c:pt idx="2529">
                  <c:v>168.46064814814815</c:v>
                </c:pt>
                <c:pt idx="2530">
                  <c:v>168.46064814814815</c:v>
                </c:pt>
                <c:pt idx="2531">
                  <c:v>168.46064814814815</c:v>
                </c:pt>
                <c:pt idx="2532">
                  <c:v>168.46064814814815</c:v>
                </c:pt>
                <c:pt idx="2533">
                  <c:v>168.46064814814815</c:v>
                </c:pt>
                <c:pt idx="2534">
                  <c:v>168.46064814814815</c:v>
                </c:pt>
                <c:pt idx="2535">
                  <c:v>168.46064814814815</c:v>
                </c:pt>
                <c:pt idx="2536">
                  <c:v>168.46064814814815</c:v>
                </c:pt>
                <c:pt idx="2537">
                  <c:v>168.46064814814815</c:v>
                </c:pt>
                <c:pt idx="2538">
                  <c:v>168.46064814814815</c:v>
                </c:pt>
                <c:pt idx="2539">
                  <c:v>168.46064814814815</c:v>
                </c:pt>
                <c:pt idx="2540">
                  <c:v>174.30555555555557</c:v>
                </c:pt>
                <c:pt idx="2541">
                  <c:v>174.30555555555557</c:v>
                </c:pt>
                <c:pt idx="2542">
                  <c:v>174.30555555555557</c:v>
                </c:pt>
                <c:pt idx="2543">
                  <c:v>174.30555555555557</c:v>
                </c:pt>
                <c:pt idx="2544">
                  <c:v>174.30555555555557</c:v>
                </c:pt>
                <c:pt idx="2545">
                  <c:v>174.30555555555557</c:v>
                </c:pt>
                <c:pt idx="2546">
                  <c:v>174.30555555555557</c:v>
                </c:pt>
                <c:pt idx="2547">
                  <c:v>174.30555555555557</c:v>
                </c:pt>
                <c:pt idx="2548">
                  <c:v>174.30555555555557</c:v>
                </c:pt>
                <c:pt idx="2549">
                  <c:v>174.30555555555557</c:v>
                </c:pt>
                <c:pt idx="2550">
                  <c:v>174.30555555555557</c:v>
                </c:pt>
                <c:pt idx="2551">
                  <c:v>174.30555555555557</c:v>
                </c:pt>
                <c:pt idx="2552">
                  <c:v>174.30555555555557</c:v>
                </c:pt>
                <c:pt idx="2553">
                  <c:v>174.30555555555557</c:v>
                </c:pt>
                <c:pt idx="2554">
                  <c:v>174.30555555555557</c:v>
                </c:pt>
                <c:pt idx="2555">
                  <c:v>174.30555555555557</c:v>
                </c:pt>
                <c:pt idx="2556">
                  <c:v>174.30555555555557</c:v>
                </c:pt>
                <c:pt idx="2557">
                  <c:v>174.30555555555557</c:v>
                </c:pt>
                <c:pt idx="2558">
                  <c:v>174.30555555555557</c:v>
                </c:pt>
                <c:pt idx="2559">
                  <c:v>174.30555555555557</c:v>
                </c:pt>
                <c:pt idx="2560">
                  <c:v>174.30555555555557</c:v>
                </c:pt>
                <c:pt idx="2561">
                  <c:v>174.30555555555557</c:v>
                </c:pt>
                <c:pt idx="2562">
                  <c:v>174.30555555555557</c:v>
                </c:pt>
                <c:pt idx="2563">
                  <c:v>174.30555555555557</c:v>
                </c:pt>
                <c:pt idx="2564">
                  <c:v>174.30555555555557</c:v>
                </c:pt>
                <c:pt idx="2565">
                  <c:v>188.25231481481481</c:v>
                </c:pt>
                <c:pt idx="2566">
                  <c:v>188.25231481481481</c:v>
                </c:pt>
                <c:pt idx="2567">
                  <c:v>188.25231481481481</c:v>
                </c:pt>
                <c:pt idx="2568">
                  <c:v>188.25231481481481</c:v>
                </c:pt>
                <c:pt idx="2569">
                  <c:v>188.25231481481481</c:v>
                </c:pt>
                <c:pt idx="2570">
                  <c:v>188.25231481481481</c:v>
                </c:pt>
                <c:pt idx="2571">
                  <c:v>188.25231481481481</c:v>
                </c:pt>
                <c:pt idx="2572">
                  <c:v>188.25231481481481</c:v>
                </c:pt>
                <c:pt idx="2573">
                  <c:v>188.25231481481481</c:v>
                </c:pt>
                <c:pt idx="2574">
                  <c:v>188.25231481481481</c:v>
                </c:pt>
                <c:pt idx="2575">
                  <c:v>188.25231481481481</c:v>
                </c:pt>
                <c:pt idx="2576">
                  <c:v>188.25231481481481</c:v>
                </c:pt>
                <c:pt idx="2577">
                  <c:v>188.25231481481481</c:v>
                </c:pt>
                <c:pt idx="2578">
                  <c:v>188.25231481481481</c:v>
                </c:pt>
                <c:pt idx="2579">
                  <c:v>188.25231481481481</c:v>
                </c:pt>
                <c:pt idx="2580">
                  <c:v>188.25231481481481</c:v>
                </c:pt>
                <c:pt idx="2581">
                  <c:v>188.25231481481481</c:v>
                </c:pt>
                <c:pt idx="2582">
                  <c:v>188.25231481481481</c:v>
                </c:pt>
                <c:pt idx="2583">
                  <c:v>188.25231481481481</c:v>
                </c:pt>
                <c:pt idx="2584">
                  <c:v>188.25231481481481</c:v>
                </c:pt>
                <c:pt idx="2585">
                  <c:v>198.49537037037038</c:v>
                </c:pt>
                <c:pt idx="2586">
                  <c:v>198.49537037037038</c:v>
                </c:pt>
                <c:pt idx="2587">
                  <c:v>198.49537037037038</c:v>
                </c:pt>
                <c:pt idx="2588">
                  <c:v>198.49537037037038</c:v>
                </c:pt>
                <c:pt idx="2589">
                  <c:v>198.49537037037038</c:v>
                </c:pt>
                <c:pt idx="2590">
                  <c:v>198.49537037037038</c:v>
                </c:pt>
                <c:pt idx="2591">
                  <c:v>198.49537037037038</c:v>
                </c:pt>
                <c:pt idx="2592">
                  <c:v>198.49537037037038</c:v>
                </c:pt>
                <c:pt idx="2593">
                  <c:v>198.49537037037038</c:v>
                </c:pt>
                <c:pt idx="2594">
                  <c:v>198.49537037037038</c:v>
                </c:pt>
                <c:pt idx="2595">
                  <c:v>198.49537037037038</c:v>
                </c:pt>
                <c:pt idx="2596">
                  <c:v>198.49537037037038</c:v>
                </c:pt>
                <c:pt idx="2597">
                  <c:v>198.49537037037038</c:v>
                </c:pt>
                <c:pt idx="2598">
                  <c:v>198.49537037037038</c:v>
                </c:pt>
                <c:pt idx="2599">
                  <c:v>198.49537037037038</c:v>
                </c:pt>
                <c:pt idx="2600">
                  <c:v>198.49537037037038</c:v>
                </c:pt>
                <c:pt idx="2601">
                  <c:v>198.49537037037038</c:v>
                </c:pt>
                <c:pt idx="2602">
                  <c:v>198.49537037037038</c:v>
                </c:pt>
                <c:pt idx="2603">
                  <c:v>198.49537037037038</c:v>
                </c:pt>
                <c:pt idx="2604">
                  <c:v>198.49537037037038</c:v>
                </c:pt>
                <c:pt idx="2605">
                  <c:v>198.49537037037038</c:v>
                </c:pt>
                <c:pt idx="2606">
                  <c:v>198.49537037037038</c:v>
                </c:pt>
                <c:pt idx="2607">
                  <c:v>198.49537037037038</c:v>
                </c:pt>
                <c:pt idx="2608">
                  <c:v>198.49537037037038</c:v>
                </c:pt>
                <c:pt idx="2609">
                  <c:v>198.49537037037038</c:v>
                </c:pt>
                <c:pt idx="2610">
                  <c:v>201.96759259259261</c:v>
                </c:pt>
                <c:pt idx="2611">
                  <c:v>201.96759259259261</c:v>
                </c:pt>
                <c:pt idx="2612">
                  <c:v>201.96759259259261</c:v>
                </c:pt>
                <c:pt idx="2613">
                  <c:v>201.96759259259261</c:v>
                </c:pt>
                <c:pt idx="2614">
                  <c:v>201.96759259259261</c:v>
                </c:pt>
                <c:pt idx="2615">
                  <c:v>201.96759259259261</c:v>
                </c:pt>
                <c:pt idx="2616">
                  <c:v>201.96759259259261</c:v>
                </c:pt>
                <c:pt idx="2617">
                  <c:v>201.96759259259261</c:v>
                </c:pt>
                <c:pt idx="2618">
                  <c:v>201.96759259259261</c:v>
                </c:pt>
                <c:pt idx="2619">
                  <c:v>201.96759259259261</c:v>
                </c:pt>
                <c:pt idx="2620">
                  <c:v>201.96759259259261</c:v>
                </c:pt>
                <c:pt idx="2621">
                  <c:v>201.96759259259261</c:v>
                </c:pt>
                <c:pt idx="2622">
                  <c:v>201.96759259259261</c:v>
                </c:pt>
                <c:pt idx="2623">
                  <c:v>201.96759259259261</c:v>
                </c:pt>
                <c:pt idx="2624">
                  <c:v>201.96759259259261</c:v>
                </c:pt>
                <c:pt idx="2625">
                  <c:v>201.96759259259261</c:v>
                </c:pt>
                <c:pt idx="2626">
                  <c:v>201.96759259259261</c:v>
                </c:pt>
                <c:pt idx="2627">
                  <c:v>201.96759259259261</c:v>
                </c:pt>
                <c:pt idx="2628">
                  <c:v>201.96759259259261</c:v>
                </c:pt>
                <c:pt idx="2629">
                  <c:v>201.96759259259261</c:v>
                </c:pt>
                <c:pt idx="2630">
                  <c:v>196.75925925925927</c:v>
                </c:pt>
                <c:pt idx="2631">
                  <c:v>196.75925925925927</c:v>
                </c:pt>
                <c:pt idx="2632">
                  <c:v>196.75925925925927</c:v>
                </c:pt>
                <c:pt idx="2633">
                  <c:v>196.75925925925927</c:v>
                </c:pt>
                <c:pt idx="2634">
                  <c:v>196.75925925925927</c:v>
                </c:pt>
                <c:pt idx="2635">
                  <c:v>196.75925925925927</c:v>
                </c:pt>
                <c:pt idx="2636">
                  <c:v>196.75925925925927</c:v>
                </c:pt>
                <c:pt idx="2637">
                  <c:v>196.75925925925927</c:v>
                </c:pt>
                <c:pt idx="2638">
                  <c:v>196.75925925925927</c:v>
                </c:pt>
                <c:pt idx="2639">
                  <c:v>196.75925925925927</c:v>
                </c:pt>
                <c:pt idx="2640">
                  <c:v>196.75925925925927</c:v>
                </c:pt>
                <c:pt idx="2641">
                  <c:v>196.75925925925927</c:v>
                </c:pt>
                <c:pt idx="2642">
                  <c:v>196.75925925925927</c:v>
                </c:pt>
                <c:pt idx="2643">
                  <c:v>196.75925925925927</c:v>
                </c:pt>
                <c:pt idx="2644">
                  <c:v>196.75925925925927</c:v>
                </c:pt>
                <c:pt idx="2645">
                  <c:v>196.75925925925927</c:v>
                </c:pt>
                <c:pt idx="2646">
                  <c:v>196.75925925925927</c:v>
                </c:pt>
                <c:pt idx="2647">
                  <c:v>196.75925925925927</c:v>
                </c:pt>
                <c:pt idx="2648">
                  <c:v>196.75925925925927</c:v>
                </c:pt>
                <c:pt idx="2649">
                  <c:v>196.75925925925927</c:v>
                </c:pt>
                <c:pt idx="2650">
                  <c:v>201.5625</c:v>
                </c:pt>
                <c:pt idx="2651">
                  <c:v>201.5625</c:v>
                </c:pt>
                <c:pt idx="2652">
                  <c:v>201.5625</c:v>
                </c:pt>
                <c:pt idx="2653">
                  <c:v>201.5625</c:v>
                </c:pt>
                <c:pt idx="2654">
                  <c:v>201.5625</c:v>
                </c:pt>
                <c:pt idx="2655">
                  <c:v>201.5625</c:v>
                </c:pt>
                <c:pt idx="2656">
                  <c:v>201.5625</c:v>
                </c:pt>
                <c:pt idx="2657">
                  <c:v>201.5625</c:v>
                </c:pt>
                <c:pt idx="2658">
                  <c:v>201.5625</c:v>
                </c:pt>
                <c:pt idx="2659">
                  <c:v>201.5625</c:v>
                </c:pt>
                <c:pt idx="2660">
                  <c:v>201.5625</c:v>
                </c:pt>
                <c:pt idx="2661">
                  <c:v>201.5625</c:v>
                </c:pt>
                <c:pt idx="2662">
                  <c:v>201.5625</c:v>
                </c:pt>
                <c:pt idx="2663">
                  <c:v>201.5625</c:v>
                </c:pt>
                <c:pt idx="2664">
                  <c:v>201.5625</c:v>
                </c:pt>
                <c:pt idx="2665">
                  <c:v>201.5625</c:v>
                </c:pt>
                <c:pt idx="2666">
                  <c:v>201.5625</c:v>
                </c:pt>
                <c:pt idx="2667">
                  <c:v>201.5625</c:v>
                </c:pt>
                <c:pt idx="2668">
                  <c:v>201.5625</c:v>
                </c:pt>
                <c:pt idx="2669">
                  <c:v>201.5625</c:v>
                </c:pt>
                <c:pt idx="2670">
                  <c:v>205.67129629629628</c:v>
                </c:pt>
                <c:pt idx="2671">
                  <c:v>205.67129629629628</c:v>
                </c:pt>
                <c:pt idx="2672">
                  <c:v>205.67129629629628</c:v>
                </c:pt>
                <c:pt idx="2673">
                  <c:v>205.67129629629628</c:v>
                </c:pt>
                <c:pt idx="2674">
                  <c:v>205.67129629629628</c:v>
                </c:pt>
                <c:pt idx="2675">
                  <c:v>205.67129629629628</c:v>
                </c:pt>
                <c:pt idx="2676">
                  <c:v>205.67129629629628</c:v>
                </c:pt>
                <c:pt idx="2677">
                  <c:v>205.67129629629628</c:v>
                </c:pt>
                <c:pt idx="2678">
                  <c:v>205.67129629629628</c:v>
                </c:pt>
                <c:pt idx="2679">
                  <c:v>205.67129629629628</c:v>
                </c:pt>
                <c:pt idx="2680">
                  <c:v>205.67129629629628</c:v>
                </c:pt>
                <c:pt idx="2681">
                  <c:v>205.67129629629628</c:v>
                </c:pt>
                <c:pt idx="2682">
                  <c:v>205.67129629629628</c:v>
                </c:pt>
                <c:pt idx="2683">
                  <c:v>205.67129629629628</c:v>
                </c:pt>
                <c:pt idx="2684">
                  <c:v>205.67129629629628</c:v>
                </c:pt>
                <c:pt idx="2685">
                  <c:v>205.67129629629628</c:v>
                </c:pt>
                <c:pt idx="2686">
                  <c:v>205.67129629629628</c:v>
                </c:pt>
                <c:pt idx="2687">
                  <c:v>205.67129629629628</c:v>
                </c:pt>
                <c:pt idx="2688">
                  <c:v>205.67129629629628</c:v>
                </c:pt>
                <c:pt idx="2689">
                  <c:v>205.67129629629628</c:v>
                </c:pt>
                <c:pt idx="2690">
                  <c:v>205.67129629629628</c:v>
                </c:pt>
                <c:pt idx="2691">
                  <c:v>205.67129629629628</c:v>
                </c:pt>
                <c:pt idx="2692">
                  <c:v>205.67129629629628</c:v>
                </c:pt>
                <c:pt idx="2693">
                  <c:v>205.67129629629628</c:v>
                </c:pt>
                <c:pt idx="2694">
                  <c:v>205.67129629629628</c:v>
                </c:pt>
                <c:pt idx="2695">
                  <c:v>204.28240740740739</c:v>
                </c:pt>
                <c:pt idx="2696">
                  <c:v>204.28240740740739</c:v>
                </c:pt>
                <c:pt idx="2697">
                  <c:v>204.28240740740739</c:v>
                </c:pt>
                <c:pt idx="2698">
                  <c:v>204.28240740740739</c:v>
                </c:pt>
                <c:pt idx="2699">
                  <c:v>204.28240740740739</c:v>
                </c:pt>
                <c:pt idx="2700">
                  <c:v>204.28240740740739</c:v>
                </c:pt>
                <c:pt idx="2701">
                  <c:v>204.28240740740739</c:v>
                </c:pt>
                <c:pt idx="2702">
                  <c:v>204.28240740740739</c:v>
                </c:pt>
                <c:pt idx="2703">
                  <c:v>204.28240740740739</c:v>
                </c:pt>
                <c:pt idx="2704">
                  <c:v>204.28240740740739</c:v>
                </c:pt>
                <c:pt idx="2705">
                  <c:v>204.28240740740739</c:v>
                </c:pt>
                <c:pt idx="2706">
                  <c:v>204.28240740740739</c:v>
                </c:pt>
                <c:pt idx="2707">
                  <c:v>204.28240740740739</c:v>
                </c:pt>
                <c:pt idx="2708">
                  <c:v>204.28240740740739</c:v>
                </c:pt>
                <c:pt idx="2709">
                  <c:v>204.28240740740739</c:v>
                </c:pt>
                <c:pt idx="2710">
                  <c:v>204.28240740740739</c:v>
                </c:pt>
                <c:pt idx="2711">
                  <c:v>204.28240740740739</c:v>
                </c:pt>
                <c:pt idx="2712">
                  <c:v>204.28240740740739</c:v>
                </c:pt>
                <c:pt idx="2713">
                  <c:v>204.28240740740739</c:v>
                </c:pt>
                <c:pt idx="2714">
                  <c:v>204.28240740740739</c:v>
                </c:pt>
                <c:pt idx="2715">
                  <c:v>195.3125</c:v>
                </c:pt>
                <c:pt idx="2716">
                  <c:v>195.3125</c:v>
                </c:pt>
                <c:pt idx="2717">
                  <c:v>195.3125</c:v>
                </c:pt>
                <c:pt idx="2718">
                  <c:v>195.3125</c:v>
                </c:pt>
                <c:pt idx="2719">
                  <c:v>195.3125</c:v>
                </c:pt>
                <c:pt idx="2720">
                  <c:v>195.3125</c:v>
                </c:pt>
                <c:pt idx="2721">
                  <c:v>195.3125</c:v>
                </c:pt>
                <c:pt idx="2722">
                  <c:v>195.3125</c:v>
                </c:pt>
                <c:pt idx="2723">
                  <c:v>195.3125</c:v>
                </c:pt>
                <c:pt idx="2724">
                  <c:v>195.3125</c:v>
                </c:pt>
                <c:pt idx="2725">
                  <c:v>195.3125</c:v>
                </c:pt>
                <c:pt idx="2726">
                  <c:v>195.3125</c:v>
                </c:pt>
                <c:pt idx="2727">
                  <c:v>195.3125</c:v>
                </c:pt>
                <c:pt idx="2728">
                  <c:v>195.3125</c:v>
                </c:pt>
                <c:pt idx="2729">
                  <c:v>195.3125</c:v>
                </c:pt>
                <c:pt idx="2730">
                  <c:v>195.3125</c:v>
                </c:pt>
                <c:pt idx="2731">
                  <c:v>195.3125</c:v>
                </c:pt>
                <c:pt idx="2732">
                  <c:v>195.3125</c:v>
                </c:pt>
                <c:pt idx="2733">
                  <c:v>195.3125</c:v>
                </c:pt>
                <c:pt idx="2734">
                  <c:v>195.3125</c:v>
                </c:pt>
                <c:pt idx="2735">
                  <c:v>197.04861111111109</c:v>
                </c:pt>
                <c:pt idx="2736">
                  <c:v>197.04861111111109</c:v>
                </c:pt>
                <c:pt idx="2737">
                  <c:v>197.04861111111109</c:v>
                </c:pt>
                <c:pt idx="2738">
                  <c:v>197.04861111111109</c:v>
                </c:pt>
                <c:pt idx="2739">
                  <c:v>197.04861111111109</c:v>
                </c:pt>
                <c:pt idx="2740">
                  <c:v>197.04861111111109</c:v>
                </c:pt>
                <c:pt idx="2741">
                  <c:v>197.04861111111109</c:v>
                </c:pt>
                <c:pt idx="2742">
                  <c:v>197.04861111111109</c:v>
                </c:pt>
                <c:pt idx="2743">
                  <c:v>197.04861111111109</c:v>
                </c:pt>
                <c:pt idx="2744">
                  <c:v>197.04861111111109</c:v>
                </c:pt>
                <c:pt idx="2745">
                  <c:v>197.04861111111109</c:v>
                </c:pt>
                <c:pt idx="2746">
                  <c:v>197.04861111111109</c:v>
                </c:pt>
                <c:pt idx="2747">
                  <c:v>197.04861111111109</c:v>
                </c:pt>
                <c:pt idx="2748">
                  <c:v>197.04861111111109</c:v>
                </c:pt>
                <c:pt idx="2749">
                  <c:v>197.04861111111109</c:v>
                </c:pt>
                <c:pt idx="2750">
                  <c:v>197.04861111111109</c:v>
                </c:pt>
                <c:pt idx="2751">
                  <c:v>197.04861111111109</c:v>
                </c:pt>
                <c:pt idx="2752">
                  <c:v>197.04861111111109</c:v>
                </c:pt>
                <c:pt idx="2753">
                  <c:v>197.04861111111109</c:v>
                </c:pt>
                <c:pt idx="2754">
                  <c:v>197.04861111111109</c:v>
                </c:pt>
                <c:pt idx="2755">
                  <c:v>197.04861111111109</c:v>
                </c:pt>
                <c:pt idx="2756">
                  <c:v>197.04861111111109</c:v>
                </c:pt>
                <c:pt idx="2757">
                  <c:v>197.04861111111109</c:v>
                </c:pt>
                <c:pt idx="2758">
                  <c:v>197.04861111111109</c:v>
                </c:pt>
                <c:pt idx="2759">
                  <c:v>197.04861111111109</c:v>
                </c:pt>
                <c:pt idx="2760">
                  <c:v>200.11574074074073</c:v>
                </c:pt>
                <c:pt idx="2761">
                  <c:v>200.11574074074073</c:v>
                </c:pt>
                <c:pt idx="2762">
                  <c:v>200.11574074074073</c:v>
                </c:pt>
                <c:pt idx="2763">
                  <c:v>200.11574074074073</c:v>
                </c:pt>
                <c:pt idx="2764">
                  <c:v>200.11574074074073</c:v>
                </c:pt>
                <c:pt idx="2765">
                  <c:v>200.11574074074073</c:v>
                </c:pt>
                <c:pt idx="2766">
                  <c:v>200.11574074074073</c:v>
                </c:pt>
                <c:pt idx="2767">
                  <c:v>200.11574074074073</c:v>
                </c:pt>
                <c:pt idx="2768">
                  <c:v>200.11574074074073</c:v>
                </c:pt>
                <c:pt idx="2769">
                  <c:v>200.11574074074073</c:v>
                </c:pt>
                <c:pt idx="2770">
                  <c:v>200.11574074074073</c:v>
                </c:pt>
                <c:pt idx="2771">
                  <c:v>200.11574074074073</c:v>
                </c:pt>
                <c:pt idx="2772">
                  <c:v>200.11574074074073</c:v>
                </c:pt>
                <c:pt idx="2773">
                  <c:v>200.11574074074073</c:v>
                </c:pt>
                <c:pt idx="2774">
                  <c:v>200.11574074074073</c:v>
                </c:pt>
                <c:pt idx="2775">
                  <c:v>200.11574074074073</c:v>
                </c:pt>
                <c:pt idx="2776">
                  <c:v>200.11574074074073</c:v>
                </c:pt>
                <c:pt idx="2777">
                  <c:v>200.11574074074073</c:v>
                </c:pt>
                <c:pt idx="2778">
                  <c:v>200.11574074074073</c:v>
                </c:pt>
                <c:pt idx="2779">
                  <c:v>200.11574074074073</c:v>
                </c:pt>
                <c:pt idx="2780">
                  <c:v>200.34722222222223</c:v>
                </c:pt>
                <c:pt idx="2781">
                  <c:v>200.34722222222223</c:v>
                </c:pt>
                <c:pt idx="2782">
                  <c:v>200.34722222222223</c:v>
                </c:pt>
                <c:pt idx="2783">
                  <c:v>200.34722222222223</c:v>
                </c:pt>
                <c:pt idx="2784">
                  <c:v>200.34722222222223</c:v>
                </c:pt>
                <c:pt idx="2785">
                  <c:v>200.34722222222223</c:v>
                </c:pt>
                <c:pt idx="2786">
                  <c:v>200.34722222222223</c:v>
                </c:pt>
                <c:pt idx="2787">
                  <c:v>200.34722222222223</c:v>
                </c:pt>
                <c:pt idx="2788">
                  <c:v>200.34722222222223</c:v>
                </c:pt>
                <c:pt idx="2789">
                  <c:v>200.34722222222223</c:v>
                </c:pt>
                <c:pt idx="2790">
                  <c:v>200.34722222222223</c:v>
                </c:pt>
                <c:pt idx="2791">
                  <c:v>200.34722222222223</c:v>
                </c:pt>
                <c:pt idx="2792">
                  <c:v>200.34722222222223</c:v>
                </c:pt>
                <c:pt idx="2793">
                  <c:v>200.34722222222223</c:v>
                </c:pt>
                <c:pt idx="2794">
                  <c:v>200.34722222222223</c:v>
                </c:pt>
                <c:pt idx="2795">
                  <c:v>200.34722222222223</c:v>
                </c:pt>
                <c:pt idx="2796">
                  <c:v>200.34722222222223</c:v>
                </c:pt>
                <c:pt idx="2797">
                  <c:v>200.34722222222223</c:v>
                </c:pt>
                <c:pt idx="2798">
                  <c:v>200.34722222222223</c:v>
                </c:pt>
                <c:pt idx="2799">
                  <c:v>200.34722222222223</c:v>
                </c:pt>
                <c:pt idx="2800">
                  <c:v>200.34722222222223</c:v>
                </c:pt>
                <c:pt idx="2801">
                  <c:v>200.34722222222223</c:v>
                </c:pt>
                <c:pt idx="2802">
                  <c:v>200.34722222222223</c:v>
                </c:pt>
                <c:pt idx="2803">
                  <c:v>200.34722222222223</c:v>
                </c:pt>
                <c:pt idx="2804">
                  <c:v>200.34722222222223</c:v>
                </c:pt>
                <c:pt idx="2805">
                  <c:v>188.36805555555557</c:v>
                </c:pt>
                <c:pt idx="2806">
                  <c:v>188.36805555555557</c:v>
                </c:pt>
                <c:pt idx="2807">
                  <c:v>188.36805555555557</c:v>
                </c:pt>
                <c:pt idx="2808">
                  <c:v>188.36805555555557</c:v>
                </c:pt>
                <c:pt idx="2809">
                  <c:v>188.36805555555557</c:v>
                </c:pt>
                <c:pt idx="2810">
                  <c:v>188.36805555555557</c:v>
                </c:pt>
                <c:pt idx="2811">
                  <c:v>188.36805555555557</c:v>
                </c:pt>
                <c:pt idx="2812">
                  <c:v>188.36805555555557</c:v>
                </c:pt>
                <c:pt idx="2813">
                  <c:v>188.36805555555557</c:v>
                </c:pt>
                <c:pt idx="2814">
                  <c:v>188.36805555555557</c:v>
                </c:pt>
                <c:pt idx="2815">
                  <c:v>188.36805555555557</c:v>
                </c:pt>
                <c:pt idx="2816">
                  <c:v>188.36805555555557</c:v>
                </c:pt>
                <c:pt idx="2817">
                  <c:v>188.36805555555557</c:v>
                </c:pt>
                <c:pt idx="2818">
                  <c:v>188.36805555555557</c:v>
                </c:pt>
                <c:pt idx="2819">
                  <c:v>188.36805555555557</c:v>
                </c:pt>
                <c:pt idx="2820">
                  <c:v>188.36805555555557</c:v>
                </c:pt>
                <c:pt idx="2821">
                  <c:v>188.36805555555557</c:v>
                </c:pt>
                <c:pt idx="2822">
                  <c:v>188.36805555555557</c:v>
                </c:pt>
                <c:pt idx="2823">
                  <c:v>188.36805555555557</c:v>
                </c:pt>
                <c:pt idx="2824">
                  <c:v>188.36805555555557</c:v>
                </c:pt>
                <c:pt idx="2825">
                  <c:v>192.12962962962962</c:v>
                </c:pt>
                <c:pt idx="2826">
                  <c:v>192.12962962962962</c:v>
                </c:pt>
                <c:pt idx="2827">
                  <c:v>192.12962962962962</c:v>
                </c:pt>
                <c:pt idx="2828">
                  <c:v>192.12962962962962</c:v>
                </c:pt>
                <c:pt idx="2829">
                  <c:v>192.12962962962962</c:v>
                </c:pt>
                <c:pt idx="2830">
                  <c:v>192.12962962962962</c:v>
                </c:pt>
                <c:pt idx="2831">
                  <c:v>192.12962962962962</c:v>
                </c:pt>
                <c:pt idx="2832">
                  <c:v>192.12962962962962</c:v>
                </c:pt>
                <c:pt idx="2833">
                  <c:v>192.12962962962962</c:v>
                </c:pt>
                <c:pt idx="2834">
                  <c:v>192.12962962962962</c:v>
                </c:pt>
                <c:pt idx="2835">
                  <c:v>192.12962962962962</c:v>
                </c:pt>
                <c:pt idx="2836">
                  <c:v>192.12962962962962</c:v>
                </c:pt>
                <c:pt idx="2837">
                  <c:v>192.12962962962962</c:v>
                </c:pt>
                <c:pt idx="2838">
                  <c:v>192.12962962962962</c:v>
                </c:pt>
                <c:pt idx="2839">
                  <c:v>192.12962962962962</c:v>
                </c:pt>
                <c:pt idx="2840">
                  <c:v>192.12962962962962</c:v>
                </c:pt>
                <c:pt idx="2841">
                  <c:v>192.12962962962962</c:v>
                </c:pt>
                <c:pt idx="2842">
                  <c:v>192.12962962962962</c:v>
                </c:pt>
                <c:pt idx="2843">
                  <c:v>192.12962962962962</c:v>
                </c:pt>
                <c:pt idx="2844">
                  <c:v>192.12962962962962</c:v>
                </c:pt>
                <c:pt idx="2845">
                  <c:v>196.81712962962962</c:v>
                </c:pt>
                <c:pt idx="2846">
                  <c:v>196.81712962962962</c:v>
                </c:pt>
                <c:pt idx="2847">
                  <c:v>196.81712962962962</c:v>
                </c:pt>
                <c:pt idx="2848">
                  <c:v>196.81712962962962</c:v>
                </c:pt>
                <c:pt idx="2849">
                  <c:v>196.81712962962962</c:v>
                </c:pt>
                <c:pt idx="2850">
                  <c:v>196.81712962962962</c:v>
                </c:pt>
                <c:pt idx="2851">
                  <c:v>196.81712962962962</c:v>
                </c:pt>
                <c:pt idx="2852">
                  <c:v>196.81712962962962</c:v>
                </c:pt>
                <c:pt idx="2853">
                  <c:v>196.81712962962962</c:v>
                </c:pt>
                <c:pt idx="2854">
                  <c:v>196.81712962962962</c:v>
                </c:pt>
                <c:pt idx="2855">
                  <c:v>196.81712962962962</c:v>
                </c:pt>
                <c:pt idx="2856">
                  <c:v>196.81712962962962</c:v>
                </c:pt>
                <c:pt idx="2857">
                  <c:v>196.81712962962962</c:v>
                </c:pt>
                <c:pt idx="2858">
                  <c:v>196.81712962962962</c:v>
                </c:pt>
                <c:pt idx="2859">
                  <c:v>196.81712962962962</c:v>
                </c:pt>
                <c:pt idx="2860">
                  <c:v>196.81712962962962</c:v>
                </c:pt>
                <c:pt idx="2861">
                  <c:v>196.81712962962962</c:v>
                </c:pt>
                <c:pt idx="2862">
                  <c:v>196.81712962962962</c:v>
                </c:pt>
                <c:pt idx="2863">
                  <c:v>196.81712962962962</c:v>
                </c:pt>
                <c:pt idx="2864">
                  <c:v>196.81712962962962</c:v>
                </c:pt>
                <c:pt idx="2865">
                  <c:v>196.81712962962962</c:v>
                </c:pt>
                <c:pt idx="2866">
                  <c:v>196.81712962962962</c:v>
                </c:pt>
                <c:pt idx="2867">
                  <c:v>196.81712962962962</c:v>
                </c:pt>
                <c:pt idx="2868">
                  <c:v>196.81712962962962</c:v>
                </c:pt>
                <c:pt idx="2869">
                  <c:v>196.81712962962962</c:v>
                </c:pt>
                <c:pt idx="2870">
                  <c:v>203.29861111111111</c:v>
                </c:pt>
                <c:pt idx="2871">
                  <c:v>203.29861111111111</c:v>
                </c:pt>
                <c:pt idx="2872">
                  <c:v>203.29861111111111</c:v>
                </c:pt>
                <c:pt idx="2873">
                  <c:v>203.29861111111111</c:v>
                </c:pt>
                <c:pt idx="2874">
                  <c:v>203.29861111111111</c:v>
                </c:pt>
                <c:pt idx="2875">
                  <c:v>207.40740740740739</c:v>
                </c:pt>
                <c:pt idx="2876">
                  <c:v>207.40740740740739</c:v>
                </c:pt>
                <c:pt idx="2877">
                  <c:v>207.40740740740739</c:v>
                </c:pt>
                <c:pt idx="2878">
                  <c:v>207.40740740740739</c:v>
                </c:pt>
                <c:pt idx="2879">
                  <c:v>207.40740740740739</c:v>
                </c:pt>
                <c:pt idx="2880">
                  <c:v>207.40740740740739</c:v>
                </c:pt>
                <c:pt idx="2881">
                  <c:v>207.40740740740739</c:v>
                </c:pt>
                <c:pt idx="2882">
                  <c:v>207.40740740740739</c:v>
                </c:pt>
                <c:pt idx="2883">
                  <c:v>207.40740740740739</c:v>
                </c:pt>
                <c:pt idx="2884">
                  <c:v>207.40740740740739</c:v>
                </c:pt>
                <c:pt idx="2885">
                  <c:v>205.6134259259259</c:v>
                </c:pt>
                <c:pt idx="2886">
                  <c:v>205.6134259259259</c:v>
                </c:pt>
                <c:pt idx="2887">
                  <c:v>205.6134259259259</c:v>
                </c:pt>
                <c:pt idx="2888">
                  <c:v>205.6134259259259</c:v>
                </c:pt>
                <c:pt idx="2889">
                  <c:v>205.6134259259259</c:v>
                </c:pt>
                <c:pt idx="2890">
                  <c:v>204.51388888888889</c:v>
                </c:pt>
                <c:pt idx="2891">
                  <c:v>204.51388888888889</c:v>
                </c:pt>
                <c:pt idx="2892">
                  <c:v>204.51388888888889</c:v>
                </c:pt>
                <c:pt idx="2893">
                  <c:v>204.51388888888889</c:v>
                </c:pt>
                <c:pt idx="2894">
                  <c:v>204.51388888888889</c:v>
                </c:pt>
                <c:pt idx="2895">
                  <c:v>203.81944444444443</c:v>
                </c:pt>
                <c:pt idx="2896">
                  <c:v>203.81944444444443</c:v>
                </c:pt>
                <c:pt idx="2897">
                  <c:v>203.81944444444443</c:v>
                </c:pt>
                <c:pt idx="2898">
                  <c:v>203.81944444444443</c:v>
                </c:pt>
                <c:pt idx="2899">
                  <c:v>203.81944444444443</c:v>
                </c:pt>
                <c:pt idx="2900">
                  <c:v>207.98611111111111</c:v>
                </c:pt>
                <c:pt idx="2901">
                  <c:v>207.98611111111111</c:v>
                </c:pt>
                <c:pt idx="2902">
                  <c:v>207.98611111111111</c:v>
                </c:pt>
                <c:pt idx="2903">
                  <c:v>207.98611111111111</c:v>
                </c:pt>
                <c:pt idx="2904">
                  <c:v>207.98611111111111</c:v>
                </c:pt>
                <c:pt idx="2905">
                  <c:v>205.38194444444446</c:v>
                </c:pt>
                <c:pt idx="2906">
                  <c:v>205.38194444444446</c:v>
                </c:pt>
                <c:pt idx="2907">
                  <c:v>205.38194444444446</c:v>
                </c:pt>
                <c:pt idx="2908">
                  <c:v>205.38194444444446</c:v>
                </c:pt>
                <c:pt idx="2909">
                  <c:v>205.38194444444446</c:v>
                </c:pt>
                <c:pt idx="2910">
                  <c:v>205.67129629629628</c:v>
                </c:pt>
                <c:pt idx="2911">
                  <c:v>205.67129629629628</c:v>
                </c:pt>
                <c:pt idx="2912">
                  <c:v>205.67129629629628</c:v>
                </c:pt>
                <c:pt idx="2913">
                  <c:v>205.67129629629628</c:v>
                </c:pt>
                <c:pt idx="2914">
                  <c:v>205.67129629629628</c:v>
                </c:pt>
                <c:pt idx="2915">
                  <c:v>209.43287037037038</c:v>
                </c:pt>
                <c:pt idx="2916">
                  <c:v>209.43287037037038</c:v>
                </c:pt>
                <c:pt idx="2917">
                  <c:v>209.43287037037038</c:v>
                </c:pt>
                <c:pt idx="2918">
                  <c:v>209.43287037037038</c:v>
                </c:pt>
                <c:pt idx="2919">
                  <c:v>209.43287037037038</c:v>
                </c:pt>
                <c:pt idx="2920">
                  <c:v>214.23611111111111</c:v>
                </c:pt>
                <c:pt idx="2921">
                  <c:v>214.23611111111111</c:v>
                </c:pt>
                <c:pt idx="2922">
                  <c:v>214.23611111111111</c:v>
                </c:pt>
                <c:pt idx="2923">
                  <c:v>214.23611111111111</c:v>
                </c:pt>
                <c:pt idx="2924">
                  <c:v>214.23611111111111</c:v>
                </c:pt>
                <c:pt idx="2925">
                  <c:v>215.04629629629633</c:v>
                </c:pt>
                <c:pt idx="2926">
                  <c:v>215.04629629629633</c:v>
                </c:pt>
                <c:pt idx="2927">
                  <c:v>215.04629629629633</c:v>
                </c:pt>
                <c:pt idx="2928">
                  <c:v>215.04629629629633</c:v>
                </c:pt>
                <c:pt idx="2929">
                  <c:v>215.04629629629633</c:v>
                </c:pt>
                <c:pt idx="2930">
                  <c:v>212.96296296296299</c:v>
                </c:pt>
                <c:pt idx="2931">
                  <c:v>212.96296296296299</c:v>
                </c:pt>
                <c:pt idx="2932">
                  <c:v>212.96296296296299</c:v>
                </c:pt>
                <c:pt idx="2933">
                  <c:v>212.96296296296299</c:v>
                </c:pt>
                <c:pt idx="2934">
                  <c:v>212.96296296296299</c:v>
                </c:pt>
                <c:pt idx="2935">
                  <c:v>215.3935185185185</c:v>
                </c:pt>
                <c:pt idx="2936">
                  <c:v>215.3935185185185</c:v>
                </c:pt>
                <c:pt idx="2937">
                  <c:v>215.3935185185185</c:v>
                </c:pt>
                <c:pt idx="2938">
                  <c:v>215.3935185185185</c:v>
                </c:pt>
                <c:pt idx="2939">
                  <c:v>215.3935185185185</c:v>
                </c:pt>
                <c:pt idx="2940">
                  <c:v>220.60185185185185</c:v>
                </c:pt>
                <c:pt idx="2941">
                  <c:v>220.60185185185185</c:v>
                </c:pt>
                <c:pt idx="2942">
                  <c:v>220.60185185185185</c:v>
                </c:pt>
                <c:pt idx="2943">
                  <c:v>220.60185185185185</c:v>
                </c:pt>
                <c:pt idx="2944">
                  <c:v>220.60185185185185</c:v>
                </c:pt>
                <c:pt idx="2945">
                  <c:v>225.81018518518522</c:v>
                </c:pt>
                <c:pt idx="2946">
                  <c:v>225.81018518518522</c:v>
                </c:pt>
                <c:pt idx="2947">
                  <c:v>225.81018518518522</c:v>
                </c:pt>
                <c:pt idx="2948">
                  <c:v>225.81018518518522</c:v>
                </c:pt>
                <c:pt idx="2949">
                  <c:v>225.81018518518522</c:v>
                </c:pt>
                <c:pt idx="2950">
                  <c:v>230.3240740740741</c:v>
                </c:pt>
                <c:pt idx="2951">
                  <c:v>230.3240740740741</c:v>
                </c:pt>
                <c:pt idx="2952">
                  <c:v>230.3240740740741</c:v>
                </c:pt>
                <c:pt idx="2953">
                  <c:v>230.3240740740741</c:v>
                </c:pt>
                <c:pt idx="2954">
                  <c:v>230.3240740740741</c:v>
                </c:pt>
                <c:pt idx="2955">
                  <c:v>230.15046296296299</c:v>
                </c:pt>
                <c:pt idx="2956">
                  <c:v>230.15046296296299</c:v>
                </c:pt>
                <c:pt idx="2957">
                  <c:v>230.15046296296299</c:v>
                </c:pt>
                <c:pt idx="2958">
                  <c:v>230.15046296296299</c:v>
                </c:pt>
                <c:pt idx="2959">
                  <c:v>230.15046296296299</c:v>
                </c:pt>
                <c:pt idx="2960">
                  <c:v>229.16666666666666</c:v>
                </c:pt>
                <c:pt idx="2961">
                  <c:v>229.16666666666666</c:v>
                </c:pt>
                <c:pt idx="2962">
                  <c:v>229.16666666666666</c:v>
                </c:pt>
                <c:pt idx="2963">
                  <c:v>229.16666666666666</c:v>
                </c:pt>
                <c:pt idx="2964">
                  <c:v>229.16666666666666</c:v>
                </c:pt>
                <c:pt idx="2965">
                  <c:v>232.75462962962962</c:v>
                </c:pt>
                <c:pt idx="2966">
                  <c:v>232.75462962962962</c:v>
                </c:pt>
                <c:pt idx="2967">
                  <c:v>232.75462962962962</c:v>
                </c:pt>
                <c:pt idx="2968">
                  <c:v>232.75462962962962</c:v>
                </c:pt>
                <c:pt idx="2969">
                  <c:v>232.75462962962962</c:v>
                </c:pt>
                <c:pt idx="2970">
                  <c:v>229.22453703703701</c:v>
                </c:pt>
                <c:pt idx="2971">
                  <c:v>229.22453703703701</c:v>
                </c:pt>
                <c:pt idx="2972">
                  <c:v>229.22453703703701</c:v>
                </c:pt>
                <c:pt idx="2973">
                  <c:v>229.22453703703701</c:v>
                </c:pt>
                <c:pt idx="2974">
                  <c:v>229.22453703703701</c:v>
                </c:pt>
                <c:pt idx="2975">
                  <c:v>225.28935185185185</c:v>
                </c:pt>
                <c:pt idx="2976">
                  <c:v>225.28935185185185</c:v>
                </c:pt>
                <c:pt idx="2977">
                  <c:v>225.28935185185185</c:v>
                </c:pt>
                <c:pt idx="2978">
                  <c:v>225.28935185185185</c:v>
                </c:pt>
                <c:pt idx="2979">
                  <c:v>225.28935185185185</c:v>
                </c:pt>
                <c:pt idx="2980">
                  <c:v>225.86805555555557</c:v>
                </c:pt>
                <c:pt idx="2981">
                  <c:v>225.86805555555557</c:v>
                </c:pt>
                <c:pt idx="2982">
                  <c:v>225.86805555555557</c:v>
                </c:pt>
                <c:pt idx="2983">
                  <c:v>225.86805555555557</c:v>
                </c:pt>
                <c:pt idx="2984">
                  <c:v>225.86805555555557</c:v>
                </c:pt>
                <c:pt idx="2985">
                  <c:v>227.08333333333334</c:v>
                </c:pt>
                <c:pt idx="2986">
                  <c:v>227.08333333333334</c:v>
                </c:pt>
                <c:pt idx="2987">
                  <c:v>227.08333333333334</c:v>
                </c:pt>
                <c:pt idx="2988">
                  <c:v>227.08333333333334</c:v>
                </c:pt>
                <c:pt idx="2989">
                  <c:v>227.08333333333334</c:v>
                </c:pt>
                <c:pt idx="2990">
                  <c:v>232.40740740740739</c:v>
                </c:pt>
                <c:pt idx="2991">
                  <c:v>232.40740740740739</c:v>
                </c:pt>
                <c:pt idx="2992">
                  <c:v>232.40740740740739</c:v>
                </c:pt>
                <c:pt idx="2993">
                  <c:v>232.40740740740739</c:v>
                </c:pt>
                <c:pt idx="2994">
                  <c:v>232.40740740740739</c:v>
                </c:pt>
                <c:pt idx="2995">
                  <c:v>231.88657407407405</c:v>
                </c:pt>
                <c:pt idx="2996">
                  <c:v>231.88657407407405</c:v>
                </c:pt>
                <c:pt idx="2997">
                  <c:v>231.88657407407405</c:v>
                </c:pt>
                <c:pt idx="2998">
                  <c:v>231.88657407407405</c:v>
                </c:pt>
                <c:pt idx="2999">
                  <c:v>231.88657407407405</c:v>
                </c:pt>
                <c:pt idx="3000">
                  <c:v>226.09953703703701</c:v>
                </c:pt>
                <c:pt idx="3001">
                  <c:v>226.09953703703701</c:v>
                </c:pt>
                <c:pt idx="3002">
                  <c:v>226.09953703703701</c:v>
                </c:pt>
                <c:pt idx="3003">
                  <c:v>226.09953703703701</c:v>
                </c:pt>
                <c:pt idx="3004">
                  <c:v>226.09953703703701</c:v>
                </c:pt>
                <c:pt idx="3005">
                  <c:v>227.02546296296299</c:v>
                </c:pt>
                <c:pt idx="3006">
                  <c:v>227.02546296296299</c:v>
                </c:pt>
                <c:pt idx="3007">
                  <c:v>227.02546296296299</c:v>
                </c:pt>
                <c:pt idx="3008">
                  <c:v>227.02546296296299</c:v>
                </c:pt>
                <c:pt idx="3009">
                  <c:v>227.02546296296299</c:v>
                </c:pt>
                <c:pt idx="3010">
                  <c:v>233.62268518518516</c:v>
                </c:pt>
                <c:pt idx="3011">
                  <c:v>233.62268518518516</c:v>
                </c:pt>
                <c:pt idx="3012">
                  <c:v>233.62268518518516</c:v>
                </c:pt>
                <c:pt idx="3013">
                  <c:v>233.62268518518516</c:v>
                </c:pt>
                <c:pt idx="3014">
                  <c:v>233.62268518518516</c:v>
                </c:pt>
                <c:pt idx="3015">
                  <c:v>234.54861111111111</c:v>
                </c:pt>
                <c:pt idx="3016">
                  <c:v>234.54861111111111</c:v>
                </c:pt>
                <c:pt idx="3017">
                  <c:v>234.54861111111111</c:v>
                </c:pt>
                <c:pt idx="3018">
                  <c:v>234.54861111111111</c:v>
                </c:pt>
                <c:pt idx="3019">
                  <c:v>234.54861111111111</c:v>
                </c:pt>
                <c:pt idx="3020">
                  <c:v>232.23379629629628</c:v>
                </c:pt>
                <c:pt idx="3021">
                  <c:v>232.23379629629628</c:v>
                </c:pt>
                <c:pt idx="3022">
                  <c:v>232.23379629629628</c:v>
                </c:pt>
                <c:pt idx="3023">
                  <c:v>232.23379629629628</c:v>
                </c:pt>
                <c:pt idx="3024">
                  <c:v>232.23379629629628</c:v>
                </c:pt>
                <c:pt idx="3025">
                  <c:v>232.5810185185185</c:v>
                </c:pt>
                <c:pt idx="3026">
                  <c:v>232.5810185185185</c:v>
                </c:pt>
                <c:pt idx="3027">
                  <c:v>232.5810185185185</c:v>
                </c:pt>
                <c:pt idx="3028">
                  <c:v>232.5810185185185</c:v>
                </c:pt>
                <c:pt idx="3029">
                  <c:v>232.5810185185185</c:v>
                </c:pt>
                <c:pt idx="3030">
                  <c:v>235.41666666666666</c:v>
                </c:pt>
                <c:pt idx="3031">
                  <c:v>235.41666666666666</c:v>
                </c:pt>
                <c:pt idx="3032">
                  <c:v>235.41666666666666</c:v>
                </c:pt>
                <c:pt idx="3033">
                  <c:v>235.41666666666666</c:v>
                </c:pt>
                <c:pt idx="3034">
                  <c:v>235.41666666666666</c:v>
                </c:pt>
                <c:pt idx="3035">
                  <c:v>236.40046296296299</c:v>
                </c:pt>
                <c:pt idx="3036">
                  <c:v>236.40046296296299</c:v>
                </c:pt>
                <c:pt idx="3037">
                  <c:v>236.40046296296299</c:v>
                </c:pt>
                <c:pt idx="3038">
                  <c:v>236.40046296296299</c:v>
                </c:pt>
                <c:pt idx="3039">
                  <c:v>236.40046296296299</c:v>
                </c:pt>
                <c:pt idx="3040">
                  <c:v>233.96990740740745</c:v>
                </c:pt>
                <c:pt idx="3041">
                  <c:v>233.96990740740745</c:v>
                </c:pt>
                <c:pt idx="3042">
                  <c:v>233.96990740740745</c:v>
                </c:pt>
                <c:pt idx="3043">
                  <c:v>233.96990740740745</c:v>
                </c:pt>
                <c:pt idx="3044">
                  <c:v>233.96990740740745</c:v>
                </c:pt>
                <c:pt idx="3045">
                  <c:v>232.11805555555557</c:v>
                </c:pt>
                <c:pt idx="3046">
                  <c:v>232.11805555555557</c:v>
                </c:pt>
                <c:pt idx="3047">
                  <c:v>232.11805555555557</c:v>
                </c:pt>
                <c:pt idx="3048">
                  <c:v>232.11805555555557</c:v>
                </c:pt>
                <c:pt idx="3049">
                  <c:v>232.11805555555557</c:v>
                </c:pt>
                <c:pt idx="3050">
                  <c:v>235.18518518518522</c:v>
                </c:pt>
                <c:pt idx="3051">
                  <c:v>235.18518518518522</c:v>
                </c:pt>
                <c:pt idx="3052">
                  <c:v>235.18518518518522</c:v>
                </c:pt>
                <c:pt idx="3053">
                  <c:v>235.18518518518522</c:v>
                </c:pt>
                <c:pt idx="3054">
                  <c:v>235.18518518518522</c:v>
                </c:pt>
                <c:pt idx="3055">
                  <c:v>234.72222222222223</c:v>
                </c:pt>
                <c:pt idx="3056">
                  <c:v>234.72222222222223</c:v>
                </c:pt>
                <c:pt idx="3057">
                  <c:v>234.72222222222223</c:v>
                </c:pt>
                <c:pt idx="3058">
                  <c:v>234.72222222222223</c:v>
                </c:pt>
                <c:pt idx="3059">
                  <c:v>234.72222222222223</c:v>
                </c:pt>
                <c:pt idx="3060">
                  <c:v>232.4652777777778</c:v>
                </c:pt>
                <c:pt idx="3061">
                  <c:v>232.4652777777778</c:v>
                </c:pt>
                <c:pt idx="3062">
                  <c:v>232.4652777777778</c:v>
                </c:pt>
                <c:pt idx="3063">
                  <c:v>232.4652777777778</c:v>
                </c:pt>
                <c:pt idx="3064">
                  <c:v>232.4652777777778</c:v>
                </c:pt>
                <c:pt idx="3065">
                  <c:v>233.68055555555557</c:v>
                </c:pt>
                <c:pt idx="3066">
                  <c:v>233.68055555555557</c:v>
                </c:pt>
                <c:pt idx="3067">
                  <c:v>233.68055555555557</c:v>
                </c:pt>
                <c:pt idx="3068">
                  <c:v>233.68055555555557</c:v>
                </c:pt>
                <c:pt idx="3069">
                  <c:v>233.68055555555557</c:v>
                </c:pt>
                <c:pt idx="3070">
                  <c:v>233.27546296296293</c:v>
                </c:pt>
                <c:pt idx="3071">
                  <c:v>233.27546296296293</c:v>
                </c:pt>
                <c:pt idx="3072">
                  <c:v>233.27546296296293</c:v>
                </c:pt>
                <c:pt idx="3073">
                  <c:v>233.27546296296293</c:v>
                </c:pt>
                <c:pt idx="3074">
                  <c:v>233.27546296296293</c:v>
                </c:pt>
                <c:pt idx="3075">
                  <c:v>241.14583333333331</c:v>
                </c:pt>
                <c:pt idx="3076">
                  <c:v>241.14583333333331</c:v>
                </c:pt>
                <c:pt idx="3077">
                  <c:v>241.14583333333331</c:v>
                </c:pt>
                <c:pt idx="3078">
                  <c:v>241.14583333333331</c:v>
                </c:pt>
                <c:pt idx="3079">
                  <c:v>241.14583333333331</c:v>
                </c:pt>
                <c:pt idx="3080">
                  <c:v>241.9560185185185</c:v>
                </c:pt>
                <c:pt idx="3081">
                  <c:v>241.9560185185185</c:v>
                </c:pt>
                <c:pt idx="3082">
                  <c:v>241.9560185185185</c:v>
                </c:pt>
                <c:pt idx="3083">
                  <c:v>241.9560185185185</c:v>
                </c:pt>
                <c:pt idx="3084">
                  <c:v>241.9560185185185</c:v>
                </c:pt>
                <c:pt idx="3085">
                  <c:v>241.08796296296299</c:v>
                </c:pt>
                <c:pt idx="3086">
                  <c:v>241.08796296296299</c:v>
                </c:pt>
                <c:pt idx="3087">
                  <c:v>241.08796296296299</c:v>
                </c:pt>
                <c:pt idx="3088">
                  <c:v>241.08796296296299</c:v>
                </c:pt>
                <c:pt idx="3089">
                  <c:v>241.08796296296299</c:v>
                </c:pt>
                <c:pt idx="3090">
                  <c:v>239.75694444444443</c:v>
                </c:pt>
                <c:pt idx="3091">
                  <c:v>239.75694444444443</c:v>
                </c:pt>
                <c:pt idx="3092">
                  <c:v>239.75694444444443</c:v>
                </c:pt>
                <c:pt idx="3093">
                  <c:v>239.75694444444443</c:v>
                </c:pt>
                <c:pt idx="3094">
                  <c:v>239.75694444444443</c:v>
                </c:pt>
                <c:pt idx="3095">
                  <c:v>245.48611111111111</c:v>
                </c:pt>
                <c:pt idx="3096">
                  <c:v>245.48611111111111</c:v>
                </c:pt>
                <c:pt idx="3097">
                  <c:v>245.48611111111111</c:v>
                </c:pt>
                <c:pt idx="3098">
                  <c:v>245.48611111111111</c:v>
                </c:pt>
                <c:pt idx="3099">
                  <c:v>245.48611111111111</c:v>
                </c:pt>
                <c:pt idx="3100">
                  <c:v>249.88425925925927</c:v>
                </c:pt>
                <c:pt idx="3101">
                  <c:v>249.88425925925927</c:v>
                </c:pt>
                <c:pt idx="3102">
                  <c:v>249.88425925925927</c:v>
                </c:pt>
                <c:pt idx="3103">
                  <c:v>249.88425925925927</c:v>
                </c:pt>
                <c:pt idx="3104">
                  <c:v>249.88425925925927</c:v>
                </c:pt>
                <c:pt idx="3105">
                  <c:v>247.10648148148144</c:v>
                </c:pt>
                <c:pt idx="3106">
                  <c:v>247.10648148148144</c:v>
                </c:pt>
                <c:pt idx="3107">
                  <c:v>247.10648148148144</c:v>
                </c:pt>
                <c:pt idx="3108">
                  <c:v>247.10648148148144</c:v>
                </c:pt>
                <c:pt idx="3109">
                  <c:v>247.10648148148144</c:v>
                </c:pt>
                <c:pt idx="3110">
                  <c:v>246.6435185185185</c:v>
                </c:pt>
                <c:pt idx="3111">
                  <c:v>246.6435185185185</c:v>
                </c:pt>
                <c:pt idx="3112">
                  <c:v>246.6435185185185</c:v>
                </c:pt>
                <c:pt idx="3113">
                  <c:v>246.6435185185185</c:v>
                </c:pt>
                <c:pt idx="3114">
                  <c:v>246.6435185185185</c:v>
                </c:pt>
                <c:pt idx="3115">
                  <c:v>244.32870370370372</c:v>
                </c:pt>
                <c:pt idx="3116">
                  <c:v>244.32870370370372</c:v>
                </c:pt>
                <c:pt idx="3117">
                  <c:v>244.32870370370372</c:v>
                </c:pt>
                <c:pt idx="3118">
                  <c:v>244.32870370370372</c:v>
                </c:pt>
                <c:pt idx="3119">
                  <c:v>244.32870370370372</c:v>
                </c:pt>
                <c:pt idx="3120">
                  <c:v>250.69444444444443</c:v>
                </c:pt>
                <c:pt idx="3121">
                  <c:v>250.69444444444443</c:v>
                </c:pt>
                <c:pt idx="3122">
                  <c:v>250.69444444444443</c:v>
                </c:pt>
                <c:pt idx="3123">
                  <c:v>250.69444444444443</c:v>
                </c:pt>
                <c:pt idx="3124">
                  <c:v>250.69444444444443</c:v>
                </c:pt>
                <c:pt idx="3125">
                  <c:v>246.75925925925927</c:v>
                </c:pt>
                <c:pt idx="3126">
                  <c:v>246.75925925925927</c:v>
                </c:pt>
                <c:pt idx="3127">
                  <c:v>246.75925925925927</c:v>
                </c:pt>
                <c:pt idx="3128">
                  <c:v>246.75925925925927</c:v>
                </c:pt>
                <c:pt idx="3129">
                  <c:v>246.75925925925927</c:v>
                </c:pt>
                <c:pt idx="3130">
                  <c:v>246.52777777777777</c:v>
                </c:pt>
                <c:pt idx="3131">
                  <c:v>246.52777777777777</c:v>
                </c:pt>
                <c:pt idx="3132">
                  <c:v>246.52777777777777</c:v>
                </c:pt>
                <c:pt idx="3133">
                  <c:v>246.52777777777777</c:v>
                </c:pt>
                <c:pt idx="3134">
                  <c:v>246.52777777777777</c:v>
                </c:pt>
                <c:pt idx="3135">
                  <c:v>245.77546296296299</c:v>
                </c:pt>
                <c:pt idx="3136">
                  <c:v>245.77546296296299</c:v>
                </c:pt>
                <c:pt idx="3137">
                  <c:v>245.77546296296299</c:v>
                </c:pt>
                <c:pt idx="3138">
                  <c:v>245.77546296296299</c:v>
                </c:pt>
                <c:pt idx="3139">
                  <c:v>245.77546296296299</c:v>
                </c:pt>
                <c:pt idx="3140">
                  <c:v>251.96759259259261</c:v>
                </c:pt>
                <c:pt idx="3141">
                  <c:v>251.96759259259261</c:v>
                </c:pt>
                <c:pt idx="3142">
                  <c:v>251.96759259259261</c:v>
                </c:pt>
                <c:pt idx="3143">
                  <c:v>251.96759259259261</c:v>
                </c:pt>
                <c:pt idx="3144">
                  <c:v>251.96759259259261</c:v>
                </c:pt>
                <c:pt idx="3145">
                  <c:v>253.24074074074073</c:v>
                </c:pt>
                <c:pt idx="3146">
                  <c:v>253.24074074074073</c:v>
                </c:pt>
                <c:pt idx="3147">
                  <c:v>253.24074074074073</c:v>
                </c:pt>
                <c:pt idx="3148">
                  <c:v>253.24074074074073</c:v>
                </c:pt>
                <c:pt idx="3149">
                  <c:v>253.24074074074073</c:v>
                </c:pt>
                <c:pt idx="3150">
                  <c:v>252.02546296296299</c:v>
                </c:pt>
                <c:pt idx="3151">
                  <c:v>252.02546296296299</c:v>
                </c:pt>
                <c:pt idx="3152">
                  <c:v>252.02546296296299</c:v>
                </c:pt>
                <c:pt idx="3153">
                  <c:v>252.02546296296299</c:v>
                </c:pt>
                <c:pt idx="3154">
                  <c:v>252.02546296296299</c:v>
                </c:pt>
                <c:pt idx="3155">
                  <c:v>253.76157407407405</c:v>
                </c:pt>
                <c:pt idx="3156">
                  <c:v>253.76157407407405</c:v>
                </c:pt>
                <c:pt idx="3157">
                  <c:v>253.76157407407405</c:v>
                </c:pt>
                <c:pt idx="3158">
                  <c:v>253.76157407407405</c:v>
                </c:pt>
                <c:pt idx="3159">
                  <c:v>253.76157407407405</c:v>
                </c:pt>
                <c:pt idx="3160">
                  <c:v>261.9212962962963</c:v>
                </c:pt>
                <c:pt idx="3161">
                  <c:v>261.9212962962963</c:v>
                </c:pt>
                <c:pt idx="3162">
                  <c:v>261.9212962962963</c:v>
                </c:pt>
                <c:pt idx="3163">
                  <c:v>261.9212962962963</c:v>
                </c:pt>
                <c:pt idx="3164">
                  <c:v>261.9212962962963</c:v>
                </c:pt>
                <c:pt idx="3165">
                  <c:v>265.50925925925924</c:v>
                </c:pt>
                <c:pt idx="3166">
                  <c:v>265.50925925925924</c:v>
                </c:pt>
                <c:pt idx="3167">
                  <c:v>265.50925925925924</c:v>
                </c:pt>
                <c:pt idx="3168">
                  <c:v>265.50925925925924</c:v>
                </c:pt>
                <c:pt idx="3169">
                  <c:v>265.50925925925924</c:v>
                </c:pt>
                <c:pt idx="3170">
                  <c:v>263.02083333333337</c:v>
                </c:pt>
                <c:pt idx="3171">
                  <c:v>263.02083333333337</c:v>
                </c:pt>
                <c:pt idx="3172">
                  <c:v>263.02083333333337</c:v>
                </c:pt>
                <c:pt idx="3173">
                  <c:v>263.02083333333337</c:v>
                </c:pt>
                <c:pt idx="3174">
                  <c:v>263.02083333333337</c:v>
                </c:pt>
                <c:pt idx="3175">
                  <c:v>262.26851851851853</c:v>
                </c:pt>
                <c:pt idx="3176">
                  <c:v>262.26851851851853</c:v>
                </c:pt>
                <c:pt idx="3177">
                  <c:v>262.26851851851853</c:v>
                </c:pt>
                <c:pt idx="3178">
                  <c:v>262.26851851851853</c:v>
                </c:pt>
                <c:pt idx="3179">
                  <c:v>262.26851851851853</c:v>
                </c:pt>
                <c:pt idx="3180">
                  <c:v>266.72453703703701</c:v>
                </c:pt>
                <c:pt idx="3181">
                  <c:v>266.72453703703701</c:v>
                </c:pt>
                <c:pt idx="3182">
                  <c:v>266.72453703703701</c:v>
                </c:pt>
                <c:pt idx="3183">
                  <c:v>266.72453703703701</c:v>
                </c:pt>
                <c:pt idx="3184">
                  <c:v>266.72453703703701</c:v>
                </c:pt>
                <c:pt idx="3185">
                  <c:v>265.45138888888886</c:v>
                </c:pt>
                <c:pt idx="3186">
                  <c:v>265.45138888888886</c:v>
                </c:pt>
                <c:pt idx="3187">
                  <c:v>265.45138888888886</c:v>
                </c:pt>
                <c:pt idx="3188">
                  <c:v>265.45138888888886</c:v>
                </c:pt>
                <c:pt idx="3189">
                  <c:v>265.45138888888886</c:v>
                </c:pt>
                <c:pt idx="3190">
                  <c:v>270.13888888888886</c:v>
                </c:pt>
                <c:pt idx="3191">
                  <c:v>270.13888888888886</c:v>
                </c:pt>
                <c:pt idx="3192">
                  <c:v>270.13888888888886</c:v>
                </c:pt>
                <c:pt idx="3193">
                  <c:v>270.13888888888886</c:v>
                </c:pt>
                <c:pt idx="3194">
                  <c:v>270.13888888888886</c:v>
                </c:pt>
                <c:pt idx="3195">
                  <c:v>267.99768518518522</c:v>
                </c:pt>
                <c:pt idx="3196">
                  <c:v>267.99768518518522</c:v>
                </c:pt>
                <c:pt idx="3197">
                  <c:v>267.99768518518522</c:v>
                </c:pt>
                <c:pt idx="3198">
                  <c:v>267.99768518518522</c:v>
                </c:pt>
                <c:pt idx="3199">
                  <c:v>267.99768518518522</c:v>
                </c:pt>
                <c:pt idx="3200">
                  <c:v>267.41898148148147</c:v>
                </c:pt>
                <c:pt idx="3201">
                  <c:v>267.41898148148147</c:v>
                </c:pt>
                <c:pt idx="3202">
                  <c:v>267.41898148148147</c:v>
                </c:pt>
                <c:pt idx="3203">
                  <c:v>267.41898148148147</c:v>
                </c:pt>
                <c:pt idx="3204">
                  <c:v>267.41898148148147</c:v>
                </c:pt>
                <c:pt idx="3205">
                  <c:v>273.61111111111114</c:v>
                </c:pt>
                <c:pt idx="3206">
                  <c:v>273.61111111111114</c:v>
                </c:pt>
                <c:pt idx="3207">
                  <c:v>273.61111111111114</c:v>
                </c:pt>
                <c:pt idx="3208">
                  <c:v>273.61111111111114</c:v>
                </c:pt>
                <c:pt idx="3209">
                  <c:v>273.61111111111114</c:v>
                </c:pt>
                <c:pt idx="3210">
                  <c:v>272.10648148148147</c:v>
                </c:pt>
                <c:pt idx="3211">
                  <c:v>272.10648148148147</c:v>
                </c:pt>
                <c:pt idx="3212">
                  <c:v>272.10648148148147</c:v>
                </c:pt>
                <c:pt idx="3213">
                  <c:v>272.10648148148147</c:v>
                </c:pt>
                <c:pt idx="3214">
                  <c:v>272.10648148148147</c:v>
                </c:pt>
                <c:pt idx="3215">
                  <c:v>276.85185185185185</c:v>
                </c:pt>
                <c:pt idx="3216">
                  <c:v>276.85185185185185</c:v>
                </c:pt>
                <c:pt idx="3217">
                  <c:v>276.85185185185185</c:v>
                </c:pt>
                <c:pt idx="3218">
                  <c:v>276.85185185185185</c:v>
                </c:pt>
                <c:pt idx="3219">
                  <c:v>276.85185185185185</c:v>
                </c:pt>
                <c:pt idx="3220">
                  <c:v>273.78472222222223</c:v>
                </c:pt>
                <c:pt idx="3221">
                  <c:v>273.78472222222223</c:v>
                </c:pt>
                <c:pt idx="3222">
                  <c:v>273.78472222222223</c:v>
                </c:pt>
                <c:pt idx="3223">
                  <c:v>273.78472222222223</c:v>
                </c:pt>
                <c:pt idx="3224">
                  <c:v>273.78472222222223</c:v>
                </c:pt>
                <c:pt idx="3225">
                  <c:v>277.08333333333337</c:v>
                </c:pt>
                <c:pt idx="3226">
                  <c:v>277.08333333333337</c:v>
                </c:pt>
                <c:pt idx="3227">
                  <c:v>277.08333333333337</c:v>
                </c:pt>
                <c:pt idx="3228">
                  <c:v>277.08333333333337</c:v>
                </c:pt>
                <c:pt idx="3229">
                  <c:v>277.08333333333337</c:v>
                </c:pt>
                <c:pt idx="3230">
                  <c:v>278.47222222222223</c:v>
                </c:pt>
                <c:pt idx="3231">
                  <c:v>278.47222222222223</c:v>
                </c:pt>
                <c:pt idx="3232">
                  <c:v>278.47222222222223</c:v>
                </c:pt>
                <c:pt idx="3233">
                  <c:v>278.47222222222223</c:v>
                </c:pt>
                <c:pt idx="3234">
                  <c:v>278.47222222222223</c:v>
                </c:pt>
                <c:pt idx="3235">
                  <c:v>275.52083333333337</c:v>
                </c:pt>
                <c:pt idx="3236">
                  <c:v>275.52083333333337</c:v>
                </c:pt>
                <c:pt idx="3237">
                  <c:v>275.52083333333337</c:v>
                </c:pt>
                <c:pt idx="3238">
                  <c:v>275.52083333333337</c:v>
                </c:pt>
                <c:pt idx="3239">
                  <c:v>275.52083333333337</c:v>
                </c:pt>
                <c:pt idx="3240">
                  <c:v>275.1157407407407</c:v>
                </c:pt>
                <c:pt idx="3241">
                  <c:v>275.1157407407407</c:v>
                </c:pt>
                <c:pt idx="3242">
                  <c:v>275.1157407407407</c:v>
                </c:pt>
                <c:pt idx="3243">
                  <c:v>275.1157407407407</c:v>
                </c:pt>
                <c:pt idx="3244">
                  <c:v>275.1157407407407</c:v>
                </c:pt>
                <c:pt idx="3245">
                  <c:v>274.82638888888886</c:v>
                </c:pt>
                <c:pt idx="3246">
                  <c:v>274.82638888888886</c:v>
                </c:pt>
                <c:pt idx="3247">
                  <c:v>274.82638888888886</c:v>
                </c:pt>
                <c:pt idx="3248">
                  <c:v>274.82638888888886</c:v>
                </c:pt>
                <c:pt idx="3249">
                  <c:v>274.82638888888886</c:v>
                </c:pt>
                <c:pt idx="3250">
                  <c:v>281.59722222222217</c:v>
                </c:pt>
                <c:pt idx="3251">
                  <c:v>281.59722222222217</c:v>
                </c:pt>
                <c:pt idx="3252">
                  <c:v>281.59722222222217</c:v>
                </c:pt>
                <c:pt idx="3253">
                  <c:v>281.59722222222217</c:v>
                </c:pt>
                <c:pt idx="3254">
                  <c:v>281.59722222222217</c:v>
                </c:pt>
                <c:pt idx="3255">
                  <c:v>283.44907407407402</c:v>
                </c:pt>
                <c:pt idx="3256">
                  <c:v>283.44907407407402</c:v>
                </c:pt>
                <c:pt idx="3257">
                  <c:v>283.44907407407402</c:v>
                </c:pt>
                <c:pt idx="3258">
                  <c:v>283.44907407407402</c:v>
                </c:pt>
                <c:pt idx="3259">
                  <c:v>283.44907407407402</c:v>
                </c:pt>
                <c:pt idx="3260">
                  <c:v>283.56481481481484</c:v>
                </c:pt>
                <c:pt idx="3261">
                  <c:v>283.56481481481484</c:v>
                </c:pt>
                <c:pt idx="3262">
                  <c:v>283.56481481481484</c:v>
                </c:pt>
                <c:pt idx="3263">
                  <c:v>283.56481481481484</c:v>
                </c:pt>
                <c:pt idx="3264">
                  <c:v>283.56481481481484</c:v>
                </c:pt>
                <c:pt idx="3265">
                  <c:v>285.41666666666669</c:v>
                </c:pt>
                <c:pt idx="3266">
                  <c:v>285.41666666666669</c:v>
                </c:pt>
                <c:pt idx="3267">
                  <c:v>285.41666666666669</c:v>
                </c:pt>
                <c:pt idx="3268">
                  <c:v>285.41666666666669</c:v>
                </c:pt>
                <c:pt idx="3269">
                  <c:v>285.41666666666669</c:v>
                </c:pt>
                <c:pt idx="3270">
                  <c:v>288.77314814814821</c:v>
                </c:pt>
                <c:pt idx="3271">
                  <c:v>288.77314814814821</c:v>
                </c:pt>
                <c:pt idx="3272">
                  <c:v>288.77314814814821</c:v>
                </c:pt>
                <c:pt idx="3273">
                  <c:v>288.77314814814821</c:v>
                </c:pt>
                <c:pt idx="3274">
                  <c:v>288.77314814814821</c:v>
                </c:pt>
                <c:pt idx="3275">
                  <c:v>291.49305555555554</c:v>
                </c:pt>
                <c:pt idx="3276">
                  <c:v>291.49305555555554</c:v>
                </c:pt>
                <c:pt idx="3277">
                  <c:v>291.49305555555554</c:v>
                </c:pt>
                <c:pt idx="3278">
                  <c:v>291.49305555555554</c:v>
                </c:pt>
                <c:pt idx="3279">
                  <c:v>291.49305555555554</c:v>
                </c:pt>
                <c:pt idx="3280">
                  <c:v>290.79861111111114</c:v>
                </c:pt>
                <c:pt idx="3281">
                  <c:v>290.79861111111114</c:v>
                </c:pt>
                <c:pt idx="3282">
                  <c:v>290.79861111111114</c:v>
                </c:pt>
                <c:pt idx="3283">
                  <c:v>290.79861111111114</c:v>
                </c:pt>
                <c:pt idx="3284">
                  <c:v>290.79861111111114</c:v>
                </c:pt>
                <c:pt idx="3285">
                  <c:v>293.46064814814815</c:v>
                </c:pt>
                <c:pt idx="3286">
                  <c:v>293.46064814814815</c:v>
                </c:pt>
                <c:pt idx="3287">
                  <c:v>293.46064814814815</c:v>
                </c:pt>
                <c:pt idx="3288">
                  <c:v>293.46064814814815</c:v>
                </c:pt>
                <c:pt idx="3289">
                  <c:v>293.46064814814815</c:v>
                </c:pt>
                <c:pt idx="3290">
                  <c:v>297.91666666666663</c:v>
                </c:pt>
                <c:pt idx="3291">
                  <c:v>297.91666666666663</c:v>
                </c:pt>
                <c:pt idx="3292">
                  <c:v>297.91666666666663</c:v>
                </c:pt>
                <c:pt idx="3293">
                  <c:v>297.91666666666663</c:v>
                </c:pt>
                <c:pt idx="3294">
                  <c:v>297.91666666666663</c:v>
                </c:pt>
                <c:pt idx="3295">
                  <c:v>296.23842592592592</c:v>
                </c:pt>
                <c:pt idx="3296">
                  <c:v>296.23842592592592</c:v>
                </c:pt>
                <c:pt idx="3297">
                  <c:v>296.23842592592592</c:v>
                </c:pt>
                <c:pt idx="3298">
                  <c:v>296.23842592592592</c:v>
                </c:pt>
                <c:pt idx="3299">
                  <c:v>296.23842592592592</c:v>
                </c:pt>
                <c:pt idx="3300">
                  <c:v>299.59490740740739</c:v>
                </c:pt>
                <c:pt idx="3301">
                  <c:v>299.59490740740739</c:v>
                </c:pt>
                <c:pt idx="3302">
                  <c:v>299.59490740740739</c:v>
                </c:pt>
                <c:pt idx="3303">
                  <c:v>299.59490740740739</c:v>
                </c:pt>
                <c:pt idx="3304">
                  <c:v>299.59490740740739</c:v>
                </c:pt>
                <c:pt idx="3305">
                  <c:v>297.80092592592592</c:v>
                </c:pt>
                <c:pt idx="3306">
                  <c:v>297.80092592592592</c:v>
                </c:pt>
                <c:pt idx="3307">
                  <c:v>297.80092592592592</c:v>
                </c:pt>
                <c:pt idx="3308">
                  <c:v>297.80092592592592</c:v>
                </c:pt>
                <c:pt idx="3309">
                  <c:v>297.80092592592592</c:v>
                </c:pt>
                <c:pt idx="3310">
                  <c:v>306.71296296296299</c:v>
                </c:pt>
                <c:pt idx="3311">
                  <c:v>306.71296296296299</c:v>
                </c:pt>
                <c:pt idx="3312">
                  <c:v>306.71296296296299</c:v>
                </c:pt>
                <c:pt idx="3313">
                  <c:v>306.71296296296299</c:v>
                </c:pt>
                <c:pt idx="3314">
                  <c:v>306.71296296296299</c:v>
                </c:pt>
                <c:pt idx="3315">
                  <c:v>306.25</c:v>
                </c:pt>
                <c:pt idx="3316">
                  <c:v>306.25</c:v>
                </c:pt>
                <c:pt idx="3317">
                  <c:v>306.25</c:v>
                </c:pt>
                <c:pt idx="3318">
                  <c:v>306.25</c:v>
                </c:pt>
                <c:pt idx="3319">
                  <c:v>306.25</c:v>
                </c:pt>
                <c:pt idx="3320">
                  <c:v>304.86111111111114</c:v>
                </c:pt>
                <c:pt idx="3321">
                  <c:v>304.86111111111114</c:v>
                </c:pt>
                <c:pt idx="3322">
                  <c:v>304.86111111111114</c:v>
                </c:pt>
                <c:pt idx="3323">
                  <c:v>304.86111111111114</c:v>
                </c:pt>
                <c:pt idx="3324">
                  <c:v>304.86111111111114</c:v>
                </c:pt>
                <c:pt idx="3325">
                  <c:v>297.56944444444446</c:v>
                </c:pt>
                <c:pt idx="3326">
                  <c:v>297.56944444444446</c:v>
                </c:pt>
                <c:pt idx="3327">
                  <c:v>297.56944444444446</c:v>
                </c:pt>
                <c:pt idx="3328">
                  <c:v>297.56944444444446</c:v>
                </c:pt>
                <c:pt idx="3329">
                  <c:v>297.56944444444446</c:v>
                </c:pt>
                <c:pt idx="3330">
                  <c:v>306.48148148148147</c:v>
                </c:pt>
                <c:pt idx="3331">
                  <c:v>306.48148148148147</c:v>
                </c:pt>
                <c:pt idx="3332">
                  <c:v>306.48148148148147</c:v>
                </c:pt>
                <c:pt idx="3333">
                  <c:v>306.48148148148147</c:v>
                </c:pt>
                <c:pt idx="3334">
                  <c:v>306.48148148148147</c:v>
                </c:pt>
                <c:pt idx="3335">
                  <c:v>312.84722222222217</c:v>
                </c:pt>
                <c:pt idx="3336">
                  <c:v>312.84722222222217</c:v>
                </c:pt>
                <c:pt idx="3337">
                  <c:v>312.84722222222217</c:v>
                </c:pt>
                <c:pt idx="3338">
                  <c:v>312.84722222222217</c:v>
                </c:pt>
                <c:pt idx="3339">
                  <c:v>312.84722222222217</c:v>
                </c:pt>
                <c:pt idx="3340">
                  <c:v>314.23611111111114</c:v>
                </c:pt>
                <c:pt idx="3341">
                  <c:v>314.23611111111114</c:v>
                </c:pt>
                <c:pt idx="3342">
                  <c:v>314.23611111111114</c:v>
                </c:pt>
                <c:pt idx="3343">
                  <c:v>314.23611111111114</c:v>
                </c:pt>
                <c:pt idx="3344">
                  <c:v>314.23611111111114</c:v>
                </c:pt>
                <c:pt idx="3345">
                  <c:v>318.1712962962963</c:v>
                </c:pt>
                <c:pt idx="3346">
                  <c:v>318.1712962962963</c:v>
                </c:pt>
                <c:pt idx="3347">
                  <c:v>318.1712962962963</c:v>
                </c:pt>
                <c:pt idx="3348">
                  <c:v>318.1712962962963</c:v>
                </c:pt>
                <c:pt idx="3349">
                  <c:v>318.1712962962963</c:v>
                </c:pt>
                <c:pt idx="3350">
                  <c:v>319.21296296296299</c:v>
                </c:pt>
                <c:pt idx="3351">
                  <c:v>319.21296296296299</c:v>
                </c:pt>
                <c:pt idx="3352">
                  <c:v>319.21296296296299</c:v>
                </c:pt>
                <c:pt idx="3353">
                  <c:v>319.21296296296299</c:v>
                </c:pt>
                <c:pt idx="3354">
                  <c:v>319.21296296296299</c:v>
                </c:pt>
                <c:pt idx="3355">
                  <c:v>324.53703703703701</c:v>
                </c:pt>
                <c:pt idx="3356">
                  <c:v>324.53703703703701</c:v>
                </c:pt>
                <c:pt idx="3357">
                  <c:v>324.53703703703701</c:v>
                </c:pt>
                <c:pt idx="3358">
                  <c:v>324.53703703703701</c:v>
                </c:pt>
                <c:pt idx="3359">
                  <c:v>324.53703703703701</c:v>
                </c:pt>
                <c:pt idx="3360">
                  <c:v>322.4537037037037</c:v>
                </c:pt>
                <c:pt idx="3361">
                  <c:v>322.4537037037037</c:v>
                </c:pt>
                <c:pt idx="3362">
                  <c:v>322.4537037037037</c:v>
                </c:pt>
                <c:pt idx="3363">
                  <c:v>322.4537037037037</c:v>
                </c:pt>
                <c:pt idx="3364">
                  <c:v>322.4537037037037</c:v>
                </c:pt>
                <c:pt idx="3365">
                  <c:v>311.6319444444444</c:v>
                </c:pt>
                <c:pt idx="3366">
                  <c:v>311.6319444444444</c:v>
                </c:pt>
                <c:pt idx="3367">
                  <c:v>311.6319444444444</c:v>
                </c:pt>
                <c:pt idx="3368">
                  <c:v>311.6319444444444</c:v>
                </c:pt>
                <c:pt idx="3369">
                  <c:v>311.6319444444444</c:v>
                </c:pt>
                <c:pt idx="3370">
                  <c:v>306.48148148148147</c:v>
                </c:pt>
                <c:pt idx="3371">
                  <c:v>306.48148148148147</c:v>
                </c:pt>
                <c:pt idx="3372">
                  <c:v>306.48148148148147</c:v>
                </c:pt>
                <c:pt idx="3373">
                  <c:v>306.48148148148147</c:v>
                </c:pt>
                <c:pt idx="3374">
                  <c:v>306.48148148148147</c:v>
                </c:pt>
                <c:pt idx="3375">
                  <c:v>302.95138888888891</c:v>
                </c:pt>
                <c:pt idx="3376">
                  <c:v>302.95138888888891</c:v>
                </c:pt>
                <c:pt idx="3377">
                  <c:v>302.95138888888891</c:v>
                </c:pt>
                <c:pt idx="3378">
                  <c:v>302.95138888888891</c:v>
                </c:pt>
                <c:pt idx="3379">
                  <c:v>302.95138888888891</c:v>
                </c:pt>
                <c:pt idx="3380">
                  <c:v>317.12962962962968</c:v>
                </c:pt>
                <c:pt idx="3381">
                  <c:v>317.12962962962968</c:v>
                </c:pt>
                <c:pt idx="3382">
                  <c:v>317.12962962962968</c:v>
                </c:pt>
                <c:pt idx="3383">
                  <c:v>317.12962962962968</c:v>
                </c:pt>
                <c:pt idx="3384">
                  <c:v>317.12962962962968</c:v>
                </c:pt>
                <c:pt idx="3385">
                  <c:v>321.41203703703707</c:v>
                </c:pt>
                <c:pt idx="3386">
                  <c:v>321.41203703703707</c:v>
                </c:pt>
                <c:pt idx="3387">
                  <c:v>321.41203703703707</c:v>
                </c:pt>
                <c:pt idx="3388">
                  <c:v>321.41203703703707</c:v>
                </c:pt>
                <c:pt idx="3389">
                  <c:v>321.41203703703707</c:v>
                </c:pt>
                <c:pt idx="3390">
                  <c:v>326.27314814814815</c:v>
                </c:pt>
                <c:pt idx="3391">
                  <c:v>326.27314814814815</c:v>
                </c:pt>
                <c:pt idx="3392">
                  <c:v>326.27314814814815</c:v>
                </c:pt>
                <c:pt idx="3393">
                  <c:v>326.27314814814815</c:v>
                </c:pt>
                <c:pt idx="3394">
                  <c:v>326.27314814814815</c:v>
                </c:pt>
                <c:pt idx="3395">
                  <c:v>322.22222222222217</c:v>
                </c:pt>
                <c:pt idx="3396">
                  <c:v>322.22222222222217</c:v>
                </c:pt>
                <c:pt idx="3397">
                  <c:v>322.22222222222217</c:v>
                </c:pt>
                <c:pt idx="3398">
                  <c:v>322.22222222222217</c:v>
                </c:pt>
                <c:pt idx="3399">
                  <c:v>322.22222222222217</c:v>
                </c:pt>
                <c:pt idx="3400">
                  <c:v>319.7337962962963</c:v>
                </c:pt>
                <c:pt idx="3401">
                  <c:v>319.7337962962963</c:v>
                </c:pt>
                <c:pt idx="3402">
                  <c:v>319.7337962962963</c:v>
                </c:pt>
                <c:pt idx="3403">
                  <c:v>319.7337962962963</c:v>
                </c:pt>
                <c:pt idx="3404">
                  <c:v>319.7337962962963</c:v>
                </c:pt>
                <c:pt idx="3405">
                  <c:v>323.20601851851853</c:v>
                </c:pt>
                <c:pt idx="3406">
                  <c:v>323.20601851851853</c:v>
                </c:pt>
                <c:pt idx="3407">
                  <c:v>323.20601851851853</c:v>
                </c:pt>
                <c:pt idx="3408">
                  <c:v>323.20601851851853</c:v>
                </c:pt>
                <c:pt idx="3409">
                  <c:v>323.20601851851853</c:v>
                </c:pt>
                <c:pt idx="3410">
                  <c:v>313.31018518518516</c:v>
                </c:pt>
                <c:pt idx="3411">
                  <c:v>313.31018518518516</c:v>
                </c:pt>
                <c:pt idx="3412">
                  <c:v>313.31018518518516</c:v>
                </c:pt>
                <c:pt idx="3413">
                  <c:v>313.31018518518516</c:v>
                </c:pt>
                <c:pt idx="3414">
                  <c:v>313.31018518518516</c:v>
                </c:pt>
                <c:pt idx="3415">
                  <c:v>313.59953703703701</c:v>
                </c:pt>
                <c:pt idx="3416">
                  <c:v>313.59953703703701</c:v>
                </c:pt>
                <c:pt idx="3417">
                  <c:v>313.59953703703701</c:v>
                </c:pt>
                <c:pt idx="3418">
                  <c:v>313.59953703703701</c:v>
                </c:pt>
                <c:pt idx="3419">
                  <c:v>313.59953703703701</c:v>
                </c:pt>
                <c:pt idx="3420">
                  <c:v>318.57638888888886</c:v>
                </c:pt>
                <c:pt idx="3421">
                  <c:v>318.57638888888886</c:v>
                </c:pt>
                <c:pt idx="3422">
                  <c:v>318.57638888888886</c:v>
                </c:pt>
                <c:pt idx="3423">
                  <c:v>318.57638888888886</c:v>
                </c:pt>
                <c:pt idx="3424">
                  <c:v>318.57638888888886</c:v>
                </c:pt>
                <c:pt idx="3425">
                  <c:v>326.79398148148147</c:v>
                </c:pt>
                <c:pt idx="3426">
                  <c:v>326.79398148148147</c:v>
                </c:pt>
                <c:pt idx="3427">
                  <c:v>326.79398148148147</c:v>
                </c:pt>
                <c:pt idx="3428">
                  <c:v>326.79398148148147</c:v>
                </c:pt>
                <c:pt idx="3429">
                  <c:v>326.79398148148147</c:v>
                </c:pt>
                <c:pt idx="3430">
                  <c:v>326.5625</c:v>
                </c:pt>
                <c:pt idx="3431">
                  <c:v>326.5625</c:v>
                </c:pt>
                <c:pt idx="3432">
                  <c:v>326.5625</c:v>
                </c:pt>
                <c:pt idx="3433">
                  <c:v>326.5625</c:v>
                </c:pt>
                <c:pt idx="3434">
                  <c:v>326.5625</c:v>
                </c:pt>
                <c:pt idx="3435">
                  <c:v>334.66435185185185</c:v>
                </c:pt>
                <c:pt idx="3436">
                  <c:v>334.66435185185185</c:v>
                </c:pt>
                <c:pt idx="3437">
                  <c:v>334.66435185185185</c:v>
                </c:pt>
                <c:pt idx="3438">
                  <c:v>334.66435185185185</c:v>
                </c:pt>
                <c:pt idx="3439">
                  <c:v>334.66435185185185</c:v>
                </c:pt>
                <c:pt idx="3440">
                  <c:v>325.28935185185185</c:v>
                </c:pt>
                <c:pt idx="3441">
                  <c:v>325.28935185185185</c:v>
                </c:pt>
                <c:pt idx="3442">
                  <c:v>325.28935185185185</c:v>
                </c:pt>
                <c:pt idx="3443">
                  <c:v>325.28935185185185</c:v>
                </c:pt>
                <c:pt idx="3444">
                  <c:v>325.28935185185185</c:v>
                </c:pt>
                <c:pt idx="3445">
                  <c:v>324.59490740740739</c:v>
                </c:pt>
                <c:pt idx="3446">
                  <c:v>324.59490740740739</c:v>
                </c:pt>
                <c:pt idx="3447">
                  <c:v>324.59490740740739</c:v>
                </c:pt>
                <c:pt idx="3448">
                  <c:v>324.59490740740739</c:v>
                </c:pt>
                <c:pt idx="3449">
                  <c:v>324.59490740740739</c:v>
                </c:pt>
                <c:pt idx="3450">
                  <c:v>323.78472222222223</c:v>
                </c:pt>
                <c:pt idx="3451">
                  <c:v>323.78472222222223</c:v>
                </c:pt>
                <c:pt idx="3452">
                  <c:v>323.78472222222223</c:v>
                </c:pt>
                <c:pt idx="3453">
                  <c:v>323.78472222222223</c:v>
                </c:pt>
                <c:pt idx="3454">
                  <c:v>323.78472222222223</c:v>
                </c:pt>
                <c:pt idx="3455">
                  <c:v>323.78472222222223</c:v>
                </c:pt>
                <c:pt idx="3456">
                  <c:v>323.78472222222223</c:v>
                </c:pt>
                <c:pt idx="3457">
                  <c:v>323.78472222222223</c:v>
                </c:pt>
                <c:pt idx="3458">
                  <c:v>323.78472222222223</c:v>
                </c:pt>
                <c:pt idx="3459">
                  <c:v>323.78472222222223</c:v>
                </c:pt>
                <c:pt idx="3460">
                  <c:v>318.0555555555556</c:v>
                </c:pt>
                <c:pt idx="3461">
                  <c:v>318.0555555555556</c:v>
                </c:pt>
                <c:pt idx="3462">
                  <c:v>318.0555555555556</c:v>
                </c:pt>
                <c:pt idx="3463">
                  <c:v>318.0555555555556</c:v>
                </c:pt>
                <c:pt idx="3464">
                  <c:v>318.0555555555556</c:v>
                </c:pt>
                <c:pt idx="3465">
                  <c:v>314.52546296296293</c:v>
                </c:pt>
                <c:pt idx="3466">
                  <c:v>314.52546296296293</c:v>
                </c:pt>
                <c:pt idx="3467">
                  <c:v>314.52546296296293</c:v>
                </c:pt>
                <c:pt idx="3468">
                  <c:v>314.52546296296293</c:v>
                </c:pt>
                <c:pt idx="3469">
                  <c:v>314.52546296296293</c:v>
                </c:pt>
                <c:pt idx="3470">
                  <c:v>311.74768518518516</c:v>
                </c:pt>
                <c:pt idx="3471">
                  <c:v>311.74768518518516</c:v>
                </c:pt>
                <c:pt idx="3472">
                  <c:v>311.74768518518516</c:v>
                </c:pt>
                <c:pt idx="3473">
                  <c:v>311.74768518518516</c:v>
                </c:pt>
                <c:pt idx="3474">
                  <c:v>311.74768518518516</c:v>
                </c:pt>
                <c:pt idx="3475">
                  <c:v>311.05324074074076</c:v>
                </c:pt>
                <c:pt idx="3476">
                  <c:v>311.05324074074076</c:v>
                </c:pt>
                <c:pt idx="3477">
                  <c:v>311.05324074074076</c:v>
                </c:pt>
                <c:pt idx="3478">
                  <c:v>311.05324074074076</c:v>
                </c:pt>
                <c:pt idx="3479">
                  <c:v>311.05324074074076</c:v>
                </c:pt>
                <c:pt idx="3480">
                  <c:v>314.17824074074076</c:v>
                </c:pt>
                <c:pt idx="3481">
                  <c:v>314.17824074074076</c:v>
                </c:pt>
                <c:pt idx="3482">
                  <c:v>314.17824074074076</c:v>
                </c:pt>
                <c:pt idx="3483">
                  <c:v>314.17824074074076</c:v>
                </c:pt>
                <c:pt idx="3484">
                  <c:v>314.17824074074076</c:v>
                </c:pt>
                <c:pt idx="3485">
                  <c:v>311.6319444444444</c:v>
                </c:pt>
                <c:pt idx="3486">
                  <c:v>311.6319444444444</c:v>
                </c:pt>
                <c:pt idx="3487">
                  <c:v>311.6319444444444</c:v>
                </c:pt>
                <c:pt idx="3488">
                  <c:v>311.6319444444444</c:v>
                </c:pt>
                <c:pt idx="3489">
                  <c:v>311.6319444444444</c:v>
                </c:pt>
                <c:pt idx="3490">
                  <c:v>313.13657407407402</c:v>
                </c:pt>
                <c:pt idx="3491">
                  <c:v>313.13657407407402</c:v>
                </c:pt>
                <c:pt idx="3492">
                  <c:v>313.13657407407402</c:v>
                </c:pt>
                <c:pt idx="3493">
                  <c:v>313.13657407407402</c:v>
                </c:pt>
                <c:pt idx="3494">
                  <c:v>313.13657407407402</c:v>
                </c:pt>
                <c:pt idx="3495">
                  <c:v>310.59027777777777</c:v>
                </c:pt>
                <c:pt idx="3496">
                  <c:v>310.59027777777777</c:v>
                </c:pt>
                <c:pt idx="3497">
                  <c:v>310.59027777777777</c:v>
                </c:pt>
                <c:pt idx="3498">
                  <c:v>310.59027777777777</c:v>
                </c:pt>
                <c:pt idx="3499">
                  <c:v>310.59027777777777</c:v>
                </c:pt>
                <c:pt idx="3500">
                  <c:v>308.50694444444446</c:v>
                </c:pt>
                <c:pt idx="3501">
                  <c:v>308.50694444444446</c:v>
                </c:pt>
                <c:pt idx="3502">
                  <c:v>308.50694444444446</c:v>
                </c:pt>
                <c:pt idx="3503">
                  <c:v>308.50694444444446</c:v>
                </c:pt>
                <c:pt idx="3504">
                  <c:v>308.50694444444446</c:v>
                </c:pt>
                <c:pt idx="3505">
                  <c:v>308.68055555555554</c:v>
                </c:pt>
                <c:pt idx="3506">
                  <c:v>308.68055555555554</c:v>
                </c:pt>
                <c:pt idx="3507">
                  <c:v>308.68055555555554</c:v>
                </c:pt>
                <c:pt idx="3508">
                  <c:v>308.68055555555554</c:v>
                </c:pt>
                <c:pt idx="3509">
                  <c:v>308.68055555555554</c:v>
                </c:pt>
                <c:pt idx="3510">
                  <c:v>315.68287037037038</c:v>
                </c:pt>
                <c:pt idx="3511">
                  <c:v>315.68287037037038</c:v>
                </c:pt>
                <c:pt idx="3512">
                  <c:v>315.68287037037038</c:v>
                </c:pt>
                <c:pt idx="3513">
                  <c:v>315.68287037037038</c:v>
                </c:pt>
                <c:pt idx="3514">
                  <c:v>315.68287037037038</c:v>
                </c:pt>
                <c:pt idx="3515">
                  <c:v>312.55787037037038</c:v>
                </c:pt>
                <c:pt idx="3516">
                  <c:v>312.55787037037038</c:v>
                </c:pt>
                <c:pt idx="3517">
                  <c:v>312.55787037037038</c:v>
                </c:pt>
                <c:pt idx="3518">
                  <c:v>312.55787037037038</c:v>
                </c:pt>
                <c:pt idx="3519">
                  <c:v>312.55787037037038</c:v>
                </c:pt>
                <c:pt idx="3520">
                  <c:v>315.68287037037038</c:v>
                </c:pt>
                <c:pt idx="3521">
                  <c:v>315.68287037037038</c:v>
                </c:pt>
                <c:pt idx="3522">
                  <c:v>315.68287037037038</c:v>
                </c:pt>
                <c:pt idx="3523">
                  <c:v>315.68287037037038</c:v>
                </c:pt>
                <c:pt idx="3524">
                  <c:v>315.68287037037038</c:v>
                </c:pt>
                <c:pt idx="3525">
                  <c:v>310.0694444444444</c:v>
                </c:pt>
                <c:pt idx="3526">
                  <c:v>310.0694444444444</c:v>
                </c:pt>
                <c:pt idx="3527">
                  <c:v>310.0694444444444</c:v>
                </c:pt>
                <c:pt idx="3528">
                  <c:v>310.0694444444444</c:v>
                </c:pt>
                <c:pt idx="3529">
                  <c:v>310.0694444444444</c:v>
                </c:pt>
                <c:pt idx="3530">
                  <c:v>305.5555555555556</c:v>
                </c:pt>
                <c:pt idx="3531">
                  <c:v>305.5555555555556</c:v>
                </c:pt>
                <c:pt idx="3532">
                  <c:v>305.5555555555556</c:v>
                </c:pt>
                <c:pt idx="3533">
                  <c:v>305.5555555555556</c:v>
                </c:pt>
                <c:pt idx="3534">
                  <c:v>305.5555555555556</c:v>
                </c:pt>
                <c:pt idx="3535">
                  <c:v>306.94444444444446</c:v>
                </c:pt>
                <c:pt idx="3536">
                  <c:v>306.94444444444446</c:v>
                </c:pt>
                <c:pt idx="3537">
                  <c:v>306.94444444444446</c:v>
                </c:pt>
                <c:pt idx="3538">
                  <c:v>306.94444444444446</c:v>
                </c:pt>
                <c:pt idx="3539">
                  <c:v>306.94444444444446</c:v>
                </c:pt>
                <c:pt idx="3540">
                  <c:v>300.9837962962963</c:v>
                </c:pt>
                <c:pt idx="3541">
                  <c:v>300.9837962962963</c:v>
                </c:pt>
                <c:pt idx="3542">
                  <c:v>300.9837962962963</c:v>
                </c:pt>
                <c:pt idx="3543">
                  <c:v>300.9837962962963</c:v>
                </c:pt>
                <c:pt idx="3544">
                  <c:v>300.9837962962963</c:v>
                </c:pt>
                <c:pt idx="3545">
                  <c:v>297.91666666666663</c:v>
                </c:pt>
                <c:pt idx="3546">
                  <c:v>297.91666666666663</c:v>
                </c:pt>
                <c:pt idx="3547">
                  <c:v>297.91666666666663</c:v>
                </c:pt>
                <c:pt idx="3548">
                  <c:v>297.91666666666663</c:v>
                </c:pt>
                <c:pt idx="3549">
                  <c:v>297.91666666666663</c:v>
                </c:pt>
                <c:pt idx="3550">
                  <c:v>297.8587962962963</c:v>
                </c:pt>
                <c:pt idx="3551">
                  <c:v>297.8587962962963</c:v>
                </c:pt>
                <c:pt idx="3552">
                  <c:v>297.8587962962963</c:v>
                </c:pt>
                <c:pt idx="3553">
                  <c:v>297.8587962962963</c:v>
                </c:pt>
                <c:pt idx="3554">
                  <c:v>297.8587962962963</c:v>
                </c:pt>
                <c:pt idx="3555">
                  <c:v>298.26388888888886</c:v>
                </c:pt>
                <c:pt idx="3556">
                  <c:v>298.26388888888886</c:v>
                </c:pt>
                <c:pt idx="3557">
                  <c:v>298.26388888888886</c:v>
                </c:pt>
                <c:pt idx="3558">
                  <c:v>298.26388888888886</c:v>
                </c:pt>
                <c:pt idx="3559">
                  <c:v>298.26388888888886</c:v>
                </c:pt>
                <c:pt idx="3560">
                  <c:v>291.55092592592598</c:v>
                </c:pt>
                <c:pt idx="3561">
                  <c:v>291.55092592592598</c:v>
                </c:pt>
                <c:pt idx="3562">
                  <c:v>291.55092592592598</c:v>
                </c:pt>
                <c:pt idx="3563">
                  <c:v>291.55092592592598</c:v>
                </c:pt>
                <c:pt idx="3564">
                  <c:v>291.55092592592598</c:v>
                </c:pt>
                <c:pt idx="3565">
                  <c:v>295.94907407407408</c:v>
                </c:pt>
                <c:pt idx="3566">
                  <c:v>295.94907407407408</c:v>
                </c:pt>
                <c:pt idx="3567">
                  <c:v>295.94907407407408</c:v>
                </c:pt>
                <c:pt idx="3568">
                  <c:v>295.94907407407408</c:v>
                </c:pt>
                <c:pt idx="3569">
                  <c:v>295.94907407407408</c:v>
                </c:pt>
                <c:pt idx="3570">
                  <c:v>297.16435185185185</c:v>
                </c:pt>
                <c:pt idx="3571">
                  <c:v>297.16435185185185</c:v>
                </c:pt>
                <c:pt idx="3572">
                  <c:v>297.16435185185185</c:v>
                </c:pt>
                <c:pt idx="3573">
                  <c:v>297.16435185185185</c:v>
                </c:pt>
                <c:pt idx="3574">
                  <c:v>297.16435185185185</c:v>
                </c:pt>
                <c:pt idx="3575">
                  <c:v>291.14583333333331</c:v>
                </c:pt>
                <c:pt idx="3576">
                  <c:v>291.14583333333331</c:v>
                </c:pt>
                <c:pt idx="3577">
                  <c:v>291.14583333333331</c:v>
                </c:pt>
                <c:pt idx="3578">
                  <c:v>291.14583333333331</c:v>
                </c:pt>
                <c:pt idx="3579">
                  <c:v>291.14583333333331</c:v>
                </c:pt>
                <c:pt idx="3580">
                  <c:v>289.6412037037037</c:v>
                </c:pt>
                <c:pt idx="3581">
                  <c:v>289.6412037037037</c:v>
                </c:pt>
                <c:pt idx="3582">
                  <c:v>289.6412037037037</c:v>
                </c:pt>
                <c:pt idx="3583">
                  <c:v>289.6412037037037</c:v>
                </c:pt>
                <c:pt idx="3584">
                  <c:v>289.6412037037037</c:v>
                </c:pt>
                <c:pt idx="3585">
                  <c:v>291.66666666666663</c:v>
                </c:pt>
                <c:pt idx="3586">
                  <c:v>291.66666666666663</c:v>
                </c:pt>
                <c:pt idx="3587">
                  <c:v>291.66666666666663</c:v>
                </c:pt>
                <c:pt idx="3588">
                  <c:v>291.66666666666663</c:v>
                </c:pt>
                <c:pt idx="3589">
                  <c:v>291.66666666666663</c:v>
                </c:pt>
                <c:pt idx="3590">
                  <c:v>281.71296296296299</c:v>
                </c:pt>
                <c:pt idx="3591">
                  <c:v>281.71296296296299</c:v>
                </c:pt>
                <c:pt idx="3592">
                  <c:v>281.71296296296299</c:v>
                </c:pt>
                <c:pt idx="3593">
                  <c:v>281.71296296296299</c:v>
                </c:pt>
                <c:pt idx="3594">
                  <c:v>281.71296296296299</c:v>
                </c:pt>
                <c:pt idx="3595">
                  <c:v>274.3055555555556</c:v>
                </c:pt>
                <c:pt idx="3596">
                  <c:v>274.3055555555556</c:v>
                </c:pt>
                <c:pt idx="3597">
                  <c:v>274.3055555555556</c:v>
                </c:pt>
                <c:pt idx="3598">
                  <c:v>274.3055555555556</c:v>
                </c:pt>
                <c:pt idx="3599">
                  <c:v>274.3055555555556</c:v>
                </c:pt>
                <c:pt idx="3600">
                  <c:v>267.07175925925924</c:v>
                </c:pt>
                <c:pt idx="3601">
                  <c:v>267.07175925925924</c:v>
                </c:pt>
                <c:pt idx="3602">
                  <c:v>267.07175925925924</c:v>
                </c:pt>
                <c:pt idx="3603">
                  <c:v>267.07175925925924</c:v>
                </c:pt>
                <c:pt idx="3604">
                  <c:v>267.07175925925924</c:v>
                </c:pt>
                <c:pt idx="3605">
                  <c:v>256.13425925925924</c:v>
                </c:pt>
                <c:pt idx="3606">
                  <c:v>256.13425925925924</c:v>
                </c:pt>
                <c:pt idx="3607">
                  <c:v>256.13425925925924</c:v>
                </c:pt>
                <c:pt idx="3608">
                  <c:v>256.13425925925924</c:v>
                </c:pt>
                <c:pt idx="3609">
                  <c:v>256.13425925925924</c:v>
                </c:pt>
                <c:pt idx="3610">
                  <c:v>255.96064814814815</c:v>
                </c:pt>
                <c:pt idx="3611">
                  <c:v>255.96064814814815</c:v>
                </c:pt>
                <c:pt idx="3612">
                  <c:v>255.96064814814815</c:v>
                </c:pt>
                <c:pt idx="3613">
                  <c:v>255.96064814814815</c:v>
                </c:pt>
                <c:pt idx="3614">
                  <c:v>255.96064814814815</c:v>
                </c:pt>
                <c:pt idx="3615">
                  <c:v>256.71296296296299</c:v>
                </c:pt>
                <c:pt idx="3616">
                  <c:v>256.71296296296299</c:v>
                </c:pt>
                <c:pt idx="3617">
                  <c:v>256.71296296296299</c:v>
                </c:pt>
                <c:pt idx="3618">
                  <c:v>256.71296296296299</c:v>
                </c:pt>
                <c:pt idx="3619">
                  <c:v>256.71296296296299</c:v>
                </c:pt>
                <c:pt idx="3620">
                  <c:v>259.9537037037037</c:v>
                </c:pt>
                <c:pt idx="3621">
                  <c:v>259.9537037037037</c:v>
                </c:pt>
                <c:pt idx="3622">
                  <c:v>259.9537037037037</c:v>
                </c:pt>
                <c:pt idx="3623">
                  <c:v>259.9537037037037</c:v>
                </c:pt>
                <c:pt idx="3624">
                  <c:v>259.9537037037037</c:v>
                </c:pt>
                <c:pt idx="3625">
                  <c:v>257.58101851851853</c:v>
                </c:pt>
                <c:pt idx="3626">
                  <c:v>257.58101851851853</c:v>
                </c:pt>
                <c:pt idx="3627">
                  <c:v>257.58101851851853</c:v>
                </c:pt>
                <c:pt idx="3628">
                  <c:v>257.58101851851853</c:v>
                </c:pt>
                <c:pt idx="3629">
                  <c:v>257.58101851851853</c:v>
                </c:pt>
                <c:pt idx="3630">
                  <c:v>262.5</c:v>
                </c:pt>
                <c:pt idx="3631">
                  <c:v>262.5</c:v>
                </c:pt>
                <c:pt idx="3632">
                  <c:v>262.5</c:v>
                </c:pt>
                <c:pt idx="3633">
                  <c:v>262.5</c:v>
                </c:pt>
                <c:pt idx="3634">
                  <c:v>262.5</c:v>
                </c:pt>
                <c:pt idx="3635">
                  <c:v>261.45833333333331</c:v>
                </c:pt>
                <c:pt idx="3636">
                  <c:v>261.45833333333331</c:v>
                </c:pt>
                <c:pt idx="3637">
                  <c:v>261.45833333333331</c:v>
                </c:pt>
                <c:pt idx="3638">
                  <c:v>261.45833333333331</c:v>
                </c:pt>
                <c:pt idx="3639">
                  <c:v>261.45833333333331</c:v>
                </c:pt>
                <c:pt idx="3640">
                  <c:v>255.43981481481478</c:v>
                </c:pt>
                <c:pt idx="3641">
                  <c:v>255.43981481481478</c:v>
                </c:pt>
                <c:pt idx="3642">
                  <c:v>255.43981481481478</c:v>
                </c:pt>
                <c:pt idx="3643">
                  <c:v>255.43981481481478</c:v>
                </c:pt>
                <c:pt idx="3644">
                  <c:v>255.43981481481478</c:v>
                </c:pt>
                <c:pt idx="3645">
                  <c:v>240.56712962962962</c:v>
                </c:pt>
                <c:pt idx="3646">
                  <c:v>240.56712962962962</c:v>
                </c:pt>
                <c:pt idx="3647">
                  <c:v>240.56712962962962</c:v>
                </c:pt>
                <c:pt idx="3648">
                  <c:v>240.56712962962962</c:v>
                </c:pt>
                <c:pt idx="3649">
                  <c:v>240.56712962962962</c:v>
                </c:pt>
                <c:pt idx="3650">
                  <c:v>235.76388888888889</c:v>
                </c:pt>
                <c:pt idx="3651">
                  <c:v>235.76388888888889</c:v>
                </c:pt>
                <c:pt idx="3652">
                  <c:v>235.76388888888889</c:v>
                </c:pt>
                <c:pt idx="3653">
                  <c:v>235.76388888888889</c:v>
                </c:pt>
                <c:pt idx="3654">
                  <c:v>235.76388888888889</c:v>
                </c:pt>
                <c:pt idx="3655">
                  <c:v>228.70370370370372</c:v>
                </c:pt>
                <c:pt idx="3656">
                  <c:v>228.70370370370372</c:v>
                </c:pt>
                <c:pt idx="3657">
                  <c:v>228.70370370370372</c:v>
                </c:pt>
                <c:pt idx="3658">
                  <c:v>228.70370370370372</c:v>
                </c:pt>
                <c:pt idx="3659">
                  <c:v>228.70370370370372</c:v>
                </c:pt>
                <c:pt idx="3660">
                  <c:v>217.53472222222223</c:v>
                </c:pt>
                <c:pt idx="3661">
                  <c:v>217.53472222222223</c:v>
                </c:pt>
                <c:pt idx="3662">
                  <c:v>217.53472222222223</c:v>
                </c:pt>
                <c:pt idx="3663">
                  <c:v>217.53472222222223</c:v>
                </c:pt>
                <c:pt idx="3664">
                  <c:v>217.53472222222223</c:v>
                </c:pt>
                <c:pt idx="3665">
                  <c:v>101.27314814814814</c:v>
                </c:pt>
                <c:pt idx="3666">
                  <c:v>101.27314814814814</c:v>
                </c:pt>
                <c:pt idx="3667">
                  <c:v>101.27314814814814</c:v>
                </c:pt>
                <c:pt idx="3668">
                  <c:v>101.27314814814814</c:v>
                </c:pt>
                <c:pt idx="3669">
                  <c:v>101.27314814814814</c:v>
                </c:pt>
                <c:pt idx="3670">
                  <c:v>93.171296296296305</c:v>
                </c:pt>
                <c:pt idx="3671">
                  <c:v>93.171296296296305</c:v>
                </c:pt>
                <c:pt idx="3672">
                  <c:v>93.171296296296305</c:v>
                </c:pt>
                <c:pt idx="3673">
                  <c:v>93.171296296296305</c:v>
                </c:pt>
                <c:pt idx="3674">
                  <c:v>93.171296296296305</c:v>
                </c:pt>
                <c:pt idx="3675">
                  <c:v>75.925925925925924</c:v>
                </c:pt>
                <c:pt idx="3676">
                  <c:v>75.925925925925924</c:v>
                </c:pt>
                <c:pt idx="3677">
                  <c:v>75.925925925925924</c:v>
                </c:pt>
                <c:pt idx="3678">
                  <c:v>75.925925925925924</c:v>
                </c:pt>
                <c:pt idx="3679">
                  <c:v>75.925925925925924</c:v>
                </c:pt>
                <c:pt idx="3680">
                  <c:v>72.395833333333329</c:v>
                </c:pt>
                <c:pt idx="3681">
                  <c:v>72.395833333333329</c:v>
                </c:pt>
                <c:pt idx="3682">
                  <c:v>72.395833333333329</c:v>
                </c:pt>
                <c:pt idx="3683">
                  <c:v>72.395833333333329</c:v>
                </c:pt>
                <c:pt idx="3684">
                  <c:v>72.395833333333329</c:v>
                </c:pt>
                <c:pt idx="3685">
                  <c:v>49.710648148148145</c:v>
                </c:pt>
                <c:pt idx="3686">
                  <c:v>49.710648148148145</c:v>
                </c:pt>
                <c:pt idx="3687">
                  <c:v>49.710648148148145</c:v>
                </c:pt>
                <c:pt idx="3688">
                  <c:v>49.710648148148145</c:v>
                </c:pt>
                <c:pt idx="3689">
                  <c:v>49.710648148148145</c:v>
                </c:pt>
                <c:pt idx="3690">
                  <c:v>43.75</c:v>
                </c:pt>
                <c:pt idx="3691">
                  <c:v>43.75</c:v>
                </c:pt>
                <c:pt idx="3692">
                  <c:v>43.75</c:v>
                </c:pt>
                <c:pt idx="3693">
                  <c:v>43.75</c:v>
                </c:pt>
                <c:pt idx="3694">
                  <c:v>43.75</c:v>
                </c:pt>
                <c:pt idx="3695">
                  <c:v>40.798611111111107</c:v>
                </c:pt>
                <c:pt idx="3696">
                  <c:v>40.798611111111107</c:v>
                </c:pt>
                <c:pt idx="3697">
                  <c:v>40.798611111111107</c:v>
                </c:pt>
                <c:pt idx="3698">
                  <c:v>40.798611111111107</c:v>
                </c:pt>
                <c:pt idx="3699">
                  <c:v>40.798611111111107</c:v>
                </c:pt>
                <c:pt idx="3700">
                  <c:v>43.171296296296298</c:v>
                </c:pt>
                <c:pt idx="3701">
                  <c:v>43.171296296296298</c:v>
                </c:pt>
                <c:pt idx="3702">
                  <c:v>43.171296296296298</c:v>
                </c:pt>
                <c:pt idx="3703">
                  <c:v>43.171296296296298</c:v>
                </c:pt>
                <c:pt idx="3704">
                  <c:v>43.171296296296298</c:v>
                </c:pt>
                <c:pt idx="3705">
                  <c:v>44.849537037037038</c:v>
                </c:pt>
                <c:pt idx="3706">
                  <c:v>44.849537037037038</c:v>
                </c:pt>
                <c:pt idx="3707">
                  <c:v>44.849537037037038</c:v>
                </c:pt>
                <c:pt idx="3708">
                  <c:v>44.849537037037038</c:v>
                </c:pt>
                <c:pt idx="3709">
                  <c:v>44.849537037037038</c:v>
                </c:pt>
                <c:pt idx="3710">
                  <c:v>44.270833333333336</c:v>
                </c:pt>
                <c:pt idx="3711">
                  <c:v>44.270833333333336</c:v>
                </c:pt>
                <c:pt idx="3712">
                  <c:v>44.270833333333336</c:v>
                </c:pt>
                <c:pt idx="3713">
                  <c:v>44.270833333333336</c:v>
                </c:pt>
                <c:pt idx="3714">
                  <c:v>44.270833333333336</c:v>
                </c:pt>
                <c:pt idx="3715">
                  <c:v>42.30324074074074</c:v>
                </c:pt>
                <c:pt idx="3716">
                  <c:v>42.30324074074074</c:v>
                </c:pt>
                <c:pt idx="3717">
                  <c:v>42.30324074074074</c:v>
                </c:pt>
                <c:pt idx="3718">
                  <c:v>42.30324074074074</c:v>
                </c:pt>
                <c:pt idx="3719">
                  <c:v>42.30324074074074</c:v>
                </c:pt>
                <c:pt idx="3720">
                  <c:v>35.416666666666671</c:v>
                </c:pt>
                <c:pt idx="3721">
                  <c:v>35.416666666666671</c:v>
                </c:pt>
                <c:pt idx="3722">
                  <c:v>35.416666666666671</c:v>
                </c:pt>
                <c:pt idx="3723">
                  <c:v>35.416666666666671</c:v>
                </c:pt>
                <c:pt idx="3724">
                  <c:v>35.416666666666671</c:v>
                </c:pt>
                <c:pt idx="3725">
                  <c:v>32.523148148148152</c:v>
                </c:pt>
                <c:pt idx="3726">
                  <c:v>32.523148148148152</c:v>
                </c:pt>
                <c:pt idx="3727">
                  <c:v>32.523148148148152</c:v>
                </c:pt>
                <c:pt idx="3728">
                  <c:v>32.523148148148152</c:v>
                </c:pt>
                <c:pt idx="3729">
                  <c:v>32.523148148148152</c:v>
                </c:pt>
                <c:pt idx="3730">
                  <c:v>35.24305555555555</c:v>
                </c:pt>
                <c:pt idx="3731">
                  <c:v>35.24305555555555</c:v>
                </c:pt>
                <c:pt idx="3732">
                  <c:v>35.24305555555555</c:v>
                </c:pt>
                <c:pt idx="3733">
                  <c:v>35.24305555555555</c:v>
                </c:pt>
                <c:pt idx="3734">
                  <c:v>35.24305555555555</c:v>
                </c:pt>
                <c:pt idx="3735">
                  <c:v>22.800925925925927</c:v>
                </c:pt>
                <c:pt idx="3736">
                  <c:v>22.800925925925927</c:v>
                </c:pt>
                <c:pt idx="3737">
                  <c:v>22.800925925925927</c:v>
                </c:pt>
                <c:pt idx="3738">
                  <c:v>22.800925925925927</c:v>
                </c:pt>
                <c:pt idx="3739">
                  <c:v>22.800925925925927</c:v>
                </c:pt>
                <c:pt idx="3740">
                  <c:v>24.652777777777775</c:v>
                </c:pt>
                <c:pt idx="3741">
                  <c:v>24.652777777777775</c:v>
                </c:pt>
                <c:pt idx="3742">
                  <c:v>24.652777777777775</c:v>
                </c:pt>
                <c:pt idx="3743">
                  <c:v>24.652777777777775</c:v>
                </c:pt>
                <c:pt idx="3744">
                  <c:v>24.652777777777775</c:v>
                </c:pt>
                <c:pt idx="3745">
                  <c:v>25.173611111111111</c:v>
                </c:pt>
                <c:pt idx="3746">
                  <c:v>25.173611111111111</c:v>
                </c:pt>
                <c:pt idx="3747">
                  <c:v>25.173611111111111</c:v>
                </c:pt>
                <c:pt idx="3748">
                  <c:v>25.173611111111111</c:v>
                </c:pt>
                <c:pt idx="3749">
                  <c:v>25.173611111111111</c:v>
                </c:pt>
                <c:pt idx="3750">
                  <c:v>33.275462962962962</c:v>
                </c:pt>
                <c:pt idx="3751">
                  <c:v>33.275462962962962</c:v>
                </c:pt>
                <c:pt idx="3752">
                  <c:v>33.275462962962962</c:v>
                </c:pt>
                <c:pt idx="3753">
                  <c:v>33.275462962962962</c:v>
                </c:pt>
                <c:pt idx="3754">
                  <c:v>33.275462962962962</c:v>
                </c:pt>
                <c:pt idx="3755">
                  <c:v>28.009259259259263</c:v>
                </c:pt>
                <c:pt idx="3756">
                  <c:v>28.009259259259263</c:v>
                </c:pt>
                <c:pt idx="3757">
                  <c:v>28.009259259259263</c:v>
                </c:pt>
                <c:pt idx="3758">
                  <c:v>28.009259259259263</c:v>
                </c:pt>
                <c:pt idx="3759">
                  <c:v>28.009259259259263</c:v>
                </c:pt>
                <c:pt idx="3760">
                  <c:v>25.636574074074076</c:v>
                </c:pt>
                <c:pt idx="3761">
                  <c:v>25.636574074074076</c:v>
                </c:pt>
                <c:pt idx="3762">
                  <c:v>25.636574074074076</c:v>
                </c:pt>
                <c:pt idx="3763">
                  <c:v>25.636574074074076</c:v>
                </c:pt>
                <c:pt idx="3764">
                  <c:v>25.636574074074076</c:v>
                </c:pt>
                <c:pt idx="3765">
                  <c:v>26.388888888888889</c:v>
                </c:pt>
                <c:pt idx="3766">
                  <c:v>26.388888888888889</c:v>
                </c:pt>
                <c:pt idx="3767">
                  <c:v>26.388888888888889</c:v>
                </c:pt>
                <c:pt idx="3768">
                  <c:v>26.388888888888889</c:v>
                </c:pt>
                <c:pt idx="3769">
                  <c:v>26.388888888888889</c:v>
                </c:pt>
                <c:pt idx="3770">
                  <c:v>33.217592592592595</c:v>
                </c:pt>
                <c:pt idx="3771">
                  <c:v>33.217592592592595</c:v>
                </c:pt>
                <c:pt idx="3772">
                  <c:v>33.217592592592595</c:v>
                </c:pt>
                <c:pt idx="3773">
                  <c:v>33.217592592592595</c:v>
                </c:pt>
                <c:pt idx="3774">
                  <c:v>33.217592592592595</c:v>
                </c:pt>
                <c:pt idx="3775">
                  <c:v>29.976851851851855</c:v>
                </c:pt>
                <c:pt idx="3776">
                  <c:v>29.976851851851855</c:v>
                </c:pt>
                <c:pt idx="3777">
                  <c:v>29.976851851851855</c:v>
                </c:pt>
                <c:pt idx="3778">
                  <c:v>29.976851851851855</c:v>
                </c:pt>
                <c:pt idx="3779">
                  <c:v>29.976851851851855</c:v>
                </c:pt>
                <c:pt idx="3780">
                  <c:v>30.381944444444446</c:v>
                </c:pt>
                <c:pt idx="3781">
                  <c:v>30.381944444444446</c:v>
                </c:pt>
                <c:pt idx="3782">
                  <c:v>30.381944444444446</c:v>
                </c:pt>
                <c:pt idx="3783">
                  <c:v>30.381944444444446</c:v>
                </c:pt>
                <c:pt idx="3784">
                  <c:v>30.381944444444446</c:v>
                </c:pt>
                <c:pt idx="3785">
                  <c:v>30.034722222222221</c:v>
                </c:pt>
                <c:pt idx="3786">
                  <c:v>30.034722222222221</c:v>
                </c:pt>
                <c:pt idx="3787">
                  <c:v>30.034722222222221</c:v>
                </c:pt>
                <c:pt idx="3788">
                  <c:v>30.034722222222221</c:v>
                </c:pt>
                <c:pt idx="3789">
                  <c:v>30.034722222222221</c:v>
                </c:pt>
                <c:pt idx="3790">
                  <c:v>35.9375</c:v>
                </c:pt>
                <c:pt idx="3791">
                  <c:v>35.9375</c:v>
                </c:pt>
                <c:pt idx="3792">
                  <c:v>35.9375</c:v>
                </c:pt>
                <c:pt idx="3793">
                  <c:v>35.9375</c:v>
                </c:pt>
                <c:pt idx="3794">
                  <c:v>35.9375</c:v>
                </c:pt>
                <c:pt idx="3795">
                  <c:v>40.046296296296298</c:v>
                </c:pt>
                <c:pt idx="3796">
                  <c:v>40.046296296296298</c:v>
                </c:pt>
                <c:pt idx="3797">
                  <c:v>40.046296296296298</c:v>
                </c:pt>
                <c:pt idx="3798">
                  <c:v>40.046296296296298</c:v>
                </c:pt>
                <c:pt idx="3799">
                  <c:v>40.046296296296298</c:v>
                </c:pt>
                <c:pt idx="3800">
                  <c:v>40.277777777777771</c:v>
                </c:pt>
                <c:pt idx="3801">
                  <c:v>40.277777777777771</c:v>
                </c:pt>
                <c:pt idx="3802">
                  <c:v>40.277777777777771</c:v>
                </c:pt>
                <c:pt idx="3803">
                  <c:v>40.277777777777771</c:v>
                </c:pt>
                <c:pt idx="3804">
                  <c:v>40.277777777777771</c:v>
                </c:pt>
                <c:pt idx="3805">
                  <c:v>39.120370370370374</c:v>
                </c:pt>
                <c:pt idx="3806">
                  <c:v>39.120370370370374</c:v>
                </c:pt>
                <c:pt idx="3807">
                  <c:v>39.120370370370374</c:v>
                </c:pt>
                <c:pt idx="3808">
                  <c:v>39.120370370370374</c:v>
                </c:pt>
                <c:pt idx="3809">
                  <c:v>39.120370370370374</c:v>
                </c:pt>
                <c:pt idx="3810">
                  <c:v>41.550925925925924</c:v>
                </c:pt>
                <c:pt idx="3811">
                  <c:v>41.550925925925924</c:v>
                </c:pt>
                <c:pt idx="3812">
                  <c:v>41.550925925925924</c:v>
                </c:pt>
                <c:pt idx="3813">
                  <c:v>41.550925925925924</c:v>
                </c:pt>
                <c:pt idx="3814">
                  <c:v>41.550925925925924</c:v>
                </c:pt>
                <c:pt idx="3815">
                  <c:v>41.030092592592595</c:v>
                </c:pt>
                <c:pt idx="3816">
                  <c:v>41.030092592592595</c:v>
                </c:pt>
                <c:pt idx="3817">
                  <c:v>41.030092592592595</c:v>
                </c:pt>
                <c:pt idx="3818">
                  <c:v>41.030092592592595</c:v>
                </c:pt>
                <c:pt idx="3819">
                  <c:v>41.030092592592595</c:v>
                </c:pt>
                <c:pt idx="3820">
                  <c:v>42.418981481481481</c:v>
                </c:pt>
                <c:pt idx="3821">
                  <c:v>42.418981481481481</c:v>
                </c:pt>
                <c:pt idx="3822">
                  <c:v>42.418981481481481</c:v>
                </c:pt>
                <c:pt idx="3823">
                  <c:v>42.418981481481481</c:v>
                </c:pt>
                <c:pt idx="3824">
                  <c:v>42.418981481481481</c:v>
                </c:pt>
                <c:pt idx="3825">
                  <c:v>42.30324074074074</c:v>
                </c:pt>
                <c:pt idx="3826">
                  <c:v>42.30324074074074</c:v>
                </c:pt>
                <c:pt idx="3827">
                  <c:v>42.30324074074074</c:v>
                </c:pt>
                <c:pt idx="3828">
                  <c:v>42.30324074074074</c:v>
                </c:pt>
                <c:pt idx="3829">
                  <c:v>42.30324074074074</c:v>
                </c:pt>
                <c:pt idx="3830">
                  <c:v>43.692129629629626</c:v>
                </c:pt>
                <c:pt idx="3831">
                  <c:v>43.692129629629626</c:v>
                </c:pt>
                <c:pt idx="3832">
                  <c:v>43.692129629629626</c:v>
                </c:pt>
                <c:pt idx="3833">
                  <c:v>43.692129629629626</c:v>
                </c:pt>
                <c:pt idx="3834">
                  <c:v>43.692129629629626</c:v>
                </c:pt>
                <c:pt idx="3835">
                  <c:v>44.097222222222221</c:v>
                </c:pt>
                <c:pt idx="3836">
                  <c:v>44.097222222222221</c:v>
                </c:pt>
                <c:pt idx="3837">
                  <c:v>44.097222222222221</c:v>
                </c:pt>
                <c:pt idx="3838">
                  <c:v>44.097222222222221</c:v>
                </c:pt>
                <c:pt idx="3839">
                  <c:v>44.097222222222221</c:v>
                </c:pt>
                <c:pt idx="3840">
                  <c:v>45.254629629629633</c:v>
                </c:pt>
                <c:pt idx="3841">
                  <c:v>45.254629629629633</c:v>
                </c:pt>
                <c:pt idx="3842">
                  <c:v>45.254629629629633</c:v>
                </c:pt>
                <c:pt idx="3843">
                  <c:v>45.254629629629633</c:v>
                </c:pt>
                <c:pt idx="3844">
                  <c:v>45.254629629629633</c:v>
                </c:pt>
                <c:pt idx="3845">
                  <c:v>46.875000000000007</c:v>
                </c:pt>
                <c:pt idx="3846">
                  <c:v>46.875000000000007</c:v>
                </c:pt>
                <c:pt idx="3847">
                  <c:v>46.875000000000007</c:v>
                </c:pt>
                <c:pt idx="3848">
                  <c:v>46.875000000000007</c:v>
                </c:pt>
                <c:pt idx="3849">
                  <c:v>46.875000000000007</c:v>
                </c:pt>
                <c:pt idx="3850">
                  <c:v>50.462962962962962</c:v>
                </c:pt>
                <c:pt idx="3851">
                  <c:v>50.462962962962962</c:v>
                </c:pt>
                <c:pt idx="3852">
                  <c:v>50.462962962962962</c:v>
                </c:pt>
                <c:pt idx="3853">
                  <c:v>50.462962962962962</c:v>
                </c:pt>
                <c:pt idx="3854">
                  <c:v>50.462962962962962</c:v>
                </c:pt>
                <c:pt idx="3855">
                  <c:v>47.858796296296298</c:v>
                </c:pt>
                <c:pt idx="3856">
                  <c:v>47.858796296296298</c:v>
                </c:pt>
                <c:pt idx="3857">
                  <c:v>47.858796296296298</c:v>
                </c:pt>
                <c:pt idx="3858">
                  <c:v>47.858796296296298</c:v>
                </c:pt>
                <c:pt idx="3859">
                  <c:v>47.858796296296298</c:v>
                </c:pt>
                <c:pt idx="3860">
                  <c:v>56.944444444444443</c:v>
                </c:pt>
                <c:pt idx="3861">
                  <c:v>56.944444444444443</c:v>
                </c:pt>
                <c:pt idx="3862">
                  <c:v>56.944444444444443</c:v>
                </c:pt>
                <c:pt idx="3863">
                  <c:v>56.944444444444443</c:v>
                </c:pt>
                <c:pt idx="3864">
                  <c:v>56.944444444444443</c:v>
                </c:pt>
                <c:pt idx="3865">
                  <c:v>59.143518518518526</c:v>
                </c:pt>
                <c:pt idx="3866">
                  <c:v>59.143518518518526</c:v>
                </c:pt>
                <c:pt idx="3867">
                  <c:v>59.143518518518526</c:v>
                </c:pt>
                <c:pt idx="3868">
                  <c:v>59.143518518518526</c:v>
                </c:pt>
                <c:pt idx="3869">
                  <c:v>59.143518518518526</c:v>
                </c:pt>
                <c:pt idx="3870">
                  <c:v>64.525462962962962</c:v>
                </c:pt>
                <c:pt idx="3871">
                  <c:v>64.525462962962962</c:v>
                </c:pt>
                <c:pt idx="3872">
                  <c:v>64.525462962962962</c:v>
                </c:pt>
                <c:pt idx="3873">
                  <c:v>64.525462962962962</c:v>
                </c:pt>
                <c:pt idx="3874">
                  <c:v>64.525462962962962</c:v>
                </c:pt>
                <c:pt idx="3875">
                  <c:v>56.712962962962962</c:v>
                </c:pt>
                <c:pt idx="3876">
                  <c:v>56.712962962962962</c:v>
                </c:pt>
                <c:pt idx="3877">
                  <c:v>56.712962962962962</c:v>
                </c:pt>
                <c:pt idx="3878">
                  <c:v>56.712962962962962</c:v>
                </c:pt>
                <c:pt idx="3879">
                  <c:v>56.712962962962962</c:v>
                </c:pt>
                <c:pt idx="3880">
                  <c:v>64.0625</c:v>
                </c:pt>
                <c:pt idx="3881">
                  <c:v>64.0625</c:v>
                </c:pt>
                <c:pt idx="3882">
                  <c:v>64.0625</c:v>
                </c:pt>
                <c:pt idx="3883">
                  <c:v>64.0625</c:v>
                </c:pt>
                <c:pt idx="3884">
                  <c:v>64.0625</c:v>
                </c:pt>
                <c:pt idx="3885">
                  <c:v>63.483796296296291</c:v>
                </c:pt>
                <c:pt idx="3886">
                  <c:v>63.483796296296291</c:v>
                </c:pt>
                <c:pt idx="3887">
                  <c:v>63.483796296296291</c:v>
                </c:pt>
                <c:pt idx="3888">
                  <c:v>63.483796296296291</c:v>
                </c:pt>
                <c:pt idx="3889">
                  <c:v>63.483796296296291</c:v>
                </c:pt>
                <c:pt idx="3890">
                  <c:v>63.946759259259252</c:v>
                </c:pt>
                <c:pt idx="3891">
                  <c:v>63.946759259259252</c:v>
                </c:pt>
                <c:pt idx="3892">
                  <c:v>63.946759259259252</c:v>
                </c:pt>
                <c:pt idx="3893">
                  <c:v>63.946759259259252</c:v>
                </c:pt>
                <c:pt idx="3894">
                  <c:v>63.946759259259252</c:v>
                </c:pt>
                <c:pt idx="3895">
                  <c:v>54.050925925925931</c:v>
                </c:pt>
                <c:pt idx="3896">
                  <c:v>54.050925925925931</c:v>
                </c:pt>
                <c:pt idx="3897">
                  <c:v>54.050925925925931</c:v>
                </c:pt>
                <c:pt idx="3898">
                  <c:v>54.050925925925931</c:v>
                </c:pt>
                <c:pt idx="3899">
                  <c:v>54.050925925925931</c:v>
                </c:pt>
                <c:pt idx="3900">
                  <c:v>74.768518518518519</c:v>
                </c:pt>
                <c:pt idx="3901">
                  <c:v>74.768518518518519</c:v>
                </c:pt>
                <c:pt idx="3902">
                  <c:v>74.768518518518519</c:v>
                </c:pt>
                <c:pt idx="3903">
                  <c:v>74.768518518518519</c:v>
                </c:pt>
                <c:pt idx="3904">
                  <c:v>74.768518518518519</c:v>
                </c:pt>
                <c:pt idx="3905">
                  <c:v>77.199074074074076</c:v>
                </c:pt>
                <c:pt idx="3906">
                  <c:v>77.199074074074076</c:v>
                </c:pt>
                <c:pt idx="3907">
                  <c:v>77.199074074074076</c:v>
                </c:pt>
                <c:pt idx="3908">
                  <c:v>77.199074074074076</c:v>
                </c:pt>
                <c:pt idx="3909">
                  <c:v>77.199074074074076</c:v>
                </c:pt>
                <c:pt idx="3910">
                  <c:v>76.967592592592595</c:v>
                </c:pt>
                <c:pt idx="3911">
                  <c:v>76.967592592592595</c:v>
                </c:pt>
                <c:pt idx="3912">
                  <c:v>76.967592592592595</c:v>
                </c:pt>
                <c:pt idx="3913">
                  <c:v>76.967592592592595</c:v>
                </c:pt>
                <c:pt idx="3914">
                  <c:v>76.967592592592595</c:v>
                </c:pt>
                <c:pt idx="3915">
                  <c:v>78.587962962962962</c:v>
                </c:pt>
                <c:pt idx="3916">
                  <c:v>78.587962962962962</c:v>
                </c:pt>
                <c:pt idx="3917">
                  <c:v>78.587962962962962</c:v>
                </c:pt>
                <c:pt idx="3918">
                  <c:v>78.587962962962962</c:v>
                </c:pt>
                <c:pt idx="3919">
                  <c:v>78.587962962962962</c:v>
                </c:pt>
                <c:pt idx="3920">
                  <c:v>83.912037037037038</c:v>
                </c:pt>
                <c:pt idx="3921">
                  <c:v>83.912037037037038</c:v>
                </c:pt>
                <c:pt idx="3922">
                  <c:v>83.912037037037038</c:v>
                </c:pt>
                <c:pt idx="3923">
                  <c:v>83.912037037037038</c:v>
                </c:pt>
                <c:pt idx="3924">
                  <c:v>83.912037037037038</c:v>
                </c:pt>
                <c:pt idx="3925">
                  <c:v>104.74537037037037</c:v>
                </c:pt>
                <c:pt idx="3926">
                  <c:v>104.74537037037037</c:v>
                </c:pt>
                <c:pt idx="3927">
                  <c:v>104.74537037037037</c:v>
                </c:pt>
                <c:pt idx="3928">
                  <c:v>104.74537037037037</c:v>
                </c:pt>
                <c:pt idx="3929">
                  <c:v>104.74537037037037</c:v>
                </c:pt>
                <c:pt idx="3930">
                  <c:v>103.87731481481481</c:v>
                </c:pt>
                <c:pt idx="3931">
                  <c:v>103.87731481481481</c:v>
                </c:pt>
                <c:pt idx="3932">
                  <c:v>103.87731481481481</c:v>
                </c:pt>
                <c:pt idx="3933">
                  <c:v>103.87731481481481</c:v>
                </c:pt>
                <c:pt idx="3934">
                  <c:v>103.87731481481481</c:v>
                </c:pt>
                <c:pt idx="3935">
                  <c:v>105.15046296296295</c:v>
                </c:pt>
                <c:pt idx="3936">
                  <c:v>105.15046296296295</c:v>
                </c:pt>
                <c:pt idx="3937">
                  <c:v>105.15046296296295</c:v>
                </c:pt>
                <c:pt idx="3938">
                  <c:v>105.15046296296295</c:v>
                </c:pt>
                <c:pt idx="3939">
                  <c:v>105.15046296296295</c:v>
                </c:pt>
                <c:pt idx="3940">
                  <c:v>106.30787037037037</c:v>
                </c:pt>
                <c:pt idx="3941">
                  <c:v>106.30787037037037</c:v>
                </c:pt>
                <c:pt idx="3942">
                  <c:v>106.30787037037037</c:v>
                </c:pt>
                <c:pt idx="3943">
                  <c:v>106.30787037037037</c:v>
                </c:pt>
                <c:pt idx="3944">
                  <c:v>106.30787037037037</c:v>
                </c:pt>
                <c:pt idx="3945">
                  <c:v>127.8935185185185</c:v>
                </c:pt>
                <c:pt idx="3946">
                  <c:v>127.8935185185185</c:v>
                </c:pt>
                <c:pt idx="3947">
                  <c:v>127.8935185185185</c:v>
                </c:pt>
                <c:pt idx="3948">
                  <c:v>127.8935185185185</c:v>
                </c:pt>
                <c:pt idx="3949">
                  <c:v>127.8935185185185</c:v>
                </c:pt>
                <c:pt idx="3950">
                  <c:v>128.125</c:v>
                </c:pt>
                <c:pt idx="3951">
                  <c:v>128.125</c:v>
                </c:pt>
                <c:pt idx="3952">
                  <c:v>128.125</c:v>
                </c:pt>
                <c:pt idx="3953">
                  <c:v>128.125</c:v>
                </c:pt>
                <c:pt idx="3954">
                  <c:v>128.125</c:v>
                </c:pt>
                <c:pt idx="3955">
                  <c:v>128.76157407407408</c:v>
                </c:pt>
                <c:pt idx="3956">
                  <c:v>128.76157407407408</c:v>
                </c:pt>
                <c:pt idx="3957">
                  <c:v>128.76157407407408</c:v>
                </c:pt>
                <c:pt idx="3958">
                  <c:v>128.76157407407408</c:v>
                </c:pt>
                <c:pt idx="3959">
                  <c:v>128.76157407407408</c:v>
                </c:pt>
                <c:pt idx="3960">
                  <c:v>128.47222222222223</c:v>
                </c:pt>
                <c:pt idx="3961">
                  <c:v>128.47222222222223</c:v>
                </c:pt>
                <c:pt idx="3962">
                  <c:v>128.47222222222223</c:v>
                </c:pt>
                <c:pt idx="3963">
                  <c:v>128.47222222222223</c:v>
                </c:pt>
                <c:pt idx="3964">
                  <c:v>128.47222222222223</c:v>
                </c:pt>
                <c:pt idx="3965">
                  <c:v>138.36805555555557</c:v>
                </c:pt>
                <c:pt idx="3966">
                  <c:v>138.36805555555557</c:v>
                </c:pt>
                <c:pt idx="3967">
                  <c:v>138.36805555555557</c:v>
                </c:pt>
                <c:pt idx="3968">
                  <c:v>138.36805555555557</c:v>
                </c:pt>
                <c:pt idx="3969">
                  <c:v>138.36805555555557</c:v>
                </c:pt>
                <c:pt idx="3970">
                  <c:v>137.61574074074073</c:v>
                </c:pt>
                <c:pt idx="3971">
                  <c:v>137.61574074074073</c:v>
                </c:pt>
                <c:pt idx="3972">
                  <c:v>137.61574074074073</c:v>
                </c:pt>
                <c:pt idx="3973">
                  <c:v>137.61574074074073</c:v>
                </c:pt>
                <c:pt idx="3974">
                  <c:v>137.61574074074073</c:v>
                </c:pt>
                <c:pt idx="3975">
                  <c:v>139.17824074074073</c:v>
                </c:pt>
                <c:pt idx="3976">
                  <c:v>139.17824074074073</c:v>
                </c:pt>
                <c:pt idx="3977">
                  <c:v>139.17824074074073</c:v>
                </c:pt>
                <c:pt idx="3978">
                  <c:v>139.17824074074073</c:v>
                </c:pt>
                <c:pt idx="3979">
                  <c:v>139.17824074074073</c:v>
                </c:pt>
                <c:pt idx="3980">
                  <c:v>139.93055555555557</c:v>
                </c:pt>
                <c:pt idx="3981">
                  <c:v>139.93055555555557</c:v>
                </c:pt>
                <c:pt idx="3982">
                  <c:v>139.93055555555557</c:v>
                </c:pt>
                <c:pt idx="3983">
                  <c:v>139.93055555555557</c:v>
                </c:pt>
                <c:pt idx="3984">
                  <c:v>139.93055555555557</c:v>
                </c:pt>
                <c:pt idx="3985">
                  <c:v>155.78703703703704</c:v>
                </c:pt>
                <c:pt idx="3986">
                  <c:v>155.78703703703704</c:v>
                </c:pt>
                <c:pt idx="3987">
                  <c:v>155.78703703703704</c:v>
                </c:pt>
                <c:pt idx="3988">
                  <c:v>155.78703703703704</c:v>
                </c:pt>
                <c:pt idx="3989">
                  <c:v>155.78703703703704</c:v>
                </c:pt>
                <c:pt idx="3990">
                  <c:v>154.57175925925927</c:v>
                </c:pt>
                <c:pt idx="3991">
                  <c:v>154.57175925925927</c:v>
                </c:pt>
                <c:pt idx="3992">
                  <c:v>154.57175925925927</c:v>
                </c:pt>
                <c:pt idx="3993">
                  <c:v>154.57175925925927</c:v>
                </c:pt>
                <c:pt idx="3994">
                  <c:v>154.57175925925927</c:v>
                </c:pt>
                <c:pt idx="3995">
                  <c:v>150.05787037037038</c:v>
                </c:pt>
                <c:pt idx="3996">
                  <c:v>150.05787037037038</c:v>
                </c:pt>
                <c:pt idx="3997">
                  <c:v>150.05787037037038</c:v>
                </c:pt>
                <c:pt idx="3998">
                  <c:v>150.05787037037038</c:v>
                </c:pt>
                <c:pt idx="3999">
                  <c:v>150.05787037037038</c:v>
                </c:pt>
                <c:pt idx="4000">
                  <c:v>155.78703703703704</c:v>
                </c:pt>
                <c:pt idx="4001">
                  <c:v>155.78703703703704</c:v>
                </c:pt>
                <c:pt idx="4002">
                  <c:v>155.78703703703704</c:v>
                </c:pt>
                <c:pt idx="4003">
                  <c:v>155.78703703703704</c:v>
                </c:pt>
                <c:pt idx="4004">
                  <c:v>155.78703703703704</c:v>
                </c:pt>
                <c:pt idx="4005">
                  <c:v>157.17592592592592</c:v>
                </c:pt>
                <c:pt idx="4006">
                  <c:v>157.17592592592592</c:v>
                </c:pt>
                <c:pt idx="4007">
                  <c:v>157.17592592592592</c:v>
                </c:pt>
                <c:pt idx="4008">
                  <c:v>157.17592592592592</c:v>
                </c:pt>
                <c:pt idx="4009">
                  <c:v>157.17592592592592</c:v>
                </c:pt>
                <c:pt idx="4010">
                  <c:v>166.03009259259261</c:v>
                </c:pt>
                <c:pt idx="4011">
                  <c:v>166.03009259259261</c:v>
                </c:pt>
                <c:pt idx="4012">
                  <c:v>166.03009259259261</c:v>
                </c:pt>
                <c:pt idx="4013">
                  <c:v>166.03009259259261</c:v>
                </c:pt>
                <c:pt idx="4014">
                  <c:v>166.03009259259261</c:v>
                </c:pt>
                <c:pt idx="4015">
                  <c:v>164.75694444444443</c:v>
                </c:pt>
                <c:pt idx="4016">
                  <c:v>164.75694444444443</c:v>
                </c:pt>
                <c:pt idx="4017">
                  <c:v>164.75694444444443</c:v>
                </c:pt>
                <c:pt idx="4018">
                  <c:v>164.75694444444443</c:v>
                </c:pt>
                <c:pt idx="4019">
                  <c:v>164.75694444444443</c:v>
                </c:pt>
                <c:pt idx="4020">
                  <c:v>165.9722222222222</c:v>
                </c:pt>
                <c:pt idx="4021">
                  <c:v>165.9722222222222</c:v>
                </c:pt>
                <c:pt idx="4022">
                  <c:v>165.9722222222222</c:v>
                </c:pt>
                <c:pt idx="4023">
                  <c:v>165.9722222222222</c:v>
                </c:pt>
                <c:pt idx="4024">
                  <c:v>165.9722222222222</c:v>
                </c:pt>
                <c:pt idx="4025">
                  <c:v>164.58333333333331</c:v>
                </c:pt>
                <c:pt idx="4026">
                  <c:v>164.58333333333331</c:v>
                </c:pt>
                <c:pt idx="4027">
                  <c:v>164.58333333333331</c:v>
                </c:pt>
                <c:pt idx="4028">
                  <c:v>164.58333333333331</c:v>
                </c:pt>
                <c:pt idx="4029">
                  <c:v>164.58333333333331</c:v>
                </c:pt>
                <c:pt idx="4030">
                  <c:v>177.71990740740742</c:v>
                </c:pt>
                <c:pt idx="4031">
                  <c:v>177.71990740740742</c:v>
                </c:pt>
                <c:pt idx="4032">
                  <c:v>177.71990740740742</c:v>
                </c:pt>
                <c:pt idx="4033">
                  <c:v>177.71990740740742</c:v>
                </c:pt>
                <c:pt idx="4034">
                  <c:v>177.71990740740742</c:v>
                </c:pt>
                <c:pt idx="4035">
                  <c:v>180.26620370370372</c:v>
                </c:pt>
                <c:pt idx="4036">
                  <c:v>180.26620370370372</c:v>
                </c:pt>
                <c:pt idx="4037">
                  <c:v>180.26620370370372</c:v>
                </c:pt>
                <c:pt idx="4038">
                  <c:v>180.26620370370372</c:v>
                </c:pt>
                <c:pt idx="4039">
                  <c:v>180.26620370370372</c:v>
                </c:pt>
                <c:pt idx="4040">
                  <c:v>180.78703703703704</c:v>
                </c:pt>
                <c:pt idx="4041">
                  <c:v>180.78703703703704</c:v>
                </c:pt>
                <c:pt idx="4042">
                  <c:v>180.78703703703704</c:v>
                </c:pt>
                <c:pt idx="4043">
                  <c:v>180.78703703703704</c:v>
                </c:pt>
                <c:pt idx="4044">
                  <c:v>180.78703703703704</c:v>
                </c:pt>
                <c:pt idx="4045">
                  <c:v>182.75462962962962</c:v>
                </c:pt>
                <c:pt idx="4046">
                  <c:v>182.75462962962962</c:v>
                </c:pt>
                <c:pt idx="4047">
                  <c:v>182.75462962962962</c:v>
                </c:pt>
                <c:pt idx="4048">
                  <c:v>182.75462962962962</c:v>
                </c:pt>
                <c:pt idx="4049">
                  <c:v>182.75462962962962</c:v>
                </c:pt>
                <c:pt idx="4050">
                  <c:v>182.5810185185185</c:v>
                </c:pt>
                <c:pt idx="4051">
                  <c:v>182.5810185185185</c:v>
                </c:pt>
                <c:pt idx="4052">
                  <c:v>182.5810185185185</c:v>
                </c:pt>
                <c:pt idx="4053">
                  <c:v>182.5810185185185</c:v>
                </c:pt>
                <c:pt idx="4054">
                  <c:v>182.5810185185185</c:v>
                </c:pt>
                <c:pt idx="4055">
                  <c:v>199.24768518518519</c:v>
                </c:pt>
                <c:pt idx="4056">
                  <c:v>199.24768518518519</c:v>
                </c:pt>
                <c:pt idx="4057">
                  <c:v>199.24768518518519</c:v>
                </c:pt>
                <c:pt idx="4058">
                  <c:v>199.24768518518519</c:v>
                </c:pt>
                <c:pt idx="4059">
                  <c:v>199.24768518518519</c:v>
                </c:pt>
                <c:pt idx="4060">
                  <c:v>196.2962962962963</c:v>
                </c:pt>
                <c:pt idx="4061">
                  <c:v>196.2962962962963</c:v>
                </c:pt>
                <c:pt idx="4062">
                  <c:v>196.2962962962963</c:v>
                </c:pt>
                <c:pt idx="4063">
                  <c:v>196.2962962962963</c:v>
                </c:pt>
                <c:pt idx="4064">
                  <c:v>196.2962962962963</c:v>
                </c:pt>
                <c:pt idx="4065">
                  <c:v>195.83333333333331</c:v>
                </c:pt>
                <c:pt idx="4066">
                  <c:v>195.83333333333331</c:v>
                </c:pt>
                <c:pt idx="4067">
                  <c:v>195.83333333333331</c:v>
                </c:pt>
                <c:pt idx="4068">
                  <c:v>195.83333333333331</c:v>
                </c:pt>
                <c:pt idx="4069">
                  <c:v>195.83333333333331</c:v>
                </c:pt>
                <c:pt idx="4070">
                  <c:v>196.70138888888889</c:v>
                </c:pt>
                <c:pt idx="4071">
                  <c:v>196.70138888888889</c:v>
                </c:pt>
                <c:pt idx="4072">
                  <c:v>196.70138888888889</c:v>
                </c:pt>
                <c:pt idx="4073">
                  <c:v>196.70138888888889</c:v>
                </c:pt>
                <c:pt idx="4074">
                  <c:v>196.70138888888889</c:v>
                </c:pt>
                <c:pt idx="4075">
                  <c:v>207.92824074074073</c:v>
                </c:pt>
                <c:pt idx="4076">
                  <c:v>207.92824074074073</c:v>
                </c:pt>
                <c:pt idx="4077">
                  <c:v>207.92824074074073</c:v>
                </c:pt>
                <c:pt idx="4078">
                  <c:v>207.92824074074073</c:v>
                </c:pt>
                <c:pt idx="4079">
                  <c:v>207.92824074074073</c:v>
                </c:pt>
                <c:pt idx="4080">
                  <c:v>208.39120370370372</c:v>
                </c:pt>
                <c:pt idx="4081">
                  <c:v>208.39120370370372</c:v>
                </c:pt>
                <c:pt idx="4082">
                  <c:v>208.39120370370372</c:v>
                </c:pt>
                <c:pt idx="4083">
                  <c:v>208.39120370370372</c:v>
                </c:pt>
                <c:pt idx="4084">
                  <c:v>208.39120370370372</c:v>
                </c:pt>
                <c:pt idx="4085">
                  <c:v>211.68981481481478</c:v>
                </c:pt>
                <c:pt idx="4086">
                  <c:v>211.68981481481478</c:v>
                </c:pt>
                <c:pt idx="4087">
                  <c:v>211.68981481481478</c:v>
                </c:pt>
                <c:pt idx="4088">
                  <c:v>211.68981481481478</c:v>
                </c:pt>
                <c:pt idx="4089">
                  <c:v>211.68981481481478</c:v>
                </c:pt>
                <c:pt idx="4090">
                  <c:v>210.59027777777777</c:v>
                </c:pt>
                <c:pt idx="4091">
                  <c:v>210.59027777777777</c:v>
                </c:pt>
                <c:pt idx="4092">
                  <c:v>210.59027777777777</c:v>
                </c:pt>
                <c:pt idx="4093">
                  <c:v>210.59027777777777</c:v>
                </c:pt>
                <c:pt idx="4094">
                  <c:v>210.59027777777777</c:v>
                </c:pt>
                <c:pt idx="4095">
                  <c:v>223.72685185185185</c:v>
                </c:pt>
                <c:pt idx="4096">
                  <c:v>223.72685185185185</c:v>
                </c:pt>
                <c:pt idx="4097">
                  <c:v>223.72685185185185</c:v>
                </c:pt>
                <c:pt idx="4098">
                  <c:v>223.72685185185185</c:v>
                </c:pt>
                <c:pt idx="4099">
                  <c:v>223.72685185185185</c:v>
                </c:pt>
                <c:pt idx="4100">
                  <c:v>226.73611111111111</c:v>
                </c:pt>
                <c:pt idx="4101">
                  <c:v>226.73611111111111</c:v>
                </c:pt>
                <c:pt idx="4102">
                  <c:v>226.73611111111111</c:v>
                </c:pt>
                <c:pt idx="4103">
                  <c:v>226.73611111111111</c:v>
                </c:pt>
                <c:pt idx="4104">
                  <c:v>226.73611111111111</c:v>
                </c:pt>
                <c:pt idx="4105">
                  <c:v>227.71990740740739</c:v>
                </c:pt>
                <c:pt idx="4106">
                  <c:v>227.71990740740739</c:v>
                </c:pt>
                <c:pt idx="4107">
                  <c:v>227.71990740740739</c:v>
                </c:pt>
                <c:pt idx="4108">
                  <c:v>227.71990740740739</c:v>
                </c:pt>
                <c:pt idx="4109">
                  <c:v>227.71990740740739</c:v>
                </c:pt>
                <c:pt idx="4110">
                  <c:v>226.09953703703701</c:v>
                </c:pt>
                <c:pt idx="4111">
                  <c:v>226.09953703703701</c:v>
                </c:pt>
                <c:pt idx="4112">
                  <c:v>226.09953703703701</c:v>
                </c:pt>
                <c:pt idx="4113">
                  <c:v>226.09953703703701</c:v>
                </c:pt>
                <c:pt idx="4114">
                  <c:v>226.09953703703701</c:v>
                </c:pt>
                <c:pt idx="4115">
                  <c:v>228.70370370370372</c:v>
                </c:pt>
                <c:pt idx="4116">
                  <c:v>228.70370370370372</c:v>
                </c:pt>
                <c:pt idx="4117">
                  <c:v>228.70370370370372</c:v>
                </c:pt>
                <c:pt idx="4118">
                  <c:v>228.70370370370372</c:v>
                </c:pt>
                <c:pt idx="4119">
                  <c:v>228.70370370370372</c:v>
                </c:pt>
                <c:pt idx="4120">
                  <c:v>242.88194444444446</c:v>
                </c:pt>
                <c:pt idx="4121">
                  <c:v>242.88194444444446</c:v>
                </c:pt>
                <c:pt idx="4122">
                  <c:v>242.88194444444446</c:v>
                </c:pt>
                <c:pt idx="4123">
                  <c:v>242.88194444444446</c:v>
                </c:pt>
                <c:pt idx="4124">
                  <c:v>242.88194444444446</c:v>
                </c:pt>
                <c:pt idx="4125">
                  <c:v>241.37731481481484</c:v>
                </c:pt>
                <c:pt idx="4126">
                  <c:v>241.37731481481484</c:v>
                </c:pt>
                <c:pt idx="4127">
                  <c:v>241.37731481481484</c:v>
                </c:pt>
                <c:pt idx="4128">
                  <c:v>241.37731481481484</c:v>
                </c:pt>
                <c:pt idx="4129">
                  <c:v>241.37731481481484</c:v>
                </c:pt>
                <c:pt idx="4130">
                  <c:v>234.25925925925927</c:v>
                </c:pt>
                <c:pt idx="4131">
                  <c:v>234.25925925925927</c:v>
                </c:pt>
                <c:pt idx="4132">
                  <c:v>234.25925925925927</c:v>
                </c:pt>
                <c:pt idx="4133">
                  <c:v>234.25925925925927</c:v>
                </c:pt>
                <c:pt idx="4134">
                  <c:v>234.25925925925927</c:v>
                </c:pt>
                <c:pt idx="4135">
                  <c:v>233.33333333333334</c:v>
                </c:pt>
                <c:pt idx="4136">
                  <c:v>233.33333333333334</c:v>
                </c:pt>
                <c:pt idx="4137">
                  <c:v>233.33333333333334</c:v>
                </c:pt>
                <c:pt idx="4138">
                  <c:v>233.33333333333334</c:v>
                </c:pt>
                <c:pt idx="4139">
                  <c:v>233.33333333333334</c:v>
                </c:pt>
                <c:pt idx="4140">
                  <c:v>239.6990740740741</c:v>
                </c:pt>
                <c:pt idx="4141">
                  <c:v>239.6990740740741</c:v>
                </c:pt>
                <c:pt idx="4142">
                  <c:v>239.6990740740741</c:v>
                </c:pt>
                <c:pt idx="4143">
                  <c:v>239.6990740740741</c:v>
                </c:pt>
                <c:pt idx="4144">
                  <c:v>239.6990740740741</c:v>
                </c:pt>
                <c:pt idx="4145">
                  <c:v>241.43518518518516</c:v>
                </c:pt>
                <c:pt idx="4146">
                  <c:v>241.43518518518516</c:v>
                </c:pt>
                <c:pt idx="4147">
                  <c:v>241.43518518518516</c:v>
                </c:pt>
                <c:pt idx="4148">
                  <c:v>241.43518518518516</c:v>
                </c:pt>
                <c:pt idx="4149">
                  <c:v>241.43518518518516</c:v>
                </c:pt>
                <c:pt idx="4150">
                  <c:v>241.26157407407405</c:v>
                </c:pt>
                <c:pt idx="4151">
                  <c:v>241.26157407407405</c:v>
                </c:pt>
                <c:pt idx="4152">
                  <c:v>241.26157407407405</c:v>
                </c:pt>
                <c:pt idx="4153">
                  <c:v>241.26157407407405</c:v>
                </c:pt>
                <c:pt idx="4154">
                  <c:v>241.26157407407405</c:v>
                </c:pt>
                <c:pt idx="4155">
                  <c:v>239.35185185185185</c:v>
                </c:pt>
                <c:pt idx="4156">
                  <c:v>239.35185185185185</c:v>
                </c:pt>
                <c:pt idx="4157">
                  <c:v>239.35185185185185</c:v>
                </c:pt>
                <c:pt idx="4158">
                  <c:v>239.35185185185185</c:v>
                </c:pt>
                <c:pt idx="4159">
                  <c:v>239.35185185185185</c:v>
                </c:pt>
                <c:pt idx="4160">
                  <c:v>251.15740740740739</c:v>
                </c:pt>
                <c:pt idx="4161">
                  <c:v>251.15740740740739</c:v>
                </c:pt>
                <c:pt idx="4162">
                  <c:v>251.15740740740739</c:v>
                </c:pt>
                <c:pt idx="4163">
                  <c:v>251.15740740740739</c:v>
                </c:pt>
                <c:pt idx="4164">
                  <c:v>251.15740740740739</c:v>
                </c:pt>
                <c:pt idx="4165">
                  <c:v>252.25694444444446</c:v>
                </c:pt>
                <c:pt idx="4166">
                  <c:v>252.25694444444446</c:v>
                </c:pt>
                <c:pt idx="4167">
                  <c:v>252.25694444444446</c:v>
                </c:pt>
                <c:pt idx="4168">
                  <c:v>252.25694444444446</c:v>
                </c:pt>
                <c:pt idx="4169">
                  <c:v>252.25694444444446</c:v>
                </c:pt>
                <c:pt idx="4170">
                  <c:v>247.74305555555554</c:v>
                </c:pt>
                <c:pt idx="4171">
                  <c:v>247.74305555555554</c:v>
                </c:pt>
                <c:pt idx="4172">
                  <c:v>247.74305555555554</c:v>
                </c:pt>
                <c:pt idx="4173">
                  <c:v>247.74305555555554</c:v>
                </c:pt>
                <c:pt idx="4174">
                  <c:v>247.74305555555554</c:v>
                </c:pt>
                <c:pt idx="4175">
                  <c:v>254.34027777777777</c:v>
                </c:pt>
                <c:pt idx="4176">
                  <c:v>254.34027777777777</c:v>
                </c:pt>
                <c:pt idx="4177">
                  <c:v>254.34027777777777</c:v>
                </c:pt>
                <c:pt idx="4178">
                  <c:v>254.34027777777777</c:v>
                </c:pt>
                <c:pt idx="4179">
                  <c:v>254.34027777777777</c:v>
                </c:pt>
                <c:pt idx="4180">
                  <c:v>259.60648148148147</c:v>
                </c:pt>
                <c:pt idx="4181">
                  <c:v>259.60648148148147</c:v>
                </c:pt>
                <c:pt idx="4182">
                  <c:v>259.60648148148147</c:v>
                </c:pt>
                <c:pt idx="4183">
                  <c:v>259.60648148148147</c:v>
                </c:pt>
                <c:pt idx="4184">
                  <c:v>259.60648148148147</c:v>
                </c:pt>
                <c:pt idx="4185">
                  <c:v>270.48611111111114</c:v>
                </c:pt>
                <c:pt idx="4186">
                  <c:v>270.48611111111114</c:v>
                </c:pt>
                <c:pt idx="4187">
                  <c:v>270.48611111111114</c:v>
                </c:pt>
                <c:pt idx="4188">
                  <c:v>270.48611111111114</c:v>
                </c:pt>
                <c:pt idx="4189">
                  <c:v>270.48611111111114</c:v>
                </c:pt>
                <c:pt idx="4190">
                  <c:v>270.71759259259261</c:v>
                </c:pt>
                <c:pt idx="4191">
                  <c:v>270.71759259259261</c:v>
                </c:pt>
                <c:pt idx="4192">
                  <c:v>270.71759259259261</c:v>
                </c:pt>
                <c:pt idx="4193">
                  <c:v>270.71759259259261</c:v>
                </c:pt>
                <c:pt idx="4194">
                  <c:v>270.71759259259261</c:v>
                </c:pt>
                <c:pt idx="4195">
                  <c:v>265.68287037037038</c:v>
                </c:pt>
                <c:pt idx="4196">
                  <c:v>265.68287037037038</c:v>
                </c:pt>
                <c:pt idx="4197">
                  <c:v>265.68287037037038</c:v>
                </c:pt>
                <c:pt idx="4198">
                  <c:v>265.68287037037038</c:v>
                </c:pt>
                <c:pt idx="4199">
                  <c:v>265.68287037037038</c:v>
                </c:pt>
                <c:pt idx="4200">
                  <c:v>269.15509259259261</c:v>
                </c:pt>
                <c:pt idx="4201">
                  <c:v>269.15509259259261</c:v>
                </c:pt>
                <c:pt idx="4202">
                  <c:v>269.15509259259261</c:v>
                </c:pt>
                <c:pt idx="4203">
                  <c:v>269.15509259259261</c:v>
                </c:pt>
                <c:pt idx="4204">
                  <c:v>269.15509259259261</c:v>
                </c:pt>
                <c:pt idx="4205">
                  <c:v>279.80324074074076</c:v>
                </c:pt>
                <c:pt idx="4206">
                  <c:v>279.80324074074076</c:v>
                </c:pt>
                <c:pt idx="4207">
                  <c:v>279.80324074074076</c:v>
                </c:pt>
                <c:pt idx="4208">
                  <c:v>279.80324074074076</c:v>
                </c:pt>
                <c:pt idx="4209">
                  <c:v>279.80324074074076</c:v>
                </c:pt>
                <c:pt idx="4210">
                  <c:v>279.6875</c:v>
                </c:pt>
                <c:pt idx="4211">
                  <c:v>279.6875</c:v>
                </c:pt>
                <c:pt idx="4212">
                  <c:v>279.6875</c:v>
                </c:pt>
                <c:pt idx="4213">
                  <c:v>279.6875</c:v>
                </c:pt>
                <c:pt idx="4214">
                  <c:v>279.6875</c:v>
                </c:pt>
                <c:pt idx="4215">
                  <c:v>283.21759259259261</c:v>
                </c:pt>
                <c:pt idx="4216">
                  <c:v>283.21759259259261</c:v>
                </c:pt>
                <c:pt idx="4217">
                  <c:v>283.21759259259261</c:v>
                </c:pt>
                <c:pt idx="4218">
                  <c:v>283.21759259259261</c:v>
                </c:pt>
                <c:pt idx="4219">
                  <c:v>283.21759259259261</c:v>
                </c:pt>
                <c:pt idx="4220">
                  <c:v>284.60648148148147</c:v>
                </c:pt>
                <c:pt idx="4221">
                  <c:v>284.60648148148147</c:v>
                </c:pt>
                <c:pt idx="4222">
                  <c:v>284.60648148148147</c:v>
                </c:pt>
                <c:pt idx="4223">
                  <c:v>284.60648148148147</c:v>
                </c:pt>
                <c:pt idx="4224">
                  <c:v>284.60648148148147</c:v>
                </c:pt>
                <c:pt idx="4225">
                  <c:v>285.47453703703701</c:v>
                </c:pt>
                <c:pt idx="4226">
                  <c:v>285.47453703703701</c:v>
                </c:pt>
                <c:pt idx="4227">
                  <c:v>285.47453703703701</c:v>
                </c:pt>
                <c:pt idx="4228">
                  <c:v>285.47453703703701</c:v>
                </c:pt>
                <c:pt idx="4229">
                  <c:v>285.47453703703701</c:v>
                </c:pt>
                <c:pt idx="4230">
                  <c:v>281.36574074074076</c:v>
                </c:pt>
                <c:pt idx="4231">
                  <c:v>281.36574074074076</c:v>
                </c:pt>
                <c:pt idx="4232">
                  <c:v>281.36574074074076</c:v>
                </c:pt>
                <c:pt idx="4233">
                  <c:v>281.36574074074076</c:v>
                </c:pt>
                <c:pt idx="4234">
                  <c:v>281.36574074074076</c:v>
                </c:pt>
                <c:pt idx="4235">
                  <c:v>283.15972222222223</c:v>
                </c:pt>
                <c:pt idx="4236">
                  <c:v>283.15972222222223</c:v>
                </c:pt>
                <c:pt idx="4237">
                  <c:v>283.15972222222223</c:v>
                </c:pt>
                <c:pt idx="4238">
                  <c:v>283.15972222222223</c:v>
                </c:pt>
                <c:pt idx="4239">
                  <c:v>283.15972222222223</c:v>
                </c:pt>
                <c:pt idx="4240">
                  <c:v>283.3912037037037</c:v>
                </c:pt>
                <c:pt idx="4241">
                  <c:v>283.3912037037037</c:v>
                </c:pt>
                <c:pt idx="4242">
                  <c:v>283.3912037037037</c:v>
                </c:pt>
                <c:pt idx="4243">
                  <c:v>283.3912037037037</c:v>
                </c:pt>
                <c:pt idx="4244">
                  <c:v>283.3912037037037</c:v>
                </c:pt>
                <c:pt idx="4245">
                  <c:v>283.27546296296293</c:v>
                </c:pt>
                <c:pt idx="4246">
                  <c:v>283.27546296296293</c:v>
                </c:pt>
                <c:pt idx="4247">
                  <c:v>283.27546296296293</c:v>
                </c:pt>
                <c:pt idx="4248">
                  <c:v>283.27546296296293</c:v>
                </c:pt>
                <c:pt idx="4249">
                  <c:v>283.27546296296293</c:v>
                </c:pt>
                <c:pt idx="4250">
                  <c:v>290.50925925925924</c:v>
                </c:pt>
                <c:pt idx="4251">
                  <c:v>290.50925925925924</c:v>
                </c:pt>
                <c:pt idx="4252">
                  <c:v>290.50925925925924</c:v>
                </c:pt>
                <c:pt idx="4253">
                  <c:v>290.50925925925924</c:v>
                </c:pt>
                <c:pt idx="4254">
                  <c:v>290.50925925925924</c:v>
                </c:pt>
                <c:pt idx="4255">
                  <c:v>289.87268518518522</c:v>
                </c:pt>
                <c:pt idx="4256">
                  <c:v>289.87268518518522</c:v>
                </c:pt>
                <c:pt idx="4257">
                  <c:v>289.87268518518522</c:v>
                </c:pt>
                <c:pt idx="4258">
                  <c:v>289.87268518518522</c:v>
                </c:pt>
                <c:pt idx="4259">
                  <c:v>289.87268518518522</c:v>
                </c:pt>
                <c:pt idx="4260">
                  <c:v>285.01157407407402</c:v>
                </c:pt>
                <c:pt idx="4261">
                  <c:v>285.01157407407402</c:v>
                </c:pt>
                <c:pt idx="4262">
                  <c:v>285.01157407407402</c:v>
                </c:pt>
                <c:pt idx="4263">
                  <c:v>285.01157407407402</c:v>
                </c:pt>
                <c:pt idx="4264">
                  <c:v>285.01157407407402</c:v>
                </c:pt>
                <c:pt idx="4265">
                  <c:v>283.3912037037037</c:v>
                </c:pt>
                <c:pt idx="4266">
                  <c:v>283.3912037037037</c:v>
                </c:pt>
                <c:pt idx="4267">
                  <c:v>283.3912037037037</c:v>
                </c:pt>
                <c:pt idx="4268">
                  <c:v>283.3912037037037</c:v>
                </c:pt>
                <c:pt idx="4269">
                  <c:v>283.3912037037037</c:v>
                </c:pt>
                <c:pt idx="4270">
                  <c:v>286.0532407407407</c:v>
                </c:pt>
                <c:pt idx="4271">
                  <c:v>286.0532407407407</c:v>
                </c:pt>
                <c:pt idx="4272">
                  <c:v>286.0532407407407</c:v>
                </c:pt>
                <c:pt idx="4273">
                  <c:v>286.0532407407407</c:v>
                </c:pt>
                <c:pt idx="4274">
                  <c:v>286.0532407407407</c:v>
                </c:pt>
                <c:pt idx="4275">
                  <c:v>290.39351851851853</c:v>
                </c:pt>
                <c:pt idx="4276">
                  <c:v>290.39351851851853</c:v>
                </c:pt>
                <c:pt idx="4277">
                  <c:v>290.39351851851853</c:v>
                </c:pt>
                <c:pt idx="4278">
                  <c:v>290.39351851851853</c:v>
                </c:pt>
                <c:pt idx="4279">
                  <c:v>290.39351851851853</c:v>
                </c:pt>
                <c:pt idx="4280">
                  <c:v>288.25231481481478</c:v>
                </c:pt>
                <c:pt idx="4281">
                  <c:v>288.25231481481478</c:v>
                </c:pt>
                <c:pt idx="4282">
                  <c:v>288.25231481481478</c:v>
                </c:pt>
                <c:pt idx="4283">
                  <c:v>288.25231481481478</c:v>
                </c:pt>
                <c:pt idx="4284">
                  <c:v>288.25231481481478</c:v>
                </c:pt>
                <c:pt idx="4285">
                  <c:v>286.45833333333337</c:v>
                </c:pt>
                <c:pt idx="4286">
                  <c:v>286.45833333333337</c:v>
                </c:pt>
                <c:pt idx="4287">
                  <c:v>286.45833333333337</c:v>
                </c:pt>
                <c:pt idx="4288">
                  <c:v>286.45833333333337</c:v>
                </c:pt>
                <c:pt idx="4289">
                  <c:v>286.45833333333337</c:v>
                </c:pt>
                <c:pt idx="4290">
                  <c:v>286.28472222222223</c:v>
                </c:pt>
                <c:pt idx="4291">
                  <c:v>286.28472222222223</c:v>
                </c:pt>
                <c:pt idx="4292">
                  <c:v>286.28472222222223</c:v>
                </c:pt>
                <c:pt idx="4293">
                  <c:v>286.28472222222223</c:v>
                </c:pt>
                <c:pt idx="4294">
                  <c:v>286.28472222222223</c:v>
                </c:pt>
                <c:pt idx="4295">
                  <c:v>287.44212962962962</c:v>
                </c:pt>
                <c:pt idx="4296">
                  <c:v>287.44212962962962</c:v>
                </c:pt>
                <c:pt idx="4297">
                  <c:v>287.44212962962962</c:v>
                </c:pt>
                <c:pt idx="4298">
                  <c:v>287.44212962962962</c:v>
                </c:pt>
                <c:pt idx="4299">
                  <c:v>287.44212962962962</c:v>
                </c:pt>
                <c:pt idx="4300">
                  <c:v>285.41666666666669</c:v>
                </c:pt>
                <c:pt idx="4301">
                  <c:v>285.41666666666669</c:v>
                </c:pt>
                <c:pt idx="4302">
                  <c:v>285.41666666666669</c:v>
                </c:pt>
                <c:pt idx="4303">
                  <c:v>285.41666666666669</c:v>
                </c:pt>
                <c:pt idx="4304">
                  <c:v>285.41666666666669</c:v>
                </c:pt>
                <c:pt idx="4305">
                  <c:v>286.8055555555556</c:v>
                </c:pt>
                <c:pt idx="4306">
                  <c:v>286.8055555555556</c:v>
                </c:pt>
                <c:pt idx="4307">
                  <c:v>286.8055555555556</c:v>
                </c:pt>
                <c:pt idx="4308">
                  <c:v>286.8055555555556</c:v>
                </c:pt>
                <c:pt idx="4309">
                  <c:v>286.8055555555556</c:v>
                </c:pt>
                <c:pt idx="4310">
                  <c:v>291.43518518518516</c:v>
                </c:pt>
                <c:pt idx="4311">
                  <c:v>291.43518518518516</c:v>
                </c:pt>
                <c:pt idx="4312">
                  <c:v>291.43518518518516</c:v>
                </c:pt>
                <c:pt idx="4313">
                  <c:v>291.43518518518516</c:v>
                </c:pt>
                <c:pt idx="4314">
                  <c:v>291.43518518518516</c:v>
                </c:pt>
                <c:pt idx="4315">
                  <c:v>287.96296296296299</c:v>
                </c:pt>
                <c:pt idx="4316">
                  <c:v>287.96296296296299</c:v>
                </c:pt>
                <c:pt idx="4317">
                  <c:v>287.96296296296299</c:v>
                </c:pt>
                <c:pt idx="4318">
                  <c:v>287.96296296296299</c:v>
                </c:pt>
                <c:pt idx="4319">
                  <c:v>287.96296296296299</c:v>
                </c:pt>
                <c:pt idx="4320">
                  <c:v>285.99537037037038</c:v>
                </c:pt>
                <c:pt idx="4321">
                  <c:v>285.99537037037038</c:v>
                </c:pt>
                <c:pt idx="4322">
                  <c:v>285.99537037037038</c:v>
                </c:pt>
                <c:pt idx="4323">
                  <c:v>285.99537037037038</c:v>
                </c:pt>
                <c:pt idx="4324">
                  <c:v>285.99537037037038</c:v>
                </c:pt>
                <c:pt idx="4325">
                  <c:v>287.38425925925924</c:v>
                </c:pt>
                <c:pt idx="4326">
                  <c:v>287.38425925925924</c:v>
                </c:pt>
                <c:pt idx="4327">
                  <c:v>287.38425925925924</c:v>
                </c:pt>
                <c:pt idx="4328">
                  <c:v>287.38425925925924</c:v>
                </c:pt>
                <c:pt idx="4329">
                  <c:v>287.38425925925924</c:v>
                </c:pt>
                <c:pt idx="4330">
                  <c:v>286.97916666666663</c:v>
                </c:pt>
                <c:pt idx="4331">
                  <c:v>286.97916666666663</c:v>
                </c:pt>
                <c:pt idx="4332">
                  <c:v>286.97916666666663</c:v>
                </c:pt>
                <c:pt idx="4333">
                  <c:v>286.97916666666663</c:v>
                </c:pt>
                <c:pt idx="4334">
                  <c:v>286.97916666666663</c:v>
                </c:pt>
                <c:pt idx="4335">
                  <c:v>286.16898148148147</c:v>
                </c:pt>
                <c:pt idx="4336">
                  <c:v>286.16898148148147</c:v>
                </c:pt>
                <c:pt idx="4337">
                  <c:v>286.16898148148147</c:v>
                </c:pt>
                <c:pt idx="4338">
                  <c:v>286.16898148148147</c:v>
                </c:pt>
                <c:pt idx="4339">
                  <c:v>286.16898148148147</c:v>
                </c:pt>
                <c:pt idx="4340">
                  <c:v>281.59722222222217</c:v>
                </c:pt>
                <c:pt idx="4341">
                  <c:v>281.59722222222217</c:v>
                </c:pt>
                <c:pt idx="4342">
                  <c:v>281.59722222222217</c:v>
                </c:pt>
                <c:pt idx="4343">
                  <c:v>281.59722222222217</c:v>
                </c:pt>
                <c:pt idx="4344">
                  <c:v>281.59722222222217</c:v>
                </c:pt>
                <c:pt idx="4345">
                  <c:v>278.29861111111114</c:v>
                </c:pt>
                <c:pt idx="4346">
                  <c:v>278.29861111111114</c:v>
                </c:pt>
                <c:pt idx="4347">
                  <c:v>278.29861111111114</c:v>
                </c:pt>
                <c:pt idx="4348">
                  <c:v>278.29861111111114</c:v>
                </c:pt>
                <c:pt idx="4349">
                  <c:v>278.29861111111114</c:v>
                </c:pt>
                <c:pt idx="4350">
                  <c:v>279.05092592592598</c:v>
                </c:pt>
                <c:pt idx="4351">
                  <c:v>279.05092592592598</c:v>
                </c:pt>
                <c:pt idx="4352">
                  <c:v>279.05092592592598</c:v>
                </c:pt>
                <c:pt idx="4353">
                  <c:v>279.05092592592598</c:v>
                </c:pt>
                <c:pt idx="4354">
                  <c:v>279.05092592592598</c:v>
                </c:pt>
                <c:pt idx="4355">
                  <c:v>274.65277777777783</c:v>
                </c:pt>
                <c:pt idx="4356">
                  <c:v>274.65277777777783</c:v>
                </c:pt>
                <c:pt idx="4357">
                  <c:v>274.65277777777783</c:v>
                </c:pt>
                <c:pt idx="4358">
                  <c:v>274.65277777777783</c:v>
                </c:pt>
                <c:pt idx="4359">
                  <c:v>274.65277777777783</c:v>
                </c:pt>
                <c:pt idx="4360">
                  <c:v>268.75</c:v>
                </c:pt>
                <c:pt idx="4361">
                  <c:v>268.75</c:v>
                </c:pt>
                <c:pt idx="4362">
                  <c:v>268.75</c:v>
                </c:pt>
                <c:pt idx="4363">
                  <c:v>268.75</c:v>
                </c:pt>
                <c:pt idx="4364">
                  <c:v>268.75</c:v>
                </c:pt>
                <c:pt idx="4365">
                  <c:v>273.14814814814815</c:v>
                </c:pt>
                <c:pt idx="4366">
                  <c:v>273.14814814814815</c:v>
                </c:pt>
                <c:pt idx="4367">
                  <c:v>273.14814814814815</c:v>
                </c:pt>
                <c:pt idx="4368">
                  <c:v>273.14814814814815</c:v>
                </c:pt>
                <c:pt idx="4369">
                  <c:v>273.14814814814815</c:v>
                </c:pt>
                <c:pt idx="4370">
                  <c:v>272.8587962962963</c:v>
                </c:pt>
                <c:pt idx="4371">
                  <c:v>272.8587962962963</c:v>
                </c:pt>
                <c:pt idx="4372">
                  <c:v>272.8587962962963</c:v>
                </c:pt>
                <c:pt idx="4373">
                  <c:v>272.8587962962963</c:v>
                </c:pt>
                <c:pt idx="4374">
                  <c:v>272.8587962962963</c:v>
                </c:pt>
                <c:pt idx="4375">
                  <c:v>276.15740740740745</c:v>
                </c:pt>
                <c:pt idx="4376">
                  <c:v>276.15740740740745</c:v>
                </c:pt>
                <c:pt idx="4377">
                  <c:v>276.15740740740745</c:v>
                </c:pt>
                <c:pt idx="4378">
                  <c:v>276.15740740740745</c:v>
                </c:pt>
                <c:pt idx="4379">
                  <c:v>276.15740740740745</c:v>
                </c:pt>
                <c:pt idx="4380">
                  <c:v>264.40972222222223</c:v>
                </c:pt>
                <c:pt idx="4381">
                  <c:v>264.40972222222223</c:v>
                </c:pt>
                <c:pt idx="4382">
                  <c:v>264.40972222222223</c:v>
                </c:pt>
                <c:pt idx="4383">
                  <c:v>264.40972222222223</c:v>
                </c:pt>
                <c:pt idx="4384">
                  <c:v>264.40972222222223</c:v>
                </c:pt>
                <c:pt idx="4385">
                  <c:v>265.45138888888886</c:v>
                </c:pt>
                <c:pt idx="4386">
                  <c:v>265.45138888888886</c:v>
                </c:pt>
                <c:pt idx="4387">
                  <c:v>265.45138888888886</c:v>
                </c:pt>
                <c:pt idx="4388">
                  <c:v>265.45138888888886</c:v>
                </c:pt>
                <c:pt idx="4389">
                  <c:v>265.45138888888886</c:v>
                </c:pt>
                <c:pt idx="4390">
                  <c:v>263.88888888888886</c:v>
                </c:pt>
                <c:pt idx="4391">
                  <c:v>263.88888888888886</c:v>
                </c:pt>
                <c:pt idx="4392">
                  <c:v>263.88888888888886</c:v>
                </c:pt>
                <c:pt idx="4393">
                  <c:v>263.88888888888886</c:v>
                </c:pt>
                <c:pt idx="4394">
                  <c:v>263.88888888888886</c:v>
                </c:pt>
                <c:pt idx="4395">
                  <c:v>261.40046296296299</c:v>
                </c:pt>
                <c:pt idx="4396">
                  <c:v>261.40046296296299</c:v>
                </c:pt>
                <c:pt idx="4397">
                  <c:v>261.40046296296299</c:v>
                </c:pt>
                <c:pt idx="4398">
                  <c:v>261.40046296296299</c:v>
                </c:pt>
                <c:pt idx="4399">
                  <c:v>261.40046296296299</c:v>
                </c:pt>
                <c:pt idx="4400">
                  <c:v>254.8032407407407</c:v>
                </c:pt>
                <c:pt idx="4401">
                  <c:v>254.8032407407407</c:v>
                </c:pt>
                <c:pt idx="4402">
                  <c:v>254.8032407407407</c:v>
                </c:pt>
                <c:pt idx="4403">
                  <c:v>254.8032407407407</c:v>
                </c:pt>
                <c:pt idx="4404">
                  <c:v>254.8032407407407</c:v>
                </c:pt>
                <c:pt idx="4405">
                  <c:v>258.3912037037037</c:v>
                </c:pt>
                <c:pt idx="4406">
                  <c:v>258.3912037037037</c:v>
                </c:pt>
                <c:pt idx="4407">
                  <c:v>258.3912037037037</c:v>
                </c:pt>
                <c:pt idx="4408">
                  <c:v>258.3912037037037</c:v>
                </c:pt>
                <c:pt idx="4409">
                  <c:v>258.3912037037037</c:v>
                </c:pt>
                <c:pt idx="4410">
                  <c:v>255.78703703703701</c:v>
                </c:pt>
                <c:pt idx="4411">
                  <c:v>255.78703703703701</c:v>
                </c:pt>
                <c:pt idx="4412">
                  <c:v>255.78703703703701</c:v>
                </c:pt>
                <c:pt idx="4413">
                  <c:v>255.78703703703701</c:v>
                </c:pt>
                <c:pt idx="4414">
                  <c:v>255.78703703703701</c:v>
                </c:pt>
                <c:pt idx="4415">
                  <c:v>254.10879629629628</c:v>
                </c:pt>
                <c:pt idx="4416">
                  <c:v>254.10879629629628</c:v>
                </c:pt>
                <c:pt idx="4417">
                  <c:v>254.10879629629628</c:v>
                </c:pt>
                <c:pt idx="4418">
                  <c:v>254.10879629629628</c:v>
                </c:pt>
                <c:pt idx="4419">
                  <c:v>254.10879629629628</c:v>
                </c:pt>
                <c:pt idx="4420">
                  <c:v>253.24074074074073</c:v>
                </c:pt>
                <c:pt idx="4421">
                  <c:v>253.24074074074073</c:v>
                </c:pt>
                <c:pt idx="4422">
                  <c:v>253.24074074074073</c:v>
                </c:pt>
                <c:pt idx="4423">
                  <c:v>253.24074074074073</c:v>
                </c:pt>
                <c:pt idx="4424">
                  <c:v>253.24074074074073</c:v>
                </c:pt>
                <c:pt idx="4425">
                  <c:v>251.90972222222223</c:v>
                </c:pt>
                <c:pt idx="4426">
                  <c:v>251.90972222222223</c:v>
                </c:pt>
                <c:pt idx="4427">
                  <c:v>251.90972222222223</c:v>
                </c:pt>
                <c:pt idx="4428">
                  <c:v>251.90972222222223</c:v>
                </c:pt>
                <c:pt idx="4429">
                  <c:v>251.90972222222223</c:v>
                </c:pt>
                <c:pt idx="4430">
                  <c:v>248.4375</c:v>
                </c:pt>
                <c:pt idx="4431">
                  <c:v>248.4375</c:v>
                </c:pt>
                <c:pt idx="4432">
                  <c:v>248.4375</c:v>
                </c:pt>
                <c:pt idx="4433">
                  <c:v>248.4375</c:v>
                </c:pt>
                <c:pt idx="4434">
                  <c:v>248.4375</c:v>
                </c:pt>
                <c:pt idx="4435">
                  <c:v>247.80092592592595</c:v>
                </c:pt>
                <c:pt idx="4436">
                  <c:v>247.80092592592595</c:v>
                </c:pt>
                <c:pt idx="4437">
                  <c:v>247.80092592592595</c:v>
                </c:pt>
                <c:pt idx="4438">
                  <c:v>247.80092592592595</c:v>
                </c:pt>
                <c:pt idx="4439">
                  <c:v>247.80092592592595</c:v>
                </c:pt>
                <c:pt idx="4440">
                  <c:v>243.05555555555557</c:v>
                </c:pt>
                <c:pt idx="4441">
                  <c:v>243.05555555555557</c:v>
                </c:pt>
                <c:pt idx="4442">
                  <c:v>243.05555555555557</c:v>
                </c:pt>
                <c:pt idx="4443">
                  <c:v>243.05555555555557</c:v>
                </c:pt>
                <c:pt idx="4444">
                  <c:v>243.05555555555557</c:v>
                </c:pt>
                <c:pt idx="4445">
                  <c:v>225.57870370370372</c:v>
                </c:pt>
                <c:pt idx="4446">
                  <c:v>225.57870370370372</c:v>
                </c:pt>
                <c:pt idx="4447">
                  <c:v>225.57870370370372</c:v>
                </c:pt>
                <c:pt idx="4448">
                  <c:v>225.57870370370372</c:v>
                </c:pt>
                <c:pt idx="4449">
                  <c:v>225.57870370370372</c:v>
                </c:pt>
                <c:pt idx="4450">
                  <c:v>222.33796296296299</c:v>
                </c:pt>
                <c:pt idx="4451">
                  <c:v>222.33796296296299</c:v>
                </c:pt>
                <c:pt idx="4452">
                  <c:v>222.33796296296299</c:v>
                </c:pt>
                <c:pt idx="4453">
                  <c:v>222.33796296296299</c:v>
                </c:pt>
                <c:pt idx="4454">
                  <c:v>222.33796296296299</c:v>
                </c:pt>
                <c:pt idx="4455">
                  <c:v>218.57638888888889</c:v>
                </c:pt>
                <c:pt idx="4456">
                  <c:v>218.57638888888889</c:v>
                </c:pt>
                <c:pt idx="4457">
                  <c:v>218.57638888888889</c:v>
                </c:pt>
                <c:pt idx="4458">
                  <c:v>218.57638888888889</c:v>
                </c:pt>
                <c:pt idx="4459">
                  <c:v>218.57638888888889</c:v>
                </c:pt>
                <c:pt idx="4460">
                  <c:v>215.33564814814815</c:v>
                </c:pt>
                <c:pt idx="4461">
                  <c:v>215.33564814814815</c:v>
                </c:pt>
                <c:pt idx="4462">
                  <c:v>215.33564814814815</c:v>
                </c:pt>
                <c:pt idx="4463">
                  <c:v>215.33564814814815</c:v>
                </c:pt>
                <c:pt idx="4464">
                  <c:v>215.33564814814815</c:v>
                </c:pt>
                <c:pt idx="4465">
                  <c:v>207.87037037037038</c:v>
                </c:pt>
                <c:pt idx="4466">
                  <c:v>207.87037037037038</c:v>
                </c:pt>
                <c:pt idx="4467">
                  <c:v>207.87037037037038</c:v>
                </c:pt>
                <c:pt idx="4468">
                  <c:v>207.87037037037038</c:v>
                </c:pt>
                <c:pt idx="4469">
                  <c:v>207.87037037037038</c:v>
                </c:pt>
                <c:pt idx="4470">
                  <c:v>210.7060185185185</c:v>
                </c:pt>
                <c:pt idx="4471">
                  <c:v>210.7060185185185</c:v>
                </c:pt>
                <c:pt idx="4472">
                  <c:v>210.7060185185185</c:v>
                </c:pt>
                <c:pt idx="4473">
                  <c:v>210.7060185185185</c:v>
                </c:pt>
                <c:pt idx="4474">
                  <c:v>210.7060185185185</c:v>
                </c:pt>
                <c:pt idx="4475">
                  <c:v>208.27546296296299</c:v>
                </c:pt>
                <c:pt idx="4476">
                  <c:v>208.27546296296299</c:v>
                </c:pt>
                <c:pt idx="4477">
                  <c:v>208.27546296296299</c:v>
                </c:pt>
                <c:pt idx="4478">
                  <c:v>208.27546296296299</c:v>
                </c:pt>
                <c:pt idx="4479">
                  <c:v>208.27546296296299</c:v>
                </c:pt>
                <c:pt idx="4480">
                  <c:v>208.33333333333334</c:v>
                </c:pt>
                <c:pt idx="4481">
                  <c:v>208.33333333333334</c:v>
                </c:pt>
                <c:pt idx="4482">
                  <c:v>208.33333333333334</c:v>
                </c:pt>
                <c:pt idx="4483">
                  <c:v>208.33333333333334</c:v>
                </c:pt>
                <c:pt idx="4484">
                  <c:v>208.33333333333334</c:v>
                </c:pt>
                <c:pt idx="4485">
                  <c:v>210.0115740740741</c:v>
                </c:pt>
                <c:pt idx="4486">
                  <c:v>210.0115740740741</c:v>
                </c:pt>
                <c:pt idx="4487">
                  <c:v>210.0115740740741</c:v>
                </c:pt>
                <c:pt idx="4488">
                  <c:v>210.0115740740741</c:v>
                </c:pt>
                <c:pt idx="4489">
                  <c:v>210.0115740740741</c:v>
                </c:pt>
                <c:pt idx="4490">
                  <c:v>215.97222222222223</c:v>
                </c:pt>
                <c:pt idx="4491">
                  <c:v>215.97222222222223</c:v>
                </c:pt>
                <c:pt idx="4492">
                  <c:v>215.97222222222223</c:v>
                </c:pt>
                <c:pt idx="4493">
                  <c:v>215.97222222222223</c:v>
                </c:pt>
                <c:pt idx="4494">
                  <c:v>215.97222222222223</c:v>
                </c:pt>
                <c:pt idx="4495">
                  <c:v>214.64120370370372</c:v>
                </c:pt>
                <c:pt idx="4496">
                  <c:v>214.64120370370372</c:v>
                </c:pt>
                <c:pt idx="4497">
                  <c:v>214.64120370370372</c:v>
                </c:pt>
                <c:pt idx="4498">
                  <c:v>214.64120370370372</c:v>
                </c:pt>
                <c:pt idx="4499">
                  <c:v>214.64120370370372</c:v>
                </c:pt>
                <c:pt idx="4500">
                  <c:v>214.40972222222223</c:v>
                </c:pt>
                <c:pt idx="4501">
                  <c:v>214.40972222222223</c:v>
                </c:pt>
                <c:pt idx="4502">
                  <c:v>214.40972222222223</c:v>
                </c:pt>
                <c:pt idx="4503">
                  <c:v>214.40972222222223</c:v>
                </c:pt>
                <c:pt idx="4504">
                  <c:v>214.40972222222223</c:v>
                </c:pt>
                <c:pt idx="4505">
                  <c:v>215.56712962962962</c:v>
                </c:pt>
                <c:pt idx="4506">
                  <c:v>215.56712962962962</c:v>
                </c:pt>
                <c:pt idx="4507">
                  <c:v>215.56712962962962</c:v>
                </c:pt>
                <c:pt idx="4508">
                  <c:v>215.56712962962962</c:v>
                </c:pt>
                <c:pt idx="4509">
                  <c:v>215.56712962962962</c:v>
                </c:pt>
                <c:pt idx="4510">
                  <c:v>219.27083333333334</c:v>
                </c:pt>
                <c:pt idx="4511">
                  <c:v>219.27083333333334</c:v>
                </c:pt>
                <c:pt idx="4512">
                  <c:v>219.27083333333334</c:v>
                </c:pt>
                <c:pt idx="4513">
                  <c:v>219.27083333333334</c:v>
                </c:pt>
                <c:pt idx="4514">
                  <c:v>219.27083333333334</c:v>
                </c:pt>
                <c:pt idx="4515">
                  <c:v>224.59490740740739</c:v>
                </c:pt>
                <c:pt idx="4516">
                  <c:v>224.59490740740739</c:v>
                </c:pt>
                <c:pt idx="4517">
                  <c:v>224.59490740740739</c:v>
                </c:pt>
                <c:pt idx="4518">
                  <c:v>224.59490740740739</c:v>
                </c:pt>
                <c:pt idx="4519">
                  <c:v>224.59490740740739</c:v>
                </c:pt>
                <c:pt idx="4520">
                  <c:v>222.33796296296299</c:v>
                </c:pt>
                <c:pt idx="4521">
                  <c:v>222.33796296296299</c:v>
                </c:pt>
                <c:pt idx="4522">
                  <c:v>222.33796296296299</c:v>
                </c:pt>
                <c:pt idx="4523">
                  <c:v>222.33796296296299</c:v>
                </c:pt>
                <c:pt idx="4524">
                  <c:v>222.33796296296299</c:v>
                </c:pt>
                <c:pt idx="4525">
                  <c:v>222.1064814814815</c:v>
                </c:pt>
                <c:pt idx="4526">
                  <c:v>222.1064814814815</c:v>
                </c:pt>
                <c:pt idx="4527">
                  <c:v>222.1064814814815</c:v>
                </c:pt>
                <c:pt idx="4528">
                  <c:v>222.1064814814815</c:v>
                </c:pt>
                <c:pt idx="4529">
                  <c:v>222.1064814814815</c:v>
                </c:pt>
                <c:pt idx="4530">
                  <c:v>220.83333333333334</c:v>
                </c:pt>
                <c:pt idx="4531">
                  <c:v>220.83333333333334</c:v>
                </c:pt>
                <c:pt idx="4532">
                  <c:v>220.83333333333334</c:v>
                </c:pt>
                <c:pt idx="4533">
                  <c:v>220.83333333333334</c:v>
                </c:pt>
                <c:pt idx="4534">
                  <c:v>220.83333333333334</c:v>
                </c:pt>
                <c:pt idx="4535">
                  <c:v>220.37037037037038</c:v>
                </c:pt>
                <c:pt idx="4536">
                  <c:v>220.37037037037038</c:v>
                </c:pt>
                <c:pt idx="4537">
                  <c:v>220.37037037037038</c:v>
                </c:pt>
                <c:pt idx="4538">
                  <c:v>220.37037037037038</c:v>
                </c:pt>
                <c:pt idx="4539">
                  <c:v>220.37037037037038</c:v>
                </c:pt>
                <c:pt idx="4540">
                  <c:v>219.44444444444443</c:v>
                </c:pt>
                <c:pt idx="4541">
                  <c:v>219.44444444444443</c:v>
                </c:pt>
                <c:pt idx="4542">
                  <c:v>219.44444444444443</c:v>
                </c:pt>
                <c:pt idx="4543">
                  <c:v>219.44444444444443</c:v>
                </c:pt>
                <c:pt idx="4544">
                  <c:v>219.44444444444443</c:v>
                </c:pt>
                <c:pt idx="4545">
                  <c:v>220.77546296296299</c:v>
                </c:pt>
                <c:pt idx="4546">
                  <c:v>220.77546296296299</c:v>
                </c:pt>
                <c:pt idx="4547">
                  <c:v>220.77546296296299</c:v>
                </c:pt>
                <c:pt idx="4548">
                  <c:v>220.77546296296299</c:v>
                </c:pt>
                <c:pt idx="4549">
                  <c:v>220.77546296296299</c:v>
                </c:pt>
                <c:pt idx="4550">
                  <c:v>216.9560185185185</c:v>
                </c:pt>
                <c:pt idx="4551">
                  <c:v>216.9560185185185</c:v>
                </c:pt>
                <c:pt idx="4552">
                  <c:v>216.9560185185185</c:v>
                </c:pt>
                <c:pt idx="4553">
                  <c:v>216.9560185185185</c:v>
                </c:pt>
                <c:pt idx="4554">
                  <c:v>216.9560185185185</c:v>
                </c:pt>
                <c:pt idx="4555">
                  <c:v>215.45138888888889</c:v>
                </c:pt>
                <c:pt idx="4556">
                  <c:v>215.45138888888889</c:v>
                </c:pt>
                <c:pt idx="4557">
                  <c:v>215.45138888888889</c:v>
                </c:pt>
                <c:pt idx="4558">
                  <c:v>215.45138888888889</c:v>
                </c:pt>
                <c:pt idx="4559">
                  <c:v>215.45138888888889</c:v>
                </c:pt>
                <c:pt idx="4560">
                  <c:v>213.48379629629628</c:v>
                </c:pt>
                <c:pt idx="4561">
                  <c:v>213.48379629629628</c:v>
                </c:pt>
                <c:pt idx="4562">
                  <c:v>213.48379629629628</c:v>
                </c:pt>
                <c:pt idx="4563">
                  <c:v>213.48379629629628</c:v>
                </c:pt>
                <c:pt idx="4564">
                  <c:v>213.48379629629628</c:v>
                </c:pt>
                <c:pt idx="4565">
                  <c:v>212.90509259259261</c:v>
                </c:pt>
                <c:pt idx="4566">
                  <c:v>212.90509259259261</c:v>
                </c:pt>
                <c:pt idx="4567">
                  <c:v>212.90509259259261</c:v>
                </c:pt>
                <c:pt idx="4568">
                  <c:v>212.90509259259261</c:v>
                </c:pt>
                <c:pt idx="4569">
                  <c:v>212.90509259259261</c:v>
                </c:pt>
                <c:pt idx="4570">
                  <c:v>210.82175925925927</c:v>
                </c:pt>
                <c:pt idx="4571">
                  <c:v>210.82175925925927</c:v>
                </c:pt>
                <c:pt idx="4572">
                  <c:v>210.82175925925927</c:v>
                </c:pt>
                <c:pt idx="4573">
                  <c:v>210.82175925925927</c:v>
                </c:pt>
                <c:pt idx="4574">
                  <c:v>210.82175925925927</c:v>
                </c:pt>
                <c:pt idx="4575">
                  <c:v>208.85416666666666</c:v>
                </c:pt>
                <c:pt idx="4576">
                  <c:v>208.85416666666666</c:v>
                </c:pt>
                <c:pt idx="4577">
                  <c:v>208.85416666666666</c:v>
                </c:pt>
                <c:pt idx="4578">
                  <c:v>208.85416666666666</c:v>
                </c:pt>
                <c:pt idx="4579">
                  <c:v>208.85416666666666</c:v>
                </c:pt>
                <c:pt idx="4580">
                  <c:v>206.42361111111111</c:v>
                </c:pt>
                <c:pt idx="4581">
                  <c:v>206.42361111111111</c:v>
                </c:pt>
                <c:pt idx="4582">
                  <c:v>206.42361111111111</c:v>
                </c:pt>
                <c:pt idx="4583">
                  <c:v>206.42361111111111</c:v>
                </c:pt>
                <c:pt idx="4584">
                  <c:v>206.42361111111111</c:v>
                </c:pt>
                <c:pt idx="4585">
                  <c:v>204.28240740740739</c:v>
                </c:pt>
                <c:pt idx="4586">
                  <c:v>204.28240740740739</c:v>
                </c:pt>
                <c:pt idx="4587">
                  <c:v>204.28240740740739</c:v>
                </c:pt>
                <c:pt idx="4588">
                  <c:v>204.28240740740739</c:v>
                </c:pt>
                <c:pt idx="4589">
                  <c:v>204.28240740740739</c:v>
                </c:pt>
                <c:pt idx="4590">
                  <c:v>203.64583333333334</c:v>
                </c:pt>
                <c:pt idx="4591">
                  <c:v>203.64583333333334</c:v>
                </c:pt>
                <c:pt idx="4592">
                  <c:v>203.64583333333334</c:v>
                </c:pt>
                <c:pt idx="4593">
                  <c:v>203.64583333333334</c:v>
                </c:pt>
                <c:pt idx="4594">
                  <c:v>203.64583333333334</c:v>
                </c:pt>
                <c:pt idx="4595">
                  <c:v>204.74537037037038</c:v>
                </c:pt>
                <c:pt idx="4596">
                  <c:v>204.74537037037038</c:v>
                </c:pt>
                <c:pt idx="4597">
                  <c:v>204.74537037037038</c:v>
                </c:pt>
                <c:pt idx="4598">
                  <c:v>204.74537037037038</c:v>
                </c:pt>
                <c:pt idx="4599">
                  <c:v>204.74537037037038</c:v>
                </c:pt>
                <c:pt idx="4600">
                  <c:v>202.95138888888889</c:v>
                </c:pt>
                <c:pt idx="4601">
                  <c:v>202.95138888888889</c:v>
                </c:pt>
                <c:pt idx="4602">
                  <c:v>202.95138888888889</c:v>
                </c:pt>
                <c:pt idx="4603">
                  <c:v>202.95138888888889</c:v>
                </c:pt>
                <c:pt idx="4604">
                  <c:v>202.95138888888889</c:v>
                </c:pt>
                <c:pt idx="4605">
                  <c:v>204.57175925925927</c:v>
                </c:pt>
                <c:pt idx="4606">
                  <c:v>204.57175925925927</c:v>
                </c:pt>
                <c:pt idx="4607">
                  <c:v>204.57175925925927</c:v>
                </c:pt>
                <c:pt idx="4608">
                  <c:v>204.57175925925927</c:v>
                </c:pt>
                <c:pt idx="4609">
                  <c:v>204.57175925925927</c:v>
                </c:pt>
                <c:pt idx="4610">
                  <c:v>204.10879629629633</c:v>
                </c:pt>
                <c:pt idx="4611">
                  <c:v>204.10879629629633</c:v>
                </c:pt>
                <c:pt idx="4612">
                  <c:v>204.10879629629633</c:v>
                </c:pt>
                <c:pt idx="4613">
                  <c:v>204.10879629629633</c:v>
                </c:pt>
                <c:pt idx="4614">
                  <c:v>204.10879629629633</c:v>
                </c:pt>
                <c:pt idx="4615">
                  <c:v>204.4560185185185</c:v>
                </c:pt>
                <c:pt idx="4616">
                  <c:v>204.4560185185185</c:v>
                </c:pt>
                <c:pt idx="4617">
                  <c:v>204.4560185185185</c:v>
                </c:pt>
                <c:pt idx="4618">
                  <c:v>204.4560185185185</c:v>
                </c:pt>
                <c:pt idx="4619">
                  <c:v>204.4560185185185</c:v>
                </c:pt>
                <c:pt idx="4620">
                  <c:v>200.98379629629628</c:v>
                </c:pt>
                <c:pt idx="4621">
                  <c:v>200.98379629629628</c:v>
                </c:pt>
                <c:pt idx="4622">
                  <c:v>200.98379629629628</c:v>
                </c:pt>
                <c:pt idx="4623">
                  <c:v>200.98379629629628</c:v>
                </c:pt>
                <c:pt idx="4624">
                  <c:v>200.98379629629628</c:v>
                </c:pt>
                <c:pt idx="4625">
                  <c:v>198.84259259259258</c:v>
                </c:pt>
                <c:pt idx="4626">
                  <c:v>198.84259259259258</c:v>
                </c:pt>
                <c:pt idx="4627">
                  <c:v>198.84259259259258</c:v>
                </c:pt>
                <c:pt idx="4628">
                  <c:v>198.84259259259258</c:v>
                </c:pt>
                <c:pt idx="4629">
                  <c:v>198.84259259259258</c:v>
                </c:pt>
                <c:pt idx="4630">
                  <c:v>198.03240740740742</c:v>
                </c:pt>
                <c:pt idx="4631">
                  <c:v>198.03240740740742</c:v>
                </c:pt>
                <c:pt idx="4632">
                  <c:v>198.03240740740742</c:v>
                </c:pt>
                <c:pt idx="4633">
                  <c:v>198.03240740740742</c:v>
                </c:pt>
                <c:pt idx="4634">
                  <c:v>198.03240740740742</c:v>
                </c:pt>
                <c:pt idx="4635">
                  <c:v>195.02314814814815</c:v>
                </c:pt>
                <c:pt idx="4636">
                  <c:v>195.02314814814815</c:v>
                </c:pt>
                <c:pt idx="4637">
                  <c:v>195.02314814814815</c:v>
                </c:pt>
                <c:pt idx="4638">
                  <c:v>195.02314814814815</c:v>
                </c:pt>
                <c:pt idx="4639">
                  <c:v>195.02314814814815</c:v>
                </c:pt>
                <c:pt idx="4640">
                  <c:v>190.74074074074073</c:v>
                </c:pt>
                <c:pt idx="4641">
                  <c:v>190.74074074074073</c:v>
                </c:pt>
                <c:pt idx="4642">
                  <c:v>190.74074074074073</c:v>
                </c:pt>
                <c:pt idx="4643">
                  <c:v>190.74074074074073</c:v>
                </c:pt>
                <c:pt idx="4644">
                  <c:v>190.74074074074073</c:v>
                </c:pt>
                <c:pt idx="4645">
                  <c:v>186.68981481481481</c:v>
                </c:pt>
                <c:pt idx="4646">
                  <c:v>186.68981481481481</c:v>
                </c:pt>
                <c:pt idx="4647">
                  <c:v>186.68981481481481</c:v>
                </c:pt>
                <c:pt idx="4648">
                  <c:v>186.68981481481481</c:v>
                </c:pt>
                <c:pt idx="4649">
                  <c:v>186.68981481481481</c:v>
                </c:pt>
                <c:pt idx="4650">
                  <c:v>184.72222222222223</c:v>
                </c:pt>
                <c:pt idx="4651">
                  <c:v>184.72222222222223</c:v>
                </c:pt>
                <c:pt idx="4652">
                  <c:v>184.72222222222223</c:v>
                </c:pt>
                <c:pt idx="4653">
                  <c:v>184.72222222222223</c:v>
                </c:pt>
                <c:pt idx="4654">
                  <c:v>184.72222222222223</c:v>
                </c:pt>
                <c:pt idx="4655">
                  <c:v>181.13425925925927</c:v>
                </c:pt>
                <c:pt idx="4656">
                  <c:v>181.13425925925927</c:v>
                </c:pt>
                <c:pt idx="4657">
                  <c:v>181.13425925925927</c:v>
                </c:pt>
                <c:pt idx="4658">
                  <c:v>181.13425925925927</c:v>
                </c:pt>
                <c:pt idx="4659">
                  <c:v>181.13425925925927</c:v>
                </c:pt>
                <c:pt idx="4660">
                  <c:v>182.87037037037038</c:v>
                </c:pt>
                <c:pt idx="4661">
                  <c:v>182.87037037037038</c:v>
                </c:pt>
                <c:pt idx="4662">
                  <c:v>182.87037037037038</c:v>
                </c:pt>
                <c:pt idx="4663">
                  <c:v>182.87037037037038</c:v>
                </c:pt>
                <c:pt idx="4664">
                  <c:v>182.87037037037038</c:v>
                </c:pt>
                <c:pt idx="4665">
                  <c:v>187.55787037037038</c:v>
                </c:pt>
                <c:pt idx="4666">
                  <c:v>187.55787037037038</c:v>
                </c:pt>
                <c:pt idx="4667">
                  <c:v>187.55787037037038</c:v>
                </c:pt>
                <c:pt idx="4668">
                  <c:v>187.55787037037038</c:v>
                </c:pt>
                <c:pt idx="4669">
                  <c:v>187.55787037037038</c:v>
                </c:pt>
                <c:pt idx="4670">
                  <c:v>185.30092592592592</c:v>
                </c:pt>
                <c:pt idx="4671">
                  <c:v>185.30092592592592</c:v>
                </c:pt>
                <c:pt idx="4672">
                  <c:v>185.30092592592592</c:v>
                </c:pt>
                <c:pt idx="4673">
                  <c:v>185.30092592592592</c:v>
                </c:pt>
                <c:pt idx="4674">
                  <c:v>185.30092592592592</c:v>
                </c:pt>
                <c:pt idx="4675">
                  <c:v>183.68055555555557</c:v>
                </c:pt>
                <c:pt idx="4676">
                  <c:v>183.68055555555557</c:v>
                </c:pt>
                <c:pt idx="4677">
                  <c:v>183.68055555555557</c:v>
                </c:pt>
                <c:pt idx="4678">
                  <c:v>183.68055555555557</c:v>
                </c:pt>
                <c:pt idx="4679">
                  <c:v>183.68055555555557</c:v>
                </c:pt>
                <c:pt idx="4680">
                  <c:v>182.2337962962963</c:v>
                </c:pt>
                <c:pt idx="4681">
                  <c:v>182.2337962962963</c:v>
                </c:pt>
                <c:pt idx="4682">
                  <c:v>182.2337962962963</c:v>
                </c:pt>
                <c:pt idx="4683">
                  <c:v>182.2337962962963</c:v>
                </c:pt>
                <c:pt idx="4684">
                  <c:v>182.2337962962963</c:v>
                </c:pt>
                <c:pt idx="4685">
                  <c:v>182.11805555555554</c:v>
                </c:pt>
                <c:pt idx="4686">
                  <c:v>182.11805555555554</c:v>
                </c:pt>
                <c:pt idx="4687">
                  <c:v>182.11805555555554</c:v>
                </c:pt>
                <c:pt idx="4688">
                  <c:v>182.11805555555554</c:v>
                </c:pt>
                <c:pt idx="4689">
                  <c:v>182.11805555555554</c:v>
                </c:pt>
                <c:pt idx="4690">
                  <c:v>180.61342592592592</c:v>
                </c:pt>
                <c:pt idx="4691">
                  <c:v>180.61342592592592</c:v>
                </c:pt>
                <c:pt idx="4692">
                  <c:v>180.61342592592592</c:v>
                </c:pt>
                <c:pt idx="4693">
                  <c:v>180.61342592592592</c:v>
                </c:pt>
                <c:pt idx="4694">
                  <c:v>180.61342592592592</c:v>
                </c:pt>
                <c:pt idx="4695">
                  <c:v>179.86111111111111</c:v>
                </c:pt>
                <c:pt idx="4696">
                  <c:v>179.86111111111111</c:v>
                </c:pt>
                <c:pt idx="4697">
                  <c:v>179.86111111111111</c:v>
                </c:pt>
                <c:pt idx="4698">
                  <c:v>179.86111111111111</c:v>
                </c:pt>
                <c:pt idx="4699">
                  <c:v>179.86111111111111</c:v>
                </c:pt>
                <c:pt idx="4700">
                  <c:v>181.5972222222222</c:v>
                </c:pt>
                <c:pt idx="4701">
                  <c:v>181.5972222222222</c:v>
                </c:pt>
                <c:pt idx="4702">
                  <c:v>181.5972222222222</c:v>
                </c:pt>
                <c:pt idx="4703">
                  <c:v>181.5972222222222</c:v>
                </c:pt>
                <c:pt idx="4704">
                  <c:v>181.5972222222222</c:v>
                </c:pt>
                <c:pt idx="4705">
                  <c:v>181.42361111111109</c:v>
                </c:pt>
                <c:pt idx="4706">
                  <c:v>181.42361111111109</c:v>
                </c:pt>
                <c:pt idx="4707">
                  <c:v>181.42361111111109</c:v>
                </c:pt>
                <c:pt idx="4708">
                  <c:v>181.42361111111109</c:v>
                </c:pt>
                <c:pt idx="4709">
                  <c:v>181.42361111111109</c:v>
                </c:pt>
                <c:pt idx="4710">
                  <c:v>174.88425925925927</c:v>
                </c:pt>
                <c:pt idx="4711">
                  <c:v>174.88425925925927</c:v>
                </c:pt>
                <c:pt idx="4712">
                  <c:v>174.88425925925927</c:v>
                </c:pt>
                <c:pt idx="4713">
                  <c:v>174.88425925925927</c:v>
                </c:pt>
                <c:pt idx="4714">
                  <c:v>174.88425925925927</c:v>
                </c:pt>
                <c:pt idx="4715">
                  <c:v>170.60185185185185</c:v>
                </c:pt>
                <c:pt idx="4716">
                  <c:v>170.60185185185185</c:v>
                </c:pt>
                <c:pt idx="4717">
                  <c:v>170.60185185185185</c:v>
                </c:pt>
                <c:pt idx="4718">
                  <c:v>170.60185185185185</c:v>
                </c:pt>
                <c:pt idx="4719">
                  <c:v>170.60185185185185</c:v>
                </c:pt>
                <c:pt idx="4720">
                  <c:v>168.34490740740739</c:v>
                </c:pt>
                <c:pt idx="4721">
                  <c:v>168.34490740740739</c:v>
                </c:pt>
                <c:pt idx="4722">
                  <c:v>168.34490740740739</c:v>
                </c:pt>
                <c:pt idx="4723">
                  <c:v>168.34490740740739</c:v>
                </c:pt>
                <c:pt idx="4724">
                  <c:v>168.34490740740739</c:v>
                </c:pt>
                <c:pt idx="4725">
                  <c:v>166.31944444444443</c:v>
                </c:pt>
                <c:pt idx="4726">
                  <c:v>166.31944444444443</c:v>
                </c:pt>
                <c:pt idx="4727">
                  <c:v>166.31944444444443</c:v>
                </c:pt>
                <c:pt idx="4728">
                  <c:v>166.31944444444443</c:v>
                </c:pt>
                <c:pt idx="4729">
                  <c:v>166.31944444444443</c:v>
                </c:pt>
                <c:pt idx="4730">
                  <c:v>166.72453703703701</c:v>
                </c:pt>
                <c:pt idx="4731">
                  <c:v>166.72453703703701</c:v>
                </c:pt>
                <c:pt idx="4732">
                  <c:v>166.72453703703701</c:v>
                </c:pt>
                <c:pt idx="4733">
                  <c:v>166.72453703703701</c:v>
                </c:pt>
                <c:pt idx="4734">
                  <c:v>166.72453703703701</c:v>
                </c:pt>
                <c:pt idx="4735">
                  <c:v>164.0625</c:v>
                </c:pt>
                <c:pt idx="4736">
                  <c:v>164.0625</c:v>
                </c:pt>
                <c:pt idx="4737">
                  <c:v>164.0625</c:v>
                </c:pt>
                <c:pt idx="4738">
                  <c:v>164.0625</c:v>
                </c:pt>
                <c:pt idx="4739">
                  <c:v>164.0625</c:v>
                </c:pt>
                <c:pt idx="4740">
                  <c:v>164.0625</c:v>
                </c:pt>
                <c:pt idx="4741">
                  <c:v>164.0625</c:v>
                </c:pt>
                <c:pt idx="4742">
                  <c:v>164.0625</c:v>
                </c:pt>
                <c:pt idx="4743">
                  <c:v>164.0625</c:v>
                </c:pt>
                <c:pt idx="4744">
                  <c:v>164.0625</c:v>
                </c:pt>
                <c:pt idx="4745">
                  <c:v>164.81481481481481</c:v>
                </c:pt>
                <c:pt idx="4746">
                  <c:v>164.81481481481481</c:v>
                </c:pt>
                <c:pt idx="4747">
                  <c:v>164.81481481481481</c:v>
                </c:pt>
                <c:pt idx="4748">
                  <c:v>164.81481481481481</c:v>
                </c:pt>
                <c:pt idx="4749">
                  <c:v>164.81481481481481</c:v>
                </c:pt>
                <c:pt idx="4750">
                  <c:v>174.30555555555557</c:v>
                </c:pt>
                <c:pt idx="4751">
                  <c:v>174.30555555555557</c:v>
                </c:pt>
                <c:pt idx="4752">
                  <c:v>174.30555555555557</c:v>
                </c:pt>
                <c:pt idx="4753">
                  <c:v>174.30555555555557</c:v>
                </c:pt>
                <c:pt idx="4754">
                  <c:v>174.30555555555557</c:v>
                </c:pt>
                <c:pt idx="4755">
                  <c:v>170.08101851851853</c:v>
                </c:pt>
                <c:pt idx="4756">
                  <c:v>170.08101851851853</c:v>
                </c:pt>
                <c:pt idx="4757">
                  <c:v>170.08101851851853</c:v>
                </c:pt>
                <c:pt idx="4758">
                  <c:v>170.08101851851853</c:v>
                </c:pt>
                <c:pt idx="4759">
                  <c:v>170.08101851851853</c:v>
                </c:pt>
                <c:pt idx="4760">
                  <c:v>171.18055555555557</c:v>
                </c:pt>
                <c:pt idx="4761">
                  <c:v>171.18055555555557</c:v>
                </c:pt>
                <c:pt idx="4762">
                  <c:v>171.18055555555557</c:v>
                </c:pt>
                <c:pt idx="4763">
                  <c:v>171.18055555555557</c:v>
                </c:pt>
                <c:pt idx="4764">
                  <c:v>171.18055555555557</c:v>
                </c:pt>
                <c:pt idx="4765">
                  <c:v>167.99768518518519</c:v>
                </c:pt>
                <c:pt idx="4766">
                  <c:v>167.99768518518519</c:v>
                </c:pt>
                <c:pt idx="4767">
                  <c:v>167.99768518518519</c:v>
                </c:pt>
                <c:pt idx="4768">
                  <c:v>167.99768518518519</c:v>
                </c:pt>
                <c:pt idx="4769">
                  <c:v>167.99768518518519</c:v>
                </c:pt>
                <c:pt idx="4770">
                  <c:v>178.06712962962962</c:v>
                </c:pt>
                <c:pt idx="4771">
                  <c:v>178.06712962962962</c:v>
                </c:pt>
                <c:pt idx="4772">
                  <c:v>178.06712962962962</c:v>
                </c:pt>
                <c:pt idx="4773">
                  <c:v>178.06712962962962</c:v>
                </c:pt>
                <c:pt idx="4774">
                  <c:v>178.06712962962962</c:v>
                </c:pt>
                <c:pt idx="4775">
                  <c:v>171.81712962962962</c:v>
                </c:pt>
                <c:pt idx="4776">
                  <c:v>171.81712962962962</c:v>
                </c:pt>
                <c:pt idx="4777">
                  <c:v>171.81712962962962</c:v>
                </c:pt>
                <c:pt idx="4778">
                  <c:v>171.81712962962962</c:v>
                </c:pt>
                <c:pt idx="4779">
                  <c:v>171.81712962962962</c:v>
                </c:pt>
                <c:pt idx="4780">
                  <c:v>168.92361111111111</c:v>
                </c:pt>
                <c:pt idx="4781">
                  <c:v>168.92361111111111</c:v>
                </c:pt>
                <c:pt idx="4782">
                  <c:v>168.92361111111111</c:v>
                </c:pt>
                <c:pt idx="4783">
                  <c:v>168.92361111111111</c:v>
                </c:pt>
                <c:pt idx="4784">
                  <c:v>168.92361111111111</c:v>
                </c:pt>
                <c:pt idx="4785">
                  <c:v>167.7662037037037</c:v>
                </c:pt>
                <c:pt idx="4786">
                  <c:v>167.7662037037037</c:v>
                </c:pt>
                <c:pt idx="4787">
                  <c:v>167.7662037037037</c:v>
                </c:pt>
                <c:pt idx="4788">
                  <c:v>167.7662037037037</c:v>
                </c:pt>
                <c:pt idx="4789">
                  <c:v>167.7662037037037</c:v>
                </c:pt>
                <c:pt idx="4790">
                  <c:v>167.47685185185185</c:v>
                </c:pt>
                <c:pt idx="4791">
                  <c:v>167.47685185185185</c:v>
                </c:pt>
                <c:pt idx="4792">
                  <c:v>167.47685185185185</c:v>
                </c:pt>
                <c:pt idx="4793">
                  <c:v>167.47685185185185</c:v>
                </c:pt>
                <c:pt idx="4794">
                  <c:v>167.47685185185185</c:v>
                </c:pt>
                <c:pt idx="4795">
                  <c:v>176.15740740740742</c:v>
                </c:pt>
                <c:pt idx="4796">
                  <c:v>176.15740740740742</c:v>
                </c:pt>
                <c:pt idx="4797">
                  <c:v>176.15740740740742</c:v>
                </c:pt>
                <c:pt idx="4798">
                  <c:v>176.15740740740742</c:v>
                </c:pt>
                <c:pt idx="4799">
                  <c:v>176.15740740740742</c:v>
                </c:pt>
                <c:pt idx="4800">
                  <c:v>180.09259259259261</c:v>
                </c:pt>
                <c:pt idx="4801">
                  <c:v>180.09259259259261</c:v>
                </c:pt>
                <c:pt idx="4802">
                  <c:v>180.09259259259261</c:v>
                </c:pt>
                <c:pt idx="4803">
                  <c:v>180.09259259259261</c:v>
                </c:pt>
                <c:pt idx="4804">
                  <c:v>180.09259259259261</c:v>
                </c:pt>
                <c:pt idx="4805">
                  <c:v>181.94444444444446</c:v>
                </c:pt>
                <c:pt idx="4806">
                  <c:v>181.94444444444446</c:v>
                </c:pt>
                <c:pt idx="4807">
                  <c:v>181.94444444444446</c:v>
                </c:pt>
                <c:pt idx="4808">
                  <c:v>181.94444444444446</c:v>
                </c:pt>
                <c:pt idx="4809">
                  <c:v>181.94444444444446</c:v>
                </c:pt>
                <c:pt idx="4810">
                  <c:v>177.7777777777778</c:v>
                </c:pt>
                <c:pt idx="4811">
                  <c:v>177.7777777777778</c:v>
                </c:pt>
                <c:pt idx="4812">
                  <c:v>177.7777777777778</c:v>
                </c:pt>
                <c:pt idx="4813">
                  <c:v>177.7777777777778</c:v>
                </c:pt>
                <c:pt idx="4814">
                  <c:v>177.7777777777778</c:v>
                </c:pt>
                <c:pt idx="4815">
                  <c:v>179.51388888888889</c:v>
                </c:pt>
                <c:pt idx="4816">
                  <c:v>179.51388888888889</c:v>
                </c:pt>
                <c:pt idx="4817">
                  <c:v>179.51388888888889</c:v>
                </c:pt>
                <c:pt idx="4818">
                  <c:v>179.51388888888889</c:v>
                </c:pt>
                <c:pt idx="4819">
                  <c:v>179.51388888888889</c:v>
                </c:pt>
                <c:pt idx="4820">
                  <c:v>177.25694444444446</c:v>
                </c:pt>
                <c:pt idx="4821">
                  <c:v>177.25694444444446</c:v>
                </c:pt>
                <c:pt idx="4822">
                  <c:v>177.25694444444446</c:v>
                </c:pt>
                <c:pt idx="4823">
                  <c:v>177.25694444444446</c:v>
                </c:pt>
                <c:pt idx="4824">
                  <c:v>177.25694444444446</c:v>
                </c:pt>
                <c:pt idx="4825">
                  <c:v>180.90277777777777</c:v>
                </c:pt>
                <c:pt idx="4826">
                  <c:v>180.90277777777777</c:v>
                </c:pt>
                <c:pt idx="4827">
                  <c:v>180.90277777777777</c:v>
                </c:pt>
                <c:pt idx="4828">
                  <c:v>180.90277777777777</c:v>
                </c:pt>
                <c:pt idx="4829">
                  <c:v>180.90277777777777</c:v>
                </c:pt>
                <c:pt idx="4830">
                  <c:v>179.1087962962963</c:v>
                </c:pt>
                <c:pt idx="4831">
                  <c:v>179.1087962962963</c:v>
                </c:pt>
                <c:pt idx="4832">
                  <c:v>179.1087962962963</c:v>
                </c:pt>
                <c:pt idx="4833">
                  <c:v>179.1087962962963</c:v>
                </c:pt>
                <c:pt idx="4834">
                  <c:v>179.1087962962963</c:v>
                </c:pt>
                <c:pt idx="4835">
                  <c:v>185.59027777777777</c:v>
                </c:pt>
                <c:pt idx="4836">
                  <c:v>185.59027777777777</c:v>
                </c:pt>
                <c:pt idx="4837">
                  <c:v>185.59027777777777</c:v>
                </c:pt>
                <c:pt idx="4838">
                  <c:v>185.59027777777777</c:v>
                </c:pt>
                <c:pt idx="4839">
                  <c:v>185.59027777777777</c:v>
                </c:pt>
                <c:pt idx="4840">
                  <c:v>186.34259259259261</c:v>
                </c:pt>
                <c:pt idx="4841">
                  <c:v>186.34259259259261</c:v>
                </c:pt>
                <c:pt idx="4842">
                  <c:v>186.34259259259261</c:v>
                </c:pt>
                <c:pt idx="4843">
                  <c:v>186.34259259259261</c:v>
                </c:pt>
                <c:pt idx="4844">
                  <c:v>186.34259259259261</c:v>
                </c:pt>
                <c:pt idx="4845">
                  <c:v>185.01157407407408</c:v>
                </c:pt>
                <c:pt idx="4846">
                  <c:v>185.01157407407408</c:v>
                </c:pt>
                <c:pt idx="4847">
                  <c:v>185.01157407407408</c:v>
                </c:pt>
                <c:pt idx="4848">
                  <c:v>185.01157407407408</c:v>
                </c:pt>
                <c:pt idx="4849">
                  <c:v>185.01157407407408</c:v>
                </c:pt>
                <c:pt idx="4850">
                  <c:v>187.96296296296299</c:v>
                </c:pt>
                <c:pt idx="4851">
                  <c:v>187.96296296296299</c:v>
                </c:pt>
                <c:pt idx="4852">
                  <c:v>187.96296296296299</c:v>
                </c:pt>
                <c:pt idx="4853">
                  <c:v>187.96296296296299</c:v>
                </c:pt>
                <c:pt idx="4854">
                  <c:v>187.96296296296299</c:v>
                </c:pt>
                <c:pt idx="4855">
                  <c:v>185.9375</c:v>
                </c:pt>
                <c:pt idx="4856">
                  <c:v>185.9375</c:v>
                </c:pt>
                <c:pt idx="4857">
                  <c:v>185.9375</c:v>
                </c:pt>
                <c:pt idx="4858">
                  <c:v>185.9375</c:v>
                </c:pt>
                <c:pt idx="4859">
                  <c:v>185.9375</c:v>
                </c:pt>
                <c:pt idx="4860">
                  <c:v>186.5162037037037</c:v>
                </c:pt>
                <c:pt idx="4861">
                  <c:v>186.5162037037037</c:v>
                </c:pt>
                <c:pt idx="4862">
                  <c:v>186.5162037037037</c:v>
                </c:pt>
                <c:pt idx="4863">
                  <c:v>186.5162037037037</c:v>
                </c:pt>
                <c:pt idx="4864">
                  <c:v>186.5162037037037</c:v>
                </c:pt>
                <c:pt idx="4865">
                  <c:v>186.40046296296299</c:v>
                </c:pt>
                <c:pt idx="4866">
                  <c:v>186.40046296296299</c:v>
                </c:pt>
                <c:pt idx="4867">
                  <c:v>186.40046296296299</c:v>
                </c:pt>
                <c:pt idx="4868">
                  <c:v>186.40046296296299</c:v>
                </c:pt>
                <c:pt idx="4869">
                  <c:v>186.40046296296299</c:v>
                </c:pt>
                <c:pt idx="4870">
                  <c:v>188.25231481481481</c:v>
                </c:pt>
                <c:pt idx="4871">
                  <c:v>188.25231481481481</c:v>
                </c:pt>
                <c:pt idx="4872">
                  <c:v>188.25231481481481</c:v>
                </c:pt>
                <c:pt idx="4873">
                  <c:v>188.25231481481481</c:v>
                </c:pt>
                <c:pt idx="4874">
                  <c:v>188.25231481481481</c:v>
                </c:pt>
                <c:pt idx="4875">
                  <c:v>189.23611111111111</c:v>
                </c:pt>
                <c:pt idx="4876">
                  <c:v>189.23611111111111</c:v>
                </c:pt>
                <c:pt idx="4877">
                  <c:v>189.23611111111111</c:v>
                </c:pt>
                <c:pt idx="4878">
                  <c:v>189.23611111111111</c:v>
                </c:pt>
                <c:pt idx="4879">
                  <c:v>189.23611111111111</c:v>
                </c:pt>
                <c:pt idx="4880">
                  <c:v>194.61805555555557</c:v>
                </c:pt>
                <c:pt idx="4881">
                  <c:v>194.61805555555557</c:v>
                </c:pt>
                <c:pt idx="4882">
                  <c:v>194.61805555555557</c:v>
                </c:pt>
                <c:pt idx="4883">
                  <c:v>194.61805555555557</c:v>
                </c:pt>
                <c:pt idx="4884">
                  <c:v>194.61805555555557</c:v>
                </c:pt>
                <c:pt idx="4885">
                  <c:v>195.48611111111111</c:v>
                </c:pt>
                <c:pt idx="4886">
                  <c:v>195.48611111111111</c:v>
                </c:pt>
                <c:pt idx="4887">
                  <c:v>195.48611111111111</c:v>
                </c:pt>
                <c:pt idx="4888">
                  <c:v>195.48611111111111</c:v>
                </c:pt>
                <c:pt idx="4889">
                  <c:v>195.48611111111111</c:v>
                </c:pt>
                <c:pt idx="4890">
                  <c:v>192.36111111111109</c:v>
                </c:pt>
                <c:pt idx="4891">
                  <c:v>192.36111111111109</c:v>
                </c:pt>
                <c:pt idx="4892">
                  <c:v>192.36111111111109</c:v>
                </c:pt>
                <c:pt idx="4893">
                  <c:v>192.36111111111109</c:v>
                </c:pt>
                <c:pt idx="4894">
                  <c:v>192.36111111111109</c:v>
                </c:pt>
                <c:pt idx="4895">
                  <c:v>194.21296296296296</c:v>
                </c:pt>
                <c:pt idx="4896">
                  <c:v>194.21296296296296</c:v>
                </c:pt>
                <c:pt idx="4897">
                  <c:v>194.21296296296296</c:v>
                </c:pt>
                <c:pt idx="4898">
                  <c:v>194.21296296296296</c:v>
                </c:pt>
                <c:pt idx="4899">
                  <c:v>194.21296296296296</c:v>
                </c:pt>
                <c:pt idx="4900">
                  <c:v>193.80787037037038</c:v>
                </c:pt>
                <c:pt idx="4901">
                  <c:v>193.80787037037038</c:v>
                </c:pt>
                <c:pt idx="4902">
                  <c:v>193.80787037037038</c:v>
                </c:pt>
                <c:pt idx="4903">
                  <c:v>193.80787037037038</c:v>
                </c:pt>
                <c:pt idx="4904">
                  <c:v>193.80787037037038</c:v>
                </c:pt>
                <c:pt idx="4905">
                  <c:v>196.00694444444443</c:v>
                </c:pt>
                <c:pt idx="4906">
                  <c:v>196.00694444444443</c:v>
                </c:pt>
                <c:pt idx="4907">
                  <c:v>196.00694444444443</c:v>
                </c:pt>
                <c:pt idx="4908">
                  <c:v>196.00694444444443</c:v>
                </c:pt>
                <c:pt idx="4909">
                  <c:v>196.00694444444443</c:v>
                </c:pt>
                <c:pt idx="4910">
                  <c:v>194.32870370370372</c:v>
                </c:pt>
                <c:pt idx="4911">
                  <c:v>194.32870370370372</c:v>
                </c:pt>
                <c:pt idx="4912">
                  <c:v>194.32870370370372</c:v>
                </c:pt>
                <c:pt idx="4913">
                  <c:v>194.32870370370372</c:v>
                </c:pt>
                <c:pt idx="4914">
                  <c:v>194.32870370370372</c:v>
                </c:pt>
                <c:pt idx="4915">
                  <c:v>194.44444444444443</c:v>
                </c:pt>
                <c:pt idx="4916">
                  <c:v>194.44444444444443</c:v>
                </c:pt>
                <c:pt idx="4917">
                  <c:v>194.44444444444443</c:v>
                </c:pt>
                <c:pt idx="4918">
                  <c:v>194.44444444444443</c:v>
                </c:pt>
                <c:pt idx="4919">
                  <c:v>194.44444444444443</c:v>
                </c:pt>
                <c:pt idx="4920">
                  <c:v>193.5185185185185</c:v>
                </c:pt>
                <c:pt idx="4921">
                  <c:v>193.5185185185185</c:v>
                </c:pt>
                <c:pt idx="4922">
                  <c:v>193.5185185185185</c:v>
                </c:pt>
                <c:pt idx="4923">
                  <c:v>193.5185185185185</c:v>
                </c:pt>
                <c:pt idx="4924">
                  <c:v>193.5185185185185</c:v>
                </c:pt>
                <c:pt idx="4925">
                  <c:v>186.5162037037037</c:v>
                </c:pt>
                <c:pt idx="4926">
                  <c:v>186.5162037037037</c:v>
                </c:pt>
                <c:pt idx="4927">
                  <c:v>186.5162037037037</c:v>
                </c:pt>
                <c:pt idx="4928">
                  <c:v>186.5162037037037</c:v>
                </c:pt>
                <c:pt idx="4929">
                  <c:v>186.5162037037037</c:v>
                </c:pt>
                <c:pt idx="4930">
                  <c:v>186.5162037037037</c:v>
                </c:pt>
                <c:pt idx="4931">
                  <c:v>186.5162037037037</c:v>
                </c:pt>
                <c:pt idx="4932">
                  <c:v>186.5162037037037</c:v>
                </c:pt>
                <c:pt idx="4933">
                  <c:v>186.5162037037037</c:v>
                </c:pt>
                <c:pt idx="4934">
                  <c:v>186.5162037037037</c:v>
                </c:pt>
                <c:pt idx="4935">
                  <c:v>185.30092592592592</c:v>
                </c:pt>
                <c:pt idx="4936">
                  <c:v>185.30092592592592</c:v>
                </c:pt>
                <c:pt idx="4937">
                  <c:v>185.30092592592592</c:v>
                </c:pt>
                <c:pt idx="4938">
                  <c:v>185.30092592592592</c:v>
                </c:pt>
                <c:pt idx="4939">
                  <c:v>185.30092592592592</c:v>
                </c:pt>
                <c:pt idx="4940">
                  <c:v>182.2337962962963</c:v>
                </c:pt>
                <c:pt idx="4941">
                  <c:v>182.2337962962963</c:v>
                </c:pt>
                <c:pt idx="4942">
                  <c:v>182.2337962962963</c:v>
                </c:pt>
                <c:pt idx="4943">
                  <c:v>182.2337962962963</c:v>
                </c:pt>
                <c:pt idx="4944">
                  <c:v>182.2337962962963</c:v>
                </c:pt>
                <c:pt idx="4945">
                  <c:v>188.4837962962963</c:v>
                </c:pt>
                <c:pt idx="4946">
                  <c:v>188.4837962962963</c:v>
                </c:pt>
                <c:pt idx="4947">
                  <c:v>188.4837962962963</c:v>
                </c:pt>
                <c:pt idx="4948">
                  <c:v>188.4837962962963</c:v>
                </c:pt>
                <c:pt idx="4949">
                  <c:v>188.4837962962963</c:v>
                </c:pt>
                <c:pt idx="4950">
                  <c:v>187.21064814814815</c:v>
                </c:pt>
                <c:pt idx="4951">
                  <c:v>187.21064814814815</c:v>
                </c:pt>
                <c:pt idx="4952">
                  <c:v>187.21064814814815</c:v>
                </c:pt>
                <c:pt idx="4953">
                  <c:v>187.21064814814815</c:v>
                </c:pt>
                <c:pt idx="4954">
                  <c:v>187.21064814814815</c:v>
                </c:pt>
                <c:pt idx="4955">
                  <c:v>188.25231481481481</c:v>
                </c:pt>
                <c:pt idx="4956">
                  <c:v>188.25231481481481</c:v>
                </c:pt>
                <c:pt idx="4957">
                  <c:v>188.25231481481481</c:v>
                </c:pt>
                <c:pt idx="4958">
                  <c:v>188.25231481481481</c:v>
                </c:pt>
                <c:pt idx="4959">
                  <c:v>188.25231481481481</c:v>
                </c:pt>
                <c:pt idx="4960">
                  <c:v>185.24305555555557</c:v>
                </c:pt>
                <c:pt idx="4961">
                  <c:v>185.24305555555557</c:v>
                </c:pt>
                <c:pt idx="4962">
                  <c:v>185.24305555555557</c:v>
                </c:pt>
                <c:pt idx="4963">
                  <c:v>185.24305555555557</c:v>
                </c:pt>
                <c:pt idx="4964">
                  <c:v>185.24305555555557</c:v>
                </c:pt>
                <c:pt idx="4965">
                  <c:v>184.08564814814815</c:v>
                </c:pt>
                <c:pt idx="4966">
                  <c:v>184.08564814814815</c:v>
                </c:pt>
                <c:pt idx="4967">
                  <c:v>184.08564814814815</c:v>
                </c:pt>
                <c:pt idx="4968">
                  <c:v>184.08564814814815</c:v>
                </c:pt>
                <c:pt idx="4969">
                  <c:v>184.08564814814815</c:v>
                </c:pt>
                <c:pt idx="4970">
                  <c:v>187.21064814814815</c:v>
                </c:pt>
                <c:pt idx="4971">
                  <c:v>187.21064814814815</c:v>
                </c:pt>
                <c:pt idx="4972">
                  <c:v>187.21064814814815</c:v>
                </c:pt>
                <c:pt idx="4973">
                  <c:v>187.21064814814815</c:v>
                </c:pt>
                <c:pt idx="4974">
                  <c:v>187.21064814814815</c:v>
                </c:pt>
                <c:pt idx="4975">
                  <c:v>187.44212962962962</c:v>
                </c:pt>
                <c:pt idx="4976">
                  <c:v>187.44212962962962</c:v>
                </c:pt>
                <c:pt idx="4977">
                  <c:v>187.44212962962962</c:v>
                </c:pt>
                <c:pt idx="4978">
                  <c:v>187.44212962962962</c:v>
                </c:pt>
                <c:pt idx="4979">
                  <c:v>187.44212962962962</c:v>
                </c:pt>
                <c:pt idx="4980">
                  <c:v>188.0787037037037</c:v>
                </c:pt>
                <c:pt idx="4981">
                  <c:v>188.0787037037037</c:v>
                </c:pt>
                <c:pt idx="4982">
                  <c:v>188.0787037037037</c:v>
                </c:pt>
                <c:pt idx="4983">
                  <c:v>188.0787037037037</c:v>
                </c:pt>
                <c:pt idx="4984">
                  <c:v>188.0787037037037</c:v>
                </c:pt>
                <c:pt idx="4985">
                  <c:v>187.55787037037038</c:v>
                </c:pt>
                <c:pt idx="4986">
                  <c:v>187.55787037037038</c:v>
                </c:pt>
                <c:pt idx="4987">
                  <c:v>187.55787037037038</c:v>
                </c:pt>
                <c:pt idx="4988">
                  <c:v>187.55787037037038</c:v>
                </c:pt>
                <c:pt idx="4989">
                  <c:v>187.55787037037038</c:v>
                </c:pt>
                <c:pt idx="4990">
                  <c:v>195.0810185185185</c:v>
                </c:pt>
                <c:pt idx="4991">
                  <c:v>195.0810185185185</c:v>
                </c:pt>
                <c:pt idx="4992">
                  <c:v>195.0810185185185</c:v>
                </c:pt>
                <c:pt idx="4993">
                  <c:v>195.0810185185185</c:v>
                </c:pt>
                <c:pt idx="4994">
                  <c:v>195.0810185185185</c:v>
                </c:pt>
                <c:pt idx="4995">
                  <c:v>195.02314814814815</c:v>
                </c:pt>
                <c:pt idx="4996">
                  <c:v>195.02314814814815</c:v>
                </c:pt>
                <c:pt idx="4997">
                  <c:v>195.02314814814815</c:v>
                </c:pt>
                <c:pt idx="4998">
                  <c:v>195.02314814814815</c:v>
                </c:pt>
                <c:pt idx="4999">
                  <c:v>195.02314814814815</c:v>
                </c:pt>
                <c:pt idx="5000">
                  <c:v>196.875</c:v>
                </c:pt>
                <c:pt idx="5001">
                  <c:v>196.875</c:v>
                </c:pt>
                <c:pt idx="5002">
                  <c:v>196.875</c:v>
                </c:pt>
                <c:pt idx="5003">
                  <c:v>196.875</c:v>
                </c:pt>
                <c:pt idx="5004">
                  <c:v>196.875</c:v>
                </c:pt>
                <c:pt idx="5005">
                  <c:v>195.02314814814815</c:v>
                </c:pt>
                <c:pt idx="5006">
                  <c:v>195.02314814814815</c:v>
                </c:pt>
                <c:pt idx="5007">
                  <c:v>195.02314814814815</c:v>
                </c:pt>
                <c:pt idx="5008">
                  <c:v>195.02314814814815</c:v>
                </c:pt>
                <c:pt idx="5009">
                  <c:v>195.02314814814815</c:v>
                </c:pt>
                <c:pt idx="5010">
                  <c:v>201.04166666666669</c:v>
                </c:pt>
                <c:pt idx="5011">
                  <c:v>201.04166666666669</c:v>
                </c:pt>
                <c:pt idx="5012">
                  <c:v>201.04166666666669</c:v>
                </c:pt>
                <c:pt idx="5013">
                  <c:v>201.04166666666669</c:v>
                </c:pt>
                <c:pt idx="5014">
                  <c:v>201.04166666666669</c:v>
                </c:pt>
                <c:pt idx="5015">
                  <c:v>202.54629629629628</c:v>
                </c:pt>
                <c:pt idx="5016">
                  <c:v>202.54629629629628</c:v>
                </c:pt>
                <c:pt idx="5017">
                  <c:v>202.54629629629628</c:v>
                </c:pt>
                <c:pt idx="5018">
                  <c:v>202.54629629629628</c:v>
                </c:pt>
                <c:pt idx="5019">
                  <c:v>202.54629629629628</c:v>
                </c:pt>
                <c:pt idx="5020">
                  <c:v>202.60416666666666</c:v>
                </c:pt>
                <c:pt idx="5021">
                  <c:v>202.60416666666666</c:v>
                </c:pt>
                <c:pt idx="5022">
                  <c:v>202.60416666666666</c:v>
                </c:pt>
                <c:pt idx="5023">
                  <c:v>202.60416666666666</c:v>
                </c:pt>
                <c:pt idx="5024">
                  <c:v>202.60416666666666</c:v>
                </c:pt>
                <c:pt idx="5025">
                  <c:v>200.98379629629628</c:v>
                </c:pt>
                <c:pt idx="5026">
                  <c:v>200.98379629629628</c:v>
                </c:pt>
                <c:pt idx="5027">
                  <c:v>200.98379629629628</c:v>
                </c:pt>
                <c:pt idx="5028">
                  <c:v>200.98379629629628</c:v>
                </c:pt>
                <c:pt idx="5029">
                  <c:v>200.98379629629628</c:v>
                </c:pt>
                <c:pt idx="5030">
                  <c:v>208.44907407407405</c:v>
                </c:pt>
                <c:pt idx="5031">
                  <c:v>208.44907407407405</c:v>
                </c:pt>
                <c:pt idx="5032">
                  <c:v>208.44907407407405</c:v>
                </c:pt>
                <c:pt idx="5033">
                  <c:v>208.44907407407405</c:v>
                </c:pt>
                <c:pt idx="5034">
                  <c:v>208.44907407407405</c:v>
                </c:pt>
                <c:pt idx="5035">
                  <c:v>210.35879629629628</c:v>
                </c:pt>
                <c:pt idx="5036">
                  <c:v>210.35879629629628</c:v>
                </c:pt>
                <c:pt idx="5037">
                  <c:v>210.35879629629628</c:v>
                </c:pt>
                <c:pt idx="5038">
                  <c:v>210.35879629629628</c:v>
                </c:pt>
                <c:pt idx="5039">
                  <c:v>210.35879629629628</c:v>
                </c:pt>
                <c:pt idx="5040">
                  <c:v>209.1435185185185</c:v>
                </c:pt>
                <c:pt idx="5041">
                  <c:v>209.1435185185185</c:v>
                </c:pt>
                <c:pt idx="5042">
                  <c:v>209.1435185185185</c:v>
                </c:pt>
                <c:pt idx="5043">
                  <c:v>209.1435185185185</c:v>
                </c:pt>
                <c:pt idx="5044">
                  <c:v>209.1435185185185</c:v>
                </c:pt>
                <c:pt idx="5045">
                  <c:v>209.78009259259261</c:v>
                </c:pt>
                <c:pt idx="5046">
                  <c:v>209.78009259259261</c:v>
                </c:pt>
                <c:pt idx="5047">
                  <c:v>209.78009259259261</c:v>
                </c:pt>
                <c:pt idx="5048">
                  <c:v>209.78009259259261</c:v>
                </c:pt>
                <c:pt idx="5049">
                  <c:v>209.78009259259261</c:v>
                </c:pt>
                <c:pt idx="5050">
                  <c:v>208.62268518518522</c:v>
                </c:pt>
                <c:pt idx="5051">
                  <c:v>208.62268518518522</c:v>
                </c:pt>
                <c:pt idx="5052">
                  <c:v>208.62268518518522</c:v>
                </c:pt>
                <c:pt idx="5053">
                  <c:v>208.62268518518522</c:v>
                </c:pt>
                <c:pt idx="5054">
                  <c:v>208.62268518518522</c:v>
                </c:pt>
                <c:pt idx="5055">
                  <c:v>214.81481481481484</c:v>
                </c:pt>
                <c:pt idx="5056">
                  <c:v>214.81481481481484</c:v>
                </c:pt>
                <c:pt idx="5057">
                  <c:v>214.81481481481484</c:v>
                </c:pt>
                <c:pt idx="5058">
                  <c:v>214.81481481481484</c:v>
                </c:pt>
                <c:pt idx="5059">
                  <c:v>214.81481481481484</c:v>
                </c:pt>
                <c:pt idx="5060">
                  <c:v>214.35185185185185</c:v>
                </c:pt>
                <c:pt idx="5061">
                  <c:v>214.35185185185185</c:v>
                </c:pt>
                <c:pt idx="5062">
                  <c:v>214.35185185185185</c:v>
                </c:pt>
                <c:pt idx="5063">
                  <c:v>214.35185185185185</c:v>
                </c:pt>
                <c:pt idx="5064">
                  <c:v>214.35185185185185</c:v>
                </c:pt>
                <c:pt idx="5065">
                  <c:v>214.6990740740741</c:v>
                </c:pt>
                <c:pt idx="5066">
                  <c:v>214.6990740740741</c:v>
                </c:pt>
                <c:pt idx="5067">
                  <c:v>214.6990740740741</c:v>
                </c:pt>
                <c:pt idx="5068">
                  <c:v>214.6990740740741</c:v>
                </c:pt>
                <c:pt idx="5069">
                  <c:v>214.6990740740741</c:v>
                </c:pt>
                <c:pt idx="5070">
                  <c:v>215.33564814814815</c:v>
                </c:pt>
                <c:pt idx="5071">
                  <c:v>215.33564814814815</c:v>
                </c:pt>
                <c:pt idx="5072">
                  <c:v>215.33564814814815</c:v>
                </c:pt>
                <c:pt idx="5073">
                  <c:v>215.33564814814815</c:v>
                </c:pt>
                <c:pt idx="5074">
                  <c:v>215.33564814814815</c:v>
                </c:pt>
                <c:pt idx="5075">
                  <c:v>221.70138888888889</c:v>
                </c:pt>
                <c:pt idx="5076">
                  <c:v>221.70138888888889</c:v>
                </c:pt>
                <c:pt idx="5077">
                  <c:v>221.70138888888889</c:v>
                </c:pt>
                <c:pt idx="5078">
                  <c:v>221.70138888888889</c:v>
                </c:pt>
                <c:pt idx="5079">
                  <c:v>221.70138888888889</c:v>
                </c:pt>
                <c:pt idx="5080">
                  <c:v>220.83333333333334</c:v>
                </c:pt>
                <c:pt idx="5081">
                  <c:v>220.83333333333334</c:v>
                </c:pt>
                <c:pt idx="5082">
                  <c:v>220.83333333333334</c:v>
                </c:pt>
                <c:pt idx="5083">
                  <c:v>220.83333333333334</c:v>
                </c:pt>
                <c:pt idx="5084">
                  <c:v>220.83333333333334</c:v>
                </c:pt>
                <c:pt idx="5085">
                  <c:v>220.60185185185185</c:v>
                </c:pt>
                <c:pt idx="5086">
                  <c:v>220.60185185185185</c:v>
                </c:pt>
                <c:pt idx="5087">
                  <c:v>220.60185185185185</c:v>
                </c:pt>
                <c:pt idx="5088">
                  <c:v>220.60185185185185</c:v>
                </c:pt>
                <c:pt idx="5089">
                  <c:v>220.60185185185185</c:v>
                </c:pt>
                <c:pt idx="5090">
                  <c:v>220.02314814814815</c:v>
                </c:pt>
                <c:pt idx="5091">
                  <c:v>220.02314814814815</c:v>
                </c:pt>
                <c:pt idx="5092">
                  <c:v>220.02314814814815</c:v>
                </c:pt>
                <c:pt idx="5093">
                  <c:v>220.02314814814815</c:v>
                </c:pt>
                <c:pt idx="5094">
                  <c:v>220.02314814814815</c:v>
                </c:pt>
                <c:pt idx="5095">
                  <c:v>219.21296296296299</c:v>
                </c:pt>
                <c:pt idx="5096">
                  <c:v>219.21296296296299</c:v>
                </c:pt>
                <c:pt idx="5097">
                  <c:v>219.21296296296299</c:v>
                </c:pt>
                <c:pt idx="5098">
                  <c:v>219.21296296296299</c:v>
                </c:pt>
                <c:pt idx="5099">
                  <c:v>219.21296296296299</c:v>
                </c:pt>
                <c:pt idx="5100">
                  <c:v>223.37962962962962</c:v>
                </c:pt>
                <c:pt idx="5101">
                  <c:v>223.37962962962962</c:v>
                </c:pt>
                <c:pt idx="5102">
                  <c:v>223.37962962962962</c:v>
                </c:pt>
                <c:pt idx="5103">
                  <c:v>223.37962962962962</c:v>
                </c:pt>
                <c:pt idx="5104">
                  <c:v>223.37962962962962</c:v>
                </c:pt>
                <c:pt idx="5105">
                  <c:v>223.6689814814815</c:v>
                </c:pt>
                <c:pt idx="5106">
                  <c:v>223.6689814814815</c:v>
                </c:pt>
                <c:pt idx="5107">
                  <c:v>223.6689814814815</c:v>
                </c:pt>
                <c:pt idx="5108">
                  <c:v>223.6689814814815</c:v>
                </c:pt>
                <c:pt idx="5109">
                  <c:v>223.6689814814815</c:v>
                </c:pt>
                <c:pt idx="5110">
                  <c:v>222.39583333333334</c:v>
                </c:pt>
                <c:pt idx="5111">
                  <c:v>222.39583333333334</c:v>
                </c:pt>
                <c:pt idx="5112">
                  <c:v>222.39583333333334</c:v>
                </c:pt>
                <c:pt idx="5113">
                  <c:v>222.39583333333334</c:v>
                </c:pt>
                <c:pt idx="5114">
                  <c:v>222.39583333333334</c:v>
                </c:pt>
                <c:pt idx="5115">
                  <c:v>220.3125</c:v>
                </c:pt>
                <c:pt idx="5116">
                  <c:v>220.3125</c:v>
                </c:pt>
                <c:pt idx="5117">
                  <c:v>220.3125</c:v>
                </c:pt>
                <c:pt idx="5118">
                  <c:v>220.3125</c:v>
                </c:pt>
                <c:pt idx="5119">
                  <c:v>220.3125</c:v>
                </c:pt>
                <c:pt idx="5120">
                  <c:v>222.97453703703707</c:v>
                </c:pt>
                <c:pt idx="5121">
                  <c:v>222.97453703703707</c:v>
                </c:pt>
                <c:pt idx="5122">
                  <c:v>222.97453703703707</c:v>
                </c:pt>
                <c:pt idx="5123">
                  <c:v>222.97453703703707</c:v>
                </c:pt>
                <c:pt idx="5124">
                  <c:v>222.97453703703707</c:v>
                </c:pt>
                <c:pt idx="5125">
                  <c:v>220.19675925925927</c:v>
                </c:pt>
                <c:pt idx="5126">
                  <c:v>220.19675925925927</c:v>
                </c:pt>
                <c:pt idx="5127">
                  <c:v>220.19675925925927</c:v>
                </c:pt>
                <c:pt idx="5128">
                  <c:v>220.19675925925927</c:v>
                </c:pt>
                <c:pt idx="5129">
                  <c:v>220.19675925925927</c:v>
                </c:pt>
                <c:pt idx="5130">
                  <c:v>219.32870370370372</c:v>
                </c:pt>
                <c:pt idx="5131">
                  <c:v>219.32870370370372</c:v>
                </c:pt>
                <c:pt idx="5132">
                  <c:v>219.32870370370372</c:v>
                </c:pt>
                <c:pt idx="5133">
                  <c:v>219.32870370370372</c:v>
                </c:pt>
                <c:pt idx="5134">
                  <c:v>219.32870370370372</c:v>
                </c:pt>
                <c:pt idx="5135">
                  <c:v>217.53472222222223</c:v>
                </c:pt>
                <c:pt idx="5136">
                  <c:v>217.53472222222223</c:v>
                </c:pt>
                <c:pt idx="5137">
                  <c:v>217.53472222222223</c:v>
                </c:pt>
                <c:pt idx="5138">
                  <c:v>217.53472222222223</c:v>
                </c:pt>
                <c:pt idx="5139">
                  <c:v>217.53472222222223</c:v>
                </c:pt>
                <c:pt idx="5140">
                  <c:v>220.77546296296299</c:v>
                </c:pt>
                <c:pt idx="5141">
                  <c:v>220.77546296296299</c:v>
                </c:pt>
                <c:pt idx="5142">
                  <c:v>220.77546296296299</c:v>
                </c:pt>
                <c:pt idx="5143">
                  <c:v>220.77546296296299</c:v>
                </c:pt>
                <c:pt idx="5144">
                  <c:v>220.77546296296299</c:v>
                </c:pt>
                <c:pt idx="5145">
                  <c:v>222.56944444444446</c:v>
                </c:pt>
                <c:pt idx="5146">
                  <c:v>222.56944444444446</c:v>
                </c:pt>
                <c:pt idx="5147">
                  <c:v>222.56944444444446</c:v>
                </c:pt>
                <c:pt idx="5148">
                  <c:v>222.56944444444446</c:v>
                </c:pt>
                <c:pt idx="5149">
                  <c:v>222.56944444444446</c:v>
                </c:pt>
                <c:pt idx="5150">
                  <c:v>224.01620370370372</c:v>
                </c:pt>
                <c:pt idx="5151">
                  <c:v>224.01620370370372</c:v>
                </c:pt>
                <c:pt idx="5152">
                  <c:v>224.01620370370372</c:v>
                </c:pt>
                <c:pt idx="5153">
                  <c:v>224.01620370370372</c:v>
                </c:pt>
                <c:pt idx="5154">
                  <c:v>224.01620370370372</c:v>
                </c:pt>
                <c:pt idx="5155">
                  <c:v>224.53703703703701</c:v>
                </c:pt>
                <c:pt idx="5156">
                  <c:v>224.53703703703701</c:v>
                </c:pt>
                <c:pt idx="5157">
                  <c:v>224.53703703703701</c:v>
                </c:pt>
                <c:pt idx="5158">
                  <c:v>224.53703703703701</c:v>
                </c:pt>
                <c:pt idx="5159">
                  <c:v>224.53703703703701</c:v>
                </c:pt>
                <c:pt idx="5160">
                  <c:v>223.37962962962962</c:v>
                </c:pt>
                <c:pt idx="5161">
                  <c:v>223.37962962962962</c:v>
                </c:pt>
                <c:pt idx="5162">
                  <c:v>223.37962962962962</c:v>
                </c:pt>
                <c:pt idx="5163">
                  <c:v>223.37962962962962</c:v>
                </c:pt>
                <c:pt idx="5164">
                  <c:v>223.37962962962962</c:v>
                </c:pt>
                <c:pt idx="5165">
                  <c:v>221.93287037037038</c:v>
                </c:pt>
                <c:pt idx="5166">
                  <c:v>221.93287037037038</c:v>
                </c:pt>
                <c:pt idx="5167">
                  <c:v>221.93287037037038</c:v>
                </c:pt>
                <c:pt idx="5168">
                  <c:v>221.93287037037038</c:v>
                </c:pt>
                <c:pt idx="5169">
                  <c:v>221.93287037037038</c:v>
                </c:pt>
                <c:pt idx="5170">
                  <c:v>219.03935185185185</c:v>
                </c:pt>
                <c:pt idx="5171">
                  <c:v>219.03935185185185</c:v>
                </c:pt>
                <c:pt idx="5172">
                  <c:v>219.03935185185185</c:v>
                </c:pt>
                <c:pt idx="5173">
                  <c:v>219.03935185185185</c:v>
                </c:pt>
                <c:pt idx="5174">
                  <c:v>219.03935185185185</c:v>
                </c:pt>
                <c:pt idx="5175">
                  <c:v>219.27083333333334</c:v>
                </c:pt>
                <c:pt idx="5176">
                  <c:v>219.27083333333334</c:v>
                </c:pt>
                <c:pt idx="5177">
                  <c:v>219.27083333333334</c:v>
                </c:pt>
                <c:pt idx="5178">
                  <c:v>219.27083333333334</c:v>
                </c:pt>
                <c:pt idx="5179">
                  <c:v>219.27083333333334</c:v>
                </c:pt>
                <c:pt idx="5180">
                  <c:v>217.82407407407405</c:v>
                </c:pt>
                <c:pt idx="5181">
                  <c:v>217.82407407407405</c:v>
                </c:pt>
                <c:pt idx="5182">
                  <c:v>217.82407407407405</c:v>
                </c:pt>
                <c:pt idx="5183">
                  <c:v>217.82407407407405</c:v>
                </c:pt>
                <c:pt idx="5184">
                  <c:v>217.82407407407405</c:v>
                </c:pt>
                <c:pt idx="5185">
                  <c:v>221.00694444444446</c:v>
                </c:pt>
                <c:pt idx="5186">
                  <c:v>221.00694444444446</c:v>
                </c:pt>
                <c:pt idx="5187">
                  <c:v>221.00694444444446</c:v>
                </c:pt>
                <c:pt idx="5188">
                  <c:v>221.00694444444446</c:v>
                </c:pt>
                <c:pt idx="5189">
                  <c:v>221.00694444444446</c:v>
                </c:pt>
                <c:pt idx="5190">
                  <c:v>222.1064814814815</c:v>
                </c:pt>
                <c:pt idx="5191">
                  <c:v>222.1064814814815</c:v>
                </c:pt>
                <c:pt idx="5192">
                  <c:v>222.1064814814815</c:v>
                </c:pt>
                <c:pt idx="5193">
                  <c:v>222.1064814814815</c:v>
                </c:pt>
                <c:pt idx="5194">
                  <c:v>222.1064814814815</c:v>
                </c:pt>
                <c:pt idx="5195">
                  <c:v>223.78472222222223</c:v>
                </c:pt>
                <c:pt idx="5196">
                  <c:v>223.78472222222223</c:v>
                </c:pt>
                <c:pt idx="5197">
                  <c:v>223.78472222222223</c:v>
                </c:pt>
                <c:pt idx="5198">
                  <c:v>223.78472222222223</c:v>
                </c:pt>
                <c:pt idx="5199">
                  <c:v>223.78472222222223</c:v>
                </c:pt>
                <c:pt idx="5200">
                  <c:v>218.75</c:v>
                </c:pt>
                <c:pt idx="5201">
                  <c:v>218.75</c:v>
                </c:pt>
                <c:pt idx="5202">
                  <c:v>218.75</c:v>
                </c:pt>
                <c:pt idx="5203">
                  <c:v>218.75</c:v>
                </c:pt>
                <c:pt idx="5204">
                  <c:v>218.75</c:v>
                </c:pt>
                <c:pt idx="5205">
                  <c:v>224.65277777777777</c:v>
                </c:pt>
                <c:pt idx="5206">
                  <c:v>224.65277777777777</c:v>
                </c:pt>
                <c:pt idx="5207">
                  <c:v>224.65277777777777</c:v>
                </c:pt>
                <c:pt idx="5208">
                  <c:v>224.65277777777777</c:v>
                </c:pt>
                <c:pt idx="5209">
                  <c:v>224.65277777777777</c:v>
                </c:pt>
                <c:pt idx="5210">
                  <c:v>223.55324074074073</c:v>
                </c:pt>
                <c:pt idx="5211">
                  <c:v>223.55324074074073</c:v>
                </c:pt>
                <c:pt idx="5212">
                  <c:v>223.55324074074073</c:v>
                </c:pt>
                <c:pt idx="5213">
                  <c:v>223.55324074074073</c:v>
                </c:pt>
                <c:pt idx="5214">
                  <c:v>223.55324074074073</c:v>
                </c:pt>
                <c:pt idx="5215">
                  <c:v>222.85879629629628</c:v>
                </c:pt>
                <c:pt idx="5216">
                  <c:v>222.85879629629628</c:v>
                </c:pt>
                <c:pt idx="5217">
                  <c:v>222.85879629629628</c:v>
                </c:pt>
                <c:pt idx="5218">
                  <c:v>222.85879629629628</c:v>
                </c:pt>
                <c:pt idx="5219">
                  <c:v>222.85879629629628</c:v>
                </c:pt>
                <c:pt idx="5220">
                  <c:v>223.32175925925927</c:v>
                </c:pt>
                <c:pt idx="5221">
                  <c:v>223.32175925925927</c:v>
                </c:pt>
                <c:pt idx="5222">
                  <c:v>223.32175925925927</c:v>
                </c:pt>
                <c:pt idx="5223">
                  <c:v>223.32175925925927</c:v>
                </c:pt>
                <c:pt idx="5224">
                  <c:v>223.32175925925927</c:v>
                </c:pt>
                <c:pt idx="5225">
                  <c:v>226.09953703703701</c:v>
                </c:pt>
                <c:pt idx="5226">
                  <c:v>226.09953703703701</c:v>
                </c:pt>
                <c:pt idx="5227">
                  <c:v>226.09953703703701</c:v>
                </c:pt>
                <c:pt idx="5228">
                  <c:v>226.09953703703701</c:v>
                </c:pt>
                <c:pt idx="5229">
                  <c:v>226.09953703703701</c:v>
                </c:pt>
                <c:pt idx="5230">
                  <c:v>231.71296296296293</c:v>
                </c:pt>
                <c:pt idx="5231">
                  <c:v>231.71296296296293</c:v>
                </c:pt>
                <c:pt idx="5232">
                  <c:v>231.71296296296293</c:v>
                </c:pt>
                <c:pt idx="5233">
                  <c:v>231.71296296296293</c:v>
                </c:pt>
                <c:pt idx="5234">
                  <c:v>231.71296296296293</c:v>
                </c:pt>
                <c:pt idx="5235">
                  <c:v>231.42361111111111</c:v>
                </c:pt>
                <c:pt idx="5236">
                  <c:v>231.42361111111111</c:v>
                </c:pt>
                <c:pt idx="5237">
                  <c:v>231.42361111111111</c:v>
                </c:pt>
                <c:pt idx="5238">
                  <c:v>231.42361111111111</c:v>
                </c:pt>
                <c:pt idx="5239">
                  <c:v>231.42361111111111</c:v>
                </c:pt>
                <c:pt idx="5240">
                  <c:v>233.50694444444446</c:v>
                </c:pt>
                <c:pt idx="5241">
                  <c:v>233.50694444444446</c:v>
                </c:pt>
                <c:pt idx="5242">
                  <c:v>233.50694444444446</c:v>
                </c:pt>
                <c:pt idx="5243">
                  <c:v>233.50694444444446</c:v>
                </c:pt>
                <c:pt idx="5244">
                  <c:v>233.50694444444446</c:v>
                </c:pt>
                <c:pt idx="5245">
                  <c:v>232.8125</c:v>
                </c:pt>
                <c:pt idx="5246">
                  <c:v>232.8125</c:v>
                </c:pt>
                <c:pt idx="5247">
                  <c:v>232.8125</c:v>
                </c:pt>
                <c:pt idx="5248">
                  <c:v>232.8125</c:v>
                </c:pt>
                <c:pt idx="5249">
                  <c:v>232.8125</c:v>
                </c:pt>
                <c:pt idx="5250">
                  <c:v>237.15277777777777</c:v>
                </c:pt>
                <c:pt idx="5251">
                  <c:v>237.15277777777777</c:v>
                </c:pt>
                <c:pt idx="5252">
                  <c:v>237.15277777777777</c:v>
                </c:pt>
                <c:pt idx="5253">
                  <c:v>237.15277777777777</c:v>
                </c:pt>
                <c:pt idx="5254">
                  <c:v>237.15277777777777</c:v>
                </c:pt>
                <c:pt idx="5255">
                  <c:v>231.4814814814815</c:v>
                </c:pt>
                <c:pt idx="5256">
                  <c:v>231.4814814814815</c:v>
                </c:pt>
                <c:pt idx="5257">
                  <c:v>231.4814814814815</c:v>
                </c:pt>
                <c:pt idx="5258">
                  <c:v>231.4814814814815</c:v>
                </c:pt>
                <c:pt idx="5259">
                  <c:v>231.4814814814815</c:v>
                </c:pt>
                <c:pt idx="5260">
                  <c:v>230.20833333333334</c:v>
                </c:pt>
                <c:pt idx="5261">
                  <c:v>230.20833333333334</c:v>
                </c:pt>
                <c:pt idx="5262">
                  <c:v>230.20833333333334</c:v>
                </c:pt>
                <c:pt idx="5263">
                  <c:v>230.20833333333334</c:v>
                </c:pt>
                <c:pt idx="5264">
                  <c:v>230.20833333333334</c:v>
                </c:pt>
                <c:pt idx="5265">
                  <c:v>234.25925925925927</c:v>
                </c:pt>
                <c:pt idx="5266">
                  <c:v>234.25925925925927</c:v>
                </c:pt>
                <c:pt idx="5267">
                  <c:v>234.25925925925927</c:v>
                </c:pt>
                <c:pt idx="5268">
                  <c:v>234.25925925925927</c:v>
                </c:pt>
                <c:pt idx="5269">
                  <c:v>234.25925925925927</c:v>
                </c:pt>
                <c:pt idx="5270">
                  <c:v>236.1689814814815</c:v>
                </c:pt>
                <c:pt idx="5271">
                  <c:v>236.1689814814815</c:v>
                </c:pt>
                <c:pt idx="5272">
                  <c:v>236.1689814814815</c:v>
                </c:pt>
                <c:pt idx="5273">
                  <c:v>236.1689814814815</c:v>
                </c:pt>
                <c:pt idx="5274">
                  <c:v>236.1689814814815</c:v>
                </c:pt>
                <c:pt idx="5275">
                  <c:v>236.97916666666666</c:v>
                </c:pt>
                <c:pt idx="5276">
                  <c:v>236.97916666666666</c:v>
                </c:pt>
                <c:pt idx="5277">
                  <c:v>236.97916666666666</c:v>
                </c:pt>
                <c:pt idx="5278">
                  <c:v>236.97916666666666</c:v>
                </c:pt>
                <c:pt idx="5279">
                  <c:v>236.97916666666666</c:v>
                </c:pt>
                <c:pt idx="5280">
                  <c:v>236.80555555555554</c:v>
                </c:pt>
                <c:pt idx="5281">
                  <c:v>236.80555555555554</c:v>
                </c:pt>
                <c:pt idx="5282">
                  <c:v>236.80555555555554</c:v>
                </c:pt>
                <c:pt idx="5283">
                  <c:v>236.80555555555554</c:v>
                </c:pt>
                <c:pt idx="5284">
                  <c:v>236.80555555555554</c:v>
                </c:pt>
                <c:pt idx="5285">
                  <c:v>237.15277777777777</c:v>
                </c:pt>
                <c:pt idx="5286">
                  <c:v>237.15277777777777</c:v>
                </c:pt>
                <c:pt idx="5287">
                  <c:v>237.15277777777777</c:v>
                </c:pt>
                <c:pt idx="5288">
                  <c:v>237.15277777777777</c:v>
                </c:pt>
                <c:pt idx="5289">
                  <c:v>237.15277777777777</c:v>
                </c:pt>
                <c:pt idx="5290">
                  <c:v>244.27083333333334</c:v>
                </c:pt>
                <c:pt idx="5291">
                  <c:v>244.27083333333334</c:v>
                </c:pt>
                <c:pt idx="5292">
                  <c:v>244.27083333333334</c:v>
                </c:pt>
                <c:pt idx="5293">
                  <c:v>244.27083333333334</c:v>
                </c:pt>
                <c:pt idx="5294">
                  <c:v>244.27083333333334</c:v>
                </c:pt>
                <c:pt idx="5295">
                  <c:v>246.46990740740745</c:v>
                </c:pt>
                <c:pt idx="5296">
                  <c:v>246.46990740740745</c:v>
                </c:pt>
                <c:pt idx="5297">
                  <c:v>246.46990740740745</c:v>
                </c:pt>
                <c:pt idx="5298">
                  <c:v>246.46990740740745</c:v>
                </c:pt>
                <c:pt idx="5299">
                  <c:v>246.46990740740745</c:v>
                </c:pt>
                <c:pt idx="5300">
                  <c:v>246.58564814814815</c:v>
                </c:pt>
                <c:pt idx="5301">
                  <c:v>246.58564814814815</c:v>
                </c:pt>
                <c:pt idx="5302">
                  <c:v>246.58564814814815</c:v>
                </c:pt>
                <c:pt idx="5303">
                  <c:v>246.58564814814815</c:v>
                </c:pt>
                <c:pt idx="5304">
                  <c:v>246.58564814814815</c:v>
                </c:pt>
                <c:pt idx="5305">
                  <c:v>242.30324074074073</c:v>
                </c:pt>
                <c:pt idx="5306">
                  <c:v>242.30324074074073</c:v>
                </c:pt>
                <c:pt idx="5307">
                  <c:v>242.30324074074073</c:v>
                </c:pt>
                <c:pt idx="5308">
                  <c:v>242.30324074074073</c:v>
                </c:pt>
                <c:pt idx="5309">
                  <c:v>242.30324074074073</c:v>
                </c:pt>
                <c:pt idx="5310">
                  <c:v>237.90509259259255</c:v>
                </c:pt>
                <c:pt idx="5311">
                  <c:v>237.90509259259255</c:v>
                </c:pt>
                <c:pt idx="5312">
                  <c:v>237.90509259259255</c:v>
                </c:pt>
                <c:pt idx="5313">
                  <c:v>237.90509259259255</c:v>
                </c:pt>
                <c:pt idx="5314">
                  <c:v>237.90509259259255</c:v>
                </c:pt>
                <c:pt idx="5315">
                  <c:v>240.79861111111109</c:v>
                </c:pt>
                <c:pt idx="5316">
                  <c:v>240.79861111111109</c:v>
                </c:pt>
                <c:pt idx="5317">
                  <c:v>240.79861111111109</c:v>
                </c:pt>
                <c:pt idx="5318">
                  <c:v>240.79861111111109</c:v>
                </c:pt>
                <c:pt idx="5319">
                  <c:v>240.79861111111109</c:v>
                </c:pt>
                <c:pt idx="5320">
                  <c:v>241.8402777777778</c:v>
                </c:pt>
                <c:pt idx="5321">
                  <c:v>241.8402777777778</c:v>
                </c:pt>
                <c:pt idx="5322">
                  <c:v>241.8402777777778</c:v>
                </c:pt>
                <c:pt idx="5323">
                  <c:v>241.8402777777778</c:v>
                </c:pt>
                <c:pt idx="5324">
                  <c:v>241.8402777777778</c:v>
                </c:pt>
                <c:pt idx="5325">
                  <c:v>243.22916666666669</c:v>
                </c:pt>
                <c:pt idx="5326">
                  <c:v>243.22916666666669</c:v>
                </c:pt>
                <c:pt idx="5327">
                  <c:v>243.22916666666669</c:v>
                </c:pt>
                <c:pt idx="5328">
                  <c:v>243.22916666666669</c:v>
                </c:pt>
                <c:pt idx="5329">
                  <c:v>243.22916666666669</c:v>
                </c:pt>
                <c:pt idx="5330">
                  <c:v>242.30324074074073</c:v>
                </c:pt>
                <c:pt idx="5331">
                  <c:v>242.30324074074073</c:v>
                </c:pt>
                <c:pt idx="5332">
                  <c:v>242.30324074074073</c:v>
                </c:pt>
                <c:pt idx="5333">
                  <c:v>242.30324074074073</c:v>
                </c:pt>
                <c:pt idx="5334">
                  <c:v>242.30324074074073</c:v>
                </c:pt>
                <c:pt idx="5335">
                  <c:v>245.37037037037038</c:v>
                </c:pt>
                <c:pt idx="5336">
                  <c:v>245.37037037037038</c:v>
                </c:pt>
                <c:pt idx="5337">
                  <c:v>245.37037037037038</c:v>
                </c:pt>
                <c:pt idx="5338">
                  <c:v>245.37037037037038</c:v>
                </c:pt>
                <c:pt idx="5339">
                  <c:v>245.37037037037038</c:v>
                </c:pt>
                <c:pt idx="5340">
                  <c:v>243.28703703703701</c:v>
                </c:pt>
                <c:pt idx="5341">
                  <c:v>243.28703703703701</c:v>
                </c:pt>
                <c:pt idx="5342">
                  <c:v>243.28703703703701</c:v>
                </c:pt>
                <c:pt idx="5343">
                  <c:v>243.28703703703701</c:v>
                </c:pt>
                <c:pt idx="5344">
                  <c:v>243.28703703703701</c:v>
                </c:pt>
                <c:pt idx="5345">
                  <c:v>242.4189814814815</c:v>
                </c:pt>
                <c:pt idx="5346">
                  <c:v>242.4189814814815</c:v>
                </c:pt>
                <c:pt idx="5347">
                  <c:v>242.4189814814815</c:v>
                </c:pt>
                <c:pt idx="5348">
                  <c:v>242.4189814814815</c:v>
                </c:pt>
                <c:pt idx="5349">
                  <c:v>242.4189814814815</c:v>
                </c:pt>
                <c:pt idx="5350">
                  <c:v>241.20370370370372</c:v>
                </c:pt>
                <c:pt idx="5351">
                  <c:v>241.20370370370372</c:v>
                </c:pt>
                <c:pt idx="5352">
                  <c:v>241.20370370370372</c:v>
                </c:pt>
                <c:pt idx="5353">
                  <c:v>241.20370370370372</c:v>
                </c:pt>
                <c:pt idx="5354">
                  <c:v>241.20370370370372</c:v>
                </c:pt>
                <c:pt idx="5355">
                  <c:v>242.07175925925927</c:v>
                </c:pt>
                <c:pt idx="5356">
                  <c:v>242.07175925925927</c:v>
                </c:pt>
                <c:pt idx="5357">
                  <c:v>242.07175925925927</c:v>
                </c:pt>
                <c:pt idx="5358">
                  <c:v>242.07175925925927</c:v>
                </c:pt>
                <c:pt idx="5359">
                  <c:v>242.07175925925927</c:v>
                </c:pt>
                <c:pt idx="5360">
                  <c:v>243.05555555555557</c:v>
                </c:pt>
                <c:pt idx="5361">
                  <c:v>243.05555555555557</c:v>
                </c:pt>
                <c:pt idx="5362">
                  <c:v>243.05555555555557</c:v>
                </c:pt>
                <c:pt idx="5363">
                  <c:v>243.05555555555557</c:v>
                </c:pt>
                <c:pt idx="5364">
                  <c:v>243.05555555555557</c:v>
                </c:pt>
                <c:pt idx="5365">
                  <c:v>242.82407407407405</c:v>
                </c:pt>
                <c:pt idx="5366">
                  <c:v>242.82407407407405</c:v>
                </c:pt>
                <c:pt idx="5367">
                  <c:v>242.82407407407405</c:v>
                </c:pt>
                <c:pt idx="5368">
                  <c:v>242.82407407407405</c:v>
                </c:pt>
                <c:pt idx="5369">
                  <c:v>242.82407407407405</c:v>
                </c:pt>
                <c:pt idx="5370">
                  <c:v>243.63425925925927</c:v>
                </c:pt>
                <c:pt idx="5371">
                  <c:v>243.63425925925927</c:v>
                </c:pt>
                <c:pt idx="5372">
                  <c:v>243.63425925925927</c:v>
                </c:pt>
                <c:pt idx="5373">
                  <c:v>243.63425925925927</c:v>
                </c:pt>
                <c:pt idx="5374">
                  <c:v>243.63425925925927</c:v>
                </c:pt>
                <c:pt idx="5375">
                  <c:v>251.04166666666666</c:v>
                </c:pt>
                <c:pt idx="5376">
                  <c:v>251.04166666666666</c:v>
                </c:pt>
                <c:pt idx="5377">
                  <c:v>251.04166666666666</c:v>
                </c:pt>
                <c:pt idx="5378">
                  <c:v>251.04166666666666</c:v>
                </c:pt>
                <c:pt idx="5379">
                  <c:v>251.04166666666666</c:v>
                </c:pt>
                <c:pt idx="5380">
                  <c:v>250.86805555555554</c:v>
                </c:pt>
                <c:pt idx="5381">
                  <c:v>250.86805555555554</c:v>
                </c:pt>
                <c:pt idx="5382">
                  <c:v>250.86805555555554</c:v>
                </c:pt>
                <c:pt idx="5383">
                  <c:v>250.86805555555554</c:v>
                </c:pt>
                <c:pt idx="5384">
                  <c:v>250.86805555555554</c:v>
                </c:pt>
                <c:pt idx="5385">
                  <c:v>250.75231481481484</c:v>
                </c:pt>
                <c:pt idx="5386">
                  <c:v>250.75231481481484</c:v>
                </c:pt>
                <c:pt idx="5387">
                  <c:v>250.75231481481484</c:v>
                </c:pt>
                <c:pt idx="5388">
                  <c:v>250.75231481481484</c:v>
                </c:pt>
                <c:pt idx="5389">
                  <c:v>250.75231481481484</c:v>
                </c:pt>
                <c:pt idx="5390">
                  <c:v>250.57870370370372</c:v>
                </c:pt>
                <c:pt idx="5391">
                  <c:v>250.57870370370372</c:v>
                </c:pt>
                <c:pt idx="5392">
                  <c:v>250.57870370370372</c:v>
                </c:pt>
                <c:pt idx="5393">
                  <c:v>250.57870370370372</c:v>
                </c:pt>
                <c:pt idx="5394">
                  <c:v>250.57870370370372</c:v>
                </c:pt>
                <c:pt idx="5395">
                  <c:v>249.53703703703707</c:v>
                </c:pt>
                <c:pt idx="5396">
                  <c:v>249.53703703703707</c:v>
                </c:pt>
                <c:pt idx="5397">
                  <c:v>249.53703703703707</c:v>
                </c:pt>
                <c:pt idx="5398">
                  <c:v>249.53703703703707</c:v>
                </c:pt>
                <c:pt idx="5399">
                  <c:v>249.53703703703707</c:v>
                </c:pt>
                <c:pt idx="5400">
                  <c:v>251.44675925925927</c:v>
                </c:pt>
                <c:pt idx="5401">
                  <c:v>251.44675925925927</c:v>
                </c:pt>
                <c:pt idx="5402">
                  <c:v>251.44675925925927</c:v>
                </c:pt>
                <c:pt idx="5403">
                  <c:v>251.44675925925927</c:v>
                </c:pt>
                <c:pt idx="5404">
                  <c:v>251.44675925925927</c:v>
                </c:pt>
                <c:pt idx="5405">
                  <c:v>251.04166666666666</c:v>
                </c:pt>
                <c:pt idx="5406">
                  <c:v>251.04166666666666</c:v>
                </c:pt>
                <c:pt idx="5407">
                  <c:v>251.04166666666666</c:v>
                </c:pt>
                <c:pt idx="5408">
                  <c:v>251.04166666666666</c:v>
                </c:pt>
                <c:pt idx="5409">
                  <c:v>251.04166666666666</c:v>
                </c:pt>
                <c:pt idx="5410">
                  <c:v>252.43055555555557</c:v>
                </c:pt>
                <c:pt idx="5411">
                  <c:v>252.43055555555557</c:v>
                </c:pt>
                <c:pt idx="5412">
                  <c:v>252.43055555555557</c:v>
                </c:pt>
                <c:pt idx="5413">
                  <c:v>252.43055555555557</c:v>
                </c:pt>
                <c:pt idx="5414">
                  <c:v>252.43055555555557</c:v>
                </c:pt>
                <c:pt idx="5415">
                  <c:v>251.90972222222223</c:v>
                </c:pt>
                <c:pt idx="5416">
                  <c:v>251.90972222222223</c:v>
                </c:pt>
                <c:pt idx="5417">
                  <c:v>251.90972222222223</c:v>
                </c:pt>
                <c:pt idx="5418">
                  <c:v>251.90972222222223</c:v>
                </c:pt>
                <c:pt idx="5419">
                  <c:v>251.90972222222223</c:v>
                </c:pt>
                <c:pt idx="5420">
                  <c:v>247.91666666666666</c:v>
                </c:pt>
                <c:pt idx="5421">
                  <c:v>247.91666666666666</c:v>
                </c:pt>
                <c:pt idx="5422">
                  <c:v>247.91666666666666</c:v>
                </c:pt>
                <c:pt idx="5423">
                  <c:v>247.91666666666666</c:v>
                </c:pt>
                <c:pt idx="5424">
                  <c:v>247.91666666666666</c:v>
                </c:pt>
                <c:pt idx="5425">
                  <c:v>247.16435185185185</c:v>
                </c:pt>
                <c:pt idx="5426">
                  <c:v>247.16435185185185</c:v>
                </c:pt>
                <c:pt idx="5427">
                  <c:v>247.16435185185185</c:v>
                </c:pt>
                <c:pt idx="5428">
                  <c:v>247.16435185185185</c:v>
                </c:pt>
                <c:pt idx="5429">
                  <c:v>247.16435185185185</c:v>
                </c:pt>
                <c:pt idx="5430">
                  <c:v>242.30324074074073</c:v>
                </c:pt>
                <c:pt idx="5431">
                  <c:v>242.30324074074073</c:v>
                </c:pt>
                <c:pt idx="5432">
                  <c:v>242.30324074074073</c:v>
                </c:pt>
                <c:pt idx="5433">
                  <c:v>242.30324074074073</c:v>
                </c:pt>
                <c:pt idx="5434">
                  <c:v>242.30324074074073</c:v>
                </c:pt>
                <c:pt idx="5435">
                  <c:v>241.08796296296299</c:v>
                </c:pt>
                <c:pt idx="5436">
                  <c:v>241.08796296296299</c:v>
                </c:pt>
                <c:pt idx="5437">
                  <c:v>241.08796296296299</c:v>
                </c:pt>
                <c:pt idx="5438">
                  <c:v>241.08796296296299</c:v>
                </c:pt>
                <c:pt idx="5439">
                  <c:v>241.08796296296299</c:v>
                </c:pt>
                <c:pt idx="5440">
                  <c:v>241.43518518518516</c:v>
                </c:pt>
                <c:pt idx="5441">
                  <c:v>241.43518518518516</c:v>
                </c:pt>
                <c:pt idx="5442">
                  <c:v>241.43518518518516</c:v>
                </c:pt>
                <c:pt idx="5443">
                  <c:v>241.43518518518516</c:v>
                </c:pt>
                <c:pt idx="5444">
                  <c:v>241.43518518518516</c:v>
                </c:pt>
                <c:pt idx="5445">
                  <c:v>242.07175925925927</c:v>
                </c:pt>
                <c:pt idx="5446">
                  <c:v>242.07175925925927</c:v>
                </c:pt>
                <c:pt idx="5447">
                  <c:v>242.07175925925927</c:v>
                </c:pt>
                <c:pt idx="5448">
                  <c:v>242.07175925925927</c:v>
                </c:pt>
                <c:pt idx="5449">
                  <c:v>242.07175925925927</c:v>
                </c:pt>
                <c:pt idx="5450">
                  <c:v>244.32870370370372</c:v>
                </c:pt>
                <c:pt idx="5451">
                  <c:v>244.32870370370372</c:v>
                </c:pt>
                <c:pt idx="5452">
                  <c:v>244.32870370370372</c:v>
                </c:pt>
                <c:pt idx="5453">
                  <c:v>244.32870370370372</c:v>
                </c:pt>
                <c:pt idx="5454">
                  <c:v>244.32870370370372</c:v>
                </c:pt>
                <c:pt idx="5455">
                  <c:v>245.37037037037038</c:v>
                </c:pt>
                <c:pt idx="5456">
                  <c:v>245.37037037037038</c:v>
                </c:pt>
                <c:pt idx="5457">
                  <c:v>245.37037037037038</c:v>
                </c:pt>
                <c:pt idx="5458">
                  <c:v>245.37037037037038</c:v>
                </c:pt>
                <c:pt idx="5459">
                  <c:v>245.37037037037038</c:v>
                </c:pt>
                <c:pt idx="5460">
                  <c:v>247.5115740740741</c:v>
                </c:pt>
                <c:pt idx="5461">
                  <c:v>247.5115740740741</c:v>
                </c:pt>
                <c:pt idx="5462">
                  <c:v>247.5115740740741</c:v>
                </c:pt>
                <c:pt idx="5463">
                  <c:v>247.5115740740741</c:v>
                </c:pt>
                <c:pt idx="5464">
                  <c:v>247.5115740740741</c:v>
                </c:pt>
                <c:pt idx="5465">
                  <c:v>247.33796296296299</c:v>
                </c:pt>
                <c:pt idx="5466">
                  <c:v>247.33796296296299</c:v>
                </c:pt>
                <c:pt idx="5467">
                  <c:v>247.33796296296299</c:v>
                </c:pt>
                <c:pt idx="5468">
                  <c:v>247.33796296296299</c:v>
                </c:pt>
                <c:pt idx="5469">
                  <c:v>247.33796296296299</c:v>
                </c:pt>
                <c:pt idx="5470">
                  <c:v>248.84259259259261</c:v>
                </c:pt>
                <c:pt idx="5471">
                  <c:v>248.84259259259261</c:v>
                </c:pt>
                <c:pt idx="5472">
                  <c:v>248.84259259259261</c:v>
                </c:pt>
                <c:pt idx="5473">
                  <c:v>248.84259259259261</c:v>
                </c:pt>
                <c:pt idx="5474">
                  <c:v>248.84259259259261</c:v>
                </c:pt>
                <c:pt idx="5475">
                  <c:v>250.52083333333331</c:v>
                </c:pt>
                <c:pt idx="5476">
                  <c:v>250.52083333333331</c:v>
                </c:pt>
                <c:pt idx="5477">
                  <c:v>250.52083333333331</c:v>
                </c:pt>
                <c:pt idx="5478">
                  <c:v>250.52083333333331</c:v>
                </c:pt>
                <c:pt idx="5479">
                  <c:v>250.52083333333331</c:v>
                </c:pt>
                <c:pt idx="5480">
                  <c:v>250.46296296296299</c:v>
                </c:pt>
                <c:pt idx="5481">
                  <c:v>250.46296296296299</c:v>
                </c:pt>
                <c:pt idx="5482">
                  <c:v>250.46296296296299</c:v>
                </c:pt>
                <c:pt idx="5483">
                  <c:v>250.46296296296299</c:v>
                </c:pt>
                <c:pt idx="5484">
                  <c:v>250.46296296296299</c:v>
                </c:pt>
                <c:pt idx="5485">
                  <c:v>251.62037037037038</c:v>
                </c:pt>
                <c:pt idx="5486">
                  <c:v>251.62037037037038</c:v>
                </c:pt>
                <c:pt idx="5487">
                  <c:v>251.62037037037038</c:v>
                </c:pt>
                <c:pt idx="5488">
                  <c:v>251.62037037037038</c:v>
                </c:pt>
                <c:pt idx="5489">
                  <c:v>251.62037037037038</c:v>
                </c:pt>
                <c:pt idx="5490">
                  <c:v>251.09953703703707</c:v>
                </c:pt>
                <c:pt idx="5491">
                  <c:v>251.09953703703707</c:v>
                </c:pt>
                <c:pt idx="5492">
                  <c:v>251.09953703703707</c:v>
                </c:pt>
                <c:pt idx="5493">
                  <c:v>251.09953703703707</c:v>
                </c:pt>
                <c:pt idx="5494">
                  <c:v>251.09953703703707</c:v>
                </c:pt>
                <c:pt idx="5495">
                  <c:v>261.16898148148147</c:v>
                </c:pt>
                <c:pt idx="5496">
                  <c:v>261.16898148148147</c:v>
                </c:pt>
                <c:pt idx="5497">
                  <c:v>261.16898148148147</c:v>
                </c:pt>
                <c:pt idx="5498">
                  <c:v>261.16898148148147</c:v>
                </c:pt>
                <c:pt idx="5499">
                  <c:v>261.16898148148147</c:v>
                </c:pt>
                <c:pt idx="5500">
                  <c:v>259.54861111111114</c:v>
                </c:pt>
                <c:pt idx="5501">
                  <c:v>259.54861111111114</c:v>
                </c:pt>
                <c:pt idx="5502">
                  <c:v>259.54861111111114</c:v>
                </c:pt>
                <c:pt idx="5503">
                  <c:v>259.54861111111114</c:v>
                </c:pt>
                <c:pt idx="5504">
                  <c:v>259.54861111111114</c:v>
                </c:pt>
                <c:pt idx="5505">
                  <c:v>259.9537037037037</c:v>
                </c:pt>
                <c:pt idx="5506">
                  <c:v>259.9537037037037</c:v>
                </c:pt>
                <c:pt idx="5507">
                  <c:v>259.9537037037037</c:v>
                </c:pt>
                <c:pt idx="5508">
                  <c:v>259.9537037037037</c:v>
                </c:pt>
                <c:pt idx="5509">
                  <c:v>259.9537037037037</c:v>
                </c:pt>
                <c:pt idx="5510">
                  <c:v>255.55555555555557</c:v>
                </c:pt>
                <c:pt idx="5511">
                  <c:v>255.55555555555557</c:v>
                </c:pt>
                <c:pt idx="5512">
                  <c:v>255.55555555555557</c:v>
                </c:pt>
                <c:pt idx="5513">
                  <c:v>255.55555555555557</c:v>
                </c:pt>
                <c:pt idx="5514">
                  <c:v>255.55555555555557</c:v>
                </c:pt>
                <c:pt idx="5515">
                  <c:v>258.44907407407408</c:v>
                </c:pt>
                <c:pt idx="5516">
                  <c:v>258.44907407407408</c:v>
                </c:pt>
                <c:pt idx="5517">
                  <c:v>258.44907407407408</c:v>
                </c:pt>
                <c:pt idx="5518">
                  <c:v>258.44907407407408</c:v>
                </c:pt>
                <c:pt idx="5519">
                  <c:v>258.44907407407408</c:v>
                </c:pt>
                <c:pt idx="5520">
                  <c:v>258.21759259259255</c:v>
                </c:pt>
                <c:pt idx="5521">
                  <c:v>258.21759259259255</c:v>
                </c:pt>
                <c:pt idx="5522">
                  <c:v>258.21759259259255</c:v>
                </c:pt>
                <c:pt idx="5523">
                  <c:v>258.21759259259255</c:v>
                </c:pt>
                <c:pt idx="5524">
                  <c:v>258.21759259259255</c:v>
                </c:pt>
                <c:pt idx="5525">
                  <c:v>263.13657407407402</c:v>
                </c:pt>
                <c:pt idx="5526">
                  <c:v>263.13657407407402</c:v>
                </c:pt>
                <c:pt idx="5527">
                  <c:v>263.13657407407402</c:v>
                </c:pt>
                <c:pt idx="5528">
                  <c:v>263.13657407407402</c:v>
                </c:pt>
                <c:pt idx="5529">
                  <c:v>263.13657407407402</c:v>
                </c:pt>
                <c:pt idx="5530">
                  <c:v>258.33333333333337</c:v>
                </c:pt>
                <c:pt idx="5531">
                  <c:v>258.33333333333337</c:v>
                </c:pt>
                <c:pt idx="5532">
                  <c:v>258.33333333333337</c:v>
                </c:pt>
                <c:pt idx="5533">
                  <c:v>258.33333333333337</c:v>
                </c:pt>
                <c:pt idx="5534">
                  <c:v>258.33333333333337</c:v>
                </c:pt>
                <c:pt idx="5535">
                  <c:v>265.625</c:v>
                </c:pt>
                <c:pt idx="5536">
                  <c:v>265.625</c:v>
                </c:pt>
                <c:pt idx="5537">
                  <c:v>265.625</c:v>
                </c:pt>
                <c:pt idx="5538">
                  <c:v>265.625</c:v>
                </c:pt>
                <c:pt idx="5539">
                  <c:v>265.625</c:v>
                </c:pt>
                <c:pt idx="5540">
                  <c:v>266.4930555555556</c:v>
                </c:pt>
                <c:pt idx="5541">
                  <c:v>266.4930555555556</c:v>
                </c:pt>
                <c:pt idx="5542">
                  <c:v>266.4930555555556</c:v>
                </c:pt>
                <c:pt idx="5543">
                  <c:v>266.4930555555556</c:v>
                </c:pt>
                <c:pt idx="5544">
                  <c:v>266.4930555555556</c:v>
                </c:pt>
                <c:pt idx="5545">
                  <c:v>266.03009259259261</c:v>
                </c:pt>
                <c:pt idx="5546">
                  <c:v>266.03009259259261</c:v>
                </c:pt>
                <c:pt idx="5547">
                  <c:v>266.03009259259261</c:v>
                </c:pt>
                <c:pt idx="5548">
                  <c:v>266.03009259259261</c:v>
                </c:pt>
                <c:pt idx="5549">
                  <c:v>266.03009259259261</c:v>
                </c:pt>
                <c:pt idx="5550">
                  <c:v>260.82175925925924</c:v>
                </c:pt>
                <c:pt idx="5551">
                  <c:v>260.82175925925924</c:v>
                </c:pt>
                <c:pt idx="5552">
                  <c:v>260.82175925925924</c:v>
                </c:pt>
                <c:pt idx="5553">
                  <c:v>260.82175925925924</c:v>
                </c:pt>
                <c:pt idx="5554">
                  <c:v>260.82175925925924</c:v>
                </c:pt>
                <c:pt idx="5555">
                  <c:v>269.56018518518522</c:v>
                </c:pt>
                <c:pt idx="5556">
                  <c:v>269.56018518518522</c:v>
                </c:pt>
                <c:pt idx="5557">
                  <c:v>269.56018518518522</c:v>
                </c:pt>
                <c:pt idx="5558">
                  <c:v>269.56018518518522</c:v>
                </c:pt>
                <c:pt idx="5559">
                  <c:v>269.56018518518522</c:v>
                </c:pt>
                <c:pt idx="5560">
                  <c:v>262.03703703703701</c:v>
                </c:pt>
                <c:pt idx="5561">
                  <c:v>262.03703703703701</c:v>
                </c:pt>
                <c:pt idx="5562">
                  <c:v>262.03703703703701</c:v>
                </c:pt>
                <c:pt idx="5563">
                  <c:v>262.03703703703701</c:v>
                </c:pt>
                <c:pt idx="5564">
                  <c:v>262.03703703703701</c:v>
                </c:pt>
                <c:pt idx="5565">
                  <c:v>255.3240740740741</c:v>
                </c:pt>
                <c:pt idx="5566">
                  <c:v>255.3240740740741</c:v>
                </c:pt>
                <c:pt idx="5567">
                  <c:v>255.3240740740741</c:v>
                </c:pt>
                <c:pt idx="5568">
                  <c:v>255.3240740740741</c:v>
                </c:pt>
                <c:pt idx="5569">
                  <c:v>255.3240740740741</c:v>
                </c:pt>
                <c:pt idx="5570">
                  <c:v>252.43055555555557</c:v>
                </c:pt>
                <c:pt idx="5571">
                  <c:v>252.43055555555557</c:v>
                </c:pt>
                <c:pt idx="5572">
                  <c:v>252.43055555555557</c:v>
                </c:pt>
                <c:pt idx="5573">
                  <c:v>252.43055555555557</c:v>
                </c:pt>
                <c:pt idx="5574">
                  <c:v>252.43055555555557</c:v>
                </c:pt>
                <c:pt idx="5575">
                  <c:v>252.14120370370372</c:v>
                </c:pt>
                <c:pt idx="5576">
                  <c:v>252.14120370370372</c:v>
                </c:pt>
                <c:pt idx="5577">
                  <c:v>252.14120370370372</c:v>
                </c:pt>
                <c:pt idx="5578">
                  <c:v>252.14120370370372</c:v>
                </c:pt>
                <c:pt idx="5579">
                  <c:v>252.14120370370372</c:v>
                </c:pt>
                <c:pt idx="5580">
                  <c:v>256.59722222222223</c:v>
                </c:pt>
                <c:pt idx="5581">
                  <c:v>256.59722222222223</c:v>
                </c:pt>
                <c:pt idx="5582">
                  <c:v>256.59722222222223</c:v>
                </c:pt>
                <c:pt idx="5583">
                  <c:v>256.59722222222223</c:v>
                </c:pt>
                <c:pt idx="5584">
                  <c:v>256.59722222222223</c:v>
                </c:pt>
                <c:pt idx="5585">
                  <c:v>256.42361111111114</c:v>
                </c:pt>
                <c:pt idx="5586">
                  <c:v>256.42361111111114</c:v>
                </c:pt>
                <c:pt idx="5587">
                  <c:v>256.42361111111114</c:v>
                </c:pt>
                <c:pt idx="5588">
                  <c:v>256.42361111111114</c:v>
                </c:pt>
                <c:pt idx="5589">
                  <c:v>256.42361111111114</c:v>
                </c:pt>
                <c:pt idx="5590">
                  <c:v>258.56481481481484</c:v>
                </c:pt>
                <c:pt idx="5591">
                  <c:v>258.56481481481484</c:v>
                </c:pt>
                <c:pt idx="5592">
                  <c:v>258.56481481481484</c:v>
                </c:pt>
                <c:pt idx="5593">
                  <c:v>258.56481481481484</c:v>
                </c:pt>
                <c:pt idx="5594">
                  <c:v>258.56481481481484</c:v>
                </c:pt>
                <c:pt idx="5595">
                  <c:v>256.25</c:v>
                </c:pt>
                <c:pt idx="5596">
                  <c:v>256.25</c:v>
                </c:pt>
                <c:pt idx="5597">
                  <c:v>256.25</c:v>
                </c:pt>
                <c:pt idx="5598">
                  <c:v>256.25</c:v>
                </c:pt>
                <c:pt idx="5599">
                  <c:v>256.25</c:v>
                </c:pt>
                <c:pt idx="5600">
                  <c:v>258.7962962962963</c:v>
                </c:pt>
                <c:pt idx="5601">
                  <c:v>258.7962962962963</c:v>
                </c:pt>
                <c:pt idx="5602">
                  <c:v>258.7962962962963</c:v>
                </c:pt>
                <c:pt idx="5603">
                  <c:v>258.7962962962963</c:v>
                </c:pt>
                <c:pt idx="5604">
                  <c:v>258.7962962962963</c:v>
                </c:pt>
                <c:pt idx="5605">
                  <c:v>254.45601851851856</c:v>
                </c:pt>
                <c:pt idx="5606">
                  <c:v>254.45601851851856</c:v>
                </c:pt>
                <c:pt idx="5607">
                  <c:v>254.45601851851856</c:v>
                </c:pt>
                <c:pt idx="5608">
                  <c:v>254.45601851851856</c:v>
                </c:pt>
                <c:pt idx="5609">
                  <c:v>254.45601851851856</c:v>
                </c:pt>
                <c:pt idx="5610">
                  <c:v>250.2314814814815</c:v>
                </c:pt>
                <c:pt idx="5611">
                  <c:v>250.2314814814815</c:v>
                </c:pt>
                <c:pt idx="5612">
                  <c:v>250.2314814814815</c:v>
                </c:pt>
                <c:pt idx="5613">
                  <c:v>250.2314814814815</c:v>
                </c:pt>
                <c:pt idx="5614">
                  <c:v>250.2314814814815</c:v>
                </c:pt>
                <c:pt idx="5615">
                  <c:v>250.11574074074073</c:v>
                </c:pt>
                <c:pt idx="5616">
                  <c:v>250.11574074074073</c:v>
                </c:pt>
                <c:pt idx="5617">
                  <c:v>250.11574074074073</c:v>
                </c:pt>
                <c:pt idx="5618">
                  <c:v>250.11574074074073</c:v>
                </c:pt>
                <c:pt idx="5619">
                  <c:v>250.11574074074073</c:v>
                </c:pt>
                <c:pt idx="5620">
                  <c:v>254.74537037037038</c:v>
                </c:pt>
                <c:pt idx="5621">
                  <c:v>254.74537037037038</c:v>
                </c:pt>
                <c:pt idx="5622">
                  <c:v>254.74537037037038</c:v>
                </c:pt>
                <c:pt idx="5623">
                  <c:v>254.74537037037038</c:v>
                </c:pt>
                <c:pt idx="5624">
                  <c:v>254.74537037037038</c:v>
                </c:pt>
                <c:pt idx="5625">
                  <c:v>252.43055555555557</c:v>
                </c:pt>
                <c:pt idx="5626">
                  <c:v>252.43055555555557</c:v>
                </c:pt>
                <c:pt idx="5627">
                  <c:v>252.43055555555557</c:v>
                </c:pt>
                <c:pt idx="5628">
                  <c:v>252.43055555555557</c:v>
                </c:pt>
                <c:pt idx="5629">
                  <c:v>252.43055555555557</c:v>
                </c:pt>
                <c:pt idx="5630">
                  <c:v>254.51388888888889</c:v>
                </c:pt>
                <c:pt idx="5631">
                  <c:v>254.51388888888889</c:v>
                </c:pt>
                <c:pt idx="5632">
                  <c:v>254.51388888888889</c:v>
                </c:pt>
                <c:pt idx="5633">
                  <c:v>254.51388888888889</c:v>
                </c:pt>
                <c:pt idx="5634">
                  <c:v>254.51388888888889</c:v>
                </c:pt>
                <c:pt idx="5635">
                  <c:v>255.38194444444446</c:v>
                </c:pt>
                <c:pt idx="5636">
                  <c:v>255.38194444444446</c:v>
                </c:pt>
                <c:pt idx="5637">
                  <c:v>255.38194444444446</c:v>
                </c:pt>
                <c:pt idx="5638">
                  <c:v>255.38194444444446</c:v>
                </c:pt>
                <c:pt idx="5639">
                  <c:v>255.38194444444446</c:v>
                </c:pt>
                <c:pt idx="5640">
                  <c:v>249.0740740740741</c:v>
                </c:pt>
                <c:pt idx="5641">
                  <c:v>249.0740740740741</c:v>
                </c:pt>
                <c:pt idx="5642">
                  <c:v>249.0740740740741</c:v>
                </c:pt>
                <c:pt idx="5643">
                  <c:v>249.0740740740741</c:v>
                </c:pt>
                <c:pt idx="5644">
                  <c:v>249.0740740740741</c:v>
                </c:pt>
                <c:pt idx="5645">
                  <c:v>258.15972222222223</c:v>
                </c:pt>
                <c:pt idx="5646">
                  <c:v>258.15972222222223</c:v>
                </c:pt>
                <c:pt idx="5647">
                  <c:v>258.15972222222223</c:v>
                </c:pt>
                <c:pt idx="5648">
                  <c:v>258.15972222222223</c:v>
                </c:pt>
                <c:pt idx="5649">
                  <c:v>258.15972222222223</c:v>
                </c:pt>
                <c:pt idx="5650">
                  <c:v>257.52314814814815</c:v>
                </c:pt>
                <c:pt idx="5651">
                  <c:v>257.52314814814815</c:v>
                </c:pt>
                <c:pt idx="5652">
                  <c:v>257.52314814814815</c:v>
                </c:pt>
                <c:pt idx="5653">
                  <c:v>257.52314814814815</c:v>
                </c:pt>
                <c:pt idx="5654">
                  <c:v>257.52314814814815</c:v>
                </c:pt>
                <c:pt idx="5655">
                  <c:v>256.8287037037037</c:v>
                </c:pt>
                <c:pt idx="5656">
                  <c:v>256.8287037037037</c:v>
                </c:pt>
                <c:pt idx="5657">
                  <c:v>256.8287037037037</c:v>
                </c:pt>
                <c:pt idx="5658">
                  <c:v>256.8287037037037</c:v>
                </c:pt>
                <c:pt idx="5659">
                  <c:v>256.8287037037037</c:v>
                </c:pt>
                <c:pt idx="5660">
                  <c:v>258.68055555555554</c:v>
                </c:pt>
                <c:pt idx="5661">
                  <c:v>258.68055555555554</c:v>
                </c:pt>
                <c:pt idx="5662">
                  <c:v>258.68055555555554</c:v>
                </c:pt>
                <c:pt idx="5663">
                  <c:v>258.68055555555554</c:v>
                </c:pt>
                <c:pt idx="5664">
                  <c:v>258.68055555555554</c:v>
                </c:pt>
                <c:pt idx="5665">
                  <c:v>254.45601851851856</c:v>
                </c:pt>
                <c:pt idx="5666">
                  <c:v>254.45601851851856</c:v>
                </c:pt>
                <c:pt idx="5667">
                  <c:v>254.45601851851856</c:v>
                </c:pt>
                <c:pt idx="5668">
                  <c:v>254.45601851851856</c:v>
                </c:pt>
                <c:pt idx="5669">
                  <c:v>254.45601851851856</c:v>
                </c:pt>
                <c:pt idx="5670">
                  <c:v>250.81018518518516</c:v>
                </c:pt>
                <c:pt idx="5671">
                  <c:v>250.81018518518516</c:v>
                </c:pt>
                <c:pt idx="5672">
                  <c:v>250.81018518518516</c:v>
                </c:pt>
                <c:pt idx="5673">
                  <c:v>250.81018518518516</c:v>
                </c:pt>
                <c:pt idx="5674">
                  <c:v>250.81018518518516</c:v>
                </c:pt>
                <c:pt idx="5675">
                  <c:v>249.18981481481484</c:v>
                </c:pt>
                <c:pt idx="5676">
                  <c:v>249.18981481481484</c:v>
                </c:pt>
                <c:pt idx="5677">
                  <c:v>249.18981481481484</c:v>
                </c:pt>
                <c:pt idx="5678">
                  <c:v>249.18981481481484</c:v>
                </c:pt>
                <c:pt idx="5679">
                  <c:v>249.18981481481484</c:v>
                </c:pt>
                <c:pt idx="5680">
                  <c:v>246.00694444444446</c:v>
                </c:pt>
                <c:pt idx="5681">
                  <c:v>246.00694444444446</c:v>
                </c:pt>
                <c:pt idx="5682">
                  <c:v>246.00694444444446</c:v>
                </c:pt>
                <c:pt idx="5683">
                  <c:v>246.00694444444446</c:v>
                </c:pt>
                <c:pt idx="5684">
                  <c:v>246.00694444444446</c:v>
                </c:pt>
                <c:pt idx="5685">
                  <c:v>247.10648148148144</c:v>
                </c:pt>
                <c:pt idx="5686">
                  <c:v>247.10648148148144</c:v>
                </c:pt>
                <c:pt idx="5687">
                  <c:v>247.10648148148144</c:v>
                </c:pt>
                <c:pt idx="5688">
                  <c:v>247.10648148148144</c:v>
                </c:pt>
                <c:pt idx="5689">
                  <c:v>247.10648148148144</c:v>
                </c:pt>
                <c:pt idx="5690">
                  <c:v>246.46990740740745</c:v>
                </c:pt>
                <c:pt idx="5691">
                  <c:v>246.46990740740745</c:v>
                </c:pt>
                <c:pt idx="5692">
                  <c:v>246.46990740740745</c:v>
                </c:pt>
                <c:pt idx="5693">
                  <c:v>246.46990740740745</c:v>
                </c:pt>
                <c:pt idx="5694">
                  <c:v>246.46990740740745</c:v>
                </c:pt>
                <c:pt idx="5695">
                  <c:v>239.35185185185185</c:v>
                </c:pt>
                <c:pt idx="5696">
                  <c:v>239.35185185185185</c:v>
                </c:pt>
                <c:pt idx="5697">
                  <c:v>239.35185185185185</c:v>
                </c:pt>
                <c:pt idx="5698">
                  <c:v>239.35185185185185</c:v>
                </c:pt>
                <c:pt idx="5699">
                  <c:v>239.35185185185185</c:v>
                </c:pt>
                <c:pt idx="5700">
                  <c:v>236.05324074074073</c:v>
                </c:pt>
                <c:pt idx="5701">
                  <c:v>236.05324074074073</c:v>
                </c:pt>
                <c:pt idx="5702">
                  <c:v>236.05324074074073</c:v>
                </c:pt>
                <c:pt idx="5703">
                  <c:v>236.05324074074073</c:v>
                </c:pt>
                <c:pt idx="5704">
                  <c:v>236.05324074074073</c:v>
                </c:pt>
                <c:pt idx="5705">
                  <c:v>233.56481481481478</c:v>
                </c:pt>
                <c:pt idx="5706">
                  <c:v>233.56481481481478</c:v>
                </c:pt>
                <c:pt idx="5707">
                  <c:v>233.56481481481478</c:v>
                </c:pt>
                <c:pt idx="5708">
                  <c:v>233.56481481481478</c:v>
                </c:pt>
                <c:pt idx="5709">
                  <c:v>233.56481481481478</c:v>
                </c:pt>
                <c:pt idx="5710">
                  <c:v>232.29166666666669</c:v>
                </c:pt>
                <c:pt idx="5711">
                  <c:v>232.29166666666669</c:v>
                </c:pt>
                <c:pt idx="5712">
                  <c:v>232.29166666666669</c:v>
                </c:pt>
                <c:pt idx="5713">
                  <c:v>232.29166666666669</c:v>
                </c:pt>
                <c:pt idx="5714">
                  <c:v>232.29166666666669</c:v>
                </c:pt>
                <c:pt idx="5715">
                  <c:v>231.13425925925927</c:v>
                </c:pt>
                <c:pt idx="5716">
                  <c:v>231.13425925925927</c:v>
                </c:pt>
                <c:pt idx="5717">
                  <c:v>231.13425925925927</c:v>
                </c:pt>
                <c:pt idx="5718">
                  <c:v>231.13425925925927</c:v>
                </c:pt>
                <c:pt idx="5719">
                  <c:v>231.13425925925927</c:v>
                </c:pt>
                <c:pt idx="5720">
                  <c:v>225.98379629629628</c:v>
                </c:pt>
                <c:pt idx="5721">
                  <c:v>225.98379629629628</c:v>
                </c:pt>
                <c:pt idx="5722">
                  <c:v>225.98379629629628</c:v>
                </c:pt>
                <c:pt idx="5723">
                  <c:v>225.98379629629628</c:v>
                </c:pt>
                <c:pt idx="5724">
                  <c:v>225.98379629629628</c:v>
                </c:pt>
                <c:pt idx="5725">
                  <c:v>227.08333333333334</c:v>
                </c:pt>
                <c:pt idx="5726">
                  <c:v>227.08333333333334</c:v>
                </c:pt>
                <c:pt idx="5727">
                  <c:v>227.08333333333334</c:v>
                </c:pt>
                <c:pt idx="5728">
                  <c:v>227.08333333333334</c:v>
                </c:pt>
                <c:pt idx="5729">
                  <c:v>227.08333333333334</c:v>
                </c:pt>
                <c:pt idx="5730">
                  <c:v>228.00925925925927</c:v>
                </c:pt>
                <c:pt idx="5731">
                  <c:v>228.00925925925927</c:v>
                </c:pt>
                <c:pt idx="5732">
                  <c:v>228.00925925925927</c:v>
                </c:pt>
                <c:pt idx="5733">
                  <c:v>228.00925925925927</c:v>
                </c:pt>
                <c:pt idx="5734">
                  <c:v>228.00925925925927</c:v>
                </c:pt>
                <c:pt idx="5735">
                  <c:v>232.8125</c:v>
                </c:pt>
                <c:pt idx="5736">
                  <c:v>232.8125</c:v>
                </c:pt>
                <c:pt idx="5737">
                  <c:v>232.8125</c:v>
                </c:pt>
                <c:pt idx="5738">
                  <c:v>232.8125</c:v>
                </c:pt>
                <c:pt idx="5739">
                  <c:v>232.8125</c:v>
                </c:pt>
                <c:pt idx="5740">
                  <c:v>237.96296296296299</c:v>
                </c:pt>
                <c:pt idx="5741">
                  <c:v>237.96296296296299</c:v>
                </c:pt>
                <c:pt idx="5742">
                  <c:v>237.96296296296299</c:v>
                </c:pt>
                <c:pt idx="5743">
                  <c:v>237.96296296296299</c:v>
                </c:pt>
                <c:pt idx="5744">
                  <c:v>237.96296296296299</c:v>
                </c:pt>
                <c:pt idx="5745">
                  <c:v>239.81481481481484</c:v>
                </c:pt>
                <c:pt idx="5746">
                  <c:v>239.81481481481484</c:v>
                </c:pt>
                <c:pt idx="5747">
                  <c:v>239.81481481481484</c:v>
                </c:pt>
                <c:pt idx="5748">
                  <c:v>239.81481481481484</c:v>
                </c:pt>
                <c:pt idx="5749">
                  <c:v>239.81481481481484</c:v>
                </c:pt>
                <c:pt idx="5750">
                  <c:v>244.27083333333334</c:v>
                </c:pt>
                <c:pt idx="5751">
                  <c:v>244.27083333333334</c:v>
                </c:pt>
                <c:pt idx="5752">
                  <c:v>244.27083333333334</c:v>
                </c:pt>
                <c:pt idx="5753">
                  <c:v>244.27083333333334</c:v>
                </c:pt>
                <c:pt idx="5754">
                  <c:v>244.27083333333334</c:v>
                </c:pt>
                <c:pt idx="5755">
                  <c:v>247.28009259259255</c:v>
                </c:pt>
                <c:pt idx="5756">
                  <c:v>247.28009259259255</c:v>
                </c:pt>
                <c:pt idx="5757">
                  <c:v>247.28009259259255</c:v>
                </c:pt>
                <c:pt idx="5758">
                  <c:v>247.28009259259255</c:v>
                </c:pt>
                <c:pt idx="5759">
                  <c:v>247.28009259259255</c:v>
                </c:pt>
                <c:pt idx="5760">
                  <c:v>244.6759259259259</c:v>
                </c:pt>
                <c:pt idx="5761">
                  <c:v>244.6759259259259</c:v>
                </c:pt>
                <c:pt idx="5762">
                  <c:v>244.6759259259259</c:v>
                </c:pt>
                <c:pt idx="5763">
                  <c:v>244.6759259259259</c:v>
                </c:pt>
                <c:pt idx="5764">
                  <c:v>244.6759259259259</c:v>
                </c:pt>
                <c:pt idx="5765">
                  <c:v>246.00694444444446</c:v>
                </c:pt>
                <c:pt idx="5766">
                  <c:v>246.00694444444446</c:v>
                </c:pt>
                <c:pt idx="5767">
                  <c:v>246.00694444444446</c:v>
                </c:pt>
                <c:pt idx="5768">
                  <c:v>246.00694444444446</c:v>
                </c:pt>
                <c:pt idx="5769">
                  <c:v>246.00694444444446</c:v>
                </c:pt>
                <c:pt idx="5770">
                  <c:v>250.46296296296299</c:v>
                </c:pt>
                <c:pt idx="5771">
                  <c:v>250.46296296296299</c:v>
                </c:pt>
                <c:pt idx="5772">
                  <c:v>250.46296296296299</c:v>
                </c:pt>
                <c:pt idx="5773">
                  <c:v>250.46296296296299</c:v>
                </c:pt>
                <c:pt idx="5774">
                  <c:v>250.46296296296299</c:v>
                </c:pt>
                <c:pt idx="5775">
                  <c:v>248.09027777777777</c:v>
                </c:pt>
                <c:pt idx="5776">
                  <c:v>248.09027777777777</c:v>
                </c:pt>
                <c:pt idx="5777">
                  <c:v>248.09027777777777</c:v>
                </c:pt>
                <c:pt idx="5778">
                  <c:v>248.09027777777777</c:v>
                </c:pt>
                <c:pt idx="5779">
                  <c:v>248.09027777777777</c:v>
                </c:pt>
                <c:pt idx="5780">
                  <c:v>248.4375</c:v>
                </c:pt>
                <c:pt idx="5781">
                  <c:v>248.4375</c:v>
                </c:pt>
                <c:pt idx="5782">
                  <c:v>248.4375</c:v>
                </c:pt>
                <c:pt idx="5783">
                  <c:v>248.4375</c:v>
                </c:pt>
                <c:pt idx="5784">
                  <c:v>248.4375</c:v>
                </c:pt>
                <c:pt idx="5785">
                  <c:v>253.125</c:v>
                </c:pt>
                <c:pt idx="5786">
                  <c:v>253.125</c:v>
                </c:pt>
                <c:pt idx="5787">
                  <c:v>253.125</c:v>
                </c:pt>
                <c:pt idx="5788">
                  <c:v>253.125</c:v>
                </c:pt>
                <c:pt idx="5789">
                  <c:v>253.125</c:v>
                </c:pt>
                <c:pt idx="5790">
                  <c:v>255.72916666666666</c:v>
                </c:pt>
                <c:pt idx="5791">
                  <c:v>255.72916666666666</c:v>
                </c:pt>
                <c:pt idx="5792">
                  <c:v>255.72916666666666</c:v>
                </c:pt>
                <c:pt idx="5793">
                  <c:v>255.72916666666666</c:v>
                </c:pt>
                <c:pt idx="5794">
                  <c:v>255.72916666666666</c:v>
                </c:pt>
                <c:pt idx="5795">
                  <c:v>256.07638888888886</c:v>
                </c:pt>
                <c:pt idx="5796">
                  <c:v>256.07638888888886</c:v>
                </c:pt>
                <c:pt idx="5797">
                  <c:v>256.07638888888886</c:v>
                </c:pt>
                <c:pt idx="5798">
                  <c:v>256.07638888888886</c:v>
                </c:pt>
                <c:pt idx="5799">
                  <c:v>256.07638888888886</c:v>
                </c:pt>
                <c:pt idx="5800">
                  <c:v>256.01851851851853</c:v>
                </c:pt>
                <c:pt idx="5801">
                  <c:v>256.01851851851853</c:v>
                </c:pt>
                <c:pt idx="5802">
                  <c:v>256.01851851851853</c:v>
                </c:pt>
                <c:pt idx="5803">
                  <c:v>256.01851851851853</c:v>
                </c:pt>
                <c:pt idx="5804">
                  <c:v>256.01851851851853</c:v>
                </c:pt>
                <c:pt idx="5805">
                  <c:v>257.11805555555554</c:v>
                </c:pt>
                <c:pt idx="5806">
                  <c:v>257.11805555555554</c:v>
                </c:pt>
                <c:pt idx="5807">
                  <c:v>257.11805555555554</c:v>
                </c:pt>
                <c:pt idx="5808">
                  <c:v>257.11805555555554</c:v>
                </c:pt>
                <c:pt idx="5809">
                  <c:v>257.11805555555554</c:v>
                </c:pt>
                <c:pt idx="5810">
                  <c:v>256.65509259259255</c:v>
                </c:pt>
                <c:pt idx="5811">
                  <c:v>256.65509259259255</c:v>
                </c:pt>
                <c:pt idx="5812">
                  <c:v>256.65509259259255</c:v>
                </c:pt>
                <c:pt idx="5813">
                  <c:v>256.65509259259255</c:v>
                </c:pt>
                <c:pt idx="5814">
                  <c:v>256.65509259259255</c:v>
                </c:pt>
                <c:pt idx="5815">
                  <c:v>258.44907407407408</c:v>
                </c:pt>
                <c:pt idx="5816">
                  <c:v>258.44907407407408</c:v>
                </c:pt>
                <c:pt idx="5817">
                  <c:v>258.44907407407408</c:v>
                </c:pt>
                <c:pt idx="5818">
                  <c:v>258.44907407407408</c:v>
                </c:pt>
                <c:pt idx="5819">
                  <c:v>258.44907407407408</c:v>
                </c:pt>
                <c:pt idx="5820">
                  <c:v>256.13425925925924</c:v>
                </c:pt>
                <c:pt idx="5821">
                  <c:v>256.13425925925924</c:v>
                </c:pt>
                <c:pt idx="5822">
                  <c:v>256.13425925925924</c:v>
                </c:pt>
                <c:pt idx="5823">
                  <c:v>256.13425925925924</c:v>
                </c:pt>
                <c:pt idx="5824">
                  <c:v>256.13425925925924</c:v>
                </c:pt>
                <c:pt idx="5825">
                  <c:v>259.78009259259261</c:v>
                </c:pt>
                <c:pt idx="5826">
                  <c:v>259.78009259259261</c:v>
                </c:pt>
                <c:pt idx="5827">
                  <c:v>259.78009259259261</c:v>
                </c:pt>
                <c:pt idx="5828">
                  <c:v>259.78009259259261</c:v>
                </c:pt>
                <c:pt idx="5829">
                  <c:v>259.78009259259261</c:v>
                </c:pt>
                <c:pt idx="5830">
                  <c:v>262.96296296296293</c:v>
                </c:pt>
                <c:pt idx="5831">
                  <c:v>262.96296296296293</c:v>
                </c:pt>
                <c:pt idx="5832">
                  <c:v>262.96296296296293</c:v>
                </c:pt>
                <c:pt idx="5833">
                  <c:v>262.96296296296293</c:v>
                </c:pt>
                <c:pt idx="5834">
                  <c:v>262.96296296296293</c:v>
                </c:pt>
                <c:pt idx="5835">
                  <c:v>264.98842592592592</c:v>
                </c:pt>
                <c:pt idx="5836">
                  <c:v>264.98842592592592</c:v>
                </c:pt>
                <c:pt idx="5837">
                  <c:v>264.98842592592592</c:v>
                </c:pt>
                <c:pt idx="5838">
                  <c:v>264.98842592592592</c:v>
                </c:pt>
                <c:pt idx="5839">
                  <c:v>264.98842592592592</c:v>
                </c:pt>
                <c:pt idx="5840">
                  <c:v>268.51851851851853</c:v>
                </c:pt>
                <c:pt idx="5841">
                  <c:v>268.51851851851853</c:v>
                </c:pt>
                <c:pt idx="5842">
                  <c:v>268.51851851851853</c:v>
                </c:pt>
                <c:pt idx="5843">
                  <c:v>268.51851851851853</c:v>
                </c:pt>
                <c:pt idx="5844">
                  <c:v>268.51851851851853</c:v>
                </c:pt>
                <c:pt idx="5845">
                  <c:v>268.75</c:v>
                </c:pt>
                <c:pt idx="5846">
                  <c:v>268.75</c:v>
                </c:pt>
                <c:pt idx="5847">
                  <c:v>268.75</c:v>
                </c:pt>
                <c:pt idx="5848">
                  <c:v>268.75</c:v>
                </c:pt>
                <c:pt idx="5849">
                  <c:v>268.75</c:v>
                </c:pt>
                <c:pt idx="5850">
                  <c:v>265.79861111111114</c:v>
                </c:pt>
                <c:pt idx="5851">
                  <c:v>265.79861111111114</c:v>
                </c:pt>
                <c:pt idx="5852">
                  <c:v>265.79861111111114</c:v>
                </c:pt>
                <c:pt idx="5853">
                  <c:v>265.79861111111114</c:v>
                </c:pt>
                <c:pt idx="5854">
                  <c:v>265.79861111111114</c:v>
                </c:pt>
                <c:pt idx="5855">
                  <c:v>266.2037037037037</c:v>
                </c:pt>
                <c:pt idx="5856">
                  <c:v>266.2037037037037</c:v>
                </c:pt>
                <c:pt idx="5857">
                  <c:v>266.2037037037037</c:v>
                </c:pt>
                <c:pt idx="5858">
                  <c:v>266.2037037037037</c:v>
                </c:pt>
                <c:pt idx="5859">
                  <c:v>266.2037037037037</c:v>
                </c:pt>
                <c:pt idx="5860">
                  <c:v>270.77546296296299</c:v>
                </c:pt>
                <c:pt idx="5861">
                  <c:v>270.77546296296299</c:v>
                </c:pt>
                <c:pt idx="5862">
                  <c:v>270.77546296296299</c:v>
                </c:pt>
                <c:pt idx="5863">
                  <c:v>270.77546296296299</c:v>
                </c:pt>
                <c:pt idx="5864">
                  <c:v>270.77546296296299</c:v>
                </c:pt>
                <c:pt idx="5865">
                  <c:v>270.08101851851853</c:v>
                </c:pt>
                <c:pt idx="5866">
                  <c:v>270.08101851851853</c:v>
                </c:pt>
                <c:pt idx="5867">
                  <c:v>270.08101851851853</c:v>
                </c:pt>
                <c:pt idx="5868">
                  <c:v>270.08101851851853</c:v>
                </c:pt>
                <c:pt idx="5869">
                  <c:v>270.08101851851853</c:v>
                </c:pt>
                <c:pt idx="5870">
                  <c:v>274.07407407407402</c:v>
                </c:pt>
                <c:pt idx="5871">
                  <c:v>274.07407407407402</c:v>
                </c:pt>
                <c:pt idx="5872">
                  <c:v>274.07407407407402</c:v>
                </c:pt>
                <c:pt idx="5873">
                  <c:v>274.07407407407402</c:v>
                </c:pt>
                <c:pt idx="5874">
                  <c:v>274.07407407407402</c:v>
                </c:pt>
                <c:pt idx="5875">
                  <c:v>274.94212962962968</c:v>
                </c:pt>
                <c:pt idx="5876">
                  <c:v>274.94212962962968</c:v>
                </c:pt>
                <c:pt idx="5877">
                  <c:v>274.94212962962968</c:v>
                </c:pt>
                <c:pt idx="5878">
                  <c:v>274.94212962962968</c:v>
                </c:pt>
                <c:pt idx="5879">
                  <c:v>274.94212962962968</c:v>
                </c:pt>
                <c:pt idx="5880">
                  <c:v>281.19212962962962</c:v>
                </c:pt>
                <c:pt idx="5881">
                  <c:v>281.19212962962962</c:v>
                </c:pt>
                <c:pt idx="5882">
                  <c:v>281.19212962962962</c:v>
                </c:pt>
                <c:pt idx="5883">
                  <c:v>281.19212962962962</c:v>
                </c:pt>
                <c:pt idx="5884">
                  <c:v>281.19212962962962</c:v>
                </c:pt>
                <c:pt idx="5885">
                  <c:v>278.7037037037037</c:v>
                </c:pt>
                <c:pt idx="5886">
                  <c:v>278.7037037037037</c:v>
                </c:pt>
                <c:pt idx="5887">
                  <c:v>278.7037037037037</c:v>
                </c:pt>
                <c:pt idx="5888">
                  <c:v>278.7037037037037</c:v>
                </c:pt>
                <c:pt idx="5889">
                  <c:v>278.7037037037037</c:v>
                </c:pt>
                <c:pt idx="5890">
                  <c:v>278.87731481481484</c:v>
                </c:pt>
                <c:pt idx="5891">
                  <c:v>278.87731481481484</c:v>
                </c:pt>
                <c:pt idx="5892">
                  <c:v>278.87731481481484</c:v>
                </c:pt>
                <c:pt idx="5893">
                  <c:v>278.87731481481484</c:v>
                </c:pt>
                <c:pt idx="5894">
                  <c:v>278.87731481481484</c:v>
                </c:pt>
                <c:pt idx="5895">
                  <c:v>281.30787037037038</c:v>
                </c:pt>
                <c:pt idx="5896">
                  <c:v>281.30787037037038</c:v>
                </c:pt>
                <c:pt idx="5897">
                  <c:v>281.30787037037038</c:v>
                </c:pt>
                <c:pt idx="5898">
                  <c:v>281.30787037037038</c:v>
                </c:pt>
                <c:pt idx="5899">
                  <c:v>281.30787037037038</c:v>
                </c:pt>
                <c:pt idx="5900">
                  <c:v>284.72222222222223</c:v>
                </c:pt>
                <c:pt idx="5901">
                  <c:v>284.72222222222223</c:v>
                </c:pt>
                <c:pt idx="5902">
                  <c:v>284.72222222222223</c:v>
                </c:pt>
                <c:pt idx="5903">
                  <c:v>284.72222222222223</c:v>
                </c:pt>
                <c:pt idx="5904">
                  <c:v>284.72222222222223</c:v>
                </c:pt>
                <c:pt idx="5905">
                  <c:v>285.87962962962968</c:v>
                </c:pt>
                <c:pt idx="5906">
                  <c:v>285.87962962962968</c:v>
                </c:pt>
                <c:pt idx="5907">
                  <c:v>285.87962962962968</c:v>
                </c:pt>
                <c:pt idx="5908">
                  <c:v>285.87962962962968</c:v>
                </c:pt>
                <c:pt idx="5909">
                  <c:v>285.87962962962968</c:v>
                </c:pt>
                <c:pt idx="5910">
                  <c:v>286.97916666666663</c:v>
                </c:pt>
                <c:pt idx="5911">
                  <c:v>286.97916666666663</c:v>
                </c:pt>
                <c:pt idx="5912">
                  <c:v>286.97916666666663</c:v>
                </c:pt>
                <c:pt idx="5913">
                  <c:v>286.97916666666663</c:v>
                </c:pt>
                <c:pt idx="5914">
                  <c:v>286.97916666666663</c:v>
                </c:pt>
                <c:pt idx="5915">
                  <c:v>285.2430555555556</c:v>
                </c:pt>
                <c:pt idx="5916">
                  <c:v>285.2430555555556</c:v>
                </c:pt>
                <c:pt idx="5917">
                  <c:v>285.2430555555556</c:v>
                </c:pt>
                <c:pt idx="5918">
                  <c:v>285.2430555555556</c:v>
                </c:pt>
                <c:pt idx="5919">
                  <c:v>285.2430555555556</c:v>
                </c:pt>
                <c:pt idx="5920">
                  <c:v>282.40740740740739</c:v>
                </c:pt>
                <c:pt idx="5921">
                  <c:v>282.40740740740739</c:v>
                </c:pt>
                <c:pt idx="5922">
                  <c:v>282.40740740740739</c:v>
                </c:pt>
                <c:pt idx="5923">
                  <c:v>282.40740740740739</c:v>
                </c:pt>
                <c:pt idx="5924">
                  <c:v>282.40740740740739</c:v>
                </c:pt>
                <c:pt idx="5925">
                  <c:v>286.16898148148147</c:v>
                </c:pt>
                <c:pt idx="5926">
                  <c:v>286.16898148148147</c:v>
                </c:pt>
                <c:pt idx="5927">
                  <c:v>286.16898148148147</c:v>
                </c:pt>
                <c:pt idx="5928">
                  <c:v>286.16898148148147</c:v>
                </c:pt>
                <c:pt idx="5929">
                  <c:v>286.16898148148147</c:v>
                </c:pt>
                <c:pt idx="5930">
                  <c:v>286.97916666666663</c:v>
                </c:pt>
                <c:pt idx="5931">
                  <c:v>286.97916666666663</c:v>
                </c:pt>
                <c:pt idx="5932">
                  <c:v>286.97916666666663</c:v>
                </c:pt>
                <c:pt idx="5933">
                  <c:v>286.97916666666663</c:v>
                </c:pt>
                <c:pt idx="5934">
                  <c:v>286.97916666666663</c:v>
                </c:pt>
                <c:pt idx="5935">
                  <c:v>285.82175925925924</c:v>
                </c:pt>
                <c:pt idx="5936">
                  <c:v>285.82175925925924</c:v>
                </c:pt>
                <c:pt idx="5937">
                  <c:v>285.82175925925924</c:v>
                </c:pt>
                <c:pt idx="5938">
                  <c:v>285.82175925925924</c:v>
                </c:pt>
                <c:pt idx="5939">
                  <c:v>285.82175925925924</c:v>
                </c:pt>
                <c:pt idx="5940">
                  <c:v>285.41666666666669</c:v>
                </c:pt>
                <c:pt idx="5941">
                  <c:v>285.41666666666669</c:v>
                </c:pt>
                <c:pt idx="5942">
                  <c:v>285.41666666666669</c:v>
                </c:pt>
                <c:pt idx="5943">
                  <c:v>285.41666666666669</c:v>
                </c:pt>
                <c:pt idx="5944">
                  <c:v>285.41666666666669</c:v>
                </c:pt>
                <c:pt idx="5945">
                  <c:v>289.69907407407408</c:v>
                </c:pt>
                <c:pt idx="5946">
                  <c:v>289.69907407407408</c:v>
                </c:pt>
                <c:pt idx="5947">
                  <c:v>289.69907407407408</c:v>
                </c:pt>
                <c:pt idx="5948">
                  <c:v>289.69907407407408</c:v>
                </c:pt>
                <c:pt idx="5949">
                  <c:v>289.69907407407408</c:v>
                </c:pt>
                <c:pt idx="5950">
                  <c:v>288.02083333333337</c:v>
                </c:pt>
                <c:pt idx="5951">
                  <c:v>288.02083333333337</c:v>
                </c:pt>
                <c:pt idx="5952">
                  <c:v>288.02083333333337</c:v>
                </c:pt>
                <c:pt idx="5953">
                  <c:v>288.02083333333337</c:v>
                </c:pt>
                <c:pt idx="5954">
                  <c:v>288.02083333333337</c:v>
                </c:pt>
                <c:pt idx="5955">
                  <c:v>290.625</c:v>
                </c:pt>
                <c:pt idx="5956">
                  <c:v>290.625</c:v>
                </c:pt>
                <c:pt idx="5957">
                  <c:v>290.625</c:v>
                </c:pt>
                <c:pt idx="5958">
                  <c:v>290.625</c:v>
                </c:pt>
                <c:pt idx="5959">
                  <c:v>290.625</c:v>
                </c:pt>
                <c:pt idx="5960">
                  <c:v>292.41898148148147</c:v>
                </c:pt>
                <c:pt idx="5961">
                  <c:v>292.41898148148147</c:v>
                </c:pt>
                <c:pt idx="5962">
                  <c:v>292.41898148148147</c:v>
                </c:pt>
                <c:pt idx="5963">
                  <c:v>292.41898148148147</c:v>
                </c:pt>
                <c:pt idx="5964">
                  <c:v>292.41898148148147</c:v>
                </c:pt>
                <c:pt idx="5965">
                  <c:v>296.06481481481478</c:v>
                </c:pt>
                <c:pt idx="5966">
                  <c:v>296.06481481481478</c:v>
                </c:pt>
                <c:pt idx="5967">
                  <c:v>296.06481481481478</c:v>
                </c:pt>
                <c:pt idx="5968">
                  <c:v>296.06481481481478</c:v>
                </c:pt>
                <c:pt idx="5969">
                  <c:v>296.06481481481478</c:v>
                </c:pt>
                <c:pt idx="5970">
                  <c:v>293.86574074074076</c:v>
                </c:pt>
                <c:pt idx="5971">
                  <c:v>293.86574074074076</c:v>
                </c:pt>
                <c:pt idx="5972">
                  <c:v>293.86574074074076</c:v>
                </c:pt>
                <c:pt idx="5973">
                  <c:v>293.86574074074076</c:v>
                </c:pt>
                <c:pt idx="5974">
                  <c:v>293.86574074074076</c:v>
                </c:pt>
                <c:pt idx="5975">
                  <c:v>292.24537037037038</c:v>
                </c:pt>
                <c:pt idx="5976">
                  <c:v>292.24537037037038</c:v>
                </c:pt>
                <c:pt idx="5977">
                  <c:v>292.24537037037038</c:v>
                </c:pt>
                <c:pt idx="5978">
                  <c:v>292.24537037037038</c:v>
                </c:pt>
                <c:pt idx="5979">
                  <c:v>292.24537037037038</c:v>
                </c:pt>
                <c:pt idx="5980">
                  <c:v>294.21296296296293</c:v>
                </c:pt>
                <c:pt idx="5981">
                  <c:v>294.21296296296293</c:v>
                </c:pt>
                <c:pt idx="5982">
                  <c:v>294.21296296296293</c:v>
                </c:pt>
                <c:pt idx="5983">
                  <c:v>294.21296296296293</c:v>
                </c:pt>
                <c:pt idx="5984">
                  <c:v>294.21296296296293</c:v>
                </c:pt>
                <c:pt idx="5985">
                  <c:v>294.90740740740739</c:v>
                </c:pt>
                <c:pt idx="5986">
                  <c:v>294.90740740740739</c:v>
                </c:pt>
                <c:pt idx="5987">
                  <c:v>294.90740740740739</c:v>
                </c:pt>
                <c:pt idx="5988">
                  <c:v>294.90740740740739</c:v>
                </c:pt>
                <c:pt idx="5989">
                  <c:v>294.90740740740739</c:v>
                </c:pt>
                <c:pt idx="5990">
                  <c:v>301.62037037037038</c:v>
                </c:pt>
                <c:pt idx="5991">
                  <c:v>301.62037037037038</c:v>
                </c:pt>
                <c:pt idx="5992">
                  <c:v>301.62037037037038</c:v>
                </c:pt>
                <c:pt idx="5993">
                  <c:v>301.62037037037038</c:v>
                </c:pt>
                <c:pt idx="5994">
                  <c:v>301.62037037037038</c:v>
                </c:pt>
                <c:pt idx="5995">
                  <c:v>300.6944444444444</c:v>
                </c:pt>
                <c:pt idx="5996">
                  <c:v>300.6944444444444</c:v>
                </c:pt>
                <c:pt idx="5997">
                  <c:v>300.6944444444444</c:v>
                </c:pt>
                <c:pt idx="5998">
                  <c:v>300.6944444444444</c:v>
                </c:pt>
                <c:pt idx="5999">
                  <c:v>300.6944444444444</c:v>
                </c:pt>
                <c:pt idx="6000">
                  <c:v>308.7962962962963</c:v>
                </c:pt>
                <c:pt idx="6001">
                  <c:v>308.7962962962963</c:v>
                </c:pt>
                <c:pt idx="6002">
                  <c:v>308.7962962962963</c:v>
                </c:pt>
                <c:pt idx="6003">
                  <c:v>308.7962962962963</c:v>
                </c:pt>
                <c:pt idx="6004">
                  <c:v>308.7962962962963</c:v>
                </c:pt>
                <c:pt idx="6005">
                  <c:v>309.89583333333337</c:v>
                </c:pt>
                <c:pt idx="6006">
                  <c:v>309.89583333333337</c:v>
                </c:pt>
                <c:pt idx="6007">
                  <c:v>309.89583333333337</c:v>
                </c:pt>
                <c:pt idx="6008">
                  <c:v>309.89583333333337</c:v>
                </c:pt>
                <c:pt idx="6009">
                  <c:v>309.89583333333337</c:v>
                </c:pt>
                <c:pt idx="6010">
                  <c:v>321.35416666666663</c:v>
                </c:pt>
                <c:pt idx="6011">
                  <c:v>321.35416666666663</c:v>
                </c:pt>
                <c:pt idx="6012">
                  <c:v>321.35416666666663</c:v>
                </c:pt>
                <c:pt idx="6013">
                  <c:v>321.35416666666663</c:v>
                </c:pt>
                <c:pt idx="6014">
                  <c:v>321.35416666666663</c:v>
                </c:pt>
                <c:pt idx="6015">
                  <c:v>320.83333333333331</c:v>
                </c:pt>
                <c:pt idx="6016">
                  <c:v>320.83333333333331</c:v>
                </c:pt>
                <c:pt idx="6017">
                  <c:v>320.83333333333331</c:v>
                </c:pt>
                <c:pt idx="6018">
                  <c:v>320.83333333333331</c:v>
                </c:pt>
                <c:pt idx="6019">
                  <c:v>320.83333333333331</c:v>
                </c:pt>
                <c:pt idx="6020">
                  <c:v>323.09027777777783</c:v>
                </c:pt>
                <c:pt idx="6021">
                  <c:v>323.09027777777783</c:v>
                </c:pt>
                <c:pt idx="6022">
                  <c:v>323.09027777777783</c:v>
                </c:pt>
                <c:pt idx="6023">
                  <c:v>323.09027777777783</c:v>
                </c:pt>
                <c:pt idx="6024">
                  <c:v>323.09027777777783</c:v>
                </c:pt>
                <c:pt idx="6025">
                  <c:v>323.84259259259261</c:v>
                </c:pt>
                <c:pt idx="6026">
                  <c:v>323.84259259259261</c:v>
                </c:pt>
                <c:pt idx="6027">
                  <c:v>323.84259259259261</c:v>
                </c:pt>
                <c:pt idx="6028">
                  <c:v>323.84259259259261</c:v>
                </c:pt>
                <c:pt idx="6029">
                  <c:v>323.84259259259261</c:v>
                </c:pt>
                <c:pt idx="6030">
                  <c:v>325.52083333333337</c:v>
                </c:pt>
                <c:pt idx="6031">
                  <c:v>325.52083333333337</c:v>
                </c:pt>
                <c:pt idx="6032">
                  <c:v>325.52083333333337</c:v>
                </c:pt>
                <c:pt idx="6033">
                  <c:v>325.52083333333337</c:v>
                </c:pt>
                <c:pt idx="6034">
                  <c:v>325.52083333333337</c:v>
                </c:pt>
                <c:pt idx="6035">
                  <c:v>328.58796296296299</c:v>
                </c:pt>
                <c:pt idx="6036">
                  <c:v>328.58796296296299</c:v>
                </c:pt>
                <c:pt idx="6037">
                  <c:v>328.58796296296299</c:v>
                </c:pt>
                <c:pt idx="6038">
                  <c:v>328.58796296296299</c:v>
                </c:pt>
                <c:pt idx="6039">
                  <c:v>328.58796296296299</c:v>
                </c:pt>
                <c:pt idx="6040">
                  <c:v>327.77777777777777</c:v>
                </c:pt>
                <c:pt idx="6041">
                  <c:v>327.77777777777777</c:v>
                </c:pt>
                <c:pt idx="6042">
                  <c:v>327.77777777777777</c:v>
                </c:pt>
                <c:pt idx="6043">
                  <c:v>327.77777777777777</c:v>
                </c:pt>
                <c:pt idx="6044">
                  <c:v>327.77777777777777</c:v>
                </c:pt>
                <c:pt idx="6045">
                  <c:v>326.85185185185179</c:v>
                </c:pt>
                <c:pt idx="6046">
                  <c:v>326.85185185185179</c:v>
                </c:pt>
                <c:pt idx="6047">
                  <c:v>326.85185185185179</c:v>
                </c:pt>
                <c:pt idx="6048">
                  <c:v>326.85185185185179</c:v>
                </c:pt>
                <c:pt idx="6049">
                  <c:v>326.85185185185179</c:v>
                </c:pt>
                <c:pt idx="6050">
                  <c:v>318.98148148148147</c:v>
                </c:pt>
                <c:pt idx="6051">
                  <c:v>318.98148148148147</c:v>
                </c:pt>
                <c:pt idx="6052">
                  <c:v>318.98148148148147</c:v>
                </c:pt>
                <c:pt idx="6053">
                  <c:v>318.98148148148147</c:v>
                </c:pt>
                <c:pt idx="6054">
                  <c:v>318.98148148148147</c:v>
                </c:pt>
                <c:pt idx="6055">
                  <c:v>319.96527777777777</c:v>
                </c:pt>
                <c:pt idx="6056">
                  <c:v>319.96527777777777</c:v>
                </c:pt>
                <c:pt idx="6057">
                  <c:v>319.96527777777777</c:v>
                </c:pt>
                <c:pt idx="6058">
                  <c:v>319.96527777777777</c:v>
                </c:pt>
                <c:pt idx="6059">
                  <c:v>319.96527777777777</c:v>
                </c:pt>
                <c:pt idx="6060">
                  <c:v>318.98148148148147</c:v>
                </c:pt>
                <c:pt idx="6061">
                  <c:v>318.98148148148147</c:v>
                </c:pt>
                <c:pt idx="6062">
                  <c:v>318.98148148148147</c:v>
                </c:pt>
                <c:pt idx="6063">
                  <c:v>318.98148148148147</c:v>
                </c:pt>
                <c:pt idx="6064">
                  <c:v>318.98148148148147</c:v>
                </c:pt>
                <c:pt idx="6065">
                  <c:v>318.57638888888886</c:v>
                </c:pt>
                <c:pt idx="6066">
                  <c:v>318.57638888888886</c:v>
                </c:pt>
                <c:pt idx="6067">
                  <c:v>318.57638888888886</c:v>
                </c:pt>
                <c:pt idx="6068">
                  <c:v>318.57638888888886</c:v>
                </c:pt>
                <c:pt idx="6069">
                  <c:v>318.57638888888886</c:v>
                </c:pt>
                <c:pt idx="6070">
                  <c:v>313.42592592592598</c:v>
                </c:pt>
                <c:pt idx="6071">
                  <c:v>313.42592592592598</c:v>
                </c:pt>
                <c:pt idx="6072">
                  <c:v>313.42592592592598</c:v>
                </c:pt>
                <c:pt idx="6073">
                  <c:v>313.42592592592598</c:v>
                </c:pt>
                <c:pt idx="6074">
                  <c:v>313.42592592592598</c:v>
                </c:pt>
                <c:pt idx="6075">
                  <c:v>316.37731481481478</c:v>
                </c:pt>
                <c:pt idx="6076">
                  <c:v>316.37731481481478</c:v>
                </c:pt>
                <c:pt idx="6077">
                  <c:v>316.37731481481478</c:v>
                </c:pt>
                <c:pt idx="6078">
                  <c:v>316.37731481481478</c:v>
                </c:pt>
                <c:pt idx="6079">
                  <c:v>316.37731481481478</c:v>
                </c:pt>
                <c:pt idx="6080">
                  <c:v>315.16203703703701</c:v>
                </c:pt>
                <c:pt idx="6081">
                  <c:v>315.16203703703701</c:v>
                </c:pt>
                <c:pt idx="6082">
                  <c:v>315.16203703703701</c:v>
                </c:pt>
                <c:pt idx="6083">
                  <c:v>315.16203703703701</c:v>
                </c:pt>
                <c:pt idx="6084">
                  <c:v>315.16203703703701</c:v>
                </c:pt>
                <c:pt idx="6085">
                  <c:v>314.0625</c:v>
                </c:pt>
                <c:pt idx="6086">
                  <c:v>314.0625</c:v>
                </c:pt>
                <c:pt idx="6087">
                  <c:v>314.0625</c:v>
                </c:pt>
                <c:pt idx="6088">
                  <c:v>314.0625</c:v>
                </c:pt>
                <c:pt idx="6089">
                  <c:v>314.0625</c:v>
                </c:pt>
                <c:pt idx="6090">
                  <c:v>312.90509259259261</c:v>
                </c:pt>
                <c:pt idx="6091">
                  <c:v>312.90509259259261</c:v>
                </c:pt>
                <c:pt idx="6092">
                  <c:v>312.90509259259261</c:v>
                </c:pt>
                <c:pt idx="6093">
                  <c:v>312.90509259259261</c:v>
                </c:pt>
                <c:pt idx="6094">
                  <c:v>312.90509259259261</c:v>
                </c:pt>
                <c:pt idx="6095">
                  <c:v>313.13657407407402</c:v>
                </c:pt>
                <c:pt idx="6096">
                  <c:v>313.13657407407402</c:v>
                </c:pt>
                <c:pt idx="6097">
                  <c:v>313.13657407407402</c:v>
                </c:pt>
                <c:pt idx="6098">
                  <c:v>313.13657407407402</c:v>
                </c:pt>
                <c:pt idx="6099">
                  <c:v>313.13657407407402</c:v>
                </c:pt>
                <c:pt idx="6100">
                  <c:v>311.45833333333331</c:v>
                </c:pt>
                <c:pt idx="6101">
                  <c:v>311.45833333333331</c:v>
                </c:pt>
                <c:pt idx="6102">
                  <c:v>311.45833333333331</c:v>
                </c:pt>
                <c:pt idx="6103">
                  <c:v>311.45833333333331</c:v>
                </c:pt>
                <c:pt idx="6104">
                  <c:v>311.45833333333331</c:v>
                </c:pt>
                <c:pt idx="6105">
                  <c:v>312.55787037037038</c:v>
                </c:pt>
                <c:pt idx="6106">
                  <c:v>312.55787037037038</c:v>
                </c:pt>
                <c:pt idx="6107">
                  <c:v>312.55787037037038</c:v>
                </c:pt>
                <c:pt idx="6108">
                  <c:v>312.55787037037038</c:v>
                </c:pt>
                <c:pt idx="6109">
                  <c:v>312.55787037037038</c:v>
                </c:pt>
                <c:pt idx="6110">
                  <c:v>309.83796296296299</c:v>
                </c:pt>
                <c:pt idx="6111">
                  <c:v>309.83796296296299</c:v>
                </c:pt>
                <c:pt idx="6112">
                  <c:v>309.83796296296299</c:v>
                </c:pt>
                <c:pt idx="6113">
                  <c:v>309.83796296296299</c:v>
                </c:pt>
                <c:pt idx="6114">
                  <c:v>309.83796296296299</c:v>
                </c:pt>
                <c:pt idx="6115">
                  <c:v>312.21064814814815</c:v>
                </c:pt>
                <c:pt idx="6116">
                  <c:v>312.21064814814815</c:v>
                </c:pt>
                <c:pt idx="6117">
                  <c:v>312.21064814814815</c:v>
                </c:pt>
                <c:pt idx="6118">
                  <c:v>312.21064814814815</c:v>
                </c:pt>
                <c:pt idx="6119">
                  <c:v>312.21064814814815</c:v>
                </c:pt>
                <c:pt idx="6120">
                  <c:v>314.23611111111114</c:v>
                </c:pt>
                <c:pt idx="6121">
                  <c:v>314.23611111111114</c:v>
                </c:pt>
                <c:pt idx="6122">
                  <c:v>314.23611111111114</c:v>
                </c:pt>
                <c:pt idx="6123">
                  <c:v>314.23611111111114</c:v>
                </c:pt>
                <c:pt idx="6124">
                  <c:v>314.23611111111114</c:v>
                </c:pt>
                <c:pt idx="6125">
                  <c:v>314.35185185185185</c:v>
                </c:pt>
                <c:pt idx="6126">
                  <c:v>314.35185185185185</c:v>
                </c:pt>
                <c:pt idx="6127">
                  <c:v>314.35185185185185</c:v>
                </c:pt>
                <c:pt idx="6128">
                  <c:v>314.35185185185185</c:v>
                </c:pt>
                <c:pt idx="6129">
                  <c:v>314.35185185185185</c:v>
                </c:pt>
                <c:pt idx="6130">
                  <c:v>311.6319444444444</c:v>
                </c:pt>
                <c:pt idx="6131">
                  <c:v>311.6319444444444</c:v>
                </c:pt>
                <c:pt idx="6132">
                  <c:v>311.6319444444444</c:v>
                </c:pt>
                <c:pt idx="6133">
                  <c:v>311.6319444444444</c:v>
                </c:pt>
                <c:pt idx="6134">
                  <c:v>311.6319444444444</c:v>
                </c:pt>
                <c:pt idx="6135">
                  <c:v>314.46759259259261</c:v>
                </c:pt>
                <c:pt idx="6136">
                  <c:v>314.46759259259261</c:v>
                </c:pt>
                <c:pt idx="6137">
                  <c:v>314.46759259259261</c:v>
                </c:pt>
                <c:pt idx="6138">
                  <c:v>314.46759259259261</c:v>
                </c:pt>
                <c:pt idx="6139">
                  <c:v>314.46759259259261</c:v>
                </c:pt>
                <c:pt idx="6140">
                  <c:v>316.84027777777777</c:v>
                </c:pt>
                <c:pt idx="6141">
                  <c:v>316.84027777777777</c:v>
                </c:pt>
                <c:pt idx="6142">
                  <c:v>316.84027777777777</c:v>
                </c:pt>
                <c:pt idx="6143">
                  <c:v>316.84027777777777</c:v>
                </c:pt>
                <c:pt idx="6144">
                  <c:v>316.84027777777777</c:v>
                </c:pt>
                <c:pt idx="6145">
                  <c:v>316.2037037037037</c:v>
                </c:pt>
                <c:pt idx="6146">
                  <c:v>316.2037037037037</c:v>
                </c:pt>
                <c:pt idx="6147">
                  <c:v>316.2037037037037</c:v>
                </c:pt>
                <c:pt idx="6148">
                  <c:v>316.2037037037037</c:v>
                </c:pt>
                <c:pt idx="6149">
                  <c:v>316.2037037037037</c:v>
                </c:pt>
                <c:pt idx="6150">
                  <c:v>315.33564814814815</c:v>
                </c:pt>
                <c:pt idx="6151">
                  <c:v>315.33564814814815</c:v>
                </c:pt>
                <c:pt idx="6152">
                  <c:v>315.33564814814815</c:v>
                </c:pt>
                <c:pt idx="6153">
                  <c:v>315.33564814814815</c:v>
                </c:pt>
                <c:pt idx="6154">
                  <c:v>315.33564814814815</c:v>
                </c:pt>
                <c:pt idx="6155">
                  <c:v>316.4930555555556</c:v>
                </c:pt>
                <c:pt idx="6156">
                  <c:v>316.4930555555556</c:v>
                </c:pt>
                <c:pt idx="6157">
                  <c:v>316.4930555555556</c:v>
                </c:pt>
                <c:pt idx="6158">
                  <c:v>316.4930555555556</c:v>
                </c:pt>
                <c:pt idx="6159">
                  <c:v>316.4930555555556</c:v>
                </c:pt>
                <c:pt idx="6160">
                  <c:v>317.41898148148147</c:v>
                </c:pt>
                <c:pt idx="6161">
                  <c:v>317.41898148148147</c:v>
                </c:pt>
                <c:pt idx="6162">
                  <c:v>317.41898148148147</c:v>
                </c:pt>
                <c:pt idx="6163">
                  <c:v>317.41898148148147</c:v>
                </c:pt>
                <c:pt idx="6164">
                  <c:v>317.41898148148147</c:v>
                </c:pt>
                <c:pt idx="6165">
                  <c:v>319.79166666666663</c:v>
                </c:pt>
                <c:pt idx="6166">
                  <c:v>319.79166666666663</c:v>
                </c:pt>
                <c:pt idx="6167">
                  <c:v>319.79166666666663</c:v>
                </c:pt>
                <c:pt idx="6168">
                  <c:v>319.79166666666663</c:v>
                </c:pt>
                <c:pt idx="6169">
                  <c:v>319.79166666666663</c:v>
                </c:pt>
                <c:pt idx="6170">
                  <c:v>319.84953703703707</c:v>
                </c:pt>
                <c:pt idx="6171">
                  <c:v>319.84953703703707</c:v>
                </c:pt>
                <c:pt idx="6172">
                  <c:v>319.84953703703707</c:v>
                </c:pt>
                <c:pt idx="6173">
                  <c:v>319.84953703703707</c:v>
                </c:pt>
                <c:pt idx="6174">
                  <c:v>319.84953703703707</c:v>
                </c:pt>
                <c:pt idx="6175">
                  <c:v>319.90740740740739</c:v>
                </c:pt>
                <c:pt idx="6176">
                  <c:v>319.90740740740739</c:v>
                </c:pt>
                <c:pt idx="6177">
                  <c:v>319.90740740740739</c:v>
                </c:pt>
                <c:pt idx="6178">
                  <c:v>319.90740740740739</c:v>
                </c:pt>
                <c:pt idx="6179">
                  <c:v>319.90740740740739</c:v>
                </c:pt>
                <c:pt idx="6180">
                  <c:v>320.3125</c:v>
                </c:pt>
                <c:pt idx="6181">
                  <c:v>320.3125</c:v>
                </c:pt>
                <c:pt idx="6182">
                  <c:v>320.3125</c:v>
                </c:pt>
                <c:pt idx="6183">
                  <c:v>320.3125</c:v>
                </c:pt>
                <c:pt idx="6184">
                  <c:v>320.3125</c:v>
                </c:pt>
                <c:pt idx="6185">
                  <c:v>319.84953703703707</c:v>
                </c:pt>
                <c:pt idx="6186">
                  <c:v>319.84953703703707</c:v>
                </c:pt>
                <c:pt idx="6187">
                  <c:v>319.84953703703707</c:v>
                </c:pt>
                <c:pt idx="6188">
                  <c:v>319.84953703703707</c:v>
                </c:pt>
                <c:pt idx="6189">
                  <c:v>319.84953703703707</c:v>
                </c:pt>
                <c:pt idx="6190">
                  <c:v>319.90740740740739</c:v>
                </c:pt>
                <c:pt idx="6191">
                  <c:v>319.90740740740739</c:v>
                </c:pt>
                <c:pt idx="6192">
                  <c:v>319.90740740740739</c:v>
                </c:pt>
                <c:pt idx="6193">
                  <c:v>319.90740740740739</c:v>
                </c:pt>
                <c:pt idx="6194">
                  <c:v>319.90740740740739</c:v>
                </c:pt>
                <c:pt idx="6195">
                  <c:v>323.61111111111109</c:v>
                </c:pt>
                <c:pt idx="6196">
                  <c:v>323.61111111111109</c:v>
                </c:pt>
                <c:pt idx="6197">
                  <c:v>323.61111111111109</c:v>
                </c:pt>
                <c:pt idx="6198">
                  <c:v>323.61111111111109</c:v>
                </c:pt>
                <c:pt idx="6199">
                  <c:v>323.61111111111109</c:v>
                </c:pt>
                <c:pt idx="6200">
                  <c:v>323.84259259259261</c:v>
                </c:pt>
                <c:pt idx="6201">
                  <c:v>323.84259259259261</c:v>
                </c:pt>
                <c:pt idx="6202">
                  <c:v>323.84259259259261</c:v>
                </c:pt>
                <c:pt idx="6203">
                  <c:v>323.84259259259261</c:v>
                </c:pt>
                <c:pt idx="6204">
                  <c:v>323.84259259259261</c:v>
                </c:pt>
                <c:pt idx="6205">
                  <c:v>322.97453703703707</c:v>
                </c:pt>
                <c:pt idx="6206">
                  <c:v>322.97453703703707</c:v>
                </c:pt>
                <c:pt idx="6207">
                  <c:v>322.97453703703707</c:v>
                </c:pt>
                <c:pt idx="6208">
                  <c:v>322.97453703703707</c:v>
                </c:pt>
                <c:pt idx="6209">
                  <c:v>322.97453703703707</c:v>
                </c:pt>
                <c:pt idx="6210">
                  <c:v>322.5694444444444</c:v>
                </c:pt>
                <c:pt idx="6211">
                  <c:v>322.5694444444444</c:v>
                </c:pt>
                <c:pt idx="6212">
                  <c:v>322.5694444444444</c:v>
                </c:pt>
                <c:pt idx="6213">
                  <c:v>322.5694444444444</c:v>
                </c:pt>
                <c:pt idx="6214">
                  <c:v>322.5694444444444</c:v>
                </c:pt>
                <c:pt idx="6215">
                  <c:v>320.60185185185185</c:v>
                </c:pt>
                <c:pt idx="6216">
                  <c:v>320.60185185185185</c:v>
                </c:pt>
                <c:pt idx="6217">
                  <c:v>320.60185185185185</c:v>
                </c:pt>
                <c:pt idx="6218">
                  <c:v>320.60185185185185</c:v>
                </c:pt>
                <c:pt idx="6219">
                  <c:v>320.60185185185185</c:v>
                </c:pt>
                <c:pt idx="6220">
                  <c:v>322.8587962962963</c:v>
                </c:pt>
                <c:pt idx="6221">
                  <c:v>322.8587962962963</c:v>
                </c:pt>
                <c:pt idx="6222">
                  <c:v>322.8587962962963</c:v>
                </c:pt>
                <c:pt idx="6223">
                  <c:v>322.8587962962963</c:v>
                </c:pt>
                <c:pt idx="6224">
                  <c:v>322.8587962962963</c:v>
                </c:pt>
                <c:pt idx="6225">
                  <c:v>318.92361111111114</c:v>
                </c:pt>
                <c:pt idx="6226">
                  <c:v>318.92361111111114</c:v>
                </c:pt>
                <c:pt idx="6227">
                  <c:v>318.92361111111114</c:v>
                </c:pt>
                <c:pt idx="6228">
                  <c:v>318.92361111111114</c:v>
                </c:pt>
                <c:pt idx="6229">
                  <c:v>318.92361111111114</c:v>
                </c:pt>
                <c:pt idx="6230">
                  <c:v>330.2662037037037</c:v>
                </c:pt>
                <c:pt idx="6231">
                  <c:v>330.2662037037037</c:v>
                </c:pt>
                <c:pt idx="6232">
                  <c:v>330.2662037037037</c:v>
                </c:pt>
                <c:pt idx="6233">
                  <c:v>330.2662037037037</c:v>
                </c:pt>
                <c:pt idx="6234">
                  <c:v>330.2662037037037</c:v>
                </c:pt>
                <c:pt idx="6235">
                  <c:v>328.47222222222223</c:v>
                </c:pt>
                <c:pt idx="6236">
                  <c:v>328.47222222222223</c:v>
                </c:pt>
                <c:pt idx="6237">
                  <c:v>328.47222222222223</c:v>
                </c:pt>
                <c:pt idx="6238">
                  <c:v>328.47222222222223</c:v>
                </c:pt>
                <c:pt idx="6239">
                  <c:v>328.47222222222223</c:v>
                </c:pt>
                <c:pt idx="6240">
                  <c:v>331.42361111111114</c:v>
                </c:pt>
                <c:pt idx="6241">
                  <c:v>331.42361111111114</c:v>
                </c:pt>
                <c:pt idx="6242">
                  <c:v>331.42361111111114</c:v>
                </c:pt>
                <c:pt idx="6243">
                  <c:v>331.42361111111114</c:v>
                </c:pt>
                <c:pt idx="6244">
                  <c:v>331.42361111111114</c:v>
                </c:pt>
                <c:pt idx="6245">
                  <c:v>333.10185185185185</c:v>
                </c:pt>
                <c:pt idx="6246">
                  <c:v>333.10185185185185</c:v>
                </c:pt>
                <c:pt idx="6247">
                  <c:v>333.10185185185185</c:v>
                </c:pt>
                <c:pt idx="6248">
                  <c:v>333.10185185185185</c:v>
                </c:pt>
                <c:pt idx="6249">
                  <c:v>333.10185185185185</c:v>
                </c:pt>
                <c:pt idx="6250">
                  <c:v>340.27777777777777</c:v>
                </c:pt>
                <c:pt idx="6251">
                  <c:v>340.27777777777777</c:v>
                </c:pt>
                <c:pt idx="6252">
                  <c:v>340.27777777777777</c:v>
                </c:pt>
                <c:pt idx="6253">
                  <c:v>340.27777777777777</c:v>
                </c:pt>
                <c:pt idx="6254">
                  <c:v>340.27777777777777</c:v>
                </c:pt>
                <c:pt idx="6255">
                  <c:v>340.5092592592593</c:v>
                </c:pt>
                <c:pt idx="6256">
                  <c:v>340.5092592592593</c:v>
                </c:pt>
                <c:pt idx="6257">
                  <c:v>340.5092592592593</c:v>
                </c:pt>
                <c:pt idx="6258">
                  <c:v>340.5092592592593</c:v>
                </c:pt>
                <c:pt idx="6259">
                  <c:v>340.5092592592593</c:v>
                </c:pt>
                <c:pt idx="6260">
                  <c:v>340.97222222222223</c:v>
                </c:pt>
                <c:pt idx="6261">
                  <c:v>340.97222222222223</c:v>
                </c:pt>
                <c:pt idx="6262">
                  <c:v>340.97222222222223</c:v>
                </c:pt>
                <c:pt idx="6263">
                  <c:v>340.97222222222223</c:v>
                </c:pt>
                <c:pt idx="6264">
                  <c:v>340.97222222222223</c:v>
                </c:pt>
                <c:pt idx="6265">
                  <c:v>320.83333333333331</c:v>
                </c:pt>
                <c:pt idx="6266">
                  <c:v>320.83333333333331</c:v>
                </c:pt>
                <c:pt idx="6267">
                  <c:v>320.83333333333331</c:v>
                </c:pt>
                <c:pt idx="6268">
                  <c:v>320.83333333333331</c:v>
                </c:pt>
                <c:pt idx="6269">
                  <c:v>320.83333333333331</c:v>
                </c:pt>
                <c:pt idx="6270">
                  <c:v>324.18981481481484</c:v>
                </c:pt>
                <c:pt idx="6271">
                  <c:v>324.18981481481484</c:v>
                </c:pt>
                <c:pt idx="6272">
                  <c:v>324.18981481481484</c:v>
                </c:pt>
                <c:pt idx="6273">
                  <c:v>324.18981481481484</c:v>
                </c:pt>
                <c:pt idx="6274">
                  <c:v>324.18981481481484</c:v>
                </c:pt>
                <c:pt idx="6275">
                  <c:v>326.09953703703701</c:v>
                </c:pt>
                <c:pt idx="6276">
                  <c:v>326.09953703703701</c:v>
                </c:pt>
                <c:pt idx="6277">
                  <c:v>326.09953703703701</c:v>
                </c:pt>
                <c:pt idx="6278">
                  <c:v>326.09953703703701</c:v>
                </c:pt>
                <c:pt idx="6279">
                  <c:v>326.09953703703701</c:v>
                </c:pt>
                <c:pt idx="6280">
                  <c:v>324.36342592592598</c:v>
                </c:pt>
                <c:pt idx="6281">
                  <c:v>324.36342592592598</c:v>
                </c:pt>
                <c:pt idx="6282">
                  <c:v>324.36342592592598</c:v>
                </c:pt>
                <c:pt idx="6283">
                  <c:v>324.36342592592598</c:v>
                </c:pt>
                <c:pt idx="6284">
                  <c:v>324.36342592592598</c:v>
                </c:pt>
                <c:pt idx="6285">
                  <c:v>324.65277777777783</c:v>
                </c:pt>
                <c:pt idx="6286">
                  <c:v>324.65277777777783</c:v>
                </c:pt>
                <c:pt idx="6287">
                  <c:v>324.65277777777783</c:v>
                </c:pt>
                <c:pt idx="6288">
                  <c:v>324.65277777777783</c:v>
                </c:pt>
                <c:pt idx="6289">
                  <c:v>324.65277777777783</c:v>
                </c:pt>
                <c:pt idx="6290">
                  <c:v>323.66898148148147</c:v>
                </c:pt>
                <c:pt idx="6291">
                  <c:v>323.66898148148147</c:v>
                </c:pt>
                <c:pt idx="6292">
                  <c:v>323.66898148148147</c:v>
                </c:pt>
                <c:pt idx="6293">
                  <c:v>323.66898148148147</c:v>
                </c:pt>
                <c:pt idx="6294">
                  <c:v>323.66898148148147</c:v>
                </c:pt>
                <c:pt idx="6295">
                  <c:v>321.81712962962962</c:v>
                </c:pt>
                <c:pt idx="6296">
                  <c:v>321.81712962962962</c:v>
                </c:pt>
                <c:pt idx="6297">
                  <c:v>321.81712962962962</c:v>
                </c:pt>
                <c:pt idx="6298">
                  <c:v>321.81712962962962</c:v>
                </c:pt>
                <c:pt idx="6299">
                  <c:v>321.81712962962962</c:v>
                </c:pt>
                <c:pt idx="6300">
                  <c:v>320.42824074074076</c:v>
                </c:pt>
                <c:pt idx="6301">
                  <c:v>320.42824074074076</c:v>
                </c:pt>
                <c:pt idx="6302">
                  <c:v>320.42824074074076</c:v>
                </c:pt>
                <c:pt idx="6303">
                  <c:v>320.42824074074076</c:v>
                </c:pt>
                <c:pt idx="6304">
                  <c:v>320.42824074074076</c:v>
                </c:pt>
                <c:pt idx="6305">
                  <c:v>320.8912037037037</c:v>
                </c:pt>
                <c:pt idx="6306">
                  <c:v>320.8912037037037</c:v>
                </c:pt>
                <c:pt idx="6307">
                  <c:v>320.8912037037037</c:v>
                </c:pt>
                <c:pt idx="6308">
                  <c:v>320.8912037037037</c:v>
                </c:pt>
                <c:pt idx="6309">
                  <c:v>320.8912037037037</c:v>
                </c:pt>
                <c:pt idx="6310">
                  <c:v>320.8912037037037</c:v>
                </c:pt>
                <c:pt idx="6311">
                  <c:v>320.8912037037037</c:v>
                </c:pt>
                <c:pt idx="6312">
                  <c:v>320.8912037037037</c:v>
                </c:pt>
                <c:pt idx="6313">
                  <c:v>320.8912037037037</c:v>
                </c:pt>
                <c:pt idx="6314">
                  <c:v>320.8912037037037</c:v>
                </c:pt>
                <c:pt idx="6315">
                  <c:v>321.2962962962963</c:v>
                </c:pt>
                <c:pt idx="6316">
                  <c:v>321.2962962962963</c:v>
                </c:pt>
                <c:pt idx="6317">
                  <c:v>321.2962962962963</c:v>
                </c:pt>
                <c:pt idx="6318">
                  <c:v>321.2962962962963</c:v>
                </c:pt>
                <c:pt idx="6319">
                  <c:v>321.2962962962963</c:v>
                </c:pt>
                <c:pt idx="6320">
                  <c:v>322.22222222222217</c:v>
                </c:pt>
                <c:pt idx="6321">
                  <c:v>322.22222222222217</c:v>
                </c:pt>
                <c:pt idx="6322">
                  <c:v>322.22222222222217</c:v>
                </c:pt>
                <c:pt idx="6323">
                  <c:v>322.22222222222217</c:v>
                </c:pt>
                <c:pt idx="6324">
                  <c:v>322.22222222222217</c:v>
                </c:pt>
                <c:pt idx="6325">
                  <c:v>321.70138888888886</c:v>
                </c:pt>
                <c:pt idx="6326">
                  <c:v>321.70138888888886</c:v>
                </c:pt>
                <c:pt idx="6327">
                  <c:v>321.70138888888886</c:v>
                </c:pt>
                <c:pt idx="6328">
                  <c:v>321.70138888888886</c:v>
                </c:pt>
                <c:pt idx="6329">
                  <c:v>321.70138888888886</c:v>
                </c:pt>
                <c:pt idx="6330">
                  <c:v>320.08101851851853</c:v>
                </c:pt>
                <c:pt idx="6331">
                  <c:v>320.08101851851853</c:v>
                </c:pt>
                <c:pt idx="6332">
                  <c:v>320.08101851851853</c:v>
                </c:pt>
                <c:pt idx="6333">
                  <c:v>320.08101851851853</c:v>
                </c:pt>
                <c:pt idx="6334">
                  <c:v>320.08101851851853</c:v>
                </c:pt>
                <c:pt idx="6335">
                  <c:v>326.5625</c:v>
                </c:pt>
                <c:pt idx="6336">
                  <c:v>326.5625</c:v>
                </c:pt>
                <c:pt idx="6337">
                  <c:v>326.5625</c:v>
                </c:pt>
                <c:pt idx="6338">
                  <c:v>326.5625</c:v>
                </c:pt>
                <c:pt idx="6339">
                  <c:v>326.5625</c:v>
                </c:pt>
                <c:pt idx="6340">
                  <c:v>326.33101851851853</c:v>
                </c:pt>
                <c:pt idx="6341">
                  <c:v>326.33101851851853</c:v>
                </c:pt>
                <c:pt idx="6342">
                  <c:v>326.33101851851853</c:v>
                </c:pt>
                <c:pt idx="6343">
                  <c:v>326.33101851851853</c:v>
                </c:pt>
                <c:pt idx="6344">
                  <c:v>326.33101851851853</c:v>
                </c:pt>
                <c:pt idx="6345">
                  <c:v>326.62037037037038</c:v>
                </c:pt>
                <c:pt idx="6346">
                  <c:v>326.62037037037038</c:v>
                </c:pt>
                <c:pt idx="6347">
                  <c:v>326.62037037037038</c:v>
                </c:pt>
                <c:pt idx="6348">
                  <c:v>326.62037037037038</c:v>
                </c:pt>
                <c:pt idx="6349">
                  <c:v>326.62037037037038</c:v>
                </c:pt>
                <c:pt idx="6350">
                  <c:v>325.5787037037037</c:v>
                </c:pt>
                <c:pt idx="6351">
                  <c:v>325.5787037037037</c:v>
                </c:pt>
                <c:pt idx="6352">
                  <c:v>325.5787037037037</c:v>
                </c:pt>
                <c:pt idx="6353">
                  <c:v>325.5787037037037</c:v>
                </c:pt>
                <c:pt idx="6354">
                  <c:v>325.5787037037037</c:v>
                </c:pt>
                <c:pt idx="6355">
                  <c:v>326.73611111111114</c:v>
                </c:pt>
                <c:pt idx="6356">
                  <c:v>326.73611111111114</c:v>
                </c:pt>
                <c:pt idx="6357">
                  <c:v>326.73611111111114</c:v>
                </c:pt>
                <c:pt idx="6358">
                  <c:v>326.73611111111114</c:v>
                </c:pt>
                <c:pt idx="6359">
                  <c:v>326.73611111111114</c:v>
                </c:pt>
                <c:pt idx="6360">
                  <c:v>327.4305555555556</c:v>
                </c:pt>
                <c:pt idx="6361">
                  <c:v>327.4305555555556</c:v>
                </c:pt>
                <c:pt idx="6362">
                  <c:v>327.4305555555556</c:v>
                </c:pt>
                <c:pt idx="6363">
                  <c:v>327.4305555555556</c:v>
                </c:pt>
                <c:pt idx="6364">
                  <c:v>327.4305555555556</c:v>
                </c:pt>
                <c:pt idx="6365">
                  <c:v>328.29861111111114</c:v>
                </c:pt>
                <c:pt idx="6366">
                  <c:v>328.29861111111114</c:v>
                </c:pt>
                <c:pt idx="6367">
                  <c:v>328.29861111111114</c:v>
                </c:pt>
                <c:pt idx="6368">
                  <c:v>328.29861111111114</c:v>
                </c:pt>
                <c:pt idx="6369">
                  <c:v>328.29861111111114</c:v>
                </c:pt>
                <c:pt idx="6370">
                  <c:v>325.75231481481478</c:v>
                </c:pt>
                <c:pt idx="6371">
                  <c:v>325.75231481481478</c:v>
                </c:pt>
                <c:pt idx="6372">
                  <c:v>325.75231481481478</c:v>
                </c:pt>
                <c:pt idx="6373">
                  <c:v>325.75231481481478</c:v>
                </c:pt>
                <c:pt idx="6374">
                  <c:v>325.75231481481478</c:v>
                </c:pt>
                <c:pt idx="6375">
                  <c:v>330.15046296296299</c:v>
                </c:pt>
                <c:pt idx="6376">
                  <c:v>330.15046296296299</c:v>
                </c:pt>
                <c:pt idx="6377">
                  <c:v>330.15046296296299</c:v>
                </c:pt>
                <c:pt idx="6378">
                  <c:v>330.15046296296299</c:v>
                </c:pt>
                <c:pt idx="6379">
                  <c:v>330.15046296296299</c:v>
                </c:pt>
                <c:pt idx="6380">
                  <c:v>329.51388888888886</c:v>
                </c:pt>
                <c:pt idx="6381">
                  <c:v>329.51388888888886</c:v>
                </c:pt>
                <c:pt idx="6382">
                  <c:v>329.51388888888886</c:v>
                </c:pt>
                <c:pt idx="6383">
                  <c:v>329.51388888888886</c:v>
                </c:pt>
                <c:pt idx="6384">
                  <c:v>329.51388888888886</c:v>
                </c:pt>
                <c:pt idx="6385">
                  <c:v>328.00925925925924</c:v>
                </c:pt>
                <c:pt idx="6386">
                  <c:v>328.00925925925924</c:v>
                </c:pt>
                <c:pt idx="6387">
                  <c:v>328.00925925925924</c:v>
                </c:pt>
                <c:pt idx="6388">
                  <c:v>328.00925925925924</c:v>
                </c:pt>
                <c:pt idx="6389">
                  <c:v>328.00925925925924</c:v>
                </c:pt>
                <c:pt idx="6390">
                  <c:v>328.53009259259255</c:v>
                </c:pt>
                <c:pt idx="6391">
                  <c:v>328.53009259259255</c:v>
                </c:pt>
                <c:pt idx="6392">
                  <c:v>328.53009259259255</c:v>
                </c:pt>
                <c:pt idx="6393">
                  <c:v>328.53009259259255</c:v>
                </c:pt>
                <c:pt idx="6394">
                  <c:v>328.53009259259255</c:v>
                </c:pt>
                <c:pt idx="6395">
                  <c:v>326.21527777777777</c:v>
                </c:pt>
                <c:pt idx="6396">
                  <c:v>326.21527777777777</c:v>
                </c:pt>
                <c:pt idx="6397">
                  <c:v>326.21527777777777</c:v>
                </c:pt>
                <c:pt idx="6398">
                  <c:v>326.21527777777777</c:v>
                </c:pt>
                <c:pt idx="6399">
                  <c:v>326.21527777777777</c:v>
                </c:pt>
                <c:pt idx="6400">
                  <c:v>326.85185185185179</c:v>
                </c:pt>
                <c:pt idx="6401">
                  <c:v>326.85185185185179</c:v>
                </c:pt>
                <c:pt idx="6402">
                  <c:v>326.85185185185179</c:v>
                </c:pt>
                <c:pt idx="6403">
                  <c:v>326.85185185185179</c:v>
                </c:pt>
                <c:pt idx="6404">
                  <c:v>326.85185185185179</c:v>
                </c:pt>
                <c:pt idx="6405">
                  <c:v>329.1087962962963</c:v>
                </c:pt>
                <c:pt idx="6406">
                  <c:v>329.1087962962963</c:v>
                </c:pt>
                <c:pt idx="6407">
                  <c:v>329.1087962962963</c:v>
                </c:pt>
                <c:pt idx="6408">
                  <c:v>329.1087962962963</c:v>
                </c:pt>
                <c:pt idx="6409">
                  <c:v>329.1087962962963</c:v>
                </c:pt>
                <c:pt idx="6410">
                  <c:v>330.15046296296299</c:v>
                </c:pt>
                <c:pt idx="6411">
                  <c:v>330.15046296296299</c:v>
                </c:pt>
                <c:pt idx="6412">
                  <c:v>330.15046296296299</c:v>
                </c:pt>
                <c:pt idx="6413">
                  <c:v>330.15046296296299</c:v>
                </c:pt>
                <c:pt idx="6414">
                  <c:v>330.15046296296299</c:v>
                </c:pt>
                <c:pt idx="6415">
                  <c:v>326.62037037037038</c:v>
                </c:pt>
                <c:pt idx="6416">
                  <c:v>326.62037037037038</c:v>
                </c:pt>
                <c:pt idx="6417">
                  <c:v>326.62037037037038</c:v>
                </c:pt>
                <c:pt idx="6418">
                  <c:v>326.62037037037038</c:v>
                </c:pt>
                <c:pt idx="6419">
                  <c:v>326.62037037037038</c:v>
                </c:pt>
                <c:pt idx="6420">
                  <c:v>328.35648148148147</c:v>
                </c:pt>
                <c:pt idx="6421">
                  <c:v>328.35648148148147</c:v>
                </c:pt>
                <c:pt idx="6422">
                  <c:v>328.35648148148147</c:v>
                </c:pt>
                <c:pt idx="6423">
                  <c:v>328.35648148148147</c:v>
                </c:pt>
                <c:pt idx="6424">
                  <c:v>328.35648148148147</c:v>
                </c:pt>
                <c:pt idx="6425">
                  <c:v>326.09953703703701</c:v>
                </c:pt>
                <c:pt idx="6426">
                  <c:v>326.09953703703701</c:v>
                </c:pt>
                <c:pt idx="6427">
                  <c:v>326.09953703703701</c:v>
                </c:pt>
                <c:pt idx="6428">
                  <c:v>326.09953703703701</c:v>
                </c:pt>
                <c:pt idx="6429">
                  <c:v>326.09953703703701</c:v>
                </c:pt>
                <c:pt idx="6430">
                  <c:v>324.71064814814815</c:v>
                </c:pt>
                <c:pt idx="6431">
                  <c:v>324.71064814814815</c:v>
                </c:pt>
                <c:pt idx="6432">
                  <c:v>324.71064814814815</c:v>
                </c:pt>
                <c:pt idx="6433">
                  <c:v>324.71064814814815</c:v>
                </c:pt>
                <c:pt idx="6434">
                  <c:v>324.71064814814815</c:v>
                </c:pt>
                <c:pt idx="6435">
                  <c:v>324.07407407407402</c:v>
                </c:pt>
                <c:pt idx="6436">
                  <c:v>324.07407407407402</c:v>
                </c:pt>
                <c:pt idx="6437">
                  <c:v>324.07407407407402</c:v>
                </c:pt>
                <c:pt idx="6438">
                  <c:v>324.07407407407402</c:v>
                </c:pt>
                <c:pt idx="6439">
                  <c:v>324.07407407407402</c:v>
                </c:pt>
                <c:pt idx="6440">
                  <c:v>322.04861111111114</c:v>
                </c:pt>
                <c:pt idx="6441">
                  <c:v>322.04861111111114</c:v>
                </c:pt>
                <c:pt idx="6442">
                  <c:v>322.04861111111114</c:v>
                </c:pt>
                <c:pt idx="6443">
                  <c:v>322.04861111111114</c:v>
                </c:pt>
                <c:pt idx="6444">
                  <c:v>322.04861111111114</c:v>
                </c:pt>
                <c:pt idx="6445">
                  <c:v>323.55324074074076</c:v>
                </c:pt>
                <c:pt idx="6446">
                  <c:v>323.55324074074076</c:v>
                </c:pt>
                <c:pt idx="6447">
                  <c:v>323.55324074074076</c:v>
                </c:pt>
                <c:pt idx="6448">
                  <c:v>323.55324074074076</c:v>
                </c:pt>
                <c:pt idx="6449">
                  <c:v>323.55324074074076</c:v>
                </c:pt>
                <c:pt idx="6450">
                  <c:v>323.26388888888891</c:v>
                </c:pt>
                <c:pt idx="6451">
                  <c:v>323.26388888888891</c:v>
                </c:pt>
                <c:pt idx="6452">
                  <c:v>323.26388888888891</c:v>
                </c:pt>
                <c:pt idx="6453">
                  <c:v>323.26388888888891</c:v>
                </c:pt>
                <c:pt idx="6454">
                  <c:v>323.26388888888891</c:v>
                </c:pt>
                <c:pt idx="6455">
                  <c:v>323.43750000000006</c:v>
                </c:pt>
                <c:pt idx="6456">
                  <c:v>323.43750000000006</c:v>
                </c:pt>
                <c:pt idx="6457">
                  <c:v>323.43750000000006</c:v>
                </c:pt>
                <c:pt idx="6458">
                  <c:v>323.43750000000006</c:v>
                </c:pt>
                <c:pt idx="6459">
                  <c:v>323.43750000000006</c:v>
                </c:pt>
                <c:pt idx="6460">
                  <c:v>322.62731481481484</c:v>
                </c:pt>
                <c:pt idx="6461">
                  <c:v>322.62731481481484</c:v>
                </c:pt>
                <c:pt idx="6462">
                  <c:v>322.62731481481484</c:v>
                </c:pt>
                <c:pt idx="6463">
                  <c:v>322.62731481481484</c:v>
                </c:pt>
                <c:pt idx="6464">
                  <c:v>322.62731481481484</c:v>
                </c:pt>
                <c:pt idx="6465">
                  <c:v>319.84953703703707</c:v>
                </c:pt>
                <c:pt idx="6466">
                  <c:v>319.84953703703707</c:v>
                </c:pt>
                <c:pt idx="6467">
                  <c:v>319.84953703703707</c:v>
                </c:pt>
                <c:pt idx="6468">
                  <c:v>319.84953703703707</c:v>
                </c:pt>
                <c:pt idx="6469">
                  <c:v>319.84953703703707</c:v>
                </c:pt>
                <c:pt idx="6470">
                  <c:v>320.13888888888886</c:v>
                </c:pt>
                <c:pt idx="6471">
                  <c:v>320.13888888888886</c:v>
                </c:pt>
                <c:pt idx="6472">
                  <c:v>320.13888888888886</c:v>
                </c:pt>
                <c:pt idx="6473">
                  <c:v>320.13888888888886</c:v>
                </c:pt>
                <c:pt idx="6474">
                  <c:v>320.13888888888886</c:v>
                </c:pt>
                <c:pt idx="6475">
                  <c:v>318.92361111111114</c:v>
                </c:pt>
                <c:pt idx="6476">
                  <c:v>318.92361111111114</c:v>
                </c:pt>
                <c:pt idx="6477">
                  <c:v>318.92361111111114</c:v>
                </c:pt>
                <c:pt idx="6478">
                  <c:v>318.92361111111114</c:v>
                </c:pt>
                <c:pt idx="6479">
                  <c:v>318.92361111111114</c:v>
                </c:pt>
                <c:pt idx="6480">
                  <c:v>324.07407407407402</c:v>
                </c:pt>
                <c:pt idx="6481">
                  <c:v>324.07407407407402</c:v>
                </c:pt>
                <c:pt idx="6482">
                  <c:v>324.07407407407402</c:v>
                </c:pt>
                <c:pt idx="6483">
                  <c:v>324.07407407407402</c:v>
                </c:pt>
                <c:pt idx="6484">
                  <c:v>324.07407407407402</c:v>
                </c:pt>
                <c:pt idx="6485">
                  <c:v>317.99768518518522</c:v>
                </c:pt>
                <c:pt idx="6486">
                  <c:v>317.99768518518522</c:v>
                </c:pt>
                <c:pt idx="6487">
                  <c:v>317.99768518518522</c:v>
                </c:pt>
                <c:pt idx="6488">
                  <c:v>317.99768518518522</c:v>
                </c:pt>
                <c:pt idx="6489">
                  <c:v>317.99768518518522</c:v>
                </c:pt>
                <c:pt idx="6490">
                  <c:v>318.1712962962963</c:v>
                </c:pt>
                <c:pt idx="6491">
                  <c:v>318.1712962962963</c:v>
                </c:pt>
                <c:pt idx="6492">
                  <c:v>318.1712962962963</c:v>
                </c:pt>
                <c:pt idx="6493">
                  <c:v>318.1712962962963</c:v>
                </c:pt>
                <c:pt idx="6494">
                  <c:v>318.1712962962963</c:v>
                </c:pt>
                <c:pt idx="6495">
                  <c:v>318.46064814814815</c:v>
                </c:pt>
                <c:pt idx="6496">
                  <c:v>318.46064814814815</c:v>
                </c:pt>
                <c:pt idx="6497">
                  <c:v>318.46064814814815</c:v>
                </c:pt>
                <c:pt idx="6498">
                  <c:v>318.46064814814815</c:v>
                </c:pt>
                <c:pt idx="6499">
                  <c:v>318.46064814814815</c:v>
                </c:pt>
                <c:pt idx="6500">
                  <c:v>316.2037037037037</c:v>
                </c:pt>
                <c:pt idx="6501">
                  <c:v>316.2037037037037</c:v>
                </c:pt>
                <c:pt idx="6502">
                  <c:v>316.2037037037037</c:v>
                </c:pt>
                <c:pt idx="6503">
                  <c:v>316.2037037037037</c:v>
                </c:pt>
                <c:pt idx="6504">
                  <c:v>316.2037037037037</c:v>
                </c:pt>
                <c:pt idx="6505">
                  <c:v>305.84490740740745</c:v>
                </c:pt>
                <c:pt idx="6506">
                  <c:v>305.84490740740745</c:v>
                </c:pt>
                <c:pt idx="6507">
                  <c:v>305.84490740740745</c:v>
                </c:pt>
                <c:pt idx="6508">
                  <c:v>305.84490740740745</c:v>
                </c:pt>
                <c:pt idx="6509">
                  <c:v>305.84490740740745</c:v>
                </c:pt>
                <c:pt idx="6510">
                  <c:v>310.64814814814821</c:v>
                </c:pt>
                <c:pt idx="6511">
                  <c:v>310.64814814814821</c:v>
                </c:pt>
                <c:pt idx="6512">
                  <c:v>310.64814814814821</c:v>
                </c:pt>
                <c:pt idx="6513">
                  <c:v>310.64814814814821</c:v>
                </c:pt>
                <c:pt idx="6514">
                  <c:v>310.64814814814821</c:v>
                </c:pt>
                <c:pt idx="6515">
                  <c:v>311.28472222222217</c:v>
                </c:pt>
                <c:pt idx="6516">
                  <c:v>311.28472222222217</c:v>
                </c:pt>
                <c:pt idx="6517">
                  <c:v>311.28472222222217</c:v>
                </c:pt>
                <c:pt idx="6518">
                  <c:v>311.28472222222217</c:v>
                </c:pt>
                <c:pt idx="6519">
                  <c:v>311.28472222222217</c:v>
                </c:pt>
                <c:pt idx="6520">
                  <c:v>310.01157407407408</c:v>
                </c:pt>
                <c:pt idx="6521">
                  <c:v>310.01157407407408</c:v>
                </c:pt>
                <c:pt idx="6522">
                  <c:v>310.01157407407408</c:v>
                </c:pt>
                <c:pt idx="6523">
                  <c:v>310.01157407407408</c:v>
                </c:pt>
                <c:pt idx="6524">
                  <c:v>310.01157407407408</c:v>
                </c:pt>
                <c:pt idx="6525">
                  <c:v>314.12037037037038</c:v>
                </c:pt>
                <c:pt idx="6526">
                  <c:v>314.12037037037038</c:v>
                </c:pt>
                <c:pt idx="6527">
                  <c:v>314.12037037037038</c:v>
                </c:pt>
                <c:pt idx="6528">
                  <c:v>314.12037037037038</c:v>
                </c:pt>
                <c:pt idx="6529">
                  <c:v>314.12037037037038</c:v>
                </c:pt>
                <c:pt idx="6530">
                  <c:v>317.07175925925924</c:v>
                </c:pt>
                <c:pt idx="6531">
                  <c:v>317.07175925925924</c:v>
                </c:pt>
                <c:pt idx="6532">
                  <c:v>317.07175925925924</c:v>
                </c:pt>
                <c:pt idx="6533">
                  <c:v>317.07175925925924</c:v>
                </c:pt>
                <c:pt idx="6534">
                  <c:v>317.07175925925924</c:v>
                </c:pt>
                <c:pt idx="6535">
                  <c:v>318.22916666666663</c:v>
                </c:pt>
                <c:pt idx="6536">
                  <c:v>318.22916666666663</c:v>
                </c:pt>
                <c:pt idx="6537">
                  <c:v>318.22916666666663</c:v>
                </c:pt>
                <c:pt idx="6538">
                  <c:v>318.22916666666663</c:v>
                </c:pt>
                <c:pt idx="6539">
                  <c:v>318.22916666666663</c:v>
                </c:pt>
                <c:pt idx="6540">
                  <c:v>312.67361111111109</c:v>
                </c:pt>
                <c:pt idx="6541">
                  <c:v>312.67361111111109</c:v>
                </c:pt>
                <c:pt idx="6542">
                  <c:v>312.67361111111109</c:v>
                </c:pt>
                <c:pt idx="6543">
                  <c:v>312.67361111111109</c:v>
                </c:pt>
                <c:pt idx="6544">
                  <c:v>312.67361111111109</c:v>
                </c:pt>
                <c:pt idx="6545">
                  <c:v>312.32638888888891</c:v>
                </c:pt>
                <c:pt idx="6546">
                  <c:v>312.32638888888891</c:v>
                </c:pt>
                <c:pt idx="6547">
                  <c:v>312.32638888888891</c:v>
                </c:pt>
                <c:pt idx="6548">
                  <c:v>312.32638888888891</c:v>
                </c:pt>
                <c:pt idx="6549">
                  <c:v>312.32638888888891</c:v>
                </c:pt>
                <c:pt idx="6550">
                  <c:v>312.09490740740739</c:v>
                </c:pt>
                <c:pt idx="6551">
                  <c:v>312.09490740740739</c:v>
                </c:pt>
                <c:pt idx="6552">
                  <c:v>312.09490740740739</c:v>
                </c:pt>
                <c:pt idx="6553">
                  <c:v>312.09490740740739</c:v>
                </c:pt>
                <c:pt idx="6554">
                  <c:v>312.09490740740739</c:v>
                </c:pt>
                <c:pt idx="6555">
                  <c:v>317.59259259259261</c:v>
                </c:pt>
                <c:pt idx="6556">
                  <c:v>317.59259259259261</c:v>
                </c:pt>
                <c:pt idx="6557">
                  <c:v>317.59259259259261</c:v>
                </c:pt>
                <c:pt idx="6558">
                  <c:v>317.59259259259261</c:v>
                </c:pt>
                <c:pt idx="6559">
                  <c:v>317.59259259259261</c:v>
                </c:pt>
                <c:pt idx="6560">
                  <c:v>325.8680555555556</c:v>
                </c:pt>
                <c:pt idx="6561">
                  <c:v>325.8680555555556</c:v>
                </c:pt>
                <c:pt idx="6562">
                  <c:v>325.8680555555556</c:v>
                </c:pt>
                <c:pt idx="6563">
                  <c:v>325.8680555555556</c:v>
                </c:pt>
                <c:pt idx="6564">
                  <c:v>325.8680555555556</c:v>
                </c:pt>
                <c:pt idx="6565">
                  <c:v>316.84027777777777</c:v>
                </c:pt>
                <c:pt idx="6566">
                  <c:v>316.84027777777777</c:v>
                </c:pt>
                <c:pt idx="6567">
                  <c:v>316.84027777777777</c:v>
                </c:pt>
                <c:pt idx="6568">
                  <c:v>316.84027777777777</c:v>
                </c:pt>
                <c:pt idx="6569">
                  <c:v>316.84027777777777</c:v>
                </c:pt>
                <c:pt idx="6570">
                  <c:v>306.25</c:v>
                </c:pt>
                <c:pt idx="6571">
                  <c:v>306.25</c:v>
                </c:pt>
                <c:pt idx="6572">
                  <c:v>306.25</c:v>
                </c:pt>
                <c:pt idx="6573">
                  <c:v>306.25</c:v>
                </c:pt>
                <c:pt idx="6574">
                  <c:v>306.25</c:v>
                </c:pt>
                <c:pt idx="6575">
                  <c:v>315.56712962962962</c:v>
                </c:pt>
                <c:pt idx="6576">
                  <c:v>315.56712962962962</c:v>
                </c:pt>
                <c:pt idx="6577">
                  <c:v>315.56712962962962</c:v>
                </c:pt>
                <c:pt idx="6578">
                  <c:v>315.56712962962962</c:v>
                </c:pt>
                <c:pt idx="6579">
                  <c:v>315.56712962962962</c:v>
                </c:pt>
                <c:pt idx="6580">
                  <c:v>304.6875</c:v>
                </c:pt>
                <c:pt idx="6581">
                  <c:v>304.6875</c:v>
                </c:pt>
                <c:pt idx="6582">
                  <c:v>304.6875</c:v>
                </c:pt>
                <c:pt idx="6583">
                  <c:v>304.6875</c:v>
                </c:pt>
                <c:pt idx="6584">
                  <c:v>304.6875</c:v>
                </c:pt>
                <c:pt idx="6585">
                  <c:v>308.27546296296299</c:v>
                </c:pt>
                <c:pt idx="6586">
                  <c:v>308.27546296296299</c:v>
                </c:pt>
                <c:pt idx="6587">
                  <c:v>308.27546296296299</c:v>
                </c:pt>
                <c:pt idx="6588">
                  <c:v>308.27546296296299</c:v>
                </c:pt>
                <c:pt idx="6589">
                  <c:v>308.27546296296299</c:v>
                </c:pt>
                <c:pt idx="6590">
                  <c:v>301.27314814814821</c:v>
                </c:pt>
                <c:pt idx="6591">
                  <c:v>301.27314814814821</c:v>
                </c:pt>
                <c:pt idx="6592">
                  <c:v>301.27314814814821</c:v>
                </c:pt>
                <c:pt idx="6593">
                  <c:v>301.27314814814821</c:v>
                </c:pt>
                <c:pt idx="6594">
                  <c:v>301.27314814814821</c:v>
                </c:pt>
                <c:pt idx="6595">
                  <c:v>300.52083333333331</c:v>
                </c:pt>
                <c:pt idx="6596">
                  <c:v>300.52083333333331</c:v>
                </c:pt>
                <c:pt idx="6597">
                  <c:v>300.52083333333331</c:v>
                </c:pt>
                <c:pt idx="6598">
                  <c:v>300.52083333333331</c:v>
                </c:pt>
                <c:pt idx="6599">
                  <c:v>300.52083333333331</c:v>
                </c:pt>
                <c:pt idx="6600">
                  <c:v>301.38888888888886</c:v>
                </c:pt>
                <c:pt idx="6601">
                  <c:v>301.38888888888886</c:v>
                </c:pt>
                <c:pt idx="6602">
                  <c:v>301.38888888888886</c:v>
                </c:pt>
                <c:pt idx="6603">
                  <c:v>301.38888888888886</c:v>
                </c:pt>
                <c:pt idx="6604">
                  <c:v>301.38888888888886</c:v>
                </c:pt>
                <c:pt idx="6605">
                  <c:v>301.85185185185185</c:v>
                </c:pt>
                <c:pt idx="6606">
                  <c:v>301.85185185185185</c:v>
                </c:pt>
                <c:pt idx="6607">
                  <c:v>301.85185185185185</c:v>
                </c:pt>
                <c:pt idx="6608">
                  <c:v>301.85185185185185</c:v>
                </c:pt>
                <c:pt idx="6609">
                  <c:v>301.85185185185185</c:v>
                </c:pt>
                <c:pt idx="6610">
                  <c:v>299.1319444444444</c:v>
                </c:pt>
                <c:pt idx="6611">
                  <c:v>299.1319444444444</c:v>
                </c:pt>
                <c:pt idx="6612">
                  <c:v>299.1319444444444</c:v>
                </c:pt>
                <c:pt idx="6613">
                  <c:v>299.1319444444444</c:v>
                </c:pt>
                <c:pt idx="6614">
                  <c:v>299.1319444444444</c:v>
                </c:pt>
                <c:pt idx="6615">
                  <c:v>298.66898148148147</c:v>
                </c:pt>
                <c:pt idx="6616">
                  <c:v>298.66898148148147</c:v>
                </c:pt>
                <c:pt idx="6617">
                  <c:v>298.66898148148147</c:v>
                </c:pt>
                <c:pt idx="6618">
                  <c:v>298.66898148148147</c:v>
                </c:pt>
                <c:pt idx="6619">
                  <c:v>298.66898148148147</c:v>
                </c:pt>
                <c:pt idx="6620">
                  <c:v>283.91203703703701</c:v>
                </c:pt>
                <c:pt idx="6621">
                  <c:v>283.91203703703701</c:v>
                </c:pt>
                <c:pt idx="6622">
                  <c:v>283.91203703703701</c:v>
                </c:pt>
                <c:pt idx="6623">
                  <c:v>283.91203703703701</c:v>
                </c:pt>
                <c:pt idx="6624">
                  <c:v>283.91203703703701</c:v>
                </c:pt>
                <c:pt idx="6625">
                  <c:v>285.06944444444446</c:v>
                </c:pt>
                <c:pt idx="6626">
                  <c:v>285.06944444444446</c:v>
                </c:pt>
                <c:pt idx="6627">
                  <c:v>285.06944444444446</c:v>
                </c:pt>
                <c:pt idx="6628">
                  <c:v>285.06944444444446</c:v>
                </c:pt>
                <c:pt idx="6629">
                  <c:v>285.06944444444446</c:v>
                </c:pt>
                <c:pt idx="6630">
                  <c:v>280.32407407407408</c:v>
                </c:pt>
                <c:pt idx="6631">
                  <c:v>280.32407407407408</c:v>
                </c:pt>
                <c:pt idx="6632">
                  <c:v>280.32407407407408</c:v>
                </c:pt>
                <c:pt idx="6633">
                  <c:v>280.32407407407408</c:v>
                </c:pt>
                <c:pt idx="6634">
                  <c:v>280.32407407407408</c:v>
                </c:pt>
                <c:pt idx="6635">
                  <c:v>286.22685185185185</c:v>
                </c:pt>
                <c:pt idx="6636">
                  <c:v>286.22685185185185</c:v>
                </c:pt>
                <c:pt idx="6637">
                  <c:v>286.22685185185185</c:v>
                </c:pt>
                <c:pt idx="6638">
                  <c:v>286.22685185185185</c:v>
                </c:pt>
                <c:pt idx="6639">
                  <c:v>286.22685185185185</c:v>
                </c:pt>
                <c:pt idx="6640">
                  <c:v>275.17361111111114</c:v>
                </c:pt>
                <c:pt idx="6641">
                  <c:v>275.17361111111114</c:v>
                </c:pt>
                <c:pt idx="6642">
                  <c:v>275.17361111111114</c:v>
                </c:pt>
                <c:pt idx="6643">
                  <c:v>275.17361111111114</c:v>
                </c:pt>
                <c:pt idx="6644">
                  <c:v>275.17361111111114</c:v>
                </c:pt>
                <c:pt idx="6645">
                  <c:v>278.29861111111114</c:v>
                </c:pt>
                <c:pt idx="6646">
                  <c:v>278.29861111111114</c:v>
                </c:pt>
                <c:pt idx="6647">
                  <c:v>278.29861111111114</c:v>
                </c:pt>
                <c:pt idx="6648">
                  <c:v>278.29861111111114</c:v>
                </c:pt>
                <c:pt idx="6649">
                  <c:v>278.29861111111114</c:v>
                </c:pt>
                <c:pt idx="6650">
                  <c:v>280.3819444444444</c:v>
                </c:pt>
                <c:pt idx="6651">
                  <c:v>280.3819444444444</c:v>
                </c:pt>
                <c:pt idx="6652">
                  <c:v>280.3819444444444</c:v>
                </c:pt>
                <c:pt idx="6653">
                  <c:v>280.3819444444444</c:v>
                </c:pt>
                <c:pt idx="6654">
                  <c:v>280.3819444444444</c:v>
                </c:pt>
                <c:pt idx="6655">
                  <c:v>281.9444444444444</c:v>
                </c:pt>
                <c:pt idx="6656">
                  <c:v>281.9444444444444</c:v>
                </c:pt>
                <c:pt idx="6657">
                  <c:v>281.9444444444444</c:v>
                </c:pt>
                <c:pt idx="6658">
                  <c:v>281.9444444444444</c:v>
                </c:pt>
                <c:pt idx="6659">
                  <c:v>281.9444444444444</c:v>
                </c:pt>
                <c:pt idx="6660">
                  <c:v>284.66435185185179</c:v>
                </c:pt>
                <c:pt idx="6661">
                  <c:v>284.66435185185179</c:v>
                </c:pt>
                <c:pt idx="6662">
                  <c:v>284.66435185185179</c:v>
                </c:pt>
                <c:pt idx="6663">
                  <c:v>284.66435185185179</c:v>
                </c:pt>
                <c:pt idx="6664">
                  <c:v>284.66435185185179</c:v>
                </c:pt>
                <c:pt idx="6665">
                  <c:v>287.5</c:v>
                </c:pt>
                <c:pt idx="6666">
                  <c:v>287.5</c:v>
                </c:pt>
                <c:pt idx="6667">
                  <c:v>287.5</c:v>
                </c:pt>
                <c:pt idx="6668">
                  <c:v>287.5</c:v>
                </c:pt>
                <c:pt idx="6669">
                  <c:v>287.5</c:v>
                </c:pt>
                <c:pt idx="6670">
                  <c:v>287.09490740740745</c:v>
                </c:pt>
                <c:pt idx="6671">
                  <c:v>287.09490740740745</c:v>
                </c:pt>
                <c:pt idx="6672">
                  <c:v>287.09490740740745</c:v>
                </c:pt>
                <c:pt idx="6673">
                  <c:v>287.09490740740745</c:v>
                </c:pt>
                <c:pt idx="6674">
                  <c:v>287.09490740740745</c:v>
                </c:pt>
                <c:pt idx="6675">
                  <c:v>290.16203703703707</c:v>
                </c:pt>
                <c:pt idx="6676">
                  <c:v>290.16203703703707</c:v>
                </c:pt>
                <c:pt idx="6677">
                  <c:v>290.16203703703707</c:v>
                </c:pt>
                <c:pt idx="6678">
                  <c:v>290.16203703703707</c:v>
                </c:pt>
                <c:pt idx="6679">
                  <c:v>290.16203703703707</c:v>
                </c:pt>
                <c:pt idx="6680">
                  <c:v>285.64814814814815</c:v>
                </c:pt>
                <c:pt idx="6681">
                  <c:v>285.64814814814815</c:v>
                </c:pt>
                <c:pt idx="6682">
                  <c:v>285.64814814814815</c:v>
                </c:pt>
                <c:pt idx="6683">
                  <c:v>285.64814814814815</c:v>
                </c:pt>
                <c:pt idx="6684">
                  <c:v>285.64814814814815</c:v>
                </c:pt>
                <c:pt idx="6685">
                  <c:v>290.0462962962963</c:v>
                </c:pt>
                <c:pt idx="6686">
                  <c:v>290.0462962962963</c:v>
                </c:pt>
                <c:pt idx="6687">
                  <c:v>290.0462962962963</c:v>
                </c:pt>
                <c:pt idx="6688">
                  <c:v>290.0462962962963</c:v>
                </c:pt>
                <c:pt idx="6689">
                  <c:v>290.0462962962963</c:v>
                </c:pt>
                <c:pt idx="6690">
                  <c:v>284.9537037037037</c:v>
                </c:pt>
                <c:pt idx="6691">
                  <c:v>284.9537037037037</c:v>
                </c:pt>
                <c:pt idx="6692">
                  <c:v>284.9537037037037</c:v>
                </c:pt>
                <c:pt idx="6693">
                  <c:v>284.9537037037037</c:v>
                </c:pt>
                <c:pt idx="6694">
                  <c:v>284.9537037037037</c:v>
                </c:pt>
                <c:pt idx="6695">
                  <c:v>289.29398148148147</c:v>
                </c:pt>
                <c:pt idx="6696">
                  <c:v>289.29398148148147</c:v>
                </c:pt>
                <c:pt idx="6697">
                  <c:v>289.29398148148147</c:v>
                </c:pt>
                <c:pt idx="6698">
                  <c:v>289.29398148148147</c:v>
                </c:pt>
                <c:pt idx="6699">
                  <c:v>289.29398148148147</c:v>
                </c:pt>
                <c:pt idx="6700">
                  <c:v>287.09490740740745</c:v>
                </c:pt>
                <c:pt idx="6701">
                  <c:v>287.09490740740745</c:v>
                </c:pt>
                <c:pt idx="6702">
                  <c:v>287.09490740740745</c:v>
                </c:pt>
                <c:pt idx="6703">
                  <c:v>287.09490740740745</c:v>
                </c:pt>
                <c:pt idx="6704">
                  <c:v>287.09490740740745</c:v>
                </c:pt>
                <c:pt idx="6705">
                  <c:v>285.99537037037038</c:v>
                </c:pt>
                <c:pt idx="6706">
                  <c:v>285.99537037037038</c:v>
                </c:pt>
                <c:pt idx="6707">
                  <c:v>285.99537037037038</c:v>
                </c:pt>
                <c:pt idx="6708">
                  <c:v>285.99537037037038</c:v>
                </c:pt>
                <c:pt idx="6709">
                  <c:v>285.99537037037038</c:v>
                </c:pt>
                <c:pt idx="6710">
                  <c:v>285.76388888888886</c:v>
                </c:pt>
                <c:pt idx="6711">
                  <c:v>285.76388888888886</c:v>
                </c:pt>
                <c:pt idx="6712">
                  <c:v>285.76388888888886</c:v>
                </c:pt>
                <c:pt idx="6713">
                  <c:v>285.76388888888886</c:v>
                </c:pt>
                <c:pt idx="6714">
                  <c:v>285.76388888888886</c:v>
                </c:pt>
                <c:pt idx="6715">
                  <c:v>287.26851851851853</c:v>
                </c:pt>
                <c:pt idx="6716">
                  <c:v>287.26851851851853</c:v>
                </c:pt>
                <c:pt idx="6717">
                  <c:v>287.26851851851853</c:v>
                </c:pt>
                <c:pt idx="6718">
                  <c:v>287.26851851851853</c:v>
                </c:pt>
                <c:pt idx="6719">
                  <c:v>287.26851851851853</c:v>
                </c:pt>
                <c:pt idx="6720">
                  <c:v>289.17824074074076</c:v>
                </c:pt>
                <c:pt idx="6721">
                  <c:v>289.17824074074076</c:v>
                </c:pt>
                <c:pt idx="6722">
                  <c:v>289.17824074074076</c:v>
                </c:pt>
                <c:pt idx="6723">
                  <c:v>289.17824074074076</c:v>
                </c:pt>
                <c:pt idx="6724">
                  <c:v>289.17824074074076</c:v>
                </c:pt>
                <c:pt idx="6725">
                  <c:v>292.36111111111109</c:v>
                </c:pt>
                <c:pt idx="6726">
                  <c:v>292.36111111111109</c:v>
                </c:pt>
                <c:pt idx="6727">
                  <c:v>292.36111111111109</c:v>
                </c:pt>
                <c:pt idx="6728">
                  <c:v>292.36111111111109</c:v>
                </c:pt>
                <c:pt idx="6729">
                  <c:v>292.36111111111109</c:v>
                </c:pt>
                <c:pt idx="6730">
                  <c:v>289.6412037037037</c:v>
                </c:pt>
                <c:pt idx="6731">
                  <c:v>289.6412037037037</c:v>
                </c:pt>
                <c:pt idx="6732">
                  <c:v>289.6412037037037</c:v>
                </c:pt>
                <c:pt idx="6733">
                  <c:v>289.6412037037037</c:v>
                </c:pt>
                <c:pt idx="6734">
                  <c:v>289.6412037037037</c:v>
                </c:pt>
                <c:pt idx="6735">
                  <c:v>290.39351851851853</c:v>
                </c:pt>
                <c:pt idx="6736">
                  <c:v>290.39351851851853</c:v>
                </c:pt>
                <c:pt idx="6737">
                  <c:v>290.39351851851853</c:v>
                </c:pt>
                <c:pt idx="6738">
                  <c:v>290.39351851851853</c:v>
                </c:pt>
                <c:pt idx="6739">
                  <c:v>290.39351851851853</c:v>
                </c:pt>
                <c:pt idx="6740">
                  <c:v>293.98148148148147</c:v>
                </c:pt>
                <c:pt idx="6741">
                  <c:v>293.98148148148147</c:v>
                </c:pt>
                <c:pt idx="6742">
                  <c:v>293.98148148148147</c:v>
                </c:pt>
                <c:pt idx="6743">
                  <c:v>293.98148148148147</c:v>
                </c:pt>
                <c:pt idx="6744">
                  <c:v>293.98148148148147</c:v>
                </c:pt>
                <c:pt idx="6745">
                  <c:v>293.22916666666669</c:v>
                </c:pt>
                <c:pt idx="6746">
                  <c:v>293.22916666666669</c:v>
                </c:pt>
                <c:pt idx="6747">
                  <c:v>293.22916666666669</c:v>
                </c:pt>
                <c:pt idx="6748">
                  <c:v>293.22916666666669</c:v>
                </c:pt>
                <c:pt idx="6749">
                  <c:v>293.22916666666669</c:v>
                </c:pt>
                <c:pt idx="6750">
                  <c:v>293.92361111111114</c:v>
                </c:pt>
                <c:pt idx="6751">
                  <c:v>293.92361111111114</c:v>
                </c:pt>
                <c:pt idx="6752">
                  <c:v>293.92361111111114</c:v>
                </c:pt>
                <c:pt idx="6753">
                  <c:v>293.92361111111114</c:v>
                </c:pt>
                <c:pt idx="6754">
                  <c:v>293.92361111111114</c:v>
                </c:pt>
                <c:pt idx="6755">
                  <c:v>297.10648148148147</c:v>
                </c:pt>
                <c:pt idx="6756">
                  <c:v>297.10648148148147</c:v>
                </c:pt>
                <c:pt idx="6757">
                  <c:v>297.10648148148147</c:v>
                </c:pt>
                <c:pt idx="6758">
                  <c:v>297.10648148148147</c:v>
                </c:pt>
                <c:pt idx="6759">
                  <c:v>297.10648148148147</c:v>
                </c:pt>
                <c:pt idx="6760">
                  <c:v>295.08101851851853</c:v>
                </c:pt>
                <c:pt idx="6761">
                  <c:v>295.08101851851853</c:v>
                </c:pt>
                <c:pt idx="6762">
                  <c:v>295.08101851851853</c:v>
                </c:pt>
                <c:pt idx="6763">
                  <c:v>295.08101851851853</c:v>
                </c:pt>
                <c:pt idx="6764">
                  <c:v>295.08101851851853</c:v>
                </c:pt>
                <c:pt idx="6765">
                  <c:v>300.40509259259261</c:v>
                </c:pt>
                <c:pt idx="6766">
                  <c:v>300.40509259259261</c:v>
                </c:pt>
                <c:pt idx="6767">
                  <c:v>300.40509259259261</c:v>
                </c:pt>
                <c:pt idx="6768">
                  <c:v>300.40509259259261</c:v>
                </c:pt>
                <c:pt idx="6769">
                  <c:v>300.40509259259261</c:v>
                </c:pt>
                <c:pt idx="6770">
                  <c:v>300.05787037037038</c:v>
                </c:pt>
                <c:pt idx="6771">
                  <c:v>300.05787037037038</c:v>
                </c:pt>
                <c:pt idx="6772">
                  <c:v>300.05787037037038</c:v>
                </c:pt>
                <c:pt idx="6773">
                  <c:v>300.05787037037038</c:v>
                </c:pt>
                <c:pt idx="6774">
                  <c:v>300.05787037037038</c:v>
                </c:pt>
                <c:pt idx="6775">
                  <c:v>305.5555555555556</c:v>
                </c:pt>
                <c:pt idx="6776">
                  <c:v>305.5555555555556</c:v>
                </c:pt>
                <c:pt idx="6777">
                  <c:v>305.5555555555556</c:v>
                </c:pt>
                <c:pt idx="6778">
                  <c:v>305.5555555555556</c:v>
                </c:pt>
                <c:pt idx="6779">
                  <c:v>305.5555555555556</c:v>
                </c:pt>
                <c:pt idx="6780">
                  <c:v>302.37268518518516</c:v>
                </c:pt>
                <c:pt idx="6781">
                  <c:v>302.37268518518516</c:v>
                </c:pt>
                <c:pt idx="6782">
                  <c:v>302.37268518518516</c:v>
                </c:pt>
                <c:pt idx="6783">
                  <c:v>302.37268518518516</c:v>
                </c:pt>
                <c:pt idx="6784">
                  <c:v>302.37268518518516</c:v>
                </c:pt>
                <c:pt idx="6785">
                  <c:v>305.49768518518516</c:v>
                </c:pt>
                <c:pt idx="6786">
                  <c:v>305.49768518518516</c:v>
                </c:pt>
                <c:pt idx="6787">
                  <c:v>305.49768518518516</c:v>
                </c:pt>
                <c:pt idx="6788">
                  <c:v>305.49768518518516</c:v>
                </c:pt>
                <c:pt idx="6789">
                  <c:v>305.49768518518516</c:v>
                </c:pt>
                <c:pt idx="6790">
                  <c:v>310.9375</c:v>
                </c:pt>
                <c:pt idx="6791">
                  <c:v>310.9375</c:v>
                </c:pt>
                <c:pt idx="6792">
                  <c:v>310.9375</c:v>
                </c:pt>
                <c:pt idx="6793">
                  <c:v>310.9375</c:v>
                </c:pt>
                <c:pt idx="6794">
                  <c:v>310.9375</c:v>
                </c:pt>
                <c:pt idx="6795">
                  <c:v>315.68287037037038</c:v>
                </c:pt>
                <c:pt idx="6796">
                  <c:v>315.68287037037038</c:v>
                </c:pt>
                <c:pt idx="6797">
                  <c:v>315.68287037037038</c:v>
                </c:pt>
                <c:pt idx="6798">
                  <c:v>315.68287037037038</c:v>
                </c:pt>
                <c:pt idx="6799">
                  <c:v>315.68287037037038</c:v>
                </c:pt>
                <c:pt idx="6800">
                  <c:v>317.12962962962968</c:v>
                </c:pt>
                <c:pt idx="6801">
                  <c:v>317.12962962962968</c:v>
                </c:pt>
                <c:pt idx="6802">
                  <c:v>317.12962962962968</c:v>
                </c:pt>
                <c:pt idx="6803">
                  <c:v>317.12962962962968</c:v>
                </c:pt>
                <c:pt idx="6804">
                  <c:v>317.12962962962968</c:v>
                </c:pt>
                <c:pt idx="6805">
                  <c:v>318.34490740740745</c:v>
                </c:pt>
                <c:pt idx="6806">
                  <c:v>318.34490740740745</c:v>
                </c:pt>
                <c:pt idx="6807">
                  <c:v>318.34490740740745</c:v>
                </c:pt>
                <c:pt idx="6808">
                  <c:v>318.34490740740745</c:v>
                </c:pt>
                <c:pt idx="6809">
                  <c:v>318.34490740740745</c:v>
                </c:pt>
                <c:pt idx="6810">
                  <c:v>319.27083333333337</c:v>
                </c:pt>
                <c:pt idx="6811">
                  <c:v>319.27083333333337</c:v>
                </c:pt>
                <c:pt idx="6812">
                  <c:v>319.27083333333337</c:v>
                </c:pt>
                <c:pt idx="6813">
                  <c:v>319.27083333333337</c:v>
                </c:pt>
                <c:pt idx="6814">
                  <c:v>319.27083333333337</c:v>
                </c:pt>
                <c:pt idx="6815">
                  <c:v>323.20601851851853</c:v>
                </c:pt>
                <c:pt idx="6816">
                  <c:v>323.20601851851853</c:v>
                </c:pt>
                <c:pt idx="6817">
                  <c:v>323.20601851851853</c:v>
                </c:pt>
                <c:pt idx="6818">
                  <c:v>323.20601851851853</c:v>
                </c:pt>
                <c:pt idx="6819">
                  <c:v>323.20601851851853</c:v>
                </c:pt>
                <c:pt idx="6820">
                  <c:v>318.28703703703701</c:v>
                </c:pt>
                <c:pt idx="6821">
                  <c:v>318.28703703703701</c:v>
                </c:pt>
                <c:pt idx="6822">
                  <c:v>318.28703703703701</c:v>
                </c:pt>
                <c:pt idx="6823">
                  <c:v>318.28703703703701</c:v>
                </c:pt>
                <c:pt idx="6824">
                  <c:v>318.28703703703701</c:v>
                </c:pt>
                <c:pt idx="6825">
                  <c:v>317.07175925925924</c:v>
                </c:pt>
                <c:pt idx="6826">
                  <c:v>317.07175925925924</c:v>
                </c:pt>
                <c:pt idx="6827">
                  <c:v>317.07175925925924</c:v>
                </c:pt>
                <c:pt idx="6828">
                  <c:v>317.07175925925924</c:v>
                </c:pt>
                <c:pt idx="6829">
                  <c:v>317.07175925925924</c:v>
                </c:pt>
                <c:pt idx="6830">
                  <c:v>319.84953703703707</c:v>
                </c:pt>
                <c:pt idx="6831">
                  <c:v>319.84953703703707</c:v>
                </c:pt>
                <c:pt idx="6832">
                  <c:v>319.84953703703707</c:v>
                </c:pt>
                <c:pt idx="6833">
                  <c:v>319.84953703703707</c:v>
                </c:pt>
                <c:pt idx="6834">
                  <c:v>319.84953703703707</c:v>
                </c:pt>
                <c:pt idx="6835">
                  <c:v>316.55092592592592</c:v>
                </c:pt>
                <c:pt idx="6836">
                  <c:v>316.55092592592592</c:v>
                </c:pt>
                <c:pt idx="6837">
                  <c:v>316.55092592592592</c:v>
                </c:pt>
                <c:pt idx="6838">
                  <c:v>316.55092592592592</c:v>
                </c:pt>
                <c:pt idx="6839">
                  <c:v>316.55092592592592</c:v>
                </c:pt>
                <c:pt idx="6840">
                  <c:v>320.48611111111114</c:v>
                </c:pt>
                <c:pt idx="6841">
                  <c:v>320.48611111111114</c:v>
                </c:pt>
                <c:pt idx="6842">
                  <c:v>320.48611111111114</c:v>
                </c:pt>
                <c:pt idx="6843">
                  <c:v>320.48611111111114</c:v>
                </c:pt>
                <c:pt idx="6844">
                  <c:v>320.48611111111114</c:v>
                </c:pt>
                <c:pt idx="6845">
                  <c:v>324.13194444444446</c:v>
                </c:pt>
                <c:pt idx="6846">
                  <c:v>324.13194444444446</c:v>
                </c:pt>
                <c:pt idx="6847">
                  <c:v>324.13194444444446</c:v>
                </c:pt>
                <c:pt idx="6848">
                  <c:v>324.13194444444446</c:v>
                </c:pt>
                <c:pt idx="6849">
                  <c:v>324.13194444444446</c:v>
                </c:pt>
                <c:pt idx="6850">
                  <c:v>351.38888888888886</c:v>
                </c:pt>
                <c:pt idx="6851">
                  <c:v>351.38888888888886</c:v>
                </c:pt>
                <c:pt idx="6852">
                  <c:v>351.38888888888886</c:v>
                </c:pt>
                <c:pt idx="6853">
                  <c:v>351.38888888888886</c:v>
                </c:pt>
                <c:pt idx="6854">
                  <c:v>351.38888888888886</c:v>
                </c:pt>
                <c:pt idx="6855">
                  <c:v>337.21064814814815</c:v>
                </c:pt>
                <c:pt idx="6856">
                  <c:v>337.21064814814815</c:v>
                </c:pt>
                <c:pt idx="6857">
                  <c:v>337.21064814814815</c:v>
                </c:pt>
                <c:pt idx="6858">
                  <c:v>337.21064814814815</c:v>
                </c:pt>
                <c:pt idx="6859">
                  <c:v>337.21064814814815</c:v>
                </c:pt>
                <c:pt idx="6860">
                  <c:v>324.0162037037037</c:v>
                </c:pt>
                <c:pt idx="6861">
                  <c:v>324.0162037037037</c:v>
                </c:pt>
                <c:pt idx="6862">
                  <c:v>324.0162037037037</c:v>
                </c:pt>
                <c:pt idx="6863">
                  <c:v>324.0162037037037</c:v>
                </c:pt>
                <c:pt idx="6864">
                  <c:v>324.0162037037037</c:v>
                </c:pt>
                <c:pt idx="6865">
                  <c:v>329.28240740740745</c:v>
                </c:pt>
                <c:pt idx="6866">
                  <c:v>329.28240740740745</c:v>
                </c:pt>
                <c:pt idx="6867">
                  <c:v>329.28240740740745</c:v>
                </c:pt>
                <c:pt idx="6868">
                  <c:v>329.28240740740745</c:v>
                </c:pt>
                <c:pt idx="6869">
                  <c:v>329.28240740740745</c:v>
                </c:pt>
                <c:pt idx="6870">
                  <c:v>328.35648148148147</c:v>
                </c:pt>
                <c:pt idx="6871">
                  <c:v>328.35648148148147</c:v>
                </c:pt>
                <c:pt idx="6872">
                  <c:v>328.35648148148147</c:v>
                </c:pt>
                <c:pt idx="6873">
                  <c:v>328.35648148148147</c:v>
                </c:pt>
                <c:pt idx="6874">
                  <c:v>328.35648148148147</c:v>
                </c:pt>
                <c:pt idx="6875">
                  <c:v>329.39814814814815</c:v>
                </c:pt>
                <c:pt idx="6876">
                  <c:v>329.39814814814815</c:v>
                </c:pt>
                <c:pt idx="6877">
                  <c:v>329.39814814814815</c:v>
                </c:pt>
                <c:pt idx="6878">
                  <c:v>329.39814814814815</c:v>
                </c:pt>
                <c:pt idx="6879">
                  <c:v>329.39814814814815</c:v>
                </c:pt>
                <c:pt idx="6880">
                  <c:v>327.60416666666663</c:v>
                </c:pt>
                <c:pt idx="6881">
                  <c:v>327.60416666666663</c:v>
                </c:pt>
                <c:pt idx="6882">
                  <c:v>327.60416666666663</c:v>
                </c:pt>
                <c:pt idx="6883">
                  <c:v>327.60416666666663</c:v>
                </c:pt>
                <c:pt idx="6884">
                  <c:v>327.60416666666663</c:v>
                </c:pt>
                <c:pt idx="6885">
                  <c:v>327.1412037037037</c:v>
                </c:pt>
                <c:pt idx="6886">
                  <c:v>327.1412037037037</c:v>
                </c:pt>
                <c:pt idx="6887">
                  <c:v>327.1412037037037</c:v>
                </c:pt>
                <c:pt idx="6888">
                  <c:v>327.1412037037037</c:v>
                </c:pt>
                <c:pt idx="6889">
                  <c:v>327.1412037037037</c:v>
                </c:pt>
                <c:pt idx="6890">
                  <c:v>324.76851851851853</c:v>
                </c:pt>
                <c:pt idx="6891">
                  <c:v>324.76851851851853</c:v>
                </c:pt>
                <c:pt idx="6892">
                  <c:v>324.76851851851853</c:v>
                </c:pt>
                <c:pt idx="6893">
                  <c:v>324.76851851851853</c:v>
                </c:pt>
                <c:pt idx="6894">
                  <c:v>324.76851851851853</c:v>
                </c:pt>
                <c:pt idx="6895">
                  <c:v>321.52777777777777</c:v>
                </c:pt>
                <c:pt idx="6896">
                  <c:v>321.52777777777777</c:v>
                </c:pt>
                <c:pt idx="6897">
                  <c:v>321.52777777777777</c:v>
                </c:pt>
                <c:pt idx="6898">
                  <c:v>321.52777777777777</c:v>
                </c:pt>
                <c:pt idx="6899">
                  <c:v>321.52777777777777</c:v>
                </c:pt>
                <c:pt idx="6900">
                  <c:v>327.48842592592592</c:v>
                </c:pt>
                <c:pt idx="6901">
                  <c:v>327.48842592592592</c:v>
                </c:pt>
                <c:pt idx="6902">
                  <c:v>327.48842592592592</c:v>
                </c:pt>
                <c:pt idx="6903">
                  <c:v>327.48842592592592</c:v>
                </c:pt>
                <c:pt idx="6904">
                  <c:v>327.48842592592592</c:v>
                </c:pt>
                <c:pt idx="6905">
                  <c:v>326.44675925925924</c:v>
                </c:pt>
                <c:pt idx="6906">
                  <c:v>326.44675925925924</c:v>
                </c:pt>
                <c:pt idx="6907">
                  <c:v>326.44675925925924</c:v>
                </c:pt>
                <c:pt idx="6908">
                  <c:v>326.44675925925924</c:v>
                </c:pt>
                <c:pt idx="6909">
                  <c:v>326.44675925925924</c:v>
                </c:pt>
                <c:pt idx="6910">
                  <c:v>326.90972222222223</c:v>
                </c:pt>
                <c:pt idx="6911">
                  <c:v>326.90972222222223</c:v>
                </c:pt>
                <c:pt idx="6912">
                  <c:v>326.90972222222223</c:v>
                </c:pt>
                <c:pt idx="6913">
                  <c:v>326.90972222222223</c:v>
                </c:pt>
                <c:pt idx="6914">
                  <c:v>326.90972222222223</c:v>
                </c:pt>
                <c:pt idx="6915">
                  <c:v>327.02546296296299</c:v>
                </c:pt>
                <c:pt idx="6916">
                  <c:v>327.02546296296299</c:v>
                </c:pt>
                <c:pt idx="6917">
                  <c:v>327.02546296296299</c:v>
                </c:pt>
                <c:pt idx="6918">
                  <c:v>327.02546296296299</c:v>
                </c:pt>
                <c:pt idx="6919">
                  <c:v>327.02546296296299</c:v>
                </c:pt>
                <c:pt idx="6920">
                  <c:v>333.21759259259261</c:v>
                </c:pt>
                <c:pt idx="6921">
                  <c:v>333.21759259259261</c:v>
                </c:pt>
                <c:pt idx="6922">
                  <c:v>333.21759259259261</c:v>
                </c:pt>
                <c:pt idx="6923">
                  <c:v>333.21759259259261</c:v>
                </c:pt>
                <c:pt idx="6924">
                  <c:v>333.21759259259261</c:v>
                </c:pt>
                <c:pt idx="6925">
                  <c:v>340.97222222222223</c:v>
                </c:pt>
                <c:pt idx="6926">
                  <c:v>340.97222222222223</c:v>
                </c:pt>
                <c:pt idx="6927">
                  <c:v>340.97222222222223</c:v>
                </c:pt>
                <c:pt idx="6928">
                  <c:v>340.97222222222223</c:v>
                </c:pt>
                <c:pt idx="6929">
                  <c:v>340.97222222222223</c:v>
                </c:pt>
                <c:pt idx="6930">
                  <c:v>341.26157407407408</c:v>
                </c:pt>
                <c:pt idx="6931">
                  <c:v>341.26157407407408</c:v>
                </c:pt>
                <c:pt idx="6932">
                  <c:v>341.26157407407408</c:v>
                </c:pt>
                <c:pt idx="6933">
                  <c:v>341.26157407407408</c:v>
                </c:pt>
                <c:pt idx="6934">
                  <c:v>341.26157407407408</c:v>
                </c:pt>
                <c:pt idx="6935">
                  <c:v>339.75694444444446</c:v>
                </c:pt>
                <c:pt idx="6936">
                  <c:v>339.75694444444446</c:v>
                </c:pt>
                <c:pt idx="6937">
                  <c:v>339.75694444444446</c:v>
                </c:pt>
                <c:pt idx="6938">
                  <c:v>339.75694444444446</c:v>
                </c:pt>
                <c:pt idx="6939">
                  <c:v>339.75694444444446</c:v>
                </c:pt>
                <c:pt idx="6940">
                  <c:v>341.03009259259261</c:v>
                </c:pt>
                <c:pt idx="6941">
                  <c:v>341.03009259259261</c:v>
                </c:pt>
                <c:pt idx="6942">
                  <c:v>341.03009259259261</c:v>
                </c:pt>
                <c:pt idx="6943">
                  <c:v>341.03009259259261</c:v>
                </c:pt>
                <c:pt idx="6944">
                  <c:v>341.03009259259261</c:v>
                </c:pt>
                <c:pt idx="6945">
                  <c:v>347.68518518518522</c:v>
                </c:pt>
                <c:pt idx="6946">
                  <c:v>347.68518518518522</c:v>
                </c:pt>
                <c:pt idx="6947">
                  <c:v>347.68518518518522</c:v>
                </c:pt>
                <c:pt idx="6948">
                  <c:v>347.68518518518522</c:v>
                </c:pt>
                <c:pt idx="6949">
                  <c:v>347.68518518518522</c:v>
                </c:pt>
                <c:pt idx="6950">
                  <c:v>350.46296296296299</c:v>
                </c:pt>
                <c:pt idx="6951">
                  <c:v>350.46296296296299</c:v>
                </c:pt>
                <c:pt idx="6952">
                  <c:v>350.46296296296299</c:v>
                </c:pt>
                <c:pt idx="6953">
                  <c:v>350.46296296296299</c:v>
                </c:pt>
                <c:pt idx="6954">
                  <c:v>350.46296296296299</c:v>
                </c:pt>
                <c:pt idx="6955">
                  <c:v>349.18981481481478</c:v>
                </c:pt>
                <c:pt idx="6956">
                  <c:v>349.18981481481478</c:v>
                </c:pt>
                <c:pt idx="6957">
                  <c:v>349.18981481481478</c:v>
                </c:pt>
                <c:pt idx="6958">
                  <c:v>349.18981481481478</c:v>
                </c:pt>
                <c:pt idx="6959">
                  <c:v>349.18981481481478</c:v>
                </c:pt>
                <c:pt idx="6960">
                  <c:v>347.91666666666663</c:v>
                </c:pt>
                <c:pt idx="6961">
                  <c:v>347.91666666666663</c:v>
                </c:pt>
                <c:pt idx="6962">
                  <c:v>347.91666666666663</c:v>
                </c:pt>
                <c:pt idx="6963">
                  <c:v>347.91666666666663</c:v>
                </c:pt>
                <c:pt idx="6964">
                  <c:v>347.91666666666663</c:v>
                </c:pt>
                <c:pt idx="6965">
                  <c:v>347.04861111111114</c:v>
                </c:pt>
                <c:pt idx="6966">
                  <c:v>347.04861111111114</c:v>
                </c:pt>
                <c:pt idx="6967">
                  <c:v>347.04861111111114</c:v>
                </c:pt>
                <c:pt idx="6968">
                  <c:v>347.04861111111114</c:v>
                </c:pt>
                <c:pt idx="6969">
                  <c:v>347.04861111111114</c:v>
                </c:pt>
                <c:pt idx="6970">
                  <c:v>350.92592592592598</c:v>
                </c:pt>
                <c:pt idx="6971">
                  <c:v>350.92592592592598</c:v>
                </c:pt>
                <c:pt idx="6972">
                  <c:v>350.92592592592598</c:v>
                </c:pt>
                <c:pt idx="6973">
                  <c:v>350.92592592592598</c:v>
                </c:pt>
                <c:pt idx="6974">
                  <c:v>350.92592592592598</c:v>
                </c:pt>
                <c:pt idx="6975">
                  <c:v>348.72685185185185</c:v>
                </c:pt>
                <c:pt idx="6976">
                  <c:v>348.72685185185185</c:v>
                </c:pt>
                <c:pt idx="6977">
                  <c:v>348.72685185185185</c:v>
                </c:pt>
                <c:pt idx="6978">
                  <c:v>348.72685185185185</c:v>
                </c:pt>
                <c:pt idx="6979">
                  <c:v>348.72685185185185</c:v>
                </c:pt>
                <c:pt idx="6980">
                  <c:v>352.83564814814821</c:v>
                </c:pt>
                <c:pt idx="6981">
                  <c:v>352.83564814814821</c:v>
                </c:pt>
                <c:pt idx="6982">
                  <c:v>352.83564814814821</c:v>
                </c:pt>
                <c:pt idx="6983">
                  <c:v>352.83564814814821</c:v>
                </c:pt>
                <c:pt idx="6984">
                  <c:v>352.83564814814821</c:v>
                </c:pt>
                <c:pt idx="6985">
                  <c:v>355.03472222222223</c:v>
                </c:pt>
                <c:pt idx="6986">
                  <c:v>355.03472222222223</c:v>
                </c:pt>
                <c:pt idx="6987">
                  <c:v>355.03472222222223</c:v>
                </c:pt>
                <c:pt idx="6988">
                  <c:v>355.03472222222223</c:v>
                </c:pt>
                <c:pt idx="6989">
                  <c:v>355.03472222222223</c:v>
                </c:pt>
                <c:pt idx="6990">
                  <c:v>361.74768518518522</c:v>
                </c:pt>
                <c:pt idx="6991">
                  <c:v>361.74768518518522</c:v>
                </c:pt>
                <c:pt idx="6992">
                  <c:v>361.74768518518522</c:v>
                </c:pt>
                <c:pt idx="6993">
                  <c:v>361.74768518518522</c:v>
                </c:pt>
                <c:pt idx="6994">
                  <c:v>361.74768518518522</c:v>
                </c:pt>
                <c:pt idx="6995">
                  <c:v>365.68287037037038</c:v>
                </c:pt>
                <c:pt idx="6996">
                  <c:v>365.68287037037038</c:v>
                </c:pt>
                <c:pt idx="6997">
                  <c:v>365.68287037037038</c:v>
                </c:pt>
                <c:pt idx="6998">
                  <c:v>365.68287037037038</c:v>
                </c:pt>
                <c:pt idx="6999">
                  <c:v>365.68287037037038</c:v>
                </c:pt>
                <c:pt idx="7000">
                  <c:v>359.72222222222223</c:v>
                </c:pt>
                <c:pt idx="7001">
                  <c:v>359.72222222222223</c:v>
                </c:pt>
                <c:pt idx="7002">
                  <c:v>359.72222222222223</c:v>
                </c:pt>
                <c:pt idx="7003">
                  <c:v>359.72222222222223</c:v>
                </c:pt>
                <c:pt idx="7004">
                  <c:v>359.72222222222223</c:v>
                </c:pt>
                <c:pt idx="7005">
                  <c:v>354.51388888888891</c:v>
                </c:pt>
                <c:pt idx="7006">
                  <c:v>354.51388888888891</c:v>
                </c:pt>
                <c:pt idx="7007">
                  <c:v>354.51388888888891</c:v>
                </c:pt>
                <c:pt idx="7008">
                  <c:v>354.51388888888891</c:v>
                </c:pt>
                <c:pt idx="7009">
                  <c:v>354.51388888888891</c:v>
                </c:pt>
                <c:pt idx="7010">
                  <c:v>367.07175925925924</c:v>
                </c:pt>
                <c:pt idx="7011">
                  <c:v>367.07175925925924</c:v>
                </c:pt>
                <c:pt idx="7012">
                  <c:v>367.07175925925924</c:v>
                </c:pt>
                <c:pt idx="7013">
                  <c:v>367.07175925925924</c:v>
                </c:pt>
                <c:pt idx="7014">
                  <c:v>367.07175925925924</c:v>
                </c:pt>
                <c:pt idx="7015">
                  <c:v>363.31018518518516</c:v>
                </c:pt>
                <c:pt idx="7016">
                  <c:v>363.31018518518516</c:v>
                </c:pt>
                <c:pt idx="7017">
                  <c:v>363.31018518518516</c:v>
                </c:pt>
                <c:pt idx="7018">
                  <c:v>363.31018518518516</c:v>
                </c:pt>
                <c:pt idx="7019">
                  <c:v>363.31018518518516</c:v>
                </c:pt>
                <c:pt idx="7020">
                  <c:v>362.90509259259261</c:v>
                </c:pt>
                <c:pt idx="7021">
                  <c:v>362.90509259259261</c:v>
                </c:pt>
                <c:pt idx="7022">
                  <c:v>362.90509259259261</c:v>
                </c:pt>
                <c:pt idx="7023">
                  <c:v>362.90509259259261</c:v>
                </c:pt>
                <c:pt idx="7024">
                  <c:v>362.90509259259261</c:v>
                </c:pt>
                <c:pt idx="7025">
                  <c:v>362.84722222222217</c:v>
                </c:pt>
                <c:pt idx="7026">
                  <c:v>362.84722222222217</c:v>
                </c:pt>
                <c:pt idx="7027">
                  <c:v>362.84722222222217</c:v>
                </c:pt>
                <c:pt idx="7028">
                  <c:v>362.84722222222217</c:v>
                </c:pt>
                <c:pt idx="7029">
                  <c:v>362.84722222222217</c:v>
                </c:pt>
                <c:pt idx="7030">
                  <c:v>363.25231481481484</c:v>
                </c:pt>
                <c:pt idx="7031">
                  <c:v>363.25231481481484</c:v>
                </c:pt>
                <c:pt idx="7032">
                  <c:v>363.25231481481484</c:v>
                </c:pt>
                <c:pt idx="7033">
                  <c:v>363.25231481481484</c:v>
                </c:pt>
                <c:pt idx="7034">
                  <c:v>363.25231481481484</c:v>
                </c:pt>
                <c:pt idx="7035">
                  <c:v>368.22916666666669</c:v>
                </c:pt>
                <c:pt idx="7036">
                  <c:v>368.22916666666669</c:v>
                </c:pt>
                <c:pt idx="7037">
                  <c:v>368.22916666666669</c:v>
                </c:pt>
                <c:pt idx="7038">
                  <c:v>368.22916666666669</c:v>
                </c:pt>
                <c:pt idx="7039">
                  <c:v>368.22916666666669</c:v>
                </c:pt>
                <c:pt idx="7040">
                  <c:v>368.86574074074076</c:v>
                </c:pt>
                <c:pt idx="7041">
                  <c:v>368.86574074074076</c:v>
                </c:pt>
                <c:pt idx="7042">
                  <c:v>368.86574074074076</c:v>
                </c:pt>
                <c:pt idx="7043">
                  <c:v>368.86574074074076</c:v>
                </c:pt>
                <c:pt idx="7044">
                  <c:v>368.86574074074076</c:v>
                </c:pt>
                <c:pt idx="7045">
                  <c:v>374.24768518518516</c:v>
                </c:pt>
                <c:pt idx="7046">
                  <c:v>374.24768518518516</c:v>
                </c:pt>
                <c:pt idx="7047">
                  <c:v>374.24768518518516</c:v>
                </c:pt>
                <c:pt idx="7048">
                  <c:v>374.24768518518516</c:v>
                </c:pt>
                <c:pt idx="7049">
                  <c:v>374.24768518518516</c:v>
                </c:pt>
                <c:pt idx="7050">
                  <c:v>384.78009259259261</c:v>
                </c:pt>
                <c:pt idx="7051">
                  <c:v>384.78009259259261</c:v>
                </c:pt>
                <c:pt idx="7052">
                  <c:v>384.78009259259261</c:v>
                </c:pt>
                <c:pt idx="7053">
                  <c:v>384.78009259259261</c:v>
                </c:pt>
                <c:pt idx="7054">
                  <c:v>384.78009259259261</c:v>
                </c:pt>
                <c:pt idx="7055">
                  <c:v>392.47685185185185</c:v>
                </c:pt>
                <c:pt idx="7056">
                  <c:v>392.47685185185185</c:v>
                </c:pt>
                <c:pt idx="7057">
                  <c:v>392.47685185185185</c:v>
                </c:pt>
                <c:pt idx="7058">
                  <c:v>392.47685185185185</c:v>
                </c:pt>
                <c:pt idx="7059">
                  <c:v>392.47685185185185</c:v>
                </c:pt>
                <c:pt idx="7060">
                  <c:v>390.74074074074076</c:v>
                </c:pt>
                <c:pt idx="7061">
                  <c:v>390.74074074074076</c:v>
                </c:pt>
                <c:pt idx="7062">
                  <c:v>390.74074074074076</c:v>
                </c:pt>
                <c:pt idx="7063">
                  <c:v>390.74074074074076</c:v>
                </c:pt>
                <c:pt idx="7064">
                  <c:v>390.74074074074076</c:v>
                </c:pt>
                <c:pt idx="7065">
                  <c:v>396.875</c:v>
                </c:pt>
                <c:pt idx="7066">
                  <c:v>396.875</c:v>
                </c:pt>
                <c:pt idx="7067">
                  <c:v>396.875</c:v>
                </c:pt>
                <c:pt idx="7068">
                  <c:v>396.875</c:v>
                </c:pt>
                <c:pt idx="7069">
                  <c:v>396.875</c:v>
                </c:pt>
                <c:pt idx="7070">
                  <c:v>392.0717592592593</c:v>
                </c:pt>
                <c:pt idx="7071">
                  <c:v>392.0717592592593</c:v>
                </c:pt>
                <c:pt idx="7072">
                  <c:v>392.0717592592593</c:v>
                </c:pt>
                <c:pt idx="7073">
                  <c:v>392.0717592592593</c:v>
                </c:pt>
                <c:pt idx="7074">
                  <c:v>392.0717592592593</c:v>
                </c:pt>
                <c:pt idx="7075">
                  <c:v>394.03935185185185</c:v>
                </c:pt>
                <c:pt idx="7076">
                  <c:v>394.03935185185185</c:v>
                </c:pt>
                <c:pt idx="7077">
                  <c:v>394.03935185185185</c:v>
                </c:pt>
                <c:pt idx="7078">
                  <c:v>394.03935185185185</c:v>
                </c:pt>
                <c:pt idx="7079">
                  <c:v>394.03935185185185</c:v>
                </c:pt>
                <c:pt idx="7080">
                  <c:v>385.12731481481484</c:v>
                </c:pt>
                <c:pt idx="7081">
                  <c:v>385.12731481481484</c:v>
                </c:pt>
                <c:pt idx="7082">
                  <c:v>385.12731481481484</c:v>
                </c:pt>
                <c:pt idx="7083">
                  <c:v>385.12731481481484</c:v>
                </c:pt>
                <c:pt idx="7084">
                  <c:v>385.12731481481484</c:v>
                </c:pt>
                <c:pt idx="7085">
                  <c:v>383.7962962962963</c:v>
                </c:pt>
                <c:pt idx="7086">
                  <c:v>383.7962962962963</c:v>
                </c:pt>
                <c:pt idx="7087">
                  <c:v>383.7962962962963</c:v>
                </c:pt>
                <c:pt idx="7088">
                  <c:v>383.7962962962963</c:v>
                </c:pt>
                <c:pt idx="7089">
                  <c:v>383.7962962962963</c:v>
                </c:pt>
                <c:pt idx="7090">
                  <c:v>385.53240740740739</c:v>
                </c:pt>
                <c:pt idx="7091">
                  <c:v>385.53240740740739</c:v>
                </c:pt>
                <c:pt idx="7092">
                  <c:v>385.53240740740739</c:v>
                </c:pt>
                <c:pt idx="7093">
                  <c:v>385.53240740740739</c:v>
                </c:pt>
                <c:pt idx="7094">
                  <c:v>385.53240740740739</c:v>
                </c:pt>
                <c:pt idx="7095">
                  <c:v>385.12731481481484</c:v>
                </c:pt>
                <c:pt idx="7096">
                  <c:v>385.12731481481484</c:v>
                </c:pt>
                <c:pt idx="7097">
                  <c:v>385.12731481481484</c:v>
                </c:pt>
                <c:pt idx="7098">
                  <c:v>385.12731481481484</c:v>
                </c:pt>
                <c:pt idx="7099">
                  <c:v>385.12731481481484</c:v>
                </c:pt>
                <c:pt idx="7100">
                  <c:v>386.68981481481484</c:v>
                </c:pt>
                <c:pt idx="7101">
                  <c:v>386.68981481481484</c:v>
                </c:pt>
                <c:pt idx="7102">
                  <c:v>386.68981481481484</c:v>
                </c:pt>
                <c:pt idx="7103">
                  <c:v>386.68981481481484</c:v>
                </c:pt>
                <c:pt idx="7104">
                  <c:v>386.68981481481484</c:v>
                </c:pt>
                <c:pt idx="7105">
                  <c:v>381.1342592592593</c:v>
                </c:pt>
                <c:pt idx="7106">
                  <c:v>381.1342592592593</c:v>
                </c:pt>
                <c:pt idx="7107">
                  <c:v>381.1342592592593</c:v>
                </c:pt>
                <c:pt idx="7108">
                  <c:v>381.1342592592593</c:v>
                </c:pt>
                <c:pt idx="7109">
                  <c:v>381.1342592592593</c:v>
                </c:pt>
                <c:pt idx="7110">
                  <c:v>380.32407407407408</c:v>
                </c:pt>
                <c:pt idx="7111">
                  <c:v>380.32407407407408</c:v>
                </c:pt>
                <c:pt idx="7112">
                  <c:v>380.32407407407408</c:v>
                </c:pt>
                <c:pt idx="7113">
                  <c:v>380.32407407407408</c:v>
                </c:pt>
                <c:pt idx="7114">
                  <c:v>380.32407407407408</c:v>
                </c:pt>
                <c:pt idx="7115">
                  <c:v>380.72916666666663</c:v>
                </c:pt>
                <c:pt idx="7116">
                  <c:v>380.72916666666663</c:v>
                </c:pt>
                <c:pt idx="7117">
                  <c:v>380.72916666666663</c:v>
                </c:pt>
                <c:pt idx="7118">
                  <c:v>380.72916666666663</c:v>
                </c:pt>
                <c:pt idx="7119">
                  <c:v>380.72916666666663</c:v>
                </c:pt>
                <c:pt idx="7120">
                  <c:v>377.89351851851853</c:v>
                </c:pt>
                <c:pt idx="7121">
                  <c:v>377.89351851851853</c:v>
                </c:pt>
                <c:pt idx="7122">
                  <c:v>377.89351851851853</c:v>
                </c:pt>
                <c:pt idx="7123">
                  <c:v>377.89351851851853</c:v>
                </c:pt>
                <c:pt idx="7124">
                  <c:v>377.89351851851853</c:v>
                </c:pt>
                <c:pt idx="7125">
                  <c:v>383.04398148148147</c:v>
                </c:pt>
                <c:pt idx="7126">
                  <c:v>383.04398148148147</c:v>
                </c:pt>
                <c:pt idx="7127">
                  <c:v>383.04398148148147</c:v>
                </c:pt>
                <c:pt idx="7128">
                  <c:v>383.04398148148147</c:v>
                </c:pt>
                <c:pt idx="7129">
                  <c:v>383.04398148148147</c:v>
                </c:pt>
                <c:pt idx="7130">
                  <c:v>385.01157407407402</c:v>
                </c:pt>
                <c:pt idx="7131">
                  <c:v>385.01157407407402</c:v>
                </c:pt>
                <c:pt idx="7132">
                  <c:v>385.01157407407402</c:v>
                </c:pt>
                <c:pt idx="7133">
                  <c:v>385.01157407407402</c:v>
                </c:pt>
                <c:pt idx="7134">
                  <c:v>385.01157407407402</c:v>
                </c:pt>
                <c:pt idx="7135">
                  <c:v>389.98842592592592</c:v>
                </c:pt>
                <c:pt idx="7136">
                  <c:v>389.98842592592592</c:v>
                </c:pt>
                <c:pt idx="7137">
                  <c:v>389.98842592592592</c:v>
                </c:pt>
                <c:pt idx="7138">
                  <c:v>389.98842592592592</c:v>
                </c:pt>
                <c:pt idx="7139">
                  <c:v>389.98842592592592</c:v>
                </c:pt>
                <c:pt idx="7140">
                  <c:v>391.6087962962963</c:v>
                </c:pt>
                <c:pt idx="7141">
                  <c:v>391.6087962962963</c:v>
                </c:pt>
                <c:pt idx="7142">
                  <c:v>391.6087962962963</c:v>
                </c:pt>
                <c:pt idx="7143">
                  <c:v>391.6087962962963</c:v>
                </c:pt>
                <c:pt idx="7144">
                  <c:v>391.6087962962963</c:v>
                </c:pt>
                <c:pt idx="7145">
                  <c:v>385.59027777777783</c:v>
                </c:pt>
                <c:pt idx="7146">
                  <c:v>385.59027777777783</c:v>
                </c:pt>
                <c:pt idx="7147">
                  <c:v>385.59027777777783</c:v>
                </c:pt>
                <c:pt idx="7148">
                  <c:v>385.59027777777783</c:v>
                </c:pt>
                <c:pt idx="7149">
                  <c:v>385.59027777777783</c:v>
                </c:pt>
                <c:pt idx="7150">
                  <c:v>377.66203703703701</c:v>
                </c:pt>
                <c:pt idx="7151">
                  <c:v>377.66203703703701</c:v>
                </c:pt>
                <c:pt idx="7152">
                  <c:v>377.66203703703701</c:v>
                </c:pt>
                <c:pt idx="7153">
                  <c:v>377.66203703703701</c:v>
                </c:pt>
                <c:pt idx="7154">
                  <c:v>377.66203703703701</c:v>
                </c:pt>
                <c:pt idx="7155">
                  <c:v>379.80324074074076</c:v>
                </c:pt>
                <c:pt idx="7156">
                  <c:v>379.80324074074076</c:v>
                </c:pt>
                <c:pt idx="7157">
                  <c:v>379.80324074074076</c:v>
                </c:pt>
                <c:pt idx="7158">
                  <c:v>379.80324074074076</c:v>
                </c:pt>
                <c:pt idx="7159">
                  <c:v>379.80324074074076</c:v>
                </c:pt>
                <c:pt idx="7160">
                  <c:v>379.39814814814815</c:v>
                </c:pt>
                <c:pt idx="7161">
                  <c:v>379.39814814814815</c:v>
                </c:pt>
                <c:pt idx="7162">
                  <c:v>379.39814814814815</c:v>
                </c:pt>
                <c:pt idx="7163">
                  <c:v>379.39814814814815</c:v>
                </c:pt>
                <c:pt idx="7164">
                  <c:v>379.39814814814815</c:v>
                </c:pt>
                <c:pt idx="7165">
                  <c:v>379.45601851851853</c:v>
                </c:pt>
                <c:pt idx="7166">
                  <c:v>379.45601851851853</c:v>
                </c:pt>
                <c:pt idx="7167">
                  <c:v>379.45601851851853</c:v>
                </c:pt>
                <c:pt idx="7168">
                  <c:v>379.45601851851853</c:v>
                </c:pt>
                <c:pt idx="7169">
                  <c:v>379.45601851851853</c:v>
                </c:pt>
                <c:pt idx="7170">
                  <c:v>374.47916666666669</c:v>
                </c:pt>
                <c:pt idx="7171">
                  <c:v>374.47916666666669</c:v>
                </c:pt>
                <c:pt idx="7172">
                  <c:v>374.47916666666669</c:v>
                </c:pt>
                <c:pt idx="7173">
                  <c:v>374.47916666666669</c:v>
                </c:pt>
                <c:pt idx="7174">
                  <c:v>374.47916666666669</c:v>
                </c:pt>
                <c:pt idx="7175">
                  <c:v>370.65972222222223</c:v>
                </c:pt>
                <c:pt idx="7176">
                  <c:v>370.65972222222223</c:v>
                </c:pt>
                <c:pt idx="7177">
                  <c:v>370.65972222222223</c:v>
                </c:pt>
                <c:pt idx="7178">
                  <c:v>370.65972222222223</c:v>
                </c:pt>
                <c:pt idx="7179">
                  <c:v>370.65972222222223</c:v>
                </c:pt>
                <c:pt idx="7180">
                  <c:v>368.92361111111114</c:v>
                </c:pt>
                <c:pt idx="7181">
                  <c:v>368.92361111111114</c:v>
                </c:pt>
                <c:pt idx="7182">
                  <c:v>368.92361111111114</c:v>
                </c:pt>
                <c:pt idx="7183">
                  <c:v>368.92361111111114</c:v>
                </c:pt>
                <c:pt idx="7184">
                  <c:v>368.92361111111114</c:v>
                </c:pt>
                <c:pt idx="7185">
                  <c:v>379.51388888888886</c:v>
                </c:pt>
                <c:pt idx="7186">
                  <c:v>379.51388888888886</c:v>
                </c:pt>
                <c:pt idx="7187">
                  <c:v>379.51388888888886</c:v>
                </c:pt>
                <c:pt idx="7188">
                  <c:v>379.51388888888886</c:v>
                </c:pt>
                <c:pt idx="7189">
                  <c:v>379.51388888888886</c:v>
                </c:pt>
                <c:pt idx="7190">
                  <c:v>380.49768518518522</c:v>
                </c:pt>
                <c:pt idx="7191">
                  <c:v>380.49768518518522</c:v>
                </c:pt>
                <c:pt idx="7192">
                  <c:v>380.49768518518522</c:v>
                </c:pt>
                <c:pt idx="7193">
                  <c:v>380.49768518518522</c:v>
                </c:pt>
                <c:pt idx="7194">
                  <c:v>380.49768518518522</c:v>
                </c:pt>
                <c:pt idx="7195">
                  <c:v>378.93518518518522</c:v>
                </c:pt>
                <c:pt idx="7196">
                  <c:v>378.93518518518522</c:v>
                </c:pt>
                <c:pt idx="7197">
                  <c:v>378.93518518518522</c:v>
                </c:pt>
                <c:pt idx="7198">
                  <c:v>378.93518518518522</c:v>
                </c:pt>
                <c:pt idx="7199">
                  <c:v>378.93518518518522</c:v>
                </c:pt>
                <c:pt idx="7200">
                  <c:v>372.8587962962963</c:v>
                </c:pt>
                <c:pt idx="7201">
                  <c:v>372.8587962962963</c:v>
                </c:pt>
                <c:pt idx="7202">
                  <c:v>372.8587962962963</c:v>
                </c:pt>
                <c:pt idx="7203">
                  <c:v>372.8587962962963</c:v>
                </c:pt>
                <c:pt idx="7204">
                  <c:v>372.8587962962963</c:v>
                </c:pt>
                <c:pt idx="7205">
                  <c:v>372.22222222222223</c:v>
                </c:pt>
                <c:pt idx="7206">
                  <c:v>372.22222222222223</c:v>
                </c:pt>
                <c:pt idx="7207">
                  <c:v>372.22222222222223</c:v>
                </c:pt>
                <c:pt idx="7208">
                  <c:v>372.22222222222223</c:v>
                </c:pt>
                <c:pt idx="7209">
                  <c:v>372.22222222222223</c:v>
                </c:pt>
                <c:pt idx="7210">
                  <c:v>365.21990740740739</c:v>
                </c:pt>
                <c:pt idx="7211">
                  <c:v>365.21990740740739</c:v>
                </c:pt>
                <c:pt idx="7212">
                  <c:v>365.21990740740739</c:v>
                </c:pt>
                <c:pt idx="7213">
                  <c:v>365.21990740740739</c:v>
                </c:pt>
                <c:pt idx="7214">
                  <c:v>365.21990740740739</c:v>
                </c:pt>
                <c:pt idx="7215">
                  <c:v>367.07175925925924</c:v>
                </c:pt>
                <c:pt idx="7216">
                  <c:v>367.07175925925924</c:v>
                </c:pt>
                <c:pt idx="7217">
                  <c:v>367.07175925925924</c:v>
                </c:pt>
                <c:pt idx="7218">
                  <c:v>367.07175925925924</c:v>
                </c:pt>
                <c:pt idx="7219">
                  <c:v>367.07175925925924</c:v>
                </c:pt>
                <c:pt idx="7220">
                  <c:v>367.7662037037037</c:v>
                </c:pt>
                <c:pt idx="7221">
                  <c:v>367.7662037037037</c:v>
                </c:pt>
                <c:pt idx="7222">
                  <c:v>367.7662037037037</c:v>
                </c:pt>
                <c:pt idx="7223">
                  <c:v>367.7662037037037</c:v>
                </c:pt>
                <c:pt idx="7224">
                  <c:v>367.7662037037037</c:v>
                </c:pt>
                <c:pt idx="7225">
                  <c:v>358.3912037037037</c:v>
                </c:pt>
                <c:pt idx="7226">
                  <c:v>358.3912037037037</c:v>
                </c:pt>
                <c:pt idx="7227">
                  <c:v>358.3912037037037</c:v>
                </c:pt>
                <c:pt idx="7228">
                  <c:v>358.3912037037037</c:v>
                </c:pt>
                <c:pt idx="7229">
                  <c:v>358.3912037037037</c:v>
                </c:pt>
                <c:pt idx="7230">
                  <c:v>367.30324074074076</c:v>
                </c:pt>
                <c:pt idx="7231">
                  <c:v>367.30324074074076</c:v>
                </c:pt>
                <c:pt idx="7232">
                  <c:v>367.30324074074076</c:v>
                </c:pt>
                <c:pt idx="7233">
                  <c:v>367.30324074074076</c:v>
                </c:pt>
                <c:pt idx="7234">
                  <c:v>367.30324074074076</c:v>
                </c:pt>
                <c:pt idx="7235">
                  <c:v>360.59027777777777</c:v>
                </c:pt>
                <c:pt idx="7236">
                  <c:v>360.59027777777777</c:v>
                </c:pt>
                <c:pt idx="7237">
                  <c:v>360.59027777777777</c:v>
                </c:pt>
                <c:pt idx="7238">
                  <c:v>360.59027777777777</c:v>
                </c:pt>
                <c:pt idx="7239">
                  <c:v>360.59027777777777</c:v>
                </c:pt>
                <c:pt idx="7240">
                  <c:v>361.40046296296299</c:v>
                </c:pt>
                <c:pt idx="7241">
                  <c:v>361.40046296296299</c:v>
                </c:pt>
                <c:pt idx="7242">
                  <c:v>361.40046296296299</c:v>
                </c:pt>
                <c:pt idx="7243">
                  <c:v>361.40046296296299</c:v>
                </c:pt>
                <c:pt idx="7244">
                  <c:v>361.40046296296299</c:v>
                </c:pt>
                <c:pt idx="7245">
                  <c:v>360.41666666666663</c:v>
                </c:pt>
                <c:pt idx="7246">
                  <c:v>360.41666666666663</c:v>
                </c:pt>
                <c:pt idx="7247">
                  <c:v>360.41666666666663</c:v>
                </c:pt>
                <c:pt idx="7248">
                  <c:v>360.41666666666663</c:v>
                </c:pt>
                <c:pt idx="7249">
                  <c:v>360.41666666666663</c:v>
                </c:pt>
                <c:pt idx="7250">
                  <c:v>361.6319444444444</c:v>
                </c:pt>
                <c:pt idx="7251">
                  <c:v>361.6319444444444</c:v>
                </c:pt>
                <c:pt idx="7252">
                  <c:v>361.6319444444444</c:v>
                </c:pt>
                <c:pt idx="7253">
                  <c:v>361.6319444444444</c:v>
                </c:pt>
                <c:pt idx="7254">
                  <c:v>361.6319444444444</c:v>
                </c:pt>
                <c:pt idx="7255">
                  <c:v>366.14583333333337</c:v>
                </c:pt>
                <c:pt idx="7256">
                  <c:v>366.14583333333337</c:v>
                </c:pt>
                <c:pt idx="7257">
                  <c:v>366.14583333333337</c:v>
                </c:pt>
                <c:pt idx="7258">
                  <c:v>366.14583333333337</c:v>
                </c:pt>
                <c:pt idx="7259">
                  <c:v>366.14583333333337</c:v>
                </c:pt>
                <c:pt idx="7260">
                  <c:v>377.71990740740745</c:v>
                </c:pt>
                <c:pt idx="7261">
                  <c:v>377.71990740740745</c:v>
                </c:pt>
                <c:pt idx="7262">
                  <c:v>377.71990740740745</c:v>
                </c:pt>
                <c:pt idx="7263">
                  <c:v>377.71990740740745</c:v>
                </c:pt>
                <c:pt idx="7264">
                  <c:v>377.71990740740745</c:v>
                </c:pt>
                <c:pt idx="7265">
                  <c:v>372.39583333333331</c:v>
                </c:pt>
                <c:pt idx="7266">
                  <c:v>372.39583333333331</c:v>
                </c:pt>
                <c:pt idx="7267">
                  <c:v>372.39583333333331</c:v>
                </c:pt>
                <c:pt idx="7268">
                  <c:v>372.39583333333331</c:v>
                </c:pt>
                <c:pt idx="7269">
                  <c:v>372.39583333333331</c:v>
                </c:pt>
                <c:pt idx="7270">
                  <c:v>376.79398148148147</c:v>
                </c:pt>
                <c:pt idx="7271">
                  <c:v>376.79398148148147</c:v>
                </c:pt>
                <c:pt idx="7272">
                  <c:v>376.79398148148147</c:v>
                </c:pt>
                <c:pt idx="7273">
                  <c:v>376.79398148148147</c:v>
                </c:pt>
                <c:pt idx="7274">
                  <c:v>376.79398148148147</c:v>
                </c:pt>
                <c:pt idx="7275">
                  <c:v>383.7962962962963</c:v>
                </c:pt>
                <c:pt idx="7276">
                  <c:v>383.7962962962963</c:v>
                </c:pt>
                <c:pt idx="7277">
                  <c:v>383.7962962962963</c:v>
                </c:pt>
                <c:pt idx="7278">
                  <c:v>383.7962962962963</c:v>
                </c:pt>
                <c:pt idx="7279">
                  <c:v>383.7962962962963</c:v>
                </c:pt>
                <c:pt idx="7280">
                  <c:v>388.0787037037037</c:v>
                </c:pt>
                <c:pt idx="7281">
                  <c:v>388.0787037037037</c:v>
                </c:pt>
                <c:pt idx="7282">
                  <c:v>388.0787037037037</c:v>
                </c:pt>
                <c:pt idx="7283">
                  <c:v>388.0787037037037</c:v>
                </c:pt>
                <c:pt idx="7284">
                  <c:v>388.0787037037037</c:v>
                </c:pt>
                <c:pt idx="7285">
                  <c:v>391.55092592592598</c:v>
                </c:pt>
                <c:pt idx="7286">
                  <c:v>391.55092592592598</c:v>
                </c:pt>
                <c:pt idx="7287">
                  <c:v>391.55092592592598</c:v>
                </c:pt>
                <c:pt idx="7288">
                  <c:v>391.55092592592598</c:v>
                </c:pt>
                <c:pt idx="7289">
                  <c:v>391.55092592592598</c:v>
                </c:pt>
                <c:pt idx="7290">
                  <c:v>390.10416666666663</c:v>
                </c:pt>
                <c:pt idx="7291">
                  <c:v>390.10416666666663</c:v>
                </c:pt>
                <c:pt idx="7292">
                  <c:v>390.10416666666663</c:v>
                </c:pt>
                <c:pt idx="7293">
                  <c:v>390.10416666666663</c:v>
                </c:pt>
                <c:pt idx="7294">
                  <c:v>390.10416666666663</c:v>
                </c:pt>
                <c:pt idx="7295">
                  <c:v>393.28703703703707</c:v>
                </c:pt>
                <c:pt idx="7296">
                  <c:v>393.28703703703707</c:v>
                </c:pt>
                <c:pt idx="7297">
                  <c:v>393.28703703703707</c:v>
                </c:pt>
                <c:pt idx="7298">
                  <c:v>393.28703703703707</c:v>
                </c:pt>
                <c:pt idx="7299">
                  <c:v>393.28703703703707</c:v>
                </c:pt>
                <c:pt idx="7300">
                  <c:v>394.67592592592598</c:v>
                </c:pt>
                <c:pt idx="7301">
                  <c:v>394.67592592592598</c:v>
                </c:pt>
                <c:pt idx="7302">
                  <c:v>394.67592592592598</c:v>
                </c:pt>
                <c:pt idx="7303">
                  <c:v>394.67592592592598</c:v>
                </c:pt>
                <c:pt idx="7304">
                  <c:v>394.67592592592598</c:v>
                </c:pt>
                <c:pt idx="7305">
                  <c:v>401.79398148148147</c:v>
                </c:pt>
                <c:pt idx="7306">
                  <c:v>401.79398148148147</c:v>
                </c:pt>
                <c:pt idx="7307">
                  <c:v>401.79398148148147</c:v>
                </c:pt>
                <c:pt idx="7308">
                  <c:v>401.79398148148147</c:v>
                </c:pt>
                <c:pt idx="7309">
                  <c:v>401.79398148148147</c:v>
                </c:pt>
                <c:pt idx="7310">
                  <c:v>399.07407407407408</c:v>
                </c:pt>
                <c:pt idx="7311">
                  <c:v>399.07407407407408</c:v>
                </c:pt>
                <c:pt idx="7312">
                  <c:v>399.07407407407408</c:v>
                </c:pt>
                <c:pt idx="7313">
                  <c:v>399.07407407407408</c:v>
                </c:pt>
                <c:pt idx="7314">
                  <c:v>399.07407407407408</c:v>
                </c:pt>
                <c:pt idx="7315">
                  <c:v>400.81018518518522</c:v>
                </c:pt>
                <c:pt idx="7316">
                  <c:v>400.81018518518522</c:v>
                </c:pt>
                <c:pt idx="7317">
                  <c:v>400.81018518518522</c:v>
                </c:pt>
                <c:pt idx="7318">
                  <c:v>400.81018518518522</c:v>
                </c:pt>
                <c:pt idx="7319">
                  <c:v>400.81018518518522</c:v>
                </c:pt>
                <c:pt idx="7320">
                  <c:v>395.83333333333337</c:v>
                </c:pt>
                <c:pt idx="7321">
                  <c:v>395.83333333333337</c:v>
                </c:pt>
                <c:pt idx="7322">
                  <c:v>395.83333333333337</c:v>
                </c:pt>
                <c:pt idx="7323">
                  <c:v>395.83333333333337</c:v>
                </c:pt>
                <c:pt idx="7324">
                  <c:v>395.83333333333337</c:v>
                </c:pt>
                <c:pt idx="7325">
                  <c:v>392.99768518518522</c:v>
                </c:pt>
                <c:pt idx="7326">
                  <c:v>392.99768518518522</c:v>
                </c:pt>
                <c:pt idx="7327">
                  <c:v>392.99768518518522</c:v>
                </c:pt>
                <c:pt idx="7328">
                  <c:v>392.99768518518522</c:v>
                </c:pt>
                <c:pt idx="7329">
                  <c:v>392.99768518518522</c:v>
                </c:pt>
                <c:pt idx="7330">
                  <c:v>391.49305555555554</c:v>
                </c:pt>
                <c:pt idx="7331">
                  <c:v>391.49305555555554</c:v>
                </c:pt>
                <c:pt idx="7332">
                  <c:v>391.49305555555554</c:v>
                </c:pt>
                <c:pt idx="7333">
                  <c:v>391.49305555555554</c:v>
                </c:pt>
                <c:pt idx="7334">
                  <c:v>391.49305555555554</c:v>
                </c:pt>
                <c:pt idx="7335">
                  <c:v>392.30324074074076</c:v>
                </c:pt>
                <c:pt idx="7336">
                  <c:v>392.30324074074076</c:v>
                </c:pt>
                <c:pt idx="7337">
                  <c:v>392.30324074074076</c:v>
                </c:pt>
                <c:pt idx="7338">
                  <c:v>392.30324074074076</c:v>
                </c:pt>
                <c:pt idx="7339">
                  <c:v>392.30324074074076</c:v>
                </c:pt>
                <c:pt idx="7340">
                  <c:v>389.46759259259261</c:v>
                </c:pt>
                <c:pt idx="7341">
                  <c:v>389.46759259259261</c:v>
                </c:pt>
                <c:pt idx="7342">
                  <c:v>389.46759259259261</c:v>
                </c:pt>
                <c:pt idx="7343">
                  <c:v>389.46759259259261</c:v>
                </c:pt>
                <c:pt idx="7344">
                  <c:v>389.46759259259261</c:v>
                </c:pt>
                <c:pt idx="7345">
                  <c:v>396.58564814814815</c:v>
                </c:pt>
                <c:pt idx="7346">
                  <c:v>396.58564814814815</c:v>
                </c:pt>
                <c:pt idx="7347">
                  <c:v>396.58564814814815</c:v>
                </c:pt>
                <c:pt idx="7348">
                  <c:v>396.58564814814815</c:v>
                </c:pt>
                <c:pt idx="7349">
                  <c:v>396.58564814814815</c:v>
                </c:pt>
                <c:pt idx="7350">
                  <c:v>398.78472222222223</c:v>
                </c:pt>
                <c:pt idx="7351">
                  <c:v>398.78472222222223</c:v>
                </c:pt>
                <c:pt idx="7352">
                  <c:v>398.78472222222223</c:v>
                </c:pt>
                <c:pt idx="7353">
                  <c:v>398.78472222222223</c:v>
                </c:pt>
                <c:pt idx="7354">
                  <c:v>398.78472222222223</c:v>
                </c:pt>
                <c:pt idx="7355">
                  <c:v>399.71064814814815</c:v>
                </c:pt>
                <c:pt idx="7356">
                  <c:v>399.71064814814815</c:v>
                </c:pt>
                <c:pt idx="7357">
                  <c:v>399.71064814814815</c:v>
                </c:pt>
                <c:pt idx="7358">
                  <c:v>399.71064814814815</c:v>
                </c:pt>
                <c:pt idx="7359">
                  <c:v>399.71064814814815</c:v>
                </c:pt>
                <c:pt idx="7360">
                  <c:v>406.77083333333331</c:v>
                </c:pt>
                <c:pt idx="7361">
                  <c:v>406.77083333333331</c:v>
                </c:pt>
                <c:pt idx="7362">
                  <c:v>406.77083333333331</c:v>
                </c:pt>
                <c:pt idx="7363">
                  <c:v>406.77083333333331</c:v>
                </c:pt>
                <c:pt idx="7364">
                  <c:v>406.77083333333331</c:v>
                </c:pt>
                <c:pt idx="7365">
                  <c:v>401.79398148148147</c:v>
                </c:pt>
                <c:pt idx="7366">
                  <c:v>401.79398148148147</c:v>
                </c:pt>
                <c:pt idx="7367">
                  <c:v>401.79398148148147</c:v>
                </c:pt>
                <c:pt idx="7368">
                  <c:v>401.79398148148147</c:v>
                </c:pt>
                <c:pt idx="7369">
                  <c:v>401.79398148148147</c:v>
                </c:pt>
                <c:pt idx="7370">
                  <c:v>401.85185185185179</c:v>
                </c:pt>
                <c:pt idx="7371">
                  <c:v>401.85185185185179</c:v>
                </c:pt>
                <c:pt idx="7372">
                  <c:v>401.85185185185179</c:v>
                </c:pt>
                <c:pt idx="7373">
                  <c:v>401.85185185185179</c:v>
                </c:pt>
                <c:pt idx="7374">
                  <c:v>401.85185185185179</c:v>
                </c:pt>
                <c:pt idx="7375">
                  <c:v>399.36342592592592</c:v>
                </c:pt>
                <c:pt idx="7376">
                  <c:v>399.36342592592592</c:v>
                </c:pt>
                <c:pt idx="7377">
                  <c:v>399.36342592592592</c:v>
                </c:pt>
                <c:pt idx="7378">
                  <c:v>399.36342592592592</c:v>
                </c:pt>
                <c:pt idx="7379">
                  <c:v>399.36342592592592</c:v>
                </c:pt>
                <c:pt idx="7380">
                  <c:v>400.92592592592598</c:v>
                </c:pt>
                <c:pt idx="7381">
                  <c:v>400.92592592592598</c:v>
                </c:pt>
                <c:pt idx="7382">
                  <c:v>400.92592592592598</c:v>
                </c:pt>
                <c:pt idx="7383">
                  <c:v>400.92592592592598</c:v>
                </c:pt>
                <c:pt idx="7384">
                  <c:v>400.92592592592598</c:v>
                </c:pt>
                <c:pt idx="7385">
                  <c:v>405.9606481481481</c:v>
                </c:pt>
                <c:pt idx="7386">
                  <c:v>405.9606481481481</c:v>
                </c:pt>
                <c:pt idx="7387">
                  <c:v>405.9606481481481</c:v>
                </c:pt>
                <c:pt idx="7388">
                  <c:v>405.9606481481481</c:v>
                </c:pt>
                <c:pt idx="7389">
                  <c:v>405.9606481481481</c:v>
                </c:pt>
                <c:pt idx="7390">
                  <c:v>401.62037037037044</c:v>
                </c:pt>
                <c:pt idx="7391">
                  <c:v>401.62037037037044</c:v>
                </c:pt>
                <c:pt idx="7392">
                  <c:v>401.62037037037044</c:v>
                </c:pt>
                <c:pt idx="7393">
                  <c:v>401.62037037037044</c:v>
                </c:pt>
                <c:pt idx="7394">
                  <c:v>401.62037037037044</c:v>
                </c:pt>
                <c:pt idx="7395">
                  <c:v>397.8587962962963</c:v>
                </c:pt>
                <c:pt idx="7396">
                  <c:v>397.8587962962963</c:v>
                </c:pt>
                <c:pt idx="7397">
                  <c:v>397.8587962962963</c:v>
                </c:pt>
                <c:pt idx="7398">
                  <c:v>397.8587962962963</c:v>
                </c:pt>
                <c:pt idx="7399">
                  <c:v>397.8587962962963</c:v>
                </c:pt>
                <c:pt idx="7400">
                  <c:v>397.97453703703701</c:v>
                </c:pt>
                <c:pt idx="7401">
                  <c:v>397.97453703703701</c:v>
                </c:pt>
                <c:pt idx="7402">
                  <c:v>397.97453703703701</c:v>
                </c:pt>
                <c:pt idx="7403">
                  <c:v>397.97453703703701</c:v>
                </c:pt>
                <c:pt idx="7404">
                  <c:v>397.97453703703701</c:v>
                </c:pt>
                <c:pt idx="7405">
                  <c:v>405.03472222222223</c:v>
                </c:pt>
                <c:pt idx="7406">
                  <c:v>405.03472222222223</c:v>
                </c:pt>
                <c:pt idx="7407">
                  <c:v>405.03472222222223</c:v>
                </c:pt>
                <c:pt idx="7408">
                  <c:v>405.03472222222223</c:v>
                </c:pt>
                <c:pt idx="7409">
                  <c:v>405.03472222222223</c:v>
                </c:pt>
                <c:pt idx="7410">
                  <c:v>404.6875</c:v>
                </c:pt>
                <c:pt idx="7411">
                  <c:v>404.6875</c:v>
                </c:pt>
                <c:pt idx="7412">
                  <c:v>404.6875</c:v>
                </c:pt>
                <c:pt idx="7413">
                  <c:v>404.6875</c:v>
                </c:pt>
                <c:pt idx="7414">
                  <c:v>404.6875</c:v>
                </c:pt>
                <c:pt idx="7415">
                  <c:v>405.61342592592598</c:v>
                </c:pt>
                <c:pt idx="7416">
                  <c:v>405.61342592592598</c:v>
                </c:pt>
                <c:pt idx="7417">
                  <c:v>405.61342592592598</c:v>
                </c:pt>
                <c:pt idx="7418">
                  <c:v>405.61342592592598</c:v>
                </c:pt>
                <c:pt idx="7419">
                  <c:v>405.61342592592598</c:v>
                </c:pt>
                <c:pt idx="7420">
                  <c:v>402.60416666666669</c:v>
                </c:pt>
                <c:pt idx="7421">
                  <c:v>402.60416666666669</c:v>
                </c:pt>
                <c:pt idx="7422">
                  <c:v>402.60416666666669</c:v>
                </c:pt>
                <c:pt idx="7423">
                  <c:v>402.60416666666669</c:v>
                </c:pt>
                <c:pt idx="7424">
                  <c:v>402.60416666666669</c:v>
                </c:pt>
                <c:pt idx="7425">
                  <c:v>405.03472222222223</c:v>
                </c:pt>
                <c:pt idx="7426">
                  <c:v>405.03472222222223</c:v>
                </c:pt>
                <c:pt idx="7427">
                  <c:v>405.03472222222223</c:v>
                </c:pt>
                <c:pt idx="7428">
                  <c:v>405.03472222222223</c:v>
                </c:pt>
                <c:pt idx="7429">
                  <c:v>405.03472222222223</c:v>
                </c:pt>
                <c:pt idx="7430">
                  <c:v>409.43287037037044</c:v>
                </c:pt>
                <c:pt idx="7431">
                  <c:v>409.43287037037044</c:v>
                </c:pt>
                <c:pt idx="7432">
                  <c:v>409.43287037037044</c:v>
                </c:pt>
                <c:pt idx="7433">
                  <c:v>409.43287037037044</c:v>
                </c:pt>
                <c:pt idx="7434">
                  <c:v>409.43287037037044</c:v>
                </c:pt>
                <c:pt idx="7435">
                  <c:v>417.01388888888891</c:v>
                </c:pt>
                <c:pt idx="7436">
                  <c:v>417.01388888888891</c:v>
                </c:pt>
                <c:pt idx="7437">
                  <c:v>417.01388888888891</c:v>
                </c:pt>
                <c:pt idx="7438">
                  <c:v>417.01388888888891</c:v>
                </c:pt>
                <c:pt idx="7439">
                  <c:v>417.01388888888891</c:v>
                </c:pt>
                <c:pt idx="7440">
                  <c:v>412.38425925925924</c:v>
                </c:pt>
                <c:pt idx="7441">
                  <c:v>412.38425925925924</c:v>
                </c:pt>
                <c:pt idx="7442">
                  <c:v>412.38425925925924</c:v>
                </c:pt>
                <c:pt idx="7443">
                  <c:v>412.38425925925924</c:v>
                </c:pt>
                <c:pt idx="7444">
                  <c:v>412.38425925925924</c:v>
                </c:pt>
                <c:pt idx="7445">
                  <c:v>414.40972222222223</c:v>
                </c:pt>
                <c:pt idx="7446">
                  <c:v>414.40972222222223</c:v>
                </c:pt>
                <c:pt idx="7447">
                  <c:v>414.40972222222223</c:v>
                </c:pt>
                <c:pt idx="7448">
                  <c:v>414.40972222222223</c:v>
                </c:pt>
                <c:pt idx="7449">
                  <c:v>414.40972222222223</c:v>
                </c:pt>
                <c:pt idx="7450">
                  <c:v>411.45833333333337</c:v>
                </c:pt>
                <c:pt idx="7451">
                  <c:v>411.45833333333337</c:v>
                </c:pt>
                <c:pt idx="7452">
                  <c:v>411.45833333333337</c:v>
                </c:pt>
                <c:pt idx="7453">
                  <c:v>411.45833333333337</c:v>
                </c:pt>
                <c:pt idx="7454">
                  <c:v>411.45833333333337</c:v>
                </c:pt>
                <c:pt idx="7455">
                  <c:v>409.08564814814821</c:v>
                </c:pt>
                <c:pt idx="7456">
                  <c:v>409.08564814814821</c:v>
                </c:pt>
                <c:pt idx="7457">
                  <c:v>409.08564814814821</c:v>
                </c:pt>
                <c:pt idx="7458">
                  <c:v>409.08564814814821</c:v>
                </c:pt>
                <c:pt idx="7459">
                  <c:v>409.08564814814821</c:v>
                </c:pt>
                <c:pt idx="7460">
                  <c:v>404.9768518518519</c:v>
                </c:pt>
                <c:pt idx="7461">
                  <c:v>404.9768518518519</c:v>
                </c:pt>
                <c:pt idx="7462">
                  <c:v>404.9768518518519</c:v>
                </c:pt>
                <c:pt idx="7463">
                  <c:v>404.9768518518519</c:v>
                </c:pt>
                <c:pt idx="7464">
                  <c:v>404.9768518518519</c:v>
                </c:pt>
                <c:pt idx="7465">
                  <c:v>404.62962962962968</c:v>
                </c:pt>
                <c:pt idx="7466">
                  <c:v>404.62962962962968</c:v>
                </c:pt>
                <c:pt idx="7467">
                  <c:v>404.62962962962968</c:v>
                </c:pt>
                <c:pt idx="7468">
                  <c:v>404.62962962962968</c:v>
                </c:pt>
                <c:pt idx="7469">
                  <c:v>404.62962962962968</c:v>
                </c:pt>
                <c:pt idx="7470">
                  <c:v>402.60416666666669</c:v>
                </c:pt>
                <c:pt idx="7471">
                  <c:v>402.60416666666669</c:v>
                </c:pt>
                <c:pt idx="7472">
                  <c:v>402.60416666666669</c:v>
                </c:pt>
                <c:pt idx="7473">
                  <c:v>402.60416666666669</c:v>
                </c:pt>
                <c:pt idx="7474">
                  <c:v>402.60416666666669</c:v>
                </c:pt>
                <c:pt idx="7475">
                  <c:v>403.76157407407413</c:v>
                </c:pt>
                <c:pt idx="7476">
                  <c:v>403.76157407407413</c:v>
                </c:pt>
                <c:pt idx="7477">
                  <c:v>403.76157407407413</c:v>
                </c:pt>
                <c:pt idx="7478">
                  <c:v>403.76157407407413</c:v>
                </c:pt>
                <c:pt idx="7479">
                  <c:v>403.76157407407413</c:v>
                </c:pt>
                <c:pt idx="7480">
                  <c:v>403.53009259259255</c:v>
                </c:pt>
                <c:pt idx="7481">
                  <c:v>403.53009259259255</c:v>
                </c:pt>
                <c:pt idx="7482">
                  <c:v>403.53009259259255</c:v>
                </c:pt>
                <c:pt idx="7483">
                  <c:v>403.53009259259255</c:v>
                </c:pt>
                <c:pt idx="7484">
                  <c:v>403.53009259259255</c:v>
                </c:pt>
                <c:pt idx="7485">
                  <c:v>399.88425925925924</c:v>
                </c:pt>
                <c:pt idx="7486">
                  <c:v>399.88425925925924</c:v>
                </c:pt>
                <c:pt idx="7487">
                  <c:v>399.88425925925924</c:v>
                </c:pt>
                <c:pt idx="7488">
                  <c:v>399.88425925925924</c:v>
                </c:pt>
                <c:pt idx="7489">
                  <c:v>399.88425925925924</c:v>
                </c:pt>
                <c:pt idx="7490">
                  <c:v>398.90046296296299</c:v>
                </c:pt>
                <c:pt idx="7491">
                  <c:v>398.90046296296299</c:v>
                </c:pt>
                <c:pt idx="7492">
                  <c:v>398.90046296296299</c:v>
                </c:pt>
                <c:pt idx="7493">
                  <c:v>398.90046296296299</c:v>
                </c:pt>
                <c:pt idx="7494">
                  <c:v>398.90046296296299</c:v>
                </c:pt>
                <c:pt idx="7495">
                  <c:v>400.86805555555554</c:v>
                </c:pt>
                <c:pt idx="7496">
                  <c:v>400.86805555555554</c:v>
                </c:pt>
                <c:pt idx="7497">
                  <c:v>400.86805555555554</c:v>
                </c:pt>
                <c:pt idx="7498">
                  <c:v>400.86805555555554</c:v>
                </c:pt>
                <c:pt idx="7499">
                  <c:v>400.86805555555554</c:v>
                </c:pt>
                <c:pt idx="7500">
                  <c:v>398.84259259259261</c:v>
                </c:pt>
                <c:pt idx="7501">
                  <c:v>398.84259259259261</c:v>
                </c:pt>
                <c:pt idx="7502">
                  <c:v>398.84259259259261</c:v>
                </c:pt>
                <c:pt idx="7503">
                  <c:v>398.84259259259261</c:v>
                </c:pt>
                <c:pt idx="7504">
                  <c:v>398.84259259259261</c:v>
                </c:pt>
                <c:pt idx="7505">
                  <c:v>399.94212962962962</c:v>
                </c:pt>
                <c:pt idx="7506">
                  <c:v>399.94212962962962</c:v>
                </c:pt>
                <c:pt idx="7507">
                  <c:v>399.94212962962962</c:v>
                </c:pt>
                <c:pt idx="7508">
                  <c:v>399.94212962962962</c:v>
                </c:pt>
                <c:pt idx="7509">
                  <c:v>399.94212962962962</c:v>
                </c:pt>
                <c:pt idx="7510">
                  <c:v>396.23842592592598</c:v>
                </c:pt>
                <c:pt idx="7511">
                  <c:v>396.23842592592598</c:v>
                </c:pt>
                <c:pt idx="7512">
                  <c:v>396.23842592592598</c:v>
                </c:pt>
                <c:pt idx="7513">
                  <c:v>396.23842592592598</c:v>
                </c:pt>
                <c:pt idx="7514">
                  <c:v>396.23842592592598</c:v>
                </c:pt>
                <c:pt idx="7515">
                  <c:v>400.5787037037037</c:v>
                </c:pt>
                <c:pt idx="7516">
                  <c:v>400.5787037037037</c:v>
                </c:pt>
                <c:pt idx="7517">
                  <c:v>400.5787037037037</c:v>
                </c:pt>
                <c:pt idx="7518">
                  <c:v>400.5787037037037</c:v>
                </c:pt>
                <c:pt idx="7519">
                  <c:v>400.5787037037037</c:v>
                </c:pt>
                <c:pt idx="7520">
                  <c:v>402.83564814814821</c:v>
                </c:pt>
                <c:pt idx="7521">
                  <c:v>402.83564814814821</c:v>
                </c:pt>
                <c:pt idx="7522">
                  <c:v>402.83564814814821</c:v>
                </c:pt>
                <c:pt idx="7523">
                  <c:v>402.83564814814821</c:v>
                </c:pt>
                <c:pt idx="7524">
                  <c:v>402.83564814814821</c:v>
                </c:pt>
                <c:pt idx="7525">
                  <c:v>409.54861111111109</c:v>
                </c:pt>
                <c:pt idx="7526">
                  <c:v>409.54861111111109</c:v>
                </c:pt>
                <c:pt idx="7527">
                  <c:v>409.54861111111109</c:v>
                </c:pt>
                <c:pt idx="7528">
                  <c:v>409.54861111111109</c:v>
                </c:pt>
                <c:pt idx="7529">
                  <c:v>409.54861111111109</c:v>
                </c:pt>
                <c:pt idx="7530">
                  <c:v>411.11111111111114</c:v>
                </c:pt>
                <c:pt idx="7531">
                  <c:v>411.11111111111114</c:v>
                </c:pt>
                <c:pt idx="7532">
                  <c:v>411.11111111111114</c:v>
                </c:pt>
                <c:pt idx="7533">
                  <c:v>411.11111111111114</c:v>
                </c:pt>
                <c:pt idx="7534">
                  <c:v>411.11111111111114</c:v>
                </c:pt>
                <c:pt idx="7535">
                  <c:v>412.09490740740745</c:v>
                </c:pt>
                <c:pt idx="7536">
                  <c:v>412.09490740740745</c:v>
                </c:pt>
                <c:pt idx="7537">
                  <c:v>412.09490740740745</c:v>
                </c:pt>
                <c:pt idx="7538">
                  <c:v>412.09490740740745</c:v>
                </c:pt>
                <c:pt idx="7539">
                  <c:v>412.09490740740745</c:v>
                </c:pt>
                <c:pt idx="7540">
                  <c:v>410.12731481481478</c:v>
                </c:pt>
                <c:pt idx="7541">
                  <c:v>410.12731481481478</c:v>
                </c:pt>
                <c:pt idx="7542">
                  <c:v>410.12731481481478</c:v>
                </c:pt>
                <c:pt idx="7543">
                  <c:v>410.12731481481478</c:v>
                </c:pt>
                <c:pt idx="7544">
                  <c:v>410.12731481481478</c:v>
                </c:pt>
                <c:pt idx="7545">
                  <c:v>417.7662037037037</c:v>
                </c:pt>
                <c:pt idx="7546">
                  <c:v>417.7662037037037</c:v>
                </c:pt>
                <c:pt idx="7547">
                  <c:v>417.7662037037037</c:v>
                </c:pt>
                <c:pt idx="7548">
                  <c:v>417.7662037037037</c:v>
                </c:pt>
                <c:pt idx="7549">
                  <c:v>417.7662037037037</c:v>
                </c:pt>
                <c:pt idx="7550">
                  <c:v>418.1712962962963</c:v>
                </c:pt>
                <c:pt idx="7551">
                  <c:v>418.1712962962963</c:v>
                </c:pt>
                <c:pt idx="7552">
                  <c:v>418.1712962962963</c:v>
                </c:pt>
                <c:pt idx="7553">
                  <c:v>418.1712962962963</c:v>
                </c:pt>
                <c:pt idx="7554">
                  <c:v>418.1712962962963</c:v>
                </c:pt>
                <c:pt idx="7555">
                  <c:v>418.98148148148147</c:v>
                </c:pt>
                <c:pt idx="7556">
                  <c:v>418.98148148148147</c:v>
                </c:pt>
                <c:pt idx="7557">
                  <c:v>418.98148148148147</c:v>
                </c:pt>
                <c:pt idx="7558">
                  <c:v>418.98148148148147</c:v>
                </c:pt>
                <c:pt idx="7559">
                  <c:v>418.98148148148147</c:v>
                </c:pt>
                <c:pt idx="7560">
                  <c:v>414.17824074074076</c:v>
                </c:pt>
                <c:pt idx="7561">
                  <c:v>414.17824074074076</c:v>
                </c:pt>
                <c:pt idx="7562">
                  <c:v>414.17824074074076</c:v>
                </c:pt>
                <c:pt idx="7563">
                  <c:v>414.17824074074076</c:v>
                </c:pt>
                <c:pt idx="7564">
                  <c:v>414.17824074074076</c:v>
                </c:pt>
                <c:pt idx="7565">
                  <c:v>412.15277777777777</c:v>
                </c:pt>
                <c:pt idx="7566">
                  <c:v>412.15277777777777</c:v>
                </c:pt>
                <c:pt idx="7567">
                  <c:v>412.15277777777777</c:v>
                </c:pt>
                <c:pt idx="7568">
                  <c:v>412.15277777777777</c:v>
                </c:pt>
                <c:pt idx="7569">
                  <c:v>412.15277777777777</c:v>
                </c:pt>
                <c:pt idx="7570">
                  <c:v>425.81018518518522</c:v>
                </c:pt>
                <c:pt idx="7571">
                  <c:v>425.81018518518522</c:v>
                </c:pt>
                <c:pt idx="7572">
                  <c:v>425.81018518518522</c:v>
                </c:pt>
                <c:pt idx="7573">
                  <c:v>425.81018518518522</c:v>
                </c:pt>
                <c:pt idx="7574">
                  <c:v>425.81018518518522</c:v>
                </c:pt>
                <c:pt idx="7575">
                  <c:v>428.64583333333331</c:v>
                </c:pt>
                <c:pt idx="7576">
                  <c:v>428.64583333333331</c:v>
                </c:pt>
                <c:pt idx="7577">
                  <c:v>428.64583333333331</c:v>
                </c:pt>
                <c:pt idx="7578">
                  <c:v>428.64583333333331</c:v>
                </c:pt>
                <c:pt idx="7579">
                  <c:v>428.64583333333331</c:v>
                </c:pt>
                <c:pt idx="7580">
                  <c:v>420.54398148148147</c:v>
                </c:pt>
                <c:pt idx="7581">
                  <c:v>420.54398148148147</c:v>
                </c:pt>
                <c:pt idx="7582">
                  <c:v>420.54398148148147</c:v>
                </c:pt>
                <c:pt idx="7583">
                  <c:v>420.54398148148147</c:v>
                </c:pt>
                <c:pt idx="7584">
                  <c:v>420.54398148148147</c:v>
                </c:pt>
                <c:pt idx="7585">
                  <c:v>413.77314814814821</c:v>
                </c:pt>
                <c:pt idx="7586">
                  <c:v>413.77314814814821</c:v>
                </c:pt>
                <c:pt idx="7587">
                  <c:v>413.77314814814821</c:v>
                </c:pt>
                <c:pt idx="7588">
                  <c:v>413.77314814814821</c:v>
                </c:pt>
                <c:pt idx="7589">
                  <c:v>413.77314814814821</c:v>
                </c:pt>
                <c:pt idx="7590">
                  <c:v>419.3287037037037</c:v>
                </c:pt>
                <c:pt idx="7591">
                  <c:v>419.3287037037037</c:v>
                </c:pt>
                <c:pt idx="7592">
                  <c:v>419.3287037037037</c:v>
                </c:pt>
                <c:pt idx="7593">
                  <c:v>419.3287037037037</c:v>
                </c:pt>
                <c:pt idx="7594">
                  <c:v>419.3287037037037</c:v>
                </c:pt>
                <c:pt idx="7595">
                  <c:v>420.71759259259255</c:v>
                </c:pt>
                <c:pt idx="7596">
                  <c:v>420.71759259259255</c:v>
                </c:pt>
                <c:pt idx="7597">
                  <c:v>420.71759259259255</c:v>
                </c:pt>
                <c:pt idx="7598">
                  <c:v>420.71759259259255</c:v>
                </c:pt>
                <c:pt idx="7599">
                  <c:v>420.71759259259255</c:v>
                </c:pt>
                <c:pt idx="7600">
                  <c:v>403.29861111111114</c:v>
                </c:pt>
                <c:pt idx="7601">
                  <c:v>403.29861111111114</c:v>
                </c:pt>
                <c:pt idx="7602">
                  <c:v>403.29861111111114</c:v>
                </c:pt>
                <c:pt idx="7603">
                  <c:v>403.29861111111114</c:v>
                </c:pt>
                <c:pt idx="7604">
                  <c:v>403.29861111111114</c:v>
                </c:pt>
                <c:pt idx="7605">
                  <c:v>406.01851851851853</c:v>
                </c:pt>
                <c:pt idx="7606">
                  <c:v>406.01851851851853</c:v>
                </c:pt>
                <c:pt idx="7607">
                  <c:v>406.01851851851853</c:v>
                </c:pt>
                <c:pt idx="7608">
                  <c:v>406.01851851851853</c:v>
                </c:pt>
                <c:pt idx="7609">
                  <c:v>406.01851851851853</c:v>
                </c:pt>
                <c:pt idx="7610">
                  <c:v>400.81018518518522</c:v>
                </c:pt>
                <c:pt idx="7611">
                  <c:v>400.81018518518522</c:v>
                </c:pt>
                <c:pt idx="7612">
                  <c:v>400.81018518518522</c:v>
                </c:pt>
                <c:pt idx="7613">
                  <c:v>400.81018518518522</c:v>
                </c:pt>
                <c:pt idx="7614">
                  <c:v>400.81018518518522</c:v>
                </c:pt>
                <c:pt idx="7615">
                  <c:v>388.0787037037037</c:v>
                </c:pt>
                <c:pt idx="7616">
                  <c:v>388.0787037037037</c:v>
                </c:pt>
                <c:pt idx="7617">
                  <c:v>388.0787037037037</c:v>
                </c:pt>
                <c:pt idx="7618">
                  <c:v>388.0787037037037</c:v>
                </c:pt>
                <c:pt idx="7619">
                  <c:v>388.0787037037037</c:v>
                </c:pt>
                <c:pt idx="7620">
                  <c:v>402.31481481481478</c:v>
                </c:pt>
                <c:pt idx="7621">
                  <c:v>402.31481481481478</c:v>
                </c:pt>
                <c:pt idx="7622">
                  <c:v>402.31481481481478</c:v>
                </c:pt>
                <c:pt idx="7623">
                  <c:v>402.31481481481478</c:v>
                </c:pt>
                <c:pt idx="7624">
                  <c:v>402.31481481481478</c:v>
                </c:pt>
                <c:pt idx="7625">
                  <c:v>403.93518518518522</c:v>
                </c:pt>
                <c:pt idx="7626">
                  <c:v>403.93518518518522</c:v>
                </c:pt>
                <c:pt idx="7627">
                  <c:v>403.93518518518522</c:v>
                </c:pt>
                <c:pt idx="7628">
                  <c:v>403.93518518518522</c:v>
                </c:pt>
                <c:pt idx="7629">
                  <c:v>403.93518518518522</c:v>
                </c:pt>
                <c:pt idx="7630">
                  <c:v>394.79166666666669</c:v>
                </c:pt>
                <c:pt idx="7631">
                  <c:v>394.79166666666669</c:v>
                </c:pt>
                <c:pt idx="7632">
                  <c:v>394.79166666666669</c:v>
                </c:pt>
                <c:pt idx="7633">
                  <c:v>394.79166666666669</c:v>
                </c:pt>
                <c:pt idx="7634">
                  <c:v>394.79166666666669</c:v>
                </c:pt>
                <c:pt idx="7635">
                  <c:v>399.88425925925924</c:v>
                </c:pt>
                <c:pt idx="7636">
                  <c:v>399.88425925925924</c:v>
                </c:pt>
                <c:pt idx="7637">
                  <c:v>399.88425925925924</c:v>
                </c:pt>
                <c:pt idx="7638">
                  <c:v>399.88425925925924</c:v>
                </c:pt>
                <c:pt idx="7639">
                  <c:v>399.88425925925924</c:v>
                </c:pt>
                <c:pt idx="7640">
                  <c:v>395.37037037037038</c:v>
                </c:pt>
                <c:pt idx="7641">
                  <c:v>395.37037037037038</c:v>
                </c:pt>
                <c:pt idx="7642">
                  <c:v>395.37037037037038</c:v>
                </c:pt>
                <c:pt idx="7643">
                  <c:v>395.37037037037038</c:v>
                </c:pt>
                <c:pt idx="7644">
                  <c:v>395.37037037037038</c:v>
                </c:pt>
                <c:pt idx="7645">
                  <c:v>401.62037037037044</c:v>
                </c:pt>
                <c:pt idx="7646">
                  <c:v>401.62037037037044</c:v>
                </c:pt>
                <c:pt idx="7647">
                  <c:v>401.62037037037044</c:v>
                </c:pt>
                <c:pt idx="7648">
                  <c:v>401.62037037037044</c:v>
                </c:pt>
                <c:pt idx="7649">
                  <c:v>401.62037037037044</c:v>
                </c:pt>
                <c:pt idx="7650">
                  <c:v>399.3055555555556</c:v>
                </c:pt>
                <c:pt idx="7651">
                  <c:v>399.3055555555556</c:v>
                </c:pt>
                <c:pt idx="7652">
                  <c:v>399.3055555555556</c:v>
                </c:pt>
                <c:pt idx="7653">
                  <c:v>399.3055555555556</c:v>
                </c:pt>
                <c:pt idx="7654">
                  <c:v>399.3055555555556</c:v>
                </c:pt>
                <c:pt idx="7655">
                  <c:v>400.81018518518522</c:v>
                </c:pt>
                <c:pt idx="7656">
                  <c:v>400.81018518518522</c:v>
                </c:pt>
                <c:pt idx="7657">
                  <c:v>400.81018518518522</c:v>
                </c:pt>
                <c:pt idx="7658">
                  <c:v>400.81018518518522</c:v>
                </c:pt>
                <c:pt idx="7659">
                  <c:v>400.81018518518522</c:v>
                </c:pt>
                <c:pt idx="7660">
                  <c:v>400.40509259259255</c:v>
                </c:pt>
                <c:pt idx="7661">
                  <c:v>400.40509259259255</c:v>
                </c:pt>
                <c:pt idx="7662">
                  <c:v>400.40509259259255</c:v>
                </c:pt>
                <c:pt idx="7663">
                  <c:v>400.40509259259255</c:v>
                </c:pt>
                <c:pt idx="7664">
                  <c:v>400.40509259259255</c:v>
                </c:pt>
                <c:pt idx="7665">
                  <c:v>400.5787037037037</c:v>
                </c:pt>
                <c:pt idx="7666">
                  <c:v>400.5787037037037</c:v>
                </c:pt>
                <c:pt idx="7667">
                  <c:v>400.5787037037037</c:v>
                </c:pt>
                <c:pt idx="7668">
                  <c:v>400.5787037037037</c:v>
                </c:pt>
                <c:pt idx="7669">
                  <c:v>400.5787037037037</c:v>
                </c:pt>
                <c:pt idx="7670">
                  <c:v>394.96527777777783</c:v>
                </c:pt>
                <c:pt idx="7671">
                  <c:v>394.96527777777783</c:v>
                </c:pt>
                <c:pt idx="7672">
                  <c:v>394.96527777777783</c:v>
                </c:pt>
                <c:pt idx="7673">
                  <c:v>394.96527777777783</c:v>
                </c:pt>
                <c:pt idx="7674">
                  <c:v>394.96527777777783</c:v>
                </c:pt>
                <c:pt idx="7675">
                  <c:v>395.65972222222223</c:v>
                </c:pt>
                <c:pt idx="7676">
                  <c:v>395.65972222222223</c:v>
                </c:pt>
                <c:pt idx="7677">
                  <c:v>395.65972222222223</c:v>
                </c:pt>
                <c:pt idx="7678">
                  <c:v>395.65972222222223</c:v>
                </c:pt>
                <c:pt idx="7679">
                  <c:v>395.65972222222223</c:v>
                </c:pt>
                <c:pt idx="7680">
                  <c:v>392.93981481481484</c:v>
                </c:pt>
                <c:pt idx="7681">
                  <c:v>392.93981481481484</c:v>
                </c:pt>
                <c:pt idx="7682">
                  <c:v>392.93981481481484</c:v>
                </c:pt>
                <c:pt idx="7683">
                  <c:v>392.93981481481484</c:v>
                </c:pt>
                <c:pt idx="7684">
                  <c:v>392.93981481481484</c:v>
                </c:pt>
                <c:pt idx="7685">
                  <c:v>391.72453703703707</c:v>
                </c:pt>
                <c:pt idx="7686">
                  <c:v>391.72453703703707</c:v>
                </c:pt>
                <c:pt idx="7687">
                  <c:v>391.72453703703707</c:v>
                </c:pt>
                <c:pt idx="7688">
                  <c:v>391.72453703703707</c:v>
                </c:pt>
                <c:pt idx="7689">
                  <c:v>391.72453703703707</c:v>
                </c:pt>
                <c:pt idx="7690">
                  <c:v>393.1712962962963</c:v>
                </c:pt>
                <c:pt idx="7691">
                  <c:v>393.1712962962963</c:v>
                </c:pt>
                <c:pt idx="7692">
                  <c:v>393.1712962962963</c:v>
                </c:pt>
                <c:pt idx="7693">
                  <c:v>393.1712962962963</c:v>
                </c:pt>
                <c:pt idx="7694">
                  <c:v>393.1712962962963</c:v>
                </c:pt>
                <c:pt idx="7695">
                  <c:v>397.91666666666669</c:v>
                </c:pt>
                <c:pt idx="7696">
                  <c:v>397.91666666666669</c:v>
                </c:pt>
                <c:pt idx="7697">
                  <c:v>397.91666666666669</c:v>
                </c:pt>
                <c:pt idx="7698">
                  <c:v>397.91666666666669</c:v>
                </c:pt>
                <c:pt idx="7699">
                  <c:v>397.91666666666669</c:v>
                </c:pt>
                <c:pt idx="7700">
                  <c:v>399.76851851851853</c:v>
                </c:pt>
                <c:pt idx="7701">
                  <c:v>399.76851851851853</c:v>
                </c:pt>
                <c:pt idx="7702">
                  <c:v>399.76851851851853</c:v>
                </c:pt>
                <c:pt idx="7703">
                  <c:v>399.76851851851853</c:v>
                </c:pt>
                <c:pt idx="7704">
                  <c:v>399.76851851851853</c:v>
                </c:pt>
                <c:pt idx="7705">
                  <c:v>397.4537037037037</c:v>
                </c:pt>
                <c:pt idx="7706">
                  <c:v>397.4537037037037</c:v>
                </c:pt>
                <c:pt idx="7707">
                  <c:v>397.4537037037037</c:v>
                </c:pt>
                <c:pt idx="7708">
                  <c:v>397.4537037037037</c:v>
                </c:pt>
                <c:pt idx="7709">
                  <c:v>397.4537037037037</c:v>
                </c:pt>
                <c:pt idx="7710">
                  <c:v>408.96990740740745</c:v>
                </c:pt>
                <c:pt idx="7711">
                  <c:v>408.96990740740745</c:v>
                </c:pt>
                <c:pt idx="7712">
                  <c:v>408.96990740740745</c:v>
                </c:pt>
                <c:pt idx="7713">
                  <c:v>408.96990740740745</c:v>
                </c:pt>
                <c:pt idx="7714">
                  <c:v>408.96990740740745</c:v>
                </c:pt>
                <c:pt idx="7715">
                  <c:v>409.54861111111109</c:v>
                </c:pt>
                <c:pt idx="7716">
                  <c:v>409.54861111111109</c:v>
                </c:pt>
                <c:pt idx="7717">
                  <c:v>409.54861111111109</c:v>
                </c:pt>
                <c:pt idx="7718">
                  <c:v>409.54861111111109</c:v>
                </c:pt>
                <c:pt idx="7719">
                  <c:v>409.54861111111109</c:v>
                </c:pt>
                <c:pt idx="7720">
                  <c:v>414.17824074074076</c:v>
                </c:pt>
                <c:pt idx="7721">
                  <c:v>414.17824074074076</c:v>
                </c:pt>
                <c:pt idx="7722">
                  <c:v>414.17824074074076</c:v>
                </c:pt>
                <c:pt idx="7723">
                  <c:v>414.17824074074076</c:v>
                </c:pt>
                <c:pt idx="7724">
                  <c:v>414.17824074074076</c:v>
                </c:pt>
                <c:pt idx="7725">
                  <c:v>418.40277777777777</c:v>
                </c:pt>
                <c:pt idx="7726">
                  <c:v>418.40277777777777</c:v>
                </c:pt>
                <c:pt idx="7727">
                  <c:v>418.40277777777777</c:v>
                </c:pt>
                <c:pt idx="7728">
                  <c:v>418.40277777777777</c:v>
                </c:pt>
                <c:pt idx="7729">
                  <c:v>418.40277777777777</c:v>
                </c:pt>
                <c:pt idx="7730">
                  <c:v>413.94675925925924</c:v>
                </c:pt>
                <c:pt idx="7731">
                  <c:v>413.94675925925924</c:v>
                </c:pt>
                <c:pt idx="7732">
                  <c:v>413.94675925925924</c:v>
                </c:pt>
                <c:pt idx="7733">
                  <c:v>413.94675925925924</c:v>
                </c:pt>
                <c:pt idx="7734">
                  <c:v>413.94675925925924</c:v>
                </c:pt>
                <c:pt idx="7735">
                  <c:v>415.56712962962968</c:v>
                </c:pt>
                <c:pt idx="7736">
                  <c:v>415.56712962962968</c:v>
                </c:pt>
                <c:pt idx="7737">
                  <c:v>415.56712962962968</c:v>
                </c:pt>
                <c:pt idx="7738">
                  <c:v>415.56712962962968</c:v>
                </c:pt>
                <c:pt idx="7739">
                  <c:v>415.56712962962968</c:v>
                </c:pt>
                <c:pt idx="7740">
                  <c:v>419.27083333333331</c:v>
                </c:pt>
                <c:pt idx="7741">
                  <c:v>419.27083333333331</c:v>
                </c:pt>
                <c:pt idx="7742">
                  <c:v>419.27083333333331</c:v>
                </c:pt>
                <c:pt idx="7743">
                  <c:v>419.27083333333331</c:v>
                </c:pt>
                <c:pt idx="7744">
                  <c:v>419.27083333333331</c:v>
                </c:pt>
                <c:pt idx="7745">
                  <c:v>409.66435185185179</c:v>
                </c:pt>
                <c:pt idx="7746">
                  <c:v>409.66435185185179</c:v>
                </c:pt>
                <c:pt idx="7747">
                  <c:v>409.66435185185179</c:v>
                </c:pt>
                <c:pt idx="7748">
                  <c:v>409.66435185185179</c:v>
                </c:pt>
                <c:pt idx="7749">
                  <c:v>409.66435185185179</c:v>
                </c:pt>
                <c:pt idx="7750">
                  <c:v>416.08796296296299</c:v>
                </c:pt>
                <c:pt idx="7751">
                  <c:v>416.08796296296299</c:v>
                </c:pt>
                <c:pt idx="7752">
                  <c:v>416.08796296296299</c:v>
                </c:pt>
                <c:pt idx="7753">
                  <c:v>416.08796296296299</c:v>
                </c:pt>
                <c:pt idx="7754">
                  <c:v>416.08796296296299</c:v>
                </c:pt>
                <c:pt idx="7755">
                  <c:v>407.92824074074076</c:v>
                </c:pt>
                <c:pt idx="7756">
                  <c:v>407.92824074074076</c:v>
                </c:pt>
                <c:pt idx="7757">
                  <c:v>407.92824074074076</c:v>
                </c:pt>
                <c:pt idx="7758">
                  <c:v>407.92824074074076</c:v>
                </c:pt>
                <c:pt idx="7759">
                  <c:v>407.92824074074076</c:v>
                </c:pt>
                <c:pt idx="7760">
                  <c:v>407.58101851851853</c:v>
                </c:pt>
                <c:pt idx="7761">
                  <c:v>407.58101851851853</c:v>
                </c:pt>
                <c:pt idx="7762">
                  <c:v>407.58101851851853</c:v>
                </c:pt>
                <c:pt idx="7763">
                  <c:v>407.58101851851853</c:v>
                </c:pt>
                <c:pt idx="7764">
                  <c:v>407.58101851851853</c:v>
                </c:pt>
                <c:pt idx="7765">
                  <c:v>404.80324074074076</c:v>
                </c:pt>
                <c:pt idx="7766">
                  <c:v>404.80324074074076</c:v>
                </c:pt>
                <c:pt idx="7767">
                  <c:v>404.80324074074076</c:v>
                </c:pt>
                <c:pt idx="7768">
                  <c:v>404.80324074074076</c:v>
                </c:pt>
                <c:pt idx="7769">
                  <c:v>404.80324074074076</c:v>
                </c:pt>
                <c:pt idx="7770">
                  <c:v>399.94212962962962</c:v>
                </c:pt>
                <c:pt idx="7771">
                  <c:v>399.94212962962962</c:v>
                </c:pt>
                <c:pt idx="7772">
                  <c:v>399.94212962962962</c:v>
                </c:pt>
                <c:pt idx="7773">
                  <c:v>399.94212962962962</c:v>
                </c:pt>
                <c:pt idx="7774">
                  <c:v>399.94212962962962</c:v>
                </c:pt>
                <c:pt idx="7775">
                  <c:v>401.90972222222223</c:v>
                </c:pt>
                <c:pt idx="7776">
                  <c:v>401.90972222222223</c:v>
                </c:pt>
                <c:pt idx="7777">
                  <c:v>401.90972222222223</c:v>
                </c:pt>
                <c:pt idx="7778">
                  <c:v>401.90972222222223</c:v>
                </c:pt>
                <c:pt idx="7779">
                  <c:v>401.90972222222223</c:v>
                </c:pt>
                <c:pt idx="7780">
                  <c:v>394.96527777777783</c:v>
                </c:pt>
                <c:pt idx="7781">
                  <c:v>394.96527777777783</c:v>
                </c:pt>
                <c:pt idx="7782">
                  <c:v>394.96527777777783</c:v>
                </c:pt>
                <c:pt idx="7783">
                  <c:v>394.96527777777783</c:v>
                </c:pt>
                <c:pt idx="7784">
                  <c:v>394.96527777777783</c:v>
                </c:pt>
                <c:pt idx="7785">
                  <c:v>394.96527777777783</c:v>
                </c:pt>
                <c:pt idx="7786">
                  <c:v>394.96527777777783</c:v>
                </c:pt>
                <c:pt idx="7787">
                  <c:v>394.96527777777783</c:v>
                </c:pt>
              </c:numCache>
            </c:numRef>
          </c:val>
          <c:smooth val="0"/>
          <c:extLst>
            <c:ext xmlns:c16="http://schemas.microsoft.com/office/drawing/2014/chart" uri="{C3380CC4-5D6E-409C-BE32-E72D297353CC}">
              <c16:uniqueId val="{00000001-9494-468B-B1D8-CDEAEEA677E5}"/>
            </c:ext>
          </c:extLst>
        </c:ser>
        <c:dLbls>
          <c:showLegendKey val="0"/>
          <c:showVal val="0"/>
          <c:showCatName val="0"/>
          <c:showSerName val="0"/>
          <c:showPercent val="0"/>
          <c:showBubbleSize val="0"/>
        </c:dLbls>
        <c:smooth val="0"/>
        <c:axId val="244868159"/>
        <c:axId val="711773583"/>
        <c:extLst>
          <c:ext xmlns:c15="http://schemas.microsoft.com/office/drawing/2012/chart" uri="{02D57815-91ED-43cb-92C2-25804820EDAC}">
            <c15:filteredLineSeries>
              <c15:ser>
                <c:idx val="0"/>
                <c:order val="0"/>
                <c:tx>
                  <c:strRef>
                    <c:extLst>
                      <c:ext uri="{02D57815-91ED-43cb-92C2-25804820EDAC}">
                        <c15:formulaRef>
                          <c15:sqref>Sheet1!$E$2</c15:sqref>
                        </c15:formulaRef>
                      </c:ext>
                    </c:extLst>
                    <c:strCache>
                      <c:ptCount val="1"/>
                      <c:pt idx="0">
                        <c:v>MSCI USA IT - 12MTH TRAILING EPS</c:v>
                      </c:pt>
                    </c:strCache>
                  </c:strRef>
                </c:tx>
                <c:spPr>
                  <a:ln w="28575" cap="rnd">
                    <a:solidFill>
                      <a:schemeClr val="accent1"/>
                    </a:solidFill>
                    <a:round/>
                  </a:ln>
                  <a:effectLst/>
                </c:spPr>
                <c:marker>
                  <c:symbol val="none"/>
                </c:marker>
                <c:cat>
                  <c:numRef>
                    <c:extLst>
                      <c:ext uri="{02D57815-91ED-43cb-92C2-25804820EDAC}">
                        <c15:formulaRef>
                          <c15:sqref>Sheet1!$D$3:$D$7790</c15:sqref>
                        </c15:formulaRef>
                      </c:ext>
                    </c:extLst>
                    <c:numCache>
                      <c:formatCode>m/d/yyyy</c:formatCode>
                      <c:ptCount val="7788"/>
                      <c:pt idx="0">
                        <c:v>34718</c:v>
                      </c:pt>
                      <c:pt idx="1">
                        <c:v>34719</c:v>
                      </c:pt>
                      <c:pt idx="2">
                        <c:v>34722</c:v>
                      </c:pt>
                      <c:pt idx="3">
                        <c:v>34723</c:v>
                      </c:pt>
                      <c:pt idx="4">
                        <c:v>34724</c:v>
                      </c:pt>
                      <c:pt idx="5">
                        <c:v>34725</c:v>
                      </c:pt>
                      <c:pt idx="6">
                        <c:v>34726</c:v>
                      </c:pt>
                      <c:pt idx="7">
                        <c:v>34729</c:v>
                      </c:pt>
                      <c:pt idx="8">
                        <c:v>34730</c:v>
                      </c:pt>
                      <c:pt idx="9">
                        <c:v>34731</c:v>
                      </c:pt>
                      <c:pt idx="10">
                        <c:v>34732</c:v>
                      </c:pt>
                      <c:pt idx="11">
                        <c:v>34733</c:v>
                      </c:pt>
                      <c:pt idx="12">
                        <c:v>34736</c:v>
                      </c:pt>
                      <c:pt idx="13">
                        <c:v>34737</c:v>
                      </c:pt>
                      <c:pt idx="14">
                        <c:v>34738</c:v>
                      </c:pt>
                      <c:pt idx="15">
                        <c:v>34739</c:v>
                      </c:pt>
                      <c:pt idx="16">
                        <c:v>34740</c:v>
                      </c:pt>
                      <c:pt idx="17">
                        <c:v>34743</c:v>
                      </c:pt>
                      <c:pt idx="18">
                        <c:v>34744</c:v>
                      </c:pt>
                      <c:pt idx="19">
                        <c:v>34745</c:v>
                      </c:pt>
                      <c:pt idx="20">
                        <c:v>34746</c:v>
                      </c:pt>
                      <c:pt idx="21">
                        <c:v>34747</c:v>
                      </c:pt>
                      <c:pt idx="22">
                        <c:v>34750</c:v>
                      </c:pt>
                      <c:pt idx="23">
                        <c:v>34751</c:v>
                      </c:pt>
                      <c:pt idx="24">
                        <c:v>34752</c:v>
                      </c:pt>
                      <c:pt idx="25">
                        <c:v>34753</c:v>
                      </c:pt>
                      <c:pt idx="26">
                        <c:v>34754</c:v>
                      </c:pt>
                      <c:pt idx="27">
                        <c:v>34757</c:v>
                      </c:pt>
                      <c:pt idx="28">
                        <c:v>34758</c:v>
                      </c:pt>
                      <c:pt idx="29">
                        <c:v>34759</c:v>
                      </c:pt>
                      <c:pt idx="30">
                        <c:v>34760</c:v>
                      </c:pt>
                      <c:pt idx="31">
                        <c:v>34761</c:v>
                      </c:pt>
                      <c:pt idx="32">
                        <c:v>34764</c:v>
                      </c:pt>
                      <c:pt idx="33">
                        <c:v>34765</c:v>
                      </c:pt>
                      <c:pt idx="34">
                        <c:v>34766</c:v>
                      </c:pt>
                      <c:pt idx="35">
                        <c:v>34767</c:v>
                      </c:pt>
                      <c:pt idx="36">
                        <c:v>34768</c:v>
                      </c:pt>
                      <c:pt idx="37">
                        <c:v>34771</c:v>
                      </c:pt>
                      <c:pt idx="38">
                        <c:v>34772</c:v>
                      </c:pt>
                      <c:pt idx="39">
                        <c:v>34773</c:v>
                      </c:pt>
                      <c:pt idx="40">
                        <c:v>34774</c:v>
                      </c:pt>
                      <c:pt idx="41">
                        <c:v>34775</c:v>
                      </c:pt>
                      <c:pt idx="42">
                        <c:v>34778</c:v>
                      </c:pt>
                      <c:pt idx="43">
                        <c:v>34779</c:v>
                      </c:pt>
                      <c:pt idx="44">
                        <c:v>34780</c:v>
                      </c:pt>
                      <c:pt idx="45">
                        <c:v>34781</c:v>
                      </c:pt>
                      <c:pt idx="46">
                        <c:v>34782</c:v>
                      </c:pt>
                      <c:pt idx="47">
                        <c:v>34785</c:v>
                      </c:pt>
                      <c:pt idx="48">
                        <c:v>34786</c:v>
                      </c:pt>
                      <c:pt idx="49">
                        <c:v>34787</c:v>
                      </c:pt>
                      <c:pt idx="50">
                        <c:v>34788</c:v>
                      </c:pt>
                      <c:pt idx="51">
                        <c:v>34789</c:v>
                      </c:pt>
                      <c:pt idx="52">
                        <c:v>34792</c:v>
                      </c:pt>
                      <c:pt idx="53">
                        <c:v>34793</c:v>
                      </c:pt>
                      <c:pt idx="54">
                        <c:v>34794</c:v>
                      </c:pt>
                      <c:pt idx="55">
                        <c:v>34795</c:v>
                      </c:pt>
                      <c:pt idx="56">
                        <c:v>34796</c:v>
                      </c:pt>
                      <c:pt idx="57">
                        <c:v>34799</c:v>
                      </c:pt>
                      <c:pt idx="58">
                        <c:v>34800</c:v>
                      </c:pt>
                      <c:pt idx="59">
                        <c:v>34801</c:v>
                      </c:pt>
                      <c:pt idx="60">
                        <c:v>34802</c:v>
                      </c:pt>
                      <c:pt idx="61">
                        <c:v>34803</c:v>
                      </c:pt>
                      <c:pt idx="62">
                        <c:v>34806</c:v>
                      </c:pt>
                      <c:pt idx="63">
                        <c:v>34807</c:v>
                      </c:pt>
                      <c:pt idx="64">
                        <c:v>34808</c:v>
                      </c:pt>
                      <c:pt idx="65">
                        <c:v>34809</c:v>
                      </c:pt>
                      <c:pt idx="66">
                        <c:v>34810</c:v>
                      </c:pt>
                      <c:pt idx="67">
                        <c:v>34813</c:v>
                      </c:pt>
                      <c:pt idx="68">
                        <c:v>34814</c:v>
                      </c:pt>
                      <c:pt idx="69">
                        <c:v>34815</c:v>
                      </c:pt>
                      <c:pt idx="70">
                        <c:v>34816</c:v>
                      </c:pt>
                      <c:pt idx="71">
                        <c:v>34817</c:v>
                      </c:pt>
                      <c:pt idx="72">
                        <c:v>34820</c:v>
                      </c:pt>
                      <c:pt idx="73">
                        <c:v>34821</c:v>
                      </c:pt>
                      <c:pt idx="74">
                        <c:v>34822</c:v>
                      </c:pt>
                      <c:pt idx="75">
                        <c:v>34823</c:v>
                      </c:pt>
                      <c:pt idx="76">
                        <c:v>34824</c:v>
                      </c:pt>
                      <c:pt idx="77">
                        <c:v>34827</c:v>
                      </c:pt>
                      <c:pt idx="78">
                        <c:v>34828</c:v>
                      </c:pt>
                      <c:pt idx="79">
                        <c:v>34829</c:v>
                      </c:pt>
                      <c:pt idx="80">
                        <c:v>34830</c:v>
                      </c:pt>
                      <c:pt idx="81">
                        <c:v>34831</c:v>
                      </c:pt>
                      <c:pt idx="82">
                        <c:v>34834</c:v>
                      </c:pt>
                      <c:pt idx="83">
                        <c:v>34835</c:v>
                      </c:pt>
                      <c:pt idx="84">
                        <c:v>34836</c:v>
                      </c:pt>
                      <c:pt idx="85">
                        <c:v>34837</c:v>
                      </c:pt>
                      <c:pt idx="86">
                        <c:v>34838</c:v>
                      </c:pt>
                      <c:pt idx="87">
                        <c:v>34841</c:v>
                      </c:pt>
                      <c:pt idx="88">
                        <c:v>34842</c:v>
                      </c:pt>
                      <c:pt idx="89">
                        <c:v>34843</c:v>
                      </c:pt>
                      <c:pt idx="90">
                        <c:v>34844</c:v>
                      </c:pt>
                      <c:pt idx="91">
                        <c:v>34845</c:v>
                      </c:pt>
                      <c:pt idx="92">
                        <c:v>34848</c:v>
                      </c:pt>
                      <c:pt idx="93">
                        <c:v>34849</c:v>
                      </c:pt>
                      <c:pt idx="94">
                        <c:v>34850</c:v>
                      </c:pt>
                      <c:pt idx="95">
                        <c:v>34851</c:v>
                      </c:pt>
                      <c:pt idx="96">
                        <c:v>34852</c:v>
                      </c:pt>
                      <c:pt idx="97">
                        <c:v>34855</c:v>
                      </c:pt>
                      <c:pt idx="98">
                        <c:v>34856</c:v>
                      </c:pt>
                      <c:pt idx="99">
                        <c:v>34857</c:v>
                      </c:pt>
                      <c:pt idx="100">
                        <c:v>34858</c:v>
                      </c:pt>
                      <c:pt idx="101">
                        <c:v>34859</c:v>
                      </c:pt>
                      <c:pt idx="102">
                        <c:v>34862</c:v>
                      </c:pt>
                      <c:pt idx="103">
                        <c:v>34863</c:v>
                      </c:pt>
                      <c:pt idx="104">
                        <c:v>34864</c:v>
                      </c:pt>
                      <c:pt idx="105">
                        <c:v>34865</c:v>
                      </c:pt>
                      <c:pt idx="106">
                        <c:v>34866</c:v>
                      </c:pt>
                      <c:pt idx="107">
                        <c:v>34869</c:v>
                      </c:pt>
                      <c:pt idx="108">
                        <c:v>34870</c:v>
                      </c:pt>
                      <c:pt idx="109">
                        <c:v>34871</c:v>
                      </c:pt>
                      <c:pt idx="110">
                        <c:v>34872</c:v>
                      </c:pt>
                      <c:pt idx="111">
                        <c:v>34873</c:v>
                      </c:pt>
                      <c:pt idx="112">
                        <c:v>34876</c:v>
                      </c:pt>
                      <c:pt idx="113">
                        <c:v>34877</c:v>
                      </c:pt>
                      <c:pt idx="114">
                        <c:v>34878</c:v>
                      </c:pt>
                      <c:pt idx="115">
                        <c:v>34879</c:v>
                      </c:pt>
                      <c:pt idx="116">
                        <c:v>34880</c:v>
                      </c:pt>
                      <c:pt idx="117">
                        <c:v>34883</c:v>
                      </c:pt>
                      <c:pt idx="118">
                        <c:v>34884</c:v>
                      </c:pt>
                      <c:pt idx="119">
                        <c:v>34885</c:v>
                      </c:pt>
                      <c:pt idx="120">
                        <c:v>34886</c:v>
                      </c:pt>
                      <c:pt idx="121">
                        <c:v>34887</c:v>
                      </c:pt>
                      <c:pt idx="122">
                        <c:v>34890</c:v>
                      </c:pt>
                      <c:pt idx="123">
                        <c:v>34891</c:v>
                      </c:pt>
                      <c:pt idx="124">
                        <c:v>34892</c:v>
                      </c:pt>
                      <c:pt idx="125">
                        <c:v>34893</c:v>
                      </c:pt>
                      <c:pt idx="126">
                        <c:v>34894</c:v>
                      </c:pt>
                      <c:pt idx="127">
                        <c:v>34897</c:v>
                      </c:pt>
                      <c:pt idx="128">
                        <c:v>34898</c:v>
                      </c:pt>
                      <c:pt idx="129">
                        <c:v>34899</c:v>
                      </c:pt>
                      <c:pt idx="130">
                        <c:v>34900</c:v>
                      </c:pt>
                      <c:pt idx="131">
                        <c:v>34901</c:v>
                      </c:pt>
                      <c:pt idx="132">
                        <c:v>34904</c:v>
                      </c:pt>
                      <c:pt idx="133">
                        <c:v>34905</c:v>
                      </c:pt>
                      <c:pt idx="134">
                        <c:v>34906</c:v>
                      </c:pt>
                      <c:pt idx="135">
                        <c:v>34907</c:v>
                      </c:pt>
                      <c:pt idx="136">
                        <c:v>34908</c:v>
                      </c:pt>
                      <c:pt idx="137">
                        <c:v>34911</c:v>
                      </c:pt>
                      <c:pt idx="138">
                        <c:v>34912</c:v>
                      </c:pt>
                      <c:pt idx="139">
                        <c:v>34913</c:v>
                      </c:pt>
                      <c:pt idx="140">
                        <c:v>34914</c:v>
                      </c:pt>
                      <c:pt idx="141">
                        <c:v>34915</c:v>
                      </c:pt>
                      <c:pt idx="142">
                        <c:v>34918</c:v>
                      </c:pt>
                      <c:pt idx="143">
                        <c:v>34919</c:v>
                      </c:pt>
                      <c:pt idx="144">
                        <c:v>34920</c:v>
                      </c:pt>
                      <c:pt idx="145">
                        <c:v>34921</c:v>
                      </c:pt>
                      <c:pt idx="146">
                        <c:v>34922</c:v>
                      </c:pt>
                      <c:pt idx="147">
                        <c:v>34925</c:v>
                      </c:pt>
                      <c:pt idx="148">
                        <c:v>34926</c:v>
                      </c:pt>
                      <c:pt idx="149">
                        <c:v>34927</c:v>
                      </c:pt>
                      <c:pt idx="150">
                        <c:v>34928</c:v>
                      </c:pt>
                      <c:pt idx="151">
                        <c:v>34929</c:v>
                      </c:pt>
                      <c:pt idx="152">
                        <c:v>34932</c:v>
                      </c:pt>
                      <c:pt idx="153">
                        <c:v>34933</c:v>
                      </c:pt>
                      <c:pt idx="154">
                        <c:v>34934</c:v>
                      </c:pt>
                      <c:pt idx="155">
                        <c:v>34935</c:v>
                      </c:pt>
                      <c:pt idx="156">
                        <c:v>34936</c:v>
                      </c:pt>
                      <c:pt idx="157">
                        <c:v>34939</c:v>
                      </c:pt>
                      <c:pt idx="158">
                        <c:v>34940</c:v>
                      </c:pt>
                      <c:pt idx="159">
                        <c:v>34941</c:v>
                      </c:pt>
                      <c:pt idx="160">
                        <c:v>34942</c:v>
                      </c:pt>
                      <c:pt idx="161">
                        <c:v>34943</c:v>
                      </c:pt>
                      <c:pt idx="162">
                        <c:v>34946</c:v>
                      </c:pt>
                      <c:pt idx="163">
                        <c:v>34947</c:v>
                      </c:pt>
                      <c:pt idx="164">
                        <c:v>34948</c:v>
                      </c:pt>
                      <c:pt idx="165">
                        <c:v>34949</c:v>
                      </c:pt>
                      <c:pt idx="166">
                        <c:v>34950</c:v>
                      </c:pt>
                      <c:pt idx="167">
                        <c:v>34953</c:v>
                      </c:pt>
                      <c:pt idx="168">
                        <c:v>34954</c:v>
                      </c:pt>
                      <c:pt idx="169">
                        <c:v>34955</c:v>
                      </c:pt>
                      <c:pt idx="170">
                        <c:v>34956</c:v>
                      </c:pt>
                      <c:pt idx="171">
                        <c:v>34957</c:v>
                      </c:pt>
                      <c:pt idx="172">
                        <c:v>34960</c:v>
                      </c:pt>
                      <c:pt idx="173">
                        <c:v>34961</c:v>
                      </c:pt>
                      <c:pt idx="174">
                        <c:v>34962</c:v>
                      </c:pt>
                      <c:pt idx="175">
                        <c:v>34963</c:v>
                      </c:pt>
                      <c:pt idx="176">
                        <c:v>34964</c:v>
                      </c:pt>
                      <c:pt idx="177">
                        <c:v>34967</c:v>
                      </c:pt>
                      <c:pt idx="178">
                        <c:v>34968</c:v>
                      </c:pt>
                      <c:pt idx="179">
                        <c:v>34969</c:v>
                      </c:pt>
                      <c:pt idx="180">
                        <c:v>34970</c:v>
                      </c:pt>
                      <c:pt idx="181">
                        <c:v>34971</c:v>
                      </c:pt>
                      <c:pt idx="182">
                        <c:v>34974</c:v>
                      </c:pt>
                      <c:pt idx="183">
                        <c:v>34975</c:v>
                      </c:pt>
                      <c:pt idx="184">
                        <c:v>34976</c:v>
                      </c:pt>
                      <c:pt idx="185">
                        <c:v>34977</c:v>
                      </c:pt>
                      <c:pt idx="186">
                        <c:v>34978</c:v>
                      </c:pt>
                      <c:pt idx="187">
                        <c:v>34981</c:v>
                      </c:pt>
                      <c:pt idx="188">
                        <c:v>34982</c:v>
                      </c:pt>
                      <c:pt idx="189">
                        <c:v>34983</c:v>
                      </c:pt>
                      <c:pt idx="190">
                        <c:v>34984</c:v>
                      </c:pt>
                      <c:pt idx="191">
                        <c:v>34985</c:v>
                      </c:pt>
                      <c:pt idx="192">
                        <c:v>34988</c:v>
                      </c:pt>
                      <c:pt idx="193">
                        <c:v>34989</c:v>
                      </c:pt>
                      <c:pt idx="194">
                        <c:v>34990</c:v>
                      </c:pt>
                      <c:pt idx="195">
                        <c:v>34991</c:v>
                      </c:pt>
                      <c:pt idx="196">
                        <c:v>34992</c:v>
                      </c:pt>
                      <c:pt idx="197">
                        <c:v>34995</c:v>
                      </c:pt>
                      <c:pt idx="198">
                        <c:v>34996</c:v>
                      </c:pt>
                      <c:pt idx="199">
                        <c:v>34997</c:v>
                      </c:pt>
                      <c:pt idx="200">
                        <c:v>34998</c:v>
                      </c:pt>
                      <c:pt idx="201">
                        <c:v>34999</c:v>
                      </c:pt>
                      <c:pt idx="202">
                        <c:v>35002</c:v>
                      </c:pt>
                      <c:pt idx="203">
                        <c:v>35003</c:v>
                      </c:pt>
                      <c:pt idx="204">
                        <c:v>35004</c:v>
                      </c:pt>
                      <c:pt idx="205">
                        <c:v>35005</c:v>
                      </c:pt>
                      <c:pt idx="206">
                        <c:v>35006</c:v>
                      </c:pt>
                      <c:pt idx="207">
                        <c:v>35009</c:v>
                      </c:pt>
                      <c:pt idx="208">
                        <c:v>35010</c:v>
                      </c:pt>
                      <c:pt idx="209">
                        <c:v>35011</c:v>
                      </c:pt>
                      <c:pt idx="210">
                        <c:v>35012</c:v>
                      </c:pt>
                      <c:pt idx="211">
                        <c:v>35013</c:v>
                      </c:pt>
                      <c:pt idx="212">
                        <c:v>35016</c:v>
                      </c:pt>
                      <c:pt idx="213">
                        <c:v>35017</c:v>
                      </c:pt>
                      <c:pt idx="214">
                        <c:v>35018</c:v>
                      </c:pt>
                      <c:pt idx="215">
                        <c:v>35019</c:v>
                      </c:pt>
                      <c:pt idx="216">
                        <c:v>35020</c:v>
                      </c:pt>
                      <c:pt idx="217">
                        <c:v>35023</c:v>
                      </c:pt>
                      <c:pt idx="218">
                        <c:v>35024</c:v>
                      </c:pt>
                      <c:pt idx="219">
                        <c:v>35025</c:v>
                      </c:pt>
                      <c:pt idx="220">
                        <c:v>35026</c:v>
                      </c:pt>
                      <c:pt idx="221">
                        <c:v>35027</c:v>
                      </c:pt>
                      <c:pt idx="222">
                        <c:v>35030</c:v>
                      </c:pt>
                      <c:pt idx="223">
                        <c:v>35031</c:v>
                      </c:pt>
                      <c:pt idx="224">
                        <c:v>35032</c:v>
                      </c:pt>
                      <c:pt idx="225">
                        <c:v>35033</c:v>
                      </c:pt>
                      <c:pt idx="226">
                        <c:v>35034</c:v>
                      </c:pt>
                      <c:pt idx="227">
                        <c:v>35037</c:v>
                      </c:pt>
                      <c:pt idx="228">
                        <c:v>35038</c:v>
                      </c:pt>
                      <c:pt idx="229">
                        <c:v>35039</c:v>
                      </c:pt>
                      <c:pt idx="230">
                        <c:v>35040</c:v>
                      </c:pt>
                      <c:pt idx="231">
                        <c:v>35041</c:v>
                      </c:pt>
                      <c:pt idx="232">
                        <c:v>35044</c:v>
                      </c:pt>
                      <c:pt idx="233">
                        <c:v>35045</c:v>
                      </c:pt>
                      <c:pt idx="234">
                        <c:v>35046</c:v>
                      </c:pt>
                      <c:pt idx="235">
                        <c:v>35047</c:v>
                      </c:pt>
                      <c:pt idx="236">
                        <c:v>35048</c:v>
                      </c:pt>
                      <c:pt idx="237">
                        <c:v>35051</c:v>
                      </c:pt>
                      <c:pt idx="238">
                        <c:v>35052</c:v>
                      </c:pt>
                      <c:pt idx="239">
                        <c:v>35053</c:v>
                      </c:pt>
                      <c:pt idx="240">
                        <c:v>35054</c:v>
                      </c:pt>
                      <c:pt idx="241">
                        <c:v>35055</c:v>
                      </c:pt>
                      <c:pt idx="242">
                        <c:v>35058</c:v>
                      </c:pt>
                      <c:pt idx="243">
                        <c:v>35059</c:v>
                      </c:pt>
                      <c:pt idx="244">
                        <c:v>35060</c:v>
                      </c:pt>
                      <c:pt idx="245">
                        <c:v>35061</c:v>
                      </c:pt>
                      <c:pt idx="246">
                        <c:v>35062</c:v>
                      </c:pt>
                      <c:pt idx="247">
                        <c:v>35065</c:v>
                      </c:pt>
                      <c:pt idx="248">
                        <c:v>35066</c:v>
                      </c:pt>
                      <c:pt idx="249">
                        <c:v>35067</c:v>
                      </c:pt>
                      <c:pt idx="250">
                        <c:v>35068</c:v>
                      </c:pt>
                      <c:pt idx="251">
                        <c:v>35069</c:v>
                      </c:pt>
                      <c:pt idx="252">
                        <c:v>35072</c:v>
                      </c:pt>
                      <c:pt idx="253">
                        <c:v>35073</c:v>
                      </c:pt>
                      <c:pt idx="254">
                        <c:v>35074</c:v>
                      </c:pt>
                      <c:pt idx="255">
                        <c:v>35075</c:v>
                      </c:pt>
                      <c:pt idx="256">
                        <c:v>35076</c:v>
                      </c:pt>
                      <c:pt idx="257">
                        <c:v>35079</c:v>
                      </c:pt>
                      <c:pt idx="258">
                        <c:v>35080</c:v>
                      </c:pt>
                      <c:pt idx="259">
                        <c:v>35081</c:v>
                      </c:pt>
                      <c:pt idx="260">
                        <c:v>35082</c:v>
                      </c:pt>
                      <c:pt idx="261">
                        <c:v>35083</c:v>
                      </c:pt>
                      <c:pt idx="262">
                        <c:v>35086</c:v>
                      </c:pt>
                      <c:pt idx="263">
                        <c:v>35087</c:v>
                      </c:pt>
                      <c:pt idx="264">
                        <c:v>35088</c:v>
                      </c:pt>
                      <c:pt idx="265">
                        <c:v>35089</c:v>
                      </c:pt>
                      <c:pt idx="266">
                        <c:v>35090</c:v>
                      </c:pt>
                      <c:pt idx="267">
                        <c:v>35093</c:v>
                      </c:pt>
                      <c:pt idx="268">
                        <c:v>35094</c:v>
                      </c:pt>
                      <c:pt idx="269">
                        <c:v>35095</c:v>
                      </c:pt>
                      <c:pt idx="270">
                        <c:v>35096</c:v>
                      </c:pt>
                      <c:pt idx="271">
                        <c:v>35097</c:v>
                      </c:pt>
                      <c:pt idx="272">
                        <c:v>35100</c:v>
                      </c:pt>
                      <c:pt idx="273">
                        <c:v>35101</c:v>
                      </c:pt>
                      <c:pt idx="274">
                        <c:v>35102</c:v>
                      </c:pt>
                      <c:pt idx="275">
                        <c:v>35103</c:v>
                      </c:pt>
                      <c:pt idx="276">
                        <c:v>35104</c:v>
                      </c:pt>
                      <c:pt idx="277">
                        <c:v>35107</c:v>
                      </c:pt>
                      <c:pt idx="278">
                        <c:v>35108</c:v>
                      </c:pt>
                      <c:pt idx="279">
                        <c:v>35109</c:v>
                      </c:pt>
                      <c:pt idx="280">
                        <c:v>35110</c:v>
                      </c:pt>
                      <c:pt idx="281">
                        <c:v>35111</c:v>
                      </c:pt>
                      <c:pt idx="282">
                        <c:v>35114</c:v>
                      </c:pt>
                      <c:pt idx="283">
                        <c:v>35115</c:v>
                      </c:pt>
                      <c:pt idx="284">
                        <c:v>35116</c:v>
                      </c:pt>
                      <c:pt idx="285">
                        <c:v>35117</c:v>
                      </c:pt>
                      <c:pt idx="286">
                        <c:v>35118</c:v>
                      </c:pt>
                      <c:pt idx="287">
                        <c:v>35121</c:v>
                      </c:pt>
                      <c:pt idx="288">
                        <c:v>35122</c:v>
                      </c:pt>
                      <c:pt idx="289">
                        <c:v>35123</c:v>
                      </c:pt>
                      <c:pt idx="290">
                        <c:v>35124</c:v>
                      </c:pt>
                      <c:pt idx="291">
                        <c:v>35125</c:v>
                      </c:pt>
                      <c:pt idx="292">
                        <c:v>35128</c:v>
                      </c:pt>
                      <c:pt idx="293">
                        <c:v>35129</c:v>
                      </c:pt>
                      <c:pt idx="294">
                        <c:v>35130</c:v>
                      </c:pt>
                      <c:pt idx="295">
                        <c:v>35131</c:v>
                      </c:pt>
                      <c:pt idx="296">
                        <c:v>35132</c:v>
                      </c:pt>
                      <c:pt idx="297">
                        <c:v>35135</c:v>
                      </c:pt>
                      <c:pt idx="298">
                        <c:v>35136</c:v>
                      </c:pt>
                      <c:pt idx="299">
                        <c:v>35137</c:v>
                      </c:pt>
                      <c:pt idx="300">
                        <c:v>35138</c:v>
                      </c:pt>
                      <c:pt idx="301">
                        <c:v>35139</c:v>
                      </c:pt>
                      <c:pt idx="302">
                        <c:v>35142</c:v>
                      </c:pt>
                      <c:pt idx="303">
                        <c:v>35143</c:v>
                      </c:pt>
                      <c:pt idx="304">
                        <c:v>35144</c:v>
                      </c:pt>
                      <c:pt idx="305">
                        <c:v>35145</c:v>
                      </c:pt>
                      <c:pt idx="306">
                        <c:v>35146</c:v>
                      </c:pt>
                      <c:pt idx="307">
                        <c:v>35149</c:v>
                      </c:pt>
                      <c:pt idx="308">
                        <c:v>35150</c:v>
                      </c:pt>
                      <c:pt idx="309">
                        <c:v>35151</c:v>
                      </c:pt>
                      <c:pt idx="310">
                        <c:v>35152</c:v>
                      </c:pt>
                      <c:pt idx="311">
                        <c:v>35153</c:v>
                      </c:pt>
                      <c:pt idx="312">
                        <c:v>35156</c:v>
                      </c:pt>
                      <c:pt idx="313">
                        <c:v>35157</c:v>
                      </c:pt>
                      <c:pt idx="314">
                        <c:v>35158</c:v>
                      </c:pt>
                      <c:pt idx="315">
                        <c:v>35159</c:v>
                      </c:pt>
                      <c:pt idx="316">
                        <c:v>35160</c:v>
                      </c:pt>
                      <c:pt idx="317">
                        <c:v>35163</c:v>
                      </c:pt>
                      <c:pt idx="318">
                        <c:v>35164</c:v>
                      </c:pt>
                      <c:pt idx="319">
                        <c:v>35165</c:v>
                      </c:pt>
                      <c:pt idx="320">
                        <c:v>35166</c:v>
                      </c:pt>
                      <c:pt idx="321">
                        <c:v>35167</c:v>
                      </c:pt>
                      <c:pt idx="322">
                        <c:v>35170</c:v>
                      </c:pt>
                      <c:pt idx="323">
                        <c:v>35171</c:v>
                      </c:pt>
                      <c:pt idx="324">
                        <c:v>35172</c:v>
                      </c:pt>
                      <c:pt idx="325">
                        <c:v>35173</c:v>
                      </c:pt>
                      <c:pt idx="326">
                        <c:v>35174</c:v>
                      </c:pt>
                      <c:pt idx="327">
                        <c:v>35177</c:v>
                      </c:pt>
                      <c:pt idx="328">
                        <c:v>35178</c:v>
                      </c:pt>
                      <c:pt idx="329">
                        <c:v>35179</c:v>
                      </c:pt>
                      <c:pt idx="330">
                        <c:v>35180</c:v>
                      </c:pt>
                      <c:pt idx="331">
                        <c:v>35181</c:v>
                      </c:pt>
                      <c:pt idx="332">
                        <c:v>35184</c:v>
                      </c:pt>
                      <c:pt idx="333">
                        <c:v>35185</c:v>
                      </c:pt>
                      <c:pt idx="334">
                        <c:v>35186</c:v>
                      </c:pt>
                      <c:pt idx="335">
                        <c:v>35187</c:v>
                      </c:pt>
                      <c:pt idx="336">
                        <c:v>35188</c:v>
                      </c:pt>
                      <c:pt idx="337">
                        <c:v>35191</c:v>
                      </c:pt>
                      <c:pt idx="338">
                        <c:v>35192</c:v>
                      </c:pt>
                      <c:pt idx="339">
                        <c:v>35193</c:v>
                      </c:pt>
                      <c:pt idx="340">
                        <c:v>35194</c:v>
                      </c:pt>
                      <c:pt idx="341">
                        <c:v>35195</c:v>
                      </c:pt>
                      <c:pt idx="342">
                        <c:v>35198</c:v>
                      </c:pt>
                      <c:pt idx="343">
                        <c:v>35199</c:v>
                      </c:pt>
                      <c:pt idx="344">
                        <c:v>35200</c:v>
                      </c:pt>
                      <c:pt idx="345">
                        <c:v>35201</c:v>
                      </c:pt>
                      <c:pt idx="346">
                        <c:v>35202</c:v>
                      </c:pt>
                      <c:pt idx="347">
                        <c:v>35205</c:v>
                      </c:pt>
                      <c:pt idx="348">
                        <c:v>35206</c:v>
                      </c:pt>
                      <c:pt idx="349">
                        <c:v>35207</c:v>
                      </c:pt>
                      <c:pt idx="350">
                        <c:v>35208</c:v>
                      </c:pt>
                      <c:pt idx="351">
                        <c:v>35209</c:v>
                      </c:pt>
                      <c:pt idx="352">
                        <c:v>35212</c:v>
                      </c:pt>
                      <c:pt idx="353">
                        <c:v>35213</c:v>
                      </c:pt>
                      <c:pt idx="354">
                        <c:v>35214</c:v>
                      </c:pt>
                      <c:pt idx="355">
                        <c:v>35215</c:v>
                      </c:pt>
                      <c:pt idx="356">
                        <c:v>35216</c:v>
                      </c:pt>
                      <c:pt idx="357">
                        <c:v>35219</c:v>
                      </c:pt>
                      <c:pt idx="358">
                        <c:v>35220</c:v>
                      </c:pt>
                      <c:pt idx="359">
                        <c:v>35221</c:v>
                      </c:pt>
                      <c:pt idx="360">
                        <c:v>35222</c:v>
                      </c:pt>
                      <c:pt idx="361">
                        <c:v>35223</c:v>
                      </c:pt>
                      <c:pt idx="362">
                        <c:v>35226</c:v>
                      </c:pt>
                      <c:pt idx="363">
                        <c:v>35227</c:v>
                      </c:pt>
                      <c:pt idx="364">
                        <c:v>35228</c:v>
                      </c:pt>
                      <c:pt idx="365">
                        <c:v>35229</c:v>
                      </c:pt>
                      <c:pt idx="366">
                        <c:v>35230</c:v>
                      </c:pt>
                      <c:pt idx="367">
                        <c:v>35233</c:v>
                      </c:pt>
                      <c:pt idx="368">
                        <c:v>35234</c:v>
                      </c:pt>
                      <c:pt idx="369">
                        <c:v>35235</c:v>
                      </c:pt>
                      <c:pt idx="370">
                        <c:v>35236</c:v>
                      </c:pt>
                      <c:pt idx="371">
                        <c:v>35237</c:v>
                      </c:pt>
                      <c:pt idx="372">
                        <c:v>35240</c:v>
                      </c:pt>
                      <c:pt idx="373">
                        <c:v>35241</c:v>
                      </c:pt>
                      <c:pt idx="374">
                        <c:v>35242</c:v>
                      </c:pt>
                      <c:pt idx="375">
                        <c:v>35243</c:v>
                      </c:pt>
                      <c:pt idx="376">
                        <c:v>35244</c:v>
                      </c:pt>
                      <c:pt idx="377">
                        <c:v>35247</c:v>
                      </c:pt>
                      <c:pt idx="378">
                        <c:v>35248</c:v>
                      </c:pt>
                      <c:pt idx="379">
                        <c:v>35249</c:v>
                      </c:pt>
                      <c:pt idx="380">
                        <c:v>35250</c:v>
                      </c:pt>
                      <c:pt idx="381">
                        <c:v>35251</c:v>
                      </c:pt>
                      <c:pt idx="382">
                        <c:v>35254</c:v>
                      </c:pt>
                      <c:pt idx="383">
                        <c:v>35255</c:v>
                      </c:pt>
                      <c:pt idx="384">
                        <c:v>35256</c:v>
                      </c:pt>
                      <c:pt idx="385">
                        <c:v>35257</c:v>
                      </c:pt>
                      <c:pt idx="386">
                        <c:v>35258</c:v>
                      </c:pt>
                      <c:pt idx="387">
                        <c:v>35261</c:v>
                      </c:pt>
                      <c:pt idx="388">
                        <c:v>35262</c:v>
                      </c:pt>
                      <c:pt idx="389">
                        <c:v>35263</c:v>
                      </c:pt>
                      <c:pt idx="390">
                        <c:v>35264</c:v>
                      </c:pt>
                      <c:pt idx="391">
                        <c:v>35265</c:v>
                      </c:pt>
                      <c:pt idx="392">
                        <c:v>35268</c:v>
                      </c:pt>
                      <c:pt idx="393">
                        <c:v>35269</c:v>
                      </c:pt>
                      <c:pt idx="394">
                        <c:v>35270</c:v>
                      </c:pt>
                      <c:pt idx="395">
                        <c:v>35271</c:v>
                      </c:pt>
                      <c:pt idx="396">
                        <c:v>35272</c:v>
                      </c:pt>
                      <c:pt idx="397">
                        <c:v>35275</c:v>
                      </c:pt>
                      <c:pt idx="398">
                        <c:v>35276</c:v>
                      </c:pt>
                      <c:pt idx="399">
                        <c:v>35277</c:v>
                      </c:pt>
                      <c:pt idx="400">
                        <c:v>35278</c:v>
                      </c:pt>
                      <c:pt idx="401">
                        <c:v>35279</c:v>
                      </c:pt>
                      <c:pt idx="402">
                        <c:v>35282</c:v>
                      </c:pt>
                      <c:pt idx="403">
                        <c:v>35283</c:v>
                      </c:pt>
                      <c:pt idx="404">
                        <c:v>35284</c:v>
                      </c:pt>
                      <c:pt idx="405">
                        <c:v>35285</c:v>
                      </c:pt>
                      <c:pt idx="406">
                        <c:v>35286</c:v>
                      </c:pt>
                      <c:pt idx="407">
                        <c:v>35289</c:v>
                      </c:pt>
                      <c:pt idx="408">
                        <c:v>35290</c:v>
                      </c:pt>
                      <c:pt idx="409">
                        <c:v>35291</c:v>
                      </c:pt>
                      <c:pt idx="410">
                        <c:v>35292</c:v>
                      </c:pt>
                      <c:pt idx="411">
                        <c:v>35293</c:v>
                      </c:pt>
                      <c:pt idx="412">
                        <c:v>35296</c:v>
                      </c:pt>
                      <c:pt idx="413">
                        <c:v>35297</c:v>
                      </c:pt>
                      <c:pt idx="414">
                        <c:v>35298</c:v>
                      </c:pt>
                      <c:pt idx="415">
                        <c:v>35299</c:v>
                      </c:pt>
                      <c:pt idx="416">
                        <c:v>35300</c:v>
                      </c:pt>
                      <c:pt idx="417">
                        <c:v>35303</c:v>
                      </c:pt>
                      <c:pt idx="418">
                        <c:v>35304</c:v>
                      </c:pt>
                      <c:pt idx="419">
                        <c:v>35305</c:v>
                      </c:pt>
                      <c:pt idx="420">
                        <c:v>35306</c:v>
                      </c:pt>
                      <c:pt idx="421">
                        <c:v>35307</c:v>
                      </c:pt>
                      <c:pt idx="422">
                        <c:v>35310</c:v>
                      </c:pt>
                      <c:pt idx="423">
                        <c:v>35311</c:v>
                      </c:pt>
                      <c:pt idx="424">
                        <c:v>35312</c:v>
                      </c:pt>
                      <c:pt idx="425">
                        <c:v>35313</c:v>
                      </c:pt>
                      <c:pt idx="426">
                        <c:v>35314</c:v>
                      </c:pt>
                      <c:pt idx="427">
                        <c:v>35317</c:v>
                      </c:pt>
                      <c:pt idx="428">
                        <c:v>35318</c:v>
                      </c:pt>
                      <c:pt idx="429">
                        <c:v>35319</c:v>
                      </c:pt>
                      <c:pt idx="430">
                        <c:v>35320</c:v>
                      </c:pt>
                      <c:pt idx="431">
                        <c:v>35321</c:v>
                      </c:pt>
                      <c:pt idx="432">
                        <c:v>35324</c:v>
                      </c:pt>
                      <c:pt idx="433">
                        <c:v>35325</c:v>
                      </c:pt>
                      <c:pt idx="434">
                        <c:v>35326</c:v>
                      </c:pt>
                      <c:pt idx="435">
                        <c:v>35327</c:v>
                      </c:pt>
                      <c:pt idx="436">
                        <c:v>35328</c:v>
                      </c:pt>
                      <c:pt idx="437">
                        <c:v>35331</c:v>
                      </c:pt>
                      <c:pt idx="438">
                        <c:v>35332</c:v>
                      </c:pt>
                      <c:pt idx="439">
                        <c:v>35333</c:v>
                      </c:pt>
                      <c:pt idx="440">
                        <c:v>35334</c:v>
                      </c:pt>
                      <c:pt idx="441">
                        <c:v>35335</c:v>
                      </c:pt>
                      <c:pt idx="442">
                        <c:v>35338</c:v>
                      </c:pt>
                      <c:pt idx="443">
                        <c:v>35339</c:v>
                      </c:pt>
                      <c:pt idx="444">
                        <c:v>35340</c:v>
                      </c:pt>
                      <c:pt idx="445">
                        <c:v>35341</c:v>
                      </c:pt>
                      <c:pt idx="446">
                        <c:v>35342</c:v>
                      </c:pt>
                      <c:pt idx="447">
                        <c:v>35345</c:v>
                      </c:pt>
                      <c:pt idx="448">
                        <c:v>35346</c:v>
                      </c:pt>
                      <c:pt idx="449">
                        <c:v>35347</c:v>
                      </c:pt>
                      <c:pt idx="450">
                        <c:v>35348</c:v>
                      </c:pt>
                      <c:pt idx="451">
                        <c:v>35349</c:v>
                      </c:pt>
                      <c:pt idx="452">
                        <c:v>35352</c:v>
                      </c:pt>
                      <c:pt idx="453">
                        <c:v>35353</c:v>
                      </c:pt>
                      <c:pt idx="454">
                        <c:v>35354</c:v>
                      </c:pt>
                      <c:pt idx="455">
                        <c:v>35355</c:v>
                      </c:pt>
                      <c:pt idx="456">
                        <c:v>35356</c:v>
                      </c:pt>
                      <c:pt idx="457">
                        <c:v>35359</c:v>
                      </c:pt>
                      <c:pt idx="458">
                        <c:v>35360</c:v>
                      </c:pt>
                      <c:pt idx="459">
                        <c:v>35361</c:v>
                      </c:pt>
                      <c:pt idx="460">
                        <c:v>35362</c:v>
                      </c:pt>
                      <c:pt idx="461">
                        <c:v>35363</c:v>
                      </c:pt>
                      <c:pt idx="462">
                        <c:v>35366</c:v>
                      </c:pt>
                      <c:pt idx="463">
                        <c:v>35367</c:v>
                      </c:pt>
                      <c:pt idx="464">
                        <c:v>35368</c:v>
                      </c:pt>
                      <c:pt idx="465">
                        <c:v>35369</c:v>
                      </c:pt>
                      <c:pt idx="466">
                        <c:v>35370</c:v>
                      </c:pt>
                      <c:pt idx="467">
                        <c:v>35373</c:v>
                      </c:pt>
                      <c:pt idx="468">
                        <c:v>35374</c:v>
                      </c:pt>
                      <c:pt idx="469">
                        <c:v>35375</c:v>
                      </c:pt>
                      <c:pt idx="470">
                        <c:v>35376</c:v>
                      </c:pt>
                      <c:pt idx="471">
                        <c:v>35377</c:v>
                      </c:pt>
                      <c:pt idx="472">
                        <c:v>35380</c:v>
                      </c:pt>
                      <c:pt idx="473">
                        <c:v>35381</c:v>
                      </c:pt>
                      <c:pt idx="474">
                        <c:v>35382</c:v>
                      </c:pt>
                      <c:pt idx="475">
                        <c:v>35383</c:v>
                      </c:pt>
                      <c:pt idx="476">
                        <c:v>35384</c:v>
                      </c:pt>
                      <c:pt idx="477">
                        <c:v>35387</c:v>
                      </c:pt>
                      <c:pt idx="478">
                        <c:v>35388</c:v>
                      </c:pt>
                      <c:pt idx="479">
                        <c:v>35389</c:v>
                      </c:pt>
                      <c:pt idx="480">
                        <c:v>35390</c:v>
                      </c:pt>
                      <c:pt idx="481">
                        <c:v>35391</c:v>
                      </c:pt>
                      <c:pt idx="482">
                        <c:v>35394</c:v>
                      </c:pt>
                      <c:pt idx="483">
                        <c:v>35395</c:v>
                      </c:pt>
                      <c:pt idx="484">
                        <c:v>35396</c:v>
                      </c:pt>
                      <c:pt idx="485">
                        <c:v>35397</c:v>
                      </c:pt>
                      <c:pt idx="486">
                        <c:v>35398</c:v>
                      </c:pt>
                      <c:pt idx="487">
                        <c:v>35401</c:v>
                      </c:pt>
                      <c:pt idx="488">
                        <c:v>35402</c:v>
                      </c:pt>
                      <c:pt idx="489">
                        <c:v>35403</c:v>
                      </c:pt>
                      <c:pt idx="490">
                        <c:v>35404</c:v>
                      </c:pt>
                      <c:pt idx="491">
                        <c:v>35405</c:v>
                      </c:pt>
                      <c:pt idx="492">
                        <c:v>35408</c:v>
                      </c:pt>
                      <c:pt idx="493">
                        <c:v>35409</c:v>
                      </c:pt>
                      <c:pt idx="494">
                        <c:v>35410</c:v>
                      </c:pt>
                      <c:pt idx="495">
                        <c:v>35411</c:v>
                      </c:pt>
                      <c:pt idx="496">
                        <c:v>35412</c:v>
                      </c:pt>
                      <c:pt idx="497">
                        <c:v>35415</c:v>
                      </c:pt>
                      <c:pt idx="498">
                        <c:v>35416</c:v>
                      </c:pt>
                      <c:pt idx="499">
                        <c:v>35417</c:v>
                      </c:pt>
                      <c:pt idx="500">
                        <c:v>35418</c:v>
                      </c:pt>
                      <c:pt idx="501">
                        <c:v>35419</c:v>
                      </c:pt>
                      <c:pt idx="502">
                        <c:v>35422</c:v>
                      </c:pt>
                      <c:pt idx="503">
                        <c:v>35423</c:v>
                      </c:pt>
                      <c:pt idx="504">
                        <c:v>35424</c:v>
                      </c:pt>
                      <c:pt idx="505">
                        <c:v>35425</c:v>
                      </c:pt>
                      <c:pt idx="506">
                        <c:v>35426</c:v>
                      </c:pt>
                      <c:pt idx="507">
                        <c:v>35429</c:v>
                      </c:pt>
                      <c:pt idx="508">
                        <c:v>35430</c:v>
                      </c:pt>
                      <c:pt idx="509">
                        <c:v>35431</c:v>
                      </c:pt>
                      <c:pt idx="510">
                        <c:v>35432</c:v>
                      </c:pt>
                      <c:pt idx="511">
                        <c:v>35433</c:v>
                      </c:pt>
                      <c:pt idx="512">
                        <c:v>35436</c:v>
                      </c:pt>
                      <c:pt idx="513">
                        <c:v>35437</c:v>
                      </c:pt>
                      <c:pt idx="514">
                        <c:v>35438</c:v>
                      </c:pt>
                      <c:pt idx="515">
                        <c:v>35439</c:v>
                      </c:pt>
                      <c:pt idx="516">
                        <c:v>35440</c:v>
                      </c:pt>
                      <c:pt idx="517">
                        <c:v>35443</c:v>
                      </c:pt>
                      <c:pt idx="518">
                        <c:v>35444</c:v>
                      </c:pt>
                      <c:pt idx="519">
                        <c:v>35445</c:v>
                      </c:pt>
                      <c:pt idx="520">
                        <c:v>35446</c:v>
                      </c:pt>
                      <c:pt idx="521">
                        <c:v>35447</c:v>
                      </c:pt>
                      <c:pt idx="522">
                        <c:v>35450</c:v>
                      </c:pt>
                      <c:pt idx="523">
                        <c:v>35451</c:v>
                      </c:pt>
                      <c:pt idx="524">
                        <c:v>35452</c:v>
                      </c:pt>
                      <c:pt idx="525">
                        <c:v>35453</c:v>
                      </c:pt>
                      <c:pt idx="526">
                        <c:v>35454</c:v>
                      </c:pt>
                      <c:pt idx="527">
                        <c:v>35457</c:v>
                      </c:pt>
                      <c:pt idx="528">
                        <c:v>35458</c:v>
                      </c:pt>
                      <c:pt idx="529">
                        <c:v>35459</c:v>
                      </c:pt>
                      <c:pt idx="530">
                        <c:v>35460</c:v>
                      </c:pt>
                      <c:pt idx="531">
                        <c:v>35461</c:v>
                      </c:pt>
                      <c:pt idx="532">
                        <c:v>35464</c:v>
                      </c:pt>
                      <c:pt idx="533">
                        <c:v>35465</c:v>
                      </c:pt>
                      <c:pt idx="534">
                        <c:v>35466</c:v>
                      </c:pt>
                      <c:pt idx="535">
                        <c:v>35467</c:v>
                      </c:pt>
                      <c:pt idx="536">
                        <c:v>35468</c:v>
                      </c:pt>
                      <c:pt idx="537">
                        <c:v>35471</c:v>
                      </c:pt>
                      <c:pt idx="538">
                        <c:v>35472</c:v>
                      </c:pt>
                      <c:pt idx="539">
                        <c:v>35473</c:v>
                      </c:pt>
                      <c:pt idx="540">
                        <c:v>35474</c:v>
                      </c:pt>
                      <c:pt idx="541">
                        <c:v>35475</c:v>
                      </c:pt>
                      <c:pt idx="542">
                        <c:v>35478</c:v>
                      </c:pt>
                      <c:pt idx="543">
                        <c:v>35479</c:v>
                      </c:pt>
                      <c:pt idx="544">
                        <c:v>35480</c:v>
                      </c:pt>
                      <c:pt idx="545">
                        <c:v>35481</c:v>
                      </c:pt>
                      <c:pt idx="546">
                        <c:v>35482</c:v>
                      </c:pt>
                      <c:pt idx="547">
                        <c:v>35485</c:v>
                      </c:pt>
                      <c:pt idx="548">
                        <c:v>35486</c:v>
                      </c:pt>
                      <c:pt idx="549">
                        <c:v>35487</c:v>
                      </c:pt>
                      <c:pt idx="550">
                        <c:v>35488</c:v>
                      </c:pt>
                      <c:pt idx="551">
                        <c:v>35489</c:v>
                      </c:pt>
                      <c:pt idx="552">
                        <c:v>35492</c:v>
                      </c:pt>
                      <c:pt idx="553">
                        <c:v>35493</c:v>
                      </c:pt>
                      <c:pt idx="554">
                        <c:v>35494</c:v>
                      </c:pt>
                      <c:pt idx="555">
                        <c:v>35495</c:v>
                      </c:pt>
                      <c:pt idx="556">
                        <c:v>35496</c:v>
                      </c:pt>
                      <c:pt idx="557">
                        <c:v>35499</c:v>
                      </c:pt>
                      <c:pt idx="558">
                        <c:v>35500</c:v>
                      </c:pt>
                      <c:pt idx="559">
                        <c:v>35501</c:v>
                      </c:pt>
                      <c:pt idx="560">
                        <c:v>35502</c:v>
                      </c:pt>
                      <c:pt idx="561">
                        <c:v>35503</c:v>
                      </c:pt>
                      <c:pt idx="562">
                        <c:v>35506</c:v>
                      </c:pt>
                      <c:pt idx="563">
                        <c:v>35507</c:v>
                      </c:pt>
                      <c:pt idx="564">
                        <c:v>35508</c:v>
                      </c:pt>
                      <c:pt idx="565">
                        <c:v>35509</c:v>
                      </c:pt>
                      <c:pt idx="566">
                        <c:v>35510</c:v>
                      </c:pt>
                      <c:pt idx="567">
                        <c:v>35513</c:v>
                      </c:pt>
                      <c:pt idx="568">
                        <c:v>35514</c:v>
                      </c:pt>
                      <c:pt idx="569">
                        <c:v>35515</c:v>
                      </c:pt>
                      <c:pt idx="570">
                        <c:v>35516</c:v>
                      </c:pt>
                      <c:pt idx="571">
                        <c:v>35517</c:v>
                      </c:pt>
                      <c:pt idx="572">
                        <c:v>35520</c:v>
                      </c:pt>
                      <c:pt idx="573">
                        <c:v>35521</c:v>
                      </c:pt>
                      <c:pt idx="574">
                        <c:v>35522</c:v>
                      </c:pt>
                      <c:pt idx="575">
                        <c:v>35523</c:v>
                      </c:pt>
                      <c:pt idx="576">
                        <c:v>35524</c:v>
                      </c:pt>
                      <c:pt idx="577">
                        <c:v>35527</c:v>
                      </c:pt>
                      <c:pt idx="578">
                        <c:v>35528</c:v>
                      </c:pt>
                      <c:pt idx="579">
                        <c:v>35529</c:v>
                      </c:pt>
                      <c:pt idx="580">
                        <c:v>35530</c:v>
                      </c:pt>
                      <c:pt idx="581">
                        <c:v>35531</c:v>
                      </c:pt>
                      <c:pt idx="582">
                        <c:v>35534</c:v>
                      </c:pt>
                      <c:pt idx="583">
                        <c:v>35535</c:v>
                      </c:pt>
                      <c:pt idx="584">
                        <c:v>35536</c:v>
                      </c:pt>
                      <c:pt idx="585">
                        <c:v>35537</c:v>
                      </c:pt>
                      <c:pt idx="586">
                        <c:v>35538</c:v>
                      </c:pt>
                      <c:pt idx="587">
                        <c:v>35541</c:v>
                      </c:pt>
                      <c:pt idx="588">
                        <c:v>35542</c:v>
                      </c:pt>
                      <c:pt idx="589">
                        <c:v>35543</c:v>
                      </c:pt>
                      <c:pt idx="590">
                        <c:v>35544</c:v>
                      </c:pt>
                      <c:pt idx="591">
                        <c:v>35545</c:v>
                      </c:pt>
                      <c:pt idx="592">
                        <c:v>35548</c:v>
                      </c:pt>
                      <c:pt idx="593">
                        <c:v>35549</c:v>
                      </c:pt>
                      <c:pt idx="594">
                        <c:v>35550</c:v>
                      </c:pt>
                      <c:pt idx="595">
                        <c:v>35551</c:v>
                      </c:pt>
                      <c:pt idx="596">
                        <c:v>35552</c:v>
                      </c:pt>
                      <c:pt idx="597">
                        <c:v>35555</c:v>
                      </c:pt>
                      <c:pt idx="598">
                        <c:v>35556</c:v>
                      </c:pt>
                      <c:pt idx="599">
                        <c:v>35557</c:v>
                      </c:pt>
                      <c:pt idx="600">
                        <c:v>35558</c:v>
                      </c:pt>
                      <c:pt idx="601">
                        <c:v>35559</c:v>
                      </c:pt>
                      <c:pt idx="602">
                        <c:v>35562</c:v>
                      </c:pt>
                      <c:pt idx="603">
                        <c:v>35563</c:v>
                      </c:pt>
                      <c:pt idx="604">
                        <c:v>35564</c:v>
                      </c:pt>
                      <c:pt idx="605">
                        <c:v>35565</c:v>
                      </c:pt>
                      <c:pt idx="606">
                        <c:v>35566</c:v>
                      </c:pt>
                      <c:pt idx="607">
                        <c:v>35569</c:v>
                      </c:pt>
                      <c:pt idx="608">
                        <c:v>35570</c:v>
                      </c:pt>
                      <c:pt idx="609">
                        <c:v>35571</c:v>
                      </c:pt>
                      <c:pt idx="610">
                        <c:v>35572</c:v>
                      </c:pt>
                      <c:pt idx="611">
                        <c:v>35573</c:v>
                      </c:pt>
                      <c:pt idx="612">
                        <c:v>35576</c:v>
                      </c:pt>
                      <c:pt idx="613">
                        <c:v>35577</c:v>
                      </c:pt>
                      <c:pt idx="614">
                        <c:v>35578</c:v>
                      </c:pt>
                      <c:pt idx="615">
                        <c:v>35579</c:v>
                      </c:pt>
                      <c:pt idx="616">
                        <c:v>35580</c:v>
                      </c:pt>
                      <c:pt idx="617">
                        <c:v>35583</c:v>
                      </c:pt>
                      <c:pt idx="618">
                        <c:v>35584</c:v>
                      </c:pt>
                      <c:pt idx="619">
                        <c:v>35585</c:v>
                      </c:pt>
                      <c:pt idx="620">
                        <c:v>35586</c:v>
                      </c:pt>
                      <c:pt idx="621">
                        <c:v>35587</c:v>
                      </c:pt>
                      <c:pt idx="622">
                        <c:v>35590</c:v>
                      </c:pt>
                      <c:pt idx="623">
                        <c:v>35591</c:v>
                      </c:pt>
                      <c:pt idx="624">
                        <c:v>35592</c:v>
                      </c:pt>
                      <c:pt idx="625">
                        <c:v>35593</c:v>
                      </c:pt>
                      <c:pt idx="626">
                        <c:v>35594</c:v>
                      </c:pt>
                      <c:pt idx="627">
                        <c:v>35597</c:v>
                      </c:pt>
                      <c:pt idx="628">
                        <c:v>35598</c:v>
                      </c:pt>
                      <c:pt idx="629">
                        <c:v>35599</c:v>
                      </c:pt>
                      <c:pt idx="630">
                        <c:v>35600</c:v>
                      </c:pt>
                      <c:pt idx="631">
                        <c:v>35601</c:v>
                      </c:pt>
                      <c:pt idx="632">
                        <c:v>35604</c:v>
                      </c:pt>
                      <c:pt idx="633">
                        <c:v>35605</c:v>
                      </c:pt>
                      <c:pt idx="634">
                        <c:v>35606</c:v>
                      </c:pt>
                      <c:pt idx="635">
                        <c:v>35607</c:v>
                      </c:pt>
                      <c:pt idx="636">
                        <c:v>35608</c:v>
                      </c:pt>
                      <c:pt idx="637">
                        <c:v>35611</c:v>
                      </c:pt>
                      <c:pt idx="638">
                        <c:v>35612</c:v>
                      </c:pt>
                      <c:pt idx="639">
                        <c:v>35613</c:v>
                      </c:pt>
                      <c:pt idx="640">
                        <c:v>35614</c:v>
                      </c:pt>
                      <c:pt idx="641">
                        <c:v>35615</c:v>
                      </c:pt>
                      <c:pt idx="642">
                        <c:v>35618</c:v>
                      </c:pt>
                      <c:pt idx="643">
                        <c:v>35619</c:v>
                      </c:pt>
                      <c:pt idx="644">
                        <c:v>35620</c:v>
                      </c:pt>
                      <c:pt idx="645">
                        <c:v>35621</c:v>
                      </c:pt>
                      <c:pt idx="646">
                        <c:v>35622</c:v>
                      </c:pt>
                      <c:pt idx="647">
                        <c:v>35625</c:v>
                      </c:pt>
                      <c:pt idx="648">
                        <c:v>35626</c:v>
                      </c:pt>
                      <c:pt idx="649">
                        <c:v>35627</c:v>
                      </c:pt>
                      <c:pt idx="650">
                        <c:v>35628</c:v>
                      </c:pt>
                      <c:pt idx="651">
                        <c:v>35629</c:v>
                      </c:pt>
                      <c:pt idx="652">
                        <c:v>35632</c:v>
                      </c:pt>
                      <c:pt idx="653">
                        <c:v>35633</c:v>
                      </c:pt>
                      <c:pt idx="654">
                        <c:v>35634</c:v>
                      </c:pt>
                      <c:pt idx="655">
                        <c:v>35635</c:v>
                      </c:pt>
                      <c:pt idx="656">
                        <c:v>35636</c:v>
                      </c:pt>
                      <c:pt idx="657">
                        <c:v>35639</c:v>
                      </c:pt>
                      <c:pt idx="658">
                        <c:v>35640</c:v>
                      </c:pt>
                      <c:pt idx="659">
                        <c:v>35641</c:v>
                      </c:pt>
                      <c:pt idx="660">
                        <c:v>35642</c:v>
                      </c:pt>
                      <c:pt idx="661">
                        <c:v>35643</c:v>
                      </c:pt>
                      <c:pt idx="662">
                        <c:v>35646</c:v>
                      </c:pt>
                      <c:pt idx="663">
                        <c:v>35647</c:v>
                      </c:pt>
                      <c:pt idx="664">
                        <c:v>35648</c:v>
                      </c:pt>
                      <c:pt idx="665">
                        <c:v>35649</c:v>
                      </c:pt>
                      <c:pt idx="666">
                        <c:v>35650</c:v>
                      </c:pt>
                      <c:pt idx="667">
                        <c:v>35653</c:v>
                      </c:pt>
                      <c:pt idx="668">
                        <c:v>35654</c:v>
                      </c:pt>
                      <c:pt idx="669">
                        <c:v>35655</c:v>
                      </c:pt>
                      <c:pt idx="670">
                        <c:v>35656</c:v>
                      </c:pt>
                      <c:pt idx="671">
                        <c:v>35657</c:v>
                      </c:pt>
                      <c:pt idx="672">
                        <c:v>35660</c:v>
                      </c:pt>
                      <c:pt idx="673">
                        <c:v>35661</c:v>
                      </c:pt>
                      <c:pt idx="674">
                        <c:v>35662</c:v>
                      </c:pt>
                      <c:pt idx="675">
                        <c:v>35663</c:v>
                      </c:pt>
                      <c:pt idx="676">
                        <c:v>35664</c:v>
                      </c:pt>
                      <c:pt idx="677">
                        <c:v>35667</c:v>
                      </c:pt>
                      <c:pt idx="678">
                        <c:v>35668</c:v>
                      </c:pt>
                      <c:pt idx="679">
                        <c:v>35669</c:v>
                      </c:pt>
                      <c:pt idx="680">
                        <c:v>35670</c:v>
                      </c:pt>
                      <c:pt idx="681">
                        <c:v>35671</c:v>
                      </c:pt>
                      <c:pt idx="682">
                        <c:v>35674</c:v>
                      </c:pt>
                      <c:pt idx="683">
                        <c:v>35675</c:v>
                      </c:pt>
                      <c:pt idx="684">
                        <c:v>35676</c:v>
                      </c:pt>
                      <c:pt idx="685">
                        <c:v>35677</c:v>
                      </c:pt>
                      <c:pt idx="686">
                        <c:v>35678</c:v>
                      </c:pt>
                      <c:pt idx="687">
                        <c:v>35681</c:v>
                      </c:pt>
                      <c:pt idx="688">
                        <c:v>35682</c:v>
                      </c:pt>
                      <c:pt idx="689">
                        <c:v>35683</c:v>
                      </c:pt>
                      <c:pt idx="690">
                        <c:v>35684</c:v>
                      </c:pt>
                      <c:pt idx="691">
                        <c:v>35685</c:v>
                      </c:pt>
                      <c:pt idx="692">
                        <c:v>35688</c:v>
                      </c:pt>
                      <c:pt idx="693">
                        <c:v>35689</c:v>
                      </c:pt>
                      <c:pt idx="694">
                        <c:v>35690</c:v>
                      </c:pt>
                      <c:pt idx="695">
                        <c:v>35691</c:v>
                      </c:pt>
                      <c:pt idx="696">
                        <c:v>35692</c:v>
                      </c:pt>
                      <c:pt idx="697">
                        <c:v>35695</c:v>
                      </c:pt>
                      <c:pt idx="698">
                        <c:v>35696</c:v>
                      </c:pt>
                      <c:pt idx="699">
                        <c:v>35697</c:v>
                      </c:pt>
                      <c:pt idx="700">
                        <c:v>35698</c:v>
                      </c:pt>
                      <c:pt idx="701">
                        <c:v>35699</c:v>
                      </c:pt>
                      <c:pt idx="702">
                        <c:v>35702</c:v>
                      </c:pt>
                      <c:pt idx="703">
                        <c:v>35703</c:v>
                      </c:pt>
                      <c:pt idx="704">
                        <c:v>35704</c:v>
                      </c:pt>
                      <c:pt idx="705">
                        <c:v>35705</c:v>
                      </c:pt>
                      <c:pt idx="706">
                        <c:v>35706</c:v>
                      </c:pt>
                      <c:pt idx="707">
                        <c:v>35709</c:v>
                      </c:pt>
                      <c:pt idx="708">
                        <c:v>35710</c:v>
                      </c:pt>
                      <c:pt idx="709">
                        <c:v>35711</c:v>
                      </c:pt>
                      <c:pt idx="710">
                        <c:v>35712</c:v>
                      </c:pt>
                      <c:pt idx="711">
                        <c:v>35713</c:v>
                      </c:pt>
                      <c:pt idx="712">
                        <c:v>35716</c:v>
                      </c:pt>
                      <c:pt idx="713">
                        <c:v>35717</c:v>
                      </c:pt>
                      <c:pt idx="714">
                        <c:v>35718</c:v>
                      </c:pt>
                      <c:pt idx="715">
                        <c:v>35719</c:v>
                      </c:pt>
                      <c:pt idx="716">
                        <c:v>35720</c:v>
                      </c:pt>
                      <c:pt idx="717">
                        <c:v>35723</c:v>
                      </c:pt>
                      <c:pt idx="718">
                        <c:v>35724</c:v>
                      </c:pt>
                      <c:pt idx="719">
                        <c:v>35725</c:v>
                      </c:pt>
                      <c:pt idx="720">
                        <c:v>35726</c:v>
                      </c:pt>
                      <c:pt idx="721">
                        <c:v>35727</c:v>
                      </c:pt>
                      <c:pt idx="722">
                        <c:v>35730</c:v>
                      </c:pt>
                      <c:pt idx="723">
                        <c:v>35731</c:v>
                      </c:pt>
                      <c:pt idx="724">
                        <c:v>35732</c:v>
                      </c:pt>
                      <c:pt idx="725">
                        <c:v>35733</c:v>
                      </c:pt>
                      <c:pt idx="726">
                        <c:v>35734</c:v>
                      </c:pt>
                      <c:pt idx="727">
                        <c:v>35737</c:v>
                      </c:pt>
                      <c:pt idx="728">
                        <c:v>35738</c:v>
                      </c:pt>
                      <c:pt idx="729">
                        <c:v>35739</c:v>
                      </c:pt>
                      <c:pt idx="730">
                        <c:v>35740</c:v>
                      </c:pt>
                      <c:pt idx="731">
                        <c:v>35741</c:v>
                      </c:pt>
                      <c:pt idx="732">
                        <c:v>35744</c:v>
                      </c:pt>
                      <c:pt idx="733">
                        <c:v>35745</c:v>
                      </c:pt>
                      <c:pt idx="734">
                        <c:v>35746</c:v>
                      </c:pt>
                      <c:pt idx="735">
                        <c:v>35747</c:v>
                      </c:pt>
                      <c:pt idx="736">
                        <c:v>35748</c:v>
                      </c:pt>
                      <c:pt idx="737">
                        <c:v>35751</c:v>
                      </c:pt>
                      <c:pt idx="738">
                        <c:v>35752</c:v>
                      </c:pt>
                      <c:pt idx="739">
                        <c:v>35753</c:v>
                      </c:pt>
                      <c:pt idx="740">
                        <c:v>35754</c:v>
                      </c:pt>
                      <c:pt idx="741">
                        <c:v>35755</c:v>
                      </c:pt>
                      <c:pt idx="742">
                        <c:v>35758</c:v>
                      </c:pt>
                      <c:pt idx="743">
                        <c:v>35759</c:v>
                      </c:pt>
                      <c:pt idx="744">
                        <c:v>35760</c:v>
                      </c:pt>
                      <c:pt idx="745">
                        <c:v>35761</c:v>
                      </c:pt>
                      <c:pt idx="746">
                        <c:v>35762</c:v>
                      </c:pt>
                      <c:pt idx="747">
                        <c:v>35765</c:v>
                      </c:pt>
                      <c:pt idx="748">
                        <c:v>35766</c:v>
                      </c:pt>
                      <c:pt idx="749">
                        <c:v>35767</c:v>
                      </c:pt>
                      <c:pt idx="750">
                        <c:v>35768</c:v>
                      </c:pt>
                      <c:pt idx="751">
                        <c:v>35769</c:v>
                      </c:pt>
                      <c:pt idx="752">
                        <c:v>35772</c:v>
                      </c:pt>
                      <c:pt idx="753">
                        <c:v>35773</c:v>
                      </c:pt>
                      <c:pt idx="754">
                        <c:v>35774</c:v>
                      </c:pt>
                      <c:pt idx="755">
                        <c:v>35775</c:v>
                      </c:pt>
                      <c:pt idx="756">
                        <c:v>35776</c:v>
                      </c:pt>
                      <c:pt idx="757">
                        <c:v>35779</c:v>
                      </c:pt>
                      <c:pt idx="758">
                        <c:v>35780</c:v>
                      </c:pt>
                      <c:pt idx="759">
                        <c:v>35781</c:v>
                      </c:pt>
                      <c:pt idx="760">
                        <c:v>35782</c:v>
                      </c:pt>
                      <c:pt idx="761">
                        <c:v>35783</c:v>
                      </c:pt>
                      <c:pt idx="762">
                        <c:v>35786</c:v>
                      </c:pt>
                      <c:pt idx="763">
                        <c:v>35787</c:v>
                      </c:pt>
                      <c:pt idx="764">
                        <c:v>35788</c:v>
                      </c:pt>
                      <c:pt idx="765">
                        <c:v>35789</c:v>
                      </c:pt>
                      <c:pt idx="766">
                        <c:v>35790</c:v>
                      </c:pt>
                      <c:pt idx="767">
                        <c:v>35793</c:v>
                      </c:pt>
                      <c:pt idx="768">
                        <c:v>35794</c:v>
                      </c:pt>
                      <c:pt idx="769">
                        <c:v>35795</c:v>
                      </c:pt>
                      <c:pt idx="770">
                        <c:v>35796</c:v>
                      </c:pt>
                      <c:pt idx="771">
                        <c:v>35797</c:v>
                      </c:pt>
                      <c:pt idx="772">
                        <c:v>35800</c:v>
                      </c:pt>
                      <c:pt idx="773">
                        <c:v>35801</c:v>
                      </c:pt>
                      <c:pt idx="774">
                        <c:v>35802</c:v>
                      </c:pt>
                      <c:pt idx="775">
                        <c:v>35803</c:v>
                      </c:pt>
                      <c:pt idx="776">
                        <c:v>35804</c:v>
                      </c:pt>
                      <c:pt idx="777">
                        <c:v>35807</c:v>
                      </c:pt>
                      <c:pt idx="778">
                        <c:v>35808</c:v>
                      </c:pt>
                      <c:pt idx="779">
                        <c:v>35809</c:v>
                      </c:pt>
                      <c:pt idx="780">
                        <c:v>35810</c:v>
                      </c:pt>
                      <c:pt idx="781">
                        <c:v>35811</c:v>
                      </c:pt>
                      <c:pt idx="782">
                        <c:v>35814</c:v>
                      </c:pt>
                      <c:pt idx="783">
                        <c:v>35815</c:v>
                      </c:pt>
                      <c:pt idx="784">
                        <c:v>35816</c:v>
                      </c:pt>
                      <c:pt idx="785">
                        <c:v>35817</c:v>
                      </c:pt>
                      <c:pt idx="786">
                        <c:v>35818</c:v>
                      </c:pt>
                      <c:pt idx="787">
                        <c:v>35821</c:v>
                      </c:pt>
                      <c:pt idx="788">
                        <c:v>35822</c:v>
                      </c:pt>
                      <c:pt idx="789">
                        <c:v>35823</c:v>
                      </c:pt>
                      <c:pt idx="790">
                        <c:v>35824</c:v>
                      </c:pt>
                      <c:pt idx="791">
                        <c:v>35825</c:v>
                      </c:pt>
                      <c:pt idx="792">
                        <c:v>35828</c:v>
                      </c:pt>
                      <c:pt idx="793">
                        <c:v>35829</c:v>
                      </c:pt>
                      <c:pt idx="794">
                        <c:v>35830</c:v>
                      </c:pt>
                      <c:pt idx="795">
                        <c:v>35831</c:v>
                      </c:pt>
                      <c:pt idx="796">
                        <c:v>35832</c:v>
                      </c:pt>
                      <c:pt idx="797">
                        <c:v>35835</c:v>
                      </c:pt>
                      <c:pt idx="798">
                        <c:v>35836</c:v>
                      </c:pt>
                      <c:pt idx="799">
                        <c:v>35837</c:v>
                      </c:pt>
                      <c:pt idx="800">
                        <c:v>35838</c:v>
                      </c:pt>
                      <c:pt idx="801">
                        <c:v>35839</c:v>
                      </c:pt>
                      <c:pt idx="802">
                        <c:v>35842</c:v>
                      </c:pt>
                      <c:pt idx="803">
                        <c:v>35843</c:v>
                      </c:pt>
                      <c:pt idx="804">
                        <c:v>35844</c:v>
                      </c:pt>
                      <c:pt idx="805">
                        <c:v>35845</c:v>
                      </c:pt>
                      <c:pt idx="806">
                        <c:v>35846</c:v>
                      </c:pt>
                      <c:pt idx="807">
                        <c:v>35849</c:v>
                      </c:pt>
                      <c:pt idx="808">
                        <c:v>35850</c:v>
                      </c:pt>
                      <c:pt idx="809">
                        <c:v>35851</c:v>
                      </c:pt>
                      <c:pt idx="810">
                        <c:v>35852</c:v>
                      </c:pt>
                      <c:pt idx="811">
                        <c:v>35853</c:v>
                      </c:pt>
                      <c:pt idx="812">
                        <c:v>35856</c:v>
                      </c:pt>
                      <c:pt idx="813">
                        <c:v>35857</c:v>
                      </c:pt>
                      <c:pt idx="814">
                        <c:v>35858</c:v>
                      </c:pt>
                      <c:pt idx="815">
                        <c:v>35859</c:v>
                      </c:pt>
                      <c:pt idx="816">
                        <c:v>35860</c:v>
                      </c:pt>
                      <c:pt idx="817">
                        <c:v>35863</c:v>
                      </c:pt>
                      <c:pt idx="818">
                        <c:v>35864</c:v>
                      </c:pt>
                      <c:pt idx="819">
                        <c:v>35865</c:v>
                      </c:pt>
                      <c:pt idx="820">
                        <c:v>35866</c:v>
                      </c:pt>
                      <c:pt idx="821">
                        <c:v>35867</c:v>
                      </c:pt>
                      <c:pt idx="822">
                        <c:v>35870</c:v>
                      </c:pt>
                      <c:pt idx="823">
                        <c:v>35871</c:v>
                      </c:pt>
                      <c:pt idx="824">
                        <c:v>35872</c:v>
                      </c:pt>
                      <c:pt idx="825">
                        <c:v>35873</c:v>
                      </c:pt>
                      <c:pt idx="826">
                        <c:v>35874</c:v>
                      </c:pt>
                      <c:pt idx="827">
                        <c:v>35877</c:v>
                      </c:pt>
                      <c:pt idx="828">
                        <c:v>35878</c:v>
                      </c:pt>
                      <c:pt idx="829">
                        <c:v>35879</c:v>
                      </c:pt>
                      <c:pt idx="830">
                        <c:v>35880</c:v>
                      </c:pt>
                      <c:pt idx="831">
                        <c:v>35881</c:v>
                      </c:pt>
                      <c:pt idx="832">
                        <c:v>35884</c:v>
                      </c:pt>
                      <c:pt idx="833">
                        <c:v>35885</c:v>
                      </c:pt>
                      <c:pt idx="834">
                        <c:v>35886</c:v>
                      </c:pt>
                      <c:pt idx="835">
                        <c:v>35887</c:v>
                      </c:pt>
                      <c:pt idx="836">
                        <c:v>35888</c:v>
                      </c:pt>
                      <c:pt idx="837">
                        <c:v>35891</c:v>
                      </c:pt>
                      <c:pt idx="838">
                        <c:v>35892</c:v>
                      </c:pt>
                      <c:pt idx="839">
                        <c:v>35893</c:v>
                      </c:pt>
                      <c:pt idx="840">
                        <c:v>35894</c:v>
                      </c:pt>
                      <c:pt idx="841">
                        <c:v>35895</c:v>
                      </c:pt>
                      <c:pt idx="842">
                        <c:v>35898</c:v>
                      </c:pt>
                      <c:pt idx="843">
                        <c:v>35899</c:v>
                      </c:pt>
                      <c:pt idx="844">
                        <c:v>35900</c:v>
                      </c:pt>
                      <c:pt idx="845">
                        <c:v>35901</c:v>
                      </c:pt>
                      <c:pt idx="846">
                        <c:v>35902</c:v>
                      </c:pt>
                      <c:pt idx="847">
                        <c:v>35905</c:v>
                      </c:pt>
                      <c:pt idx="848">
                        <c:v>35906</c:v>
                      </c:pt>
                      <c:pt idx="849">
                        <c:v>35907</c:v>
                      </c:pt>
                      <c:pt idx="850">
                        <c:v>35908</c:v>
                      </c:pt>
                      <c:pt idx="851">
                        <c:v>35909</c:v>
                      </c:pt>
                      <c:pt idx="852">
                        <c:v>35912</c:v>
                      </c:pt>
                      <c:pt idx="853">
                        <c:v>35913</c:v>
                      </c:pt>
                      <c:pt idx="854">
                        <c:v>35914</c:v>
                      </c:pt>
                      <c:pt idx="855">
                        <c:v>35915</c:v>
                      </c:pt>
                      <c:pt idx="856">
                        <c:v>35916</c:v>
                      </c:pt>
                      <c:pt idx="857">
                        <c:v>35919</c:v>
                      </c:pt>
                      <c:pt idx="858">
                        <c:v>35920</c:v>
                      </c:pt>
                      <c:pt idx="859">
                        <c:v>35921</c:v>
                      </c:pt>
                      <c:pt idx="860">
                        <c:v>35922</c:v>
                      </c:pt>
                      <c:pt idx="861">
                        <c:v>35923</c:v>
                      </c:pt>
                      <c:pt idx="862">
                        <c:v>35926</c:v>
                      </c:pt>
                      <c:pt idx="863">
                        <c:v>35927</c:v>
                      </c:pt>
                      <c:pt idx="864">
                        <c:v>35928</c:v>
                      </c:pt>
                      <c:pt idx="865">
                        <c:v>35929</c:v>
                      </c:pt>
                      <c:pt idx="866">
                        <c:v>35930</c:v>
                      </c:pt>
                      <c:pt idx="867">
                        <c:v>35933</c:v>
                      </c:pt>
                      <c:pt idx="868">
                        <c:v>35934</c:v>
                      </c:pt>
                      <c:pt idx="869">
                        <c:v>35935</c:v>
                      </c:pt>
                      <c:pt idx="870">
                        <c:v>35936</c:v>
                      </c:pt>
                      <c:pt idx="871">
                        <c:v>35937</c:v>
                      </c:pt>
                      <c:pt idx="872">
                        <c:v>35940</c:v>
                      </c:pt>
                      <c:pt idx="873">
                        <c:v>35941</c:v>
                      </c:pt>
                      <c:pt idx="874">
                        <c:v>35942</c:v>
                      </c:pt>
                      <c:pt idx="875">
                        <c:v>35943</c:v>
                      </c:pt>
                      <c:pt idx="876">
                        <c:v>35944</c:v>
                      </c:pt>
                      <c:pt idx="877">
                        <c:v>35947</c:v>
                      </c:pt>
                      <c:pt idx="878">
                        <c:v>35948</c:v>
                      </c:pt>
                      <c:pt idx="879">
                        <c:v>35949</c:v>
                      </c:pt>
                      <c:pt idx="880">
                        <c:v>35950</c:v>
                      </c:pt>
                      <c:pt idx="881">
                        <c:v>35951</c:v>
                      </c:pt>
                      <c:pt idx="882">
                        <c:v>35954</c:v>
                      </c:pt>
                      <c:pt idx="883">
                        <c:v>35955</c:v>
                      </c:pt>
                      <c:pt idx="884">
                        <c:v>35956</c:v>
                      </c:pt>
                      <c:pt idx="885">
                        <c:v>35957</c:v>
                      </c:pt>
                      <c:pt idx="886">
                        <c:v>35958</c:v>
                      </c:pt>
                      <c:pt idx="887">
                        <c:v>35961</c:v>
                      </c:pt>
                      <c:pt idx="888">
                        <c:v>35962</c:v>
                      </c:pt>
                      <c:pt idx="889">
                        <c:v>35963</c:v>
                      </c:pt>
                      <c:pt idx="890">
                        <c:v>35964</c:v>
                      </c:pt>
                      <c:pt idx="891">
                        <c:v>35965</c:v>
                      </c:pt>
                      <c:pt idx="892">
                        <c:v>35968</c:v>
                      </c:pt>
                      <c:pt idx="893">
                        <c:v>35969</c:v>
                      </c:pt>
                      <c:pt idx="894">
                        <c:v>35970</c:v>
                      </c:pt>
                      <c:pt idx="895">
                        <c:v>35971</c:v>
                      </c:pt>
                      <c:pt idx="896">
                        <c:v>35972</c:v>
                      </c:pt>
                      <c:pt idx="897">
                        <c:v>35975</c:v>
                      </c:pt>
                      <c:pt idx="898">
                        <c:v>35976</c:v>
                      </c:pt>
                      <c:pt idx="899">
                        <c:v>35977</c:v>
                      </c:pt>
                      <c:pt idx="900">
                        <c:v>35978</c:v>
                      </c:pt>
                      <c:pt idx="901">
                        <c:v>35979</c:v>
                      </c:pt>
                      <c:pt idx="902">
                        <c:v>35982</c:v>
                      </c:pt>
                      <c:pt idx="903">
                        <c:v>35983</c:v>
                      </c:pt>
                      <c:pt idx="904">
                        <c:v>35984</c:v>
                      </c:pt>
                      <c:pt idx="905">
                        <c:v>35985</c:v>
                      </c:pt>
                      <c:pt idx="906">
                        <c:v>35986</c:v>
                      </c:pt>
                      <c:pt idx="907">
                        <c:v>35989</c:v>
                      </c:pt>
                      <c:pt idx="908">
                        <c:v>35990</c:v>
                      </c:pt>
                      <c:pt idx="909">
                        <c:v>35991</c:v>
                      </c:pt>
                      <c:pt idx="910">
                        <c:v>35992</c:v>
                      </c:pt>
                      <c:pt idx="911">
                        <c:v>35993</c:v>
                      </c:pt>
                      <c:pt idx="912">
                        <c:v>35996</c:v>
                      </c:pt>
                      <c:pt idx="913">
                        <c:v>35997</c:v>
                      </c:pt>
                      <c:pt idx="914">
                        <c:v>35998</c:v>
                      </c:pt>
                      <c:pt idx="915">
                        <c:v>35999</c:v>
                      </c:pt>
                      <c:pt idx="916">
                        <c:v>36000</c:v>
                      </c:pt>
                      <c:pt idx="917">
                        <c:v>36003</c:v>
                      </c:pt>
                      <c:pt idx="918">
                        <c:v>36004</c:v>
                      </c:pt>
                      <c:pt idx="919">
                        <c:v>36005</c:v>
                      </c:pt>
                      <c:pt idx="920">
                        <c:v>36006</c:v>
                      </c:pt>
                      <c:pt idx="921">
                        <c:v>36007</c:v>
                      </c:pt>
                      <c:pt idx="922">
                        <c:v>36010</c:v>
                      </c:pt>
                      <c:pt idx="923">
                        <c:v>36011</c:v>
                      </c:pt>
                      <c:pt idx="924">
                        <c:v>36012</c:v>
                      </c:pt>
                      <c:pt idx="925">
                        <c:v>36013</c:v>
                      </c:pt>
                      <c:pt idx="926">
                        <c:v>36014</c:v>
                      </c:pt>
                      <c:pt idx="927">
                        <c:v>36017</c:v>
                      </c:pt>
                      <c:pt idx="928">
                        <c:v>36018</c:v>
                      </c:pt>
                      <c:pt idx="929">
                        <c:v>36019</c:v>
                      </c:pt>
                      <c:pt idx="930">
                        <c:v>36020</c:v>
                      </c:pt>
                      <c:pt idx="931">
                        <c:v>36021</c:v>
                      </c:pt>
                      <c:pt idx="932">
                        <c:v>36024</c:v>
                      </c:pt>
                      <c:pt idx="933">
                        <c:v>36025</c:v>
                      </c:pt>
                      <c:pt idx="934">
                        <c:v>36026</c:v>
                      </c:pt>
                      <c:pt idx="935">
                        <c:v>36027</c:v>
                      </c:pt>
                      <c:pt idx="936">
                        <c:v>36028</c:v>
                      </c:pt>
                      <c:pt idx="937">
                        <c:v>36031</c:v>
                      </c:pt>
                      <c:pt idx="938">
                        <c:v>36032</c:v>
                      </c:pt>
                      <c:pt idx="939">
                        <c:v>36033</c:v>
                      </c:pt>
                      <c:pt idx="940">
                        <c:v>36034</c:v>
                      </c:pt>
                      <c:pt idx="941">
                        <c:v>36035</c:v>
                      </c:pt>
                      <c:pt idx="942">
                        <c:v>36038</c:v>
                      </c:pt>
                      <c:pt idx="943">
                        <c:v>36039</c:v>
                      </c:pt>
                      <c:pt idx="944">
                        <c:v>36040</c:v>
                      </c:pt>
                      <c:pt idx="945">
                        <c:v>36041</c:v>
                      </c:pt>
                      <c:pt idx="946">
                        <c:v>36042</c:v>
                      </c:pt>
                      <c:pt idx="947">
                        <c:v>36045</c:v>
                      </c:pt>
                      <c:pt idx="948">
                        <c:v>36046</c:v>
                      </c:pt>
                      <c:pt idx="949">
                        <c:v>36047</c:v>
                      </c:pt>
                      <c:pt idx="950">
                        <c:v>36048</c:v>
                      </c:pt>
                      <c:pt idx="951">
                        <c:v>36049</c:v>
                      </c:pt>
                      <c:pt idx="952">
                        <c:v>36052</c:v>
                      </c:pt>
                      <c:pt idx="953">
                        <c:v>36053</c:v>
                      </c:pt>
                      <c:pt idx="954">
                        <c:v>36054</c:v>
                      </c:pt>
                      <c:pt idx="955">
                        <c:v>36055</c:v>
                      </c:pt>
                      <c:pt idx="956">
                        <c:v>36056</c:v>
                      </c:pt>
                      <c:pt idx="957">
                        <c:v>36059</c:v>
                      </c:pt>
                      <c:pt idx="958">
                        <c:v>36060</c:v>
                      </c:pt>
                      <c:pt idx="959">
                        <c:v>36061</c:v>
                      </c:pt>
                      <c:pt idx="960">
                        <c:v>36062</c:v>
                      </c:pt>
                      <c:pt idx="961">
                        <c:v>36063</c:v>
                      </c:pt>
                      <c:pt idx="962">
                        <c:v>36066</c:v>
                      </c:pt>
                      <c:pt idx="963">
                        <c:v>36067</c:v>
                      </c:pt>
                      <c:pt idx="964">
                        <c:v>36068</c:v>
                      </c:pt>
                      <c:pt idx="965">
                        <c:v>36069</c:v>
                      </c:pt>
                      <c:pt idx="966">
                        <c:v>36070</c:v>
                      </c:pt>
                      <c:pt idx="967">
                        <c:v>36073</c:v>
                      </c:pt>
                      <c:pt idx="968">
                        <c:v>36074</c:v>
                      </c:pt>
                      <c:pt idx="969">
                        <c:v>36075</c:v>
                      </c:pt>
                      <c:pt idx="970">
                        <c:v>36076</c:v>
                      </c:pt>
                      <c:pt idx="971">
                        <c:v>36077</c:v>
                      </c:pt>
                      <c:pt idx="972">
                        <c:v>36080</c:v>
                      </c:pt>
                      <c:pt idx="973">
                        <c:v>36081</c:v>
                      </c:pt>
                      <c:pt idx="974">
                        <c:v>36082</c:v>
                      </c:pt>
                      <c:pt idx="975">
                        <c:v>36083</c:v>
                      </c:pt>
                      <c:pt idx="976">
                        <c:v>36084</c:v>
                      </c:pt>
                      <c:pt idx="977">
                        <c:v>36087</c:v>
                      </c:pt>
                      <c:pt idx="978">
                        <c:v>36088</c:v>
                      </c:pt>
                      <c:pt idx="979">
                        <c:v>36089</c:v>
                      </c:pt>
                      <c:pt idx="980">
                        <c:v>36090</c:v>
                      </c:pt>
                      <c:pt idx="981">
                        <c:v>36091</c:v>
                      </c:pt>
                      <c:pt idx="982">
                        <c:v>36094</c:v>
                      </c:pt>
                      <c:pt idx="983">
                        <c:v>36095</c:v>
                      </c:pt>
                      <c:pt idx="984">
                        <c:v>36096</c:v>
                      </c:pt>
                      <c:pt idx="985">
                        <c:v>36097</c:v>
                      </c:pt>
                      <c:pt idx="986">
                        <c:v>36098</c:v>
                      </c:pt>
                      <c:pt idx="987">
                        <c:v>36101</c:v>
                      </c:pt>
                      <c:pt idx="988">
                        <c:v>36102</c:v>
                      </c:pt>
                      <c:pt idx="989">
                        <c:v>36103</c:v>
                      </c:pt>
                      <c:pt idx="990">
                        <c:v>36104</c:v>
                      </c:pt>
                      <c:pt idx="991">
                        <c:v>36105</c:v>
                      </c:pt>
                      <c:pt idx="992">
                        <c:v>36108</c:v>
                      </c:pt>
                      <c:pt idx="993">
                        <c:v>36109</c:v>
                      </c:pt>
                      <c:pt idx="994">
                        <c:v>36110</c:v>
                      </c:pt>
                      <c:pt idx="995">
                        <c:v>36111</c:v>
                      </c:pt>
                      <c:pt idx="996">
                        <c:v>36112</c:v>
                      </c:pt>
                      <c:pt idx="997">
                        <c:v>36115</c:v>
                      </c:pt>
                      <c:pt idx="998">
                        <c:v>36116</c:v>
                      </c:pt>
                      <c:pt idx="999">
                        <c:v>36117</c:v>
                      </c:pt>
                      <c:pt idx="1000">
                        <c:v>36118</c:v>
                      </c:pt>
                      <c:pt idx="1001">
                        <c:v>36119</c:v>
                      </c:pt>
                      <c:pt idx="1002">
                        <c:v>36122</c:v>
                      </c:pt>
                      <c:pt idx="1003">
                        <c:v>36123</c:v>
                      </c:pt>
                      <c:pt idx="1004">
                        <c:v>36124</c:v>
                      </c:pt>
                      <c:pt idx="1005">
                        <c:v>36125</c:v>
                      </c:pt>
                      <c:pt idx="1006">
                        <c:v>36126</c:v>
                      </c:pt>
                      <c:pt idx="1007">
                        <c:v>36129</c:v>
                      </c:pt>
                      <c:pt idx="1008">
                        <c:v>36130</c:v>
                      </c:pt>
                      <c:pt idx="1009">
                        <c:v>36131</c:v>
                      </c:pt>
                      <c:pt idx="1010">
                        <c:v>36132</c:v>
                      </c:pt>
                      <c:pt idx="1011">
                        <c:v>36133</c:v>
                      </c:pt>
                      <c:pt idx="1012">
                        <c:v>36136</c:v>
                      </c:pt>
                      <c:pt idx="1013">
                        <c:v>36137</c:v>
                      </c:pt>
                      <c:pt idx="1014">
                        <c:v>36138</c:v>
                      </c:pt>
                      <c:pt idx="1015">
                        <c:v>36139</c:v>
                      </c:pt>
                      <c:pt idx="1016">
                        <c:v>36140</c:v>
                      </c:pt>
                      <c:pt idx="1017">
                        <c:v>36143</c:v>
                      </c:pt>
                      <c:pt idx="1018">
                        <c:v>36144</c:v>
                      </c:pt>
                      <c:pt idx="1019">
                        <c:v>36145</c:v>
                      </c:pt>
                      <c:pt idx="1020">
                        <c:v>36146</c:v>
                      </c:pt>
                      <c:pt idx="1021">
                        <c:v>36147</c:v>
                      </c:pt>
                      <c:pt idx="1022">
                        <c:v>36150</c:v>
                      </c:pt>
                      <c:pt idx="1023">
                        <c:v>36151</c:v>
                      </c:pt>
                      <c:pt idx="1024">
                        <c:v>36152</c:v>
                      </c:pt>
                      <c:pt idx="1025">
                        <c:v>36153</c:v>
                      </c:pt>
                      <c:pt idx="1026">
                        <c:v>36154</c:v>
                      </c:pt>
                      <c:pt idx="1027">
                        <c:v>36157</c:v>
                      </c:pt>
                      <c:pt idx="1028">
                        <c:v>36158</c:v>
                      </c:pt>
                      <c:pt idx="1029">
                        <c:v>36159</c:v>
                      </c:pt>
                      <c:pt idx="1030">
                        <c:v>36160</c:v>
                      </c:pt>
                      <c:pt idx="1031">
                        <c:v>36161</c:v>
                      </c:pt>
                      <c:pt idx="1032">
                        <c:v>36164</c:v>
                      </c:pt>
                      <c:pt idx="1033">
                        <c:v>36165</c:v>
                      </c:pt>
                      <c:pt idx="1034">
                        <c:v>36166</c:v>
                      </c:pt>
                      <c:pt idx="1035">
                        <c:v>36167</c:v>
                      </c:pt>
                      <c:pt idx="1036">
                        <c:v>36168</c:v>
                      </c:pt>
                      <c:pt idx="1037">
                        <c:v>36171</c:v>
                      </c:pt>
                      <c:pt idx="1038">
                        <c:v>36172</c:v>
                      </c:pt>
                      <c:pt idx="1039">
                        <c:v>36173</c:v>
                      </c:pt>
                      <c:pt idx="1040">
                        <c:v>36174</c:v>
                      </c:pt>
                      <c:pt idx="1041">
                        <c:v>36175</c:v>
                      </c:pt>
                      <c:pt idx="1042">
                        <c:v>36178</c:v>
                      </c:pt>
                      <c:pt idx="1043">
                        <c:v>36179</c:v>
                      </c:pt>
                      <c:pt idx="1044">
                        <c:v>36180</c:v>
                      </c:pt>
                      <c:pt idx="1045">
                        <c:v>36181</c:v>
                      </c:pt>
                      <c:pt idx="1046">
                        <c:v>36182</c:v>
                      </c:pt>
                      <c:pt idx="1047">
                        <c:v>36185</c:v>
                      </c:pt>
                      <c:pt idx="1048">
                        <c:v>36186</c:v>
                      </c:pt>
                      <c:pt idx="1049">
                        <c:v>36187</c:v>
                      </c:pt>
                      <c:pt idx="1050">
                        <c:v>36188</c:v>
                      </c:pt>
                      <c:pt idx="1051">
                        <c:v>36189</c:v>
                      </c:pt>
                      <c:pt idx="1052">
                        <c:v>36192</c:v>
                      </c:pt>
                      <c:pt idx="1053">
                        <c:v>36193</c:v>
                      </c:pt>
                      <c:pt idx="1054">
                        <c:v>36194</c:v>
                      </c:pt>
                      <c:pt idx="1055">
                        <c:v>36195</c:v>
                      </c:pt>
                      <c:pt idx="1056">
                        <c:v>36196</c:v>
                      </c:pt>
                      <c:pt idx="1057">
                        <c:v>36199</c:v>
                      </c:pt>
                      <c:pt idx="1058">
                        <c:v>36200</c:v>
                      </c:pt>
                      <c:pt idx="1059">
                        <c:v>36201</c:v>
                      </c:pt>
                      <c:pt idx="1060">
                        <c:v>36202</c:v>
                      </c:pt>
                      <c:pt idx="1061">
                        <c:v>36203</c:v>
                      </c:pt>
                      <c:pt idx="1062">
                        <c:v>36206</c:v>
                      </c:pt>
                      <c:pt idx="1063">
                        <c:v>36207</c:v>
                      </c:pt>
                      <c:pt idx="1064">
                        <c:v>36208</c:v>
                      </c:pt>
                      <c:pt idx="1065">
                        <c:v>36209</c:v>
                      </c:pt>
                      <c:pt idx="1066">
                        <c:v>36210</c:v>
                      </c:pt>
                      <c:pt idx="1067">
                        <c:v>36213</c:v>
                      </c:pt>
                      <c:pt idx="1068">
                        <c:v>36214</c:v>
                      </c:pt>
                      <c:pt idx="1069">
                        <c:v>36215</c:v>
                      </c:pt>
                      <c:pt idx="1070">
                        <c:v>36216</c:v>
                      </c:pt>
                      <c:pt idx="1071">
                        <c:v>36217</c:v>
                      </c:pt>
                      <c:pt idx="1072">
                        <c:v>36220</c:v>
                      </c:pt>
                      <c:pt idx="1073">
                        <c:v>36221</c:v>
                      </c:pt>
                      <c:pt idx="1074">
                        <c:v>36222</c:v>
                      </c:pt>
                      <c:pt idx="1075">
                        <c:v>36223</c:v>
                      </c:pt>
                      <c:pt idx="1076">
                        <c:v>36224</c:v>
                      </c:pt>
                      <c:pt idx="1077">
                        <c:v>36227</c:v>
                      </c:pt>
                      <c:pt idx="1078">
                        <c:v>36228</c:v>
                      </c:pt>
                      <c:pt idx="1079">
                        <c:v>36229</c:v>
                      </c:pt>
                      <c:pt idx="1080">
                        <c:v>36230</c:v>
                      </c:pt>
                      <c:pt idx="1081">
                        <c:v>36231</c:v>
                      </c:pt>
                      <c:pt idx="1082">
                        <c:v>36234</c:v>
                      </c:pt>
                      <c:pt idx="1083">
                        <c:v>36235</c:v>
                      </c:pt>
                      <c:pt idx="1084">
                        <c:v>36236</c:v>
                      </c:pt>
                      <c:pt idx="1085">
                        <c:v>36237</c:v>
                      </c:pt>
                      <c:pt idx="1086">
                        <c:v>36238</c:v>
                      </c:pt>
                      <c:pt idx="1087">
                        <c:v>36241</c:v>
                      </c:pt>
                      <c:pt idx="1088">
                        <c:v>36242</c:v>
                      </c:pt>
                      <c:pt idx="1089">
                        <c:v>36243</c:v>
                      </c:pt>
                      <c:pt idx="1090">
                        <c:v>36244</c:v>
                      </c:pt>
                      <c:pt idx="1091">
                        <c:v>36245</c:v>
                      </c:pt>
                      <c:pt idx="1092">
                        <c:v>36248</c:v>
                      </c:pt>
                      <c:pt idx="1093">
                        <c:v>36249</c:v>
                      </c:pt>
                      <c:pt idx="1094">
                        <c:v>36250</c:v>
                      </c:pt>
                      <c:pt idx="1095">
                        <c:v>36251</c:v>
                      </c:pt>
                      <c:pt idx="1096">
                        <c:v>36252</c:v>
                      </c:pt>
                      <c:pt idx="1097">
                        <c:v>36255</c:v>
                      </c:pt>
                      <c:pt idx="1098">
                        <c:v>36256</c:v>
                      </c:pt>
                      <c:pt idx="1099">
                        <c:v>36257</c:v>
                      </c:pt>
                      <c:pt idx="1100">
                        <c:v>36258</c:v>
                      </c:pt>
                      <c:pt idx="1101">
                        <c:v>36259</c:v>
                      </c:pt>
                      <c:pt idx="1102">
                        <c:v>36262</c:v>
                      </c:pt>
                      <c:pt idx="1103">
                        <c:v>36263</c:v>
                      </c:pt>
                      <c:pt idx="1104">
                        <c:v>36264</c:v>
                      </c:pt>
                      <c:pt idx="1105">
                        <c:v>36265</c:v>
                      </c:pt>
                      <c:pt idx="1106">
                        <c:v>36266</c:v>
                      </c:pt>
                      <c:pt idx="1107">
                        <c:v>36269</c:v>
                      </c:pt>
                      <c:pt idx="1108">
                        <c:v>36270</c:v>
                      </c:pt>
                      <c:pt idx="1109">
                        <c:v>36271</c:v>
                      </c:pt>
                      <c:pt idx="1110">
                        <c:v>36272</c:v>
                      </c:pt>
                      <c:pt idx="1111">
                        <c:v>36273</c:v>
                      </c:pt>
                      <c:pt idx="1112">
                        <c:v>36276</c:v>
                      </c:pt>
                      <c:pt idx="1113">
                        <c:v>36277</c:v>
                      </c:pt>
                      <c:pt idx="1114">
                        <c:v>36278</c:v>
                      </c:pt>
                      <c:pt idx="1115">
                        <c:v>36279</c:v>
                      </c:pt>
                      <c:pt idx="1116">
                        <c:v>36280</c:v>
                      </c:pt>
                      <c:pt idx="1117">
                        <c:v>36283</c:v>
                      </c:pt>
                      <c:pt idx="1118">
                        <c:v>36284</c:v>
                      </c:pt>
                      <c:pt idx="1119">
                        <c:v>36285</c:v>
                      </c:pt>
                      <c:pt idx="1120">
                        <c:v>36286</c:v>
                      </c:pt>
                      <c:pt idx="1121">
                        <c:v>36287</c:v>
                      </c:pt>
                      <c:pt idx="1122">
                        <c:v>36290</c:v>
                      </c:pt>
                      <c:pt idx="1123">
                        <c:v>36291</c:v>
                      </c:pt>
                      <c:pt idx="1124">
                        <c:v>36292</c:v>
                      </c:pt>
                      <c:pt idx="1125">
                        <c:v>36293</c:v>
                      </c:pt>
                      <c:pt idx="1126">
                        <c:v>36294</c:v>
                      </c:pt>
                      <c:pt idx="1127">
                        <c:v>36297</c:v>
                      </c:pt>
                      <c:pt idx="1128">
                        <c:v>36298</c:v>
                      </c:pt>
                      <c:pt idx="1129">
                        <c:v>36299</c:v>
                      </c:pt>
                      <c:pt idx="1130">
                        <c:v>36300</c:v>
                      </c:pt>
                      <c:pt idx="1131">
                        <c:v>36301</c:v>
                      </c:pt>
                      <c:pt idx="1132">
                        <c:v>36304</c:v>
                      </c:pt>
                      <c:pt idx="1133">
                        <c:v>36305</c:v>
                      </c:pt>
                      <c:pt idx="1134">
                        <c:v>36306</c:v>
                      </c:pt>
                      <c:pt idx="1135">
                        <c:v>36307</c:v>
                      </c:pt>
                      <c:pt idx="1136">
                        <c:v>36308</c:v>
                      </c:pt>
                      <c:pt idx="1137">
                        <c:v>36311</c:v>
                      </c:pt>
                      <c:pt idx="1138">
                        <c:v>36312</c:v>
                      </c:pt>
                      <c:pt idx="1139">
                        <c:v>36313</c:v>
                      </c:pt>
                      <c:pt idx="1140">
                        <c:v>36314</c:v>
                      </c:pt>
                      <c:pt idx="1141">
                        <c:v>36315</c:v>
                      </c:pt>
                      <c:pt idx="1142">
                        <c:v>36318</c:v>
                      </c:pt>
                      <c:pt idx="1143">
                        <c:v>36319</c:v>
                      </c:pt>
                      <c:pt idx="1144">
                        <c:v>36320</c:v>
                      </c:pt>
                      <c:pt idx="1145">
                        <c:v>36321</c:v>
                      </c:pt>
                      <c:pt idx="1146">
                        <c:v>36322</c:v>
                      </c:pt>
                      <c:pt idx="1147">
                        <c:v>36325</c:v>
                      </c:pt>
                      <c:pt idx="1148">
                        <c:v>36326</c:v>
                      </c:pt>
                      <c:pt idx="1149">
                        <c:v>36327</c:v>
                      </c:pt>
                      <c:pt idx="1150">
                        <c:v>36328</c:v>
                      </c:pt>
                      <c:pt idx="1151">
                        <c:v>36329</c:v>
                      </c:pt>
                      <c:pt idx="1152">
                        <c:v>36332</c:v>
                      </c:pt>
                      <c:pt idx="1153">
                        <c:v>36333</c:v>
                      </c:pt>
                      <c:pt idx="1154">
                        <c:v>36334</c:v>
                      </c:pt>
                      <c:pt idx="1155">
                        <c:v>36335</c:v>
                      </c:pt>
                      <c:pt idx="1156">
                        <c:v>36336</c:v>
                      </c:pt>
                      <c:pt idx="1157">
                        <c:v>36339</c:v>
                      </c:pt>
                      <c:pt idx="1158">
                        <c:v>36340</c:v>
                      </c:pt>
                      <c:pt idx="1159">
                        <c:v>36341</c:v>
                      </c:pt>
                      <c:pt idx="1160">
                        <c:v>36342</c:v>
                      </c:pt>
                      <c:pt idx="1161">
                        <c:v>36343</c:v>
                      </c:pt>
                      <c:pt idx="1162">
                        <c:v>36346</c:v>
                      </c:pt>
                      <c:pt idx="1163">
                        <c:v>36347</c:v>
                      </c:pt>
                      <c:pt idx="1164">
                        <c:v>36348</c:v>
                      </c:pt>
                      <c:pt idx="1165">
                        <c:v>36349</c:v>
                      </c:pt>
                      <c:pt idx="1166">
                        <c:v>36350</c:v>
                      </c:pt>
                      <c:pt idx="1167">
                        <c:v>36353</c:v>
                      </c:pt>
                      <c:pt idx="1168">
                        <c:v>36354</c:v>
                      </c:pt>
                      <c:pt idx="1169">
                        <c:v>36355</c:v>
                      </c:pt>
                      <c:pt idx="1170">
                        <c:v>36356</c:v>
                      </c:pt>
                      <c:pt idx="1171">
                        <c:v>36357</c:v>
                      </c:pt>
                      <c:pt idx="1172">
                        <c:v>36360</c:v>
                      </c:pt>
                      <c:pt idx="1173">
                        <c:v>36361</c:v>
                      </c:pt>
                      <c:pt idx="1174">
                        <c:v>36362</c:v>
                      </c:pt>
                      <c:pt idx="1175">
                        <c:v>36363</c:v>
                      </c:pt>
                      <c:pt idx="1176">
                        <c:v>36364</c:v>
                      </c:pt>
                      <c:pt idx="1177">
                        <c:v>36367</c:v>
                      </c:pt>
                      <c:pt idx="1178">
                        <c:v>36368</c:v>
                      </c:pt>
                      <c:pt idx="1179">
                        <c:v>36369</c:v>
                      </c:pt>
                      <c:pt idx="1180">
                        <c:v>36370</c:v>
                      </c:pt>
                      <c:pt idx="1181">
                        <c:v>36371</c:v>
                      </c:pt>
                      <c:pt idx="1182">
                        <c:v>36374</c:v>
                      </c:pt>
                      <c:pt idx="1183">
                        <c:v>36375</c:v>
                      </c:pt>
                      <c:pt idx="1184">
                        <c:v>36376</c:v>
                      </c:pt>
                      <c:pt idx="1185">
                        <c:v>36377</c:v>
                      </c:pt>
                      <c:pt idx="1186">
                        <c:v>36378</c:v>
                      </c:pt>
                      <c:pt idx="1187">
                        <c:v>36381</c:v>
                      </c:pt>
                      <c:pt idx="1188">
                        <c:v>36382</c:v>
                      </c:pt>
                      <c:pt idx="1189">
                        <c:v>36383</c:v>
                      </c:pt>
                      <c:pt idx="1190">
                        <c:v>36384</c:v>
                      </c:pt>
                      <c:pt idx="1191">
                        <c:v>36385</c:v>
                      </c:pt>
                      <c:pt idx="1192">
                        <c:v>36388</c:v>
                      </c:pt>
                      <c:pt idx="1193">
                        <c:v>36389</c:v>
                      </c:pt>
                      <c:pt idx="1194">
                        <c:v>36390</c:v>
                      </c:pt>
                      <c:pt idx="1195">
                        <c:v>36391</c:v>
                      </c:pt>
                      <c:pt idx="1196">
                        <c:v>36392</c:v>
                      </c:pt>
                      <c:pt idx="1197">
                        <c:v>36395</c:v>
                      </c:pt>
                      <c:pt idx="1198">
                        <c:v>36396</c:v>
                      </c:pt>
                      <c:pt idx="1199">
                        <c:v>36397</c:v>
                      </c:pt>
                      <c:pt idx="1200">
                        <c:v>36398</c:v>
                      </c:pt>
                      <c:pt idx="1201">
                        <c:v>36399</c:v>
                      </c:pt>
                      <c:pt idx="1202">
                        <c:v>36402</c:v>
                      </c:pt>
                      <c:pt idx="1203">
                        <c:v>36403</c:v>
                      </c:pt>
                      <c:pt idx="1204">
                        <c:v>36404</c:v>
                      </c:pt>
                      <c:pt idx="1205">
                        <c:v>36405</c:v>
                      </c:pt>
                      <c:pt idx="1206">
                        <c:v>36406</c:v>
                      </c:pt>
                      <c:pt idx="1207">
                        <c:v>36409</c:v>
                      </c:pt>
                      <c:pt idx="1208">
                        <c:v>36410</c:v>
                      </c:pt>
                      <c:pt idx="1209">
                        <c:v>36411</c:v>
                      </c:pt>
                      <c:pt idx="1210">
                        <c:v>36412</c:v>
                      </c:pt>
                      <c:pt idx="1211">
                        <c:v>36413</c:v>
                      </c:pt>
                      <c:pt idx="1212">
                        <c:v>36416</c:v>
                      </c:pt>
                      <c:pt idx="1213">
                        <c:v>36417</c:v>
                      </c:pt>
                      <c:pt idx="1214">
                        <c:v>36418</c:v>
                      </c:pt>
                      <c:pt idx="1215">
                        <c:v>36419</c:v>
                      </c:pt>
                      <c:pt idx="1216">
                        <c:v>36420</c:v>
                      </c:pt>
                      <c:pt idx="1217">
                        <c:v>36423</c:v>
                      </c:pt>
                      <c:pt idx="1218">
                        <c:v>36424</c:v>
                      </c:pt>
                      <c:pt idx="1219">
                        <c:v>36425</c:v>
                      </c:pt>
                      <c:pt idx="1220">
                        <c:v>36426</c:v>
                      </c:pt>
                      <c:pt idx="1221">
                        <c:v>36427</c:v>
                      </c:pt>
                      <c:pt idx="1222">
                        <c:v>36430</c:v>
                      </c:pt>
                      <c:pt idx="1223">
                        <c:v>36431</c:v>
                      </c:pt>
                      <c:pt idx="1224">
                        <c:v>36432</c:v>
                      </c:pt>
                      <c:pt idx="1225">
                        <c:v>36433</c:v>
                      </c:pt>
                      <c:pt idx="1226">
                        <c:v>36434</c:v>
                      </c:pt>
                      <c:pt idx="1227">
                        <c:v>36437</c:v>
                      </c:pt>
                      <c:pt idx="1228">
                        <c:v>36438</c:v>
                      </c:pt>
                      <c:pt idx="1229">
                        <c:v>36439</c:v>
                      </c:pt>
                      <c:pt idx="1230">
                        <c:v>36440</c:v>
                      </c:pt>
                      <c:pt idx="1231">
                        <c:v>36441</c:v>
                      </c:pt>
                      <c:pt idx="1232">
                        <c:v>36444</c:v>
                      </c:pt>
                      <c:pt idx="1233">
                        <c:v>36445</c:v>
                      </c:pt>
                      <c:pt idx="1234">
                        <c:v>36446</c:v>
                      </c:pt>
                      <c:pt idx="1235">
                        <c:v>36447</c:v>
                      </c:pt>
                      <c:pt idx="1236">
                        <c:v>36448</c:v>
                      </c:pt>
                      <c:pt idx="1237">
                        <c:v>36451</c:v>
                      </c:pt>
                      <c:pt idx="1238">
                        <c:v>36452</c:v>
                      </c:pt>
                      <c:pt idx="1239">
                        <c:v>36453</c:v>
                      </c:pt>
                      <c:pt idx="1240">
                        <c:v>36454</c:v>
                      </c:pt>
                      <c:pt idx="1241">
                        <c:v>36455</c:v>
                      </c:pt>
                      <c:pt idx="1242">
                        <c:v>36458</c:v>
                      </c:pt>
                      <c:pt idx="1243">
                        <c:v>36459</c:v>
                      </c:pt>
                      <c:pt idx="1244">
                        <c:v>36460</c:v>
                      </c:pt>
                      <c:pt idx="1245">
                        <c:v>36461</c:v>
                      </c:pt>
                      <c:pt idx="1246">
                        <c:v>36462</c:v>
                      </c:pt>
                      <c:pt idx="1247">
                        <c:v>36465</c:v>
                      </c:pt>
                      <c:pt idx="1248">
                        <c:v>36466</c:v>
                      </c:pt>
                      <c:pt idx="1249">
                        <c:v>36467</c:v>
                      </c:pt>
                      <c:pt idx="1250">
                        <c:v>36468</c:v>
                      </c:pt>
                      <c:pt idx="1251">
                        <c:v>36469</c:v>
                      </c:pt>
                      <c:pt idx="1252">
                        <c:v>36472</c:v>
                      </c:pt>
                      <c:pt idx="1253">
                        <c:v>36473</c:v>
                      </c:pt>
                      <c:pt idx="1254">
                        <c:v>36474</c:v>
                      </c:pt>
                      <c:pt idx="1255">
                        <c:v>36475</c:v>
                      </c:pt>
                      <c:pt idx="1256">
                        <c:v>36476</c:v>
                      </c:pt>
                      <c:pt idx="1257">
                        <c:v>36479</c:v>
                      </c:pt>
                      <c:pt idx="1258">
                        <c:v>36480</c:v>
                      </c:pt>
                      <c:pt idx="1259">
                        <c:v>36481</c:v>
                      </c:pt>
                      <c:pt idx="1260">
                        <c:v>36482</c:v>
                      </c:pt>
                      <c:pt idx="1261">
                        <c:v>36483</c:v>
                      </c:pt>
                      <c:pt idx="1262">
                        <c:v>36486</c:v>
                      </c:pt>
                      <c:pt idx="1263">
                        <c:v>36487</c:v>
                      </c:pt>
                      <c:pt idx="1264">
                        <c:v>36488</c:v>
                      </c:pt>
                      <c:pt idx="1265">
                        <c:v>36489</c:v>
                      </c:pt>
                      <c:pt idx="1266">
                        <c:v>36490</c:v>
                      </c:pt>
                      <c:pt idx="1267">
                        <c:v>36493</c:v>
                      </c:pt>
                      <c:pt idx="1268">
                        <c:v>36494</c:v>
                      </c:pt>
                      <c:pt idx="1269">
                        <c:v>36495</c:v>
                      </c:pt>
                      <c:pt idx="1270">
                        <c:v>36496</c:v>
                      </c:pt>
                      <c:pt idx="1271">
                        <c:v>36497</c:v>
                      </c:pt>
                      <c:pt idx="1272">
                        <c:v>36500</c:v>
                      </c:pt>
                      <c:pt idx="1273">
                        <c:v>36501</c:v>
                      </c:pt>
                      <c:pt idx="1274">
                        <c:v>36502</c:v>
                      </c:pt>
                      <c:pt idx="1275">
                        <c:v>36503</c:v>
                      </c:pt>
                      <c:pt idx="1276">
                        <c:v>36504</c:v>
                      </c:pt>
                      <c:pt idx="1277">
                        <c:v>36507</c:v>
                      </c:pt>
                      <c:pt idx="1278">
                        <c:v>36508</c:v>
                      </c:pt>
                      <c:pt idx="1279">
                        <c:v>36509</c:v>
                      </c:pt>
                      <c:pt idx="1280">
                        <c:v>36510</c:v>
                      </c:pt>
                      <c:pt idx="1281">
                        <c:v>36511</c:v>
                      </c:pt>
                      <c:pt idx="1282">
                        <c:v>36514</c:v>
                      </c:pt>
                      <c:pt idx="1283">
                        <c:v>36515</c:v>
                      </c:pt>
                      <c:pt idx="1284">
                        <c:v>36516</c:v>
                      </c:pt>
                      <c:pt idx="1285">
                        <c:v>36517</c:v>
                      </c:pt>
                      <c:pt idx="1286">
                        <c:v>36518</c:v>
                      </c:pt>
                      <c:pt idx="1287">
                        <c:v>36521</c:v>
                      </c:pt>
                      <c:pt idx="1288">
                        <c:v>36522</c:v>
                      </c:pt>
                      <c:pt idx="1289">
                        <c:v>36523</c:v>
                      </c:pt>
                      <c:pt idx="1290">
                        <c:v>36524</c:v>
                      </c:pt>
                      <c:pt idx="1291">
                        <c:v>36525</c:v>
                      </c:pt>
                      <c:pt idx="1292">
                        <c:v>36528</c:v>
                      </c:pt>
                      <c:pt idx="1293">
                        <c:v>36529</c:v>
                      </c:pt>
                      <c:pt idx="1294">
                        <c:v>36530</c:v>
                      </c:pt>
                      <c:pt idx="1295">
                        <c:v>36531</c:v>
                      </c:pt>
                      <c:pt idx="1296">
                        <c:v>36532</c:v>
                      </c:pt>
                      <c:pt idx="1297">
                        <c:v>36535</c:v>
                      </c:pt>
                      <c:pt idx="1298">
                        <c:v>36536</c:v>
                      </c:pt>
                      <c:pt idx="1299">
                        <c:v>36537</c:v>
                      </c:pt>
                      <c:pt idx="1300">
                        <c:v>36538</c:v>
                      </c:pt>
                      <c:pt idx="1301">
                        <c:v>36539</c:v>
                      </c:pt>
                      <c:pt idx="1302">
                        <c:v>36542</c:v>
                      </c:pt>
                      <c:pt idx="1303">
                        <c:v>36543</c:v>
                      </c:pt>
                      <c:pt idx="1304">
                        <c:v>36544</c:v>
                      </c:pt>
                      <c:pt idx="1305">
                        <c:v>36545</c:v>
                      </c:pt>
                      <c:pt idx="1306">
                        <c:v>36546</c:v>
                      </c:pt>
                      <c:pt idx="1307">
                        <c:v>36549</c:v>
                      </c:pt>
                      <c:pt idx="1308">
                        <c:v>36550</c:v>
                      </c:pt>
                      <c:pt idx="1309">
                        <c:v>36551</c:v>
                      </c:pt>
                      <c:pt idx="1310">
                        <c:v>36552</c:v>
                      </c:pt>
                      <c:pt idx="1311">
                        <c:v>36553</c:v>
                      </c:pt>
                      <c:pt idx="1312">
                        <c:v>36556</c:v>
                      </c:pt>
                      <c:pt idx="1313">
                        <c:v>36557</c:v>
                      </c:pt>
                      <c:pt idx="1314">
                        <c:v>36558</c:v>
                      </c:pt>
                      <c:pt idx="1315">
                        <c:v>36559</c:v>
                      </c:pt>
                      <c:pt idx="1316">
                        <c:v>36560</c:v>
                      </c:pt>
                      <c:pt idx="1317">
                        <c:v>36563</c:v>
                      </c:pt>
                      <c:pt idx="1318">
                        <c:v>36564</c:v>
                      </c:pt>
                      <c:pt idx="1319">
                        <c:v>36565</c:v>
                      </c:pt>
                      <c:pt idx="1320">
                        <c:v>36566</c:v>
                      </c:pt>
                      <c:pt idx="1321">
                        <c:v>36567</c:v>
                      </c:pt>
                      <c:pt idx="1322">
                        <c:v>36570</c:v>
                      </c:pt>
                      <c:pt idx="1323">
                        <c:v>36571</c:v>
                      </c:pt>
                      <c:pt idx="1324">
                        <c:v>36572</c:v>
                      </c:pt>
                      <c:pt idx="1325">
                        <c:v>36573</c:v>
                      </c:pt>
                      <c:pt idx="1326">
                        <c:v>36574</c:v>
                      </c:pt>
                      <c:pt idx="1327">
                        <c:v>36577</c:v>
                      </c:pt>
                      <c:pt idx="1328">
                        <c:v>36578</c:v>
                      </c:pt>
                      <c:pt idx="1329">
                        <c:v>36579</c:v>
                      </c:pt>
                      <c:pt idx="1330">
                        <c:v>36580</c:v>
                      </c:pt>
                      <c:pt idx="1331">
                        <c:v>36581</c:v>
                      </c:pt>
                      <c:pt idx="1332">
                        <c:v>36584</c:v>
                      </c:pt>
                      <c:pt idx="1333">
                        <c:v>36585</c:v>
                      </c:pt>
                      <c:pt idx="1334">
                        <c:v>36586</c:v>
                      </c:pt>
                      <c:pt idx="1335">
                        <c:v>36587</c:v>
                      </c:pt>
                      <c:pt idx="1336">
                        <c:v>36588</c:v>
                      </c:pt>
                      <c:pt idx="1337">
                        <c:v>36591</c:v>
                      </c:pt>
                      <c:pt idx="1338">
                        <c:v>36592</c:v>
                      </c:pt>
                      <c:pt idx="1339">
                        <c:v>36593</c:v>
                      </c:pt>
                      <c:pt idx="1340">
                        <c:v>36594</c:v>
                      </c:pt>
                      <c:pt idx="1341">
                        <c:v>36595</c:v>
                      </c:pt>
                      <c:pt idx="1342">
                        <c:v>36598</c:v>
                      </c:pt>
                      <c:pt idx="1343">
                        <c:v>36599</c:v>
                      </c:pt>
                      <c:pt idx="1344">
                        <c:v>36600</c:v>
                      </c:pt>
                      <c:pt idx="1345">
                        <c:v>36601</c:v>
                      </c:pt>
                      <c:pt idx="1346">
                        <c:v>36602</c:v>
                      </c:pt>
                      <c:pt idx="1347">
                        <c:v>36605</c:v>
                      </c:pt>
                      <c:pt idx="1348">
                        <c:v>36606</c:v>
                      </c:pt>
                      <c:pt idx="1349">
                        <c:v>36607</c:v>
                      </c:pt>
                      <c:pt idx="1350">
                        <c:v>36608</c:v>
                      </c:pt>
                      <c:pt idx="1351">
                        <c:v>36609</c:v>
                      </c:pt>
                      <c:pt idx="1352">
                        <c:v>36612</c:v>
                      </c:pt>
                      <c:pt idx="1353">
                        <c:v>36613</c:v>
                      </c:pt>
                      <c:pt idx="1354">
                        <c:v>36614</c:v>
                      </c:pt>
                      <c:pt idx="1355">
                        <c:v>36615</c:v>
                      </c:pt>
                      <c:pt idx="1356">
                        <c:v>36616</c:v>
                      </c:pt>
                      <c:pt idx="1357">
                        <c:v>36619</c:v>
                      </c:pt>
                      <c:pt idx="1358">
                        <c:v>36620</c:v>
                      </c:pt>
                      <c:pt idx="1359">
                        <c:v>36621</c:v>
                      </c:pt>
                      <c:pt idx="1360">
                        <c:v>36622</c:v>
                      </c:pt>
                      <c:pt idx="1361">
                        <c:v>36623</c:v>
                      </c:pt>
                      <c:pt idx="1362">
                        <c:v>36626</c:v>
                      </c:pt>
                      <c:pt idx="1363">
                        <c:v>36627</c:v>
                      </c:pt>
                      <c:pt idx="1364">
                        <c:v>36628</c:v>
                      </c:pt>
                      <c:pt idx="1365">
                        <c:v>36629</c:v>
                      </c:pt>
                      <c:pt idx="1366">
                        <c:v>36630</c:v>
                      </c:pt>
                      <c:pt idx="1367">
                        <c:v>36633</c:v>
                      </c:pt>
                      <c:pt idx="1368">
                        <c:v>36634</c:v>
                      </c:pt>
                      <c:pt idx="1369">
                        <c:v>36635</c:v>
                      </c:pt>
                      <c:pt idx="1370">
                        <c:v>36636</c:v>
                      </c:pt>
                      <c:pt idx="1371">
                        <c:v>36637</c:v>
                      </c:pt>
                      <c:pt idx="1372">
                        <c:v>36640</c:v>
                      </c:pt>
                      <c:pt idx="1373">
                        <c:v>36641</c:v>
                      </c:pt>
                      <c:pt idx="1374">
                        <c:v>36642</c:v>
                      </c:pt>
                      <c:pt idx="1375">
                        <c:v>36643</c:v>
                      </c:pt>
                      <c:pt idx="1376">
                        <c:v>36644</c:v>
                      </c:pt>
                      <c:pt idx="1377">
                        <c:v>36647</c:v>
                      </c:pt>
                      <c:pt idx="1378">
                        <c:v>36648</c:v>
                      </c:pt>
                      <c:pt idx="1379">
                        <c:v>36649</c:v>
                      </c:pt>
                      <c:pt idx="1380">
                        <c:v>36650</c:v>
                      </c:pt>
                      <c:pt idx="1381">
                        <c:v>36651</c:v>
                      </c:pt>
                      <c:pt idx="1382">
                        <c:v>36654</c:v>
                      </c:pt>
                      <c:pt idx="1383">
                        <c:v>36655</c:v>
                      </c:pt>
                      <c:pt idx="1384">
                        <c:v>36656</c:v>
                      </c:pt>
                      <c:pt idx="1385">
                        <c:v>36657</c:v>
                      </c:pt>
                      <c:pt idx="1386">
                        <c:v>36658</c:v>
                      </c:pt>
                      <c:pt idx="1387">
                        <c:v>36661</c:v>
                      </c:pt>
                      <c:pt idx="1388">
                        <c:v>36662</c:v>
                      </c:pt>
                      <c:pt idx="1389">
                        <c:v>36663</c:v>
                      </c:pt>
                      <c:pt idx="1390">
                        <c:v>36664</c:v>
                      </c:pt>
                      <c:pt idx="1391">
                        <c:v>36665</c:v>
                      </c:pt>
                      <c:pt idx="1392">
                        <c:v>36668</c:v>
                      </c:pt>
                      <c:pt idx="1393">
                        <c:v>36669</c:v>
                      </c:pt>
                      <c:pt idx="1394">
                        <c:v>36670</c:v>
                      </c:pt>
                      <c:pt idx="1395">
                        <c:v>36671</c:v>
                      </c:pt>
                      <c:pt idx="1396">
                        <c:v>36672</c:v>
                      </c:pt>
                      <c:pt idx="1397">
                        <c:v>36675</c:v>
                      </c:pt>
                      <c:pt idx="1398">
                        <c:v>36676</c:v>
                      </c:pt>
                      <c:pt idx="1399">
                        <c:v>36677</c:v>
                      </c:pt>
                      <c:pt idx="1400">
                        <c:v>36678</c:v>
                      </c:pt>
                      <c:pt idx="1401">
                        <c:v>36679</c:v>
                      </c:pt>
                      <c:pt idx="1402">
                        <c:v>36682</c:v>
                      </c:pt>
                      <c:pt idx="1403">
                        <c:v>36683</c:v>
                      </c:pt>
                      <c:pt idx="1404">
                        <c:v>36684</c:v>
                      </c:pt>
                      <c:pt idx="1405">
                        <c:v>36685</c:v>
                      </c:pt>
                      <c:pt idx="1406">
                        <c:v>36686</c:v>
                      </c:pt>
                      <c:pt idx="1407">
                        <c:v>36689</c:v>
                      </c:pt>
                      <c:pt idx="1408">
                        <c:v>36690</c:v>
                      </c:pt>
                      <c:pt idx="1409">
                        <c:v>36691</c:v>
                      </c:pt>
                      <c:pt idx="1410">
                        <c:v>36692</c:v>
                      </c:pt>
                      <c:pt idx="1411">
                        <c:v>36693</c:v>
                      </c:pt>
                      <c:pt idx="1412">
                        <c:v>36696</c:v>
                      </c:pt>
                      <c:pt idx="1413">
                        <c:v>36697</c:v>
                      </c:pt>
                      <c:pt idx="1414">
                        <c:v>36698</c:v>
                      </c:pt>
                      <c:pt idx="1415">
                        <c:v>36699</c:v>
                      </c:pt>
                      <c:pt idx="1416">
                        <c:v>36700</c:v>
                      </c:pt>
                      <c:pt idx="1417">
                        <c:v>36703</c:v>
                      </c:pt>
                      <c:pt idx="1418">
                        <c:v>36704</c:v>
                      </c:pt>
                      <c:pt idx="1419">
                        <c:v>36705</c:v>
                      </c:pt>
                      <c:pt idx="1420">
                        <c:v>36706</c:v>
                      </c:pt>
                      <c:pt idx="1421">
                        <c:v>36707</c:v>
                      </c:pt>
                      <c:pt idx="1422">
                        <c:v>36710</c:v>
                      </c:pt>
                      <c:pt idx="1423">
                        <c:v>36711</c:v>
                      </c:pt>
                      <c:pt idx="1424">
                        <c:v>36712</c:v>
                      </c:pt>
                      <c:pt idx="1425">
                        <c:v>36713</c:v>
                      </c:pt>
                      <c:pt idx="1426">
                        <c:v>36714</c:v>
                      </c:pt>
                      <c:pt idx="1427">
                        <c:v>36717</c:v>
                      </c:pt>
                      <c:pt idx="1428">
                        <c:v>36718</c:v>
                      </c:pt>
                      <c:pt idx="1429">
                        <c:v>36719</c:v>
                      </c:pt>
                      <c:pt idx="1430">
                        <c:v>36720</c:v>
                      </c:pt>
                      <c:pt idx="1431">
                        <c:v>36721</c:v>
                      </c:pt>
                      <c:pt idx="1432">
                        <c:v>36724</c:v>
                      </c:pt>
                      <c:pt idx="1433">
                        <c:v>36725</c:v>
                      </c:pt>
                      <c:pt idx="1434">
                        <c:v>36726</c:v>
                      </c:pt>
                      <c:pt idx="1435">
                        <c:v>36727</c:v>
                      </c:pt>
                      <c:pt idx="1436">
                        <c:v>36728</c:v>
                      </c:pt>
                      <c:pt idx="1437">
                        <c:v>36731</c:v>
                      </c:pt>
                      <c:pt idx="1438">
                        <c:v>36732</c:v>
                      </c:pt>
                      <c:pt idx="1439">
                        <c:v>36733</c:v>
                      </c:pt>
                      <c:pt idx="1440">
                        <c:v>36734</c:v>
                      </c:pt>
                      <c:pt idx="1441">
                        <c:v>36735</c:v>
                      </c:pt>
                      <c:pt idx="1442">
                        <c:v>36738</c:v>
                      </c:pt>
                      <c:pt idx="1443">
                        <c:v>36739</c:v>
                      </c:pt>
                      <c:pt idx="1444">
                        <c:v>36740</c:v>
                      </c:pt>
                      <c:pt idx="1445">
                        <c:v>36741</c:v>
                      </c:pt>
                      <c:pt idx="1446">
                        <c:v>36742</c:v>
                      </c:pt>
                      <c:pt idx="1447">
                        <c:v>36745</c:v>
                      </c:pt>
                      <c:pt idx="1448">
                        <c:v>36746</c:v>
                      </c:pt>
                      <c:pt idx="1449">
                        <c:v>36747</c:v>
                      </c:pt>
                      <c:pt idx="1450">
                        <c:v>36748</c:v>
                      </c:pt>
                      <c:pt idx="1451">
                        <c:v>36749</c:v>
                      </c:pt>
                      <c:pt idx="1452">
                        <c:v>36752</c:v>
                      </c:pt>
                      <c:pt idx="1453">
                        <c:v>36753</c:v>
                      </c:pt>
                      <c:pt idx="1454">
                        <c:v>36754</c:v>
                      </c:pt>
                      <c:pt idx="1455">
                        <c:v>36755</c:v>
                      </c:pt>
                      <c:pt idx="1456">
                        <c:v>36756</c:v>
                      </c:pt>
                      <c:pt idx="1457">
                        <c:v>36759</c:v>
                      </c:pt>
                      <c:pt idx="1458">
                        <c:v>36760</c:v>
                      </c:pt>
                      <c:pt idx="1459">
                        <c:v>36761</c:v>
                      </c:pt>
                      <c:pt idx="1460">
                        <c:v>36762</c:v>
                      </c:pt>
                      <c:pt idx="1461">
                        <c:v>36763</c:v>
                      </c:pt>
                      <c:pt idx="1462">
                        <c:v>36766</c:v>
                      </c:pt>
                      <c:pt idx="1463">
                        <c:v>36767</c:v>
                      </c:pt>
                      <c:pt idx="1464">
                        <c:v>36768</c:v>
                      </c:pt>
                      <c:pt idx="1465">
                        <c:v>36769</c:v>
                      </c:pt>
                      <c:pt idx="1466">
                        <c:v>36770</c:v>
                      </c:pt>
                      <c:pt idx="1467">
                        <c:v>36773</c:v>
                      </c:pt>
                      <c:pt idx="1468">
                        <c:v>36774</c:v>
                      </c:pt>
                      <c:pt idx="1469">
                        <c:v>36775</c:v>
                      </c:pt>
                      <c:pt idx="1470">
                        <c:v>36776</c:v>
                      </c:pt>
                      <c:pt idx="1471">
                        <c:v>36777</c:v>
                      </c:pt>
                      <c:pt idx="1472">
                        <c:v>36780</c:v>
                      </c:pt>
                      <c:pt idx="1473">
                        <c:v>36781</c:v>
                      </c:pt>
                      <c:pt idx="1474">
                        <c:v>36782</c:v>
                      </c:pt>
                      <c:pt idx="1475">
                        <c:v>36783</c:v>
                      </c:pt>
                      <c:pt idx="1476">
                        <c:v>36784</c:v>
                      </c:pt>
                      <c:pt idx="1477">
                        <c:v>36787</c:v>
                      </c:pt>
                      <c:pt idx="1478">
                        <c:v>36788</c:v>
                      </c:pt>
                      <c:pt idx="1479">
                        <c:v>36789</c:v>
                      </c:pt>
                      <c:pt idx="1480">
                        <c:v>36790</c:v>
                      </c:pt>
                      <c:pt idx="1481">
                        <c:v>36791</c:v>
                      </c:pt>
                      <c:pt idx="1482">
                        <c:v>36794</c:v>
                      </c:pt>
                      <c:pt idx="1483">
                        <c:v>36795</c:v>
                      </c:pt>
                      <c:pt idx="1484">
                        <c:v>36796</c:v>
                      </c:pt>
                      <c:pt idx="1485">
                        <c:v>36797</c:v>
                      </c:pt>
                      <c:pt idx="1486">
                        <c:v>36798</c:v>
                      </c:pt>
                      <c:pt idx="1487">
                        <c:v>36801</c:v>
                      </c:pt>
                      <c:pt idx="1488">
                        <c:v>36802</c:v>
                      </c:pt>
                      <c:pt idx="1489">
                        <c:v>36803</c:v>
                      </c:pt>
                      <c:pt idx="1490">
                        <c:v>36804</c:v>
                      </c:pt>
                      <c:pt idx="1491">
                        <c:v>36805</c:v>
                      </c:pt>
                      <c:pt idx="1492">
                        <c:v>36808</c:v>
                      </c:pt>
                      <c:pt idx="1493">
                        <c:v>36809</c:v>
                      </c:pt>
                      <c:pt idx="1494">
                        <c:v>36810</c:v>
                      </c:pt>
                      <c:pt idx="1495">
                        <c:v>36811</c:v>
                      </c:pt>
                      <c:pt idx="1496">
                        <c:v>36812</c:v>
                      </c:pt>
                      <c:pt idx="1497">
                        <c:v>36815</c:v>
                      </c:pt>
                      <c:pt idx="1498">
                        <c:v>36816</c:v>
                      </c:pt>
                      <c:pt idx="1499">
                        <c:v>36817</c:v>
                      </c:pt>
                      <c:pt idx="1500">
                        <c:v>36818</c:v>
                      </c:pt>
                      <c:pt idx="1501">
                        <c:v>36819</c:v>
                      </c:pt>
                      <c:pt idx="1502">
                        <c:v>36822</c:v>
                      </c:pt>
                      <c:pt idx="1503">
                        <c:v>36823</c:v>
                      </c:pt>
                      <c:pt idx="1504">
                        <c:v>36824</c:v>
                      </c:pt>
                      <c:pt idx="1505">
                        <c:v>36825</c:v>
                      </c:pt>
                      <c:pt idx="1506">
                        <c:v>36826</c:v>
                      </c:pt>
                      <c:pt idx="1507">
                        <c:v>36829</c:v>
                      </c:pt>
                      <c:pt idx="1508">
                        <c:v>36830</c:v>
                      </c:pt>
                      <c:pt idx="1509">
                        <c:v>36831</c:v>
                      </c:pt>
                      <c:pt idx="1510">
                        <c:v>36832</c:v>
                      </c:pt>
                      <c:pt idx="1511">
                        <c:v>36833</c:v>
                      </c:pt>
                      <c:pt idx="1512">
                        <c:v>36836</c:v>
                      </c:pt>
                      <c:pt idx="1513">
                        <c:v>36837</c:v>
                      </c:pt>
                      <c:pt idx="1514">
                        <c:v>36838</c:v>
                      </c:pt>
                      <c:pt idx="1515">
                        <c:v>36839</c:v>
                      </c:pt>
                      <c:pt idx="1516">
                        <c:v>36840</c:v>
                      </c:pt>
                      <c:pt idx="1517">
                        <c:v>36843</c:v>
                      </c:pt>
                      <c:pt idx="1518">
                        <c:v>36844</c:v>
                      </c:pt>
                      <c:pt idx="1519">
                        <c:v>36845</c:v>
                      </c:pt>
                      <c:pt idx="1520">
                        <c:v>36846</c:v>
                      </c:pt>
                      <c:pt idx="1521">
                        <c:v>36847</c:v>
                      </c:pt>
                      <c:pt idx="1522">
                        <c:v>36850</c:v>
                      </c:pt>
                      <c:pt idx="1523">
                        <c:v>36851</c:v>
                      </c:pt>
                      <c:pt idx="1524">
                        <c:v>36852</c:v>
                      </c:pt>
                      <c:pt idx="1525">
                        <c:v>36853</c:v>
                      </c:pt>
                      <c:pt idx="1526">
                        <c:v>36854</c:v>
                      </c:pt>
                      <c:pt idx="1527">
                        <c:v>36857</c:v>
                      </c:pt>
                      <c:pt idx="1528">
                        <c:v>36858</c:v>
                      </c:pt>
                      <c:pt idx="1529">
                        <c:v>36859</c:v>
                      </c:pt>
                      <c:pt idx="1530">
                        <c:v>36860</c:v>
                      </c:pt>
                      <c:pt idx="1531">
                        <c:v>36861</c:v>
                      </c:pt>
                      <c:pt idx="1532">
                        <c:v>36864</c:v>
                      </c:pt>
                      <c:pt idx="1533">
                        <c:v>36865</c:v>
                      </c:pt>
                      <c:pt idx="1534">
                        <c:v>36866</c:v>
                      </c:pt>
                      <c:pt idx="1535">
                        <c:v>36867</c:v>
                      </c:pt>
                      <c:pt idx="1536">
                        <c:v>36868</c:v>
                      </c:pt>
                      <c:pt idx="1537">
                        <c:v>36871</c:v>
                      </c:pt>
                      <c:pt idx="1538">
                        <c:v>36872</c:v>
                      </c:pt>
                      <c:pt idx="1539">
                        <c:v>36873</c:v>
                      </c:pt>
                      <c:pt idx="1540">
                        <c:v>36874</c:v>
                      </c:pt>
                      <c:pt idx="1541">
                        <c:v>36875</c:v>
                      </c:pt>
                      <c:pt idx="1542">
                        <c:v>36878</c:v>
                      </c:pt>
                      <c:pt idx="1543">
                        <c:v>36879</c:v>
                      </c:pt>
                      <c:pt idx="1544">
                        <c:v>36880</c:v>
                      </c:pt>
                      <c:pt idx="1545">
                        <c:v>36881</c:v>
                      </c:pt>
                      <c:pt idx="1546">
                        <c:v>36882</c:v>
                      </c:pt>
                      <c:pt idx="1547">
                        <c:v>36885</c:v>
                      </c:pt>
                      <c:pt idx="1548">
                        <c:v>36886</c:v>
                      </c:pt>
                      <c:pt idx="1549">
                        <c:v>36887</c:v>
                      </c:pt>
                      <c:pt idx="1550">
                        <c:v>36888</c:v>
                      </c:pt>
                      <c:pt idx="1551">
                        <c:v>36889</c:v>
                      </c:pt>
                      <c:pt idx="1552">
                        <c:v>36892</c:v>
                      </c:pt>
                      <c:pt idx="1553">
                        <c:v>36893</c:v>
                      </c:pt>
                      <c:pt idx="1554">
                        <c:v>36894</c:v>
                      </c:pt>
                      <c:pt idx="1555">
                        <c:v>36895</c:v>
                      </c:pt>
                      <c:pt idx="1556">
                        <c:v>36896</c:v>
                      </c:pt>
                      <c:pt idx="1557">
                        <c:v>36899</c:v>
                      </c:pt>
                      <c:pt idx="1558">
                        <c:v>36900</c:v>
                      </c:pt>
                      <c:pt idx="1559">
                        <c:v>36901</c:v>
                      </c:pt>
                      <c:pt idx="1560">
                        <c:v>36902</c:v>
                      </c:pt>
                      <c:pt idx="1561">
                        <c:v>36903</c:v>
                      </c:pt>
                      <c:pt idx="1562">
                        <c:v>36906</c:v>
                      </c:pt>
                      <c:pt idx="1563">
                        <c:v>36907</c:v>
                      </c:pt>
                      <c:pt idx="1564">
                        <c:v>36908</c:v>
                      </c:pt>
                      <c:pt idx="1565">
                        <c:v>36909</c:v>
                      </c:pt>
                      <c:pt idx="1566">
                        <c:v>36910</c:v>
                      </c:pt>
                      <c:pt idx="1567">
                        <c:v>36913</c:v>
                      </c:pt>
                      <c:pt idx="1568">
                        <c:v>36914</c:v>
                      </c:pt>
                      <c:pt idx="1569">
                        <c:v>36915</c:v>
                      </c:pt>
                      <c:pt idx="1570">
                        <c:v>36916</c:v>
                      </c:pt>
                      <c:pt idx="1571">
                        <c:v>36917</c:v>
                      </c:pt>
                      <c:pt idx="1572">
                        <c:v>36920</c:v>
                      </c:pt>
                      <c:pt idx="1573">
                        <c:v>36921</c:v>
                      </c:pt>
                      <c:pt idx="1574">
                        <c:v>36922</c:v>
                      </c:pt>
                      <c:pt idx="1575">
                        <c:v>36923</c:v>
                      </c:pt>
                      <c:pt idx="1576">
                        <c:v>36924</c:v>
                      </c:pt>
                      <c:pt idx="1577">
                        <c:v>36927</c:v>
                      </c:pt>
                      <c:pt idx="1578">
                        <c:v>36928</c:v>
                      </c:pt>
                      <c:pt idx="1579">
                        <c:v>36929</c:v>
                      </c:pt>
                      <c:pt idx="1580">
                        <c:v>36930</c:v>
                      </c:pt>
                      <c:pt idx="1581">
                        <c:v>36931</c:v>
                      </c:pt>
                      <c:pt idx="1582">
                        <c:v>36934</c:v>
                      </c:pt>
                      <c:pt idx="1583">
                        <c:v>36935</c:v>
                      </c:pt>
                      <c:pt idx="1584">
                        <c:v>36936</c:v>
                      </c:pt>
                      <c:pt idx="1585">
                        <c:v>36937</c:v>
                      </c:pt>
                      <c:pt idx="1586">
                        <c:v>36938</c:v>
                      </c:pt>
                      <c:pt idx="1587">
                        <c:v>36941</c:v>
                      </c:pt>
                      <c:pt idx="1588">
                        <c:v>36942</c:v>
                      </c:pt>
                      <c:pt idx="1589">
                        <c:v>36943</c:v>
                      </c:pt>
                      <c:pt idx="1590">
                        <c:v>36944</c:v>
                      </c:pt>
                      <c:pt idx="1591">
                        <c:v>36945</c:v>
                      </c:pt>
                      <c:pt idx="1592">
                        <c:v>36948</c:v>
                      </c:pt>
                      <c:pt idx="1593">
                        <c:v>36949</c:v>
                      </c:pt>
                      <c:pt idx="1594">
                        <c:v>36950</c:v>
                      </c:pt>
                      <c:pt idx="1595">
                        <c:v>36951</c:v>
                      </c:pt>
                      <c:pt idx="1596">
                        <c:v>36952</c:v>
                      </c:pt>
                      <c:pt idx="1597">
                        <c:v>36955</c:v>
                      </c:pt>
                      <c:pt idx="1598">
                        <c:v>36956</c:v>
                      </c:pt>
                      <c:pt idx="1599">
                        <c:v>36957</c:v>
                      </c:pt>
                      <c:pt idx="1600">
                        <c:v>36958</c:v>
                      </c:pt>
                      <c:pt idx="1601">
                        <c:v>36959</c:v>
                      </c:pt>
                      <c:pt idx="1602">
                        <c:v>36962</c:v>
                      </c:pt>
                      <c:pt idx="1603">
                        <c:v>36963</c:v>
                      </c:pt>
                      <c:pt idx="1604">
                        <c:v>36964</c:v>
                      </c:pt>
                      <c:pt idx="1605">
                        <c:v>36965</c:v>
                      </c:pt>
                      <c:pt idx="1606">
                        <c:v>36966</c:v>
                      </c:pt>
                      <c:pt idx="1607">
                        <c:v>36969</c:v>
                      </c:pt>
                      <c:pt idx="1608">
                        <c:v>36970</c:v>
                      </c:pt>
                      <c:pt idx="1609">
                        <c:v>36971</c:v>
                      </c:pt>
                      <c:pt idx="1610">
                        <c:v>36972</c:v>
                      </c:pt>
                      <c:pt idx="1611">
                        <c:v>36973</c:v>
                      </c:pt>
                      <c:pt idx="1612">
                        <c:v>36976</c:v>
                      </c:pt>
                      <c:pt idx="1613">
                        <c:v>36977</c:v>
                      </c:pt>
                      <c:pt idx="1614">
                        <c:v>36978</c:v>
                      </c:pt>
                      <c:pt idx="1615">
                        <c:v>36979</c:v>
                      </c:pt>
                      <c:pt idx="1616">
                        <c:v>36980</c:v>
                      </c:pt>
                      <c:pt idx="1617">
                        <c:v>36983</c:v>
                      </c:pt>
                      <c:pt idx="1618">
                        <c:v>36984</c:v>
                      </c:pt>
                      <c:pt idx="1619">
                        <c:v>36985</c:v>
                      </c:pt>
                      <c:pt idx="1620">
                        <c:v>36986</c:v>
                      </c:pt>
                      <c:pt idx="1621">
                        <c:v>36987</c:v>
                      </c:pt>
                      <c:pt idx="1622">
                        <c:v>36990</c:v>
                      </c:pt>
                      <c:pt idx="1623">
                        <c:v>36991</c:v>
                      </c:pt>
                      <c:pt idx="1624">
                        <c:v>36992</c:v>
                      </c:pt>
                      <c:pt idx="1625">
                        <c:v>36993</c:v>
                      </c:pt>
                      <c:pt idx="1626">
                        <c:v>36994</c:v>
                      </c:pt>
                      <c:pt idx="1627">
                        <c:v>36997</c:v>
                      </c:pt>
                      <c:pt idx="1628">
                        <c:v>36998</c:v>
                      </c:pt>
                      <c:pt idx="1629">
                        <c:v>36999</c:v>
                      </c:pt>
                      <c:pt idx="1630">
                        <c:v>37000</c:v>
                      </c:pt>
                      <c:pt idx="1631">
                        <c:v>37001</c:v>
                      </c:pt>
                      <c:pt idx="1632">
                        <c:v>37004</c:v>
                      </c:pt>
                      <c:pt idx="1633">
                        <c:v>37005</c:v>
                      </c:pt>
                      <c:pt idx="1634">
                        <c:v>37006</c:v>
                      </c:pt>
                      <c:pt idx="1635">
                        <c:v>37007</c:v>
                      </c:pt>
                      <c:pt idx="1636">
                        <c:v>37008</c:v>
                      </c:pt>
                      <c:pt idx="1637">
                        <c:v>37011</c:v>
                      </c:pt>
                      <c:pt idx="1638">
                        <c:v>37012</c:v>
                      </c:pt>
                      <c:pt idx="1639">
                        <c:v>37013</c:v>
                      </c:pt>
                      <c:pt idx="1640">
                        <c:v>37014</c:v>
                      </c:pt>
                      <c:pt idx="1641">
                        <c:v>37015</c:v>
                      </c:pt>
                      <c:pt idx="1642">
                        <c:v>37018</c:v>
                      </c:pt>
                      <c:pt idx="1643">
                        <c:v>37019</c:v>
                      </c:pt>
                      <c:pt idx="1644">
                        <c:v>37020</c:v>
                      </c:pt>
                      <c:pt idx="1645">
                        <c:v>37021</c:v>
                      </c:pt>
                      <c:pt idx="1646">
                        <c:v>37022</c:v>
                      </c:pt>
                      <c:pt idx="1647">
                        <c:v>37025</c:v>
                      </c:pt>
                      <c:pt idx="1648">
                        <c:v>37026</c:v>
                      </c:pt>
                      <c:pt idx="1649">
                        <c:v>37027</c:v>
                      </c:pt>
                      <c:pt idx="1650">
                        <c:v>37028</c:v>
                      </c:pt>
                      <c:pt idx="1651">
                        <c:v>37029</c:v>
                      </c:pt>
                      <c:pt idx="1652">
                        <c:v>37032</c:v>
                      </c:pt>
                      <c:pt idx="1653">
                        <c:v>37033</c:v>
                      </c:pt>
                      <c:pt idx="1654">
                        <c:v>37034</c:v>
                      </c:pt>
                      <c:pt idx="1655">
                        <c:v>37035</c:v>
                      </c:pt>
                      <c:pt idx="1656">
                        <c:v>37036</c:v>
                      </c:pt>
                      <c:pt idx="1657">
                        <c:v>37039</c:v>
                      </c:pt>
                      <c:pt idx="1658">
                        <c:v>37040</c:v>
                      </c:pt>
                      <c:pt idx="1659">
                        <c:v>37041</c:v>
                      </c:pt>
                      <c:pt idx="1660">
                        <c:v>37042</c:v>
                      </c:pt>
                      <c:pt idx="1661">
                        <c:v>37043</c:v>
                      </c:pt>
                      <c:pt idx="1662">
                        <c:v>37046</c:v>
                      </c:pt>
                      <c:pt idx="1663">
                        <c:v>37047</c:v>
                      </c:pt>
                      <c:pt idx="1664">
                        <c:v>37048</c:v>
                      </c:pt>
                      <c:pt idx="1665">
                        <c:v>37049</c:v>
                      </c:pt>
                      <c:pt idx="1666">
                        <c:v>37050</c:v>
                      </c:pt>
                      <c:pt idx="1667">
                        <c:v>37053</c:v>
                      </c:pt>
                      <c:pt idx="1668">
                        <c:v>37054</c:v>
                      </c:pt>
                      <c:pt idx="1669">
                        <c:v>37055</c:v>
                      </c:pt>
                      <c:pt idx="1670">
                        <c:v>37056</c:v>
                      </c:pt>
                      <c:pt idx="1671">
                        <c:v>37057</c:v>
                      </c:pt>
                      <c:pt idx="1672">
                        <c:v>37060</c:v>
                      </c:pt>
                      <c:pt idx="1673">
                        <c:v>37061</c:v>
                      </c:pt>
                      <c:pt idx="1674">
                        <c:v>37062</c:v>
                      </c:pt>
                      <c:pt idx="1675">
                        <c:v>37063</c:v>
                      </c:pt>
                      <c:pt idx="1676">
                        <c:v>37064</c:v>
                      </c:pt>
                      <c:pt idx="1677">
                        <c:v>37067</c:v>
                      </c:pt>
                      <c:pt idx="1678">
                        <c:v>37068</c:v>
                      </c:pt>
                      <c:pt idx="1679">
                        <c:v>37069</c:v>
                      </c:pt>
                      <c:pt idx="1680">
                        <c:v>37070</c:v>
                      </c:pt>
                      <c:pt idx="1681">
                        <c:v>37071</c:v>
                      </c:pt>
                      <c:pt idx="1682">
                        <c:v>37074</c:v>
                      </c:pt>
                      <c:pt idx="1683">
                        <c:v>37075</c:v>
                      </c:pt>
                      <c:pt idx="1684">
                        <c:v>37076</c:v>
                      </c:pt>
                      <c:pt idx="1685">
                        <c:v>37077</c:v>
                      </c:pt>
                      <c:pt idx="1686">
                        <c:v>37078</c:v>
                      </c:pt>
                      <c:pt idx="1687">
                        <c:v>37081</c:v>
                      </c:pt>
                      <c:pt idx="1688">
                        <c:v>37082</c:v>
                      </c:pt>
                      <c:pt idx="1689">
                        <c:v>37083</c:v>
                      </c:pt>
                      <c:pt idx="1690">
                        <c:v>37084</c:v>
                      </c:pt>
                      <c:pt idx="1691">
                        <c:v>37085</c:v>
                      </c:pt>
                      <c:pt idx="1692">
                        <c:v>37088</c:v>
                      </c:pt>
                      <c:pt idx="1693">
                        <c:v>37089</c:v>
                      </c:pt>
                      <c:pt idx="1694">
                        <c:v>37090</c:v>
                      </c:pt>
                      <c:pt idx="1695">
                        <c:v>37091</c:v>
                      </c:pt>
                      <c:pt idx="1696">
                        <c:v>37092</c:v>
                      </c:pt>
                      <c:pt idx="1697">
                        <c:v>37095</c:v>
                      </c:pt>
                      <c:pt idx="1698">
                        <c:v>37096</c:v>
                      </c:pt>
                      <c:pt idx="1699">
                        <c:v>37097</c:v>
                      </c:pt>
                      <c:pt idx="1700">
                        <c:v>37098</c:v>
                      </c:pt>
                      <c:pt idx="1701">
                        <c:v>37099</c:v>
                      </c:pt>
                      <c:pt idx="1702">
                        <c:v>37102</c:v>
                      </c:pt>
                      <c:pt idx="1703">
                        <c:v>37103</c:v>
                      </c:pt>
                      <c:pt idx="1704">
                        <c:v>37104</c:v>
                      </c:pt>
                      <c:pt idx="1705">
                        <c:v>37105</c:v>
                      </c:pt>
                      <c:pt idx="1706">
                        <c:v>37106</c:v>
                      </c:pt>
                      <c:pt idx="1707">
                        <c:v>37109</c:v>
                      </c:pt>
                      <c:pt idx="1708">
                        <c:v>37110</c:v>
                      </c:pt>
                      <c:pt idx="1709">
                        <c:v>37111</c:v>
                      </c:pt>
                      <c:pt idx="1710">
                        <c:v>37112</c:v>
                      </c:pt>
                      <c:pt idx="1711">
                        <c:v>37113</c:v>
                      </c:pt>
                      <c:pt idx="1712">
                        <c:v>37116</c:v>
                      </c:pt>
                      <c:pt idx="1713">
                        <c:v>37117</c:v>
                      </c:pt>
                      <c:pt idx="1714">
                        <c:v>37118</c:v>
                      </c:pt>
                      <c:pt idx="1715">
                        <c:v>37119</c:v>
                      </c:pt>
                      <c:pt idx="1716">
                        <c:v>37120</c:v>
                      </c:pt>
                      <c:pt idx="1717">
                        <c:v>37123</c:v>
                      </c:pt>
                      <c:pt idx="1718">
                        <c:v>37124</c:v>
                      </c:pt>
                      <c:pt idx="1719">
                        <c:v>37125</c:v>
                      </c:pt>
                      <c:pt idx="1720">
                        <c:v>37126</c:v>
                      </c:pt>
                      <c:pt idx="1721">
                        <c:v>37127</c:v>
                      </c:pt>
                      <c:pt idx="1722">
                        <c:v>37130</c:v>
                      </c:pt>
                      <c:pt idx="1723">
                        <c:v>37131</c:v>
                      </c:pt>
                      <c:pt idx="1724">
                        <c:v>37132</c:v>
                      </c:pt>
                      <c:pt idx="1725">
                        <c:v>37133</c:v>
                      </c:pt>
                      <c:pt idx="1726">
                        <c:v>37134</c:v>
                      </c:pt>
                      <c:pt idx="1727">
                        <c:v>37137</c:v>
                      </c:pt>
                      <c:pt idx="1728">
                        <c:v>37138</c:v>
                      </c:pt>
                      <c:pt idx="1729">
                        <c:v>37139</c:v>
                      </c:pt>
                      <c:pt idx="1730">
                        <c:v>37140</c:v>
                      </c:pt>
                      <c:pt idx="1731">
                        <c:v>37141</c:v>
                      </c:pt>
                      <c:pt idx="1732">
                        <c:v>37144</c:v>
                      </c:pt>
                      <c:pt idx="1733">
                        <c:v>37145</c:v>
                      </c:pt>
                      <c:pt idx="1734">
                        <c:v>37146</c:v>
                      </c:pt>
                      <c:pt idx="1735">
                        <c:v>37147</c:v>
                      </c:pt>
                      <c:pt idx="1736">
                        <c:v>37148</c:v>
                      </c:pt>
                      <c:pt idx="1737">
                        <c:v>37151</c:v>
                      </c:pt>
                      <c:pt idx="1738">
                        <c:v>37152</c:v>
                      </c:pt>
                      <c:pt idx="1739">
                        <c:v>37153</c:v>
                      </c:pt>
                      <c:pt idx="1740">
                        <c:v>37154</c:v>
                      </c:pt>
                      <c:pt idx="1741">
                        <c:v>37155</c:v>
                      </c:pt>
                      <c:pt idx="1742">
                        <c:v>37158</c:v>
                      </c:pt>
                      <c:pt idx="1743">
                        <c:v>37159</c:v>
                      </c:pt>
                      <c:pt idx="1744">
                        <c:v>37160</c:v>
                      </c:pt>
                      <c:pt idx="1745">
                        <c:v>37161</c:v>
                      </c:pt>
                      <c:pt idx="1746">
                        <c:v>37162</c:v>
                      </c:pt>
                      <c:pt idx="1747">
                        <c:v>37165</c:v>
                      </c:pt>
                      <c:pt idx="1748">
                        <c:v>37166</c:v>
                      </c:pt>
                      <c:pt idx="1749">
                        <c:v>37167</c:v>
                      </c:pt>
                      <c:pt idx="1750">
                        <c:v>37168</c:v>
                      </c:pt>
                      <c:pt idx="1751">
                        <c:v>37169</c:v>
                      </c:pt>
                      <c:pt idx="1752">
                        <c:v>37172</c:v>
                      </c:pt>
                      <c:pt idx="1753">
                        <c:v>37173</c:v>
                      </c:pt>
                      <c:pt idx="1754">
                        <c:v>37174</c:v>
                      </c:pt>
                      <c:pt idx="1755">
                        <c:v>37175</c:v>
                      </c:pt>
                      <c:pt idx="1756">
                        <c:v>37176</c:v>
                      </c:pt>
                      <c:pt idx="1757">
                        <c:v>37179</c:v>
                      </c:pt>
                      <c:pt idx="1758">
                        <c:v>37180</c:v>
                      </c:pt>
                      <c:pt idx="1759">
                        <c:v>37181</c:v>
                      </c:pt>
                      <c:pt idx="1760">
                        <c:v>37182</c:v>
                      </c:pt>
                      <c:pt idx="1761">
                        <c:v>37183</c:v>
                      </c:pt>
                      <c:pt idx="1762">
                        <c:v>37186</c:v>
                      </c:pt>
                      <c:pt idx="1763">
                        <c:v>37187</c:v>
                      </c:pt>
                      <c:pt idx="1764">
                        <c:v>37188</c:v>
                      </c:pt>
                      <c:pt idx="1765">
                        <c:v>37189</c:v>
                      </c:pt>
                      <c:pt idx="1766">
                        <c:v>37190</c:v>
                      </c:pt>
                      <c:pt idx="1767">
                        <c:v>37193</c:v>
                      </c:pt>
                      <c:pt idx="1768">
                        <c:v>37194</c:v>
                      </c:pt>
                      <c:pt idx="1769">
                        <c:v>37195</c:v>
                      </c:pt>
                      <c:pt idx="1770">
                        <c:v>37196</c:v>
                      </c:pt>
                      <c:pt idx="1771">
                        <c:v>37197</c:v>
                      </c:pt>
                      <c:pt idx="1772">
                        <c:v>37200</c:v>
                      </c:pt>
                      <c:pt idx="1773">
                        <c:v>37201</c:v>
                      </c:pt>
                      <c:pt idx="1774">
                        <c:v>37202</c:v>
                      </c:pt>
                      <c:pt idx="1775">
                        <c:v>37203</c:v>
                      </c:pt>
                      <c:pt idx="1776">
                        <c:v>37204</c:v>
                      </c:pt>
                      <c:pt idx="1777">
                        <c:v>37207</c:v>
                      </c:pt>
                      <c:pt idx="1778">
                        <c:v>37208</c:v>
                      </c:pt>
                      <c:pt idx="1779">
                        <c:v>37209</c:v>
                      </c:pt>
                      <c:pt idx="1780">
                        <c:v>37210</c:v>
                      </c:pt>
                      <c:pt idx="1781">
                        <c:v>37211</c:v>
                      </c:pt>
                      <c:pt idx="1782">
                        <c:v>37214</c:v>
                      </c:pt>
                      <c:pt idx="1783">
                        <c:v>37215</c:v>
                      </c:pt>
                      <c:pt idx="1784">
                        <c:v>37216</c:v>
                      </c:pt>
                      <c:pt idx="1785">
                        <c:v>37217</c:v>
                      </c:pt>
                      <c:pt idx="1786">
                        <c:v>37218</c:v>
                      </c:pt>
                      <c:pt idx="1787">
                        <c:v>37221</c:v>
                      </c:pt>
                      <c:pt idx="1788">
                        <c:v>37222</c:v>
                      </c:pt>
                      <c:pt idx="1789">
                        <c:v>37223</c:v>
                      </c:pt>
                      <c:pt idx="1790">
                        <c:v>37224</c:v>
                      </c:pt>
                      <c:pt idx="1791">
                        <c:v>37225</c:v>
                      </c:pt>
                      <c:pt idx="1792">
                        <c:v>37228</c:v>
                      </c:pt>
                      <c:pt idx="1793">
                        <c:v>37229</c:v>
                      </c:pt>
                      <c:pt idx="1794">
                        <c:v>37230</c:v>
                      </c:pt>
                      <c:pt idx="1795">
                        <c:v>37231</c:v>
                      </c:pt>
                      <c:pt idx="1796">
                        <c:v>37232</c:v>
                      </c:pt>
                      <c:pt idx="1797">
                        <c:v>37235</c:v>
                      </c:pt>
                      <c:pt idx="1798">
                        <c:v>37236</c:v>
                      </c:pt>
                      <c:pt idx="1799">
                        <c:v>37237</c:v>
                      </c:pt>
                      <c:pt idx="1800">
                        <c:v>37238</c:v>
                      </c:pt>
                      <c:pt idx="1801">
                        <c:v>37239</c:v>
                      </c:pt>
                      <c:pt idx="1802">
                        <c:v>37242</c:v>
                      </c:pt>
                      <c:pt idx="1803">
                        <c:v>37243</c:v>
                      </c:pt>
                      <c:pt idx="1804">
                        <c:v>37244</c:v>
                      </c:pt>
                      <c:pt idx="1805">
                        <c:v>37245</c:v>
                      </c:pt>
                      <c:pt idx="1806">
                        <c:v>37246</c:v>
                      </c:pt>
                      <c:pt idx="1807">
                        <c:v>37249</c:v>
                      </c:pt>
                      <c:pt idx="1808">
                        <c:v>37250</c:v>
                      </c:pt>
                      <c:pt idx="1809">
                        <c:v>37251</c:v>
                      </c:pt>
                      <c:pt idx="1810">
                        <c:v>37252</c:v>
                      </c:pt>
                      <c:pt idx="1811">
                        <c:v>37253</c:v>
                      </c:pt>
                      <c:pt idx="1812">
                        <c:v>37256</c:v>
                      </c:pt>
                      <c:pt idx="1813">
                        <c:v>37257</c:v>
                      </c:pt>
                      <c:pt idx="1814">
                        <c:v>37258</c:v>
                      </c:pt>
                      <c:pt idx="1815">
                        <c:v>37259</c:v>
                      </c:pt>
                      <c:pt idx="1816">
                        <c:v>37260</c:v>
                      </c:pt>
                      <c:pt idx="1817">
                        <c:v>37263</c:v>
                      </c:pt>
                      <c:pt idx="1818">
                        <c:v>37264</c:v>
                      </c:pt>
                      <c:pt idx="1819">
                        <c:v>37265</c:v>
                      </c:pt>
                      <c:pt idx="1820">
                        <c:v>37266</c:v>
                      </c:pt>
                      <c:pt idx="1821">
                        <c:v>37267</c:v>
                      </c:pt>
                      <c:pt idx="1822">
                        <c:v>37270</c:v>
                      </c:pt>
                      <c:pt idx="1823">
                        <c:v>37271</c:v>
                      </c:pt>
                      <c:pt idx="1824">
                        <c:v>37272</c:v>
                      </c:pt>
                      <c:pt idx="1825">
                        <c:v>37273</c:v>
                      </c:pt>
                      <c:pt idx="1826">
                        <c:v>37274</c:v>
                      </c:pt>
                      <c:pt idx="1827">
                        <c:v>37277</c:v>
                      </c:pt>
                      <c:pt idx="1828">
                        <c:v>37278</c:v>
                      </c:pt>
                      <c:pt idx="1829">
                        <c:v>37279</c:v>
                      </c:pt>
                      <c:pt idx="1830">
                        <c:v>37280</c:v>
                      </c:pt>
                      <c:pt idx="1831">
                        <c:v>37281</c:v>
                      </c:pt>
                      <c:pt idx="1832">
                        <c:v>37284</c:v>
                      </c:pt>
                      <c:pt idx="1833">
                        <c:v>37285</c:v>
                      </c:pt>
                      <c:pt idx="1834">
                        <c:v>37286</c:v>
                      </c:pt>
                      <c:pt idx="1835">
                        <c:v>37287</c:v>
                      </c:pt>
                      <c:pt idx="1836">
                        <c:v>37288</c:v>
                      </c:pt>
                      <c:pt idx="1837">
                        <c:v>37291</c:v>
                      </c:pt>
                      <c:pt idx="1838">
                        <c:v>37292</c:v>
                      </c:pt>
                      <c:pt idx="1839">
                        <c:v>37293</c:v>
                      </c:pt>
                      <c:pt idx="1840">
                        <c:v>37294</c:v>
                      </c:pt>
                      <c:pt idx="1841">
                        <c:v>37295</c:v>
                      </c:pt>
                      <c:pt idx="1842">
                        <c:v>37298</c:v>
                      </c:pt>
                      <c:pt idx="1843">
                        <c:v>37299</c:v>
                      </c:pt>
                      <c:pt idx="1844">
                        <c:v>37300</c:v>
                      </c:pt>
                      <c:pt idx="1845">
                        <c:v>37301</c:v>
                      </c:pt>
                      <c:pt idx="1846">
                        <c:v>37302</c:v>
                      </c:pt>
                      <c:pt idx="1847">
                        <c:v>37305</c:v>
                      </c:pt>
                      <c:pt idx="1848">
                        <c:v>37306</c:v>
                      </c:pt>
                      <c:pt idx="1849">
                        <c:v>37307</c:v>
                      </c:pt>
                      <c:pt idx="1850">
                        <c:v>37308</c:v>
                      </c:pt>
                      <c:pt idx="1851">
                        <c:v>37309</c:v>
                      </c:pt>
                      <c:pt idx="1852">
                        <c:v>37312</c:v>
                      </c:pt>
                      <c:pt idx="1853">
                        <c:v>37313</c:v>
                      </c:pt>
                      <c:pt idx="1854">
                        <c:v>37314</c:v>
                      </c:pt>
                      <c:pt idx="1855">
                        <c:v>37315</c:v>
                      </c:pt>
                      <c:pt idx="1856">
                        <c:v>37316</c:v>
                      </c:pt>
                      <c:pt idx="1857">
                        <c:v>37319</c:v>
                      </c:pt>
                      <c:pt idx="1858">
                        <c:v>37320</c:v>
                      </c:pt>
                      <c:pt idx="1859">
                        <c:v>37321</c:v>
                      </c:pt>
                      <c:pt idx="1860">
                        <c:v>37322</c:v>
                      </c:pt>
                      <c:pt idx="1861">
                        <c:v>37323</c:v>
                      </c:pt>
                      <c:pt idx="1862">
                        <c:v>37326</c:v>
                      </c:pt>
                      <c:pt idx="1863">
                        <c:v>37327</c:v>
                      </c:pt>
                      <c:pt idx="1864">
                        <c:v>37328</c:v>
                      </c:pt>
                      <c:pt idx="1865">
                        <c:v>37329</c:v>
                      </c:pt>
                      <c:pt idx="1866">
                        <c:v>37330</c:v>
                      </c:pt>
                      <c:pt idx="1867">
                        <c:v>37333</c:v>
                      </c:pt>
                      <c:pt idx="1868">
                        <c:v>37334</c:v>
                      </c:pt>
                      <c:pt idx="1869">
                        <c:v>37335</c:v>
                      </c:pt>
                      <c:pt idx="1870">
                        <c:v>37336</c:v>
                      </c:pt>
                      <c:pt idx="1871">
                        <c:v>37337</c:v>
                      </c:pt>
                      <c:pt idx="1872">
                        <c:v>37340</c:v>
                      </c:pt>
                      <c:pt idx="1873">
                        <c:v>37341</c:v>
                      </c:pt>
                      <c:pt idx="1874">
                        <c:v>37342</c:v>
                      </c:pt>
                      <c:pt idx="1875">
                        <c:v>37343</c:v>
                      </c:pt>
                      <c:pt idx="1876">
                        <c:v>37344</c:v>
                      </c:pt>
                      <c:pt idx="1877">
                        <c:v>37347</c:v>
                      </c:pt>
                      <c:pt idx="1878">
                        <c:v>37348</c:v>
                      </c:pt>
                      <c:pt idx="1879">
                        <c:v>37349</c:v>
                      </c:pt>
                      <c:pt idx="1880">
                        <c:v>37350</c:v>
                      </c:pt>
                      <c:pt idx="1881">
                        <c:v>37351</c:v>
                      </c:pt>
                      <c:pt idx="1882">
                        <c:v>37354</c:v>
                      </c:pt>
                      <c:pt idx="1883">
                        <c:v>37355</c:v>
                      </c:pt>
                      <c:pt idx="1884">
                        <c:v>37356</c:v>
                      </c:pt>
                      <c:pt idx="1885">
                        <c:v>37357</c:v>
                      </c:pt>
                      <c:pt idx="1886">
                        <c:v>37358</c:v>
                      </c:pt>
                      <c:pt idx="1887">
                        <c:v>37361</c:v>
                      </c:pt>
                      <c:pt idx="1888">
                        <c:v>37362</c:v>
                      </c:pt>
                      <c:pt idx="1889">
                        <c:v>37363</c:v>
                      </c:pt>
                      <c:pt idx="1890">
                        <c:v>37364</c:v>
                      </c:pt>
                      <c:pt idx="1891">
                        <c:v>37365</c:v>
                      </c:pt>
                      <c:pt idx="1892">
                        <c:v>37368</c:v>
                      </c:pt>
                      <c:pt idx="1893">
                        <c:v>37369</c:v>
                      </c:pt>
                      <c:pt idx="1894">
                        <c:v>37370</c:v>
                      </c:pt>
                      <c:pt idx="1895">
                        <c:v>37371</c:v>
                      </c:pt>
                      <c:pt idx="1896">
                        <c:v>37372</c:v>
                      </c:pt>
                      <c:pt idx="1897">
                        <c:v>37375</c:v>
                      </c:pt>
                      <c:pt idx="1898">
                        <c:v>37376</c:v>
                      </c:pt>
                      <c:pt idx="1899">
                        <c:v>37377</c:v>
                      </c:pt>
                      <c:pt idx="1900">
                        <c:v>37378</c:v>
                      </c:pt>
                      <c:pt idx="1901">
                        <c:v>37379</c:v>
                      </c:pt>
                      <c:pt idx="1902">
                        <c:v>37382</c:v>
                      </c:pt>
                      <c:pt idx="1903">
                        <c:v>37383</c:v>
                      </c:pt>
                      <c:pt idx="1904">
                        <c:v>37384</c:v>
                      </c:pt>
                      <c:pt idx="1905">
                        <c:v>37385</c:v>
                      </c:pt>
                      <c:pt idx="1906">
                        <c:v>37386</c:v>
                      </c:pt>
                      <c:pt idx="1907">
                        <c:v>37389</c:v>
                      </c:pt>
                      <c:pt idx="1908">
                        <c:v>37390</c:v>
                      </c:pt>
                      <c:pt idx="1909">
                        <c:v>37391</c:v>
                      </c:pt>
                      <c:pt idx="1910">
                        <c:v>37392</c:v>
                      </c:pt>
                      <c:pt idx="1911">
                        <c:v>37393</c:v>
                      </c:pt>
                      <c:pt idx="1912">
                        <c:v>37396</c:v>
                      </c:pt>
                      <c:pt idx="1913">
                        <c:v>37397</c:v>
                      </c:pt>
                      <c:pt idx="1914">
                        <c:v>37398</c:v>
                      </c:pt>
                      <c:pt idx="1915">
                        <c:v>37399</c:v>
                      </c:pt>
                      <c:pt idx="1916">
                        <c:v>37400</c:v>
                      </c:pt>
                      <c:pt idx="1917">
                        <c:v>37403</c:v>
                      </c:pt>
                      <c:pt idx="1918">
                        <c:v>37404</c:v>
                      </c:pt>
                      <c:pt idx="1919">
                        <c:v>37405</c:v>
                      </c:pt>
                      <c:pt idx="1920">
                        <c:v>37406</c:v>
                      </c:pt>
                      <c:pt idx="1921">
                        <c:v>37407</c:v>
                      </c:pt>
                      <c:pt idx="1922">
                        <c:v>37410</c:v>
                      </c:pt>
                      <c:pt idx="1923">
                        <c:v>37411</c:v>
                      </c:pt>
                      <c:pt idx="1924">
                        <c:v>37412</c:v>
                      </c:pt>
                      <c:pt idx="1925">
                        <c:v>37413</c:v>
                      </c:pt>
                      <c:pt idx="1926">
                        <c:v>37414</c:v>
                      </c:pt>
                      <c:pt idx="1927">
                        <c:v>37417</c:v>
                      </c:pt>
                      <c:pt idx="1928">
                        <c:v>37418</c:v>
                      </c:pt>
                      <c:pt idx="1929">
                        <c:v>37419</c:v>
                      </c:pt>
                      <c:pt idx="1930">
                        <c:v>37420</c:v>
                      </c:pt>
                      <c:pt idx="1931">
                        <c:v>37421</c:v>
                      </c:pt>
                      <c:pt idx="1932">
                        <c:v>37424</c:v>
                      </c:pt>
                      <c:pt idx="1933">
                        <c:v>37425</c:v>
                      </c:pt>
                      <c:pt idx="1934">
                        <c:v>37426</c:v>
                      </c:pt>
                      <c:pt idx="1935">
                        <c:v>37427</c:v>
                      </c:pt>
                      <c:pt idx="1936">
                        <c:v>37428</c:v>
                      </c:pt>
                      <c:pt idx="1937">
                        <c:v>37431</c:v>
                      </c:pt>
                      <c:pt idx="1938">
                        <c:v>37432</c:v>
                      </c:pt>
                      <c:pt idx="1939">
                        <c:v>37433</c:v>
                      </c:pt>
                      <c:pt idx="1940">
                        <c:v>37434</c:v>
                      </c:pt>
                      <c:pt idx="1941">
                        <c:v>37435</c:v>
                      </c:pt>
                      <c:pt idx="1942">
                        <c:v>37438</c:v>
                      </c:pt>
                      <c:pt idx="1943">
                        <c:v>37439</c:v>
                      </c:pt>
                      <c:pt idx="1944">
                        <c:v>37440</c:v>
                      </c:pt>
                      <c:pt idx="1945">
                        <c:v>37441</c:v>
                      </c:pt>
                      <c:pt idx="1946">
                        <c:v>37442</c:v>
                      </c:pt>
                      <c:pt idx="1947">
                        <c:v>37445</c:v>
                      </c:pt>
                      <c:pt idx="1948">
                        <c:v>37446</c:v>
                      </c:pt>
                      <c:pt idx="1949">
                        <c:v>37447</c:v>
                      </c:pt>
                      <c:pt idx="1950">
                        <c:v>37448</c:v>
                      </c:pt>
                      <c:pt idx="1951">
                        <c:v>37449</c:v>
                      </c:pt>
                      <c:pt idx="1952">
                        <c:v>37452</c:v>
                      </c:pt>
                      <c:pt idx="1953">
                        <c:v>37453</c:v>
                      </c:pt>
                      <c:pt idx="1954">
                        <c:v>37454</c:v>
                      </c:pt>
                      <c:pt idx="1955">
                        <c:v>37455</c:v>
                      </c:pt>
                      <c:pt idx="1956">
                        <c:v>37456</c:v>
                      </c:pt>
                      <c:pt idx="1957">
                        <c:v>37459</c:v>
                      </c:pt>
                      <c:pt idx="1958">
                        <c:v>37460</c:v>
                      </c:pt>
                      <c:pt idx="1959">
                        <c:v>37461</c:v>
                      </c:pt>
                      <c:pt idx="1960">
                        <c:v>37462</c:v>
                      </c:pt>
                      <c:pt idx="1961">
                        <c:v>37463</c:v>
                      </c:pt>
                      <c:pt idx="1962">
                        <c:v>37466</c:v>
                      </c:pt>
                      <c:pt idx="1963">
                        <c:v>37467</c:v>
                      </c:pt>
                      <c:pt idx="1964">
                        <c:v>37468</c:v>
                      </c:pt>
                      <c:pt idx="1965">
                        <c:v>37469</c:v>
                      </c:pt>
                      <c:pt idx="1966">
                        <c:v>37470</c:v>
                      </c:pt>
                      <c:pt idx="1967">
                        <c:v>37473</c:v>
                      </c:pt>
                      <c:pt idx="1968">
                        <c:v>37474</c:v>
                      </c:pt>
                      <c:pt idx="1969">
                        <c:v>37475</c:v>
                      </c:pt>
                      <c:pt idx="1970">
                        <c:v>37476</c:v>
                      </c:pt>
                      <c:pt idx="1971">
                        <c:v>37477</c:v>
                      </c:pt>
                      <c:pt idx="1972">
                        <c:v>37480</c:v>
                      </c:pt>
                      <c:pt idx="1973">
                        <c:v>37481</c:v>
                      </c:pt>
                      <c:pt idx="1974">
                        <c:v>37482</c:v>
                      </c:pt>
                      <c:pt idx="1975">
                        <c:v>37483</c:v>
                      </c:pt>
                      <c:pt idx="1976">
                        <c:v>37484</c:v>
                      </c:pt>
                      <c:pt idx="1977">
                        <c:v>37487</c:v>
                      </c:pt>
                      <c:pt idx="1978">
                        <c:v>37488</c:v>
                      </c:pt>
                      <c:pt idx="1979">
                        <c:v>37489</c:v>
                      </c:pt>
                      <c:pt idx="1980">
                        <c:v>37490</c:v>
                      </c:pt>
                      <c:pt idx="1981">
                        <c:v>37491</c:v>
                      </c:pt>
                      <c:pt idx="1982">
                        <c:v>37494</c:v>
                      </c:pt>
                      <c:pt idx="1983">
                        <c:v>37495</c:v>
                      </c:pt>
                      <c:pt idx="1984">
                        <c:v>37496</c:v>
                      </c:pt>
                      <c:pt idx="1985">
                        <c:v>37497</c:v>
                      </c:pt>
                      <c:pt idx="1986">
                        <c:v>37498</c:v>
                      </c:pt>
                      <c:pt idx="1987">
                        <c:v>37501</c:v>
                      </c:pt>
                      <c:pt idx="1988">
                        <c:v>37502</c:v>
                      </c:pt>
                      <c:pt idx="1989">
                        <c:v>37503</c:v>
                      </c:pt>
                      <c:pt idx="1990">
                        <c:v>37504</c:v>
                      </c:pt>
                      <c:pt idx="1991">
                        <c:v>37505</c:v>
                      </c:pt>
                      <c:pt idx="1992">
                        <c:v>37508</c:v>
                      </c:pt>
                      <c:pt idx="1993">
                        <c:v>37509</c:v>
                      </c:pt>
                      <c:pt idx="1994">
                        <c:v>37510</c:v>
                      </c:pt>
                      <c:pt idx="1995">
                        <c:v>37511</c:v>
                      </c:pt>
                      <c:pt idx="1996">
                        <c:v>37512</c:v>
                      </c:pt>
                      <c:pt idx="1997">
                        <c:v>37515</c:v>
                      </c:pt>
                      <c:pt idx="1998">
                        <c:v>37516</c:v>
                      </c:pt>
                      <c:pt idx="1999">
                        <c:v>37517</c:v>
                      </c:pt>
                      <c:pt idx="2000">
                        <c:v>37518</c:v>
                      </c:pt>
                      <c:pt idx="2001">
                        <c:v>37519</c:v>
                      </c:pt>
                      <c:pt idx="2002">
                        <c:v>37522</c:v>
                      </c:pt>
                      <c:pt idx="2003">
                        <c:v>37523</c:v>
                      </c:pt>
                      <c:pt idx="2004">
                        <c:v>37524</c:v>
                      </c:pt>
                      <c:pt idx="2005">
                        <c:v>37525</c:v>
                      </c:pt>
                      <c:pt idx="2006">
                        <c:v>37526</c:v>
                      </c:pt>
                      <c:pt idx="2007">
                        <c:v>37529</c:v>
                      </c:pt>
                      <c:pt idx="2008">
                        <c:v>37530</c:v>
                      </c:pt>
                      <c:pt idx="2009">
                        <c:v>37531</c:v>
                      </c:pt>
                      <c:pt idx="2010">
                        <c:v>37532</c:v>
                      </c:pt>
                      <c:pt idx="2011">
                        <c:v>37533</c:v>
                      </c:pt>
                      <c:pt idx="2012">
                        <c:v>37536</c:v>
                      </c:pt>
                      <c:pt idx="2013">
                        <c:v>37537</c:v>
                      </c:pt>
                      <c:pt idx="2014">
                        <c:v>37538</c:v>
                      </c:pt>
                      <c:pt idx="2015">
                        <c:v>37539</c:v>
                      </c:pt>
                      <c:pt idx="2016">
                        <c:v>37540</c:v>
                      </c:pt>
                      <c:pt idx="2017">
                        <c:v>37543</c:v>
                      </c:pt>
                      <c:pt idx="2018">
                        <c:v>37544</c:v>
                      </c:pt>
                      <c:pt idx="2019">
                        <c:v>37545</c:v>
                      </c:pt>
                      <c:pt idx="2020">
                        <c:v>37546</c:v>
                      </c:pt>
                      <c:pt idx="2021">
                        <c:v>37547</c:v>
                      </c:pt>
                      <c:pt idx="2022">
                        <c:v>37550</c:v>
                      </c:pt>
                      <c:pt idx="2023">
                        <c:v>37551</c:v>
                      </c:pt>
                      <c:pt idx="2024">
                        <c:v>37552</c:v>
                      </c:pt>
                      <c:pt idx="2025">
                        <c:v>37553</c:v>
                      </c:pt>
                      <c:pt idx="2026">
                        <c:v>37554</c:v>
                      </c:pt>
                      <c:pt idx="2027">
                        <c:v>37557</c:v>
                      </c:pt>
                      <c:pt idx="2028">
                        <c:v>37558</c:v>
                      </c:pt>
                      <c:pt idx="2029">
                        <c:v>37559</c:v>
                      </c:pt>
                      <c:pt idx="2030">
                        <c:v>37560</c:v>
                      </c:pt>
                      <c:pt idx="2031">
                        <c:v>37561</c:v>
                      </c:pt>
                      <c:pt idx="2032">
                        <c:v>37564</c:v>
                      </c:pt>
                      <c:pt idx="2033">
                        <c:v>37565</c:v>
                      </c:pt>
                      <c:pt idx="2034">
                        <c:v>37566</c:v>
                      </c:pt>
                      <c:pt idx="2035">
                        <c:v>37567</c:v>
                      </c:pt>
                      <c:pt idx="2036">
                        <c:v>37568</c:v>
                      </c:pt>
                      <c:pt idx="2037">
                        <c:v>37571</c:v>
                      </c:pt>
                      <c:pt idx="2038">
                        <c:v>37572</c:v>
                      </c:pt>
                      <c:pt idx="2039">
                        <c:v>37573</c:v>
                      </c:pt>
                      <c:pt idx="2040">
                        <c:v>37574</c:v>
                      </c:pt>
                      <c:pt idx="2041">
                        <c:v>37575</c:v>
                      </c:pt>
                      <c:pt idx="2042">
                        <c:v>37578</c:v>
                      </c:pt>
                      <c:pt idx="2043">
                        <c:v>37579</c:v>
                      </c:pt>
                      <c:pt idx="2044">
                        <c:v>37580</c:v>
                      </c:pt>
                      <c:pt idx="2045">
                        <c:v>37581</c:v>
                      </c:pt>
                      <c:pt idx="2046">
                        <c:v>37582</c:v>
                      </c:pt>
                      <c:pt idx="2047">
                        <c:v>37585</c:v>
                      </c:pt>
                      <c:pt idx="2048">
                        <c:v>37586</c:v>
                      </c:pt>
                      <c:pt idx="2049">
                        <c:v>37587</c:v>
                      </c:pt>
                      <c:pt idx="2050">
                        <c:v>37588</c:v>
                      </c:pt>
                      <c:pt idx="2051">
                        <c:v>37589</c:v>
                      </c:pt>
                      <c:pt idx="2052">
                        <c:v>37592</c:v>
                      </c:pt>
                      <c:pt idx="2053">
                        <c:v>37593</c:v>
                      </c:pt>
                      <c:pt idx="2054">
                        <c:v>37594</c:v>
                      </c:pt>
                      <c:pt idx="2055">
                        <c:v>37595</c:v>
                      </c:pt>
                      <c:pt idx="2056">
                        <c:v>37596</c:v>
                      </c:pt>
                      <c:pt idx="2057">
                        <c:v>37599</c:v>
                      </c:pt>
                      <c:pt idx="2058">
                        <c:v>37600</c:v>
                      </c:pt>
                      <c:pt idx="2059">
                        <c:v>37601</c:v>
                      </c:pt>
                      <c:pt idx="2060">
                        <c:v>37602</c:v>
                      </c:pt>
                      <c:pt idx="2061">
                        <c:v>37603</c:v>
                      </c:pt>
                      <c:pt idx="2062">
                        <c:v>37606</c:v>
                      </c:pt>
                      <c:pt idx="2063">
                        <c:v>37607</c:v>
                      </c:pt>
                      <c:pt idx="2064">
                        <c:v>37608</c:v>
                      </c:pt>
                      <c:pt idx="2065">
                        <c:v>37609</c:v>
                      </c:pt>
                      <c:pt idx="2066">
                        <c:v>37610</c:v>
                      </c:pt>
                      <c:pt idx="2067">
                        <c:v>37613</c:v>
                      </c:pt>
                      <c:pt idx="2068">
                        <c:v>37614</c:v>
                      </c:pt>
                      <c:pt idx="2069">
                        <c:v>37615</c:v>
                      </c:pt>
                      <c:pt idx="2070">
                        <c:v>37616</c:v>
                      </c:pt>
                      <c:pt idx="2071">
                        <c:v>37617</c:v>
                      </c:pt>
                      <c:pt idx="2072">
                        <c:v>37620</c:v>
                      </c:pt>
                      <c:pt idx="2073">
                        <c:v>37621</c:v>
                      </c:pt>
                      <c:pt idx="2074">
                        <c:v>37622</c:v>
                      </c:pt>
                      <c:pt idx="2075">
                        <c:v>37623</c:v>
                      </c:pt>
                      <c:pt idx="2076">
                        <c:v>37624</c:v>
                      </c:pt>
                      <c:pt idx="2077">
                        <c:v>37627</c:v>
                      </c:pt>
                      <c:pt idx="2078">
                        <c:v>37628</c:v>
                      </c:pt>
                      <c:pt idx="2079">
                        <c:v>37629</c:v>
                      </c:pt>
                      <c:pt idx="2080">
                        <c:v>37630</c:v>
                      </c:pt>
                      <c:pt idx="2081">
                        <c:v>37631</c:v>
                      </c:pt>
                      <c:pt idx="2082">
                        <c:v>37634</c:v>
                      </c:pt>
                      <c:pt idx="2083">
                        <c:v>37635</c:v>
                      </c:pt>
                      <c:pt idx="2084">
                        <c:v>37636</c:v>
                      </c:pt>
                      <c:pt idx="2085">
                        <c:v>37637</c:v>
                      </c:pt>
                      <c:pt idx="2086">
                        <c:v>37638</c:v>
                      </c:pt>
                      <c:pt idx="2087">
                        <c:v>37641</c:v>
                      </c:pt>
                      <c:pt idx="2088">
                        <c:v>37642</c:v>
                      </c:pt>
                      <c:pt idx="2089">
                        <c:v>37643</c:v>
                      </c:pt>
                      <c:pt idx="2090">
                        <c:v>37644</c:v>
                      </c:pt>
                      <c:pt idx="2091">
                        <c:v>37645</c:v>
                      </c:pt>
                      <c:pt idx="2092">
                        <c:v>37648</c:v>
                      </c:pt>
                      <c:pt idx="2093">
                        <c:v>37649</c:v>
                      </c:pt>
                      <c:pt idx="2094">
                        <c:v>37650</c:v>
                      </c:pt>
                      <c:pt idx="2095">
                        <c:v>37651</c:v>
                      </c:pt>
                      <c:pt idx="2096">
                        <c:v>37652</c:v>
                      </c:pt>
                      <c:pt idx="2097">
                        <c:v>37655</c:v>
                      </c:pt>
                      <c:pt idx="2098">
                        <c:v>37656</c:v>
                      </c:pt>
                      <c:pt idx="2099">
                        <c:v>37657</c:v>
                      </c:pt>
                      <c:pt idx="2100">
                        <c:v>37658</c:v>
                      </c:pt>
                      <c:pt idx="2101">
                        <c:v>37659</c:v>
                      </c:pt>
                      <c:pt idx="2102">
                        <c:v>37662</c:v>
                      </c:pt>
                      <c:pt idx="2103">
                        <c:v>37663</c:v>
                      </c:pt>
                      <c:pt idx="2104">
                        <c:v>37664</c:v>
                      </c:pt>
                      <c:pt idx="2105">
                        <c:v>37665</c:v>
                      </c:pt>
                      <c:pt idx="2106">
                        <c:v>37666</c:v>
                      </c:pt>
                      <c:pt idx="2107">
                        <c:v>37669</c:v>
                      </c:pt>
                      <c:pt idx="2108">
                        <c:v>37670</c:v>
                      </c:pt>
                      <c:pt idx="2109">
                        <c:v>37671</c:v>
                      </c:pt>
                      <c:pt idx="2110">
                        <c:v>37672</c:v>
                      </c:pt>
                      <c:pt idx="2111">
                        <c:v>37673</c:v>
                      </c:pt>
                      <c:pt idx="2112">
                        <c:v>37676</c:v>
                      </c:pt>
                      <c:pt idx="2113">
                        <c:v>37677</c:v>
                      </c:pt>
                      <c:pt idx="2114">
                        <c:v>37678</c:v>
                      </c:pt>
                      <c:pt idx="2115">
                        <c:v>37679</c:v>
                      </c:pt>
                      <c:pt idx="2116">
                        <c:v>37680</c:v>
                      </c:pt>
                      <c:pt idx="2117">
                        <c:v>37683</c:v>
                      </c:pt>
                      <c:pt idx="2118">
                        <c:v>37684</c:v>
                      </c:pt>
                      <c:pt idx="2119">
                        <c:v>37685</c:v>
                      </c:pt>
                      <c:pt idx="2120">
                        <c:v>37686</c:v>
                      </c:pt>
                      <c:pt idx="2121">
                        <c:v>37687</c:v>
                      </c:pt>
                      <c:pt idx="2122">
                        <c:v>37690</c:v>
                      </c:pt>
                      <c:pt idx="2123">
                        <c:v>37691</c:v>
                      </c:pt>
                      <c:pt idx="2124">
                        <c:v>37692</c:v>
                      </c:pt>
                      <c:pt idx="2125">
                        <c:v>37693</c:v>
                      </c:pt>
                      <c:pt idx="2126">
                        <c:v>37694</c:v>
                      </c:pt>
                      <c:pt idx="2127">
                        <c:v>37697</c:v>
                      </c:pt>
                      <c:pt idx="2128">
                        <c:v>37698</c:v>
                      </c:pt>
                      <c:pt idx="2129">
                        <c:v>37699</c:v>
                      </c:pt>
                      <c:pt idx="2130">
                        <c:v>37700</c:v>
                      </c:pt>
                      <c:pt idx="2131">
                        <c:v>37701</c:v>
                      </c:pt>
                      <c:pt idx="2132">
                        <c:v>37704</c:v>
                      </c:pt>
                      <c:pt idx="2133">
                        <c:v>37705</c:v>
                      </c:pt>
                      <c:pt idx="2134">
                        <c:v>37706</c:v>
                      </c:pt>
                      <c:pt idx="2135">
                        <c:v>37707</c:v>
                      </c:pt>
                      <c:pt idx="2136">
                        <c:v>37708</c:v>
                      </c:pt>
                      <c:pt idx="2137">
                        <c:v>37711</c:v>
                      </c:pt>
                      <c:pt idx="2138">
                        <c:v>37712</c:v>
                      </c:pt>
                      <c:pt idx="2139">
                        <c:v>37713</c:v>
                      </c:pt>
                      <c:pt idx="2140">
                        <c:v>37714</c:v>
                      </c:pt>
                      <c:pt idx="2141">
                        <c:v>37715</c:v>
                      </c:pt>
                      <c:pt idx="2142">
                        <c:v>37718</c:v>
                      </c:pt>
                      <c:pt idx="2143">
                        <c:v>37719</c:v>
                      </c:pt>
                      <c:pt idx="2144">
                        <c:v>37720</c:v>
                      </c:pt>
                      <c:pt idx="2145">
                        <c:v>37721</c:v>
                      </c:pt>
                      <c:pt idx="2146">
                        <c:v>37722</c:v>
                      </c:pt>
                      <c:pt idx="2147">
                        <c:v>37725</c:v>
                      </c:pt>
                      <c:pt idx="2148">
                        <c:v>37726</c:v>
                      </c:pt>
                      <c:pt idx="2149">
                        <c:v>37727</c:v>
                      </c:pt>
                      <c:pt idx="2150">
                        <c:v>37728</c:v>
                      </c:pt>
                      <c:pt idx="2151">
                        <c:v>37729</c:v>
                      </c:pt>
                      <c:pt idx="2152">
                        <c:v>37732</c:v>
                      </c:pt>
                      <c:pt idx="2153">
                        <c:v>37733</c:v>
                      </c:pt>
                      <c:pt idx="2154">
                        <c:v>37734</c:v>
                      </c:pt>
                      <c:pt idx="2155">
                        <c:v>37735</c:v>
                      </c:pt>
                      <c:pt idx="2156">
                        <c:v>37736</c:v>
                      </c:pt>
                      <c:pt idx="2157">
                        <c:v>37739</c:v>
                      </c:pt>
                      <c:pt idx="2158">
                        <c:v>37740</c:v>
                      </c:pt>
                      <c:pt idx="2159">
                        <c:v>37741</c:v>
                      </c:pt>
                      <c:pt idx="2160">
                        <c:v>37742</c:v>
                      </c:pt>
                      <c:pt idx="2161">
                        <c:v>37743</c:v>
                      </c:pt>
                      <c:pt idx="2162">
                        <c:v>37746</c:v>
                      </c:pt>
                      <c:pt idx="2163">
                        <c:v>37747</c:v>
                      </c:pt>
                      <c:pt idx="2164">
                        <c:v>37748</c:v>
                      </c:pt>
                      <c:pt idx="2165">
                        <c:v>37749</c:v>
                      </c:pt>
                      <c:pt idx="2166">
                        <c:v>37750</c:v>
                      </c:pt>
                      <c:pt idx="2167">
                        <c:v>37753</c:v>
                      </c:pt>
                      <c:pt idx="2168">
                        <c:v>37754</c:v>
                      </c:pt>
                      <c:pt idx="2169">
                        <c:v>37755</c:v>
                      </c:pt>
                      <c:pt idx="2170">
                        <c:v>37756</c:v>
                      </c:pt>
                      <c:pt idx="2171">
                        <c:v>37757</c:v>
                      </c:pt>
                      <c:pt idx="2172">
                        <c:v>37760</c:v>
                      </c:pt>
                      <c:pt idx="2173">
                        <c:v>37761</c:v>
                      </c:pt>
                      <c:pt idx="2174">
                        <c:v>37762</c:v>
                      </c:pt>
                      <c:pt idx="2175">
                        <c:v>37763</c:v>
                      </c:pt>
                      <c:pt idx="2176">
                        <c:v>37764</c:v>
                      </c:pt>
                      <c:pt idx="2177">
                        <c:v>37767</c:v>
                      </c:pt>
                      <c:pt idx="2178">
                        <c:v>37768</c:v>
                      </c:pt>
                      <c:pt idx="2179">
                        <c:v>37769</c:v>
                      </c:pt>
                      <c:pt idx="2180">
                        <c:v>37770</c:v>
                      </c:pt>
                      <c:pt idx="2181">
                        <c:v>37771</c:v>
                      </c:pt>
                      <c:pt idx="2182">
                        <c:v>37774</c:v>
                      </c:pt>
                      <c:pt idx="2183">
                        <c:v>37775</c:v>
                      </c:pt>
                      <c:pt idx="2184">
                        <c:v>37776</c:v>
                      </c:pt>
                      <c:pt idx="2185">
                        <c:v>37777</c:v>
                      </c:pt>
                      <c:pt idx="2186">
                        <c:v>37778</c:v>
                      </c:pt>
                      <c:pt idx="2187">
                        <c:v>37781</c:v>
                      </c:pt>
                      <c:pt idx="2188">
                        <c:v>37782</c:v>
                      </c:pt>
                      <c:pt idx="2189">
                        <c:v>37783</c:v>
                      </c:pt>
                      <c:pt idx="2190">
                        <c:v>37784</c:v>
                      </c:pt>
                      <c:pt idx="2191">
                        <c:v>37785</c:v>
                      </c:pt>
                      <c:pt idx="2192">
                        <c:v>37788</c:v>
                      </c:pt>
                      <c:pt idx="2193">
                        <c:v>37789</c:v>
                      </c:pt>
                      <c:pt idx="2194">
                        <c:v>37790</c:v>
                      </c:pt>
                      <c:pt idx="2195">
                        <c:v>37791</c:v>
                      </c:pt>
                      <c:pt idx="2196">
                        <c:v>37792</c:v>
                      </c:pt>
                      <c:pt idx="2197">
                        <c:v>37795</c:v>
                      </c:pt>
                      <c:pt idx="2198">
                        <c:v>37796</c:v>
                      </c:pt>
                      <c:pt idx="2199">
                        <c:v>37797</c:v>
                      </c:pt>
                      <c:pt idx="2200">
                        <c:v>37798</c:v>
                      </c:pt>
                      <c:pt idx="2201">
                        <c:v>37799</c:v>
                      </c:pt>
                      <c:pt idx="2202">
                        <c:v>37802</c:v>
                      </c:pt>
                      <c:pt idx="2203">
                        <c:v>37803</c:v>
                      </c:pt>
                      <c:pt idx="2204">
                        <c:v>37804</c:v>
                      </c:pt>
                      <c:pt idx="2205">
                        <c:v>37805</c:v>
                      </c:pt>
                      <c:pt idx="2206">
                        <c:v>37806</c:v>
                      </c:pt>
                      <c:pt idx="2207">
                        <c:v>37809</c:v>
                      </c:pt>
                      <c:pt idx="2208">
                        <c:v>37810</c:v>
                      </c:pt>
                      <c:pt idx="2209">
                        <c:v>37811</c:v>
                      </c:pt>
                      <c:pt idx="2210">
                        <c:v>37812</c:v>
                      </c:pt>
                      <c:pt idx="2211">
                        <c:v>37813</c:v>
                      </c:pt>
                      <c:pt idx="2212">
                        <c:v>37816</c:v>
                      </c:pt>
                      <c:pt idx="2213">
                        <c:v>37817</c:v>
                      </c:pt>
                      <c:pt idx="2214">
                        <c:v>37818</c:v>
                      </c:pt>
                      <c:pt idx="2215">
                        <c:v>37819</c:v>
                      </c:pt>
                      <c:pt idx="2216">
                        <c:v>37820</c:v>
                      </c:pt>
                      <c:pt idx="2217">
                        <c:v>37823</c:v>
                      </c:pt>
                      <c:pt idx="2218">
                        <c:v>37824</c:v>
                      </c:pt>
                      <c:pt idx="2219">
                        <c:v>37825</c:v>
                      </c:pt>
                      <c:pt idx="2220">
                        <c:v>37826</c:v>
                      </c:pt>
                      <c:pt idx="2221">
                        <c:v>37827</c:v>
                      </c:pt>
                      <c:pt idx="2222">
                        <c:v>37830</c:v>
                      </c:pt>
                      <c:pt idx="2223">
                        <c:v>37831</c:v>
                      </c:pt>
                      <c:pt idx="2224">
                        <c:v>37832</c:v>
                      </c:pt>
                      <c:pt idx="2225">
                        <c:v>37833</c:v>
                      </c:pt>
                      <c:pt idx="2226">
                        <c:v>37834</c:v>
                      </c:pt>
                      <c:pt idx="2227">
                        <c:v>37837</c:v>
                      </c:pt>
                      <c:pt idx="2228">
                        <c:v>37838</c:v>
                      </c:pt>
                      <c:pt idx="2229">
                        <c:v>37839</c:v>
                      </c:pt>
                      <c:pt idx="2230">
                        <c:v>37840</c:v>
                      </c:pt>
                      <c:pt idx="2231">
                        <c:v>37841</c:v>
                      </c:pt>
                      <c:pt idx="2232">
                        <c:v>37844</c:v>
                      </c:pt>
                      <c:pt idx="2233">
                        <c:v>37845</c:v>
                      </c:pt>
                      <c:pt idx="2234">
                        <c:v>37846</c:v>
                      </c:pt>
                      <c:pt idx="2235">
                        <c:v>37847</c:v>
                      </c:pt>
                      <c:pt idx="2236">
                        <c:v>37848</c:v>
                      </c:pt>
                      <c:pt idx="2237">
                        <c:v>37851</c:v>
                      </c:pt>
                      <c:pt idx="2238">
                        <c:v>37852</c:v>
                      </c:pt>
                      <c:pt idx="2239">
                        <c:v>37853</c:v>
                      </c:pt>
                      <c:pt idx="2240">
                        <c:v>37854</c:v>
                      </c:pt>
                      <c:pt idx="2241">
                        <c:v>37855</c:v>
                      </c:pt>
                      <c:pt idx="2242">
                        <c:v>37858</c:v>
                      </c:pt>
                      <c:pt idx="2243">
                        <c:v>37859</c:v>
                      </c:pt>
                      <c:pt idx="2244">
                        <c:v>37860</c:v>
                      </c:pt>
                      <c:pt idx="2245">
                        <c:v>37861</c:v>
                      </c:pt>
                      <c:pt idx="2246">
                        <c:v>37862</c:v>
                      </c:pt>
                      <c:pt idx="2247">
                        <c:v>37865</c:v>
                      </c:pt>
                      <c:pt idx="2248">
                        <c:v>37866</c:v>
                      </c:pt>
                      <c:pt idx="2249">
                        <c:v>37867</c:v>
                      </c:pt>
                      <c:pt idx="2250">
                        <c:v>37868</c:v>
                      </c:pt>
                      <c:pt idx="2251">
                        <c:v>37869</c:v>
                      </c:pt>
                      <c:pt idx="2252">
                        <c:v>37872</c:v>
                      </c:pt>
                      <c:pt idx="2253">
                        <c:v>37873</c:v>
                      </c:pt>
                      <c:pt idx="2254">
                        <c:v>37874</c:v>
                      </c:pt>
                      <c:pt idx="2255">
                        <c:v>37875</c:v>
                      </c:pt>
                      <c:pt idx="2256">
                        <c:v>37876</c:v>
                      </c:pt>
                      <c:pt idx="2257">
                        <c:v>37879</c:v>
                      </c:pt>
                      <c:pt idx="2258">
                        <c:v>37880</c:v>
                      </c:pt>
                      <c:pt idx="2259">
                        <c:v>37881</c:v>
                      </c:pt>
                      <c:pt idx="2260">
                        <c:v>37882</c:v>
                      </c:pt>
                      <c:pt idx="2261">
                        <c:v>37883</c:v>
                      </c:pt>
                      <c:pt idx="2262">
                        <c:v>37886</c:v>
                      </c:pt>
                      <c:pt idx="2263">
                        <c:v>37887</c:v>
                      </c:pt>
                      <c:pt idx="2264">
                        <c:v>37888</c:v>
                      </c:pt>
                      <c:pt idx="2265">
                        <c:v>37889</c:v>
                      </c:pt>
                      <c:pt idx="2266">
                        <c:v>37890</c:v>
                      </c:pt>
                      <c:pt idx="2267">
                        <c:v>37893</c:v>
                      </c:pt>
                      <c:pt idx="2268">
                        <c:v>37894</c:v>
                      </c:pt>
                      <c:pt idx="2269">
                        <c:v>37895</c:v>
                      </c:pt>
                      <c:pt idx="2270">
                        <c:v>37896</c:v>
                      </c:pt>
                      <c:pt idx="2271">
                        <c:v>37897</c:v>
                      </c:pt>
                      <c:pt idx="2272">
                        <c:v>37900</c:v>
                      </c:pt>
                      <c:pt idx="2273">
                        <c:v>37901</c:v>
                      </c:pt>
                      <c:pt idx="2274">
                        <c:v>37902</c:v>
                      </c:pt>
                      <c:pt idx="2275">
                        <c:v>37903</c:v>
                      </c:pt>
                      <c:pt idx="2276">
                        <c:v>37904</c:v>
                      </c:pt>
                      <c:pt idx="2277">
                        <c:v>37907</c:v>
                      </c:pt>
                      <c:pt idx="2278">
                        <c:v>37908</c:v>
                      </c:pt>
                      <c:pt idx="2279">
                        <c:v>37909</c:v>
                      </c:pt>
                      <c:pt idx="2280">
                        <c:v>37910</c:v>
                      </c:pt>
                      <c:pt idx="2281">
                        <c:v>37911</c:v>
                      </c:pt>
                      <c:pt idx="2282">
                        <c:v>37914</c:v>
                      </c:pt>
                      <c:pt idx="2283">
                        <c:v>37915</c:v>
                      </c:pt>
                      <c:pt idx="2284">
                        <c:v>37916</c:v>
                      </c:pt>
                      <c:pt idx="2285">
                        <c:v>37917</c:v>
                      </c:pt>
                      <c:pt idx="2286">
                        <c:v>37918</c:v>
                      </c:pt>
                      <c:pt idx="2287">
                        <c:v>37921</c:v>
                      </c:pt>
                      <c:pt idx="2288">
                        <c:v>37922</c:v>
                      </c:pt>
                      <c:pt idx="2289">
                        <c:v>37923</c:v>
                      </c:pt>
                      <c:pt idx="2290">
                        <c:v>37924</c:v>
                      </c:pt>
                      <c:pt idx="2291">
                        <c:v>37925</c:v>
                      </c:pt>
                      <c:pt idx="2292">
                        <c:v>37928</c:v>
                      </c:pt>
                      <c:pt idx="2293">
                        <c:v>37929</c:v>
                      </c:pt>
                      <c:pt idx="2294">
                        <c:v>37930</c:v>
                      </c:pt>
                      <c:pt idx="2295">
                        <c:v>37931</c:v>
                      </c:pt>
                      <c:pt idx="2296">
                        <c:v>37932</c:v>
                      </c:pt>
                      <c:pt idx="2297">
                        <c:v>37935</c:v>
                      </c:pt>
                      <c:pt idx="2298">
                        <c:v>37936</c:v>
                      </c:pt>
                      <c:pt idx="2299">
                        <c:v>37937</c:v>
                      </c:pt>
                      <c:pt idx="2300">
                        <c:v>37938</c:v>
                      </c:pt>
                      <c:pt idx="2301">
                        <c:v>37939</c:v>
                      </c:pt>
                      <c:pt idx="2302">
                        <c:v>37942</c:v>
                      </c:pt>
                      <c:pt idx="2303">
                        <c:v>37943</c:v>
                      </c:pt>
                      <c:pt idx="2304">
                        <c:v>37944</c:v>
                      </c:pt>
                      <c:pt idx="2305">
                        <c:v>37945</c:v>
                      </c:pt>
                      <c:pt idx="2306">
                        <c:v>37946</c:v>
                      </c:pt>
                      <c:pt idx="2307">
                        <c:v>37949</c:v>
                      </c:pt>
                      <c:pt idx="2308">
                        <c:v>37950</c:v>
                      </c:pt>
                      <c:pt idx="2309">
                        <c:v>37951</c:v>
                      </c:pt>
                      <c:pt idx="2310">
                        <c:v>37952</c:v>
                      </c:pt>
                      <c:pt idx="2311">
                        <c:v>37953</c:v>
                      </c:pt>
                      <c:pt idx="2312">
                        <c:v>37956</c:v>
                      </c:pt>
                      <c:pt idx="2313">
                        <c:v>37957</c:v>
                      </c:pt>
                      <c:pt idx="2314">
                        <c:v>37958</c:v>
                      </c:pt>
                      <c:pt idx="2315">
                        <c:v>37959</c:v>
                      </c:pt>
                      <c:pt idx="2316">
                        <c:v>37960</c:v>
                      </c:pt>
                      <c:pt idx="2317">
                        <c:v>37963</c:v>
                      </c:pt>
                      <c:pt idx="2318">
                        <c:v>37964</c:v>
                      </c:pt>
                      <c:pt idx="2319">
                        <c:v>37965</c:v>
                      </c:pt>
                      <c:pt idx="2320">
                        <c:v>37966</c:v>
                      </c:pt>
                      <c:pt idx="2321">
                        <c:v>37967</c:v>
                      </c:pt>
                      <c:pt idx="2322">
                        <c:v>37970</c:v>
                      </c:pt>
                      <c:pt idx="2323">
                        <c:v>37971</c:v>
                      </c:pt>
                      <c:pt idx="2324">
                        <c:v>37972</c:v>
                      </c:pt>
                      <c:pt idx="2325">
                        <c:v>37973</c:v>
                      </c:pt>
                      <c:pt idx="2326">
                        <c:v>37974</c:v>
                      </c:pt>
                      <c:pt idx="2327">
                        <c:v>37977</c:v>
                      </c:pt>
                      <c:pt idx="2328">
                        <c:v>37978</c:v>
                      </c:pt>
                      <c:pt idx="2329">
                        <c:v>37979</c:v>
                      </c:pt>
                      <c:pt idx="2330">
                        <c:v>37980</c:v>
                      </c:pt>
                      <c:pt idx="2331">
                        <c:v>37981</c:v>
                      </c:pt>
                      <c:pt idx="2332">
                        <c:v>37984</c:v>
                      </c:pt>
                      <c:pt idx="2333">
                        <c:v>37985</c:v>
                      </c:pt>
                      <c:pt idx="2334">
                        <c:v>37986</c:v>
                      </c:pt>
                      <c:pt idx="2335">
                        <c:v>37987</c:v>
                      </c:pt>
                      <c:pt idx="2336">
                        <c:v>37988</c:v>
                      </c:pt>
                      <c:pt idx="2337">
                        <c:v>37991</c:v>
                      </c:pt>
                      <c:pt idx="2338">
                        <c:v>37992</c:v>
                      </c:pt>
                      <c:pt idx="2339">
                        <c:v>37993</c:v>
                      </c:pt>
                      <c:pt idx="2340">
                        <c:v>37994</c:v>
                      </c:pt>
                      <c:pt idx="2341">
                        <c:v>37995</c:v>
                      </c:pt>
                      <c:pt idx="2342">
                        <c:v>37998</c:v>
                      </c:pt>
                      <c:pt idx="2343">
                        <c:v>37999</c:v>
                      </c:pt>
                      <c:pt idx="2344">
                        <c:v>38000</c:v>
                      </c:pt>
                      <c:pt idx="2345">
                        <c:v>38001</c:v>
                      </c:pt>
                      <c:pt idx="2346">
                        <c:v>38002</c:v>
                      </c:pt>
                      <c:pt idx="2347">
                        <c:v>38005</c:v>
                      </c:pt>
                      <c:pt idx="2348">
                        <c:v>38006</c:v>
                      </c:pt>
                      <c:pt idx="2349">
                        <c:v>38007</c:v>
                      </c:pt>
                      <c:pt idx="2350">
                        <c:v>38008</c:v>
                      </c:pt>
                      <c:pt idx="2351">
                        <c:v>38009</c:v>
                      </c:pt>
                      <c:pt idx="2352">
                        <c:v>38012</c:v>
                      </c:pt>
                      <c:pt idx="2353">
                        <c:v>38013</c:v>
                      </c:pt>
                      <c:pt idx="2354">
                        <c:v>38014</c:v>
                      </c:pt>
                      <c:pt idx="2355">
                        <c:v>38015</c:v>
                      </c:pt>
                      <c:pt idx="2356">
                        <c:v>38016</c:v>
                      </c:pt>
                      <c:pt idx="2357">
                        <c:v>38019</c:v>
                      </c:pt>
                      <c:pt idx="2358">
                        <c:v>38020</c:v>
                      </c:pt>
                      <c:pt idx="2359">
                        <c:v>38021</c:v>
                      </c:pt>
                      <c:pt idx="2360">
                        <c:v>38022</c:v>
                      </c:pt>
                      <c:pt idx="2361">
                        <c:v>38023</c:v>
                      </c:pt>
                      <c:pt idx="2362">
                        <c:v>38026</c:v>
                      </c:pt>
                      <c:pt idx="2363">
                        <c:v>38027</c:v>
                      </c:pt>
                      <c:pt idx="2364">
                        <c:v>38028</c:v>
                      </c:pt>
                      <c:pt idx="2365">
                        <c:v>38029</c:v>
                      </c:pt>
                      <c:pt idx="2366">
                        <c:v>38030</c:v>
                      </c:pt>
                      <c:pt idx="2367">
                        <c:v>38033</c:v>
                      </c:pt>
                      <c:pt idx="2368">
                        <c:v>38034</c:v>
                      </c:pt>
                      <c:pt idx="2369">
                        <c:v>38035</c:v>
                      </c:pt>
                      <c:pt idx="2370">
                        <c:v>38036</c:v>
                      </c:pt>
                      <c:pt idx="2371">
                        <c:v>38037</c:v>
                      </c:pt>
                      <c:pt idx="2372">
                        <c:v>38040</c:v>
                      </c:pt>
                      <c:pt idx="2373">
                        <c:v>38041</c:v>
                      </c:pt>
                      <c:pt idx="2374">
                        <c:v>38042</c:v>
                      </c:pt>
                      <c:pt idx="2375">
                        <c:v>38043</c:v>
                      </c:pt>
                      <c:pt idx="2376">
                        <c:v>38044</c:v>
                      </c:pt>
                      <c:pt idx="2377">
                        <c:v>38047</c:v>
                      </c:pt>
                      <c:pt idx="2378">
                        <c:v>38048</c:v>
                      </c:pt>
                      <c:pt idx="2379">
                        <c:v>38049</c:v>
                      </c:pt>
                      <c:pt idx="2380">
                        <c:v>38050</c:v>
                      </c:pt>
                      <c:pt idx="2381">
                        <c:v>38051</c:v>
                      </c:pt>
                      <c:pt idx="2382">
                        <c:v>38054</c:v>
                      </c:pt>
                      <c:pt idx="2383">
                        <c:v>38055</c:v>
                      </c:pt>
                      <c:pt idx="2384">
                        <c:v>38056</c:v>
                      </c:pt>
                      <c:pt idx="2385">
                        <c:v>38057</c:v>
                      </c:pt>
                      <c:pt idx="2386">
                        <c:v>38058</c:v>
                      </c:pt>
                      <c:pt idx="2387">
                        <c:v>38061</c:v>
                      </c:pt>
                      <c:pt idx="2388">
                        <c:v>38062</c:v>
                      </c:pt>
                      <c:pt idx="2389">
                        <c:v>38063</c:v>
                      </c:pt>
                      <c:pt idx="2390">
                        <c:v>38064</c:v>
                      </c:pt>
                      <c:pt idx="2391">
                        <c:v>38065</c:v>
                      </c:pt>
                      <c:pt idx="2392">
                        <c:v>38068</c:v>
                      </c:pt>
                      <c:pt idx="2393">
                        <c:v>38069</c:v>
                      </c:pt>
                      <c:pt idx="2394">
                        <c:v>38070</c:v>
                      </c:pt>
                      <c:pt idx="2395">
                        <c:v>38071</c:v>
                      </c:pt>
                      <c:pt idx="2396">
                        <c:v>38072</c:v>
                      </c:pt>
                      <c:pt idx="2397">
                        <c:v>38075</c:v>
                      </c:pt>
                      <c:pt idx="2398">
                        <c:v>38076</c:v>
                      </c:pt>
                      <c:pt idx="2399">
                        <c:v>38077</c:v>
                      </c:pt>
                      <c:pt idx="2400">
                        <c:v>38078</c:v>
                      </c:pt>
                      <c:pt idx="2401">
                        <c:v>38079</c:v>
                      </c:pt>
                      <c:pt idx="2402">
                        <c:v>38082</c:v>
                      </c:pt>
                      <c:pt idx="2403">
                        <c:v>38083</c:v>
                      </c:pt>
                      <c:pt idx="2404">
                        <c:v>38084</c:v>
                      </c:pt>
                      <c:pt idx="2405">
                        <c:v>38085</c:v>
                      </c:pt>
                      <c:pt idx="2406">
                        <c:v>38086</c:v>
                      </c:pt>
                      <c:pt idx="2407">
                        <c:v>38089</c:v>
                      </c:pt>
                      <c:pt idx="2408">
                        <c:v>38090</c:v>
                      </c:pt>
                      <c:pt idx="2409">
                        <c:v>38091</c:v>
                      </c:pt>
                      <c:pt idx="2410">
                        <c:v>38092</c:v>
                      </c:pt>
                      <c:pt idx="2411">
                        <c:v>38093</c:v>
                      </c:pt>
                      <c:pt idx="2412">
                        <c:v>38096</c:v>
                      </c:pt>
                      <c:pt idx="2413">
                        <c:v>38097</c:v>
                      </c:pt>
                      <c:pt idx="2414">
                        <c:v>38098</c:v>
                      </c:pt>
                      <c:pt idx="2415">
                        <c:v>38099</c:v>
                      </c:pt>
                      <c:pt idx="2416">
                        <c:v>38100</c:v>
                      </c:pt>
                      <c:pt idx="2417">
                        <c:v>38103</c:v>
                      </c:pt>
                      <c:pt idx="2418">
                        <c:v>38104</c:v>
                      </c:pt>
                      <c:pt idx="2419">
                        <c:v>38105</c:v>
                      </c:pt>
                      <c:pt idx="2420">
                        <c:v>38106</c:v>
                      </c:pt>
                      <c:pt idx="2421">
                        <c:v>38107</c:v>
                      </c:pt>
                      <c:pt idx="2422">
                        <c:v>38110</c:v>
                      </c:pt>
                      <c:pt idx="2423">
                        <c:v>38111</c:v>
                      </c:pt>
                      <c:pt idx="2424">
                        <c:v>38112</c:v>
                      </c:pt>
                      <c:pt idx="2425">
                        <c:v>38113</c:v>
                      </c:pt>
                      <c:pt idx="2426">
                        <c:v>38114</c:v>
                      </c:pt>
                      <c:pt idx="2427">
                        <c:v>38117</c:v>
                      </c:pt>
                      <c:pt idx="2428">
                        <c:v>38118</c:v>
                      </c:pt>
                      <c:pt idx="2429">
                        <c:v>38119</c:v>
                      </c:pt>
                      <c:pt idx="2430">
                        <c:v>38120</c:v>
                      </c:pt>
                      <c:pt idx="2431">
                        <c:v>38121</c:v>
                      </c:pt>
                      <c:pt idx="2432">
                        <c:v>38124</c:v>
                      </c:pt>
                      <c:pt idx="2433">
                        <c:v>38125</c:v>
                      </c:pt>
                      <c:pt idx="2434">
                        <c:v>38126</c:v>
                      </c:pt>
                      <c:pt idx="2435">
                        <c:v>38127</c:v>
                      </c:pt>
                      <c:pt idx="2436">
                        <c:v>38128</c:v>
                      </c:pt>
                      <c:pt idx="2437">
                        <c:v>38131</c:v>
                      </c:pt>
                      <c:pt idx="2438">
                        <c:v>38132</c:v>
                      </c:pt>
                      <c:pt idx="2439">
                        <c:v>38133</c:v>
                      </c:pt>
                      <c:pt idx="2440">
                        <c:v>38134</c:v>
                      </c:pt>
                      <c:pt idx="2441">
                        <c:v>38135</c:v>
                      </c:pt>
                      <c:pt idx="2442">
                        <c:v>38138</c:v>
                      </c:pt>
                      <c:pt idx="2443">
                        <c:v>38139</c:v>
                      </c:pt>
                      <c:pt idx="2444">
                        <c:v>38140</c:v>
                      </c:pt>
                      <c:pt idx="2445">
                        <c:v>38141</c:v>
                      </c:pt>
                      <c:pt idx="2446">
                        <c:v>38142</c:v>
                      </c:pt>
                      <c:pt idx="2447">
                        <c:v>38145</c:v>
                      </c:pt>
                      <c:pt idx="2448">
                        <c:v>38146</c:v>
                      </c:pt>
                      <c:pt idx="2449">
                        <c:v>38147</c:v>
                      </c:pt>
                      <c:pt idx="2450">
                        <c:v>38148</c:v>
                      </c:pt>
                      <c:pt idx="2451">
                        <c:v>38149</c:v>
                      </c:pt>
                      <c:pt idx="2452">
                        <c:v>38152</c:v>
                      </c:pt>
                      <c:pt idx="2453">
                        <c:v>38153</c:v>
                      </c:pt>
                      <c:pt idx="2454">
                        <c:v>38154</c:v>
                      </c:pt>
                      <c:pt idx="2455">
                        <c:v>38155</c:v>
                      </c:pt>
                      <c:pt idx="2456">
                        <c:v>38156</c:v>
                      </c:pt>
                      <c:pt idx="2457">
                        <c:v>38159</c:v>
                      </c:pt>
                      <c:pt idx="2458">
                        <c:v>38160</c:v>
                      </c:pt>
                      <c:pt idx="2459">
                        <c:v>38161</c:v>
                      </c:pt>
                      <c:pt idx="2460">
                        <c:v>38162</c:v>
                      </c:pt>
                      <c:pt idx="2461">
                        <c:v>38163</c:v>
                      </c:pt>
                      <c:pt idx="2462">
                        <c:v>38166</c:v>
                      </c:pt>
                      <c:pt idx="2463">
                        <c:v>38167</c:v>
                      </c:pt>
                      <c:pt idx="2464">
                        <c:v>38168</c:v>
                      </c:pt>
                      <c:pt idx="2465">
                        <c:v>38169</c:v>
                      </c:pt>
                      <c:pt idx="2466">
                        <c:v>38170</c:v>
                      </c:pt>
                      <c:pt idx="2467">
                        <c:v>38173</c:v>
                      </c:pt>
                      <c:pt idx="2468">
                        <c:v>38174</c:v>
                      </c:pt>
                      <c:pt idx="2469">
                        <c:v>38175</c:v>
                      </c:pt>
                      <c:pt idx="2470">
                        <c:v>38176</c:v>
                      </c:pt>
                      <c:pt idx="2471">
                        <c:v>38177</c:v>
                      </c:pt>
                      <c:pt idx="2472">
                        <c:v>38180</c:v>
                      </c:pt>
                      <c:pt idx="2473">
                        <c:v>38181</c:v>
                      </c:pt>
                      <c:pt idx="2474">
                        <c:v>38182</c:v>
                      </c:pt>
                      <c:pt idx="2475">
                        <c:v>38183</c:v>
                      </c:pt>
                      <c:pt idx="2476">
                        <c:v>38184</c:v>
                      </c:pt>
                      <c:pt idx="2477">
                        <c:v>38187</c:v>
                      </c:pt>
                      <c:pt idx="2478">
                        <c:v>38188</c:v>
                      </c:pt>
                      <c:pt idx="2479">
                        <c:v>38189</c:v>
                      </c:pt>
                      <c:pt idx="2480">
                        <c:v>38190</c:v>
                      </c:pt>
                      <c:pt idx="2481">
                        <c:v>38191</c:v>
                      </c:pt>
                      <c:pt idx="2482">
                        <c:v>38194</c:v>
                      </c:pt>
                      <c:pt idx="2483">
                        <c:v>38195</c:v>
                      </c:pt>
                      <c:pt idx="2484">
                        <c:v>38196</c:v>
                      </c:pt>
                      <c:pt idx="2485">
                        <c:v>38197</c:v>
                      </c:pt>
                      <c:pt idx="2486">
                        <c:v>38198</c:v>
                      </c:pt>
                      <c:pt idx="2487">
                        <c:v>38201</c:v>
                      </c:pt>
                      <c:pt idx="2488">
                        <c:v>38202</c:v>
                      </c:pt>
                      <c:pt idx="2489">
                        <c:v>38203</c:v>
                      </c:pt>
                      <c:pt idx="2490">
                        <c:v>38204</c:v>
                      </c:pt>
                      <c:pt idx="2491">
                        <c:v>38205</c:v>
                      </c:pt>
                      <c:pt idx="2492">
                        <c:v>38208</c:v>
                      </c:pt>
                      <c:pt idx="2493">
                        <c:v>38209</c:v>
                      </c:pt>
                      <c:pt idx="2494">
                        <c:v>38210</c:v>
                      </c:pt>
                      <c:pt idx="2495">
                        <c:v>38211</c:v>
                      </c:pt>
                      <c:pt idx="2496">
                        <c:v>38212</c:v>
                      </c:pt>
                      <c:pt idx="2497">
                        <c:v>38215</c:v>
                      </c:pt>
                      <c:pt idx="2498">
                        <c:v>38216</c:v>
                      </c:pt>
                      <c:pt idx="2499">
                        <c:v>38217</c:v>
                      </c:pt>
                      <c:pt idx="2500">
                        <c:v>38218</c:v>
                      </c:pt>
                      <c:pt idx="2501">
                        <c:v>38219</c:v>
                      </c:pt>
                      <c:pt idx="2502">
                        <c:v>38222</c:v>
                      </c:pt>
                      <c:pt idx="2503">
                        <c:v>38223</c:v>
                      </c:pt>
                      <c:pt idx="2504">
                        <c:v>38224</c:v>
                      </c:pt>
                      <c:pt idx="2505">
                        <c:v>38225</c:v>
                      </c:pt>
                      <c:pt idx="2506">
                        <c:v>38226</c:v>
                      </c:pt>
                      <c:pt idx="2507">
                        <c:v>38229</c:v>
                      </c:pt>
                      <c:pt idx="2508">
                        <c:v>38230</c:v>
                      </c:pt>
                      <c:pt idx="2509">
                        <c:v>38231</c:v>
                      </c:pt>
                      <c:pt idx="2510">
                        <c:v>38232</c:v>
                      </c:pt>
                      <c:pt idx="2511">
                        <c:v>38233</c:v>
                      </c:pt>
                      <c:pt idx="2512">
                        <c:v>38236</c:v>
                      </c:pt>
                      <c:pt idx="2513">
                        <c:v>38237</c:v>
                      </c:pt>
                      <c:pt idx="2514">
                        <c:v>38238</c:v>
                      </c:pt>
                      <c:pt idx="2515">
                        <c:v>38239</c:v>
                      </c:pt>
                      <c:pt idx="2516">
                        <c:v>38240</c:v>
                      </c:pt>
                      <c:pt idx="2517">
                        <c:v>38243</c:v>
                      </c:pt>
                      <c:pt idx="2518">
                        <c:v>38244</c:v>
                      </c:pt>
                      <c:pt idx="2519">
                        <c:v>38245</c:v>
                      </c:pt>
                      <c:pt idx="2520">
                        <c:v>38246</c:v>
                      </c:pt>
                      <c:pt idx="2521">
                        <c:v>38247</c:v>
                      </c:pt>
                      <c:pt idx="2522">
                        <c:v>38250</c:v>
                      </c:pt>
                      <c:pt idx="2523">
                        <c:v>38251</c:v>
                      </c:pt>
                      <c:pt idx="2524">
                        <c:v>38252</c:v>
                      </c:pt>
                      <c:pt idx="2525">
                        <c:v>38253</c:v>
                      </c:pt>
                      <c:pt idx="2526">
                        <c:v>38254</c:v>
                      </c:pt>
                      <c:pt idx="2527">
                        <c:v>38257</c:v>
                      </c:pt>
                      <c:pt idx="2528">
                        <c:v>38258</c:v>
                      </c:pt>
                      <c:pt idx="2529">
                        <c:v>38259</c:v>
                      </c:pt>
                      <c:pt idx="2530">
                        <c:v>38260</c:v>
                      </c:pt>
                      <c:pt idx="2531">
                        <c:v>38261</c:v>
                      </c:pt>
                      <c:pt idx="2532">
                        <c:v>38264</c:v>
                      </c:pt>
                      <c:pt idx="2533">
                        <c:v>38265</c:v>
                      </c:pt>
                      <c:pt idx="2534">
                        <c:v>38266</c:v>
                      </c:pt>
                      <c:pt idx="2535">
                        <c:v>38267</c:v>
                      </c:pt>
                      <c:pt idx="2536">
                        <c:v>38268</c:v>
                      </c:pt>
                      <c:pt idx="2537">
                        <c:v>38271</c:v>
                      </c:pt>
                      <c:pt idx="2538">
                        <c:v>38272</c:v>
                      </c:pt>
                      <c:pt idx="2539">
                        <c:v>38273</c:v>
                      </c:pt>
                      <c:pt idx="2540">
                        <c:v>38274</c:v>
                      </c:pt>
                      <c:pt idx="2541">
                        <c:v>38275</c:v>
                      </c:pt>
                      <c:pt idx="2542">
                        <c:v>38278</c:v>
                      </c:pt>
                      <c:pt idx="2543">
                        <c:v>38279</c:v>
                      </c:pt>
                      <c:pt idx="2544">
                        <c:v>38280</c:v>
                      </c:pt>
                      <c:pt idx="2545">
                        <c:v>38281</c:v>
                      </c:pt>
                      <c:pt idx="2546">
                        <c:v>38282</c:v>
                      </c:pt>
                      <c:pt idx="2547">
                        <c:v>38285</c:v>
                      </c:pt>
                      <c:pt idx="2548">
                        <c:v>38286</c:v>
                      </c:pt>
                      <c:pt idx="2549">
                        <c:v>38287</c:v>
                      </c:pt>
                      <c:pt idx="2550">
                        <c:v>38288</c:v>
                      </c:pt>
                      <c:pt idx="2551">
                        <c:v>38289</c:v>
                      </c:pt>
                      <c:pt idx="2552">
                        <c:v>38292</c:v>
                      </c:pt>
                      <c:pt idx="2553">
                        <c:v>38293</c:v>
                      </c:pt>
                      <c:pt idx="2554">
                        <c:v>38294</c:v>
                      </c:pt>
                      <c:pt idx="2555">
                        <c:v>38295</c:v>
                      </c:pt>
                      <c:pt idx="2556">
                        <c:v>38296</c:v>
                      </c:pt>
                      <c:pt idx="2557">
                        <c:v>38299</c:v>
                      </c:pt>
                      <c:pt idx="2558">
                        <c:v>38300</c:v>
                      </c:pt>
                      <c:pt idx="2559">
                        <c:v>38301</c:v>
                      </c:pt>
                      <c:pt idx="2560">
                        <c:v>38302</c:v>
                      </c:pt>
                      <c:pt idx="2561">
                        <c:v>38303</c:v>
                      </c:pt>
                      <c:pt idx="2562">
                        <c:v>38306</c:v>
                      </c:pt>
                      <c:pt idx="2563">
                        <c:v>38307</c:v>
                      </c:pt>
                      <c:pt idx="2564">
                        <c:v>38308</c:v>
                      </c:pt>
                      <c:pt idx="2565">
                        <c:v>38309</c:v>
                      </c:pt>
                      <c:pt idx="2566">
                        <c:v>38310</c:v>
                      </c:pt>
                      <c:pt idx="2567">
                        <c:v>38313</c:v>
                      </c:pt>
                      <c:pt idx="2568">
                        <c:v>38314</c:v>
                      </c:pt>
                      <c:pt idx="2569">
                        <c:v>38315</c:v>
                      </c:pt>
                      <c:pt idx="2570">
                        <c:v>38316</c:v>
                      </c:pt>
                      <c:pt idx="2571">
                        <c:v>38317</c:v>
                      </c:pt>
                      <c:pt idx="2572">
                        <c:v>38320</c:v>
                      </c:pt>
                      <c:pt idx="2573">
                        <c:v>38321</c:v>
                      </c:pt>
                      <c:pt idx="2574">
                        <c:v>38322</c:v>
                      </c:pt>
                      <c:pt idx="2575">
                        <c:v>38323</c:v>
                      </c:pt>
                      <c:pt idx="2576">
                        <c:v>38324</c:v>
                      </c:pt>
                      <c:pt idx="2577">
                        <c:v>38327</c:v>
                      </c:pt>
                      <c:pt idx="2578">
                        <c:v>38328</c:v>
                      </c:pt>
                      <c:pt idx="2579">
                        <c:v>38329</c:v>
                      </c:pt>
                      <c:pt idx="2580">
                        <c:v>38330</c:v>
                      </c:pt>
                      <c:pt idx="2581">
                        <c:v>38331</c:v>
                      </c:pt>
                      <c:pt idx="2582">
                        <c:v>38334</c:v>
                      </c:pt>
                      <c:pt idx="2583">
                        <c:v>38335</c:v>
                      </c:pt>
                      <c:pt idx="2584">
                        <c:v>38336</c:v>
                      </c:pt>
                      <c:pt idx="2585">
                        <c:v>38337</c:v>
                      </c:pt>
                      <c:pt idx="2586">
                        <c:v>38338</c:v>
                      </c:pt>
                      <c:pt idx="2587">
                        <c:v>38341</c:v>
                      </c:pt>
                      <c:pt idx="2588">
                        <c:v>38342</c:v>
                      </c:pt>
                      <c:pt idx="2589">
                        <c:v>38343</c:v>
                      </c:pt>
                      <c:pt idx="2590">
                        <c:v>38344</c:v>
                      </c:pt>
                      <c:pt idx="2591">
                        <c:v>38345</c:v>
                      </c:pt>
                      <c:pt idx="2592">
                        <c:v>38348</c:v>
                      </c:pt>
                      <c:pt idx="2593">
                        <c:v>38349</c:v>
                      </c:pt>
                      <c:pt idx="2594">
                        <c:v>38350</c:v>
                      </c:pt>
                      <c:pt idx="2595">
                        <c:v>38351</c:v>
                      </c:pt>
                      <c:pt idx="2596">
                        <c:v>38352</c:v>
                      </c:pt>
                      <c:pt idx="2597">
                        <c:v>38355</c:v>
                      </c:pt>
                      <c:pt idx="2598">
                        <c:v>38356</c:v>
                      </c:pt>
                      <c:pt idx="2599">
                        <c:v>38357</c:v>
                      </c:pt>
                      <c:pt idx="2600">
                        <c:v>38358</c:v>
                      </c:pt>
                      <c:pt idx="2601">
                        <c:v>38359</c:v>
                      </c:pt>
                      <c:pt idx="2602">
                        <c:v>38362</c:v>
                      </c:pt>
                      <c:pt idx="2603">
                        <c:v>38363</c:v>
                      </c:pt>
                      <c:pt idx="2604">
                        <c:v>38364</c:v>
                      </c:pt>
                      <c:pt idx="2605">
                        <c:v>38365</c:v>
                      </c:pt>
                      <c:pt idx="2606">
                        <c:v>38366</c:v>
                      </c:pt>
                      <c:pt idx="2607">
                        <c:v>38369</c:v>
                      </c:pt>
                      <c:pt idx="2608">
                        <c:v>38370</c:v>
                      </c:pt>
                      <c:pt idx="2609">
                        <c:v>38371</c:v>
                      </c:pt>
                      <c:pt idx="2610">
                        <c:v>38372</c:v>
                      </c:pt>
                      <c:pt idx="2611">
                        <c:v>38373</c:v>
                      </c:pt>
                      <c:pt idx="2612">
                        <c:v>38376</c:v>
                      </c:pt>
                      <c:pt idx="2613">
                        <c:v>38377</c:v>
                      </c:pt>
                      <c:pt idx="2614">
                        <c:v>38378</c:v>
                      </c:pt>
                      <c:pt idx="2615">
                        <c:v>38379</c:v>
                      </c:pt>
                      <c:pt idx="2616">
                        <c:v>38380</c:v>
                      </c:pt>
                      <c:pt idx="2617">
                        <c:v>38383</c:v>
                      </c:pt>
                      <c:pt idx="2618">
                        <c:v>38384</c:v>
                      </c:pt>
                      <c:pt idx="2619">
                        <c:v>38385</c:v>
                      </c:pt>
                      <c:pt idx="2620">
                        <c:v>38386</c:v>
                      </c:pt>
                      <c:pt idx="2621">
                        <c:v>38387</c:v>
                      </c:pt>
                      <c:pt idx="2622">
                        <c:v>38390</c:v>
                      </c:pt>
                      <c:pt idx="2623">
                        <c:v>38391</c:v>
                      </c:pt>
                      <c:pt idx="2624">
                        <c:v>38392</c:v>
                      </c:pt>
                      <c:pt idx="2625">
                        <c:v>38393</c:v>
                      </c:pt>
                      <c:pt idx="2626">
                        <c:v>38394</c:v>
                      </c:pt>
                      <c:pt idx="2627">
                        <c:v>38397</c:v>
                      </c:pt>
                      <c:pt idx="2628">
                        <c:v>38398</c:v>
                      </c:pt>
                      <c:pt idx="2629">
                        <c:v>38399</c:v>
                      </c:pt>
                      <c:pt idx="2630">
                        <c:v>38400</c:v>
                      </c:pt>
                      <c:pt idx="2631">
                        <c:v>38401</c:v>
                      </c:pt>
                      <c:pt idx="2632">
                        <c:v>38404</c:v>
                      </c:pt>
                      <c:pt idx="2633">
                        <c:v>38405</c:v>
                      </c:pt>
                      <c:pt idx="2634">
                        <c:v>38406</c:v>
                      </c:pt>
                      <c:pt idx="2635">
                        <c:v>38407</c:v>
                      </c:pt>
                      <c:pt idx="2636">
                        <c:v>38408</c:v>
                      </c:pt>
                      <c:pt idx="2637">
                        <c:v>38411</c:v>
                      </c:pt>
                      <c:pt idx="2638">
                        <c:v>38412</c:v>
                      </c:pt>
                      <c:pt idx="2639">
                        <c:v>38413</c:v>
                      </c:pt>
                      <c:pt idx="2640">
                        <c:v>38414</c:v>
                      </c:pt>
                      <c:pt idx="2641">
                        <c:v>38415</c:v>
                      </c:pt>
                      <c:pt idx="2642">
                        <c:v>38418</c:v>
                      </c:pt>
                      <c:pt idx="2643">
                        <c:v>38419</c:v>
                      </c:pt>
                      <c:pt idx="2644">
                        <c:v>38420</c:v>
                      </c:pt>
                      <c:pt idx="2645">
                        <c:v>38421</c:v>
                      </c:pt>
                      <c:pt idx="2646">
                        <c:v>38422</c:v>
                      </c:pt>
                      <c:pt idx="2647">
                        <c:v>38425</c:v>
                      </c:pt>
                      <c:pt idx="2648">
                        <c:v>38426</c:v>
                      </c:pt>
                      <c:pt idx="2649">
                        <c:v>38427</c:v>
                      </c:pt>
                      <c:pt idx="2650">
                        <c:v>38428</c:v>
                      </c:pt>
                      <c:pt idx="2651">
                        <c:v>38429</c:v>
                      </c:pt>
                      <c:pt idx="2652">
                        <c:v>38432</c:v>
                      </c:pt>
                      <c:pt idx="2653">
                        <c:v>38433</c:v>
                      </c:pt>
                      <c:pt idx="2654">
                        <c:v>38434</c:v>
                      </c:pt>
                      <c:pt idx="2655">
                        <c:v>38435</c:v>
                      </c:pt>
                      <c:pt idx="2656">
                        <c:v>38436</c:v>
                      </c:pt>
                      <c:pt idx="2657">
                        <c:v>38439</c:v>
                      </c:pt>
                      <c:pt idx="2658">
                        <c:v>38440</c:v>
                      </c:pt>
                      <c:pt idx="2659">
                        <c:v>38441</c:v>
                      </c:pt>
                      <c:pt idx="2660">
                        <c:v>38442</c:v>
                      </c:pt>
                      <c:pt idx="2661">
                        <c:v>38443</c:v>
                      </c:pt>
                      <c:pt idx="2662">
                        <c:v>38446</c:v>
                      </c:pt>
                      <c:pt idx="2663">
                        <c:v>38447</c:v>
                      </c:pt>
                      <c:pt idx="2664">
                        <c:v>38448</c:v>
                      </c:pt>
                      <c:pt idx="2665">
                        <c:v>38449</c:v>
                      </c:pt>
                      <c:pt idx="2666">
                        <c:v>38450</c:v>
                      </c:pt>
                      <c:pt idx="2667">
                        <c:v>38453</c:v>
                      </c:pt>
                      <c:pt idx="2668">
                        <c:v>38454</c:v>
                      </c:pt>
                      <c:pt idx="2669">
                        <c:v>38455</c:v>
                      </c:pt>
                      <c:pt idx="2670">
                        <c:v>38456</c:v>
                      </c:pt>
                      <c:pt idx="2671">
                        <c:v>38457</c:v>
                      </c:pt>
                      <c:pt idx="2672">
                        <c:v>38460</c:v>
                      </c:pt>
                      <c:pt idx="2673">
                        <c:v>38461</c:v>
                      </c:pt>
                      <c:pt idx="2674">
                        <c:v>38462</c:v>
                      </c:pt>
                      <c:pt idx="2675">
                        <c:v>38463</c:v>
                      </c:pt>
                      <c:pt idx="2676">
                        <c:v>38464</c:v>
                      </c:pt>
                      <c:pt idx="2677">
                        <c:v>38467</c:v>
                      </c:pt>
                      <c:pt idx="2678">
                        <c:v>38468</c:v>
                      </c:pt>
                      <c:pt idx="2679">
                        <c:v>38469</c:v>
                      </c:pt>
                      <c:pt idx="2680">
                        <c:v>38470</c:v>
                      </c:pt>
                      <c:pt idx="2681">
                        <c:v>38471</c:v>
                      </c:pt>
                      <c:pt idx="2682">
                        <c:v>38474</c:v>
                      </c:pt>
                      <c:pt idx="2683">
                        <c:v>38475</c:v>
                      </c:pt>
                      <c:pt idx="2684">
                        <c:v>38476</c:v>
                      </c:pt>
                      <c:pt idx="2685">
                        <c:v>38477</c:v>
                      </c:pt>
                      <c:pt idx="2686">
                        <c:v>38478</c:v>
                      </c:pt>
                      <c:pt idx="2687">
                        <c:v>38481</c:v>
                      </c:pt>
                      <c:pt idx="2688">
                        <c:v>38482</c:v>
                      </c:pt>
                      <c:pt idx="2689">
                        <c:v>38483</c:v>
                      </c:pt>
                      <c:pt idx="2690">
                        <c:v>38484</c:v>
                      </c:pt>
                      <c:pt idx="2691">
                        <c:v>38485</c:v>
                      </c:pt>
                      <c:pt idx="2692">
                        <c:v>38488</c:v>
                      </c:pt>
                      <c:pt idx="2693">
                        <c:v>38489</c:v>
                      </c:pt>
                      <c:pt idx="2694">
                        <c:v>38490</c:v>
                      </c:pt>
                      <c:pt idx="2695">
                        <c:v>38491</c:v>
                      </c:pt>
                      <c:pt idx="2696">
                        <c:v>38492</c:v>
                      </c:pt>
                      <c:pt idx="2697">
                        <c:v>38495</c:v>
                      </c:pt>
                      <c:pt idx="2698">
                        <c:v>38496</c:v>
                      </c:pt>
                      <c:pt idx="2699">
                        <c:v>38497</c:v>
                      </c:pt>
                      <c:pt idx="2700">
                        <c:v>38498</c:v>
                      </c:pt>
                      <c:pt idx="2701">
                        <c:v>38499</c:v>
                      </c:pt>
                      <c:pt idx="2702">
                        <c:v>38502</c:v>
                      </c:pt>
                      <c:pt idx="2703">
                        <c:v>38503</c:v>
                      </c:pt>
                      <c:pt idx="2704">
                        <c:v>38504</c:v>
                      </c:pt>
                      <c:pt idx="2705">
                        <c:v>38505</c:v>
                      </c:pt>
                      <c:pt idx="2706">
                        <c:v>38506</c:v>
                      </c:pt>
                      <c:pt idx="2707">
                        <c:v>38509</c:v>
                      </c:pt>
                      <c:pt idx="2708">
                        <c:v>38510</c:v>
                      </c:pt>
                      <c:pt idx="2709">
                        <c:v>38511</c:v>
                      </c:pt>
                      <c:pt idx="2710">
                        <c:v>38512</c:v>
                      </c:pt>
                      <c:pt idx="2711">
                        <c:v>38513</c:v>
                      </c:pt>
                      <c:pt idx="2712">
                        <c:v>38516</c:v>
                      </c:pt>
                      <c:pt idx="2713">
                        <c:v>38517</c:v>
                      </c:pt>
                      <c:pt idx="2714">
                        <c:v>38518</c:v>
                      </c:pt>
                      <c:pt idx="2715">
                        <c:v>38519</c:v>
                      </c:pt>
                      <c:pt idx="2716">
                        <c:v>38520</c:v>
                      </c:pt>
                      <c:pt idx="2717">
                        <c:v>38523</c:v>
                      </c:pt>
                      <c:pt idx="2718">
                        <c:v>38524</c:v>
                      </c:pt>
                      <c:pt idx="2719">
                        <c:v>38525</c:v>
                      </c:pt>
                      <c:pt idx="2720">
                        <c:v>38526</c:v>
                      </c:pt>
                      <c:pt idx="2721">
                        <c:v>38527</c:v>
                      </c:pt>
                      <c:pt idx="2722">
                        <c:v>38530</c:v>
                      </c:pt>
                      <c:pt idx="2723">
                        <c:v>38531</c:v>
                      </c:pt>
                      <c:pt idx="2724">
                        <c:v>38532</c:v>
                      </c:pt>
                      <c:pt idx="2725">
                        <c:v>38533</c:v>
                      </c:pt>
                      <c:pt idx="2726">
                        <c:v>38534</c:v>
                      </c:pt>
                      <c:pt idx="2727">
                        <c:v>38537</c:v>
                      </c:pt>
                      <c:pt idx="2728">
                        <c:v>38538</c:v>
                      </c:pt>
                      <c:pt idx="2729">
                        <c:v>38539</c:v>
                      </c:pt>
                      <c:pt idx="2730">
                        <c:v>38540</c:v>
                      </c:pt>
                      <c:pt idx="2731">
                        <c:v>38541</c:v>
                      </c:pt>
                      <c:pt idx="2732">
                        <c:v>38544</c:v>
                      </c:pt>
                      <c:pt idx="2733">
                        <c:v>38545</c:v>
                      </c:pt>
                      <c:pt idx="2734">
                        <c:v>38546</c:v>
                      </c:pt>
                      <c:pt idx="2735">
                        <c:v>38547</c:v>
                      </c:pt>
                      <c:pt idx="2736">
                        <c:v>38548</c:v>
                      </c:pt>
                      <c:pt idx="2737">
                        <c:v>38551</c:v>
                      </c:pt>
                      <c:pt idx="2738">
                        <c:v>38552</c:v>
                      </c:pt>
                      <c:pt idx="2739">
                        <c:v>38553</c:v>
                      </c:pt>
                      <c:pt idx="2740">
                        <c:v>38554</c:v>
                      </c:pt>
                      <c:pt idx="2741">
                        <c:v>38555</c:v>
                      </c:pt>
                      <c:pt idx="2742">
                        <c:v>38558</c:v>
                      </c:pt>
                      <c:pt idx="2743">
                        <c:v>38559</c:v>
                      </c:pt>
                      <c:pt idx="2744">
                        <c:v>38560</c:v>
                      </c:pt>
                      <c:pt idx="2745">
                        <c:v>38561</c:v>
                      </c:pt>
                      <c:pt idx="2746">
                        <c:v>38562</c:v>
                      </c:pt>
                      <c:pt idx="2747">
                        <c:v>38565</c:v>
                      </c:pt>
                      <c:pt idx="2748">
                        <c:v>38566</c:v>
                      </c:pt>
                      <c:pt idx="2749">
                        <c:v>38567</c:v>
                      </c:pt>
                      <c:pt idx="2750">
                        <c:v>38568</c:v>
                      </c:pt>
                      <c:pt idx="2751">
                        <c:v>38569</c:v>
                      </c:pt>
                      <c:pt idx="2752">
                        <c:v>38572</c:v>
                      </c:pt>
                      <c:pt idx="2753">
                        <c:v>38573</c:v>
                      </c:pt>
                      <c:pt idx="2754">
                        <c:v>38574</c:v>
                      </c:pt>
                      <c:pt idx="2755">
                        <c:v>38575</c:v>
                      </c:pt>
                      <c:pt idx="2756">
                        <c:v>38576</c:v>
                      </c:pt>
                      <c:pt idx="2757">
                        <c:v>38579</c:v>
                      </c:pt>
                      <c:pt idx="2758">
                        <c:v>38580</c:v>
                      </c:pt>
                      <c:pt idx="2759">
                        <c:v>38581</c:v>
                      </c:pt>
                      <c:pt idx="2760">
                        <c:v>38582</c:v>
                      </c:pt>
                      <c:pt idx="2761">
                        <c:v>38583</c:v>
                      </c:pt>
                      <c:pt idx="2762">
                        <c:v>38586</c:v>
                      </c:pt>
                      <c:pt idx="2763">
                        <c:v>38587</c:v>
                      </c:pt>
                      <c:pt idx="2764">
                        <c:v>38588</c:v>
                      </c:pt>
                      <c:pt idx="2765">
                        <c:v>38589</c:v>
                      </c:pt>
                      <c:pt idx="2766">
                        <c:v>38590</c:v>
                      </c:pt>
                      <c:pt idx="2767">
                        <c:v>38593</c:v>
                      </c:pt>
                      <c:pt idx="2768">
                        <c:v>38594</c:v>
                      </c:pt>
                      <c:pt idx="2769">
                        <c:v>38595</c:v>
                      </c:pt>
                      <c:pt idx="2770">
                        <c:v>38596</c:v>
                      </c:pt>
                      <c:pt idx="2771">
                        <c:v>38597</c:v>
                      </c:pt>
                      <c:pt idx="2772">
                        <c:v>38600</c:v>
                      </c:pt>
                      <c:pt idx="2773">
                        <c:v>38601</c:v>
                      </c:pt>
                      <c:pt idx="2774">
                        <c:v>38602</c:v>
                      </c:pt>
                      <c:pt idx="2775">
                        <c:v>38603</c:v>
                      </c:pt>
                      <c:pt idx="2776">
                        <c:v>38604</c:v>
                      </c:pt>
                      <c:pt idx="2777">
                        <c:v>38607</c:v>
                      </c:pt>
                      <c:pt idx="2778">
                        <c:v>38608</c:v>
                      </c:pt>
                      <c:pt idx="2779">
                        <c:v>38609</c:v>
                      </c:pt>
                      <c:pt idx="2780">
                        <c:v>38610</c:v>
                      </c:pt>
                      <c:pt idx="2781">
                        <c:v>38611</c:v>
                      </c:pt>
                      <c:pt idx="2782">
                        <c:v>38614</c:v>
                      </c:pt>
                      <c:pt idx="2783">
                        <c:v>38615</c:v>
                      </c:pt>
                      <c:pt idx="2784">
                        <c:v>38616</c:v>
                      </c:pt>
                      <c:pt idx="2785">
                        <c:v>38617</c:v>
                      </c:pt>
                      <c:pt idx="2786">
                        <c:v>38618</c:v>
                      </c:pt>
                      <c:pt idx="2787">
                        <c:v>38621</c:v>
                      </c:pt>
                      <c:pt idx="2788">
                        <c:v>38622</c:v>
                      </c:pt>
                      <c:pt idx="2789">
                        <c:v>38623</c:v>
                      </c:pt>
                      <c:pt idx="2790">
                        <c:v>38624</c:v>
                      </c:pt>
                      <c:pt idx="2791">
                        <c:v>38625</c:v>
                      </c:pt>
                      <c:pt idx="2792">
                        <c:v>38628</c:v>
                      </c:pt>
                      <c:pt idx="2793">
                        <c:v>38629</c:v>
                      </c:pt>
                      <c:pt idx="2794">
                        <c:v>38630</c:v>
                      </c:pt>
                      <c:pt idx="2795">
                        <c:v>38631</c:v>
                      </c:pt>
                      <c:pt idx="2796">
                        <c:v>38632</c:v>
                      </c:pt>
                      <c:pt idx="2797">
                        <c:v>38635</c:v>
                      </c:pt>
                      <c:pt idx="2798">
                        <c:v>38636</c:v>
                      </c:pt>
                      <c:pt idx="2799">
                        <c:v>38637</c:v>
                      </c:pt>
                      <c:pt idx="2800">
                        <c:v>38638</c:v>
                      </c:pt>
                      <c:pt idx="2801">
                        <c:v>38639</c:v>
                      </c:pt>
                      <c:pt idx="2802">
                        <c:v>38642</c:v>
                      </c:pt>
                      <c:pt idx="2803">
                        <c:v>38643</c:v>
                      </c:pt>
                      <c:pt idx="2804">
                        <c:v>38644</c:v>
                      </c:pt>
                      <c:pt idx="2805">
                        <c:v>38645</c:v>
                      </c:pt>
                      <c:pt idx="2806">
                        <c:v>38646</c:v>
                      </c:pt>
                      <c:pt idx="2807">
                        <c:v>38649</c:v>
                      </c:pt>
                      <c:pt idx="2808">
                        <c:v>38650</c:v>
                      </c:pt>
                      <c:pt idx="2809">
                        <c:v>38651</c:v>
                      </c:pt>
                      <c:pt idx="2810">
                        <c:v>38652</c:v>
                      </c:pt>
                      <c:pt idx="2811">
                        <c:v>38653</c:v>
                      </c:pt>
                      <c:pt idx="2812">
                        <c:v>38656</c:v>
                      </c:pt>
                      <c:pt idx="2813">
                        <c:v>38657</c:v>
                      </c:pt>
                      <c:pt idx="2814">
                        <c:v>38658</c:v>
                      </c:pt>
                      <c:pt idx="2815">
                        <c:v>38659</c:v>
                      </c:pt>
                      <c:pt idx="2816">
                        <c:v>38660</c:v>
                      </c:pt>
                      <c:pt idx="2817">
                        <c:v>38663</c:v>
                      </c:pt>
                      <c:pt idx="2818">
                        <c:v>38664</c:v>
                      </c:pt>
                      <c:pt idx="2819">
                        <c:v>38665</c:v>
                      </c:pt>
                      <c:pt idx="2820">
                        <c:v>38666</c:v>
                      </c:pt>
                      <c:pt idx="2821">
                        <c:v>38667</c:v>
                      </c:pt>
                      <c:pt idx="2822">
                        <c:v>38670</c:v>
                      </c:pt>
                      <c:pt idx="2823">
                        <c:v>38671</c:v>
                      </c:pt>
                      <c:pt idx="2824">
                        <c:v>38672</c:v>
                      </c:pt>
                      <c:pt idx="2825">
                        <c:v>38673</c:v>
                      </c:pt>
                      <c:pt idx="2826">
                        <c:v>38674</c:v>
                      </c:pt>
                      <c:pt idx="2827">
                        <c:v>38677</c:v>
                      </c:pt>
                      <c:pt idx="2828">
                        <c:v>38678</c:v>
                      </c:pt>
                      <c:pt idx="2829">
                        <c:v>38679</c:v>
                      </c:pt>
                      <c:pt idx="2830">
                        <c:v>38680</c:v>
                      </c:pt>
                      <c:pt idx="2831">
                        <c:v>38681</c:v>
                      </c:pt>
                      <c:pt idx="2832">
                        <c:v>38684</c:v>
                      </c:pt>
                      <c:pt idx="2833">
                        <c:v>38685</c:v>
                      </c:pt>
                      <c:pt idx="2834">
                        <c:v>38686</c:v>
                      </c:pt>
                      <c:pt idx="2835">
                        <c:v>38687</c:v>
                      </c:pt>
                      <c:pt idx="2836">
                        <c:v>38688</c:v>
                      </c:pt>
                      <c:pt idx="2837">
                        <c:v>38691</c:v>
                      </c:pt>
                      <c:pt idx="2838">
                        <c:v>38692</c:v>
                      </c:pt>
                      <c:pt idx="2839">
                        <c:v>38693</c:v>
                      </c:pt>
                      <c:pt idx="2840">
                        <c:v>38694</c:v>
                      </c:pt>
                      <c:pt idx="2841">
                        <c:v>38695</c:v>
                      </c:pt>
                      <c:pt idx="2842">
                        <c:v>38698</c:v>
                      </c:pt>
                      <c:pt idx="2843">
                        <c:v>38699</c:v>
                      </c:pt>
                      <c:pt idx="2844">
                        <c:v>38700</c:v>
                      </c:pt>
                      <c:pt idx="2845">
                        <c:v>38701</c:v>
                      </c:pt>
                      <c:pt idx="2846">
                        <c:v>38702</c:v>
                      </c:pt>
                      <c:pt idx="2847">
                        <c:v>38705</c:v>
                      </c:pt>
                      <c:pt idx="2848">
                        <c:v>38706</c:v>
                      </c:pt>
                      <c:pt idx="2849">
                        <c:v>38707</c:v>
                      </c:pt>
                      <c:pt idx="2850">
                        <c:v>38708</c:v>
                      </c:pt>
                      <c:pt idx="2851">
                        <c:v>38709</c:v>
                      </c:pt>
                      <c:pt idx="2852">
                        <c:v>38712</c:v>
                      </c:pt>
                      <c:pt idx="2853">
                        <c:v>38713</c:v>
                      </c:pt>
                      <c:pt idx="2854">
                        <c:v>38714</c:v>
                      </c:pt>
                      <c:pt idx="2855">
                        <c:v>38715</c:v>
                      </c:pt>
                      <c:pt idx="2856">
                        <c:v>38716</c:v>
                      </c:pt>
                      <c:pt idx="2857">
                        <c:v>38719</c:v>
                      </c:pt>
                      <c:pt idx="2858">
                        <c:v>38720</c:v>
                      </c:pt>
                      <c:pt idx="2859">
                        <c:v>38721</c:v>
                      </c:pt>
                      <c:pt idx="2860">
                        <c:v>38722</c:v>
                      </c:pt>
                      <c:pt idx="2861">
                        <c:v>38723</c:v>
                      </c:pt>
                      <c:pt idx="2862">
                        <c:v>38726</c:v>
                      </c:pt>
                      <c:pt idx="2863">
                        <c:v>38727</c:v>
                      </c:pt>
                      <c:pt idx="2864">
                        <c:v>38728</c:v>
                      </c:pt>
                      <c:pt idx="2865">
                        <c:v>38729</c:v>
                      </c:pt>
                      <c:pt idx="2866">
                        <c:v>38730</c:v>
                      </c:pt>
                      <c:pt idx="2867">
                        <c:v>38733</c:v>
                      </c:pt>
                      <c:pt idx="2868">
                        <c:v>38734</c:v>
                      </c:pt>
                      <c:pt idx="2869">
                        <c:v>38735</c:v>
                      </c:pt>
                      <c:pt idx="2870">
                        <c:v>38736</c:v>
                      </c:pt>
                      <c:pt idx="2871">
                        <c:v>38737</c:v>
                      </c:pt>
                      <c:pt idx="2872">
                        <c:v>38740</c:v>
                      </c:pt>
                      <c:pt idx="2873">
                        <c:v>38741</c:v>
                      </c:pt>
                      <c:pt idx="2874">
                        <c:v>38742</c:v>
                      </c:pt>
                      <c:pt idx="2875">
                        <c:v>38743</c:v>
                      </c:pt>
                      <c:pt idx="2876">
                        <c:v>38744</c:v>
                      </c:pt>
                      <c:pt idx="2877">
                        <c:v>38747</c:v>
                      </c:pt>
                      <c:pt idx="2878">
                        <c:v>38748</c:v>
                      </c:pt>
                      <c:pt idx="2879">
                        <c:v>38749</c:v>
                      </c:pt>
                      <c:pt idx="2880">
                        <c:v>38750</c:v>
                      </c:pt>
                      <c:pt idx="2881">
                        <c:v>38751</c:v>
                      </c:pt>
                      <c:pt idx="2882">
                        <c:v>38754</c:v>
                      </c:pt>
                      <c:pt idx="2883">
                        <c:v>38755</c:v>
                      </c:pt>
                      <c:pt idx="2884">
                        <c:v>38756</c:v>
                      </c:pt>
                      <c:pt idx="2885">
                        <c:v>38757</c:v>
                      </c:pt>
                      <c:pt idx="2886">
                        <c:v>38758</c:v>
                      </c:pt>
                      <c:pt idx="2887">
                        <c:v>38761</c:v>
                      </c:pt>
                      <c:pt idx="2888">
                        <c:v>38762</c:v>
                      </c:pt>
                      <c:pt idx="2889">
                        <c:v>38763</c:v>
                      </c:pt>
                      <c:pt idx="2890">
                        <c:v>38764</c:v>
                      </c:pt>
                      <c:pt idx="2891">
                        <c:v>38765</c:v>
                      </c:pt>
                      <c:pt idx="2892">
                        <c:v>38768</c:v>
                      </c:pt>
                      <c:pt idx="2893">
                        <c:v>38769</c:v>
                      </c:pt>
                      <c:pt idx="2894">
                        <c:v>38770</c:v>
                      </c:pt>
                      <c:pt idx="2895">
                        <c:v>38771</c:v>
                      </c:pt>
                      <c:pt idx="2896">
                        <c:v>38772</c:v>
                      </c:pt>
                      <c:pt idx="2897">
                        <c:v>38775</c:v>
                      </c:pt>
                      <c:pt idx="2898">
                        <c:v>38776</c:v>
                      </c:pt>
                      <c:pt idx="2899">
                        <c:v>38777</c:v>
                      </c:pt>
                      <c:pt idx="2900">
                        <c:v>38778</c:v>
                      </c:pt>
                      <c:pt idx="2901">
                        <c:v>38779</c:v>
                      </c:pt>
                      <c:pt idx="2902">
                        <c:v>38782</c:v>
                      </c:pt>
                      <c:pt idx="2903">
                        <c:v>38783</c:v>
                      </c:pt>
                      <c:pt idx="2904">
                        <c:v>38784</c:v>
                      </c:pt>
                      <c:pt idx="2905">
                        <c:v>38785</c:v>
                      </c:pt>
                      <c:pt idx="2906">
                        <c:v>38786</c:v>
                      </c:pt>
                      <c:pt idx="2907">
                        <c:v>38789</c:v>
                      </c:pt>
                      <c:pt idx="2908">
                        <c:v>38790</c:v>
                      </c:pt>
                      <c:pt idx="2909">
                        <c:v>38791</c:v>
                      </c:pt>
                      <c:pt idx="2910">
                        <c:v>38792</c:v>
                      </c:pt>
                      <c:pt idx="2911">
                        <c:v>38793</c:v>
                      </c:pt>
                      <c:pt idx="2912">
                        <c:v>38796</c:v>
                      </c:pt>
                      <c:pt idx="2913">
                        <c:v>38797</c:v>
                      </c:pt>
                      <c:pt idx="2914">
                        <c:v>38798</c:v>
                      </c:pt>
                      <c:pt idx="2915">
                        <c:v>38799</c:v>
                      </c:pt>
                      <c:pt idx="2916">
                        <c:v>38800</c:v>
                      </c:pt>
                      <c:pt idx="2917">
                        <c:v>38803</c:v>
                      </c:pt>
                      <c:pt idx="2918">
                        <c:v>38804</c:v>
                      </c:pt>
                      <c:pt idx="2919">
                        <c:v>38805</c:v>
                      </c:pt>
                      <c:pt idx="2920">
                        <c:v>38806</c:v>
                      </c:pt>
                      <c:pt idx="2921">
                        <c:v>38807</c:v>
                      </c:pt>
                      <c:pt idx="2922">
                        <c:v>38810</c:v>
                      </c:pt>
                      <c:pt idx="2923">
                        <c:v>38811</c:v>
                      </c:pt>
                      <c:pt idx="2924">
                        <c:v>38812</c:v>
                      </c:pt>
                      <c:pt idx="2925">
                        <c:v>38813</c:v>
                      </c:pt>
                      <c:pt idx="2926">
                        <c:v>38814</c:v>
                      </c:pt>
                      <c:pt idx="2927">
                        <c:v>38817</c:v>
                      </c:pt>
                      <c:pt idx="2928">
                        <c:v>38818</c:v>
                      </c:pt>
                      <c:pt idx="2929">
                        <c:v>38819</c:v>
                      </c:pt>
                      <c:pt idx="2930">
                        <c:v>38820</c:v>
                      </c:pt>
                      <c:pt idx="2931">
                        <c:v>38821</c:v>
                      </c:pt>
                      <c:pt idx="2932">
                        <c:v>38824</c:v>
                      </c:pt>
                      <c:pt idx="2933">
                        <c:v>38825</c:v>
                      </c:pt>
                      <c:pt idx="2934">
                        <c:v>38826</c:v>
                      </c:pt>
                      <c:pt idx="2935">
                        <c:v>38827</c:v>
                      </c:pt>
                      <c:pt idx="2936">
                        <c:v>38828</c:v>
                      </c:pt>
                      <c:pt idx="2937">
                        <c:v>38831</c:v>
                      </c:pt>
                      <c:pt idx="2938">
                        <c:v>38832</c:v>
                      </c:pt>
                      <c:pt idx="2939">
                        <c:v>38833</c:v>
                      </c:pt>
                      <c:pt idx="2940">
                        <c:v>38834</c:v>
                      </c:pt>
                      <c:pt idx="2941">
                        <c:v>38835</c:v>
                      </c:pt>
                      <c:pt idx="2942">
                        <c:v>38838</c:v>
                      </c:pt>
                      <c:pt idx="2943">
                        <c:v>38839</c:v>
                      </c:pt>
                      <c:pt idx="2944">
                        <c:v>38840</c:v>
                      </c:pt>
                      <c:pt idx="2945">
                        <c:v>38841</c:v>
                      </c:pt>
                      <c:pt idx="2946">
                        <c:v>38842</c:v>
                      </c:pt>
                      <c:pt idx="2947">
                        <c:v>38845</c:v>
                      </c:pt>
                      <c:pt idx="2948">
                        <c:v>38846</c:v>
                      </c:pt>
                      <c:pt idx="2949">
                        <c:v>38847</c:v>
                      </c:pt>
                      <c:pt idx="2950">
                        <c:v>38848</c:v>
                      </c:pt>
                      <c:pt idx="2951">
                        <c:v>38849</c:v>
                      </c:pt>
                      <c:pt idx="2952">
                        <c:v>38852</c:v>
                      </c:pt>
                      <c:pt idx="2953">
                        <c:v>38853</c:v>
                      </c:pt>
                      <c:pt idx="2954">
                        <c:v>38854</c:v>
                      </c:pt>
                      <c:pt idx="2955">
                        <c:v>38855</c:v>
                      </c:pt>
                      <c:pt idx="2956">
                        <c:v>38856</c:v>
                      </c:pt>
                      <c:pt idx="2957">
                        <c:v>38859</c:v>
                      </c:pt>
                      <c:pt idx="2958">
                        <c:v>38860</c:v>
                      </c:pt>
                      <c:pt idx="2959">
                        <c:v>38861</c:v>
                      </c:pt>
                      <c:pt idx="2960">
                        <c:v>38862</c:v>
                      </c:pt>
                      <c:pt idx="2961">
                        <c:v>38863</c:v>
                      </c:pt>
                      <c:pt idx="2962">
                        <c:v>38866</c:v>
                      </c:pt>
                      <c:pt idx="2963">
                        <c:v>38867</c:v>
                      </c:pt>
                      <c:pt idx="2964">
                        <c:v>38868</c:v>
                      </c:pt>
                      <c:pt idx="2965">
                        <c:v>38869</c:v>
                      </c:pt>
                      <c:pt idx="2966">
                        <c:v>38870</c:v>
                      </c:pt>
                      <c:pt idx="2967">
                        <c:v>38873</c:v>
                      </c:pt>
                      <c:pt idx="2968">
                        <c:v>38874</c:v>
                      </c:pt>
                      <c:pt idx="2969">
                        <c:v>38875</c:v>
                      </c:pt>
                      <c:pt idx="2970">
                        <c:v>38876</c:v>
                      </c:pt>
                      <c:pt idx="2971">
                        <c:v>38877</c:v>
                      </c:pt>
                      <c:pt idx="2972">
                        <c:v>38880</c:v>
                      </c:pt>
                      <c:pt idx="2973">
                        <c:v>38881</c:v>
                      </c:pt>
                      <c:pt idx="2974">
                        <c:v>38882</c:v>
                      </c:pt>
                      <c:pt idx="2975">
                        <c:v>38883</c:v>
                      </c:pt>
                      <c:pt idx="2976">
                        <c:v>38884</c:v>
                      </c:pt>
                      <c:pt idx="2977">
                        <c:v>38887</c:v>
                      </c:pt>
                      <c:pt idx="2978">
                        <c:v>38888</c:v>
                      </c:pt>
                      <c:pt idx="2979">
                        <c:v>38889</c:v>
                      </c:pt>
                      <c:pt idx="2980">
                        <c:v>38890</c:v>
                      </c:pt>
                      <c:pt idx="2981">
                        <c:v>38891</c:v>
                      </c:pt>
                      <c:pt idx="2982">
                        <c:v>38894</c:v>
                      </c:pt>
                      <c:pt idx="2983">
                        <c:v>38895</c:v>
                      </c:pt>
                      <c:pt idx="2984">
                        <c:v>38896</c:v>
                      </c:pt>
                      <c:pt idx="2985">
                        <c:v>38897</c:v>
                      </c:pt>
                      <c:pt idx="2986">
                        <c:v>38898</c:v>
                      </c:pt>
                      <c:pt idx="2987">
                        <c:v>38901</c:v>
                      </c:pt>
                      <c:pt idx="2988">
                        <c:v>38902</c:v>
                      </c:pt>
                      <c:pt idx="2989">
                        <c:v>38903</c:v>
                      </c:pt>
                      <c:pt idx="2990">
                        <c:v>38904</c:v>
                      </c:pt>
                      <c:pt idx="2991">
                        <c:v>38905</c:v>
                      </c:pt>
                      <c:pt idx="2992">
                        <c:v>38908</c:v>
                      </c:pt>
                      <c:pt idx="2993">
                        <c:v>38909</c:v>
                      </c:pt>
                      <c:pt idx="2994">
                        <c:v>38910</c:v>
                      </c:pt>
                      <c:pt idx="2995">
                        <c:v>38911</c:v>
                      </c:pt>
                      <c:pt idx="2996">
                        <c:v>38912</c:v>
                      </c:pt>
                      <c:pt idx="2997">
                        <c:v>38915</c:v>
                      </c:pt>
                      <c:pt idx="2998">
                        <c:v>38916</c:v>
                      </c:pt>
                      <c:pt idx="2999">
                        <c:v>38917</c:v>
                      </c:pt>
                      <c:pt idx="3000">
                        <c:v>38918</c:v>
                      </c:pt>
                      <c:pt idx="3001">
                        <c:v>38919</c:v>
                      </c:pt>
                      <c:pt idx="3002">
                        <c:v>38922</c:v>
                      </c:pt>
                      <c:pt idx="3003">
                        <c:v>38923</c:v>
                      </c:pt>
                      <c:pt idx="3004">
                        <c:v>38924</c:v>
                      </c:pt>
                      <c:pt idx="3005">
                        <c:v>38925</c:v>
                      </c:pt>
                      <c:pt idx="3006">
                        <c:v>38926</c:v>
                      </c:pt>
                      <c:pt idx="3007">
                        <c:v>38929</c:v>
                      </c:pt>
                      <c:pt idx="3008">
                        <c:v>38930</c:v>
                      </c:pt>
                      <c:pt idx="3009">
                        <c:v>38931</c:v>
                      </c:pt>
                      <c:pt idx="3010">
                        <c:v>38932</c:v>
                      </c:pt>
                      <c:pt idx="3011">
                        <c:v>38933</c:v>
                      </c:pt>
                      <c:pt idx="3012">
                        <c:v>38936</c:v>
                      </c:pt>
                      <c:pt idx="3013">
                        <c:v>38937</c:v>
                      </c:pt>
                      <c:pt idx="3014">
                        <c:v>38938</c:v>
                      </c:pt>
                      <c:pt idx="3015">
                        <c:v>38939</c:v>
                      </c:pt>
                      <c:pt idx="3016">
                        <c:v>38940</c:v>
                      </c:pt>
                      <c:pt idx="3017">
                        <c:v>38943</c:v>
                      </c:pt>
                      <c:pt idx="3018">
                        <c:v>38944</c:v>
                      </c:pt>
                      <c:pt idx="3019">
                        <c:v>38945</c:v>
                      </c:pt>
                      <c:pt idx="3020">
                        <c:v>38946</c:v>
                      </c:pt>
                      <c:pt idx="3021">
                        <c:v>38947</c:v>
                      </c:pt>
                      <c:pt idx="3022">
                        <c:v>38950</c:v>
                      </c:pt>
                      <c:pt idx="3023">
                        <c:v>38951</c:v>
                      </c:pt>
                      <c:pt idx="3024">
                        <c:v>38952</c:v>
                      </c:pt>
                      <c:pt idx="3025">
                        <c:v>38953</c:v>
                      </c:pt>
                      <c:pt idx="3026">
                        <c:v>38954</c:v>
                      </c:pt>
                      <c:pt idx="3027">
                        <c:v>38957</c:v>
                      </c:pt>
                      <c:pt idx="3028">
                        <c:v>38958</c:v>
                      </c:pt>
                      <c:pt idx="3029">
                        <c:v>38959</c:v>
                      </c:pt>
                      <c:pt idx="3030">
                        <c:v>38960</c:v>
                      </c:pt>
                      <c:pt idx="3031">
                        <c:v>38961</c:v>
                      </c:pt>
                      <c:pt idx="3032">
                        <c:v>38964</c:v>
                      </c:pt>
                      <c:pt idx="3033">
                        <c:v>38965</c:v>
                      </c:pt>
                      <c:pt idx="3034">
                        <c:v>38966</c:v>
                      </c:pt>
                      <c:pt idx="3035">
                        <c:v>38967</c:v>
                      </c:pt>
                      <c:pt idx="3036">
                        <c:v>38968</c:v>
                      </c:pt>
                      <c:pt idx="3037">
                        <c:v>38971</c:v>
                      </c:pt>
                      <c:pt idx="3038">
                        <c:v>38972</c:v>
                      </c:pt>
                      <c:pt idx="3039">
                        <c:v>38973</c:v>
                      </c:pt>
                      <c:pt idx="3040">
                        <c:v>38974</c:v>
                      </c:pt>
                      <c:pt idx="3041">
                        <c:v>38975</c:v>
                      </c:pt>
                      <c:pt idx="3042">
                        <c:v>38978</c:v>
                      </c:pt>
                      <c:pt idx="3043">
                        <c:v>38979</c:v>
                      </c:pt>
                      <c:pt idx="3044">
                        <c:v>38980</c:v>
                      </c:pt>
                      <c:pt idx="3045">
                        <c:v>38981</c:v>
                      </c:pt>
                      <c:pt idx="3046">
                        <c:v>38982</c:v>
                      </c:pt>
                      <c:pt idx="3047">
                        <c:v>38985</c:v>
                      </c:pt>
                      <c:pt idx="3048">
                        <c:v>38986</c:v>
                      </c:pt>
                      <c:pt idx="3049">
                        <c:v>38987</c:v>
                      </c:pt>
                      <c:pt idx="3050">
                        <c:v>38988</c:v>
                      </c:pt>
                      <c:pt idx="3051">
                        <c:v>38989</c:v>
                      </c:pt>
                      <c:pt idx="3052">
                        <c:v>38992</c:v>
                      </c:pt>
                      <c:pt idx="3053">
                        <c:v>38993</c:v>
                      </c:pt>
                      <c:pt idx="3054">
                        <c:v>38994</c:v>
                      </c:pt>
                      <c:pt idx="3055">
                        <c:v>38995</c:v>
                      </c:pt>
                      <c:pt idx="3056">
                        <c:v>38996</c:v>
                      </c:pt>
                      <c:pt idx="3057">
                        <c:v>38999</c:v>
                      </c:pt>
                      <c:pt idx="3058">
                        <c:v>39000</c:v>
                      </c:pt>
                      <c:pt idx="3059">
                        <c:v>39001</c:v>
                      </c:pt>
                      <c:pt idx="3060">
                        <c:v>39002</c:v>
                      </c:pt>
                      <c:pt idx="3061">
                        <c:v>39003</c:v>
                      </c:pt>
                      <c:pt idx="3062">
                        <c:v>39006</c:v>
                      </c:pt>
                      <c:pt idx="3063">
                        <c:v>39007</c:v>
                      </c:pt>
                      <c:pt idx="3064">
                        <c:v>39008</c:v>
                      </c:pt>
                      <c:pt idx="3065">
                        <c:v>39009</c:v>
                      </c:pt>
                      <c:pt idx="3066">
                        <c:v>39010</c:v>
                      </c:pt>
                      <c:pt idx="3067">
                        <c:v>39013</c:v>
                      </c:pt>
                      <c:pt idx="3068">
                        <c:v>39014</c:v>
                      </c:pt>
                      <c:pt idx="3069">
                        <c:v>39015</c:v>
                      </c:pt>
                      <c:pt idx="3070">
                        <c:v>39016</c:v>
                      </c:pt>
                      <c:pt idx="3071">
                        <c:v>39017</c:v>
                      </c:pt>
                      <c:pt idx="3072">
                        <c:v>39020</c:v>
                      </c:pt>
                      <c:pt idx="3073">
                        <c:v>39021</c:v>
                      </c:pt>
                      <c:pt idx="3074">
                        <c:v>39022</c:v>
                      </c:pt>
                      <c:pt idx="3075">
                        <c:v>39023</c:v>
                      </c:pt>
                      <c:pt idx="3076">
                        <c:v>39024</c:v>
                      </c:pt>
                      <c:pt idx="3077">
                        <c:v>39027</c:v>
                      </c:pt>
                      <c:pt idx="3078">
                        <c:v>39028</c:v>
                      </c:pt>
                      <c:pt idx="3079">
                        <c:v>39029</c:v>
                      </c:pt>
                      <c:pt idx="3080">
                        <c:v>39030</c:v>
                      </c:pt>
                      <c:pt idx="3081">
                        <c:v>39031</c:v>
                      </c:pt>
                      <c:pt idx="3082">
                        <c:v>39034</c:v>
                      </c:pt>
                      <c:pt idx="3083">
                        <c:v>39035</c:v>
                      </c:pt>
                      <c:pt idx="3084">
                        <c:v>39036</c:v>
                      </c:pt>
                      <c:pt idx="3085">
                        <c:v>39037</c:v>
                      </c:pt>
                      <c:pt idx="3086">
                        <c:v>39038</c:v>
                      </c:pt>
                      <c:pt idx="3087">
                        <c:v>39041</c:v>
                      </c:pt>
                      <c:pt idx="3088">
                        <c:v>39042</c:v>
                      </c:pt>
                      <c:pt idx="3089">
                        <c:v>39043</c:v>
                      </c:pt>
                      <c:pt idx="3090">
                        <c:v>39044</c:v>
                      </c:pt>
                      <c:pt idx="3091">
                        <c:v>39045</c:v>
                      </c:pt>
                      <c:pt idx="3092">
                        <c:v>39048</c:v>
                      </c:pt>
                      <c:pt idx="3093">
                        <c:v>39049</c:v>
                      </c:pt>
                      <c:pt idx="3094">
                        <c:v>39050</c:v>
                      </c:pt>
                      <c:pt idx="3095">
                        <c:v>39051</c:v>
                      </c:pt>
                      <c:pt idx="3096">
                        <c:v>39052</c:v>
                      </c:pt>
                      <c:pt idx="3097">
                        <c:v>39055</c:v>
                      </c:pt>
                      <c:pt idx="3098">
                        <c:v>39056</c:v>
                      </c:pt>
                      <c:pt idx="3099">
                        <c:v>39057</c:v>
                      </c:pt>
                      <c:pt idx="3100">
                        <c:v>39058</c:v>
                      </c:pt>
                      <c:pt idx="3101">
                        <c:v>39059</c:v>
                      </c:pt>
                      <c:pt idx="3102">
                        <c:v>39062</c:v>
                      </c:pt>
                      <c:pt idx="3103">
                        <c:v>39063</c:v>
                      </c:pt>
                      <c:pt idx="3104">
                        <c:v>39064</c:v>
                      </c:pt>
                      <c:pt idx="3105">
                        <c:v>39065</c:v>
                      </c:pt>
                      <c:pt idx="3106">
                        <c:v>39066</c:v>
                      </c:pt>
                      <c:pt idx="3107">
                        <c:v>39069</c:v>
                      </c:pt>
                      <c:pt idx="3108">
                        <c:v>39070</c:v>
                      </c:pt>
                      <c:pt idx="3109">
                        <c:v>39071</c:v>
                      </c:pt>
                      <c:pt idx="3110">
                        <c:v>39072</c:v>
                      </c:pt>
                      <c:pt idx="3111">
                        <c:v>39073</c:v>
                      </c:pt>
                      <c:pt idx="3112">
                        <c:v>39076</c:v>
                      </c:pt>
                      <c:pt idx="3113">
                        <c:v>39077</c:v>
                      </c:pt>
                      <c:pt idx="3114">
                        <c:v>39078</c:v>
                      </c:pt>
                      <c:pt idx="3115">
                        <c:v>39079</c:v>
                      </c:pt>
                      <c:pt idx="3116">
                        <c:v>39080</c:v>
                      </c:pt>
                      <c:pt idx="3117">
                        <c:v>39083</c:v>
                      </c:pt>
                      <c:pt idx="3118">
                        <c:v>39084</c:v>
                      </c:pt>
                      <c:pt idx="3119">
                        <c:v>39085</c:v>
                      </c:pt>
                      <c:pt idx="3120">
                        <c:v>39086</c:v>
                      </c:pt>
                      <c:pt idx="3121">
                        <c:v>39087</c:v>
                      </c:pt>
                      <c:pt idx="3122">
                        <c:v>39090</c:v>
                      </c:pt>
                      <c:pt idx="3123">
                        <c:v>39091</c:v>
                      </c:pt>
                      <c:pt idx="3124">
                        <c:v>39092</c:v>
                      </c:pt>
                      <c:pt idx="3125">
                        <c:v>39093</c:v>
                      </c:pt>
                      <c:pt idx="3126">
                        <c:v>39094</c:v>
                      </c:pt>
                      <c:pt idx="3127">
                        <c:v>39097</c:v>
                      </c:pt>
                      <c:pt idx="3128">
                        <c:v>39098</c:v>
                      </c:pt>
                      <c:pt idx="3129">
                        <c:v>39099</c:v>
                      </c:pt>
                      <c:pt idx="3130">
                        <c:v>39100</c:v>
                      </c:pt>
                      <c:pt idx="3131">
                        <c:v>39101</c:v>
                      </c:pt>
                      <c:pt idx="3132">
                        <c:v>39104</c:v>
                      </c:pt>
                      <c:pt idx="3133">
                        <c:v>39105</c:v>
                      </c:pt>
                      <c:pt idx="3134">
                        <c:v>39106</c:v>
                      </c:pt>
                      <c:pt idx="3135">
                        <c:v>39107</c:v>
                      </c:pt>
                      <c:pt idx="3136">
                        <c:v>39108</c:v>
                      </c:pt>
                      <c:pt idx="3137">
                        <c:v>39111</c:v>
                      </c:pt>
                      <c:pt idx="3138">
                        <c:v>39112</c:v>
                      </c:pt>
                      <c:pt idx="3139">
                        <c:v>39113</c:v>
                      </c:pt>
                      <c:pt idx="3140">
                        <c:v>39114</c:v>
                      </c:pt>
                      <c:pt idx="3141">
                        <c:v>39115</c:v>
                      </c:pt>
                      <c:pt idx="3142">
                        <c:v>39118</c:v>
                      </c:pt>
                      <c:pt idx="3143">
                        <c:v>39119</c:v>
                      </c:pt>
                      <c:pt idx="3144">
                        <c:v>39120</c:v>
                      </c:pt>
                      <c:pt idx="3145">
                        <c:v>39121</c:v>
                      </c:pt>
                      <c:pt idx="3146">
                        <c:v>39122</c:v>
                      </c:pt>
                      <c:pt idx="3147">
                        <c:v>39125</c:v>
                      </c:pt>
                      <c:pt idx="3148">
                        <c:v>39126</c:v>
                      </c:pt>
                      <c:pt idx="3149">
                        <c:v>39127</c:v>
                      </c:pt>
                      <c:pt idx="3150">
                        <c:v>39128</c:v>
                      </c:pt>
                      <c:pt idx="3151">
                        <c:v>39129</c:v>
                      </c:pt>
                      <c:pt idx="3152">
                        <c:v>39132</c:v>
                      </c:pt>
                      <c:pt idx="3153">
                        <c:v>39133</c:v>
                      </c:pt>
                      <c:pt idx="3154">
                        <c:v>39134</c:v>
                      </c:pt>
                      <c:pt idx="3155">
                        <c:v>39135</c:v>
                      </c:pt>
                      <c:pt idx="3156">
                        <c:v>39136</c:v>
                      </c:pt>
                      <c:pt idx="3157">
                        <c:v>39139</c:v>
                      </c:pt>
                      <c:pt idx="3158">
                        <c:v>39140</c:v>
                      </c:pt>
                      <c:pt idx="3159">
                        <c:v>39141</c:v>
                      </c:pt>
                      <c:pt idx="3160">
                        <c:v>39142</c:v>
                      </c:pt>
                      <c:pt idx="3161">
                        <c:v>39143</c:v>
                      </c:pt>
                      <c:pt idx="3162">
                        <c:v>39146</c:v>
                      </c:pt>
                      <c:pt idx="3163">
                        <c:v>39147</c:v>
                      </c:pt>
                      <c:pt idx="3164">
                        <c:v>39148</c:v>
                      </c:pt>
                      <c:pt idx="3165">
                        <c:v>39149</c:v>
                      </c:pt>
                      <c:pt idx="3166">
                        <c:v>39150</c:v>
                      </c:pt>
                      <c:pt idx="3167">
                        <c:v>39153</c:v>
                      </c:pt>
                      <c:pt idx="3168">
                        <c:v>39154</c:v>
                      </c:pt>
                      <c:pt idx="3169">
                        <c:v>39155</c:v>
                      </c:pt>
                      <c:pt idx="3170">
                        <c:v>39156</c:v>
                      </c:pt>
                      <c:pt idx="3171">
                        <c:v>39157</c:v>
                      </c:pt>
                      <c:pt idx="3172">
                        <c:v>39160</c:v>
                      </c:pt>
                      <c:pt idx="3173">
                        <c:v>39161</c:v>
                      </c:pt>
                      <c:pt idx="3174">
                        <c:v>39162</c:v>
                      </c:pt>
                      <c:pt idx="3175">
                        <c:v>39163</c:v>
                      </c:pt>
                      <c:pt idx="3176">
                        <c:v>39164</c:v>
                      </c:pt>
                      <c:pt idx="3177">
                        <c:v>39167</c:v>
                      </c:pt>
                      <c:pt idx="3178">
                        <c:v>39168</c:v>
                      </c:pt>
                      <c:pt idx="3179">
                        <c:v>39169</c:v>
                      </c:pt>
                      <c:pt idx="3180">
                        <c:v>39170</c:v>
                      </c:pt>
                      <c:pt idx="3181">
                        <c:v>39171</c:v>
                      </c:pt>
                      <c:pt idx="3182">
                        <c:v>39174</c:v>
                      </c:pt>
                      <c:pt idx="3183">
                        <c:v>39175</c:v>
                      </c:pt>
                      <c:pt idx="3184">
                        <c:v>39176</c:v>
                      </c:pt>
                      <c:pt idx="3185">
                        <c:v>39177</c:v>
                      </c:pt>
                      <c:pt idx="3186">
                        <c:v>39178</c:v>
                      </c:pt>
                      <c:pt idx="3187">
                        <c:v>39181</c:v>
                      </c:pt>
                      <c:pt idx="3188">
                        <c:v>39182</c:v>
                      </c:pt>
                      <c:pt idx="3189">
                        <c:v>39183</c:v>
                      </c:pt>
                      <c:pt idx="3190">
                        <c:v>39184</c:v>
                      </c:pt>
                      <c:pt idx="3191">
                        <c:v>39185</c:v>
                      </c:pt>
                      <c:pt idx="3192">
                        <c:v>39188</c:v>
                      </c:pt>
                      <c:pt idx="3193">
                        <c:v>39189</c:v>
                      </c:pt>
                      <c:pt idx="3194">
                        <c:v>39190</c:v>
                      </c:pt>
                      <c:pt idx="3195">
                        <c:v>39191</c:v>
                      </c:pt>
                      <c:pt idx="3196">
                        <c:v>39192</c:v>
                      </c:pt>
                      <c:pt idx="3197">
                        <c:v>39195</c:v>
                      </c:pt>
                      <c:pt idx="3198">
                        <c:v>39196</c:v>
                      </c:pt>
                      <c:pt idx="3199">
                        <c:v>39197</c:v>
                      </c:pt>
                      <c:pt idx="3200">
                        <c:v>39198</c:v>
                      </c:pt>
                      <c:pt idx="3201">
                        <c:v>39199</c:v>
                      </c:pt>
                      <c:pt idx="3202">
                        <c:v>39202</c:v>
                      </c:pt>
                      <c:pt idx="3203">
                        <c:v>39203</c:v>
                      </c:pt>
                      <c:pt idx="3204">
                        <c:v>39204</c:v>
                      </c:pt>
                      <c:pt idx="3205">
                        <c:v>39205</c:v>
                      </c:pt>
                      <c:pt idx="3206">
                        <c:v>39206</c:v>
                      </c:pt>
                      <c:pt idx="3207">
                        <c:v>39209</c:v>
                      </c:pt>
                      <c:pt idx="3208">
                        <c:v>39210</c:v>
                      </c:pt>
                      <c:pt idx="3209">
                        <c:v>39211</c:v>
                      </c:pt>
                      <c:pt idx="3210">
                        <c:v>39212</c:v>
                      </c:pt>
                      <c:pt idx="3211">
                        <c:v>39213</c:v>
                      </c:pt>
                      <c:pt idx="3212">
                        <c:v>39216</c:v>
                      </c:pt>
                      <c:pt idx="3213">
                        <c:v>39217</c:v>
                      </c:pt>
                      <c:pt idx="3214">
                        <c:v>39218</c:v>
                      </c:pt>
                      <c:pt idx="3215">
                        <c:v>39219</c:v>
                      </c:pt>
                      <c:pt idx="3216">
                        <c:v>39220</c:v>
                      </c:pt>
                      <c:pt idx="3217">
                        <c:v>39223</c:v>
                      </c:pt>
                      <c:pt idx="3218">
                        <c:v>39224</c:v>
                      </c:pt>
                      <c:pt idx="3219">
                        <c:v>39225</c:v>
                      </c:pt>
                      <c:pt idx="3220">
                        <c:v>39226</c:v>
                      </c:pt>
                      <c:pt idx="3221">
                        <c:v>39227</c:v>
                      </c:pt>
                      <c:pt idx="3222">
                        <c:v>39230</c:v>
                      </c:pt>
                      <c:pt idx="3223">
                        <c:v>39231</c:v>
                      </c:pt>
                      <c:pt idx="3224">
                        <c:v>39232</c:v>
                      </c:pt>
                      <c:pt idx="3225">
                        <c:v>39233</c:v>
                      </c:pt>
                      <c:pt idx="3226">
                        <c:v>39234</c:v>
                      </c:pt>
                      <c:pt idx="3227">
                        <c:v>39237</c:v>
                      </c:pt>
                      <c:pt idx="3228">
                        <c:v>39238</c:v>
                      </c:pt>
                      <c:pt idx="3229">
                        <c:v>39239</c:v>
                      </c:pt>
                      <c:pt idx="3230">
                        <c:v>39240</c:v>
                      </c:pt>
                      <c:pt idx="3231">
                        <c:v>39241</c:v>
                      </c:pt>
                      <c:pt idx="3232">
                        <c:v>39244</c:v>
                      </c:pt>
                      <c:pt idx="3233">
                        <c:v>39245</c:v>
                      </c:pt>
                      <c:pt idx="3234">
                        <c:v>39246</c:v>
                      </c:pt>
                      <c:pt idx="3235">
                        <c:v>39247</c:v>
                      </c:pt>
                      <c:pt idx="3236">
                        <c:v>39248</c:v>
                      </c:pt>
                      <c:pt idx="3237">
                        <c:v>39251</c:v>
                      </c:pt>
                      <c:pt idx="3238">
                        <c:v>39252</c:v>
                      </c:pt>
                      <c:pt idx="3239">
                        <c:v>39253</c:v>
                      </c:pt>
                      <c:pt idx="3240">
                        <c:v>39254</c:v>
                      </c:pt>
                      <c:pt idx="3241">
                        <c:v>39255</c:v>
                      </c:pt>
                      <c:pt idx="3242">
                        <c:v>39258</c:v>
                      </c:pt>
                      <c:pt idx="3243">
                        <c:v>39259</c:v>
                      </c:pt>
                      <c:pt idx="3244">
                        <c:v>39260</c:v>
                      </c:pt>
                      <c:pt idx="3245">
                        <c:v>39261</c:v>
                      </c:pt>
                      <c:pt idx="3246">
                        <c:v>39262</c:v>
                      </c:pt>
                      <c:pt idx="3247">
                        <c:v>39265</c:v>
                      </c:pt>
                      <c:pt idx="3248">
                        <c:v>39266</c:v>
                      </c:pt>
                      <c:pt idx="3249">
                        <c:v>39267</c:v>
                      </c:pt>
                      <c:pt idx="3250">
                        <c:v>39268</c:v>
                      </c:pt>
                      <c:pt idx="3251">
                        <c:v>39269</c:v>
                      </c:pt>
                      <c:pt idx="3252">
                        <c:v>39272</c:v>
                      </c:pt>
                      <c:pt idx="3253">
                        <c:v>39273</c:v>
                      </c:pt>
                      <c:pt idx="3254">
                        <c:v>39274</c:v>
                      </c:pt>
                      <c:pt idx="3255">
                        <c:v>39275</c:v>
                      </c:pt>
                      <c:pt idx="3256">
                        <c:v>39276</c:v>
                      </c:pt>
                      <c:pt idx="3257">
                        <c:v>39279</c:v>
                      </c:pt>
                      <c:pt idx="3258">
                        <c:v>39280</c:v>
                      </c:pt>
                      <c:pt idx="3259">
                        <c:v>39281</c:v>
                      </c:pt>
                      <c:pt idx="3260">
                        <c:v>39282</c:v>
                      </c:pt>
                      <c:pt idx="3261">
                        <c:v>39283</c:v>
                      </c:pt>
                      <c:pt idx="3262">
                        <c:v>39286</c:v>
                      </c:pt>
                      <c:pt idx="3263">
                        <c:v>39287</c:v>
                      </c:pt>
                      <c:pt idx="3264">
                        <c:v>39288</c:v>
                      </c:pt>
                      <c:pt idx="3265">
                        <c:v>39289</c:v>
                      </c:pt>
                      <c:pt idx="3266">
                        <c:v>39290</c:v>
                      </c:pt>
                      <c:pt idx="3267">
                        <c:v>39293</c:v>
                      </c:pt>
                      <c:pt idx="3268">
                        <c:v>39294</c:v>
                      </c:pt>
                      <c:pt idx="3269">
                        <c:v>39295</c:v>
                      </c:pt>
                      <c:pt idx="3270">
                        <c:v>39296</c:v>
                      </c:pt>
                      <c:pt idx="3271">
                        <c:v>39297</c:v>
                      </c:pt>
                      <c:pt idx="3272">
                        <c:v>39300</c:v>
                      </c:pt>
                      <c:pt idx="3273">
                        <c:v>39301</c:v>
                      </c:pt>
                      <c:pt idx="3274">
                        <c:v>39302</c:v>
                      </c:pt>
                      <c:pt idx="3275">
                        <c:v>39303</c:v>
                      </c:pt>
                      <c:pt idx="3276">
                        <c:v>39304</c:v>
                      </c:pt>
                      <c:pt idx="3277">
                        <c:v>39307</c:v>
                      </c:pt>
                      <c:pt idx="3278">
                        <c:v>39308</c:v>
                      </c:pt>
                      <c:pt idx="3279">
                        <c:v>39309</c:v>
                      </c:pt>
                      <c:pt idx="3280">
                        <c:v>39310</c:v>
                      </c:pt>
                      <c:pt idx="3281">
                        <c:v>39311</c:v>
                      </c:pt>
                      <c:pt idx="3282">
                        <c:v>39314</c:v>
                      </c:pt>
                      <c:pt idx="3283">
                        <c:v>39315</c:v>
                      </c:pt>
                      <c:pt idx="3284">
                        <c:v>39316</c:v>
                      </c:pt>
                      <c:pt idx="3285">
                        <c:v>39317</c:v>
                      </c:pt>
                      <c:pt idx="3286">
                        <c:v>39318</c:v>
                      </c:pt>
                      <c:pt idx="3287">
                        <c:v>39321</c:v>
                      </c:pt>
                      <c:pt idx="3288">
                        <c:v>39322</c:v>
                      </c:pt>
                      <c:pt idx="3289">
                        <c:v>39323</c:v>
                      </c:pt>
                      <c:pt idx="3290">
                        <c:v>39324</c:v>
                      </c:pt>
                      <c:pt idx="3291">
                        <c:v>39325</c:v>
                      </c:pt>
                      <c:pt idx="3292">
                        <c:v>39328</c:v>
                      </c:pt>
                      <c:pt idx="3293">
                        <c:v>39329</c:v>
                      </c:pt>
                      <c:pt idx="3294">
                        <c:v>39330</c:v>
                      </c:pt>
                      <c:pt idx="3295">
                        <c:v>39331</c:v>
                      </c:pt>
                      <c:pt idx="3296">
                        <c:v>39332</c:v>
                      </c:pt>
                      <c:pt idx="3297">
                        <c:v>39335</c:v>
                      </c:pt>
                      <c:pt idx="3298">
                        <c:v>39336</c:v>
                      </c:pt>
                      <c:pt idx="3299">
                        <c:v>39337</c:v>
                      </c:pt>
                      <c:pt idx="3300">
                        <c:v>39338</c:v>
                      </c:pt>
                      <c:pt idx="3301">
                        <c:v>39339</c:v>
                      </c:pt>
                      <c:pt idx="3302">
                        <c:v>39342</c:v>
                      </c:pt>
                      <c:pt idx="3303">
                        <c:v>39343</c:v>
                      </c:pt>
                      <c:pt idx="3304">
                        <c:v>39344</c:v>
                      </c:pt>
                      <c:pt idx="3305">
                        <c:v>39345</c:v>
                      </c:pt>
                      <c:pt idx="3306">
                        <c:v>39346</c:v>
                      </c:pt>
                      <c:pt idx="3307">
                        <c:v>39349</c:v>
                      </c:pt>
                      <c:pt idx="3308">
                        <c:v>39350</c:v>
                      </c:pt>
                      <c:pt idx="3309">
                        <c:v>39351</c:v>
                      </c:pt>
                      <c:pt idx="3310">
                        <c:v>39352</c:v>
                      </c:pt>
                      <c:pt idx="3311">
                        <c:v>39353</c:v>
                      </c:pt>
                      <c:pt idx="3312">
                        <c:v>39356</c:v>
                      </c:pt>
                      <c:pt idx="3313">
                        <c:v>39357</c:v>
                      </c:pt>
                      <c:pt idx="3314">
                        <c:v>39358</c:v>
                      </c:pt>
                      <c:pt idx="3315">
                        <c:v>39359</c:v>
                      </c:pt>
                      <c:pt idx="3316">
                        <c:v>39360</c:v>
                      </c:pt>
                      <c:pt idx="3317">
                        <c:v>39363</c:v>
                      </c:pt>
                      <c:pt idx="3318">
                        <c:v>39364</c:v>
                      </c:pt>
                      <c:pt idx="3319">
                        <c:v>39365</c:v>
                      </c:pt>
                      <c:pt idx="3320">
                        <c:v>39366</c:v>
                      </c:pt>
                      <c:pt idx="3321">
                        <c:v>39367</c:v>
                      </c:pt>
                      <c:pt idx="3322">
                        <c:v>39370</c:v>
                      </c:pt>
                      <c:pt idx="3323">
                        <c:v>39371</c:v>
                      </c:pt>
                      <c:pt idx="3324">
                        <c:v>39372</c:v>
                      </c:pt>
                      <c:pt idx="3325">
                        <c:v>39373</c:v>
                      </c:pt>
                      <c:pt idx="3326">
                        <c:v>39374</c:v>
                      </c:pt>
                      <c:pt idx="3327">
                        <c:v>39377</c:v>
                      </c:pt>
                      <c:pt idx="3328">
                        <c:v>39378</c:v>
                      </c:pt>
                      <c:pt idx="3329">
                        <c:v>39379</c:v>
                      </c:pt>
                      <c:pt idx="3330">
                        <c:v>39380</c:v>
                      </c:pt>
                      <c:pt idx="3331">
                        <c:v>39381</c:v>
                      </c:pt>
                      <c:pt idx="3332">
                        <c:v>39384</c:v>
                      </c:pt>
                      <c:pt idx="3333">
                        <c:v>39385</c:v>
                      </c:pt>
                      <c:pt idx="3334">
                        <c:v>39386</c:v>
                      </c:pt>
                      <c:pt idx="3335">
                        <c:v>39387</c:v>
                      </c:pt>
                      <c:pt idx="3336">
                        <c:v>39388</c:v>
                      </c:pt>
                      <c:pt idx="3337">
                        <c:v>39391</c:v>
                      </c:pt>
                      <c:pt idx="3338">
                        <c:v>39392</c:v>
                      </c:pt>
                      <c:pt idx="3339">
                        <c:v>39393</c:v>
                      </c:pt>
                      <c:pt idx="3340">
                        <c:v>39394</c:v>
                      </c:pt>
                      <c:pt idx="3341">
                        <c:v>39395</c:v>
                      </c:pt>
                      <c:pt idx="3342">
                        <c:v>39398</c:v>
                      </c:pt>
                      <c:pt idx="3343">
                        <c:v>39399</c:v>
                      </c:pt>
                      <c:pt idx="3344">
                        <c:v>39400</c:v>
                      </c:pt>
                      <c:pt idx="3345">
                        <c:v>39401</c:v>
                      </c:pt>
                      <c:pt idx="3346">
                        <c:v>39402</c:v>
                      </c:pt>
                      <c:pt idx="3347">
                        <c:v>39405</c:v>
                      </c:pt>
                      <c:pt idx="3348">
                        <c:v>39406</c:v>
                      </c:pt>
                      <c:pt idx="3349">
                        <c:v>39407</c:v>
                      </c:pt>
                      <c:pt idx="3350">
                        <c:v>39408</c:v>
                      </c:pt>
                      <c:pt idx="3351">
                        <c:v>39409</c:v>
                      </c:pt>
                      <c:pt idx="3352">
                        <c:v>39412</c:v>
                      </c:pt>
                      <c:pt idx="3353">
                        <c:v>39413</c:v>
                      </c:pt>
                      <c:pt idx="3354">
                        <c:v>39414</c:v>
                      </c:pt>
                      <c:pt idx="3355">
                        <c:v>39415</c:v>
                      </c:pt>
                      <c:pt idx="3356">
                        <c:v>39416</c:v>
                      </c:pt>
                      <c:pt idx="3357">
                        <c:v>39419</c:v>
                      </c:pt>
                      <c:pt idx="3358">
                        <c:v>39420</c:v>
                      </c:pt>
                      <c:pt idx="3359">
                        <c:v>39421</c:v>
                      </c:pt>
                      <c:pt idx="3360">
                        <c:v>39422</c:v>
                      </c:pt>
                      <c:pt idx="3361">
                        <c:v>39423</c:v>
                      </c:pt>
                      <c:pt idx="3362">
                        <c:v>39426</c:v>
                      </c:pt>
                      <c:pt idx="3363">
                        <c:v>39427</c:v>
                      </c:pt>
                      <c:pt idx="3364">
                        <c:v>39428</c:v>
                      </c:pt>
                      <c:pt idx="3365">
                        <c:v>39429</c:v>
                      </c:pt>
                      <c:pt idx="3366">
                        <c:v>39430</c:v>
                      </c:pt>
                      <c:pt idx="3367">
                        <c:v>39433</c:v>
                      </c:pt>
                      <c:pt idx="3368">
                        <c:v>39434</c:v>
                      </c:pt>
                      <c:pt idx="3369">
                        <c:v>39435</c:v>
                      </c:pt>
                      <c:pt idx="3370">
                        <c:v>39436</c:v>
                      </c:pt>
                      <c:pt idx="3371">
                        <c:v>39437</c:v>
                      </c:pt>
                      <c:pt idx="3372">
                        <c:v>39440</c:v>
                      </c:pt>
                      <c:pt idx="3373">
                        <c:v>39441</c:v>
                      </c:pt>
                      <c:pt idx="3374">
                        <c:v>39442</c:v>
                      </c:pt>
                      <c:pt idx="3375">
                        <c:v>39443</c:v>
                      </c:pt>
                      <c:pt idx="3376">
                        <c:v>39444</c:v>
                      </c:pt>
                      <c:pt idx="3377">
                        <c:v>39447</c:v>
                      </c:pt>
                      <c:pt idx="3378">
                        <c:v>39448</c:v>
                      </c:pt>
                      <c:pt idx="3379">
                        <c:v>39449</c:v>
                      </c:pt>
                      <c:pt idx="3380">
                        <c:v>39450</c:v>
                      </c:pt>
                      <c:pt idx="3381">
                        <c:v>39451</c:v>
                      </c:pt>
                      <c:pt idx="3382">
                        <c:v>39454</c:v>
                      </c:pt>
                      <c:pt idx="3383">
                        <c:v>39455</c:v>
                      </c:pt>
                      <c:pt idx="3384">
                        <c:v>39456</c:v>
                      </c:pt>
                      <c:pt idx="3385">
                        <c:v>39457</c:v>
                      </c:pt>
                      <c:pt idx="3386">
                        <c:v>39458</c:v>
                      </c:pt>
                      <c:pt idx="3387">
                        <c:v>39461</c:v>
                      </c:pt>
                      <c:pt idx="3388">
                        <c:v>39462</c:v>
                      </c:pt>
                      <c:pt idx="3389">
                        <c:v>39463</c:v>
                      </c:pt>
                      <c:pt idx="3390">
                        <c:v>39464</c:v>
                      </c:pt>
                      <c:pt idx="3391">
                        <c:v>39465</c:v>
                      </c:pt>
                      <c:pt idx="3392">
                        <c:v>39468</c:v>
                      </c:pt>
                      <c:pt idx="3393">
                        <c:v>39469</c:v>
                      </c:pt>
                      <c:pt idx="3394">
                        <c:v>39470</c:v>
                      </c:pt>
                      <c:pt idx="3395">
                        <c:v>39471</c:v>
                      </c:pt>
                      <c:pt idx="3396">
                        <c:v>39472</c:v>
                      </c:pt>
                      <c:pt idx="3397">
                        <c:v>39475</c:v>
                      </c:pt>
                      <c:pt idx="3398">
                        <c:v>39476</c:v>
                      </c:pt>
                      <c:pt idx="3399">
                        <c:v>39477</c:v>
                      </c:pt>
                      <c:pt idx="3400">
                        <c:v>39478</c:v>
                      </c:pt>
                      <c:pt idx="3401">
                        <c:v>39479</c:v>
                      </c:pt>
                      <c:pt idx="3402">
                        <c:v>39482</c:v>
                      </c:pt>
                      <c:pt idx="3403">
                        <c:v>39483</c:v>
                      </c:pt>
                      <c:pt idx="3404">
                        <c:v>39484</c:v>
                      </c:pt>
                      <c:pt idx="3405">
                        <c:v>39485</c:v>
                      </c:pt>
                      <c:pt idx="3406">
                        <c:v>39486</c:v>
                      </c:pt>
                      <c:pt idx="3407">
                        <c:v>39489</c:v>
                      </c:pt>
                      <c:pt idx="3408">
                        <c:v>39490</c:v>
                      </c:pt>
                      <c:pt idx="3409">
                        <c:v>39491</c:v>
                      </c:pt>
                      <c:pt idx="3410">
                        <c:v>39492</c:v>
                      </c:pt>
                      <c:pt idx="3411">
                        <c:v>39493</c:v>
                      </c:pt>
                      <c:pt idx="3412">
                        <c:v>39496</c:v>
                      </c:pt>
                      <c:pt idx="3413">
                        <c:v>39497</c:v>
                      </c:pt>
                      <c:pt idx="3414">
                        <c:v>39498</c:v>
                      </c:pt>
                      <c:pt idx="3415">
                        <c:v>39499</c:v>
                      </c:pt>
                      <c:pt idx="3416">
                        <c:v>39500</c:v>
                      </c:pt>
                      <c:pt idx="3417">
                        <c:v>39503</c:v>
                      </c:pt>
                      <c:pt idx="3418">
                        <c:v>39504</c:v>
                      </c:pt>
                      <c:pt idx="3419">
                        <c:v>39505</c:v>
                      </c:pt>
                      <c:pt idx="3420">
                        <c:v>39506</c:v>
                      </c:pt>
                      <c:pt idx="3421">
                        <c:v>39507</c:v>
                      </c:pt>
                      <c:pt idx="3422">
                        <c:v>39510</c:v>
                      </c:pt>
                      <c:pt idx="3423">
                        <c:v>39511</c:v>
                      </c:pt>
                      <c:pt idx="3424">
                        <c:v>39512</c:v>
                      </c:pt>
                      <c:pt idx="3425">
                        <c:v>39513</c:v>
                      </c:pt>
                      <c:pt idx="3426">
                        <c:v>39514</c:v>
                      </c:pt>
                      <c:pt idx="3427">
                        <c:v>39517</c:v>
                      </c:pt>
                      <c:pt idx="3428">
                        <c:v>39518</c:v>
                      </c:pt>
                      <c:pt idx="3429">
                        <c:v>39519</c:v>
                      </c:pt>
                      <c:pt idx="3430">
                        <c:v>39520</c:v>
                      </c:pt>
                      <c:pt idx="3431">
                        <c:v>39521</c:v>
                      </c:pt>
                      <c:pt idx="3432">
                        <c:v>39524</c:v>
                      </c:pt>
                      <c:pt idx="3433">
                        <c:v>39525</c:v>
                      </c:pt>
                      <c:pt idx="3434">
                        <c:v>39526</c:v>
                      </c:pt>
                      <c:pt idx="3435">
                        <c:v>39527</c:v>
                      </c:pt>
                      <c:pt idx="3436">
                        <c:v>39528</c:v>
                      </c:pt>
                      <c:pt idx="3437">
                        <c:v>39531</c:v>
                      </c:pt>
                      <c:pt idx="3438">
                        <c:v>39532</c:v>
                      </c:pt>
                      <c:pt idx="3439">
                        <c:v>39533</c:v>
                      </c:pt>
                      <c:pt idx="3440">
                        <c:v>39534</c:v>
                      </c:pt>
                      <c:pt idx="3441">
                        <c:v>39535</c:v>
                      </c:pt>
                      <c:pt idx="3442">
                        <c:v>39538</c:v>
                      </c:pt>
                      <c:pt idx="3443">
                        <c:v>39539</c:v>
                      </c:pt>
                      <c:pt idx="3444">
                        <c:v>39540</c:v>
                      </c:pt>
                      <c:pt idx="3445">
                        <c:v>39541</c:v>
                      </c:pt>
                      <c:pt idx="3446">
                        <c:v>39542</c:v>
                      </c:pt>
                      <c:pt idx="3447">
                        <c:v>39545</c:v>
                      </c:pt>
                      <c:pt idx="3448">
                        <c:v>39546</c:v>
                      </c:pt>
                      <c:pt idx="3449">
                        <c:v>39547</c:v>
                      </c:pt>
                      <c:pt idx="3450">
                        <c:v>39548</c:v>
                      </c:pt>
                      <c:pt idx="3451">
                        <c:v>39549</c:v>
                      </c:pt>
                      <c:pt idx="3452">
                        <c:v>39552</c:v>
                      </c:pt>
                      <c:pt idx="3453">
                        <c:v>39553</c:v>
                      </c:pt>
                      <c:pt idx="3454">
                        <c:v>39554</c:v>
                      </c:pt>
                      <c:pt idx="3455">
                        <c:v>39555</c:v>
                      </c:pt>
                      <c:pt idx="3456">
                        <c:v>39556</c:v>
                      </c:pt>
                      <c:pt idx="3457">
                        <c:v>39559</c:v>
                      </c:pt>
                      <c:pt idx="3458">
                        <c:v>39560</c:v>
                      </c:pt>
                      <c:pt idx="3459">
                        <c:v>39561</c:v>
                      </c:pt>
                      <c:pt idx="3460">
                        <c:v>39562</c:v>
                      </c:pt>
                      <c:pt idx="3461">
                        <c:v>39563</c:v>
                      </c:pt>
                      <c:pt idx="3462">
                        <c:v>39566</c:v>
                      </c:pt>
                      <c:pt idx="3463">
                        <c:v>39567</c:v>
                      </c:pt>
                      <c:pt idx="3464">
                        <c:v>39568</c:v>
                      </c:pt>
                      <c:pt idx="3465">
                        <c:v>39569</c:v>
                      </c:pt>
                      <c:pt idx="3466">
                        <c:v>39570</c:v>
                      </c:pt>
                      <c:pt idx="3467">
                        <c:v>39573</c:v>
                      </c:pt>
                      <c:pt idx="3468">
                        <c:v>39574</c:v>
                      </c:pt>
                      <c:pt idx="3469">
                        <c:v>39575</c:v>
                      </c:pt>
                      <c:pt idx="3470">
                        <c:v>39576</c:v>
                      </c:pt>
                      <c:pt idx="3471">
                        <c:v>39577</c:v>
                      </c:pt>
                      <c:pt idx="3472">
                        <c:v>39580</c:v>
                      </c:pt>
                      <c:pt idx="3473">
                        <c:v>39581</c:v>
                      </c:pt>
                      <c:pt idx="3474">
                        <c:v>39582</c:v>
                      </c:pt>
                      <c:pt idx="3475">
                        <c:v>39583</c:v>
                      </c:pt>
                      <c:pt idx="3476">
                        <c:v>39584</c:v>
                      </c:pt>
                      <c:pt idx="3477">
                        <c:v>39587</c:v>
                      </c:pt>
                      <c:pt idx="3478">
                        <c:v>39588</c:v>
                      </c:pt>
                      <c:pt idx="3479">
                        <c:v>39589</c:v>
                      </c:pt>
                      <c:pt idx="3480">
                        <c:v>39590</c:v>
                      </c:pt>
                      <c:pt idx="3481">
                        <c:v>39591</c:v>
                      </c:pt>
                      <c:pt idx="3482">
                        <c:v>39594</c:v>
                      </c:pt>
                      <c:pt idx="3483">
                        <c:v>39595</c:v>
                      </c:pt>
                      <c:pt idx="3484">
                        <c:v>39596</c:v>
                      </c:pt>
                      <c:pt idx="3485">
                        <c:v>39597</c:v>
                      </c:pt>
                      <c:pt idx="3486">
                        <c:v>39598</c:v>
                      </c:pt>
                      <c:pt idx="3487">
                        <c:v>39601</c:v>
                      </c:pt>
                      <c:pt idx="3488">
                        <c:v>39602</c:v>
                      </c:pt>
                      <c:pt idx="3489">
                        <c:v>39603</c:v>
                      </c:pt>
                      <c:pt idx="3490">
                        <c:v>39604</c:v>
                      </c:pt>
                      <c:pt idx="3491">
                        <c:v>39605</c:v>
                      </c:pt>
                      <c:pt idx="3492">
                        <c:v>39608</c:v>
                      </c:pt>
                      <c:pt idx="3493">
                        <c:v>39609</c:v>
                      </c:pt>
                      <c:pt idx="3494">
                        <c:v>39610</c:v>
                      </c:pt>
                      <c:pt idx="3495">
                        <c:v>39611</c:v>
                      </c:pt>
                      <c:pt idx="3496">
                        <c:v>39612</c:v>
                      </c:pt>
                      <c:pt idx="3497">
                        <c:v>39615</c:v>
                      </c:pt>
                      <c:pt idx="3498">
                        <c:v>39616</c:v>
                      </c:pt>
                      <c:pt idx="3499">
                        <c:v>39617</c:v>
                      </c:pt>
                      <c:pt idx="3500">
                        <c:v>39618</c:v>
                      </c:pt>
                      <c:pt idx="3501">
                        <c:v>39619</c:v>
                      </c:pt>
                      <c:pt idx="3502">
                        <c:v>39622</c:v>
                      </c:pt>
                      <c:pt idx="3503">
                        <c:v>39623</c:v>
                      </c:pt>
                      <c:pt idx="3504">
                        <c:v>39624</c:v>
                      </c:pt>
                      <c:pt idx="3505">
                        <c:v>39625</c:v>
                      </c:pt>
                      <c:pt idx="3506">
                        <c:v>39626</c:v>
                      </c:pt>
                      <c:pt idx="3507">
                        <c:v>39629</c:v>
                      </c:pt>
                      <c:pt idx="3508">
                        <c:v>39630</c:v>
                      </c:pt>
                      <c:pt idx="3509">
                        <c:v>39631</c:v>
                      </c:pt>
                      <c:pt idx="3510">
                        <c:v>39632</c:v>
                      </c:pt>
                      <c:pt idx="3511">
                        <c:v>39633</c:v>
                      </c:pt>
                      <c:pt idx="3512">
                        <c:v>39636</c:v>
                      </c:pt>
                      <c:pt idx="3513">
                        <c:v>39637</c:v>
                      </c:pt>
                      <c:pt idx="3514">
                        <c:v>39638</c:v>
                      </c:pt>
                      <c:pt idx="3515">
                        <c:v>39639</c:v>
                      </c:pt>
                      <c:pt idx="3516">
                        <c:v>39640</c:v>
                      </c:pt>
                      <c:pt idx="3517">
                        <c:v>39643</c:v>
                      </c:pt>
                      <c:pt idx="3518">
                        <c:v>39644</c:v>
                      </c:pt>
                      <c:pt idx="3519">
                        <c:v>39645</c:v>
                      </c:pt>
                      <c:pt idx="3520">
                        <c:v>39646</c:v>
                      </c:pt>
                      <c:pt idx="3521">
                        <c:v>39647</c:v>
                      </c:pt>
                      <c:pt idx="3522">
                        <c:v>39650</c:v>
                      </c:pt>
                      <c:pt idx="3523">
                        <c:v>39651</c:v>
                      </c:pt>
                      <c:pt idx="3524">
                        <c:v>39652</c:v>
                      </c:pt>
                      <c:pt idx="3525">
                        <c:v>39653</c:v>
                      </c:pt>
                      <c:pt idx="3526">
                        <c:v>39654</c:v>
                      </c:pt>
                      <c:pt idx="3527">
                        <c:v>39657</c:v>
                      </c:pt>
                      <c:pt idx="3528">
                        <c:v>39658</c:v>
                      </c:pt>
                      <c:pt idx="3529">
                        <c:v>39659</c:v>
                      </c:pt>
                      <c:pt idx="3530">
                        <c:v>39660</c:v>
                      </c:pt>
                      <c:pt idx="3531">
                        <c:v>39661</c:v>
                      </c:pt>
                      <c:pt idx="3532">
                        <c:v>39664</c:v>
                      </c:pt>
                      <c:pt idx="3533">
                        <c:v>39665</c:v>
                      </c:pt>
                      <c:pt idx="3534">
                        <c:v>39666</c:v>
                      </c:pt>
                      <c:pt idx="3535">
                        <c:v>39667</c:v>
                      </c:pt>
                      <c:pt idx="3536">
                        <c:v>39668</c:v>
                      </c:pt>
                      <c:pt idx="3537">
                        <c:v>39671</c:v>
                      </c:pt>
                      <c:pt idx="3538">
                        <c:v>39672</c:v>
                      </c:pt>
                      <c:pt idx="3539">
                        <c:v>39673</c:v>
                      </c:pt>
                      <c:pt idx="3540">
                        <c:v>39674</c:v>
                      </c:pt>
                      <c:pt idx="3541">
                        <c:v>39675</c:v>
                      </c:pt>
                      <c:pt idx="3542">
                        <c:v>39678</c:v>
                      </c:pt>
                      <c:pt idx="3543">
                        <c:v>39679</c:v>
                      </c:pt>
                      <c:pt idx="3544">
                        <c:v>39680</c:v>
                      </c:pt>
                      <c:pt idx="3545">
                        <c:v>39681</c:v>
                      </c:pt>
                      <c:pt idx="3546">
                        <c:v>39682</c:v>
                      </c:pt>
                      <c:pt idx="3547">
                        <c:v>39685</c:v>
                      </c:pt>
                      <c:pt idx="3548">
                        <c:v>39686</c:v>
                      </c:pt>
                      <c:pt idx="3549">
                        <c:v>39687</c:v>
                      </c:pt>
                      <c:pt idx="3550">
                        <c:v>39688</c:v>
                      </c:pt>
                      <c:pt idx="3551">
                        <c:v>39689</c:v>
                      </c:pt>
                      <c:pt idx="3552">
                        <c:v>39692</c:v>
                      </c:pt>
                      <c:pt idx="3553">
                        <c:v>39693</c:v>
                      </c:pt>
                      <c:pt idx="3554">
                        <c:v>39694</c:v>
                      </c:pt>
                      <c:pt idx="3555">
                        <c:v>39695</c:v>
                      </c:pt>
                      <c:pt idx="3556">
                        <c:v>39696</c:v>
                      </c:pt>
                      <c:pt idx="3557">
                        <c:v>39699</c:v>
                      </c:pt>
                      <c:pt idx="3558">
                        <c:v>39700</c:v>
                      </c:pt>
                      <c:pt idx="3559">
                        <c:v>39701</c:v>
                      </c:pt>
                      <c:pt idx="3560">
                        <c:v>39702</c:v>
                      </c:pt>
                      <c:pt idx="3561">
                        <c:v>39703</c:v>
                      </c:pt>
                      <c:pt idx="3562">
                        <c:v>39706</c:v>
                      </c:pt>
                      <c:pt idx="3563">
                        <c:v>39707</c:v>
                      </c:pt>
                      <c:pt idx="3564">
                        <c:v>39708</c:v>
                      </c:pt>
                      <c:pt idx="3565">
                        <c:v>39709</c:v>
                      </c:pt>
                      <c:pt idx="3566">
                        <c:v>39710</c:v>
                      </c:pt>
                      <c:pt idx="3567">
                        <c:v>39713</c:v>
                      </c:pt>
                      <c:pt idx="3568">
                        <c:v>39714</c:v>
                      </c:pt>
                      <c:pt idx="3569">
                        <c:v>39715</c:v>
                      </c:pt>
                      <c:pt idx="3570">
                        <c:v>39716</c:v>
                      </c:pt>
                      <c:pt idx="3571">
                        <c:v>39717</c:v>
                      </c:pt>
                      <c:pt idx="3572">
                        <c:v>39720</c:v>
                      </c:pt>
                      <c:pt idx="3573">
                        <c:v>39721</c:v>
                      </c:pt>
                      <c:pt idx="3574">
                        <c:v>39722</c:v>
                      </c:pt>
                      <c:pt idx="3575">
                        <c:v>39723</c:v>
                      </c:pt>
                      <c:pt idx="3576">
                        <c:v>39724</c:v>
                      </c:pt>
                      <c:pt idx="3577">
                        <c:v>39727</c:v>
                      </c:pt>
                      <c:pt idx="3578">
                        <c:v>39728</c:v>
                      </c:pt>
                      <c:pt idx="3579">
                        <c:v>39729</c:v>
                      </c:pt>
                      <c:pt idx="3580">
                        <c:v>39730</c:v>
                      </c:pt>
                      <c:pt idx="3581">
                        <c:v>39731</c:v>
                      </c:pt>
                      <c:pt idx="3582">
                        <c:v>39734</c:v>
                      </c:pt>
                      <c:pt idx="3583">
                        <c:v>39735</c:v>
                      </c:pt>
                      <c:pt idx="3584">
                        <c:v>39736</c:v>
                      </c:pt>
                      <c:pt idx="3585">
                        <c:v>39737</c:v>
                      </c:pt>
                      <c:pt idx="3586">
                        <c:v>39738</c:v>
                      </c:pt>
                      <c:pt idx="3587">
                        <c:v>39741</c:v>
                      </c:pt>
                      <c:pt idx="3588">
                        <c:v>39742</c:v>
                      </c:pt>
                      <c:pt idx="3589">
                        <c:v>39743</c:v>
                      </c:pt>
                      <c:pt idx="3590">
                        <c:v>39744</c:v>
                      </c:pt>
                      <c:pt idx="3591">
                        <c:v>39745</c:v>
                      </c:pt>
                      <c:pt idx="3592">
                        <c:v>39748</c:v>
                      </c:pt>
                      <c:pt idx="3593">
                        <c:v>39749</c:v>
                      </c:pt>
                      <c:pt idx="3594">
                        <c:v>39750</c:v>
                      </c:pt>
                      <c:pt idx="3595">
                        <c:v>39751</c:v>
                      </c:pt>
                      <c:pt idx="3596">
                        <c:v>39752</c:v>
                      </c:pt>
                      <c:pt idx="3597">
                        <c:v>39755</c:v>
                      </c:pt>
                      <c:pt idx="3598">
                        <c:v>39756</c:v>
                      </c:pt>
                      <c:pt idx="3599">
                        <c:v>39757</c:v>
                      </c:pt>
                      <c:pt idx="3600">
                        <c:v>39758</c:v>
                      </c:pt>
                      <c:pt idx="3601">
                        <c:v>39759</c:v>
                      </c:pt>
                      <c:pt idx="3602">
                        <c:v>39762</c:v>
                      </c:pt>
                      <c:pt idx="3603">
                        <c:v>39763</c:v>
                      </c:pt>
                      <c:pt idx="3604">
                        <c:v>39764</c:v>
                      </c:pt>
                      <c:pt idx="3605">
                        <c:v>39765</c:v>
                      </c:pt>
                      <c:pt idx="3606">
                        <c:v>39766</c:v>
                      </c:pt>
                      <c:pt idx="3607">
                        <c:v>39769</c:v>
                      </c:pt>
                      <c:pt idx="3608">
                        <c:v>39770</c:v>
                      </c:pt>
                      <c:pt idx="3609">
                        <c:v>39771</c:v>
                      </c:pt>
                      <c:pt idx="3610">
                        <c:v>39772</c:v>
                      </c:pt>
                      <c:pt idx="3611">
                        <c:v>39773</c:v>
                      </c:pt>
                      <c:pt idx="3612">
                        <c:v>39776</c:v>
                      </c:pt>
                      <c:pt idx="3613">
                        <c:v>39777</c:v>
                      </c:pt>
                      <c:pt idx="3614">
                        <c:v>39778</c:v>
                      </c:pt>
                      <c:pt idx="3615">
                        <c:v>39779</c:v>
                      </c:pt>
                      <c:pt idx="3616">
                        <c:v>39780</c:v>
                      </c:pt>
                      <c:pt idx="3617">
                        <c:v>39783</c:v>
                      </c:pt>
                      <c:pt idx="3618">
                        <c:v>39784</c:v>
                      </c:pt>
                      <c:pt idx="3619">
                        <c:v>39785</c:v>
                      </c:pt>
                      <c:pt idx="3620">
                        <c:v>39786</c:v>
                      </c:pt>
                      <c:pt idx="3621">
                        <c:v>39787</c:v>
                      </c:pt>
                      <c:pt idx="3622">
                        <c:v>39790</c:v>
                      </c:pt>
                      <c:pt idx="3623">
                        <c:v>39791</c:v>
                      </c:pt>
                      <c:pt idx="3624">
                        <c:v>39792</c:v>
                      </c:pt>
                      <c:pt idx="3625">
                        <c:v>39793</c:v>
                      </c:pt>
                      <c:pt idx="3626">
                        <c:v>39794</c:v>
                      </c:pt>
                      <c:pt idx="3627">
                        <c:v>39797</c:v>
                      </c:pt>
                      <c:pt idx="3628">
                        <c:v>39798</c:v>
                      </c:pt>
                      <c:pt idx="3629">
                        <c:v>39799</c:v>
                      </c:pt>
                      <c:pt idx="3630">
                        <c:v>39800</c:v>
                      </c:pt>
                      <c:pt idx="3631">
                        <c:v>39801</c:v>
                      </c:pt>
                      <c:pt idx="3632">
                        <c:v>39804</c:v>
                      </c:pt>
                      <c:pt idx="3633">
                        <c:v>39805</c:v>
                      </c:pt>
                      <c:pt idx="3634">
                        <c:v>39806</c:v>
                      </c:pt>
                      <c:pt idx="3635">
                        <c:v>39807</c:v>
                      </c:pt>
                      <c:pt idx="3636">
                        <c:v>39808</c:v>
                      </c:pt>
                      <c:pt idx="3637">
                        <c:v>39811</c:v>
                      </c:pt>
                      <c:pt idx="3638">
                        <c:v>39812</c:v>
                      </c:pt>
                      <c:pt idx="3639">
                        <c:v>39813</c:v>
                      </c:pt>
                      <c:pt idx="3640">
                        <c:v>39814</c:v>
                      </c:pt>
                      <c:pt idx="3641">
                        <c:v>39815</c:v>
                      </c:pt>
                      <c:pt idx="3642">
                        <c:v>39818</c:v>
                      </c:pt>
                      <c:pt idx="3643">
                        <c:v>39819</c:v>
                      </c:pt>
                      <c:pt idx="3644">
                        <c:v>39820</c:v>
                      </c:pt>
                      <c:pt idx="3645">
                        <c:v>39821</c:v>
                      </c:pt>
                      <c:pt idx="3646">
                        <c:v>39822</c:v>
                      </c:pt>
                      <c:pt idx="3647">
                        <c:v>39825</c:v>
                      </c:pt>
                      <c:pt idx="3648">
                        <c:v>39826</c:v>
                      </c:pt>
                      <c:pt idx="3649">
                        <c:v>39827</c:v>
                      </c:pt>
                      <c:pt idx="3650">
                        <c:v>39828</c:v>
                      </c:pt>
                      <c:pt idx="3651">
                        <c:v>39829</c:v>
                      </c:pt>
                      <c:pt idx="3652">
                        <c:v>39832</c:v>
                      </c:pt>
                      <c:pt idx="3653">
                        <c:v>39833</c:v>
                      </c:pt>
                      <c:pt idx="3654">
                        <c:v>39834</c:v>
                      </c:pt>
                      <c:pt idx="3655">
                        <c:v>39835</c:v>
                      </c:pt>
                      <c:pt idx="3656">
                        <c:v>39836</c:v>
                      </c:pt>
                      <c:pt idx="3657">
                        <c:v>39839</c:v>
                      </c:pt>
                      <c:pt idx="3658">
                        <c:v>39840</c:v>
                      </c:pt>
                      <c:pt idx="3659">
                        <c:v>39841</c:v>
                      </c:pt>
                      <c:pt idx="3660">
                        <c:v>39842</c:v>
                      </c:pt>
                      <c:pt idx="3661">
                        <c:v>39843</c:v>
                      </c:pt>
                      <c:pt idx="3662">
                        <c:v>39846</c:v>
                      </c:pt>
                      <c:pt idx="3663">
                        <c:v>39847</c:v>
                      </c:pt>
                      <c:pt idx="3664">
                        <c:v>39848</c:v>
                      </c:pt>
                      <c:pt idx="3665">
                        <c:v>39849</c:v>
                      </c:pt>
                      <c:pt idx="3666">
                        <c:v>39850</c:v>
                      </c:pt>
                      <c:pt idx="3667">
                        <c:v>39853</c:v>
                      </c:pt>
                      <c:pt idx="3668">
                        <c:v>39854</c:v>
                      </c:pt>
                      <c:pt idx="3669">
                        <c:v>39855</c:v>
                      </c:pt>
                      <c:pt idx="3670">
                        <c:v>39856</c:v>
                      </c:pt>
                      <c:pt idx="3671">
                        <c:v>39857</c:v>
                      </c:pt>
                      <c:pt idx="3672">
                        <c:v>39860</c:v>
                      </c:pt>
                      <c:pt idx="3673">
                        <c:v>39861</c:v>
                      </c:pt>
                      <c:pt idx="3674">
                        <c:v>39862</c:v>
                      </c:pt>
                      <c:pt idx="3675">
                        <c:v>39863</c:v>
                      </c:pt>
                      <c:pt idx="3676">
                        <c:v>39864</c:v>
                      </c:pt>
                      <c:pt idx="3677">
                        <c:v>39867</c:v>
                      </c:pt>
                      <c:pt idx="3678">
                        <c:v>39868</c:v>
                      </c:pt>
                      <c:pt idx="3679">
                        <c:v>39869</c:v>
                      </c:pt>
                      <c:pt idx="3680">
                        <c:v>39870</c:v>
                      </c:pt>
                      <c:pt idx="3681">
                        <c:v>39871</c:v>
                      </c:pt>
                      <c:pt idx="3682">
                        <c:v>39874</c:v>
                      </c:pt>
                      <c:pt idx="3683">
                        <c:v>39875</c:v>
                      </c:pt>
                      <c:pt idx="3684">
                        <c:v>39876</c:v>
                      </c:pt>
                      <c:pt idx="3685">
                        <c:v>39877</c:v>
                      </c:pt>
                      <c:pt idx="3686">
                        <c:v>39878</c:v>
                      </c:pt>
                      <c:pt idx="3687">
                        <c:v>39881</c:v>
                      </c:pt>
                      <c:pt idx="3688">
                        <c:v>39882</c:v>
                      </c:pt>
                      <c:pt idx="3689">
                        <c:v>39883</c:v>
                      </c:pt>
                      <c:pt idx="3690">
                        <c:v>39884</c:v>
                      </c:pt>
                      <c:pt idx="3691">
                        <c:v>39885</c:v>
                      </c:pt>
                      <c:pt idx="3692">
                        <c:v>39888</c:v>
                      </c:pt>
                      <c:pt idx="3693">
                        <c:v>39889</c:v>
                      </c:pt>
                      <c:pt idx="3694">
                        <c:v>39890</c:v>
                      </c:pt>
                      <c:pt idx="3695">
                        <c:v>39891</c:v>
                      </c:pt>
                      <c:pt idx="3696">
                        <c:v>39892</c:v>
                      </c:pt>
                      <c:pt idx="3697">
                        <c:v>39895</c:v>
                      </c:pt>
                      <c:pt idx="3698">
                        <c:v>39896</c:v>
                      </c:pt>
                      <c:pt idx="3699">
                        <c:v>39897</c:v>
                      </c:pt>
                      <c:pt idx="3700">
                        <c:v>39898</c:v>
                      </c:pt>
                      <c:pt idx="3701">
                        <c:v>39899</c:v>
                      </c:pt>
                      <c:pt idx="3702">
                        <c:v>39902</c:v>
                      </c:pt>
                      <c:pt idx="3703">
                        <c:v>39903</c:v>
                      </c:pt>
                      <c:pt idx="3704">
                        <c:v>39904</c:v>
                      </c:pt>
                      <c:pt idx="3705">
                        <c:v>39905</c:v>
                      </c:pt>
                      <c:pt idx="3706">
                        <c:v>39906</c:v>
                      </c:pt>
                      <c:pt idx="3707">
                        <c:v>39909</c:v>
                      </c:pt>
                      <c:pt idx="3708">
                        <c:v>39910</c:v>
                      </c:pt>
                      <c:pt idx="3709">
                        <c:v>39911</c:v>
                      </c:pt>
                      <c:pt idx="3710">
                        <c:v>39912</c:v>
                      </c:pt>
                      <c:pt idx="3711">
                        <c:v>39913</c:v>
                      </c:pt>
                      <c:pt idx="3712">
                        <c:v>39916</c:v>
                      </c:pt>
                      <c:pt idx="3713">
                        <c:v>39917</c:v>
                      </c:pt>
                      <c:pt idx="3714">
                        <c:v>39918</c:v>
                      </c:pt>
                      <c:pt idx="3715">
                        <c:v>39919</c:v>
                      </c:pt>
                      <c:pt idx="3716">
                        <c:v>39920</c:v>
                      </c:pt>
                      <c:pt idx="3717">
                        <c:v>39923</c:v>
                      </c:pt>
                      <c:pt idx="3718">
                        <c:v>39924</c:v>
                      </c:pt>
                      <c:pt idx="3719">
                        <c:v>39925</c:v>
                      </c:pt>
                      <c:pt idx="3720">
                        <c:v>39926</c:v>
                      </c:pt>
                      <c:pt idx="3721">
                        <c:v>39927</c:v>
                      </c:pt>
                      <c:pt idx="3722">
                        <c:v>39930</c:v>
                      </c:pt>
                      <c:pt idx="3723">
                        <c:v>39931</c:v>
                      </c:pt>
                      <c:pt idx="3724">
                        <c:v>39932</c:v>
                      </c:pt>
                      <c:pt idx="3725">
                        <c:v>39933</c:v>
                      </c:pt>
                      <c:pt idx="3726">
                        <c:v>39934</c:v>
                      </c:pt>
                      <c:pt idx="3727">
                        <c:v>39937</c:v>
                      </c:pt>
                      <c:pt idx="3728">
                        <c:v>39938</c:v>
                      </c:pt>
                      <c:pt idx="3729">
                        <c:v>39939</c:v>
                      </c:pt>
                      <c:pt idx="3730">
                        <c:v>39940</c:v>
                      </c:pt>
                      <c:pt idx="3731">
                        <c:v>39941</c:v>
                      </c:pt>
                      <c:pt idx="3732">
                        <c:v>39944</c:v>
                      </c:pt>
                      <c:pt idx="3733">
                        <c:v>39945</c:v>
                      </c:pt>
                      <c:pt idx="3734">
                        <c:v>39946</c:v>
                      </c:pt>
                      <c:pt idx="3735">
                        <c:v>39947</c:v>
                      </c:pt>
                      <c:pt idx="3736">
                        <c:v>39948</c:v>
                      </c:pt>
                      <c:pt idx="3737">
                        <c:v>39951</c:v>
                      </c:pt>
                      <c:pt idx="3738">
                        <c:v>39952</c:v>
                      </c:pt>
                      <c:pt idx="3739">
                        <c:v>39953</c:v>
                      </c:pt>
                      <c:pt idx="3740">
                        <c:v>39954</c:v>
                      </c:pt>
                      <c:pt idx="3741">
                        <c:v>39955</c:v>
                      </c:pt>
                      <c:pt idx="3742">
                        <c:v>39958</c:v>
                      </c:pt>
                      <c:pt idx="3743">
                        <c:v>39959</c:v>
                      </c:pt>
                      <c:pt idx="3744">
                        <c:v>39960</c:v>
                      </c:pt>
                      <c:pt idx="3745">
                        <c:v>39961</c:v>
                      </c:pt>
                      <c:pt idx="3746">
                        <c:v>39962</c:v>
                      </c:pt>
                      <c:pt idx="3747">
                        <c:v>39965</c:v>
                      </c:pt>
                      <c:pt idx="3748">
                        <c:v>39966</c:v>
                      </c:pt>
                      <c:pt idx="3749">
                        <c:v>39967</c:v>
                      </c:pt>
                      <c:pt idx="3750">
                        <c:v>39968</c:v>
                      </c:pt>
                      <c:pt idx="3751">
                        <c:v>39969</c:v>
                      </c:pt>
                      <c:pt idx="3752">
                        <c:v>39972</c:v>
                      </c:pt>
                      <c:pt idx="3753">
                        <c:v>39973</c:v>
                      </c:pt>
                      <c:pt idx="3754">
                        <c:v>39974</c:v>
                      </c:pt>
                      <c:pt idx="3755">
                        <c:v>39975</c:v>
                      </c:pt>
                      <c:pt idx="3756">
                        <c:v>39976</c:v>
                      </c:pt>
                      <c:pt idx="3757">
                        <c:v>39979</c:v>
                      </c:pt>
                      <c:pt idx="3758">
                        <c:v>39980</c:v>
                      </c:pt>
                      <c:pt idx="3759">
                        <c:v>39981</c:v>
                      </c:pt>
                      <c:pt idx="3760">
                        <c:v>39982</c:v>
                      </c:pt>
                      <c:pt idx="3761">
                        <c:v>39983</c:v>
                      </c:pt>
                      <c:pt idx="3762">
                        <c:v>39986</c:v>
                      </c:pt>
                      <c:pt idx="3763">
                        <c:v>39987</c:v>
                      </c:pt>
                      <c:pt idx="3764">
                        <c:v>39988</c:v>
                      </c:pt>
                      <c:pt idx="3765">
                        <c:v>39989</c:v>
                      </c:pt>
                      <c:pt idx="3766">
                        <c:v>39990</c:v>
                      </c:pt>
                      <c:pt idx="3767">
                        <c:v>39993</c:v>
                      </c:pt>
                      <c:pt idx="3768">
                        <c:v>39994</c:v>
                      </c:pt>
                      <c:pt idx="3769">
                        <c:v>39995</c:v>
                      </c:pt>
                      <c:pt idx="3770">
                        <c:v>39996</c:v>
                      </c:pt>
                      <c:pt idx="3771">
                        <c:v>39997</c:v>
                      </c:pt>
                      <c:pt idx="3772">
                        <c:v>40000</c:v>
                      </c:pt>
                      <c:pt idx="3773">
                        <c:v>40001</c:v>
                      </c:pt>
                      <c:pt idx="3774">
                        <c:v>40002</c:v>
                      </c:pt>
                      <c:pt idx="3775">
                        <c:v>40003</c:v>
                      </c:pt>
                      <c:pt idx="3776">
                        <c:v>40004</c:v>
                      </c:pt>
                      <c:pt idx="3777">
                        <c:v>40007</c:v>
                      </c:pt>
                      <c:pt idx="3778">
                        <c:v>40008</c:v>
                      </c:pt>
                      <c:pt idx="3779">
                        <c:v>40009</c:v>
                      </c:pt>
                      <c:pt idx="3780">
                        <c:v>40010</c:v>
                      </c:pt>
                      <c:pt idx="3781">
                        <c:v>40011</c:v>
                      </c:pt>
                      <c:pt idx="3782">
                        <c:v>40014</c:v>
                      </c:pt>
                      <c:pt idx="3783">
                        <c:v>40015</c:v>
                      </c:pt>
                      <c:pt idx="3784">
                        <c:v>40016</c:v>
                      </c:pt>
                      <c:pt idx="3785">
                        <c:v>40017</c:v>
                      </c:pt>
                      <c:pt idx="3786">
                        <c:v>40018</c:v>
                      </c:pt>
                      <c:pt idx="3787">
                        <c:v>40021</c:v>
                      </c:pt>
                      <c:pt idx="3788">
                        <c:v>40022</c:v>
                      </c:pt>
                      <c:pt idx="3789">
                        <c:v>40023</c:v>
                      </c:pt>
                      <c:pt idx="3790">
                        <c:v>40024</c:v>
                      </c:pt>
                      <c:pt idx="3791">
                        <c:v>40025</c:v>
                      </c:pt>
                      <c:pt idx="3792">
                        <c:v>40028</c:v>
                      </c:pt>
                      <c:pt idx="3793">
                        <c:v>40029</c:v>
                      </c:pt>
                      <c:pt idx="3794">
                        <c:v>40030</c:v>
                      </c:pt>
                      <c:pt idx="3795">
                        <c:v>40031</c:v>
                      </c:pt>
                      <c:pt idx="3796">
                        <c:v>40032</c:v>
                      </c:pt>
                      <c:pt idx="3797">
                        <c:v>40035</c:v>
                      </c:pt>
                      <c:pt idx="3798">
                        <c:v>40036</c:v>
                      </c:pt>
                      <c:pt idx="3799">
                        <c:v>40037</c:v>
                      </c:pt>
                      <c:pt idx="3800">
                        <c:v>40038</c:v>
                      </c:pt>
                      <c:pt idx="3801">
                        <c:v>40039</c:v>
                      </c:pt>
                      <c:pt idx="3802">
                        <c:v>40042</c:v>
                      </c:pt>
                      <c:pt idx="3803">
                        <c:v>40043</c:v>
                      </c:pt>
                      <c:pt idx="3804">
                        <c:v>40044</c:v>
                      </c:pt>
                      <c:pt idx="3805">
                        <c:v>40045</c:v>
                      </c:pt>
                      <c:pt idx="3806">
                        <c:v>40046</c:v>
                      </c:pt>
                      <c:pt idx="3807">
                        <c:v>40049</c:v>
                      </c:pt>
                      <c:pt idx="3808">
                        <c:v>40050</c:v>
                      </c:pt>
                      <c:pt idx="3809">
                        <c:v>40051</c:v>
                      </c:pt>
                      <c:pt idx="3810">
                        <c:v>40052</c:v>
                      </c:pt>
                      <c:pt idx="3811">
                        <c:v>40053</c:v>
                      </c:pt>
                      <c:pt idx="3812">
                        <c:v>40056</c:v>
                      </c:pt>
                      <c:pt idx="3813">
                        <c:v>40057</c:v>
                      </c:pt>
                      <c:pt idx="3814">
                        <c:v>40058</c:v>
                      </c:pt>
                      <c:pt idx="3815">
                        <c:v>40059</c:v>
                      </c:pt>
                      <c:pt idx="3816">
                        <c:v>40060</c:v>
                      </c:pt>
                      <c:pt idx="3817">
                        <c:v>40063</c:v>
                      </c:pt>
                      <c:pt idx="3818">
                        <c:v>40064</c:v>
                      </c:pt>
                      <c:pt idx="3819">
                        <c:v>40065</c:v>
                      </c:pt>
                      <c:pt idx="3820">
                        <c:v>40066</c:v>
                      </c:pt>
                      <c:pt idx="3821">
                        <c:v>40067</c:v>
                      </c:pt>
                      <c:pt idx="3822">
                        <c:v>40070</c:v>
                      </c:pt>
                      <c:pt idx="3823">
                        <c:v>40071</c:v>
                      </c:pt>
                      <c:pt idx="3824">
                        <c:v>40072</c:v>
                      </c:pt>
                      <c:pt idx="3825">
                        <c:v>40073</c:v>
                      </c:pt>
                      <c:pt idx="3826">
                        <c:v>40074</c:v>
                      </c:pt>
                      <c:pt idx="3827">
                        <c:v>40077</c:v>
                      </c:pt>
                      <c:pt idx="3828">
                        <c:v>40078</c:v>
                      </c:pt>
                      <c:pt idx="3829">
                        <c:v>40079</c:v>
                      </c:pt>
                      <c:pt idx="3830">
                        <c:v>40080</c:v>
                      </c:pt>
                      <c:pt idx="3831">
                        <c:v>40081</c:v>
                      </c:pt>
                      <c:pt idx="3832">
                        <c:v>40084</c:v>
                      </c:pt>
                      <c:pt idx="3833">
                        <c:v>40085</c:v>
                      </c:pt>
                      <c:pt idx="3834">
                        <c:v>40086</c:v>
                      </c:pt>
                      <c:pt idx="3835">
                        <c:v>40087</c:v>
                      </c:pt>
                      <c:pt idx="3836">
                        <c:v>40088</c:v>
                      </c:pt>
                      <c:pt idx="3837">
                        <c:v>40091</c:v>
                      </c:pt>
                      <c:pt idx="3838">
                        <c:v>40092</c:v>
                      </c:pt>
                      <c:pt idx="3839">
                        <c:v>40093</c:v>
                      </c:pt>
                      <c:pt idx="3840">
                        <c:v>40094</c:v>
                      </c:pt>
                      <c:pt idx="3841">
                        <c:v>40095</c:v>
                      </c:pt>
                      <c:pt idx="3842">
                        <c:v>40098</c:v>
                      </c:pt>
                      <c:pt idx="3843">
                        <c:v>40099</c:v>
                      </c:pt>
                      <c:pt idx="3844">
                        <c:v>40100</c:v>
                      </c:pt>
                      <c:pt idx="3845">
                        <c:v>40101</c:v>
                      </c:pt>
                      <c:pt idx="3846">
                        <c:v>40102</c:v>
                      </c:pt>
                      <c:pt idx="3847">
                        <c:v>40105</c:v>
                      </c:pt>
                      <c:pt idx="3848">
                        <c:v>40106</c:v>
                      </c:pt>
                      <c:pt idx="3849">
                        <c:v>40107</c:v>
                      </c:pt>
                      <c:pt idx="3850">
                        <c:v>40108</c:v>
                      </c:pt>
                      <c:pt idx="3851">
                        <c:v>40109</c:v>
                      </c:pt>
                      <c:pt idx="3852">
                        <c:v>40112</c:v>
                      </c:pt>
                      <c:pt idx="3853">
                        <c:v>40113</c:v>
                      </c:pt>
                      <c:pt idx="3854">
                        <c:v>40114</c:v>
                      </c:pt>
                      <c:pt idx="3855">
                        <c:v>40115</c:v>
                      </c:pt>
                      <c:pt idx="3856">
                        <c:v>40116</c:v>
                      </c:pt>
                      <c:pt idx="3857">
                        <c:v>40119</c:v>
                      </c:pt>
                      <c:pt idx="3858">
                        <c:v>40120</c:v>
                      </c:pt>
                      <c:pt idx="3859">
                        <c:v>40121</c:v>
                      </c:pt>
                      <c:pt idx="3860">
                        <c:v>40122</c:v>
                      </c:pt>
                      <c:pt idx="3861">
                        <c:v>40123</c:v>
                      </c:pt>
                      <c:pt idx="3862">
                        <c:v>40126</c:v>
                      </c:pt>
                      <c:pt idx="3863">
                        <c:v>40127</c:v>
                      </c:pt>
                      <c:pt idx="3864">
                        <c:v>40128</c:v>
                      </c:pt>
                      <c:pt idx="3865">
                        <c:v>40129</c:v>
                      </c:pt>
                      <c:pt idx="3866">
                        <c:v>40130</c:v>
                      </c:pt>
                      <c:pt idx="3867">
                        <c:v>40133</c:v>
                      </c:pt>
                      <c:pt idx="3868">
                        <c:v>40134</c:v>
                      </c:pt>
                      <c:pt idx="3869">
                        <c:v>40135</c:v>
                      </c:pt>
                      <c:pt idx="3870">
                        <c:v>40136</c:v>
                      </c:pt>
                      <c:pt idx="3871">
                        <c:v>40137</c:v>
                      </c:pt>
                      <c:pt idx="3872">
                        <c:v>40140</c:v>
                      </c:pt>
                      <c:pt idx="3873">
                        <c:v>40141</c:v>
                      </c:pt>
                      <c:pt idx="3874">
                        <c:v>40142</c:v>
                      </c:pt>
                      <c:pt idx="3875">
                        <c:v>40143</c:v>
                      </c:pt>
                      <c:pt idx="3876">
                        <c:v>40144</c:v>
                      </c:pt>
                      <c:pt idx="3877">
                        <c:v>40147</c:v>
                      </c:pt>
                      <c:pt idx="3878">
                        <c:v>40148</c:v>
                      </c:pt>
                      <c:pt idx="3879">
                        <c:v>40149</c:v>
                      </c:pt>
                      <c:pt idx="3880">
                        <c:v>40150</c:v>
                      </c:pt>
                      <c:pt idx="3881">
                        <c:v>40151</c:v>
                      </c:pt>
                      <c:pt idx="3882">
                        <c:v>40154</c:v>
                      </c:pt>
                      <c:pt idx="3883">
                        <c:v>40155</c:v>
                      </c:pt>
                      <c:pt idx="3884">
                        <c:v>40156</c:v>
                      </c:pt>
                      <c:pt idx="3885">
                        <c:v>40157</c:v>
                      </c:pt>
                      <c:pt idx="3886">
                        <c:v>40158</c:v>
                      </c:pt>
                      <c:pt idx="3887">
                        <c:v>40161</c:v>
                      </c:pt>
                      <c:pt idx="3888">
                        <c:v>40162</c:v>
                      </c:pt>
                      <c:pt idx="3889">
                        <c:v>40163</c:v>
                      </c:pt>
                      <c:pt idx="3890">
                        <c:v>40164</c:v>
                      </c:pt>
                      <c:pt idx="3891">
                        <c:v>40165</c:v>
                      </c:pt>
                      <c:pt idx="3892">
                        <c:v>40168</c:v>
                      </c:pt>
                      <c:pt idx="3893">
                        <c:v>40169</c:v>
                      </c:pt>
                      <c:pt idx="3894">
                        <c:v>40170</c:v>
                      </c:pt>
                      <c:pt idx="3895">
                        <c:v>40171</c:v>
                      </c:pt>
                      <c:pt idx="3896">
                        <c:v>40172</c:v>
                      </c:pt>
                      <c:pt idx="3897">
                        <c:v>40175</c:v>
                      </c:pt>
                      <c:pt idx="3898">
                        <c:v>40176</c:v>
                      </c:pt>
                      <c:pt idx="3899">
                        <c:v>40177</c:v>
                      </c:pt>
                      <c:pt idx="3900">
                        <c:v>40178</c:v>
                      </c:pt>
                      <c:pt idx="3901">
                        <c:v>40179</c:v>
                      </c:pt>
                      <c:pt idx="3902">
                        <c:v>40182</c:v>
                      </c:pt>
                      <c:pt idx="3903">
                        <c:v>40183</c:v>
                      </c:pt>
                      <c:pt idx="3904">
                        <c:v>40184</c:v>
                      </c:pt>
                      <c:pt idx="3905">
                        <c:v>40185</c:v>
                      </c:pt>
                      <c:pt idx="3906">
                        <c:v>40186</c:v>
                      </c:pt>
                      <c:pt idx="3907">
                        <c:v>40189</c:v>
                      </c:pt>
                      <c:pt idx="3908">
                        <c:v>40190</c:v>
                      </c:pt>
                      <c:pt idx="3909">
                        <c:v>40191</c:v>
                      </c:pt>
                      <c:pt idx="3910">
                        <c:v>40192</c:v>
                      </c:pt>
                      <c:pt idx="3911">
                        <c:v>40193</c:v>
                      </c:pt>
                      <c:pt idx="3912">
                        <c:v>40196</c:v>
                      </c:pt>
                      <c:pt idx="3913">
                        <c:v>40197</c:v>
                      </c:pt>
                      <c:pt idx="3914">
                        <c:v>40198</c:v>
                      </c:pt>
                      <c:pt idx="3915">
                        <c:v>40199</c:v>
                      </c:pt>
                      <c:pt idx="3916">
                        <c:v>40200</c:v>
                      </c:pt>
                      <c:pt idx="3917">
                        <c:v>40203</c:v>
                      </c:pt>
                      <c:pt idx="3918">
                        <c:v>40204</c:v>
                      </c:pt>
                      <c:pt idx="3919">
                        <c:v>40205</c:v>
                      </c:pt>
                      <c:pt idx="3920">
                        <c:v>40206</c:v>
                      </c:pt>
                      <c:pt idx="3921">
                        <c:v>40207</c:v>
                      </c:pt>
                      <c:pt idx="3922">
                        <c:v>40210</c:v>
                      </c:pt>
                      <c:pt idx="3923">
                        <c:v>40211</c:v>
                      </c:pt>
                      <c:pt idx="3924">
                        <c:v>40212</c:v>
                      </c:pt>
                      <c:pt idx="3925">
                        <c:v>40213</c:v>
                      </c:pt>
                      <c:pt idx="3926">
                        <c:v>40214</c:v>
                      </c:pt>
                      <c:pt idx="3927">
                        <c:v>40217</c:v>
                      </c:pt>
                      <c:pt idx="3928">
                        <c:v>40218</c:v>
                      </c:pt>
                      <c:pt idx="3929">
                        <c:v>40219</c:v>
                      </c:pt>
                      <c:pt idx="3930">
                        <c:v>40220</c:v>
                      </c:pt>
                      <c:pt idx="3931">
                        <c:v>40221</c:v>
                      </c:pt>
                      <c:pt idx="3932">
                        <c:v>40224</c:v>
                      </c:pt>
                      <c:pt idx="3933">
                        <c:v>40225</c:v>
                      </c:pt>
                      <c:pt idx="3934">
                        <c:v>40226</c:v>
                      </c:pt>
                      <c:pt idx="3935">
                        <c:v>40227</c:v>
                      </c:pt>
                      <c:pt idx="3936">
                        <c:v>40228</c:v>
                      </c:pt>
                      <c:pt idx="3937">
                        <c:v>40231</c:v>
                      </c:pt>
                      <c:pt idx="3938">
                        <c:v>40232</c:v>
                      </c:pt>
                      <c:pt idx="3939">
                        <c:v>40233</c:v>
                      </c:pt>
                      <c:pt idx="3940">
                        <c:v>40234</c:v>
                      </c:pt>
                      <c:pt idx="3941">
                        <c:v>40235</c:v>
                      </c:pt>
                      <c:pt idx="3942">
                        <c:v>40238</c:v>
                      </c:pt>
                      <c:pt idx="3943">
                        <c:v>40239</c:v>
                      </c:pt>
                      <c:pt idx="3944">
                        <c:v>40240</c:v>
                      </c:pt>
                      <c:pt idx="3945">
                        <c:v>40241</c:v>
                      </c:pt>
                      <c:pt idx="3946">
                        <c:v>40242</c:v>
                      </c:pt>
                      <c:pt idx="3947">
                        <c:v>40245</c:v>
                      </c:pt>
                      <c:pt idx="3948">
                        <c:v>40246</c:v>
                      </c:pt>
                      <c:pt idx="3949">
                        <c:v>40247</c:v>
                      </c:pt>
                      <c:pt idx="3950">
                        <c:v>40248</c:v>
                      </c:pt>
                      <c:pt idx="3951">
                        <c:v>40249</c:v>
                      </c:pt>
                      <c:pt idx="3952">
                        <c:v>40252</c:v>
                      </c:pt>
                      <c:pt idx="3953">
                        <c:v>40253</c:v>
                      </c:pt>
                      <c:pt idx="3954">
                        <c:v>40254</c:v>
                      </c:pt>
                      <c:pt idx="3955">
                        <c:v>40255</c:v>
                      </c:pt>
                      <c:pt idx="3956">
                        <c:v>40256</c:v>
                      </c:pt>
                      <c:pt idx="3957">
                        <c:v>40259</c:v>
                      </c:pt>
                      <c:pt idx="3958">
                        <c:v>40260</c:v>
                      </c:pt>
                      <c:pt idx="3959">
                        <c:v>40261</c:v>
                      </c:pt>
                      <c:pt idx="3960">
                        <c:v>40262</c:v>
                      </c:pt>
                      <c:pt idx="3961">
                        <c:v>40263</c:v>
                      </c:pt>
                      <c:pt idx="3962">
                        <c:v>40266</c:v>
                      </c:pt>
                      <c:pt idx="3963">
                        <c:v>40267</c:v>
                      </c:pt>
                      <c:pt idx="3964">
                        <c:v>40268</c:v>
                      </c:pt>
                      <c:pt idx="3965">
                        <c:v>40269</c:v>
                      </c:pt>
                      <c:pt idx="3966">
                        <c:v>40270</c:v>
                      </c:pt>
                      <c:pt idx="3967">
                        <c:v>40273</c:v>
                      </c:pt>
                      <c:pt idx="3968">
                        <c:v>40274</c:v>
                      </c:pt>
                      <c:pt idx="3969">
                        <c:v>40275</c:v>
                      </c:pt>
                      <c:pt idx="3970">
                        <c:v>40276</c:v>
                      </c:pt>
                      <c:pt idx="3971">
                        <c:v>40277</c:v>
                      </c:pt>
                      <c:pt idx="3972">
                        <c:v>40280</c:v>
                      </c:pt>
                      <c:pt idx="3973">
                        <c:v>40281</c:v>
                      </c:pt>
                      <c:pt idx="3974">
                        <c:v>40282</c:v>
                      </c:pt>
                      <c:pt idx="3975">
                        <c:v>40283</c:v>
                      </c:pt>
                      <c:pt idx="3976">
                        <c:v>40284</c:v>
                      </c:pt>
                      <c:pt idx="3977">
                        <c:v>40287</c:v>
                      </c:pt>
                      <c:pt idx="3978">
                        <c:v>40288</c:v>
                      </c:pt>
                      <c:pt idx="3979">
                        <c:v>40289</c:v>
                      </c:pt>
                      <c:pt idx="3980">
                        <c:v>40290</c:v>
                      </c:pt>
                      <c:pt idx="3981">
                        <c:v>40291</c:v>
                      </c:pt>
                      <c:pt idx="3982">
                        <c:v>40294</c:v>
                      </c:pt>
                      <c:pt idx="3983">
                        <c:v>40295</c:v>
                      </c:pt>
                      <c:pt idx="3984">
                        <c:v>40296</c:v>
                      </c:pt>
                      <c:pt idx="3985">
                        <c:v>40297</c:v>
                      </c:pt>
                      <c:pt idx="3986">
                        <c:v>40298</c:v>
                      </c:pt>
                      <c:pt idx="3987">
                        <c:v>40301</c:v>
                      </c:pt>
                      <c:pt idx="3988">
                        <c:v>40302</c:v>
                      </c:pt>
                      <c:pt idx="3989">
                        <c:v>40303</c:v>
                      </c:pt>
                      <c:pt idx="3990">
                        <c:v>40304</c:v>
                      </c:pt>
                      <c:pt idx="3991">
                        <c:v>40305</c:v>
                      </c:pt>
                      <c:pt idx="3992">
                        <c:v>40308</c:v>
                      </c:pt>
                      <c:pt idx="3993">
                        <c:v>40309</c:v>
                      </c:pt>
                      <c:pt idx="3994">
                        <c:v>40310</c:v>
                      </c:pt>
                      <c:pt idx="3995">
                        <c:v>40311</c:v>
                      </c:pt>
                      <c:pt idx="3996">
                        <c:v>40312</c:v>
                      </c:pt>
                      <c:pt idx="3997">
                        <c:v>40315</c:v>
                      </c:pt>
                      <c:pt idx="3998">
                        <c:v>40316</c:v>
                      </c:pt>
                      <c:pt idx="3999">
                        <c:v>40317</c:v>
                      </c:pt>
                      <c:pt idx="4000">
                        <c:v>40318</c:v>
                      </c:pt>
                      <c:pt idx="4001">
                        <c:v>40319</c:v>
                      </c:pt>
                      <c:pt idx="4002">
                        <c:v>40322</c:v>
                      </c:pt>
                      <c:pt idx="4003">
                        <c:v>40323</c:v>
                      </c:pt>
                      <c:pt idx="4004">
                        <c:v>40324</c:v>
                      </c:pt>
                      <c:pt idx="4005">
                        <c:v>40325</c:v>
                      </c:pt>
                      <c:pt idx="4006">
                        <c:v>40326</c:v>
                      </c:pt>
                      <c:pt idx="4007">
                        <c:v>40329</c:v>
                      </c:pt>
                      <c:pt idx="4008">
                        <c:v>40330</c:v>
                      </c:pt>
                      <c:pt idx="4009">
                        <c:v>40331</c:v>
                      </c:pt>
                      <c:pt idx="4010">
                        <c:v>40332</c:v>
                      </c:pt>
                      <c:pt idx="4011">
                        <c:v>40333</c:v>
                      </c:pt>
                      <c:pt idx="4012">
                        <c:v>40336</c:v>
                      </c:pt>
                      <c:pt idx="4013">
                        <c:v>40337</c:v>
                      </c:pt>
                      <c:pt idx="4014">
                        <c:v>40338</c:v>
                      </c:pt>
                      <c:pt idx="4015">
                        <c:v>40339</c:v>
                      </c:pt>
                      <c:pt idx="4016">
                        <c:v>40340</c:v>
                      </c:pt>
                      <c:pt idx="4017">
                        <c:v>40343</c:v>
                      </c:pt>
                      <c:pt idx="4018">
                        <c:v>40344</c:v>
                      </c:pt>
                      <c:pt idx="4019">
                        <c:v>40345</c:v>
                      </c:pt>
                      <c:pt idx="4020">
                        <c:v>40346</c:v>
                      </c:pt>
                      <c:pt idx="4021">
                        <c:v>40347</c:v>
                      </c:pt>
                      <c:pt idx="4022">
                        <c:v>40350</c:v>
                      </c:pt>
                      <c:pt idx="4023">
                        <c:v>40351</c:v>
                      </c:pt>
                      <c:pt idx="4024">
                        <c:v>40352</c:v>
                      </c:pt>
                      <c:pt idx="4025">
                        <c:v>40353</c:v>
                      </c:pt>
                      <c:pt idx="4026">
                        <c:v>40354</c:v>
                      </c:pt>
                      <c:pt idx="4027">
                        <c:v>40357</c:v>
                      </c:pt>
                      <c:pt idx="4028">
                        <c:v>40358</c:v>
                      </c:pt>
                      <c:pt idx="4029">
                        <c:v>40359</c:v>
                      </c:pt>
                      <c:pt idx="4030">
                        <c:v>40360</c:v>
                      </c:pt>
                      <c:pt idx="4031">
                        <c:v>40361</c:v>
                      </c:pt>
                      <c:pt idx="4032">
                        <c:v>40364</c:v>
                      </c:pt>
                      <c:pt idx="4033">
                        <c:v>40365</c:v>
                      </c:pt>
                      <c:pt idx="4034">
                        <c:v>40366</c:v>
                      </c:pt>
                      <c:pt idx="4035">
                        <c:v>40367</c:v>
                      </c:pt>
                      <c:pt idx="4036">
                        <c:v>40368</c:v>
                      </c:pt>
                      <c:pt idx="4037">
                        <c:v>40371</c:v>
                      </c:pt>
                      <c:pt idx="4038">
                        <c:v>40372</c:v>
                      </c:pt>
                      <c:pt idx="4039">
                        <c:v>40373</c:v>
                      </c:pt>
                      <c:pt idx="4040">
                        <c:v>40374</c:v>
                      </c:pt>
                      <c:pt idx="4041">
                        <c:v>40375</c:v>
                      </c:pt>
                      <c:pt idx="4042">
                        <c:v>40378</c:v>
                      </c:pt>
                      <c:pt idx="4043">
                        <c:v>40379</c:v>
                      </c:pt>
                      <c:pt idx="4044">
                        <c:v>40380</c:v>
                      </c:pt>
                      <c:pt idx="4045">
                        <c:v>40381</c:v>
                      </c:pt>
                      <c:pt idx="4046">
                        <c:v>40382</c:v>
                      </c:pt>
                      <c:pt idx="4047">
                        <c:v>40385</c:v>
                      </c:pt>
                      <c:pt idx="4048">
                        <c:v>40386</c:v>
                      </c:pt>
                      <c:pt idx="4049">
                        <c:v>40387</c:v>
                      </c:pt>
                      <c:pt idx="4050">
                        <c:v>40388</c:v>
                      </c:pt>
                      <c:pt idx="4051">
                        <c:v>40389</c:v>
                      </c:pt>
                      <c:pt idx="4052">
                        <c:v>40392</c:v>
                      </c:pt>
                      <c:pt idx="4053">
                        <c:v>40393</c:v>
                      </c:pt>
                      <c:pt idx="4054">
                        <c:v>40394</c:v>
                      </c:pt>
                      <c:pt idx="4055">
                        <c:v>40395</c:v>
                      </c:pt>
                      <c:pt idx="4056">
                        <c:v>40396</c:v>
                      </c:pt>
                      <c:pt idx="4057">
                        <c:v>40399</c:v>
                      </c:pt>
                      <c:pt idx="4058">
                        <c:v>40400</c:v>
                      </c:pt>
                      <c:pt idx="4059">
                        <c:v>40401</c:v>
                      </c:pt>
                      <c:pt idx="4060">
                        <c:v>40402</c:v>
                      </c:pt>
                      <c:pt idx="4061">
                        <c:v>40403</c:v>
                      </c:pt>
                      <c:pt idx="4062">
                        <c:v>40406</c:v>
                      </c:pt>
                      <c:pt idx="4063">
                        <c:v>40407</c:v>
                      </c:pt>
                      <c:pt idx="4064">
                        <c:v>40408</c:v>
                      </c:pt>
                      <c:pt idx="4065">
                        <c:v>40409</c:v>
                      </c:pt>
                      <c:pt idx="4066">
                        <c:v>40410</c:v>
                      </c:pt>
                      <c:pt idx="4067">
                        <c:v>40413</c:v>
                      </c:pt>
                      <c:pt idx="4068">
                        <c:v>40414</c:v>
                      </c:pt>
                      <c:pt idx="4069">
                        <c:v>40415</c:v>
                      </c:pt>
                      <c:pt idx="4070">
                        <c:v>40416</c:v>
                      </c:pt>
                      <c:pt idx="4071">
                        <c:v>40417</c:v>
                      </c:pt>
                      <c:pt idx="4072">
                        <c:v>40420</c:v>
                      </c:pt>
                      <c:pt idx="4073">
                        <c:v>40421</c:v>
                      </c:pt>
                      <c:pt idx="4074">
                        <c:v>40422</c:v>
                      </c:pt>
                      <c:pt idx="4075">
                        <c:v>40423</c:v>
                      </c:pt>
                      <c:pt idx="4076">
                        <c:v>40424</c:v>
                      </c:pt>
                      <c:pt idx="4077">
                        <c:v>40427</c:v>
                      </c:pt>
                      <c:pt idx="4078">
                        <c:v>40428</c:v>
                      </c:pt>
                      <c:pt idx="4079">
                        <c:v>40429</c:v>
                      </c:pt>
                      <c:pt idx="4080">
                        <c:v>40430</c:v>
                      </c:pt>
                      <c:pt idx="4081">
                        <c:v>40431</c:v>
                      </c:pt>
                      <c:pt idx="4082">
                        <c:v>40434</c:v>
                      </c:pt>
                      <c:pt idx="4083">
                        <c:v>40435</c:v>
                      </c:pt>
                      <c:pt idx="4084">
                        <c:v>40436</c:v>
                      </c:pt>
                      <c:pt idx="4085">
                        <c:v>40437</c:v>
                      </c:pt>
                      <c:pt idx="4086">
                        <c:v>40438</c:v>
                      </c:pt>
                      <c:pt idx="4087">
                        <c:v>40441</c:v>
                      </c:pt>
                      <c:pt idx="4088">
                        <c:v>40442</c:v>
                      </c:pt>
                      <c:pt idx="4089">
                        <c:v>40443</c:v>
                      </c:pt>
                      <c:pt idx="4090">
                        <c:v>40444</c:v>
                      </c:pt>
                      <c:pt idx="4091">
                        <c:v>40445</c:v>
                      </c:pt>
                      <c:pt idx="4092">
                        <c:v>40448</c:v>
                      </c:pt>
                      <c:pt idx="4093">
                        <c:v>40449</c:v>
                      </c:pt>
                      <c:pt idx="4094">
                        <c:v>40450</c:v>
                      </c:pt>
                      <c:pt idx="4095">
                        <c:v>40451</c:v>
                      </c:pt>
                      <c:pt idx="4096">
                        <c:v>40452</c:v>
                      </c:pt>
                      <c:pt idx="4097">
                        <c:v>40455</c:v>
                      </c:pt>
                      <c:pt idx="4098">
                        <c:v>40456</c:v>
                      </c:pt>
                      <c:pt idx="4099">
                        <c:v>40457</c:v>
                      </c:pt>
                      <c:pt idx="4100">
                        <c:v>40458</c:v>
                      </c:pt>
                      <c:pt idx="4101">
                        <c:v>40459</c:v>
                      </c:pt>
                      <c:pt idx="4102">
                        <c:v>40462</c:v>
                      </c:pt>
                      <c:pt idx="4103">
                        <c:v>40463</c:v>
                      </c:pt>
                      <c:pt idx="4104">
                        <c:v>40464</c:v>
                      </c:pt>
                      <c:pt idx="4105">
                        <c:v>40465</c:v>
                      </c:pt>
                      <c:pt idx="4106">
                        <c:v>40466</c:v>
                      </c:pt>
                      <c:pt idx="4107">
                        <c:v>40469</c:v>
                      </c:pt>
                      <c:pt idx="4108">
                        <c:v>40470</c:v>
                      </c:pt>
                      <c:pt idx="4109">
                        <c:v>40471</c:v>
                      </c:pt>
                      <c:pt idx="4110">
                        <c:v>40472</c:v>
                      </c:pt>
                      <c:pt idx="4111">
                        <c:v>40473</c:v>
                      </c:pt>
                      <c:pt idx="4112">
                        <c:v>40476</c:v>
                      </c:pt>
                      <c:pt idx="4113">
                        <c:v>40477</c:v>
                      </c:pt>
                      <c:pt idx="4114">
                        <c:v>40478</c:v>
                      </c:pt>
                      <c:pt idx="4115">
                        <c:v>40479</c:v>
                      </c:pt>
                      <c:pt idx="4116">
                        <c:v>40480</c:v>
                      </c:pt>
                      <c:pt idx="4117">
                        <c:v>40483</c:v>
                      </c:pt>
                      <c:pt idx="4118">
                        <c:v>40484</c:v>
                      </c:pt>
                      <c:pt idx="4119">
                        <c:v>40485</c:v>
                      </c:pt>
                      <c:pt idx="4120">
                        <c:v>40486</c:v>
                      </c:pt>
                      <c:pt idx="4121">
                        <c:v>40487</c:v>
                      </c:pt>
                      <c:pt idx="4122">
                        <c:v>40490</c:v>
                      </c:pt>
                      <c:pt idx="4123">
                        <c:v>40491</c:v>
                      </c:pt>
                      <c:pt idx="4124">
                        <c:v>40492</c:v>
                      </c:pt>
                      <c:pt idx="4125">
                        <c:v>40493</c:v>
                      </c:pt>
                      <c:pt idx="4126">
                        <c:v>40494</c:v>
                      </c:pt>
                      <c:pt idx="4127">
                        <c:v>40497</c:v>
                      </c:pt>
                      <c:pt idx="4128">
                        <c:v>40498</c:v>
                      </c:pt>
                      <c:pt idx="4129">
                        <c:v>40499</c:v>
                      </c:pt>
                      <c:pt idx="4130">
                        <c:v>40500</c:v>
                      </c:pt>
                      <c:pt idx="4131">
                        <c:v>40501</c:v>
                      </c:pt>
                      <c:pt idx="4132">
                        <c:v>40504</c:v>
                      </c:pt>
                      <c:pt idx="4133">
                        <c:v>40505</c:v>
                      </c:pt>
                      <c:pt idx="4134">
                        <c:v>40506</c:v>
                      </c:pt>
                      <c:pt idx="4135">
                        <c:v>40507</c:v>
                      </c:pt>
                      <c:pt idx="4136">
                        <c:v>40508</c:v>
                      </c:pt>
                      <c:pt idx="4137">
                        <c:v>40511</c:v>
                      </c:pt>
                      <c:pt idx="4138">
                        <c:v>40512</c:v>
                      </c:pt>
                      <c:pt idx="4139">
                        <c:v>40513</c:v>
                      </c:pt>
                      <c:pt idx="4140">
                        <c:v>40514</c:v>
                      </c:pt>
                      <c:pt idx="4141">
                        <c:v>40515</c:v>
                      </c:pt>
                      <c:pt idx="4142">
                        <c:v>40518</c:v>
                      </c:pt>
                      <c:pt idx="4143">
                        <c:v>40519</c:v>
                      </c:pt>
                      <c:pt idx="4144">
                        <c:v>40520</c:v>
                      </c:pt>
                      <c:pt idx="4145">
                        <c:v>40521</c:v>
                      </c:pt>
                      <c:pt idx="4146">
                        <c:v>40522</c:v>
                      </c:pt>
                      <c:pt idx="4147">
                        <c:v>40525</c:v>
                      </c:pt>
                      <c:pt idx="4148">
                        <c:v>40526</c:v>
                      </c:pt>
                      <c:pt idx="4149">
                        <c:v>40527</c:v>
                      </c:pt>
                      <c:pt idx="4150">
                        <c:v>40528</c:v>
                      </c:pt>
                      <c:pt idx="4151">
                        <c:v>40529</c:v>
                      </c:pt>
                      <c:pt idx="4152">
                        <c:v>40532</c:v>
                      </c:pt>
                      <c:pt idx="4153">
                        <c:v>40533</c:v>
                      </c:pt>
                      <c:pt idx="4154">
                        <c:v>40534</c:v>
                      </c:pt>
                      <c:pt idx="4155">
                        <c:v>40535</c:v>
                      </c:pt>
                      <c:pt idx="4156">
                        <c:v>40536</c:v>
                      </c:pt>
                      <c:pt idx="4157">
                        <c:v>40539</c:v>
                      </c:pt>
                      <c:pt idx="4158">
                        <c:v>40540</c:v>
                      </c:pt>
                      <c:pt idx="4159">
                        <c:v>40541</c:v>
                      </c:pt>
                      <c:pt idx="4160">
                        <c:v>40542</c:v>
                      </c:pt>
                      <c:pt idx="4161">
                        <c:v>40543</c:v>
                      </c:pt>
                      <c:pt idx="4162">
                        <c:v>40546</c:v>
                      </c:pt>
                      <c:pt idx="4163">
                        <c:v>40547</c:v>
                      </c:pt>
                      <c:pt idx="4164">
                        <c:v>40548</c:v>
                      </c:pt>
                      <c:pt idx="4165">
                        <c:v>40549</c:v>
                      </c:pt>
                      <c:pt idx="4166">
                        <c:v>40550</c:v>
                      </c:pt>
                      <c:pt idx="4167">
                        <c:v>40553</c:v>
                      </c:pt>
                      <c:pt idx="4168">
                        <c:v>40554</c:v>
                      </c:pt>
                      <c:pt idx="4169">
                        <c:v>40555</c:v>
                      </c:pt>
                      <c:pt idx="4170">
                        <c:v>40556</c:v>
                      </c:pt>
                      <c:pt idx="4171">
                        <c:v>40557</c:v>
                      </c:pt>
                      <c:pt idx="4172">
                        <c:v>40560</c:v>
                      </c:pt>
                      <c:pt idx="4173">
                        <c:v>40561</c:v>
                      </c:pt>
                      <c:pt idx="4174">
                        <c:v>40562</c:v>
                      </c:pt>
                      <c:pt idx="4175">
                        <c:v>40563</c:v>
                      </c:pt>
                      <c:pt idx="4176">
                        <c:v>40564</c:v>
                      </c:pt>
                      <c:pt idx="4177">
                        <c:v>40567</c:v>
                      </c:pt>
                      <c:pt idx="4178">
                        <c:v>40568</c:v>
                      </c:pt>
                      <c:pt idx="4179">
                        <c:v>40569</c:v>
                      </c:pt>
                      <c:pt idx="4180">
                        <c:v>40570</c:v>
                      </c:pt>
                      <c:pt idx="4181">
                        <c:v>40571</c:v>
                      </c:pt>
                      <c:pt idx="4182">
                        <c:v>40574</c:v>
                      </c:pt>
                      <c:pt idx="4183">
                        <c:v>40575</c:v>
                      </c:pt>
                      <c:pt idx="4184">
                        <c:v>40576</c:v>
                      </c:pt>
                      <c:pt idx="4185">
                        <c:v>40577</c:v>
                      </c:pt>
                      <c:pt idx="4186">
                        <c:v>40578</c:v>
                      </c:pt>
                      <c:pt idx="4187">
                        <c:v>40581</c:v>
                      </c:pt>
                      <c:pt idx="4188">
                        <c:v>40582</c:v>
                      </c:pt>
                      <c:pt idx="4189">
                        <c:v>40583</c:v>
                      </c:pt>
                      <c:pt idx="4190">
                        <c:v>40584</c:v>
                      </c:pt>
                      <c:pt idx="4191">
                        <c:v>40585</c:v>
                      </c:pt>
                      <c:pt idx="4192">
                        <c:v>40588</c:v>
                      </c:pt>
                      <c:pt idx="4193">
                        <c:v>40589</c:v>
                      </c:pt>
                      <c:pt idx="4194">
                        <c:v>40590</c:v>
                      </c:pt>
                      <c:pt idx="4195">
                        <c:v>40591</c:v>
                      </c:pt>
                      <c:pt idx="4196">
                        <c:v>40592</c:v>
                      </c:pt>
                      <c:pt idx="4197">
                        <c:v>40595</c:v>
                      </c:pt>
                      <c:pt idx="4198">
                        <c:v>40596</c:v>
                      </c:pt>
                      <c:pt idx="4199">
                        <c:v>40597</c:v>
                      </c:pt>
                      <c:pt idx="4200">
                        <c:v>40598</c:v>
                      </c:pt>
                      <c:pt idx="4201">
                        <c:v>40599</c:v>
                      </c:pt>
                      <c:pt idx="4202">
                        <c:v>40602</c:v>
                      </c:pt>
                      <c:pt idx="4203">
                        <c:v>40603</c:v>
                      </c:pt>
                      <c:pt idx="4204">
                        <c:v>40604</c:v>
                      </c:pt>
                      <c:pt idx="4205">
                        <c:v>40605</c:v>
                      </c:pt>
                      <c:pt idx="4206">
                        <c:v>40606</c:v>
                      </c:pt>
                      <c:pt idx="4207">
                        <c:v>40609</c:v>
                      </c:pt>
                      <c:pt idx="4208">
                        <c:v>40610</c:v>
                      </c:pt>
                      <c:pt idx="4209">
                        <c:v>40611</c:v>
                      </c:pt>
                      <c:pt idx="4210">
                        <c:v>40612</c:v>
                      </c:pt>
                      <c:pt idx="4211">
                        <c:v>40613</c:v>
                      </c:pt>
                      <c:pt idx="4212">
                        <c:v>40616</c:v>
                      </c:pt>
                      <c:pt idx="4213">
                        <c:v>40617</c:v>
                      </c:pt>
                      <c:pt idx="4214">
                        <c:v>40618</c:v>
                      </c:pt>
                      <c:pt idx="4215">
                        <c:v>40619</c:v>
                      </c:pt>
                      <c:pt idx="4216">
                        <c:v>40620</c:v>
                      </c:pt>
                      <c:pt idx="4217">
                        <c:v>40623</c:v>
                      </c:pt>
                      <c:pt idx="4218">
                        <c:v>40624</c:v>
                      </c:pt>
                      <c:pt idx="4219">
                        <c:v>40625</c:v>
                      </c:pt>
                      <c:pt idx="4220">
                        <c:v>40626</c:v>
                      </c:pt>
                      <c:pt idx="4221">
                        <c:v>40627</c:v>
                      </c:pt>
                      <c:pt idx="4222">
                        <c:v>40630</c:v>
                      </c:pt>
                      <c:pt idx="4223">
                        <c:v>40631</c:v>
                      </c:pt>
                      <c:pt idx="4224">
                        <c:v>40632</c:v>
                      </c:pt>
                      <c:pt idx="4225">
                        <c:v>40633</c:v>
                      </c:pt>
                      <c:pt idx="4226">
                        <c:v>40634</c:v>
                      </c:pt>
                      <c:pt idx="4227">
                        <c:v>40637</c:v>
                      </c:pt>
                      <c:pt idx="4228">
                        <c:v>40638</c:v>
                      </c:pt>
                      <c:pt idx="4229">
                        <c:v>40639</c:v>
                      </c:pt>
                      <c:pt idx="4230">
                        <c:v>40640</c:v>
                      </c:pt>
                      <c:pt idx="4231">
                        <c:v>40641</c:v>
                      </c:pt>
                      <c:pt idx="4232">
                        <c:v>40644</c:v>
                      </c:pt>
                      <c:pt idx="4233">
                        <c:v>40645</c:v>
                      </c:pt>
                      <c:pt idx="4234">
                        <c:v>40646</c:v>
                      </c:pt>
                      <c:pt idx="4235">
                        <c:v>40647</c:v>
                      </c:pt>
                      <c:pt idx="4236">
                        <c:v>40648</c:v>
                      </c:pt>
                      <c:pt idx="4237">
                        <c:v>40651</c:v>
                      </c:pt>
                      <c:pt idx="4238">
                        <c:v>40652</c:v>
                      </c:pt>
                      <c:pt idx="4239">
                        <c:v>40653</c:v>
                      </c:pt>
                      <c:pt idx="4240">
                        <c:v>40654</c:v>
                      </c:pt>
                      <c:pt idx="4241">
                        <c:v>40655</c:v>
                      </c:pt>
                      <c:pt idx="4242">
                        <c:v>40658</c:v>
                      </c:pt>
                      <c:pt idx="4243">
                        <c:v>40659</c:v>
                      </c:pt>
                      <c:pt idx="4244">
                        <c:v>40660</c:v>
                      </c:pt>
                      <c:pt idx="4245">
                        <c:v>40661</c:v>
                      </c:pt>
                      <c:pt idx="4246">
                        <c:v>40662</c:v>
                      </c:pt>
                      <c:pt idx="4247">
                        <c:v>40665</c:v>
                      </c:pt>
                      <c:pt idx="4248">
                        <c:v>40666</c:v>
                      </c:pt>
                      <c:pt idx="4249">
                        <c:v>40667</c:v>
                      </c:pt>
                      <c:pt idx="4250">
                        <c:v>40668</c:v>
                      </c:pt>
                      <c:pt idx="4251">
                        <c:v>40669</c:v>
                      </c:pt>
                      <c:pt idx="4252">
                        <c:v>40672</c:v>
                      </c:pt>
                      <c:pt idx="4253">
                        <c:v>40673</c:v>
                      </c:pt>
                      <c:pt idx="4254">
                        <c:v>40674</c:v>
                      </c:pt>
                      <c:pt idx="4255">
                        <c:v>40675</c:v>
                      </c:pt>
                      <c:pt idx="4256">
                        <c:v>40676</c:v>
                      </c:pt>
                      <c:pt idx="4257">
                        <c:v>40679</c:v>
                      </c:pt>
                      <c:pt idx="4258">
                        <c:v>40680</c:v>
                      </c:pt>
                      <c:pt idx="4259">
                        <c:v>40681</c:v>
                      </c:pt>
                      <c:pt idx="4260">
                        <c:v>40682</c:v>
                      </c:pt>
                      <c:pt idx="4261">
                        <c:v>40683</c:v>
                      </c:pt>
                      <c:pt idx="4262">
                        <c:v>40686</c:v>
                      </c:pt>
                      <c:pt idx="4263">
                        <c:v>40687</c:v>
                      </c:pt>
                      <c:pt idx="4264">
                        <c:v>40688</c:v>
                      </c:pt>
                      <c:pt idx="4265">
                        <c:v>40689</c:v>
                      </c:pt>
                      <c:pt idx="4266">
                        <c:v>40690</c:v>
                      </c:pt>
                      <c:pt idx="4267">
                        <c:v>40693</c:v>
                      </c:pt>
                      <c:pt idx="4268">
                        <c:v>40694</c:v>
                      </c:pt>
                      <c:pt idx="4269">
                        <c:v>40695</c:v>
                      </c:pt>
                      <c:pt idx="4270">
                        <c:v>40696</c:v>
                      </c:pt>
                      <c:pt idx="4271">
                        <c:v>40697</c:v>
                      </c:pt>
                      <c:pt idx="4272">
                        <c:v>40700</c:v>
                      </c:pt>
                      <c:pt idx="4273">
                        <c:v>40701</c:v>
                      </c:pt>
                      <c:pt idx="4274">
                        <c:v>40702</c:v>
                      </c:pt>
                      <c:pt idx="4275">
                        <c:v>40703</c:v>
                      </c:pt>
                      <c:pt idx="4276">
                        <c:v>40704</c:v>
                      </c:pt>
                      <c:pt idx="4277">
                        <c:v>40707</c:v>
                      </c:pt>
                      <c:pt idx="4278">
                        <c:v>40708</c:v>
                      </c:pt>
                      <c:pt idx="4279">
                        <c:v>40709</c:v>
                      </c:pt>
                      <c:pt idx="4280">
                        <c:v>40710</c:v>
                      </c:pt>
                      <c:pt idx="4281">
                        <c:v>40711</c:v>
                      </c:pt>
                      <c:pt idx="4282">
                        <c:v>40714</c:v>
                      </c:pt>
                      <c:pt idx="4283">
                        <c:v>40715</c:v>
                      </c:pt>
                      <c:pt idx="4284">
                        <c:v>40716</c:v>
                      </c:pt>
                      <c:pt idx="4285">
                        <c:v>40717</c:v>
                      </c:pt>
                      <c:pt idx="4286">
                        <c:v>40718</c:v>
                      </c:pt>
                      <c:pt idx="4287">
                        <c:v>40721</c:v>
                      </c:pt>
                      <c:pt idx="4288">
                        <c:v>40722</c:v>
                      </c:pt>
                      <c:pt idx="4289">
                        <c:v>40723</c:v>
                      </c:pt>
                      <c:pt idx="4290">
                        <c:v>40724</c:v>
                      </c:pt>
                      <c:pt idx="4291">
                        <c:v>40725</c:v>
                      </c:pt>
                      <c:pt idx="4292">
                        <c:v>40728</c:v>
                      </c:pt>
                      <c:pt idx="4293">
                        <c:v>40729</c:v>
                      </c:pt>
                      <c:pt idx="4294">
                        <c:v>40730</c:v>
                      </c:pt>
                      <c:pt idx="4295">
                        <c:v>40731</c:v>
                      </c:pt>
                      <c:pt idx="4296">
                        <c:v>40732</c:v>
                      </c:pt>
                      <c:pt idx="4297">
                        <c:v>40735</c:v>
                      </c:pt>
                      <c:pt idx="4298">
                        <c:v>40736</c:v>
                      </c:pt>
                      <c:pt idx="4299">
                        <c:v>40737</c:v>
                      </c:pt>
                      <c:pt idx="4300">
                        <c:v>40738</c:v>
                      </c:pt>
                      <c:pt idx="4301">
                        <c:v>40739</c:v>
                      </c:pt>
                      <c:pt idx="4302">
                        <c:v>40742</c:v>
                      </c:pt>
                      <c:pt idx="4303">
                        <c:v>40743</c:v>
                      </c:pt>
                      <c:pt idx="4304">
                        <c:v>40744</c:v>
                      </c:pt>
                      <c:pt idx="4305">
                        <c:v>40745</c:v>
                      </c:pt>
                      <c:pt idx="4306">
                        <c:v>40746</c:v>
                      </c:pt>
                      <c:pt idx="4307">
                        <c:v>40749</c:v>
                      </c:pt>
                      <c:pt idx="4308">
                        <c:v>40750</c:v>
                      </c:pt>
                      <c:pt idx="4309">
                        <c:v>40751</c:v>
                      </c:pt>
                      <c:pt idx="4310">
                        <c:v>40752</c:v>
                      </c:pt>
                      <c:pt idx="4311">
                        <c:v>40753</c:v>
                      </c:pt>
                      <c:pt idx="4312">
                        <c:v>40756</c:v>
                      </c:pt>
                      <c:pt idx="4313">
                        <c:v>40757</c:v>
                      </c:pt>
                      <c:pt idx="4314">
                        <c:v>40758</c:v>
                      </c:pt>
                      <c:pt idx="4315">
                        <c:v>40759</c:v>
                      </c:pt>
                      <c:pt idx="4316">
                        <c:v>40760</c:v>
                      </c:pt>
                      <c:pt idx="4317">
                        <c:v>40763</c:v>
                      </c:pt>
                      <c:pt idx="4318">
                        <c:v>40764</c:v>
                      </c:pt>
                      <c:pt idx="4319">
                        <c:v>40765</c:v>
                      </c:pt>
                      <c:pt idx="4320">
                        <c:v>40766</c:v>
                      </c:pt>
                      <c:pt idx="4321">
                        <c:v>40767</c:v>
                      </c:pt>
                      <c:pt idx="4322">
                        <c:v>40770</c:v>
                      </c:pt>
                      <c:pt idx="4323">
                        <c:v>40771</c:v>
                      </c:pt>
                      <c:pt idx="4324">
                        <c:v>40772</c:v>
                      </c:pt>
                      <c:pt idx="4325">
                        <c:v>40773</c:v>
                      </c:pt>
                      <c:pt idx="4326">
                        <c:v>40774</c:v>
                      </c:pt>
                      <c:pt idx="4327">
                        <c:v>40777</c:v>
                      </c:pt>
                      <c:pt idx="4328">
                        <c:v>40778</c:v>
                      </c:pt>
                      <c:pt idx="4329">
                        <c:v>40779</c:v>
                      </c:pt>
                      <c:pt idx="4330">
                        <c:v>40780</c:v>
                      </c:pt>
                      <c:pt idx="4331">
                        <c:v>40781</c:v>
                      </c:pt>
                      <c:pt idx="4332">
                        <c:v>40784</c:v>
                      </c:pt>
                      <c:pt idx="4333">
                        <c:v>40785</c:v>
                      </c:pt>
                      <c:pt idx="4334">
                        <c:v>40786</c:v>
                      </c:pt>
                      <c:pt idx="4335">
                        <c:v>40787</c:v>
                      </c:pt>
                      <c:pt idx="4336">
                        <c:v>40788</c:v>
                      </c:pt>
                      <c:pt idx="4337">
                        <c:v>40791</c:v>
                      </c:pt>
                      <c:pt idx="4338">
                        <c:v>40792</c:v>
                      </c:pt>
                      <c:pt idx="4339">
                        <c:v>40793</c:v>
                      </c:pt>
                      <c:pt idx="4340">
                        <c:v>40794</c:v>
                      </c:pt>
                      <c:pt idx="4341">
                        <c:v>40795</c:v>
                      </c:pt>
                      <c:pt idx="4342">
                        <c:v>40798</c:v>
                      </c:pt>
                      <c:pt idx="4343">
                        <c:v>40799</c:v>
                      </c:pt>
                      <c:pt idx="4344">
                        <c:v>40800</c:v>
                      </c:pt>
                      <c:pt idx="4345">
                        <c:v>40801</c:v>
                      </c:pt>
                      <c:pt idx="4346">
                        <c:v>40802</c:v>
                      </c:pt>
                      <c:pt idx="4347">
                        <c:v>40805</c:v>
                      </c:pt>
                      <c:pt idx="4348">
                        <c:v>40806</c:v>
                      </c:pt>
                      <c:pt idx="4349">
                        <c:v>40807</c:v>
                      </c:pt>
                      <c:pt idx="4350">
                        <c:v>40808</c:v>
                      </c:pt>
                      <c:pt idx="4351">
                        <c:v>40809</c:v>
                      </c:pt>
                      <c:pt idx="4352">
                        <c:v>40812</c:v>
                      </c:pt>
                      <c:pt idx="4353">
                        <c:v>40813</c:v>
                      </c:pt>
                      <c:pt idx="4354">
                        <c:v>40814</c:v>
                      </c:pt>
                      <c:pt idx="4355">
                        <c:v>40815</c:v>
                      </c:pt>
                      <c:pt idx="4356">
                        <c:v>40816</c:v>
                      </c:pt>
                      <c:pt idx="4357">
                        <c:v>40819</c:v>
                      </c:pt>
                      <c:pt idx="4358">
                        <c:v>40820</c:v>
                      </c:pt>
                      <c:pt idx="4359">
                        <c:v>40821</c:v>
                      </c:pt>
                      <c:pt idx="4360">
                        <c:v>40822</c:v>
                      </c:pt>
                      <c:pt idx="4361">
                        <c:v>40823</c:v>
                      </c:pt>
                      <c:pt idx="4362">
                        <c:v>40826</c:v>
                      </c:pt>
                      <c:pt idx="4363">
                        <c:v>40827</c:v>
                      </c:pt>
                      <c:pt idx="4364">
                        <c:v>40828</c:v>
                      </c:pt>
                      <c:pt idx="4365">
                        <c:v>40829</c:v>
                      </c:pt>
                      <c:pt idx="4366">
                        <c:v>40830</c:v>
                      </c:pt>
                      <c:pt idx="4367">
                        <c:v>40833</c:v>
                      </c:pt>
                      <c:pt idx="4368">
                        <c:v>40834</c:v>
                      </c:pt>
                      <c:pt idx="4369">
                        <c:v>40835</c:v>
                      </c:pt>
                      <c:pt idx="4370">
                        <c:v>40836</c:v>
                      </c:pt>
                      <c:pt idx="4371">
                        <c:v>40837</c:v>
                      </c:pt>
                      <c:pt idx="4372">
                        <c:v>40840</c:v>
                      </c:pt>
                      <c:pt idx="4373">
                        <c:v>40841</c:v>
                      </c:pt>
                      <c:pt idx="4374">
                        <c:v>40842</c:v>
                      </c:pt>
                      <c:pt idx="4375">
                        <c:v>40843</c:v>
                      </c:pt>
                      <c:pt idx="4376">
                        <c:v>40844</c:v>
                      </c:pt>
                      <c:pt idx="4377">
                        <c:v>40847</c:v>
                      </c:pt>
                      <c:pt idx="4378">
                        <c:v>40848</c:v>
                      </c:pt>
                      <c:pt idx="4379">
                        <c:v>40849</c:v>
                      </c:pt>
                      <c:pt idx="4380">
                        <c:v>40850</c:v>
                      </c:pt>
                      <c:pt idx="4381">
                        <c:v>40851</c:v>
                      </c:pt>
                      <c:pt idx="4382">
                        <c:v>40854</c:v>
                      </c:pt>
                      <c:pt idx="4383">
                        <c:v>40855</c:v>
                      </c:pt>
                      <c:pt idx="4384">
                        <c:v>40856</c:v>
                      </c:pt>
                      <c:pt idx="4385">
                        <c:v>40857</c:v>
                      </c:pt>
                      <c:pt idx="4386">
                        <c:v>40858</c:v>
                      </c:pt>
                      <c:pt idx="4387">
                        <c:v>40861</c:v>
                      </c:pt>
                      <c:pt idx="4388">
                        <c:v>40862</c:v>
                      </c:pt>
                      <c:pt idx="4389">
                        <c:v>40863</c:v>
                      </c:pt>
                      <c:pt idx="4390">
                        <c:v>40864</c:v>
                      </c:pt>
                      <c:pt idx="4391">
                        <c:v>40865</c:v>
                      </c:pt>
                      <c:pt idx="4392">
                        <c:v>40868</c:v>
                      </c:pt>
                      <c:pt idx="4393">
                        <c:v>40869</c:v>
                      </c:pt>
                      <c:pt idx="4394">
                        <c:v>40870</c:v>
                      </c:pt>
                      <c:pt idx="4395">
                        <c:v>40871</c:v>
                      </c:pt>
                      <c:pt idx="4396">
                        <c:v>40872</c:v>
                      </c:pt>
                      <c:pt idx="4397">
                        <c:v>40875</c:v>
                      </c:pt>
                      <c:pt idx="4398">
                        <c:v>40876</c:v>
                      </c:pt>
                      <c:pt idx="4399">
                        <c:v>40877</c:v>
                      </c:pt>
                      <c:pt idx="4400">
                        <c:v>40878</c:v>
                      </c:pt>
                      <c:pt idx="4401">
                        <c:v>40879</c:v>
                      </c:pt>
                      <c:pt idx="4402">
                        <c:v>40882</c:v>
                      </c:pt>
                      <c:pt idx="4403">
                        <c:v>40883</c:v>
                      </c:pt>
                      <c:pt idx="4404">
                        <c:v>40884</c:v>
                      </c:pt>
                      <c:pt idx="4405">
                        <c:v>40885</c:v>
                      </c:pt>
                      <c:pt idx="4406">
                        <c:v>40886</c:v>
                      </c:pt>
                      <c:pt idx="4407">
                        <c:v>40889</c:v>
                      </c:pt>
                      <c:pt idx="4408">
                        <c:v>40890</c:v>
                      </c:pt>
                      <c:pt idx="4409">
                        <c:v>40891</c:v>
                      </c:pt>
                      <c:pt idx="4410">
                        <c:v>40892</c:v>
                      </c:pt>
                      <c:pt idx="4411">
                        <c:v>40893</c:v>
                      </c:pt>
                      <c:pt idx="4412">
                        <c:v>40896</c:v>
                      </c:pt>
                      <c:pt idx="4413">
                        <c:v>40897</c:v>
                      </c:pt>
                      <c:pt idx="4414">
                        <c:v>40898</c:v>
                      </c:pt>
                      <c:pt idx="4415">
                        <c:v>40899</c:v>
                      </c:pt>
                      <c:pt idx="4416">
                        <c:v>40900</c:v>
                      </c:pt>
                      <c:pt idx="4417">
                        <c:v>40903</c:v>
                      </c:pt>
                      <c:pt idx="4418">
                        <c:v>40904</c:v>
                      </c:pt>
                      <c:pt idx="4419">
                        <c:v>40905</c:v>
                      </c:pt>
                      <c:pt idx="4420">
                        <c:v>40906</c:v>
                      </c:pt>
                      <c:pt idx="4421">
                        <c:v>40907</c:v>
                      </c:pt>
                      <c:pt idx="4422">
                        <c:v>40910</c:v>
                      </c:pt>
                      <c:pt idx="4423">
                        <c:v>40911</c:v>
                      </c:pt>
                      <c:pt idx="4424">
                        <c:v>40912</c:v>
                      </c:pt>
                      <c:pt idx="4425">
                        <c:v>40913</c:v>
                      </c:pt>
                      <c:pt idx="4426">
                        <c:v>40914</c:v>
                      </c:pt>
                      <c:pt idx="4427">
                        <c:v>40917</c:v>
                      </c:pt>
                      <c:pt idx="4428">
                        <c:v>40918</c:v>
                      </c:pt>
                      <c:pt idx="4429">
                        <c:v>40919</c:v>
                      </c:pt>
                      <c:pt idx="4430">
                        <c:v>40920</c:v>
                      </c:pt>
                      <c:pt idx="4431">
                        <c:v>40921</c:v>
                      </c:pt>
                      <c:pt idx="4432">
                        <c:v>40924</c:v>
                      </c:pt>
                      <c:pt idx="4433">
                        <c:v>40925</c:v>
                      </c:pt>
                      <c:pt idx="4434">
                        <c:v>40926</c:v>
                      </c:pt>
                      <c:pt idx="4435">
                        <c:v>40927</c:v>
                      </c:pt>
                      <c:pt idx="4436">
                        <c:v>40928</c:v>
                      </c:pt>
                      <c:pt idx="4437">
                        <c:v>40931</c:v>
                      </c:pt>
                      <c:pt idx="4438">
                        <c:v>40932</c:v>
                      </c:pt>
                      <c:pt idx="4439">
                        <c:v>40933</c:v>
                      </c:pt>
                      <c:pt idx="4440">
                        <c:v>40934</c:v>
                      </c:pt>
                      <c:pt idx="4441">
                        <c:v>40935</c:v>
                      </c:pt>
                      <c:pt idx="4442">
                        <c:v>40938</c:v>
                      </c:pt>
                      <c:pt idx="4443">
                        <c:v>40939</c:v>
                      </c:pt>
                      <c:pt idx="4444">
                        <c:v>40940</c:v>
                      </c:pt>
                      <c:pt idx="4445">
                        <c:v>40941</c:v>
                      </c:pt>
                      <c:pt idx="4446">
                        <c:v>40942</c:v>
                      </c:pt>
                      <c:pt idx="4447">
                        <c:v>40945</c:v>
                      </c:pt>
                      <c:pt idx="4448">
                        <c:v>40946</c:v>
                      </c:pt>
                      <c:pt idx="4449">
                        <c:v>40947</c:v>
                      </c:pt>
                      <c:pt idx="4450">
                        <c:v>40948</c:v>
                      </c:pt>
                      <c:pt idx="4451">
                        <c:v>40949</c:v>
                      </c:pt>
                      <c:pt idx="4452">
                        <c:v>40952</c:v>
                      </c:pt>
                      <c:pt idx="4453">
                        <c:v>40953</c:v>
                      </c:pt>
                      <c:pt idx="4454">
                        <c:v>40954</c:v>
                      </c:pt>
                      <c:pt idx="4455">
                        <c:v>40955</c:v>
                      </c:pt>
                      <c:pt idx="4456">
                        <c:v>40956</c:v>
                      </c:pt>
                      <c:pt idx="4457">
                        <c:v>40959</c:v>
                      </c:pt>
                      <c:pt idx="4458">
                        <c:v>40960</c:v>
                      </c:pt>
                      <c:pt idx="4459">
                        <c:v>40961</c:v>
                      </c:pt>
                      <c:pt idx="4460">
                        <c:v>40962</c:v>
                      </c:pt>
                      <c:pt idx="4461">
                        <c:v>40963</c:v>
                      </c:pt>
                      <c:pt idx="4462">
                        <c:v>40966</c:v>
                      </c:pt>
                      <c:pt idx="4463">
                        <c:v>40967</c:v>
                      </c:pt>
                      <c:pt idx="4464">
                        <c:v>40968</c:v>
                      </c:pt>
                      <c:pt idx="4465">
                        <c:v>40969</c:v>
                      </c:pt>
                      <c:pt idx="4466">
                        <c:v>40970</c:v>
                      </c:pt>
                      <c:pt idx="4467">
                        <c:v>40973</c:v>
                      </c:pt>
                      <c:pt idx="4468">
                        <c:v>40974</c:v>
                      </c:pt>
                      <c:pt idx="4469">
                        <c:v>40975</c:v>
                      </c:pt>
                      <c:pt idx="4470">
                        <c:v>40976</c:v>
                      </c:pt>
                      <c:pt idx="4471">
                        <c:v>40977</c:v>
                      </c:pt>
                      <c:pt idx="4472">
                        <c:v>40980</c:v>
                      </c:pt>
                      <c:pt idx="4473">
                        <c:v>40981</c:v>
                      </c:pt>
                      <c:pt idx="4474">
                        <c:v>40982</c:v>
                      </c:pt>
                      <c:pt idx="4475">
                        <c:v>40983</c:v>
                      </c:pt>
                      <c:pt idx="4476">
                        <c:v>40984</c:v>
                      </c:pt>
                      <c:pt idx="4477">
                        <c:v>40987</c:v>
                      </c:pt>
                      <c:pt idx="4478">
                        <c:v>40988</c:v>
                      </c:pt>
                      <c:pt idx="4479">
                        <c:v>40989</c:v>
                      </c:pt>
                      <c:pt idx="4480">
                        <c:v>40990</c:v>
                      </c:pt>
                      <c:pt idx="4481">
                        <c:v>40991</c:v>
                      </c:pt>
                      <c:pt idx="4482">
                        <c:v>40994</c:v>
                      </c:pt>
                      <c:pt idx="4483">
                        <c:v>40995</c:v>
                      </c:pt>
                      <c:pt idx="4484">
                        <c:v>40996</c:v>
                      </c:pt>
                      <c:pt idx="4485">
                        <c:v>40997</c:v>
                      </c:pt>
                      <c:pt idx="4486">
                        <c:v>40998</c:v>
                      </c:pt>
                      <c:pt idx="4487">
                        <c:v>41001</c:v>
                      </c:pt>
                      <c:pt idx="4488">
                        <c:v>41002</c:v>
                      </c:pt>
                      <c:pt idx="4489">
                        <c:v>41003</c:v>
                      </c:pt>
                      <c:pt idx="4490">
                        <c:v>41004</c:v>
                      </c:pt>
                      <c:pt idx="4491">
                        <c:v>41005</c:v>
                      </c:pt>
                      <c:pt idx="4492">
                        <c:v>41008</c:v>
                      </c:pt>
                      <c:pt idx="4493">
                        <c:v>41009</c:v>
                      </c:pt>
                      <c:pt idx="4494">
                        <c:v>41010</c:v>
                      </c:pt>
                      <c:pt idx="4495">
                        <c:v>41011</c:v>
                      </c:pt>
                      <c:pt idx="4496">
                        <c:v>41012</c:v>
                      </c:pt>
                      <c:pt idx="4497">
                        <c:v>41015</c:v>
                      </c:pt>
                      <c:pt idx="4498">
                        <c:v>41016</c:v>
                      </c:pt>
                      <c:pt idx="4499">
                        <c:v>41017</c:v>
                      </c:pt>
                      <c:pt idx="4500">
                        <c:v>41018</c:v>
                      </c:pt>
                      <c:pt idx="4501">
                        <c:v>41019</c:v>
                      </c:pt>
                      <c:pt idx="4502">
                        <c:v>41022</c:v>
                      </c:pt>
                      <c:pt idx="4503">
                        <c:v>41023</c:v>
                      </c:pt>
                      <c:pt idx="4504">
                        <c:v>41024</c:v>
                      </c:pt>
                      <c:pt idx="4505">
                        <c:v>41025</c:v>
                      </c:pt>
                      <c:pt idx="4506">
                        <c:v>41026</c:v>
                      </c:pt>
                      <c:pt idx="4507">
                        <c:v>41029</c:v>
                      </c:pt>
                      <c:pt idx="4508">
                        <c:v>41030</c:v>
                      </c:pt>
                      <c:pt idx="4509">
                        <c:v>41031</c:v>
                      </c:pt>
                      <c:pt idx="4510">
                        <c:v>41032</c:v>
                      </c:pt>
                      <c:pt idx="4511">
                        <c:v>41033</c:v>
                      </c:pt>
                      <c:pt idx="4512">
                        <c:v>41036</c:v>
                      </c:pt>
                      <c:pt idx="4513">
                        <c:v>41037</c:v>
                      </c:pt>
                      <c:pt idx="4514">
                        <c:v>41038</c:v>
                      </c:pt>
                      <c:pt idx="4515">
                        <c:v>41039</c:v>
                      </c:pt>
                      <c:pt idx="4516">
                        <c:v>41040</c:v>
                      </c:pt>
                      <c:pt idx="4517">
                        <c:v>41043</c:v>
                      </c:pt>
                      <c:pt idx="4518">
                        <c:v>41044</c:v>
                      </c:pt>
                      <c:pt idx="4519">
                        <c:v>41045</c:v>
                      </c:pt>
                      <c:pt idx="4520">
                        <c:v>41046</c:v>
                      </c:pt>
                      <c:pt idx="4521">
                        <c:v>41047</c:v>
                      </c:pt>
                      <c:pt idx="4522">
                        <c:v>41050</c:v>
                      </c:pt>
                      <c:pt idx="4523">
                        <c:v>41051</c:v>
                      </c:pt>
                      <c:pt idx="4524">
                        <c:v>41052</c:v>
                      </c:pt>
                      <c:pt idx="4525">
                        <c:v>41053</c:v>
                      </c:pt>
                      <c:pt idx="4526">
                        <c:v>41054</c:v>
                      </c:pt>
                      <c:pt idx="4527">
                        <c:v>41057</c:v>
                      </c:pt>
                      <c:pt idx="4528">
                        <c:v>41058</c:v>
                      </c:pt>
                      <c:pt idx="4529">
                        <c:v>41059</c:v>
                      </c:pt>
                      <c:pt idx="4530">
                        <c:v>41060</c:v>
                      </c:pt>
                      <c:pt idx="4531">
                        <c:v>41061</c:v>
                      </c:pt>
                      <c:pt idx="4532">
                        <c:v>41064</c:v>
                      </c:pt>
                      <c:pt idx="4533">
                        <c:v>41065</c:v>
                      </c:pt>
                      <c:pt idx="4534">
                        <c:v>41066</c:v>
                      </c:pt>
                      <c:pt idx="4535">
                        <c:v>41067</c:v>
                      </c:pt>
                      <c:pt idx="4536">
                        <c:v>41068</c:v>
                      </c:pt>
                      <c:pt idx="4537">
                        <c:v>41071</c:v>
                      </c:pt>
                      <c:pt idx="4538">
                        <c:v>41072</c:v>
                      </c:pt>
                      <c:pt idx="4539">
                        <c:v>41073</c:v>
                      </c:pt>
                      <c:pt idx="4540">
                        <c:v>41074</c:v>
                      </c:pt>
                      <c:pt idx="4541">
                        <c:v>41075</c:v>
                      </c:pt>
                      <c:pt idx="4542">
                        <c:v>41078</c:v>
                      </c:pt>
                      <c:pt idx="4543">
                        <c:v>41079</c:v>
                      </c:pt>
                      <c:pt idx="4544">
                        <c:v>41080</c:v>
                      </c:pt>
                      <c:pt idx="4545">
                        <c:v>41081</c:v>
                      </c:pt>
                      <c:pt idx="4546">
                        <c:v>41082</c:v>
                      </c:pt>
                      <c:pt idx="4547">
                        <c:v>41085</c:v>
                      </c:pt>
                      <c:pt idx="4548">
                        <c:v>41086</c:v>
                      </c:pt>
                      <c:pt idx="4549">
                        <c:v>41087</c:v>
                      </c:pt>
                      <c:pt idx="4550">
                        <c:v>41088</c:v>
                      </c:pt>
                      <c:pt idx="4551">
                        <c:v>41089</c:v>
                      </c:pt>
                      <c:pt idx="4552">
                        <c:v>41092</c:v>
                      </c:pt>
                      <c:pt idx="4553">
                        <c:v>41093</c:v>
                      </c:pt>
                      <c:pt idx="4554">
                        <c:v>41094</c:v>
                      </c:pt>
                      <c:pt idx="4555">
                        <c:v>41095</c:v>
                      </c:pt>
                      <c:pt idx="4556">
                        <c:v>41096</c:v>
                      </c:pt>
                      <c:pt idx="4557">
                        <c:v>41099</c:v>
                      </c:pt>
                      <c:pt idx="4558">
                        <c:v>41100</c:v>
                      </c:pt>
                      <c:pt idx="4559">
                        <c:v>41101</c:v>
                      </c:pt>
                      <c:pt idx="4560">
                        <c:v>41102</c:v>
                      </c:pt>
                      <c:pt idx="4561">
                        <c:v>41103</c:v>
                      </c:pt>
                      <c:pt idx="4562">
                        <c:v>41106</c:v>
                      </c:pt>
                      <c:pt idx="4563">
                        <c:v>41107</c:v>
                      </c:pt>
                      <c:pt idx="4564">
                        <c:v>41108</c:v>
                      </c:pt>
                      <c:pt idx="4565">
                        <c:v>41109</c:v>
                      </c:pt>
                      <c:pt idx="4566">
                        <c:v>41110</c:v>
                      </c:pt>
                      <c:pt idx="4567">
                        <c:v>41113</c:v>
                      </c:pt>
                      <c:pt idx="4568">
                        <c:v>41114</c:v>
                      </c:pt>
                      <c:pt idx="4569">
                        <c:v>41115</c:v>
                      </c:pt>
                      <c:pt idx="4570">
                        <c:v>41116</c:v>
                      </c:pt>
                      <c:pt idx="4571">
                        <c:v>41117</c:v>
                      </c:pt>
                      <c:pt idx="4572">
                        <c:v>41120</c:v>
                      </c:pt>
                      <c:pt idx="4573">
                        <c:v>41121</c:v>
                      </c:pt>
                      <c:pt idx="4574">
                        <c:v>41122</c:v>
                      </c:pt>
                      <c:pt idx="4575">
                        <c:v>41123</c:v>
                      </c:pt>
                      <c:pt idx="4576">
                        <c:v>41124</c:v>
                      </c:pt>
                      <c:pt idx="4577">
                        <c:v>41127</c:v>
                      </c:pt>
                      <c:pt idx="4578">
                        <c:v>41128</c:v>
                      </c:pt>
                      <c:pt idx="4579">
                        <c:v>41129</c:v>
                      </c:pt>
                      <c:pt idx="4580">
                        <c:v>41130</c:v>
                      </c:pt>
                      <c:pt idx="4581">
                        <c:v>41131</c:v>
                      </c:pt>
                      <c:pt idx="4582">
                        <c:v>41134</c:v>
                      </c:pt>
                      <c:pt idx="4583">
                        <c:v>41135</c:v>
                      </c:pt>
                      <c:pt idx="4584">
                        <c:v>41136</c:v>
                      </c:pt>
                      <c:pt idx="4585">
                        <c:v>41137</c:v>
                      </c:pt>
                      <c:pt idx="4586">
                        <c:v>41138</c:v>
                      </c:pt>
                      <c:pt idx="4587">
                        <c:v>41141</c:v>
                      </c:pt>
                      <c:pt idx="4588">
                        <c:v>41142</c:v>
                      </c:pt>
                      <c:pt idx="4589">
                        <c:v>41143</c:v>
                      </c:pt>
                      <c:pt idx="4590">
                        <c:v>41144</c:v>
                      </c:pt>
                      <c:pt idx="4591">
                        <c:v>41145</c:v>
                      </c:pt>
                      <c:pt idx="4592">
                        <c:v>41148</c:v>
                      </c:pt>
                      <c:pt idx="4593">
                        <c:v>41149</c:v>
                      </c:pt>
                      <c:pt idx="4594">
                        <c:v>41150</c:v>
                      </c:pt>
                      <c:pt idx="4595">
                        <c:v>41151</c:v>
                      </c:pt>
                      <c:pt idx="4596">
                        <c:v>41152</c:v>
                      </c:pt>
                      <c:pt idx="4597">
                        <c:v>41155</c:v>
                      </c:pt>
                      <c:pt idx="4598">
                        <c:v>41156</c:v>
                      </c:pt>
                      <c:pt idx="4599">
                        <c:v>41157</c:v>
                      </c:pt>
                      <c:pt idx="4600">
                        <c:v>41158</c:v>
                      </c:pt>
                      <c:pt idx="4601">
                        <c:v>41159</c:v>
                      </c:pt>
                      <c:pt idx="4602">
                        <c:v>41162</c:v>
                      </c:pt>
                      <c:pt idx="4603">
                        <c:v>41163</c:v>
                      </c:pt>
                      <c:pt idx="4604">
                        <c:v>41164</c:v>
                      </c:pt>
                      <c:pt idx="4605">
                        <c:v>41165</c:v>
                      </c:pt>
                      <c:pt idx="4606">
                        <c:v>41166</c:v>
                      </c:pt>
                      <c:pt idx="4607">
                        <c:v>41169</c:v>
                      </c:pt>
                      <c:pt idx="4608">
                        <c:v>41170</c:v>
                      </c:pt>
                      <c:pt idx="4609">
                        <c:v>41171</c:v>
                      </c:pt>
                      <c:pt idx="4610">
                        <c:v>41172</c:v>
                      </c:pt>
                      <c:pt idx="4611">
                        <c:v>41173</c:v>
                      </c:pt>
                      <c:pt idx="4612">
                        <c:v>41176</c:v>
                      </c:pt>
                      <c:pt idx="4613">
                        <c:v>41177</c:v>
                      </c:pt>
                      <c:pt idx="4614">
                        <c:v>41178</c:v>
                      </c:pt>
                      <c:pt idx="4615">
                        <c:v>41179</c:v>
                      </c:pt>
                      <c:pt idx="4616">
                        <c:v>41180</c:v>
                      </c:pt>
                      <c:pt idx="4617">
                        <c:v>41183</c:v>
                      </c:pt>
                      <c:pt idx="4618">
                        <c:v>41184</c:v>
                      </c:pt>
                      <c:pt idx="4619">
                        <c:v>41185</c:v>
                      </c:pt>
                      <c:pt idx="4620">
                        <c:v>41186</c:v>
                      </c:pt>
                      <c:pt idx="4621">
                        <c:v>41187</c:v>
                      </c:pt>
                      <c:pt idx="4622">
                        <c:v>41190</c:v>
                      </c:pt>
                      <c:pt idx="4623">
                        <c:v>41191</c:v>
                      </c:pt>
                      <c:pt idx="4624">
                        <c:v>41192</c:v>
                      </c:pt>
                      <c:pt idx="4625">
                        <c:v>41193</c:v>
                      </c:pt>
                      <c:pt idx="4626">
                        <c:v>41194</c:v>
                      </c:pt>
                      <c:pt idx="4627">
                        <c:v>41197</c:v>
                      </c:pt>
                      <c:pt idx="4628">
                        <c:v>41198</c:v>
                      </c:pt>
                      <c:pt idx="4629">
                        <c:v>41199</c:v>
                      </c:pt>
                      <c:pt idx="4630">
                        <c:v>41200</c:v>
                      </c:pt>
                      <c:pt idx="4631">
                        <c:v>41201</c:v>
                      </c:pt>
                      <c:pt idx="4632">
                        <c:v>41204</c:v>
                      </c:pt>
                      <c:pt idx="4633">
                        <c:v>41205</c:v>
                      </c:pt>
                      <c:pt idx="4634">
                        <c:v>41206</c:v>
                      </c:pt>
                      <c:pt idx="4635">
                        <c:v>41207</c:v>
                      </c:pt>
                      <c:pt idx="4636">
                        <c:v>41208</c:v>
                      </c:pt>
                      <c:pt idx="4637">
                        <c:v>41211</c:v>
                      </c:pt>
                      <c:pt idx="4638">
                        <c:v>41212</c:v>
                      </c:pt>
                      <c:pt idx="4639">
                        <c:v>41213</c:v>
                      </c:pt>
                      <c:pt idx="4640">
                        <c:v>41214</c:v>
                      </c:pt>
                      <c:pt idx="4641">
                        <c:v>41215</c:v>
                      </c:pt>
                      <c:pt idx="4642">
                        <c:v>41218</c:v>
                      </c:pt>
                      <c:pt idx="4643">
                        <c:v>41219</c:v>
                      </c:pt>
                      <c:pt idx="4644">
                        <c:v>41220</c:v>
                      </c:pt>
                      <c:pt idx="4645">
                        <c:v>41221</c:v>
                      </c:pt>
                      <c:pt idx="4646">
                        <c:v>41222</c:v>
                      </c:pt>
                      <c:pt idx="4647">
                        <c:v>41225</c:v>
                      </c:pt>
                      <c:pt idx="4648">
                        <c:v>41226</c:v>
                      </c:pt>
                      <c:pt idx="4649">
                        <c:v>41227</c:v>
                      </c:pt>
                      <c:pt idx="4650">
                        <c:v>41228</c:v>
                      </c:pt>
                      <c:pt idx="4651">
                        <c:v>41229</c:v>
                      </c:pt>
                      <c:pt idx="4652">
                        <c:v>41232</c:v>
                      </c:pt>
                      <c:pt idx="4653">
                        <c:v>41233</c:v>
                      </c:pt>
                      <c:pt idx="4654">
                        <c:v>41234</c:v>
                      </c:pt>
                      <c:pt idx="4655">
                        <c:v>41235</c:v>
                      </c:pt>
                      <c:pt idx="4656">
                        <c:v>41236</c:v>
                      </c:pt>
                      <c:pt idx="4657">
                        <c:v>41239</c:v>
                      </c:pt>
                      <c:pt idx="4658">
                        <c:v>41240</c:v>
                      </c:pt>
                      <c:pt idx="4659">
                        <c:v>41241</c:v>
                      </c:pt>
                      <c:pt idx="4660">
                        <c:v>41242</c:v>
                      </c:pt>
                      <c:pt idx="4661">
                        <c:v>41243</c:v>
                      </c:pt>
                      <c:pt idx="4662">
                        <c:v>41246</c:v>
                      </c:pt>
                      <c:pt idx="4663">
                        <c:v>41247</c:v>
                      </c:pt>
                      <c:pt idx="4664">
                        <c:v>41248</c:v>
                      </c:pt>
                      <c:pt idx="4665">
                        <c:v>41249</c:v>
                      </c:pt>
                      <c:pt idx="4666">
                        <c:v>41250</c:v>
                      </c:pt>
                      <c:pt idx="4667">
                        <c:v>41253</c:v>
                      </c:pt>
                      <c:pt idx="4668">
                        <c:v>41254</c:v>
                      </c:pt>
                      <c:pt idx="4669">
                        <c:v>41255</c:v>
                      </c:pt>
                      <c:pt idx="4670">
                        <c:v>41256</c:v>
                      </c:pt>
                      <c:pt idx="4671">
                        <c:v>41257</c:v>
                      </c:pt>
                      <c:pt idx="4672">
                        <c:v>41260</c:v>
                      </c:pt>
                      <c:pt idx="4673">
                        <c:v>41261</c:v>
                      </c:pt>
                      <c:pt idx="4674">
                        <c:v>41262</c:v>
                      </c:pt>
                      <c:pt idx="4675">
                        <c:v>41263</c:v>
                      </c:pt>
                      <c:pt idx="4676">
                        <c:v>41264</c:v>
                      </c:pt>
                      <c:pt idx="4677">
                        <c:v>41267</c:v>
                      </c:pt>
                      <c:pt idx="4678">
                        <c:v>41268</c:v>
                      </c:pt>
                      <c:pt idx="4679">
                        <c:v>41269</c:v>
                      </c:pt>
                      <c:pt idx="4680">
                        <c:v>41270</c:v>
                      </c:pt>
                      <c:pt idx="4681">
                        <c:v>41271</c:v>
                      </c:pt>
                      <c:pt idx="4682">
                        <c:v>41274</c:v>
                      </c:pt>
                      <c:pt idx="4683">
                        <c:v>41275</c:v>
                      </c:pt>
                      <c:pt idx="4684">
                        <c:v>41276</c:v>
                      </c:pt>
                      <c:pt idx="4685">
                        <c:v>41277</c:v>
                      </c:pt>
                      <c:pt idx="4686">
                        <c:v>41278</c:v>
                      </c:pt>
                      <c:pt idx="4687">
                        <c:v>41281</c:v>
                      </c:pt>
                      <c:pt idx="4688">
                        <c:v>41282</c:v>
                      </c:pt>
                      <c:pt idx="4689">
                        <c:v>41283</c:v>
                      </c:pt>
                      <c:pt idx="4690">
                        <c:v>41284</c:v>
                      </c:pt>
                      <c:pt idx="4691">
                        <c:v>41285</c:v>
                      </c:pt>
                      <c:pt idx="4692">
                        <c:v>41288</c:v>
                      </c:pt>
                      <c:pt idx="4693">
                        <c:v>41289</c:v>
                      </c:pt>
                      <c:pt idx="4694">
                        <c:v>41290</c:v>
                      </c:pt>
                      <c:pt idx="4695">
                        <c:v>41291</c:v>
                      </c:pt>
                      <c:pt idx="4696">
                        <c:v>41292</c:v>
                      </c:pt>
                      <c:pt idx="4697">
                        <c:v>41295</c:v>
                      </c:pt>
                      <c:pt idx="4698">
                        <c:v>41296</c:v>
                      </c:pt>
                      <c:pt idx="4699">
                        <c:v>41297</c:v>
                      </c:pt>
                      <c:pt idx="4700">
                        <c:v>41298</c:v>
                      </c:pt>
                      <c:pt idx="4701">
                        <c:v>41299</c:v>
                      </c:pt>
                      <c:pt idx="4702">
                        <c:v>41302</c:v>
                      </c:pt>
                      <c:pt idx="4703">
                        <c:v>41303</c:v>
                      </c:pt>
                      <c:pt idx="4704">
                        <c:v>41304</c:v>
                      </c:pt>
                      <c:pt idx="4705">
                        <c:v>41305</c:v>
                      </c:pt>
                      <c:pt idx="4706">
                        <c:v>41306</c:v>
                      </c:pt>
                      <c:pt idx="4707">
                        <c:v>41309</c:v>
                      </c:pt>
                      <c:pt idx="4708">
                        <c:v>41310</c:v>
                      </c:pt>
                      <c:pt idx="4709">
                        <c:v>41311</c:v>
                      </c:pt>
                      <c:pt idx="4710">
                        <c:v>41312</c:v>
                      </c:pt>
                      <c:pt idx="4711">
                        <c:v>41313</c:v>
                      </c:pt>
                      <c:pt idx="4712">
                        <c:v>41316</c:v>
                      </c:pt>
                      <c:pt idx="4713">
                        <c:v>41317</c:v>
                      </c:pt>
                      <c:pt idx="4714">
                        <c:v>41318</c:v>
                      </c:pt>
                      <c:pt idx="4715">
                        <c:v>41319</c:v>
                      </c:pt>
                      <c:pt idx="4716">
                        <c:v>41320</c:v>
                      </c:pt>
                      <c:pt idx="4717">
                        <c:v>41323</c:v>
                      </c:pt>
                      <c:pt idx="4718">
                        <c:v>41324</c:v>
                      </c:pt>
                      <c:pt idx="4719">
                        <c:v>41325</c:v>
                      </c:pt>
                      <c:pt idx="4720">
                        <c:v>41326</c:v>
                      </c:pt>
                      <c:pt idx="4721">
                        <c:v>41327</c:v>
                      </c:pt>
                      <c:pt idx="4722">
                        <c:v>41330</c:v>
                      </c:pt>
                      <c:pt idx="4723">
                        <c:v>41331</c:v>
                      </c:pt>
                      <c:pt idx="4724">
                        <c:v>41332</c:v>
                      </c:pt>
                      <c:pt idx="4725">
                        <c:v>41333</c:v>
                      </c:pt>
                      <c:pt idx="4726">
                        <c:v>41334</c:v>
                      </c:pt>
                      <c:pt idx="4727">
                        <c:v>41337</c:v>
                      </c:pt>
                      <c:pt idx="4728">
                        <c:v>41338</c:v>
                      </c:pt>
                      <c:pt idx="4729">
                        <c:v>41339</c:v>
                      </c:pt>
                      <c:pt idx="4730">
                        <c:v>41340</c:v>
                      </c:pt>
                      <c:pt idx="4731">
                        <c:v>41341</c:v>
                      </c:pt>
                      <c:pt idx="4732">
                        <c:v>41344</c:v>
                      </c:pt>
                      <c:pt idx="4733">
                        <c:v>41345</c:v>
                      </c:pt>
                      <c:pt idx="4734">
                        <c:v>41346</c:v>
                      </c:pt>
                      <c:pt idx="4735">
                        <c:v>41347</c:v>
                      </c:pt>
                      <c:pt idx="4736">
                        <c:v>41348</c:v>
                      </c:pt>
                      <c:pt idx="4737">
                        <c:v>41351</c:v>
                      </c:pt>
                      <c:pt idx="4738">
                        <c:v>41352</c:v>
                      </c:pt>
                      <c:pt idx="4739">
                        <c:v>41353</c:v>
                      </c:pt>
                      <c:pt idx="4740">
                        <c:v>41354</c:v>
                      </c:pt>
                      <c:pt idx="4741">
                        <c:v>41355</c:v>
                      </c:pt>
                      <c:pt idx="4742">
                        <c:v>41358</c:v>
                      </c:pt>
                      <c:pt idx="4743">
                        <c:v>41359</c:v>
                      </c:pt>
                      <c:pt idx="4744">
                        <c:v>41360</c:v>
                      </c:pt>
                      <c:pt idx="4745">
                        <c:v>41361</c:v>
                      </c:pt>
                      <c:pt idx="4746">
                        <c:v>41362</c:v>
                      </c:pt>
                      <c:pt idx="4747">
                        <c:v>41365</c:v>
                      </c:pt>
                      <c:pt idx="4748">
                        <c:v>41366</c:v>
                      </c:pt>
                      <c:pt idx="4749">
                        <c:v>41367</c:v>
                      </c:pt>
                      <c:pt idx="4750">
                        <c:v>41368</c:v>
                      </c:pt>
                      <c:pt idx="4751">
                        <c:v>41369</c:v>
                      </c:pt>
                      <c:pt idx="4752">
                        <c:v>41372</c:v>
                      </c:pt>
                      <c:pt idx="4753">
                        <c:v>41373</c:v>
                      </c:pt>
                      <c:pt idx="4754">
                        <c:v>41374</c:v>
                      </c:pt>
                      <c:pt idx="4755">
                        <c:v>41375</c:v>
                      </c:pt>
                      <c:pt idx="4756">
                        <c:v>41376</c:v>
                      </c:pt>
                      <c:pt idx="4757">
                        <c:v>41379</c:v>
                      </c:pt>
                      <c:pt idx="4758">
                        <c:v>41380</c:v>
                      </c:pt>
                      <c:pt idx="4759">
                        <c:v>41381</c:v>
                      </c:pt>
                      <c:pt idx="4760">
                        <c:v>41382</c:v>
                      </c:pt>
                      <c:pt idx="4761">
                        <c:v>41383</c:v>
                      </c:pt>
                      <c:pt idx="4762">
                        <c:v>41386</c:v>
                      </c:pt>
                      <c:pt idx="4763">
                        <c:v>41387</c:v>
                      </c:pt>
                      <c:pt idx="4764">
                        <c:v>41388</c:v>
                      </c:pt>
                      <c:pt idx="4765">
                        <c:v>41389</c:v>
                      </c:pt>
                      <c:pt idx="4766">
                        <c:v>41390</c:v>
                      </c:pt>
                      <c:pt idx="4767">
                        <c:v>41393</c:v>
                      </c:pt>
                      <c:pt idx="4768">
                        <c:v>41394</c:v>
                      </c:pt>
                      <c:pt idx="4769">
                        <c:v>41395</c:v>
                      </c:pt>
                      <c:pt idx="4770">
                        <c:v>41396</c:v>
                      </c:pt>
                      <c:pt idx="4771">
                        <c:v>41397</c:v>
                      </c:pt>
                      <c:pt idx="4772">
                        <c:v>41400</c:v>
                      </c:pt>
                      <c:pt idx="4773">
                        <c:v>41401</c:v>
                      </c:pt>
                      <c:pt idx="4774">
                        <c:v>41402</c:v>
                      </c:pt>
                      <c:pt idx="4775">
                        <c:v>41403</c:v>
                      </c:pt>
                      <c:pt idx="4776">
                        <c:v>41404</c:v>
                      </c:pt>
                      <c:pt idx="4777">
                        <c:v>41407</c:v>
                      </c:pt>
                      <c:pt idx="4778">
                        <c:v>41408</c:v>
                      </c:pt>
                      <c:pt idx="4779">
                        <c:v>41409</c:v>
                      </c:pt>
                      <c:pt idx="4780">
                        <c:v>41410</c:v>
                      </c:pt>
                      <c:pt idx="4781">
                        <c:v>41411</c:v>
                      </c:pt>
                      <c:pt idx="4782">
                        <c:v>41414</c:v>
                      </c:pt>
                      <c:pt idx="4783">
                        <c:v>41415</c:v>
                      </c:pt>
                      <c:pt idx="4784">
                        <c:v>41416</c:v>
                      </c:pt>
                      <c:pt idx="4785">
                        <c:v>41417</c:v>
                      </c:pt>
                      <c:pt idx="4786">
                        <c:v>41418</c:v>
                      </c:pt>
                      <c:pt idx="4787">
                        <c:v>41421</c:v>
                      </c:pt>
                      <c:pt idx="4788">
                        <c:v>41422</c:v>
                      </c:pt>
                      <c:pt idx="4789">
                        <c:v>41423</c:v>
                      </c:pt>
                      <c:pt idx="4790">
                        <c:v>41424</c:v>
                      </c:pt>
                      <c:pt idx="4791">
                        <c:v>41425</c:v>
                      </c:pt>
                      <c:pt idx="4792">
                        <c:v>41428</c:v>
                      </c:pt>
                      <c:pt idx="4793">
                        <c:v>41429</c:v>
                      </c:pt>
                      <c:pt idx="4794">
                        <c:v>41430</c:v>
                      </c:pt>
                      <c:pt idx="4795">
                        <c:v>41431</c:v>
                      </c:pt>
                      <c:pt idx="4796">
                        <c:v>41432</c:v>
                      </c:pt>
                      <c:pt idx="4797">
                        <c:v>41435</c:v>
                      </c:pt>
                      <c:pt idx="4798">
                        <c:v>41436</c:v>
                      </c:pt>
                      <c:pt idx="4799">
                        <c:v>41437</c:v>
                      </c:pt>
                      <c:pt idx="4800">
                        <c:v>41438</c:v>
                      </c:pt>
                      <c:pt idx="4801">
                        <c:v>41439</c:v>
                      </c:pt>
                      <c:pt idx="4802">
                        <c:v>41442</c:v>
                      </c:pt>
                      <c:pt idx="4803">
                        <c:v>41443</c:v>
                      </c:pt>
                      <c:pt idx="4804">
                        <c:v>41444</c:v>
                      </c:pt>
                      <c:pt idx="4805">
                        <c:v>41445</c:v>
                      </c:pt>
                      <c:pt idx="4806">
                        <c:v>41446</c:v>
                      </c:pt>
                      <c:pt idx="4807">
                        <c:v>41449</c:v>
                      </c:pt>
                      <c:pt idx="4808">
                        <c:v>41450</c:v>
                      </c:pt>
                      <c:pt idx="4809">
                        <c:v>41451</c:v>
                      </c:pt>
                      <c:pt idx="4810">
                        <c:v>41452</c:v>
                      </c:pt>
                      <c:pt idx="4811">
                        <c:v>41453</c:v>
                      </c:pt>
                      <c:pt idx="4812">
                        <c:v>41456</c:v>
                      </c:pt>
                      <c:pt idx="4813">
                        <c:v>41457</c:v>
                      </c:pt>
                      <c:pt idx="4814">
                        <c:v>41458</c:v>
                      </c:pt>
                      <c:pt idx="4815">
                        <c:v>41459</c:v>
                      </c:pt>
                      <c:pt idx="4816">
                        <c:v>41460</c:v>
                      </c:pt>
                      <c:pt idx="4817">
                        <c:v>41463</c:v>
                      </c:pt>
                      <c:pt idx="4818">
                        <c:v>41464</c:v>
                      </c:pt>
                      <c:pt idx="4819">
                        <c:v>41465</c:v>
                      </c:pt>
                      <c:pt idx="4820">
                        <c:v>41466</c:v>
                      </c:pt>
                      <c:pt idx="4821">
                        <c:v>41467</c:v>
                      </c:pt>
                      <c:pt idx="4822">
                        <c:v>41470</c:v>
                      </c:pt>
                      <c:pt idx="4823">
                        <c:v>41471</c:v>
                      </c:pt>
                      <c:pt idx="4824">
                        <c:v>41472</c:v>
                      </c:pt>
                      <c:pt idx="4825">
                        <c:v>41473</c:v>
                      </c:pt>
                      <c:pt idx="4826">
                        <c:v>41474</c:v>
                      </c:pt>
                      <c:pt idx="4827">
                        <c:v>41477</c:v>
                      </c:pt>
                      <c:pt idx="4828">
                        <c:v>41478</c:v>
                      </c:pt>
                      <c:pt idx="4829">
                        <c:v>41479</c:v>
                      </c:pt>
                      <c:pt idx="4830">
                        <c:v>41480</c:v>
                      </c:pt>
                      <c:pt idx="4831">
                        <c:v>41481</c:v>
                      </c:pt>
                      <c:pt idx="4832">
                        <c:v>41484</c:v>
                      </c:pt>
                      <c:pt idx="4833">
                        <c:v>41485</c:v>
                      </c:pt>
                      <c:pt idx="4834">
                        <c:v>41486</c:v>
                      </c:pt>
                      <c:pt idx="4835">
                        <c:v>41487</c:v>
                      </c:pt>
                      <c:pt idx="4836">
                        <c:v>41488</c:v>
                      </c:pt>
                      <c:pt idx="4837">
                        <c:v>41491</c:v>
                      </c:pt>
                      <c:pt idx="4838">
                        <c:v>41492</c:v>
                      </c:pt>
                      <c:pt idx="4839">
                        <c:v>41493</c:v>
                      </c:pt>
                      <c:pt idx="4840">
                        <c:v>41494</c:v>
                      </c:pt>
                      <c:pt idx="4841">
                        <c:v>41495</c:v>
                      </c:pt>
                      <c:pt idx="4842">
                        <c:v>41498</c:v>
                      </c:pt>
                      <c:pt idx="4843">
                        <c:v>41499</c:v>
                      </c:pt>
                      <c:pt idx="4844">
                        <c:v>41500</c:v>
                      </c:pt>
                      <c:pt idx="4845">
                        <c:v>41501</c:v>
                      </c:pt>
                      <c:pt idx="4846">
                        <c:v>41502</c:v>
                      </c:pt>
                      <c:pt idx="4847">
                        <c:v>41505</c:v>
                      </c:pt>
                      <c:pt idx="4848">
                        <c:v>41506</c:v>
                      </c:pt>
                      <c:pt idx="4849">
                        <c:v>41507</c:v>
                      </c:pt>
                      <c:pt idx="4850">
                        <c:v>41508</c:v>
                      </c:pt>
                      <c:pt idx="4851">
                        <c:v>41509</c:v>
                      </c:pt>
                      <c:pt idx="4852">
                        <c:v>41512</c:v>
                      </c:pt>
                      <c:pt idx="4853">
                        <c:v>41513</c:v>
                      </c:pt>
                      <c:pt idx="4854">
                        <c:v>41514</c:v>
                      </c:pt>
                      <c:pt idx="4855">
                        <c:v>41515</c:v>
                      </c:pt>
                      <c:pt idx="4856">
                        <c:v>41516</c:v>
                      </c:pt>
                      <c:pt idx="4857">
                        <c:v>41519</c:v>
                      </c:pt>
                      <c:pt idx="4858">
                        <c:v>41520</c:v>
                      </c:pt>
                      <c:pt idx="4859">
                        <c:v>41521</c:v>
                      </c:pt>
                      <c:pt idx="4860">
                        <c:v>41522</c:v>
                      </c:pt>
                      <c:pt idx="4861">
                        <c:v>41523</c:v>
                      </c:pt>
                      <c:pt idx="4862">
                        <c:v>41526</c:v>
                      </c:pt>
                      <c:pt idx="4863">
                        <c:v>41527</c:v>
                      </c:pt>
                      <c:pt idx="4864">
                        <c:v>41528</c:v>
                      </c:pt>
                      <c:pt idx="4865">
                        <c:v>41529</c:v>
                      </c:pt>
                      <c:pt idx="4866">
                        <c:v>41530</c:v>
                      </c:pt>
                      <c:pt idx="4867">
                        <c:v>41533</c:v>
                      </c:pt>
                      <c:pt idx="4868">
                        <c:v>41534</c:v>
                      </c:pt>
                      <c:pt idx="4869">
                        <c:v>41535</c:v>
                      </c:pt>
                      <c:pt idx="4870">
                        <c:v>41536</c:v>
                      </c:pt>
                      <c:pt idx="4871">
                        <c:v>41537</c:v>
                      </c:pt>
                      <c:pt idx="4872">
                        <c:v>41540</c:v>
                      </c:pt>
                      <c:pt idx="4873">
                        <c:v>41541</c:v>
                      </c:pt>
                      <c:pt idx="4874">
                        <c:v>41542</c:v>
                      </c:pt>
                      <c:pt idx="4875">
                        <c:v>41543</c:v>
                      </c:pt>
                      <c:pt idx="4876">
                        <c:v>41544</c:v>
                      </c:pt>
                      <c:pt idx="4877">
                        <c:v>41547</c:v>
                      </c:pt>
                      <c:pt idx="4878">
                        <c:v>41548</c:v>
                      </c:pt>
                      <c:pt idx="4879">
                        <c:v>41549</c:v>
                      </c:pt>
                      <c:pt idx="4880">
                        <c:v>41550</c:v>
                      </c:pt>
                      <c:pt idx="4881">
                        <c:v>41551</c:v>
                      </c:pt>
                      <c:pt idx="4882">
                        <c:v>41554</c:v>
                      </c:pt>
                      <c:pt idx="4883">
                        <c:v>41555</c:v>
                      </c:pt>
                      <c:pt idx="4884">
                        <c:v>41556</c:v>
                      </c:pt>
                      <c:pt idx="4885">
                        <c:v>41557</c:v>
                      </c:pt>
                      <c:pt idx="4886">
                        <c:v>41558</c:v>
                      </c:pt>
                      <c:pt idx="4887">
                        <c:v>41561</c:v>
                      </c:pt>
                      <c:pt idx="4888">
                        <c:v>41562</c:v>
                      </c:pt>
                      <c:pt idx="4889">
                        <c:v>41563</c:v>
                      </c:pt>
                      <c:pt idx="4890">
                        <c:v>41564</c:v>
                      </c:pt>
                      <c:pt idx="4891">
                        <c:v>41565</c:v>
                      </c:pt>
                      <c:pt idx="4892">
                        <c:v>41568</c:v>
                      </c:pt>
                      <c:pt idx="4893">
                        <c:v>41569</c:v>
                      </c:pt>
                      <c:pt idx="4894">
                        <c:v>41570</c:v>
                      </c:pt>
                      <c:pt idx="4895">
                        <c:v>41571</c:v>
                      </c:pt>
                      <c:pt idx="4896">
                        <c:v>41572</c:v>
                      </c:pt>
                      <c:pt idx="4897">
                        <c:v>41575</c:v>
                      </c:pt>
                      <c:pt idx="4898">
                        <c:v>41576</c:v>
                      </c:pt>
                      <c:pt idx="4899">
                        <c:v>41577</c:v>
                      </c:pt>
                      <c:pt idx="4900">
                        <c:v>41578</c:v>
                      </c:pt>
                      <c:pt idx="4901">
                        <c:v>41579</c:v>
                      </c:pt>
                      <c:pt idx="4902">
                        <c:v>41582</c:v>
                      </c:pt>
                      <c:pt idx="4903">
                        <c:v>41583</c:v>
                      </c:pt>
                      <c:pt idx="4904">
                        <c:v>41584</c:v>
                      </c:pt>
                      <c:pt idx="4905">
                        <c:v>41585</c:v>
                      </c:pt>
                      <c:pt idx="4906">
                        <c:v>41586</c:v>
                      </c:pt>
                      <c:pt idx="4907">
                        <c:v>41589</c:v>
                      </c:pt>
                      <c:pt idx="4908">
                        <c:v>41590</c:v>
                      </c:pt>
                      <c:pt idx="4909">
                        <c:v>41591</c:v>
                      </c:pt>
                      <c:pt idx="4910">
                        <c:v>41592</c:v>
                      </c:pt>
                      <c:pt idx="4911">
                        <c:v>41593</c:v>
                      </c:pt>
                      <c:pt idx="4912">
                        <c:v>41596</c:v>
                      </c:pt>
                      <c:pt idx="4913">
                        <c:v>41597</c:v>
                      </c:pt>
                      <c:pt idx="4914">
                        <c:v>41598</c:v>
                      </c:pt>
                      <c:pt idx="4915">
                        <c:v>41599</c:v>
                      </c:pt>
                      <c:pt idx="4916">
                        <c:v>41600</c:v>
                      </c:pt>
                      <c:pt idx="4917">
                        <c:v>41603</c:v>
                      </c:pt>
                      <c:pt idx="4918">
                        <c:v>41604</c:v>
                      </c:pt>
                      <c:pt idx="4919">
                        <c:v>41605</c:v>
                      </c:pt>
                      <c:pt idx="4920">
                        <c:v>41606</c:v>
                      </c:pt>
                      <c:pt idx="4921">
                        <c:v>41607</c:v>
                      </c:pt>
                      <c:pt idx="4922">
                        <c:v>41610</c:v>
                      </c:pt>
                      <c:pt idx="4923">
                        <c:v>41611</c:v>
                      </c:pt>
                      <c:pt idx="4924">
                        <c:v>41612</c:v>
                      </c:pt>
                      <c:pt idx="4925">
                        <c:v>41613</c:v>
                      </c:pt>
                      <c:pt idx="4926">
                        <c:v>41614</c:v>
                      </c:pt>
                      <c:pt idx="4927">
                        <c:v>41617</c:v>
                      </c:pt>
                      <c:pt idx="4928">
                        <c:v>41618</c:v>
                      </c:pt>
                      <c:pt idx="4929">
                        <c:v>41619</c:v>
                      </c:pt>
                      <c:pt idx="4930">
                        <c:v>41620</c:v>
                      </c:pt>
                      <c:pt idx="4931">
                        <c:v>41621</c:v>
                      </c:pt>
                      <c:pt idx="4932">
                        <c:v>41624</c:v>
                      </c:pt>
                      <c:pt idx="4933">
                        <c:v>41625</c:v>
                      </c:pt>
                      <c:pt idx="4934">
                        <c:v>41626</c:v>
                      </c:pt>
                      <c:pt idx="4935">
                        <c:v>41627</c:v>
                      </c:pt>
                      <c:pt idx="4936">
                        <c:v>41628</c:v>
                      </c:pt>
                      <c:pt idx="4937">
                        <c:v>41631</c:v>
                      </c:pt>
                      <c:pt idx="4938">
                        <c:v>41632</c:v>
                      </c:pt>
                      <c:pt idx="4939">
                        <c:v>41633</c:v>
                      </c:pt>
                      <c:pt idx="4940">
                        <c:v>41634</c:v>
                      </c:pt>
                      <c:pt idx="4941">
                        <c:v>41635</c:v>
                      </c:pt>
                      <c:pt idx="4942">
                        <c:v>41638</c:v>
                      </c:pt>
                      <c:pt idx="4943">
                        <c:v>41639</c:v>
                      </c:pt>
                      <c:pt idx="4944">
                        <c:v>41640</c:v>
                      </c:pt>
                      <c:pt idx="4945">
                        <c:v>41641</c:v>
                      </c:pt>
                      <c:pt idx="4946">
                        <c:v>41642</c:v>
                      </c:pt>
                      <c:pt idx="4947">
                        <c:v>41645</c:v>
                      </c:pt>
                      <c:pt idx="4948">
                        <c:v>41646</c:v>
                      </c:pt>
                      <c:pt idx="4949">
                        <c:v>41647</c:v>
                      </c:pt>
                      <c:pt idx="4950">
                        <c:v>41648</c:v>
                      </c:pt>
                      <c:pt idx="4951">
                        <c:v>41649</c:v>
                      </c:pt>
                      <c:pt idx="4952">
                        <c:v>41652</c:v>
                      </c:pt>
                      <c:pt idx="4953">
                        <c:v>41653</c:v>
                      </c:pt>
                      <c:pt idx="4954">
                        <c:v>41654</c:v>
                      </c:pt>
                      <c:pt idx="4955">
                        <c:v>41655</c:v>
                      </c:pt>
                      <c:pt idx="4956">
                        <c:v>41656</c:v>
                      </c:pt>
                      <c:pt idx="4957">
                        <c:v>41659</c:v>
                      </c:pt>
                      <c:pt idx="4958">
                        <c:v>41660</c:v>
                      </c:pt>
                      <c:pt idx="4959">
                        <c:v>41661</c:v>
                      </c:pt>
                      <c:pt idx="4960">
                        <c:v>41662</c:v>
                      </c:pt>
                      <c:pt idx="4961">
                        <c:v>41663</c:v>
                      </c:pt>
                      <c:pt idx="4962">
                        <c:v>41666</c:v>
                      </c:pt>
                      <c:pt idx="4963">
                        <c:v>41667</c:v>
                      </c:pt>
                      <c:pt idx="4964">
                        <c:v>41668</c:v>
                      </c:pt>
                      <c:pt idx="4965">
                        <c:v>41669</c:v>
                      </c:pt>
                      <c:pt idx="4966">
                        <c:v>41670</c:v>
                      </c:pt>
                      <c:pt idx="4967">
                        <c:v>41673</c:v>
                      </c:pt>
                      <c:pt idx="4968">
                        <c:v>41674</c:v>
                      </c:pt>
                      <c:pt idx="4969">
                        <c:v>41675</c:v>
                      </c:pt>
                      <c:pt idx="4970">
                        <c:v>41676</c:v>
                      </c:pt>
                      <c:pt idx="4971">
                        <c:v>41677</c:v>
                      </c:pt>
                      <c:pt idx="4972">
                        <c:v>41680</c:v>
                      </c:pt>
                      <c:pt idx="4973">
                        <c:v>41681</c:v>
                      </c:pt>
                      <c:pt idx="4974">
                        <c:v>41682</c:v>
                      </c:pt>
                      <c:pt idx="4975">
                        <c:v>41683</c:v>
                      </c:pt>
                      <c:pt idx="4976">
                        <c:v>41684</c:v>
                      </c:pt>
                      <c:pt idx="4977">
                        <c:v>41687</c:v>
                      </c:pt>
                      <c:pt idx="4978">
                        <c:v>41688</c:v>
                      </c:pt>
                      <c:pt idx="4979">
                        <c:v>41689</c:v>
                      </c:pt>
                      <c:pt idx="4980">
                        <c:v>41690</c:v>
                      </c:pt>
                      <c:pt idx="4981">
                        <c:v>41691</c:v>
                      </c:pt>
                      <c:pt idx="4982">
                        <c:v>41694</c:v>
                      </c:pt>
                      <c:pt idx="4983">
                        <c:v>41695</c:v>
                      </c:pt>
                      <c:pt idx="4984">
                        <c:v>41696</c:v>
                      </c:pt>
                      <c:pt idx="4985">
                        <c:v>41697</c:v>
                      </c:pt>
                      <c:pt idx="4986">
                        <c:v>41698</c:v>
                      </c:pt>
                      <c:pt idx="4987">
                        <c:v>41701</c:v>
                      </c:pt>
                      <c:pt idx="4988">
                        <c:v>41702</c:v>
                      </c:pt>
                      <c:pt idx="4989">
                        <c:v>41703</c:v>
                      </c:pt>
                      <c:pt idx="4990">
                        <c:v>41704</c:v>
                      </c:pt>
                      <c:pt idx="4991">
                        <c:v>41705</c:v>
                      </c:pt>
                      <c:pt idx="4992">
                        <c:v>41708</c:v>
                      </c:pt>
                      <c:pt idx="4993">
                        <c:v>41709</c:v>
                      </c:pt>
                      <c:pt idx="4994">
                        <c:v>41710</c:v>
                      </c:pt>
                      <c:pt idx="4995">
                        <c:v>41711</c:v>
                      </c:pt>
                      <c:pt idx="4996">
                        <c:v>41712</c:v>
                      </c:pt>
                      <c:pt idx="4997">
                        <c:v>41715</c:v>
                      </c:pt>
                      <c:pt idx="4998">
                        <c:v>41716</c:v>
                      </c:pt>
                      <c:pt idx="4999">
                        <c:v>41717</c:v>
                      </c:pt>
                      <c:pt idx="5000">
                        <c:v>41718</c:v>
                      </c:pt>
                      <c:pt idx="5001">
                        <c:v>41719</c:v>
                      </c:pt>
                      <c:pt idx="5002">
                        <c:v>41722</c:v>
                      </c:pt>
                      <c:pt idx="5003">
                        <c:v>41723</c:v>
                      </c:pt>
                      <c:pt idx="5004">
                        <c:v>41724</c:v>
                      </c:pt>
                      <c:pt idx="5005">
                        <c:v>41725</c:v>
                      </c:pt>
                      <c:pt idx="5006">
                        <c:v>41726</c:v>
                      </c:pt>
                      <c:pt idx="5007">
                        <c:v>41729</c:v>
                      </c:pt>
                      <c:pt idx="5008">
                        <c:v>41730</c:v>
                      </c:pt>
                      <c:pt idx="5009">
                        <c:v>41731</c:v>
                      </c:pt>
                      <c:pt idx="5010">
                        <c:v>41732</c:v>
                      </c:pt>
                      <c:pt idx="5011">
                        <c:v>41733</c:v>
                      </c:pt>
                      <c:pt idx="5012">
                        <c:v>41736</c:v>
                      </c:pt>
                      <c:pt idx="5013">
                        <c:v>41737</c:v>
                      </c:pt>
                      <c:pt idx="5014">
                        <c:v>41738</c:v>
                      </c:pt>
                      <c:pt idx="5015">
                        <c:v>41739</c:v>
                      </c:pt>
                      <c:pt idx="5016">
                        <c:v>41740</c:v>
                      </c:pt>
                      <c:pt idx="5017">
                        <c:v>41743</c:v>
                      </c:pt>
                      <c:pt idx="5018">
                        <c:v>41744</c:v>
                      </c:pt>
                      <c:pt idx="5019">
                        <c:v>41745</c:v>
                      </c:pt>
                      <c:pt idx="5020">
                        <c:v>41746</c:v>
                      </c:pt>
                      <c:pt idx="5021">
                        <c:v>41747</c:v>
                      </c:pt>
                      <c:pt idx="5022">
                        <c:v>41750</c:v>
                      </c:pt>
                      <c:pt idx="5023">
                        <c:v>41751</c:v>
                      </c:pt>
                      <c:pt idx="5024">
                        <c:v>41752</c:v>
                      </c:pt>
                      <c:pt idx="5025">
                        <c:v>41753</c:v>
                      </c:pt>
                      <c:pt idx="5026">
                        <c:v>41754</c:v>
                      </c:pt>
                      <c:pt idx="5027">
                        <c:v>41757</c:v>
                      </c:pt>
                      <c:pt idx="5028">
                        <c:v>41758</c:v>
                      </c:pt>
                      <c:pt idx="5029">
                        <c:v>41759</c:v>
                      </c:pt>
                      <c:pt idx="5030">
                        <c:v>41760</c:v>
                      </c:pt>
                      <c:pt idx="5031">
                        <c:v>41761</c:v>
                      </c:pt>
                      <c:pt idx="5032">
                        <c:v>41764</c:v>
                      </c:pt>
                      <c:pt idx="5033">
                        <c:v>41765</c:v>
                      </c:pt>
                      <c:pt idx="5034">
                        <c:v>41766</c:v>
                      </c:pt>
                      <c:pt idx="5035">
                        <c:v>41767</c:v>
                      </c:pt>
                      <c:pt idx="5036">
                        <c:v>41768</c:v>
                      </c:pt>
                      <c:pt idx="5037">
                        <c:v>41771</c:v>
                      </c:pt>
                      <c:pt idx="5038">
                        <c:v>41772</c:v>
                      </c:pt>
                      <c:pt idx="5039">
                        <c:v>41773</c:v>
                      </c:pt>
                      <c:pt idx="5040">
                        <c:v>41774</c:v>
                      </c:pt>
                      <c:pt idx="5041">
                        <c:v>41775</c:v>
                      </c:pt>
                      <c:pt idx="5042">
                        <c:v>41778</c:v>
                      </c:pt>
                      <c:pt idx="5043">
                        <c:v>41779</c:v>
                      </c:pt>
                      <c:pt idx="5044">
                        <c:v>41780</c:v>
                      </c:pt>
                      <c:pt idx="5045">
                        <c:v>41781</c:v>
                      </c:pt>
                      <c:pt idx="5046">
                        <c:v>41782</c:v>
                      </c:pt>
                      <c:pt idx="5047">
                        <c:v>41785</c:v>
                      </c:pt>
                      <c:pt idx="5048">
                        <c:v>41786</c:v>
                      </c:pt>
                      <c:pt idx="5049">
                        <c:v>41787</c:v>
                      </c:pt>
                      <c:pt idx="5050">
                        <c:v>41788</c:v>
                      </c:pt>
                      <c:pt idx="5051">
                        <c:v>41789</c:v>
                      </c:pt>
                      <c:pt idx="5052">
                        <c:v>41792</c:v>
                      </c:pt>
                      <c:pt idx="5053">
                        <c:v>41793</c:v>
                      </c:pt>
                      <c:pt idx="5054">
                        <c:v>41794</c:v>
                      </c:pt>
                      <c:pt idx="5055">
                        <c:v>41795</c:v>
                      </c:pt>
                      <c:pt idx="5056">
                        <c:v>41796</c:v>
                      </c:pt>
                      <c:pt idx="5057">
                        <c:v>41799</c:v>
                      </c:pt>
                      <c:pt idx="5058">
                        <c:v>41800</c:v>
                      </c:pt>
                      <c:pt idx="5059">
                        <c:v>41801</c:v>
                      </c:pt>
                      <c:pt idx="5060">
                        <c:v>41802</c:v>
                      </c:pt>
                      <c:pt idx="5061">
                        <c:v>41803</c:v>
                      </c:pt>
                      <c:pt idx="5062">
                        <c:v>41806</c:v>
                      </c:pt>
                      <c:pt idx="5063">
                        <c:v>41807</c:v>
                      </c:pt>
                      <c:pt idx="5064">
                        <c:v>41808</c:v>
                      </c:pt>
                      <c:pt idx="5065">
                        <c:v>41809</c:v>
                      </c:pt>
                      <c:pt idx="5066">
                        <c:v>41810</c:v>
                      </c:pt>
                      <c:pt idx="5067">
                        <c:v>41813</c:v>
                      </c:pt>
                      <c:pt idx="5068">
                        <c:v>41814</c:v>
                      </c:pt>
                      <c:pt idx="5069">
                        <c:v>41815</c:v>
                      </c:pt>
                      <c:pt idx="5070">
                        <c:v>41816</c:v>
                      </c:pt>
                      <c:pt idx="5071">
                        <c:v>41817</c:v>
                      </c:pt>
                      <c:pt idx="5072">
                        <c:v>41820</c:v>
                      </c:pt>
                      <c:pt idx="5073">
                        <c:v>41821</c:v>
                      </c:pt>
                      <c:pt idx="5074">
                        <c:v>41822</c:v>
                      </c:pt>
                      <c:pt idx="5075">
                        <c:v>41823</c:v>
                      </c:pt>
                      <c:pt idx="5076">
                        <c:v>41824</c:v>
                      </c:pt>
                      <c:pt idx="5077">
                        <c:v>41827</c:v>
                      </c:pt>
                      <c:pt idx="5078">
                        <c:v>41828</c:v>
                      </c:pt>
                      <c:pt idx="5079">
                        <c:v>41829</c:v>
                      </c:pt>
                      <c:pt idx="5080">
                        <c:v>41830</c:v>
                      </c:pt>
                      <c:pt idx="5081">
                        <c:v>41831</c:v>
                      </c:pt>
                      <c:pt idx="5082">
                        <c:v>41834</c:v>
                      </c:pt>
                      <c:pt idx="5083">
                        <c:v>41835</c:v>
                      </c:pt>
                      <c:pt idx="5084">
                        <c:v>41836</c:v>
                      </c:pt>
                      <c:pt idx="5085">
                        <c:v>41837</c:v>
                      </c:pt>
                      <c:pt idx="5086">
                        <c:v>41838</c:v>
                      </c:pt>
                      <c:pt idx="5087">
                        <c:v>41841</c:v>
                      </c:pt>
                      <c:pt idx="5088">
                        <c:v>41842</c:v>
                      </c:pt>
                      <c:pt idx="5089">
                        <c:v>41843</c:v>
                      </c:pt>
                      <c:pt idx="5090">
                        <c:v>41844</c:v>
                      </c:pt>
                      <c:pt idx="5091">
                        <c:v>41845</c:v>
                      </c:pt>
                      <c:pt idx="5092">
                        <c:v>41848</c:v>
                      </c:pt>
                      <c:pt idx="5093">
                        <c:v>41849</c:v>
                      </c:pt>
                      <c:pt idx="5094">
                        <c:v>41850</c:v>
                      </c:pt>
                      <c:pt idx="5095">
                        <c:v>41851</c:v>
                      </c:pt>
                      <c:pt idx="5096">
                        <c:v>41852</c:v>
                      </c:pt>
                      <c:pt idx="5097">
                        <c:v>41855</c:v>
                      </c:pt>
                      <c:pt idx="5098">
                        <c:v>41856</c:v>
                      </c:pt>
                      <c:pt idx="5099">
                        <c:v>41857</c:v>
                      </c:pt>
                      <c:pt idx="5100">
                        <c:v>41858</c:v>
                      </c:pt>
                      <c:pt idx="5101">
                        <c:v>41859</c:v>
                      </c:pt>
                      <c:pt idx="5102">
                        <c:v>41862</c:v>
                      </c:pt>
                      <c:pt idx="5103">
                        <c:v>41863</c:v>
                      </c:pt>
                      <c:pt idx="5104">
                        <c:v>41864</c:v>
                      </c:pt>
                      <c:pt idx="5105">
                        <c:v>41865</c:v>
                      </c:pt>
                      <c:pt idx="5106">
                        <c:v>41866</c:v>
                      </c:pt>
                      <c:pt idx="5107">
                        <c:v>41869</c:v>
                      </c:pt>
                      <c:pt idx="5108">
                        <c:v>41870</c:v>
                      </c:pt>
                      <c:pt idx="5109">
                        <c:v>41871</c:v>
                      </c:pt>
                      <c:pt idx="5110">
                        <c:v>41872</c:v>
                      </c:pt>
                      <c:pt idx="5111">
                        <c:v>41873</c:v>
                      </c:pt>
                      <c:pt idx="5112">
                        <c:v>41876</c:v>
                      </c:pt>
                      <c:pt idx="5113">
                        <c:v>41877</c:v>
                      </c:pt>
                      <c:pt idx="5114">
                        <c:v>41878</c:v>
                      </c:pt>
                      <c:pt idx="5115">
                        <c:v>41879</c:v>
                      </c:pt>
                      <c:pt idx="5116">
                        <c:v>41880</c:v>
                      </c:pt>
                      <c:pt idx="5117">
                        <c:v>41883</c:v>
                      </c:pt>
                      <c:pt idx="5118">
                        <c:v>41884</c:v>
                      </c:pt>
                      <c:pt idx="5119">
                        <c:v>41885</c:v>
                      </c:pt>
                      <c:pt idx="5120">
                        <c:v>41886</c:v>
                      </c:pt>
                      <c:pt idx="5121">
                        <c:v>41887</c:v>
                      </c:pt>
                      <c:pt idx="5122">
                        <c:v>41890</c:v>
                      </c:pt>
                      <c:pt idx="5123">
                        <c:v>41891</c:v>
                      </c:pt>
                      <c:pt idx="5124">
                        <c:v>41892</c:v>
                      </c:pt>
                      <c:pt idx="5125">
                        <c:v>41893</c:v>
                      </c:pt>
                      <c:pt idx="5126">
                        <c:v>41894</c:v>
                      </c:pt>
                      <c:pt idx="5127">
                        <c:v>41897</c:v>
                      </c:pt>
                      <c:pt idx="5128">
                        <c:v>41898</c:v>
                      </c:pt>
                      <c:pt idx="5129">
                        <c:v>41899</c:v>
                      </c:pt>
                      <c:pt idx="5130">
                        <c:v>41900</c:v>
                      </c:pt>
                      <c:pt idx="5131">
                        <c:v>41901</c:v>
                      </c:pt>
                      <c:pt idx="5132">
                        <c:v>41904</c:v>
                      </c:pt>
                      <c:pt idx="5133">
                        <c:v>41905</c:v>
                      </c:pt>
                      <c:pt idx="5134">
                        <c:v>41906</c:v>
                      </c:pt>
                      <c:pt idx="5135">
                        <c:v>41907</c:v>
                      </c:pt>
                      <c:pt idx="5136">
                        <c:v>41908</c:v>
                      </c:pt>
                      <c:pt idx="5137">
                        <c:v>41911</c:v>
                      </c:pt>
                      <c:pt idx="5138">
                        <c:v>41912</c:v>
                      </c:pt>
                      <c:pt idx="5139">
                        <c:v>41913</c:v>
                      </c:pt>
                      <c:pt idx="5140">
                        <c:v>41914</c:v>
                      </c:pt>
                      <c:pt idx="5141">
                        <c:v>41915</c:v>
                      </c:pt>
                      <c:pt idx="5142">
                        <c:v>41918</c:v>
                      </c:pt>
                      <c:pt idx="5143">
                        <c:v>41919</c:v>
                      </c:pt>
                      <c:pt idx="5144">
                        <c:v>41920</c:v>
                      </c:pt>
                      <c:pt idx="5145">
                        <c:v>41921</c:v>
                      </c:pt>
                      <c:pt idx="5146">
                        <c:v>41922</c:v>
                      </c:pt>
                      <c:pt idx="5147">
                        <c:v>41925</c:v>
                      </c:pt>
                      <c:pt idx="5148">
                        <c:v>41926</c:v>
                      </c:pt>
                      <c:pt idx="5149">
                        <c:v>41927</c:v>
                      </c:pt>
                      <c:pt idx="5150">
                        <c:v>41928</c:v>
                      </c:pt>
                      <c:pt idx="5151">
                        <c:v>41929</c:v>
                      </c:pt>
                      <c:pt idx="5152">
                        <c:v>41932</c:v>
                      </c:pt>
                      <c:pt idx="5153">
                        <c:v>41933</c:v>
                      </c:pt>
                      <c:pt idx="5154">
                        <c:v>41934</c:v>
                      </c:pt>
                      <c:pt idx="5155">
                        <c:v>41935</c:v>
                      </c:pt>
                      <c:pt idx="5156">
                        <c:v>41936</c:v>
                      </c:pt>
                      <c:pt idx="5157">
                        <c:v>41939</c:v>
                      </c:pt>
                      <c:pt idx="5158">
                        <c:v>41940</c:v>
                      </c:pt>
                      <c:pt idx="5159">
                        <c:v>41941</c:v>
                      </c:pt>
                      <c:pt idx="5160">
                        <c:v>41942</c:v>
                      </c:pt>
                      <c:pt idx="5161">
                        <c:v>41943</c:v>
                      </c:pt>
                      <c:pt idx="5162">
                        <c:v>41946</c:v>
                      </c:pt>
                      <c:pt idx="5163">
                        <c:v>41947</c:v>
                      </c:pt>
                      <c:pt idx="5164">
                        <c:v>41948</c:v>
                      </c:pt>
                      <c:pt idx="5165">
                        <c:v>41949</c:v>
                      </c:pt>
                      <c:pt idx="5166">
                        <c:v>41950</c:v>
                      </c:pt>
                      <c:pt idx="5167">
                        <c:v>41953</c:v>
                      </c:pt>
                      <c:pt idx="5168">
                        <c:v>41954</c:v>
                      </c:pt>
                      <c:pt idx="5169">
                        <c:v>41955</c:v>
                      </c:pt>
                      <c:pt idx="5170">
                        <c:v>41956</c:v>
                      </c:pt>
                      <c:pt idx="5171">
                        <c:v>41957</c:v>
                      </c:pt>
                      <c:pt idx="5172">
                        <c:v>41960</c:v>
                      </c:pt>
                      <c:pt idx="5173">
                        <c:v>41961</c:v>
                      </c:pt>
                      <c:pt idx="5174">
                        <c:v>41962</c:v>
                      </c:pt>
                      <c:pt idx="5175">
                        <c:v>41963</c:v>
                      </c:pt>
                      <c:pt idx="5176">
                        <c:v>41964</c:v>
                      </c:pt>
                      <c:pt idx="5177">
                        <c:v>41967</c:v>
                      </c:pt>
                      <c:pt idx="5178">
                        <c:v>41968</c:v>
                      </c:pt>
                      <c:pt idx="5179">
                        <c:v>41969</c:v>
                      </c:pt>
                      <c:pt idx="5180">
                        <c:v>41970</c:v>
                      </c:pt>
                      <c:pt idx="5181">
                        <c:v>41971</c:v>
                      </c:pt>
                      <c:pt idx="5182">
                        <c:v>41974</c:v>
                      </c:pt>
                      <c:pt idx="5183">
                        <c:v>41975</c:v>
                      </c:pt>
                      <c:pt idx="5184">
                        <c:v>41976</c:v>
                      </c:pt>
                      <c:pt idx="5185">
                        <c:v>41977</c:v>
                      </c:pt>
                      <c:pt idx="5186">
                        <c:v>41978</c:v>
                      </c:pt>
                      <c:pt idx="5187">
                        <c:v>41981</c:v>
                      </c:pt>
                      <c:pt idx="5188">
                        <c:v>41982</c:v>
                      </c:pt>
                      <c:pt idx="5189">
                        <c:v>41983</c:v>
                      </c:pt>
                      <c:pt idx="5190">
                        <c:v>41984</c:v>
                      </c:pt>
                      <c:pt idx="5191">
                        <c:v>41985</c:v>
                      </c:pt>
                      <c:pt idx="5192">
                        <c:v>41988</c:v>
                      </c:pt>
                      <c:pt idx="5193">
                        <c:v>41989</c:v>
                      </c:pt>
                      <c:pt idx="5194">
                        <c:v>41990</c:v>
                      </c:pt>
                      <c:pt idx="5195">
                        <c:v>41991</c:v>
                      </c:pt>
                      <c:pt idx="5196">
                        <c:v>41992</c:v>
                      </c:pt>
                      <c:pt idx="5197">
                        <c:v>41995</c:v>
                      </c:pt>
                      <c:pt idx="5198">
                        <c:v>41996</c:v>
                      </c:pt>
                      <c:pt idx="5199">
                        <c:v>41997</c:v>
                      </c:pt>
                      <c:pt idx="5200">
                        <c:v>41998</c:v>
                      </c:pt>
                      <c:pt idx="5201">
                        <c:v>41999</c:v>
                      </c:pt>
                      <c:pt idx="5202">
                        <c:v>42002</c:v>
                      </c:pt>
                      <c:pt idx="5203">
                        <c:v>42003</c:v>
                      </c:pt>
                      <c:pt idx="5204">
                        <c:v>42004</c:v>
                      </c:pt>
                      <c:pt idx="5205">
                        <c:v>42005</c:v>
                      </c:pt>
                      <c:pt idx="5206">
                        <c:v>42006</c:v>
                      </c:pt>
                      <c:pt idx="5207">
                        <c:v>42009</c:v>
                      </c:pt>
                      <c:pt idx="5208">
                        <c:v>42010</c:v>
                      </c:pt>
                      <c:pt idx="5209">
                        <c:v>42011</c:v>
                      </c:pt>
                      <c:pt idx="5210">
                        <c:v>42012</c:v>
                      </c:pt>
                      <c:pt idx="5211">
                        <c:v>42013</c:v>
                      </c:pt>
                      <c:pt idx="5212">
                        <c:v>42016</c:v>
                      </c:pt>
                      <c:pt idx="5213">
                        <c:v>42017</c:v>
                      </c:pt>
                      <c:pt idx="5214">
                        <c:v>42018</c:v>
                      </c:pt>
                      <c:pt idx="5215">
                        <c:v>42019</c:v>
                      </c:pt>
                      <c:pt idx="5216">
                        <c:v>42020</c:v>
                      </c:pt>
                      <c:pt idx="5217">
                        <c:v>42023</c:v>
                      </c:pt>
                      <c:pt idx="5218">
                        <c:v>42024</c:v>
                      </c:pt>
                      <c:pt idx="5219">
                        <c:v>42025</c:v>
                      </c:pt>
                      <c:pt idx="5220">
                        <c:v>42026</c:v>
                      </c:pt>
                      <c:pt idx="5221">
                        <c:v>42027</c:v>
                      </c:pt>
                      <c:pt idx="5222">
                        <c:v>42030</c:v>
                      </c:pt>
                      <c:pt idx="5223">
                        <c:v>42031</c:v>
                      </c:pt>
                      <c:pt idx="5224">
                        <c:v>42032</c:v>
                      </c:pt>
                      <c:pt idx="5225">
                        <c:v>42033</c:v>
                      </c:pt>
                      <c:pt idx="5226">
                        <c:v>42034</c:v>
                      </c:pt>
                      <c:pt idx="5227">
                        <c:v>42037</c:v>
                      </c:pt>
                      <c:pt idx="5228">
                        <c:v>42038</c:v>
                      </c:pt>
                      <c:pt idx="5229">
                        <c:v>42039</c:v>
                      </c:pt>
                      <c:pt idx="5230">
                        <c:v>42040</c:v>
                      </c:pt>
                      <c:pt idx="5231">
                        <c:v>42041</c:v>
                      </c:pt>
                      <c:pt idx="5232">
                        <c:v>42044</c:v>
                      </c:pt>
                      <c:pt idx="5233">
                        <c:v>42045</c:v>
                      </c:pt>
                      <c:pt idx="5234">
                        <c:v>42046</c:v>
                      </c:pt>
                      <c:pt idx="5235">
                        <c:v>42047</c:v>
                      </c:pt>
                      <c:pt idx="5236">
                        <c:v>42048</c:v>
                      </c:pt>
                      <c:pt idx="5237">
                        <c:v>42051</c:v>
                      </c:pt>
                      <c:pt idx="5238">
                        <c:v>42052</c:v>
                      </c:pt>
                      <c:pt idx="5239">
                        <c:v>42053</c:v>
                      </c:pt>
                      <c:pt idx="5240">
                        <c:v>42054</c:v>
                      </c:pt>
                      <c:pt idx="5241">
                        <c:v>42055</c:v>
                      </c:pt>
                      <c:pt idx="5242">
                        <c:v>42058</c:v>
                      </c:pt>
                      <c:pt idx="5243">
                        <c:v>42059</c:v>
                      </c:pt>
                      <c:pt idx="5244">
                        <c:v>42060</c:v>
                      </c:pt>
                      <c:pt idx="5245">
                        <c:v>42061</c:v>
                      </c:pt>
                      <c:pt idx="5246">
                        <c:v>42062</c:v>
                      </c:pt>
                      <c:pt idx="5247">
                        <c:v>42065</c:v>
                      </c:pt>
                      <c:pt idx="5248">
                        <c:v>42066</c:v>
                      </c:pt>
                      <c:pt idx="5249">
                        <c:v>42067</c:v>
                      </c:pt>
                      <c:pt idx="5250">
                        <c:v>42068</c:v>
                      </c:pt>
                      <c:pt idx="5251">
                        <c:v>42069</c:v>
                      </c:pt>
                      <c:pt idx="5252">
                        <c:v>42072</c:v>
                      </c:pt>
                      <c:pt idx="5253">
                        <c:v>42073</c:v>
                      </c:pt>
                      <c:pt idx="5254">
                        <c:v>42074</c:v>
                      </c:pt>
                      <c:pt idx="5255">
                        <c:v>42075</c:v>
                      </c:pt>
                      <c:pt idx="5256">
                        <c:v>42076</c:v>
                      </c:pt>
                      <c:pt idx="5257">
                        <c:v>42079</c:v>
                      </c:pt>
                      <c:pt idx="5258">
                        <c:v>42080</c:v>
                      </c:pt>
                      <c:pt idx="5259">
                        <c:v>42081</c:v>
                      </c:pt>
                      <c:pt idx="5260">
                        <c:v>42082</c:v>
                      </c:pt>
                      <c:pt idx="5261">
                        <c:v>42083</c:v>
                      </c:pt>
                      <c:pt idx="5262">
                        <c:v>42086</c:v>
                      </c:pt>
                      <c:pt idx="5263">
                        <c:v>42087</c:v>
                      </c:pt>
                      <c:pt idx="5264">
                        <c:v>42088</c:v>
                      </c:pt>
                      <c:pt idx="5265">
                        <c:v>42089</c:v>
                      </c:pt>
                      <c:pt idx="5266">
                        <c:v>42090</c:v>
                      </c:pt>
                      <c:pt idx="5267">
                        <c:v>42093</c:v>
                      </c:pt>
                      <c:pt idx="5268">
                        <c:v>42094</c:v>
                      </c:pt>
                      <c:pt idx="5269">
                        <c:v>42095</c:v>
                      </c:pt>
                      <c:pt idx="5270">
                        <c:v>42096</c:v>
                      </c:pt>
                      <c:pt idx="5271">
                        <c:v>42097</c:v>
                      </c:pt>
                      <c:pt idx="5272">
                        <c:v>42100</c:v>
                      </c:pt>
                      <c:pt idx="5273">
                        <c:v>42101</c:v>
                      </c:pt>
                      <c:pt idx="5274">
                        <c:v>42102</c:v>
                      </c:pt>
                      <c:pt idx="5275">
                        <c:v>42103</c:v>
                      </c:pt>
                      <c:pt idx="5276">
                        <c:v>42104</c:v>
                      </c:pt>
                      <c:pt idx="5277">
                        <c:v>42107</c:v>
                      </c:pt>
                      <c:pt idx="5278">
                        <c:v>42108</c:v>
                      </c:pt>
                      <c:pt idx="5279">
                        <c:v>42109</c:v>
                      </c:pt>
                      <c:pt idx="5280">
                        <c:v>42110</c:v>
                      </c:pt>
                      <c:pt idx="5281">
                        <c:v>42111</c:v>
                      </c:pt>
                      <c:pt idx="5282">
                        <c:v>42114</c:v>
                      </c:pt>
                      <c:pt idx="5283">
                        <c:v>42115</c:v>
                      </c:pt>
                      <c:pt idx="5284">
                        <c:v>42116</c:v>
                      </c:pt>
                      <c:pt idx="5285">
                        <c:v>42117</c:v>
                      </c:pt>
                      <c:pt idx="5286">
                        <c:v>42118</c:v>
                      </c:pt>
                      <c:pt idx="5287">
                        <c:v>42121</c:v>
                      </c:pt>
                      <c:pt idx="5288">
                        <c:v>42122</c:v>
                      </c:pt>
                      <c:pt idx="5289">
                        <c:v>42123</c:v>
                      </c:pt>
                      <c:pt idx="5290">
                        <c:v>42124</c:v>
                      </c:pt>
                      <c:pt idx="5291">
                        <c:v>42125</c:v>
                      </c:pt>
                      <c:pt idx="5292">
                        <c:v>42128</c:v>
                      </c:pt>
                      <c:pt idx="5293">
                        <c:v>42129</c:v>
                      </c:pt>
                      <c:pt idx="5294">
                        <c:v>42130</c:v>
                      </c:pt>
                      <c:pt idx="5295">
                        <c:v>42131</c:v>
                      </c:pt>
                      <c:pt idx="5296">
                        <c:v>42132</c:v>
                      </c:pt>
                      <c:pt idx="5297">
                        <c:v>42135</c:v>
                      </c:pt>
                      <c:pt idx="5298">
                        <c:v>42136</c:v>
                      </c:pt>
                      <c:pt idx="5299">
                        <c:v>42137</c:v>
                      </c:pt>
                      <c:pt idx="5300">
                        <c:v>42138</c:v>
                      </c:pt>
                      <c:pt idx="5301">
                        <c:v>42139</c:v>
                      </c:pt>
                      <c:pt idx="5302">
                        <c:v>42142</c:v>
                      </c:pt>
                      <c:pt idx="5303">
                        <c:v>42143</c:v>
                      </c:pt>
                      <c:pt idx="5304">
                        <c:v>42144</c:v>
                      </c:pt>
                      <c:pt idx="5305">
                        <c:v>42145</c:v>
                      </c:pt>
                      <c:pt idx="5306">
                        <c:v>42146</c:v>
                      </c:pt>
                      <c:pt idx="5307">
                        <c:v>42149</c:v>
                      </c:pt>
                      <c:pt idx="5308">
                        <c:v>42150</c:v>
                      </c:pt>
                      <c:pt idx="5309">
                        <c:v>42151</c:v>
                      </c:pt>
                      <c:pt idx="5310">
                        <c:v>42152</c:v>
                      </c:pt>
                      <c:pt idx="5311">
                        <c:v>42153</c:v>
                      </c:pt>
                      <c:pt idx="5312">
                        <c:v>42156</c:v>
                      </c:pt>
                      <c:pt idx="5313">
                        <c:v>42157</c:v>
                      </c:pt>
                      <c:pt idx="5314">
                        <c:v>42158</c:v>
                      </c:pt>
                      <c:pt idx="5315">
                        <c:v>42159</c:v>
                      </c:pt>
                      <c:pt idx="5316">
                        <c:v>42160</c:v>
                      </c:pt>
                      <c:pt idx="5317">
                        <c:v>42163</c:v>
                      </c:pt>
                      <c:pt idx="5318">
                        <c:v>42164</c:v>
                      </c:pt>
                      <c:pt idx="5319">
                        <c:v>42165</c:v>
                      </c:pt>
                      <c:pt idx="5320">
                        <c:v>42166</c:v>
                      </c:pt>
                      <c:pt idx="5321">
                        <c:v>42167</c:v>
                      </c:pt>
                      <c:pt idx="5322">
                        <c:v>42170</c:v>
                      </c:pt>
                      <c:pt idx="5323">
                        <c:v>42171</c:v>
                      </c:pt>
                      <c:pt idx="5324">
                        <c:v>42172</c:v>
                      </c:pt>
                      <c:pt idx="5325">
                        <c:v>42173</c:v>
                      </c:pt>
                      <c:pt idx="5326">
                        <c:v>42174</c:v>
                      </c:pt>
                      <c:pt idx="5327">
                        <c:v>42177</c:v>
                      </c:pt>
                      <c:pt idx="5328">
                        <c:v>42178</c:v>
                      </c:pt>
                      <c:pt idx="5329">
                        <c:v>42179</c:v>
                      </c:pt>
                      <c:pt idx="5330">
                        <c:v>42180</c:v>
                      </c:pt>
                      <c:pt idx="5331">
                        <c:v>42181</c:v>
                      </c:pt>
                      <c:pt idx="5332">
                        <c:v>42184</c:v>
                      </c:pt>
                      <c:pt idx="5333">
                        <c:v>42185</c:v>
                      </c:pt>
                      <c:pt idx="5334">
                        <c:v>42186</c:v>
                      </c:pt>
                      <c:pt idx="5335">
                        <c:v>42187</c:v>
                      </c:pt>
                      <c:pt idx="5336">
                        <c:v>42188</c:v>
                      </c:pt>
                      <c:pt idx="5337">
                        <c:v>42191</c:v>
                      </c:pt>
                      <c:pt idx="5338">
                        <c:v>42192</c:v>
                      </c:pt>
                      <c:pt idx="5339">
                        <c:v>42193</c:v>
                      </c:pt>
                      <c:pt idx="5340">
                        <c:v>42194</c:v>
                      </c:pt>
                      <c:pt idx="5341">
                        <c:v>42195</c:v>
                      </c:pt>
                      <c:pt idx="5342">
                        <c:v>42198</c:v>
                      </c:pt>
                      <c:pt idx="5343">
                        <c:v>42199</c:v>
                      </c:pt>
                      <c:pt idx="5344">
                        <c:v>42200</c:v>
                      </c:pt>
                      <c:pt idx="5345">
                        <c:v>42201</c:v>
                      </c:pt>
                      <c:pt idx="5346">
                        <c:v>42202</c:v>
                      </c:pt>
                      <c:pt idx="5347">
                        <c:v>42205</c:v>
                      </c:pt>
                      <c:pt idx="5348">
                        <c:v>42206</c:v>
                      </c:pt>
                      <c:pt idx="5349">
                        <c:v>42207</c:v>
                      </c:pt>
                      <c:pt idx="5350">
                        <c:v>42208</c:v>
                      </c:pt>
                      <c:pt idx="5351">
                        <c:v>42209</c:v>
                      </c:pt>
                      <c:pt idx="5352">
                        <c:v>42212</c:v>
                      </c:pt>
                      <c:pt idx="5353">
                        <c:v>42213</c:v>
                      </c:pt>
                      <c:pt idx="5354">
                        <c:v>42214</c:v>
                      </c:pt>
                      <c:pt idx="5355">
                        <c:v>42215</c:v>
                      </c:pt>
                      <c:pt idx="5356">
                        <c:v>42216</c:v>
                      </c:pt>
                      <c:pt idx="5357">
                        <c:v>42219</c:v>
                      </c:pt>
                      <c:pt idx="5358">
                        <c:v>42220</c:v>
                      </c:pt>
                      <c:pt idx="5359">
                        <c:v>42221</c:v>
                      </c:pt>
                      <c:pt idx="5360">
                        <c:v>42222</c:v>
                      </c:pt>
                      <c:pt idx="5361">
                        <c:v>42223</c:v>
                      </c:pt>
                      <c:pt idx="5362">
                        <c:v>42226</c:v>
                      </c:pt>
                      <c:pt idx="5363">
                        <c:v>42227</c:v>
                      </c:pt>
                      <c:pt idx="5364">
                        <c:v>42228</c:v>
                      </c:pt>
                      <c:pt idx="5365">
                        <c:v>42229</c:v>
                      </c:pt>
                      <c:pt idx="5366">
                        <c:v>42230</c:v>
                      </c:pt>
                      <c:pt idx="5367">
                        <c:v>42233</c:v>
                      </c:pt>
                      <c:pt idx="5368">
                        <c:v>42234</c:v>
                      </c:pt>
                      <c:pt idx="5369">
                        <c:v>42235</c:v>
                      </c:pt>
                      <c:pt idx="5370">
                        <c:v>42236</c:v>
                      </c:pt>
                      <c:pt idx="5371">
                        <c:v>42237</c:v>
                      </c:pt>
                      <c:pt idx="5372">
                        <c:v>42240</c:v>
                      </c:pt>
                      <c:pt idx="5373">
                        <c:v>42241</c:v>
                      </c:pt>
                      <c:pt idx="5374">
                        <c:v>42242</c:v>
                      </c:pt>
                      <c:pt idx="5375">
                        <c:v>42243</c:v>
                      </c:pt>
                      <c:pt idx="5376">
                        <c:v>42244</c:v>
                      </c:pt>
                      <c:pt idx="5377">
                        <c:v>42247</c:v>
                      </c:pt>
                      <c:pt idx="5378">
                        <c:v>42248</c:v>
                      </c:pt>
                      <c:pt idx="5379">
                        <c:v>42249</c:v>
                      </c:pt>
                      <c:pt idx="5380">
                        <c:v>42250</c:v>
                      </c:pt>
                      <c:pt idx="5381">
                        <c:v>42251</c:v>
                      </c:pt>
                      <c:pt idx="5382">
                        <c:v>42254</c:v>
                      </c:pt>
                      <c:pt idx="5383">
                        <c:v>42255</c:v>
                      </c:pt>
                      <c:pt idx="5384">
                        <c:v>42256</c:v>
                      </c:pt>
                      <c:pt idx="5385">
                        <c:v>42257</c:v>
                      </c:pt>
                      <c:pt idx="5386">
                        <c:v>42258</c:v>
                      </c:pt>
                      <c:pt idx="5387">
                        <c:v>42261</c:v>
                      </c:pt>
                      <c:pt idx="5388">
                        <c:v>42262</c:v>
                      </c:pt>
                      <c:pt idx="5389">
                        <c:v>42263</c:v>
                      </c:pt>
                      <c:pt idx="5390">
                        <c:v>42264</c:v>
                      </c:pt>
                      <c:pt idx="5391">
                        <c:v>42265</c:v>
                      </c:pt>
                      <c:pt idx="5392">
                        <c:v>42268</c:v>
                      </c:pt>
                      <c:pt idx="5393">
                        <c:v>42269</c:v>
                      </c:pt>
                      <c:pt idx="5394">
                        <c:v>42270</c:v>
                      </c:pt>
                      <c:pt idx="5395">
                        <c:v>42271</c:v>
                      </c:pt>
                      <c:pt idx="5396">
                        <c:v>42272</c:v>
                      </c:pt>
                      <c:pt idx="5397">
                        <c:v>42275</c:v>
                      </c:pt>
                      <c:pt idx="5398">
                        <c:v>42276</c:v>
                      </c:pt>
                      <c:pt idx="5399">
                        <c:v>42277</c:v>
                      </c:pt>
                      <c:pt idx="5400">
                        <c:v>42278</c:v>
                      </c:pt>
                      <c:pt idx="5401">
                        <c:v>42279</c:v>
                      </c:pt>
                      <c:pt idx="5402">
                        <c:v>42282</c:v>
                      </c:pt>
                      <c:pt idx="5403">
                        <c:v>42283</c:v>
                      </c:pt>
                      <c:pt idx="5404">
                        <c:v>42284</c:v>
                      </c:pt>
                      <c:pt idx="5405">
                        <c:v>42285</c:v>
                      </c:pt>
                      <c:pt idx="5406">
                        <c:v>42286</c:v>
                      </c:pt>
                      <c:pt idx="5407">
                        <c:v>42289</c:v>
                      </c:pt>
                      <c:pt idx="5408">
                        <c:v>42290</c:v>
                      </c:pt>
                      <c:pt idx="5409">
                        <c:v>42291</c:v>
                      </c:pt>
                      <c:pt idx="5410">
                        <c:v>42292</c:v>
                      </c:pt>
                      <c:pt idx="5411">
                        <c:v>42293</c:v>
                      </c:pt>
                      <c:pt idx="5412">
                        <c:v>42296</c:v>
                      </c:pt>
                      <c:pt idx="5413">
                        <c:v>42297</c:v>
                      </c:pt>
                      <c:pt idx="5414">
                        <c:v>42298</c:v>
                      </c:pt>
                      <c:pt idx="5415">
                        <c:v>42299</c:v>
                      </c:pt>
                      <c:pt idx="5416">
                        <c:v>42300</c:v>
                      </c:pt>
                      <c:pt idx="5417">
                        <c:v>42303</c:v>
                      </c:pt>
                      <c:pt idx="5418">
                        <c:v>42304</c:v>
                      </c:pt>
                      <c:pt idx="5419">
                        <c:v>42305</c:v>
                      </c:pt>
                      <c:pt idx="5420">
                        <c:v>42306</c:v>
                      </c:pt>
                      <c:pt idx="5421">
                        <c:v>42307</c:v>
                      </c:pt>
                      <c:pt idx="5422">
                        <c:v>42310</c:v>
                      </c:pt>
                      <c:pt idx="5423">
                        <c:v>42311</c:v>
                      </c:pt>
                      <c:pt idx="5424">
                        <c:v>42312</c:v>
                      </c:pt>
                      <c:pt idx="5425">
                        <c:v>42313</c:v>
                      </c:pt>
                      <c:pt idx="5426">
                        <c:v>42314</c:v>
                      </c:pt>
                      <c:pt idx="5427">
                        <c:v>42317</c:v>
                      </c:pt>
                      <c:pt idx="5428">
                        <c:v>42318</c:v>
                      </c:pt>
                      <c:pt idx="5429">
                        <c:v>42319</c:v>
                      </c:pt>
                      <c:pt idx="5430">
                        <c:v>42320</c:v>
                      </c:pt>
                      <c:pt idx="5431">
                        <c:v>42321</c:v>
                      </c:pt>
                      <c:pt idx="5432">
                        <c:v>42324</c:v>
                      </c:pt>
                      <c:pt idx="5433">
                        <c:v>42325</c:v>
                      </c:pt>
                      <c:pt idx="5434">
                        <c:v>42326</c:v>
                      </c:pt>
                      <c:pt idx="5435">
                        <c:v>42327</c:v>
                      </c:pt>
                      <c:pt idx="5436">
                        <c:v>42328</c:v>
                      </c:pt>
                      <c:pt idx="5437">
                        <c:v>42331</c:v>
                      </c:pt>
                      <c:pt idx="5438">
                        <c:v>42332</c:v>
                      </c:pt>
                      <c:pt idx="5439">
                        <c:v>42333</c:v>
                      </c:pt>
                      <c:pt idx="5440">
                        <c:v>42334</c:v>
                      </c:pt>
                      <c:pt idx="5441">
                        <c:v>42335</c:v>
                      </c:pt>
                      <c:pt idx="5442">
                        <c:v>42338</c:v>
                      </c:pt>
                      <c:pt idx="5443">
                        <c:v>42339</c:v>
                      </c:pt>
                      <c:pt idx="5444">
                        <c:v>42340</c:v>
                      </c:pt>
                      <c:pt idx="5445">
                        <c:v>42341</c:v>
                      </c:pt>
                      <c:pt idx="5446">
                        <c:v>42342</c:v>
                      </c:pt>
                      <c:pt idx="5447">
                        <c:v>42345</c:v>
                      </c:pt>
                      <c:pt idx="5448">
                        <c:v>42346</c:v>
                      </c:pt>
                      <c:pt idx="5449">
                        <c:v>42347</c:v>
                      </c:pt>
                      <c:pt idx="5450">
                        <c:v>42348</c:v>
                      </c:pt>
                      <c:pt idx="5451">
                        <c:v>42349</c:v>
                      </c:pt>
                      <c:pt idx="5452">
                        <c:v>42352</c:v>
                      </c:pt>
                      <c:pt idx="5453">
                        <c:v>42353</c:v>
                      </c:pt>
                      <c:pt idx="5454">
                        <c:v>42354</c:v>
                      </c:pt>
                      <c:pt idx="5455">
                        <c:v>42355</c:v>
                      </c:pt>
                      <c:pt idx="5456">
                        <c:v>42356</c:v>
                      </c:pt>
                      <c:pt idx="5457">
                        <c:v>42359</c:v>
                      </c:pt>
                      <c:pt idx="5458">
                        <c:v>42360</c:v>
                      </c:pt>
                      <c:pt idx="5459">
                        <c:v>42361</c:v>
                      </c:pt>
                      <c:pt idx="5460">
                        <c:v>42362</c:v>
                      </c:pt>
                      <c:pt idx="5461">
                        <c:v>42363</c:v>
                      </c:pt>
                      <c:pt idx="5462">
                        <c:v>42366</c:v>
                      </c:pt>
                      <c:pt idx="5463">
                        <c:v>42367</c:v>
                      </c:pt>
                      <c:pt idx="5464">
                        <c:v>42368</c:v>
                      </c:pt>
                      <c:pt idx="5465">
                        <c:v>42369</c:v>
                      </c:pt>
                      <c:pt idx="5466">
                        <c:v>42370</c:v>
                      </c:pt>
                      <c:pt idx="5467">
                        <c:v>42373</c:v>
                      </c:pt>
                      <c:pt idx="5468">
                        <c:v>42374</c:v>
                      </c:pt>
                      <c:pt idx="5469">
                        <c:v>42375</c:v>
                      </c:pt>
                      <c:pt idx="5470">
                        <c:v>42376</c:v>
                      </c:pt>
                      <c:pt idx="5471">
                        <c:v>42377</c:v>
                      </c:pt>
                      <c:pt idx="5472">
                        <c:v>42380</c:v>
                      </c:pt>
                      <c:pt idx="5473">
                        <c:v>42381</c:v>
                      </c:pt>
                      <c:pt idx="5474">
                        <c:v>42382</c:v>
                      </c:pt>
                      <c:pt idx="5475">
                        <c:v>42383</c:v>
                      </c:pt>
                      <c:pt idx="5476">
                        <c:v>42384</c:v>
                      </c:pt>
                      <c:pt idx="5477">
                        <c:v>42387</c:v>
                      </c:pt>
                      <c:pt idx="5478">
                        <c:v>42388</c:v>
                      </c:pt>
                      <c:pt idx="5479">
                        <c:v>42389</c:v>
                      </c:pt>
                      <c:pt idx="5480">
                        <c:v>42390</c:v>
                      </c:pt>
                      <c:pt idx="5481">
                        <c:v>42391</c:v>
                      </c:pt>
                      <c:pt idx="5482">
                        <c:v>42394</c:v>
                      </c:pt>
                      <c:pt idx="5483">
                        <c:v>42395</c:v>
                      </c:pt>
                      <c:pt idx="5484">
                        <c:v>42396</c:v>
                      </c:pt>
                      <c:pt idx="5485">
                        <c:v>42397</c:v>
                      </c:pt>
                      <c:pt idx="5486">
                        <c:v>42398</c:v>
                      </c:pt>
                      <c:pt idx="5487">
                        <c:v>42401</c:v>
                      </c:pt>
                      <c:pt idx="5488">
                        <c:v>42402</c:v>
                      </c:pt>
                      <c:pt idx="5489">
                        <c:v>42403</c:v>
                      </c:pt>
                      <c:pt idx="5490">
                        <c:v>42404</c:v>
                      </c:pt>
                      <c:pt idx="5491">
                        <c:v>42405</c:v>
                      </c:pt>
                      <c:pt idx="5492">
                        <c:v>42408</c:v>
                      </c:pt>
                      <c:pt idx="5493">
                        <c:v>42409</c:v>
                      </c:pt>
                      <c:pt idx="5494">
                        <c:v>42410</c:v>
                      </c:pt>
                      <c:pt idx="5495">
                        <c:v>42411</c:v>
                      </c:pt>
                      <c:pt idx="5496">
                        <c:v>42412</c:v>
                      </c:pt>
                      <c:pt idx="5497">
                        <c:v>42415</c:v>
                      </c:pt>
                      <c:pt idx="5498">
                        <c:v>42416</c:v>
                      </c:pt>
                      <c:pt idx="5499">
                        <c:v>42417</c:v>
                      </c:pt>
                      <c:pt idx="5500">
                        <c:v>42418</c:v>
                      </c:pt>
                      <c:pt idx="5501">
                        <c:v>42419</c:v>
                      </c:pt>
                      <c:pt idx="5502">
                        <c:v>42422</c:v>
                      </c:pt>
                      <c:pt idx="5503">
                        <c:v>42423</c:v>
                      </c:pt>
                      <c:pt idx="5504">
                        <c:v>42424</c:v>
                      </c:pt>
                      <c:pt idx="5505">
                        <c:v>42425</c:v>
                      </c:pt>
                      <c:pt idx="5506">
                        <c:v>42426</c:v>
                      </c:pt>
                      <c:pt idx="5507">
                        <c:v>42429</c:v>
                      </c:pt>
                      <c:pt idx="5508">
                        <c:v>42430</c:v>
                      </c:pt>
                      <c:pt idx="5509">
                        <c:v>42431</c:v>
                      </c:pt>
                      <c:pt idx="5510">
                        <c:v>42432</c:v>
                      </c:pt>
                      <c:pt idx="5511">
                        <c:v>42433</c:v>
                      </c:pt>
                      <c:pt idx="5512">
                        <c:v>42436</c:v>
                      </c:pt>
                      <c:pt idx="5513">
                        <c:v>42437</c:v>
                      </c:pt>
                      <c:pt idx="5514">
                        <c:v>42438</c:v>
                      </c:pt>
                      <c:pt idx="5515">
                        <c:v>42439</c:v>
                      </c:pt>
                      <c:pt idx="5516">
                        <c:v>42440</c:v>
                      </c:pt>
                      <c:pt idx="5517">
                        <c:v>42443</c:v>
                      </c:pt>
                      <c:pt idx="5518">
                        <c:v>42444</c:v>
                      </c:pt>
                      <c:pt idx="5519">
                        <c:v>42445</c:v>
                      </c:pt>
                      <c:pt idx="5520">
                        <c:v>42446</c:v>
                      </c:pt>
                      <c:pt idx="5521">
                        <c:v>42447</c:v>
                      </c:pt>
                      <c:pt idx="5522">
                        <c:v>42450</c:v>
                      </c:pt>
                      <c:pt idx="5523">
                        <c:v>42451</c:v>
                      </c:pt>
                      <c:pt idx="5524">
                        <c:v>42452</c:v>
                      </c:pt>
                      <c:pt idx="5525">
                        <c:v>42453</c:v>
                      </c:pt>
                      <c:pt idx="5526">
                        <c:v>42454</c:v>
                      </c:pt>
                      <c:pt idx="5527">
                        <c:v>42457</c:v>
                      </c:pt>
                      <c:pt idx="5528">
                        <c:v>42458</c:v>
                      </c:pt>
                      <c:pt idx="5529">
                        <c:v>42459</c:v>
                      </c:pt>
                      <c:pt idx="5530">
                        <c:v>42460</c:v>
                      </c:pt>
                      <c:pt idx="5531">
                        <c:v>42461</c:v>
                      </c:pt>
                      <c:pt idx="5532">
                        <c:v>42464</c:v>
                      </c:pt>
                      <c:pt idx="5533">
                        <c:v>42465</c:v>
                      </c:pt>
                      <c:pt idx="5534">
                        <c:v>42466</c:v>
                      </c:pt>
                      <c:pt idx="5535">
                        <c:v>42467</c:v>
                      </c:pt>
                      <c:pt idx="5536">
                        <c:v>42468</c:v>
                      </c:pt>
                      <c:pt idx="5537">
                        <c:v>42471</c:v>
                      </c:pt>
                      <c:pt idx="5538">
                        <c:v>42472</c:v>
                      </c:pt>
                      <c:pt idx="5539">
                        <c:v>42473</c:v>
                      </c:pt>
                      <c:pt idx="5540">
                        <c:v>42474</c:v>
                      </c:pt>
                      <c:pt idx="5541">
                        <c:v>42475</c:v>
                      </c:pt>
                      <c:pt idx="5542">
                        <c:v>42478</c:v>
                      </c:pt>
                      <c:pt idx="5543">
                        <c:v>42479</c:v>
                      </c:pt>
                      <c:pt idx="5544">
                        <c:v>42480</c:v>
                      </c:pt>
                      <c:pt idx="5545">
                        <c:v>42481</c:v>
                      </c:pt>
                      <c:pt idx="5546">
                        <c:v>42482</c:v>
                      </c:pt>
                      <c:pt idx="5547">
                        <c:v>42485</c:v>
                      </c:pt>
                      <c:pt idx="5548">
                        <c:v>42486</c:v>
                      </c:pt>
                      <c:pt idx="5549">
                        <c:v>42487</c:v>
                      </c:pt>
                      <c:pt idx="5550">
                        <c:v>42488</c:v>
                      </c:pt>
                      <c:pt idx="5551">
                        <c:v>42489</c:v>
                      </c:pt>
                      <c:pt idx="5552">
                        <c:v>42492</c:v>
                      </c:pt>
                      <c:pt idx="5553">
                        <c:v>42493</c:v>
                      </c:pt>
                      <c:pt idx="5554">
                        <c:v>42494</c:v>
                      </c:pt>
                      <c:pt idx="5555">
                        <c:v>42495</c:v>
                      </c:pt>
                      <c:pt idx="5556">
                        <c:v>42496</c:v>
                      </c:pt>
                      <c:pt idx="5557">
                        <c:v>42499</c:v>
                      </c:pt>
                      <c:pt idx="5558">
                        <c:v>42500</c:v>
                      </c:pt>
                      <c:pt idx="5559">
                        <c:v>42501</c:v>
                      </c:pt>
                      <c:pt idx="5560">
                        <c:v>42502</c:v>
                      </c:pt>
                      <c:pt idx="5561">
                        <c:v>42503</c:v>
                      </c:pt>
                      <c:pt idx="5562">
                        <c:v>42506</c:v>
                      </c:pt>
                      <c:pt idx="5563">
                        <c:v>42507</c:v>
                      </c:pt>
                      <c:pt idx="5564">
                        <c:v>42508</c:v>
                      </c:pt>
                      <c:pt idx="5565">
                        <c:v>42509</c:v>
                      </c:pt>
                      <c:pt idx="5566">
                        <c:v>42510</c:v>
                      </c:pt>
                      <c:pt idx="5567">
                        <c:v>42513</c:v>
                      </c:pt>
                      <c:pt idx="5568">
                        <c:v>42514</c:v>
                      </c:pt>
                      <c:pt idx="5569">
                        <c:v>42515</c:v>
                      </c:pt>
                      <c:pt idx="5570">
                        <c:v>42516</c:v>
                      </c:pt>
                      <c:pt idx="5571">
                        <c:v>42517</c:v>
                      </c:pt>
                      <c:pt idx="5572">
                        <c:v>42520</c:v>
                      </c:pt>
                      <c:pt idx="5573">
                        <c:v>42521</c:v>
                      </c:pt>
                      <c:pt idx="5574">
                        <c:v>42522</c:v>
                      </c:pt>
                      <c:pt idx="5575">
                        <c:v>42523</c:v>
                      </c:pt>
                      <c:pt idx="5576">
                        <c:v>42524</c:v>
                      </c:pt>
                      <c:pt idx="5577">
                        <c:v>42527</c:v>
                      </c:pt>
                      <c:pt idx="5578">
                        <c:v>42528</c:v>
                      </c:pt>
                      <c:pt idx="5579">
                        <c:v>42529</c:v>
                      </c:pt>
                      <c:pt idx="5580">
                        <c:v>42530</c:v>
                      </c:pt>
                      <c:pt idx="5581">
                        <c:v>42531</c:v>
                      </c:pt>
                      <c:pt idx="5582">
                        <c:v>42534</c:v>
                      </c:pt>
                      <c:pt idx="5583">
                        <c:v>42535</c:v>
                      </c:pt>
                      <c:pt idx="5584">
                        <c:v>42536</c:v>
                      </c:pt>
                      <c:pt idx="5585">
                        <c:v>42537</c:v>
                      </c:pt>
                      <c:pt idx="5586">
                        <c:v>42538</c:v>
                      </c:pt>
                      <c:pt idx="5587">
                        <c:v>42541</c:v>
                      </c:pt>
                      <c:pt idx="5588">
                        <c:v>42542</c:v>
                      </c:pt>
                      <c:pt idx="5589">
                        <c:v>42543</c:v>
                      </c:pt>
                      <c:pt idx="5590">
                        <c:v>42544</c:v>
                      </c:pt>
                      <c:pt idx="5591">
                        <c:v>42545</c:v>
                      </c:pt>
                      <c:pt idx="5592">
                        <c:v>42548</c:v>
                      </c:pt>
                      <c:pt idx="5593">
                        <c:v>42549</c:v>
                      </c:pt>
                      <c:pt idx="5594">
                        <c:v>42550</c:v>
                      </c:pt>
                      <c:pt idx="5595">
                        <c:v>42551</c:v>
                      </c:pt>
                      <c:pt idx="5596">
                        <c:v>42552</c:v>
                      </c:pt>
                      <c:pt idx="5597">
                        <c:v>42555</c:v>
                      </c:pt>
                      <c:pt idx="5598">
                        <c:v>42556</c:v>
                      </c:pt>
                      <c:pt idx="5599">
                        <c:v>42557</c:v>
                      </c:pt>
                      <c:pt idx="5600">
                        <c:v>42558</c:v>
                      </c:pt>
                      <c:pt idx="5601">
                        <c:v>42559</c:v>
                      </c:pt>
                      <c:pt idx="5602">
                        <c:v>42562</c:v>
                      </c:pt>
                      <c:pt idx="5603">
                        <c:v>42563</c:v>
                      </c:pt>
                      <c:pt idx="5604">
                        <c:v>42564</c:v>
                      </c:pt>
                      <c:pt idx="5605">
                        <c:v>42565</c:v>
                      </c:pt>
                      <c:pt idx="5606">
                        <c:v>42566</c:v>
                      </c:pt>
                      <c:pt idx="5607">
                        <c:v>42569</c:v>
                      </c:pt>
                      <c:pt idx="5608">
                        <c:v>42570</c:v>
                      </c:pt>
                      <c:pt idx="5609">
                        <c:v>42571</c:v>
                      </c:pt>
                      <c:pt idx="5610">
                        <c:v>42572</c:v>
                      </c:pt>
                      <c:pt idx="5611">
                        <c:v>42573</c:v>
                      </c:pt>
                      <c:pt idx="5612">
                        <c:v>42576</c:v>
                      </c:pt>
                      <c:pt idx="5613">
                        <c:v>42577</c:v>
                      </c:pt>
                      <c:pt idx="5614">
                        <c:v>42578</c:v>
                      </c:pt>
                      <c:pt idx="5615">
                        <c:v>42579</c:v>
                      </c:pt>
                      <c:pt idx="5616">
                        <c:v>42580</c:v>
                      </c:pt>
                      <c:pt idx="5617">
                        <c:v>42583</c:v>
                      </c:pt>
                      <c:pt idx="5618">
                        <c:v>42584</c:v>
                      </c:pt>
                      <c:pt idx="5619">
                        <c:v>42585</c:v>
                      </c:pt>
                      <c:pt idx="5620">
                        <c:v>42586</c:v>
                      </c:pt>
                      <c:pt idx="5621">
                        <c:v>42587</c:v>
                      </c:pt>
                      <c:pt idx="5622">
                        <c:v>42590</c:v>
                      </c:pt>
                      <c:pt idx="5623">
                        <c:v>42591</c:v>
                      </c:pt>
                      <c:pt idx="5624">
                        <c:v>42592</c:v>
                      </c:pt>
                      <c:pt idx="5625">
                        <c:v>42593</c:v>
                      </c:pt>
                      <c:pt idx="5626">
                        <c:v>42594</c:v>
                      </c:pt>
                      <c:pt idx="5627">
                        <c:v>42597</c:v>
                      </c:pt>
                      <c:pt idx="5628">
                        <c:v>42598</c:v>
                      </c:pt>
                      <c:pt idx="5629">
                        <c:v>42599</c:v>
                      </c:pt>
                      <c:pt idx="5630">
                        <c:v>42600</c:v>
                      </c:pt>
                      <c:pt idx="5631">
                        <c:v>42601</c:v>
                      </c:pt>
                      <c:pt idx="5632">
                        <c:v>42604</c:v>
                      </c:pt>
                      <c:pt idx="5633">
                        <c:v>42605</c:v>
                      </c:pt>
                      <c:pt idx="5634">
                        <c:v>42606</c:v>
                      </c:pt>
                      <c:pt idx="5635">
                        <c:v>42607</c:v>
                      </c:pt>
                      <c:pt idx="5636">
                        <c:v>42608</c:v>
                      </c:pt>
                      <c:pt idx="5637">
                        <c:v>42611</c:v>
                      </c:pt>
                      <c:pt idx="5638">
                        <c:v>42612</c:v>
                      </c:pt>
                      <c:pt idx="5639">
                        <c:v>42613</c:v>
                      </c:pt>
                      <c:pt idx="5640">
                        <c:v>42614</c:v>
                      </c:pt>
                      <c:pt idx="5641">
                        <c:v>42615</c:v>
                      </c:pt>
                      <c:pt idx="5642">
                        <c:v>42618</c:v>
                      </c:pt>
                      <c:pt idx="5643">
                        <c:v>42619</c:v>
                      </c:pt>
                      <c:pt idx="5644">
                        <c:v>42620</c:v>
                      </c:pt>
                      <c:pt idx="5645">
                        <c:v>42621</c:v>
                      </c:pt>
                      <c:pt idx="5646">
                        <c:v>42622</c:v>
                      </c:pt>
                      <c:pt idx="5647">
                        <c:v>42625</c:v>
                      </c:pt>
                      <c:pt idx="5648">
                        <c:v>42626</c:v>
                      </c:pt>
                      <c:pt idx="5649">
                        <c:v>42627</c:v>
                      </c:pt>
                      <c:pt idx="5650">
                        <c:v>42628</c:v>
                      </c:pt>
                      <c:pt idx="5651">
                        <c:v>42629</c:v>
                      </c:pt>
                      <c:pt idx="5652">
                        <c:v>42632</c:v>
                      </c:pt>
                      <c:pt idx="5653">
                        <c:v>42633</c:v>
                      </c:pt>
                      <c:pt idx="5654">
                        <c:v>42634</c:v>
                      </c:pt>
                      <c:pt idx="5655">
                        <c:v>42635</c:v>
                      </c:pt>
                      <c:pt idx="5656">
                        <c:v>42636</c:v>
                      </c:pt>
                      <c:pt idx="5657">
                        <c:v>42639</c:v>
                      </c:pt>
                      <c:pt idx="5658">
                        <c:v>42640</c:v>
                      </c:pt>
                      <c:pt idx="5659">
                        <c:v>42641</c:v>
                      </c:pt>
                      <c:pt idx="5660">
                        <c:v>42642</c:v>
                      </c:pt>
                      <c:pt idx="5661">
                        <c:v>42643</c:v>
                      </c:pt>
                      <c:pt idx="5662">
                        <c:v>42646</c:v>
                      </c:pt>
                      <c:pt idx="5663">
                        <c:v>42647</c:v>
                      </c:pt>
                      <c:pt idx="5664">
                        <c:v>42648</c:v>
                      </c:pt>
                      <c:pt idx="5665">
                        <c:v>42649</c:v>
                      </c:pt>
                      <c:pt idx="5666">
                        <c:v>42650</c:v>
                      </c:pt>
                      <c:pt idx="5667">
                        <c:v>42653</c:v>
                      </c:pt>
                      <c:pt idx="5668">
                        <c:v>42654</c:v>
                      </c:pt>
                      <c:pt idx="5669">
                        <c:v>42655</c:v>
                      </c:pt>
                      <c:pt idx="5670">
                        <c:v>42656</c:v>
                      </c:pt>
                      <c:pt idx="5671">
                        <c:v>42657</c:v>
                      </c:pt>
                      <c:pt idx="5672">
                        <c:v>42660</c:v>
                      </c:pt>
                      <c:pt idx="5673">
                        <c:v>42661</c:v>
                      </c:pt>
                      <c:pt idx="5674">
                        <c:v>42662</c:v>
                      </c:pt>
                      <c:pt idx="5675">
                        <c:v>42663</c:v>
                      </c:pt>
                      <c:pt idx="5676">
                        <c:v>42664</c:v>
                      </c:pt>
                      <c:pt idx="5677">
                        <c:v>42667</c:v>
                      </c:pt>
                      <c:pt idx="5678">
                        <c:v>42668</c:v>
                      </c:pt>
                      <c:pt idx="5679">
                        <c:v>42669</c:v>
                      </c:pt>
                      <c:pt idx="5680">
                        <c:v>42670</c:v>
                      </c:pt>
                      <c:pt idx="5681">
                        <c:v>42671</c:v>
                      </c:pt>
                      <c:pt idx="5682">
                        <c:v>42674</c:v>
                      </c:pt>
                      <c:pt idx="5683">
                        <c:v>42675</c:v>
                      </c:pt>
                      <c:pt idx="5684">
                        <c:v>42676</c:v>
                      </c:pt>
                      <c:pt idx="5685">
                        <c:v>42677</c:v>
                      </c:pt>
                      <c:pt idx="5686">
                        <c:v>42678</c:v>
                      </c:pt>
                      <c:pt idx="5687">
                        <c:v>42681</c:v>
                      </c:pt>
                      <c:pt idx="5688">
                        <c:v>42682</c:v>
                      </c:pt>
                      <c:pt idx="5689">
                        <c:v>42683</c:v>
                      </c:pt>
                      <c:pt idx="5690">
                        <c:v>42684</c:v>
                      </c:pt>
                      <c:pt idx="5691">
                        <c:v>42685</c:v>
                      </c:pt>
                      <c:pt idx="5692">
                        <c:v>42688</c:v>
                      </c:pt>
                      <c:pt idx="5693">
                        <c:v>42689</c:v>
                      </c:pt>
                      <c:pt idx="5694">
                        <c:v>42690</c:v>
                      </c:pt>
                      <c:pt idx="5695">
                        <c:v>42691</c:v>
                      </c:pt>
                      <c:pt idx="5696">
                        <c:v>42692</c:v>
                      </c:pt>
                      <c:pt idx="5697">
                        <c:v>42695</c:v>
                      </c:pt>
                      <c:pt idx="5698">
                        <c:v>42696</c:v>
                      </c:pt>
                      <c:pt idx="5699">
                        <c:v>42697</c:v>
                      </c:pt>
                      <c:pt idx="5700">
                        <c:v>42698</c:v>
                      </c:pt>
                      <c:pt idx="5701">
                        <c:v>42699</c:v>
                      </c:pt>
                      <c:pt idx="5702">
                        <c:v>42702</c:v>
                      </c:pt>
                      <c:pt idx="5703">
                        <c:v>42703</c:v>
                      </c:pt>
                      <c:pt idx="5704">
                        <c:v>42704</c:v>
                      </c:pt>
                      <c:pt idx="5705">
                        <c:v>42705</c:v>
                      </c:pt>
                      <c:pt idx="5706">
                        <c:v>42706</c:v>
                      </c:pt>
                      <c:pt idx="5707">
                        <c:v>42709</c:v>
                      </c:pt>
                      <c:pt idx="5708">
                        <c:v>42710</c:v>
                      </c:pt>
                      <c:pt idx="5709">
                        <c:v>42711</c:v>
                      </c:pt>
                      <c:pt idx="5710">
                        <c:v>42712</c:v>
                      </c:pt>
                      <c:pt idx="5711">
                        <c:v>42713</c:v>
                      </c:pt>
                      <c:pt idx="5712">
                        <c:v>42716</c:v>
                      </c:pt>
                      <c:pt idx="5713">
                        <c:v>42717</c:v>
                      </c:pt>
                      <c:pt idx="5714">
                        <c:v>42718</c:v>
                      </c:pt>
                      <c:pt idx="5715">
                        <c:v>42719</c:v>
                      </c:pt>
                      <c:pt idx="5716">
                        <c:v>42720</c:v>
                      </c:pt>
                      <c:pt idx="5717">
                        <c:v>42723</c:v>
                      </c:pt>
                      <c:pt idx="5718">
                        <c:v>42724</c:v>
                      </c:pt>
                      <c:pt idx="5719">
                        <c:v>42725</c:v>
                      </c:pt>
                      <c:pt idx="5720">
                        <c:v>42726</c:v>
                      </c:pt>
                      <c:pt idx="5721">
                        <c:v>42727</c:v>
                      </c:pt>
                      <c:pt idx="5722">
                        <c:v>42730</c:v>
                      </c:pt>
                      <c:pt idx="5723">
                        <c:v>42731</c:v>
                      </c:pt>
                      <c:pt idx="5724">
                        <c:v>42732</c:v>
                      </c:pt>
                      <c:pt idx="5725">
                        <c:v>42733</c:v>
                      </c:pt>
                      <c:pt idx="5726">
                        <c:v>42734</c:v>
                      </c:pt>
                      <c:pt idx="5727">
                        <c:v>42737</c:v>
                      </c:pt>
                      <c:pt idx="5728">
                        <c:v>42738</c:v>
                      </c:pt>
                      <c:pt idx="5729">
                        <c:v>42739</c:v>
                      </c:pt>
                      <c:pt idx="5730">
                        <c:v>42740</c:v>
                      </c:pt>
                      <c:pt idx="5731">
                        <c:v>42741</c:v>
                      </c:pt>
                      <c:pt idx="5732">
                        <c:v>42744</c:v>
                      </c:pt>
                      <c:pt idx="5733">
                        <c:v>42745</c:v>
                      </c:pt>
                      <c:pt idx="5734">
                        <c:v>42746</c:v>
                      </c:pt>
                      <c:pt idx="5735">
                        <c:v>42747</c:v>
                      </c:pt>
                      <c:pt idx="5736">
                        <c:v>42748</c:v>
                      </c:pt>
                      <c:pt idx="5737">
                        <c:v>42751</c:v>
                      </c:pt>
                      <c:pt idx="5738">
                        <c:v>42752</c:v>
                      </c:pt>
                      <c:pt idx="5739">
                        <c:v>42753</c:v>
                      </c:pt>
                      <c:pt idx="5740">
                        <c:v>42754</c:v>
                      </c:pt>
                      <c:pt idx="5741">
                        <c:v>42755</c:v>
                      </c:pt>
                      <c:pt idx="5742">
                        <c:v>42758</c:v>
                      </c:pt>
                      <c:pt idx="5743">
                        <c:v>42759</c:v>
                      </c:pt>
                      <c:pt idx="5744">
                        <c:v>42760</c:v>
                      </c:pt>
                      <c:pt idx="5745">
                        <c:v>42761</c:v>
                      </c:pt>
                      <c:pt idx="5746">
                        <c:v>42762</c:v>
                      </c:pt>
                      <c:pt idx="5747">
                        <c:v>42765</c:v>
                      </c:pt>
                      <c:pt idx="5748">
                        <c:v>42766</c:v>
                      </c:pt>
                      <c:pt idx="5749">
                        <c:v>42767</c:v>
                      </c:pt>
                      <c:pt idx="5750">
                        <c:v>42768</c:v>
                      </c:pt>
                      <c:pt idx="5751">
                        <c:v>42769</c:v>
                      </c:pt>
                      <c:pt idx="5752">
                        <c:v>42772</c:v>
                      </c:pt>
                      <c:pt idx="5753">
                        <c:v>42773</c:v>
                      </c:pt>
                      <c:pt idx="5754">
                        <c:v>42774</c:v>
                      </c:pt>
                      <c:pt idx="5755">
                        <c:v>42775</c:v>
                      </c:pt>
                      <c:pt idx="5756">
                        <c:v>42776</c:v>
                      </c:pt>
                      <c:pt idx="5757">
                        <c:v>42779</c:v>
                      </c:pt>
                      <c:pt idx="5758">
                        <c:v>42780</c:v>
                      </c:pt>
                      <c:pt idx="5759">
                        <c:v>42781</c:v>
                      </c:pt>
                      <c:pt idx="5760">
                        <c:v>42782</c:v>
                      </c:pt>
                      <c:pt idx="5761">
                        <c:v>42783</c:v>
                      </c:pt>
                      <c:pt idx="5762">
                        <c:v>42786</c:v>
                      </c:pt>
                      <c:pt idx="5763">
                        <c:v>42787</c:v>
                      </c:pt>
                      <c:pt idx="5764">
                        <c:v>42788</c:v>
                      </c:pt>
                      <c:pt idx="5765">
                        <c:v>42789</c:v>
                      </c:pt>
                      <c:pt idx="5766">
                        <c:v>42790</c:v>
                      </c:pt>
                      <c:pt idx="5767">
                        <c:v>42793</c:v>
                      </c:pt>
                      <c:pt idx="5768">
                        <c:v>42794</c:v>
                      </c:pt>
                      <c:pt idx="5769">
                        <c:v>42795</c:v>
                      </c:pt>
                      <c:pt idx="5770">
                        <c:v>42796</c:v>
                      </c:pt>
                      <c:pt idx="5771">
                        <c:v>42797</c:v>
                      </c:pt>
                      <c:pt idx="5772">
                        <c:v>42800</c:v>
                      </c:pt>
                      <c:pt idx="5773">
                        <c:v>42801</c:v>
                      </c:pt>
                      <c:pt idx="5774">
                        <c:v>42802</c:v>
                      </c:pt>
                      <c:pt idx="5775">
                        <c:v>42803</c:v>
                      </c:pt>
                      <c:pt idx="5776">
                        <c:v>42804</c:v>
                      </c:pt>
                      <c:pt idx="5777">
                        <c:v>42807</c:v>
                      </c:pt>
                      <c:pt idx="5778">
                        <c:v>42808</c:v>
                      </c:pt>
                      <c:pt idx="5779">
                        <c:v>42809</c:v>
                      </c:pt>
                      <c:pt idx="5780">
                        <c:v>42810</c:v>
                      </c:pt>
                      <c:pt idx="5781">
                        <c:v>42811</c:v>
                      </c:pt>
                      <c:pt idx="5782">
                        <c:v>42814</c:v>
                      </c:pt>
                      <c:pt idx="5783">
                        <c:v>42815</c:v>
                      </c:pt>
                      <c:pt idx="5784">
                        <c:v>42816</c:v>
                      </c:pt>
                      <c:pt idx="5785">
                        <c:v>42817</c:v>
                      </c:pt>
                      <c:pt idx="5786">
                        <c:v>42818</c:v>
                      </c:pt>
                      <c:pt idx="5787">
                        <c:v>42821</c:v>
                      </c:pt>
                      <c:pt idx="5788">
                        <c:v>42822</c:v>
                      </c:pt>
                      <c:pt idx="5789">
                        <c:v>42823</c:v>
                      </c:pt>
                      <c:pt idx="5790">
                        <c:v>42824</c:v>
                      </c:pt>
                      <c:pt idx="5791">
                        <c:v>42825</c:v>
                      </c:pt>
                      <c:pt idx="5792">
                        <c:v>42828</c:v>
                      </c:pt>
                      <c:pt idx="5793">
                        <c:v>42829</c:v>
                      </c:pt>
                      <c:pt idx="5794">
                        <c:v>42830</c:v>
                      </c:pt>
                      <c:pt idx="5795">
                        <c:v>42831</c:v>
                      </c:pt>
                      <c:pt idx="5796">
                        <c:v>42832</c:v>
                      </c:pt>
                      <c:pt idx="5797">
                        <c:v>42835</c:v>
                      </c:pt>
                      <c:pt idx="5798">
                        <c:v>42836</c:v>
                      </c:pt>
                      <c:pt idx="5799">
                        <c:v>42837</c:v>
                      </c:pt>
                      <c:pt idx="5800">
                        <c:v>42838</c:v>
                      </c:pt>
                      <c:pt idx="5801">
                        <c:v>42839</c:v>
                      </c:pt>
                      <c:pt idx="5802">
                        <c:v>42842</c:v>
                      </c:pt>
                      <c:pt idx="5803">
                        <c:v>42843</c:v>
                      </c:pt>
                      <c:pt idx="5804">
                        <c:v>42844</c:v>
                      </c:pt>
                      <c:pt idx="5805">
                        <c:v>42845</c:v>
                      </c:pt>
                      <c:pt idx="5806">
                        <c:v>42846</c:v>
                      </c:pt>
                      <c:pt idx="5807">
                        <c:v>42849</c:v>
                      </c:pt>
                      <c:pt idx="5808">
                        <c:v>42850</c:v>
                      </c:pt>
                      <c:pt idx="5809">
                        <c:v>42851</c:v>
                      </c:pt>
                      <c:pt idx="5810">
                        <c:v>42852</c:v>
                      </c:pt>
                      <c:pt idx="5811">
                        <c:v>42853</c:v>
                      </c:pt>
                      <c:pt idx="5812">
                        <c:v>42856</c:v>
                      </c:pt>
                      <c:pt idx="5813">
                        <c:v>42857</c:v>
                      </c:pt>
                      <c:pt idx="5814">
                        <c:v>42858</c:v>
                      </c:pt>
                      <c:pt idx="5815">
                        <c:v>42859</c:v>
                      </c:pt>
                      <c:pt idx="5816">
                        <c:v>42860</c:v>
                      </c:pt>
                      <c:pt idx="5817">
                        <c:v>42863</c:v>
                      </c:pt>
                      <c:pt idx="5818">
                        <c:v>42864</c:v>
                      </c:pt>
                      <c:pt idx="5819">
                        <c:v>42865</c:v>
                      </c:pt>
                      <c:pt idx="5820">
                        <c:v>42866</c:v>
                      </c:pt>
                      <c:pt idx="5821">
                        <c:v>42867</c:v>
                      </c:pt>
                      <c:pt idx="5822">
                        <c:v>42870</c:v>
                      </c:pt>
                      <c:pt idx="5823">
                        <c:v>42871</c:v>
                      </c:pt>
                      <c:pt idx="5824">
                        <c:v>42872</c:v>
                      </c:pt>
                      <c:pt idx="5825">
                        <c:v>42873</c:v>
                      </c:pt>
                      <c:pt idx="5826">
                        <c:v>42874</c:v>
                      </c:pt>
                      <c:pt idx="5827">
                        <c:v>42877</c:v>
                      </c:pt>
                      <c:pt idx="5828">
                        <c:v>42878</c:v>
                      </c:pt>
                      <c:pt idx="5829">
                        <c:v>42879</c:v>
                      </c:pt>
                      <c:pt idx="5830">
                        <c:v>42880</c:v>
                      </c:pt>
                      <c:pt idx="5831">
                        <c:v>42881</c:v>
                      </c:pt>
                      <c:pt idx="5832">
                        <c:v>42884</c:v>
                      </c:pt>
                      <c:pt idx="5833">
                        <c:v>42885</c:v>
                      </c:pt>
                      <c:pt idx="5834">
                        <c:v>42886</c:v>
                      </c:pt>
                      <c:pt idx="5835">
                        <c:v>42887</c:v>
                      </c:pt>
                      <c:pt idx="5836">
                        <c:v>42888</c:v>
                      </c:pt>
                      <c:pt idx="5837">
                        <c:v>42891</c:v>
                      </c:pt>
                      <c:pt idx="5838">
                        <c:v>42892</c:v>
                      </c:pt>
                      <c:pt idx="5839">
                        <c:v>42893</c:v>
                      </c:pt>
                      <c:pt idx="5840">
                        <c:v>42894</c:v>
                      </c:pt>
                      <c:pt idx="5841">
                        <c:v>42895</c:v>
                      </c:pt>
                      <c:pt idx="5842">
                        <c:v>42898</c:v>
                      </c:pt>
                      <c:pt idx="5843">
                        <c:v>42899</c:v>
                      </c:pt>
                      <c:pt idx="5844">
                        <c:v>42900</c:v>
                      </c:pt>
                      <c:pt idx="5845">
                        <c:v>42901</c:v>
                      </c:pt>
                      <c:pt idx="5846">
                        <c:v>42902</c:v>
                      </c:pt>
                      <c:pt idx="5847">
                        <c:v>42905</c:v>
                      </c:pt>
                      <c:pt idx="5848">
                        <c:v>42906</c:v>
                      </c:pt>
                      <c:pt idx="5849">
                        <c:v>42907</c:v>
                      </c:pt>
                      <c:pt idx="5850">
                        <c:v>42908</c:v>
                      </c:pt>
                      <c:pt idx="5851">
                        <c:v>42909</c:v>
                      </c:pt>
                      <c:pt idx="5852">
                        <c:v>42912</c:v>
                      </c:pt>
                      <c:pt idx="5853">
                        <c:v>42913</c:v>
                      </c:pt>
                      <c:pt idx="5854">
                        <c:v>42914</c:v>
                      </c:pt>
                      <c:pt idx="5855">
                        <c:v>42915</c:v>
                      </c:pt>
                      <c:pt idx="5856">
                        <c:v>42916</c:v>
                      </c:pt>
                      <c:pt idx="5857">
                        <c:v>42919</c:v>
                      </c:pt>
                      <c:pt idx="5858">
                        <c:v>42920</c:v>
                      </c:pt>
                      <c:pt idx="5859">
                        <c:v>42921</c:v>
                      </c:pt>
                      <c:pt idx="5860">
                        <c:v>42922</c:v>
                      </c:pt>
                      <c:pt idx="5861">
                        <c:v>42923</c:v>
                      </c:pt>
                      <c:pt idx="5862">
                        <c:v>42926</c:v>
                      </c:pt>
                      <c:pt idx="5863">
                        <c:v>42927</c:v>
                      </c:pt>
                      <c:pt idx="5864">
                        <c:v>42928</c:v>
                      </c:pt>
                      <c:pt idx="5865">
                        <c:v>42929</c:v>
                      </c:pt>
                      <c:pt idx="5866">
                        <c:v>42930</c:v>
                      </c:pt>
                      <c:pt idx="5867">
                        <c:v>42933</c:v>
                      </c:pt>
                      <c:pt idx="5868">
                        <c:v>42934</c:v>
                      </c:pt>
                      <c:pt idx="5869">
                        <c:v>42935</c:v>
                      </c:pt>
                      <c:pt idx="5870">
                        <c:v>42936</c:v>
                      </c:pt>
                      <c:pt idx="5871">
                        <c:v>42937</c:v>
                      </c:pt>
                      <c:pt idx="5872">
                        <c:v>42940</c:v>
                      </c:pt>
                      <c:pt idx="5873">
                        <c:v>42941</c:v>
                      </c:pt>
                      <c:pt idx="5874">
                        <c:v>42942</c:v>
                      </c:pt>
                      <c:pt idx="5875">
                        <c:v>42943</c:v>
                      </c:pt>
                      <c:pt idx="5876">
                        <c:v>42944</c:v>
                      </c:pt>
                      <c:pt idx="5877">
                        <c:v>42947</c:v>
                      </c:pt>
                      <c:pt idx="5878">
                        <c:v>42948</c:v>
                      </c:pt>
                      <c:pt idx="5879">
                        <c:v>42949</c:v>
                      </c:pt>
                      <c:pt idx="5880">
                        <c:v>42950</c:v>
                      </c:pt>
                      <c:pt idx="5881">
                        <c:v>42951</c:v>
                      </c:pt>
                      <c:pt idx="5882">
                        <c:v>42954</c:v>
                      </c:pt>
                      <c:pt idx="5883">
                        <c:v>42955</c:v>
                      </c:pt>
                      <c:pt idx="5884">
                        <c:v>42956</c:v>
                      </c:pt>
                      <c:pt idx="5885">
                        <c:v>42957</c:v>
                      </c:pt>
                      <c:pt idx="5886">
                        <c:v>42958</c:v>
                      </c:pt>
                      <c:pt idx="5887">
                        <c:v>42961</c:v>
                      </c:pt>
                      <c:pt idx="5888">
                        <c:v>42962</c:v>
                      </c:pt>
                      <c:pt idx="5889">
                        <c:v>42963</c:v>
                      </c:pt>
                      <c:pt idx="5890">
                        <c:v>42964</c:v>
                      </c:pt>
                      <c:pt idx="5891">
                        <c:v>42965</c:v>
                      </c:pt>
                      <c:pt idx="5892">
                        <c:v>42968</c:v>
                      </c:pt>
                      <c:pt idx="5893">
                        <c:v>42969</c:v>
                      </c:pt>
                      <c:pt idx="5894">
                        <c:v>42970</c:v>
                      </c:pt>
                      <c:pt idx="5895">
                        <c:v>42971</c:v>
                      </c:pt>
                      <c:pt idx="5896">
                        <c:v>42972</c:v>
                      </c:pt>
                      <c:pt idx="5897">
                        <c:v>42975</c:v>
                      </c:pt>
                      <c:pt idx="5898">
                        <c:v>42976</c:v>
                      </c:pt>
                      <c:pt idx="5899">
                        <c:v>42977</c:v>
                      </c:pt>
                      <c:pt idx="5900">
                        <c:v>42978</c:v>
                      </c:pt>
                      <c:pt idx="5901">
                        <c:v>42979</c:v>
                      </c:pt>
                      <c:pt idx="5902">
                        <c:v>42982</c:v>
                      </c:pt>
                      <c:pt idx="5903">
                        <c:v>42983</c:v>
                      </c:pt>
                      <c:pt idx="5904">
                        <c:v>42984</c:v>
                      </c:pt>
                      <c:pt idx="5905">
                        <c:v>42985</c:v>
                      </c:pt>
                      <c:pt idx="5906">
                        <c:v>42986</c:v>
                      </c:pt>
                      <c:pt idx="5907">
                        <c:v>42989</c:v>
                      </c:pt>
                      <c:pt idx="5908">
                        <c:v>42990</c:v>
                      </c:pt>
                      <c:pt idx="5909">
                        <c:v>42991</c:v>
                      </c:pt>
                      <c:pt idx="5910">
                        <c:v>42992</c:v>
                      </c:pt>
                      <c:pt idx="5911">
                        <c:v>42993</c:v>
                      </c:pt>
                      <c:pt idx="5912">
                        <c:v>42996</c:v>
                      </c:pt>
                      <c:pt idx="5913">
                        <c:v>42997</c:v>
                      </c:pt>
                      <c:pt idx="5914">
                        <c:v>42998</c:v>
                      </c:pt>
                      <c:pt idx="5915">
                        <c:v>42999</c:v>
                      </c:pt>
                      <c:pt idx="5916">
                        <c:v>43000</c:v>
                      </c:pt>
                      <c:pt idx="5917">
                        <c:v>43003</c:v>
                      </c:pt>
                      <c:pt idx="5918">
                        <c:v>43004</c:v>
                      </c:pt>
                      <c:pt idx="5919">
                        <c:v>43005</c:v>
                      </c:pt>
                      <c:pt idx="5920">
                        <c:v>43006</c:v>
                      </c:pt>
                      <c:pt idx="5921">
                        <c:v>43007</c:v>
                      </c:pt>
                      <c:pt idx="5922">
                        <c:v>43010</c:v>
                      </c:pt>
                      <c:pt idx="5923">
                        <c:v>43011</c:v>
                      </c:pt>
                      <c:pt idx="5924">
                        <c:v>43012</c:v>
                      </c:pt>
                      <c:pt idx="5925">
                        <c:v>43013</c:v>
                      </c:pt>
                      <c:pt idx="5926">
                        <c:v>43014</c:v>
                      </c:pt>
                      <c:pt idx="5927">
                        <c:v>43017</c:v>
                      </c:pt>
                      <c:pt idx="5928">
                        <c:v>43018</c:v>
                      </c:pt>
                      <c:pt idx="5929">
                        <c:v>43019</c:v>
                      </c:pt>
                      <c:pt idx="5930">
                        <c:v>43020</c:v>
                      </c:pt>
                      <c:pt idx="5931">
                        <c:v>43021</c:v>
                      </c:pt>
                      <c:pt idx="5932">
                        <c:v>43024</c:v>
                      </c:pt>
                      <c:pt idx="5933">
                        <c:v>43025</c:v>
                      </c:pt>
                      <c:pt idx="5934">
                        <c:v>43026</c:v>
                      </c:pt>
                      <c:pt idx="5935">
                        <c:v>43027</c:v>
                      </c:pt>
                      <c:pt idx="5936">
                        <c:v>43028</c:v>
                      </c:pt>
                      <c:pt idx="5937">
                        <c:v>43031</c:v>
                      </c:pt>
                      <c:pt idx="5938">
                        <c:v>43032</c:v>
                      </c:pt>
                      <c:pt idx="5939">
                        <c:v>43033</c:v>
                      </c:pt>
                      <c:pt idx="5940">
                        <c:v>43034</c:v>
                      </c:pt>
                      <c:pt idx="5941">
                        <c:v>43035</c:v>
                      </c:pt>
                      <c:pt idx="5942">
                        <c:v>43038</c:v>
                      </c:pt>
                      <c:pt idx="5943">
                        <c:v>43039</c:v>
                      </c:pt>
                      <c:pt idx="5944">
                        <c:v>43040</c:v>
                      </c:pt>
                      <c:pt idx="5945">
                        <c:v>43041</c:v>
                      </c:pt>
                      <c:pt idx="5946">
                        <c:v>43042</c:v>
                      </c:pt>
                      <c:pt idx="5947">
                        <c:v>43045</c:v>
                      </c:pt>
                      <c:pt idx="5948">
                        <c:v>43046</c:v>
                      </c:pt>
                      <c:pt idx="5949">
                        <c:v>43047</c:v>
                      </c:pt>
                      <c:pt idx="5950">
                        <c:v>43048</c:v>
                      </c:pt>
                      <c:pt idx="5951">
                        <c:v>43049</c:v>
                      </c:pt>
                      <c:pt idx="5952">
                        <c:v>43052</c:v>
                      </c:pt>
                      <c:pt idx="5953">
                        <c:v>43053</c:v>
                      </c:pt>
                      <c:pt idx="5954">
                        <c:v>43054</c:v>
                      </c:pt>
                      <c:pt idx="5955">
                        <c:v>43055</c:v>
                      </c:pt>
                      <c:pt idx="5956">
                        <c:v>43056</c:v>
                      </c:pt>
                      <c:pt idx="5957">
                        <c:v>43059</c:v>
                      </c:pt>
                      <c:pt idx="5958">
                        <c:v>43060</c:v>
                      </c:pt>
                      <c:pt idx="5959">
                        <c:v>43061</c:v>
                      </c:pt>
                      <c:pt idx="5960">
                        <c:v>43062</c:v>
                      </c:pt>
                      <c:pt idx="5961">
                        <c:v>43063</c:v>
                      </c:pt>
                      <c:pt idx="5962">
                        <c:v>43066</c:v>
                      </c:pt>
                      <c:pt idx="5963">
                        <c:v>43067</c:v>
                      </c:pt>
                      <c:pt idx="5964">
                        <c:v>43068</c:v>
                      </c:pt>
                      <c:pt idx="5965">
                        <c:v>43069</c:v>
                      </c:pt>
                      <c:pt idx="5966">
                        <c:v>43070</c:v>
                      </c:pt>
                      <c:pt idx="5967">
                        <c:v>43073</c:v>
                      </c:pt>
                      <c:pt idx="5968">
                        <c:v>43074</c:v>
                      </c:pt>
                      <c:pt idx="5969">
                        <c:v>43075</c:v>
                      </c:pt>
                      <c:pt idx="5970">
                        <c:v>43076</c:v>
                      </c:pt>
                      <c:pt idx="5971">
                        <c:v>43077</c:v>
                      </c:pt>
                      <c:pt idx="5972">
                        <c:v>43080</c:v>
                      </c:pt>
                      <c:pt idx="5973">
                        <c:v>43081</c:v>
                      </c:pt>
                      <c:pt idx="5974">
                        <c:v>43082</c:v>
                      </c:pt>
                      <c:pt idx="5975">
                        <c:v>43083</c:v>
                      </c:pt>
                      <c:pt idx="5976">
                        <c:v>43084</c:v>
                      </c:pt>
                      <c:pt idx="5977">
                        <c:v>43087</c:v>
                      </c:pt>
                      <c:pt idx="5978">
                        <c:v>43088</c:v>
                      </c:pt>
                      <c:pt idx="5979">
                        <c:v>43089</c:v>
                      </c:pt>
                      <c:pt idx="5980">
                        <c:v>43090</c:v>
                      </c:pt>
                      <c:pt idx="5981">
                        <c:v>43091</c:v>
                      </c:pt>
                      <c:pt idx="5982">
                        <c:v>43094</c:v>
                      </c:pt>
                      <c:pt idx="5983">
                        <c:v>43095</c:v>
                      </c:pt>
                      <c:pt idx="5984">
                        <c:v>43096</c:v>
                      </c:pt>
                      <c:pt idx="5985">
                        <c:v>43097</c:v>
                      </c:pt>
                      <c:pt idx="5986">
                        <c:v>43098</c:v>
                      </c:pt>
                      <c:pt idx="5987">
                        <c:v>43101</c:v>
                      </c:pt>
                      <c:pt idx="5988">
                        <c:v>43102</c:v>
                      </c:pt>
                      <c:pt idx="5989">
                        <c:v>43103</c:v>
                      </c:pt>
                      <c:pt idx="5990">
                        <c:v>43104</c:v>
                      </c:pt>
                      <c:pt idx="5991">
                        <c:v>43105</c:v>
                      </c:pt>
                      <c:pt idx="5992">
                        <c:v>43108</c:v>
                      </c:pt>
                      <c:pt idx="5993">
                        <c:v>43109</c:v>
                      </c:pt>
                      <c:pt idx="5994">
                        <c:v>43110</c:v>
                      </c:pt>
                      <c:pt idx="5995">
                        <c:v>43111</c:v>
                      </c:pt>
                      <c:pt idx="5996">
                        <c:v>43112</c:v>
                      </c:pt>
                      <c:pt idx="5997">
                        <c:v>43115</c:v>
                      </c:pt>
                      <c:pt idx="5998">
                        <c:v>43116</c:v>
                      </c:pt>
                      <c:pt idx="5999">
                        <c:v>43117</c:v>
                      </c:pt>
                      <c:pt idx="6000">
                        <c:v>43118</c:v>
                      </c:pt>
                      <c:pt idx="6001">
                        <c:v>43119</c:v>
                      </c:pt>
                      <c:pt idx="6002">
                        <c:v>43122</c:v>
                      </c:pt>
                      <c:pt idx="6003">
                        <c:v>43123</c:v>
                      </c:pt>
                      <c:pt idx="6004">
                        <c:v>43124</c:v>
                      </c:pt>
                      <c:pt idx="6005">
                        <c:v>43125</c:v>
                      </c:pt>
                      <c:pt idx="6006">
                        <c:v>43126</c:v>
                      </c:pt>
                      <c:pt idx="6007">
                        <c:v>43129</c:v>
                      </c:pt>
                      <c:pt idx="6008">
                        <c:v>43130</c:v>
                      </c:pt>
                      <c:pt idx="6009">
                        <c:v>43131</c:v>
                      </c:pt>
                      <c:pt idx="6010">
                        <c:v>43132</c:v>
                      </c:pt>
                      <c:pt idx="6011">
                        <c:v>43133</c:v>
                      </c:pt>
                      <c:pt idx="6012">
                        <c:v>43136</c:v>
                      </c:pt>
                      <c:pt idx="6013">
                        <c:v>43137</c:v>
                      </c:pt>
                      <c:pt idx="6014">
                        <c:v>43138</c:v>
                      </c:pt>
                      <c:pt idx="6015">
                        <c:v>43139</c:v>
                      </c:pt>
                      <c:pt idx="6016">
                        <c:v>43140</c:v>
                      </c:pt>
                      <c:pt idx="6017">
                        <c:v>43143</c:v>
                      </c:pt>
                      <c:pt idx="6018">
                        <c:v>43144</c:v>
                      </c:pt>
                      <c:pt idx="6019">
                        <c:v>43145</c:v>
                      </c:pt>
                      <c:pt idx="6020">
                        <c:v>43146</c:v>
                      </c:pt>
                      <c:pt idx="6021">
                        <c:v>43147</c:v>
                      </c:pt>
                      <c:pt idx="6022">
                        <c:v>43150</c:v>
                      </c:pt>
                      <c:pt idx="6023">
                        <c:v>43151</c:v>
                      </c:pt>
                      <c:pt idx="6024">
                        <c:v>43152</c:v>
                      </c:pt>
                      <c:pt idx="6025">
                        <c:v>43153</c:v>
                      </c:pt>
                      <c:pt idx="6026">
                        <c:v>43154</c:v>
                      </c:pt>
                      <c:pt idx="6027">
                        <c:v>43157</c:v>
                      </c:pt>
                      <c:pt idx="6028">
                        <c:v>43158</c:v>
                      </c:pt>
                      <c:pt idx="6029">
                        <c:v>43159</c:v>
                      </c:pt>
                      <c:pt idx="6030">
                        <c:v>43160</c:v>
                      </c:pt>
                      <c:pt idx="6031">
                        <c:v>43161</c:v>
                      </c:pt>
                      <c:pt idx="6032">
                        <c:v>43164</c:v>
                      </c:pt>
                      <c:pt idx="6033">
                        <c:v>43165</c:v>
                      </c:pt>
                      <c:pt idx="6034">
                        <c:v>43166</c:v>
                      </c:pt>
                      <c:pt idx="6035">
                        <c:v>43167</c:v>
                      </c:pt>
                      <c:pt idx="6036">
                        <c:v>43168</c:v>
                      </c:pt>
                      <c:pt idx="6037">
                        <c:v>43171</c:v>
                      </c:pt>
                      <c:pt idx="6038">
                        <c:v>43172</c:v>
                      </c:pt>
                      <c:pt idx="6039">
                        <c:v>43173</c:v>
                      </c:pt>
                      <c:pt idx="6040">
                        <c:v>43174</c:v>
                      </c:pt>
                      <c:pt idx="6041">
                        <c:v>43175</c:v>
                      </c:pt>
                      <c:pt idx="6042">
                        <c:v>43178</c:v>
                      </c:pt>
                      <c:pt idx="6043">
                        <c:v>43179</c:v>
                      </c:pt>
                      <c:pt idx="6044">
                        <c:v>43180</c:v>
                      </c:pt>
                      <c:pt idx="6045">
                        <c:v>43181</c:v>
                      </c:pt>
                      <c:pt idx="6046">
                        <c:v>43182</c:v>
                      </c:pt>
                      <c:pt idx="6047">
                        <c:v>43185</c:v>
                      </c:pt>
                      <c:pt idx="6048">
                        <c:v>43186</c:v>
                      </c:pt>
                      <c:pt idx="6049">
                        <c:v>43187</c:v>
                      </c:pt>
                      <c:pt idx="6050">
                        <c:v>43188</c:v>
                      </c:pt>
                      <c:pt idx="6051">
                        <c:v>43189</c:v>
                      </c:pt>
                      <c:pt idx="6052">
                        <c:v>43192</c:v>
                      </c:pt>
                      <c:pt idx="6053">
                        <c:v>43193</c:v>
                      </c:pt>
                      <c:pt idx="6054">
                        <c:v>43194</c:v>
                      </c:pt>
                      <c:pt idx="6055">
                        <c:v>43195</c:v>
                      </c:pt>
                      <c:pt idx="6056">
                        <c:v>43196</c:v>
                      </c:pt>
                      <c:pt idx="6057">
                        <c:v>43199</c:v>
                      </c:pt>
                      <c:pt idx="6058">
                        <c:v>43200</c:v>
                      </c:pt>
                      <c:pt idx="6059">
                        <c:v>43201</c:v>
                      </c:pt>
                      <c:pt idx="6060">
                        <c:v>43202</c:v>
                      </c:pt>
                      <c:pt idx="6061">
                        <c:v>43203</c:v>
                      </c:pt>
                      <c:pt idx="6062">
                        <c:v>43206</c:v>
                      </c:pt>
                      <c:pt idx="6063">
                        <c:v>43207</c:v>
                      </c:pt>
                      <c:pt idx="6064">
                        <c:v>43208</c:v>
                      </c:pt>
                      <c:pt idx="6065">
                        <c:v>43209</c:v>
                      </c:pt>
                      <c:pt idx="6066">
                        <c:v>43210</c:v>
                      </c:pt>
                      <c:pt idx="6067">
                        <c:v>43213</c:v>
                      </c:pt>
                      <c:pt idx="6068">
                        <c:v>43214</c:v>
                      </c:pt>
                      <c:pt idx="6069">
                        <c:v>43215</c:v>
                      </c:pt>
                      <c:pt idx="6070">
                        <c:v>43216</c:v>
                      </c:pt>
                      <c:pt idx="6071">
                        <c:v>43217</c:v>
                      </c:pt>
                      <c:pt idx="6072">
                        <c:v>43220</c:v>
                      </c:pt>
                      <c:pt idx="6073">
                        <c:v>43221</c:v>
                      </c:pt>
                      <c:pt idx="6074">
                        <c:v>43222</c:v>
                      </c:pt>
                      <c:pt idx="6075">
                        <c:v>43223</c:v>
                      </c:pt>
                      <c:pt idx="6076">
                        <c:v>43224</c:v>
                      </c:pt>
                      <c:pt idx="6077">
                        <c:v>43227</c:v>
                      </c:pt>
                      <c:pt idx="6078">
                        <c:v>43228</c:v>
                      </c:pt>
                      <c:pt idx="6079">
                        <c:v>43229</c:v>
                      </c:pt>
                      <c:pt idx="6080">
                        <c:v>43230</c:v>
                      </c:pt>
                      <c:pt idx="6081">
                        <c:v>43231</c:v>
                      </c:pt>
                      <c:pt idx="6082">
                        <c:v>43234</c:v>
                      </c:pt>
                      <c:pt idx="6083">
                        <c:v>43235</c:v>
                      </c:pt>
                      <c:pt idx="6084">
                        <c:v>43236</c:v>
                      </c:pt>
                      <c:pt idx="6085">
                        <c:v>43237</c:v>
                      </c:pt>
                      <c:pt idx="6086">
                        <c:v>43238</c:v>
                      </c:pt>
                      <c:pt idx="6087">
                        <c:v>43241</c:v>
                      </c:pt>
                      <c:pt idx="6088">
                        <c:v>43242</c:v>
                      </c:pt>
                      <c:pt idx="6089">
                        <c:v>43243</c:v>
                      </c:pt>
                      <c:pt idx="6090">
                        <c:v>43244</c:v>
                      </c:pt>
                      <c:pt idx="6091">
                        <c:v>43245</c:v>
                      </c:pt>
                      <c:pt idx="6092">
                        <c:v>43248</c:v>
                      </c:pt>
                      <c:pt idx="6093">
                        <c:v>43249</c:v>
                      </c:pt>
                      <c:pt idx="6094">
                        <c:v>43250</c:v>
                      </c:pt>
                      <c:pt idx="6095">
                        <c:v>43251</c:v>
                      </c:pt>
                      <c:pt idx="6096">
                        <c:v>43252</c:v>
                      </c:pt>
                      <c:pt idx="6097">
                        <c:v>43255</c:v>
                      </c:pt>
                      <c:pt idx="6098">
                        <c:v>43256</c:v>
                      </c:pt>
                      <c:pt idx="6099">
                        <c:v>43257</c:v>
                      </c:pt>
                      <c:pt idx="6100">
                        <c:v>43258</c:v>
                      </c:pt>
                      <c:pt idx="6101">
                        <c:v>43259</c:v>
                      </c:pt>
                      <c:pt idx="6102">
                        <c:v>43262</c:v>
                      </c:pt>
                      <c:pt idx="6103">
                        <c:v>43263</c:v>
                      </c:pt>
                      <c:pt idx="6104">
                        <c:v>43264</c:v>
                      </c:pt>
                      <c:pt idx="6105">
                        <c:v>43265</c:v>
                      </c:pt>
                      <c:pt idx="6106">
                        <c:v>43266</c:v>
                      </c:pt>
                      <c:pt idx="6107">
                        <c:v>43269</c:v>
                      </c:pt>
                      <c:pt idx="6108">
                        <c:v>43270</c:v>
                      </c:pt>
                      <c:pt idx="6109">
                        <c:v>43271</c:v>
                      </c:pt>
                      <c:pt idx="6110">
                        <c:v>43272</c:v>
                      </c:pt>
                      <c:pt idx="6111">
                        <c:v>43273</c:v>
                      </c:pt>
                      <c:pt idx="6112">
                        <c:v>43276</c:v>
                      </c:pt>
                      <c:pt idx="6113">
                        <c:v>43277</c:v>
                      </c:pt>
                      <c:pt idx="6114">
                        <c:v>43278</c:v>
                      </c:pt>
                      <c:pt idx="6115">
                        <c:v>43279</c:v>
                      </c:pt>
                      <c:pt idx="6116">
                        <c:v>43280</c:v>
                      </c:pt>
                      <c:pt idx="6117">
                        <c:v>43283</c:v>
                      </c:pt>
                      <c:pt idx="6118">
                        <c:v>43284</c:v>
                      </c:pt>
                      <c:pt idx="6119">
                        <c:v>43285</c:v>
                      </c:pt>
                      <c:pt idx="6120">
                        <c:v>43286</c:v>
                      </c:pt>
                      <c:pt idx="6121">
                        <c:v>43287</c:v>
                      </c:pt>
                      <c:pt idx="6122">
                        <c:v>43290</c:v>
                      </c:pt>
                      <c:pt idx="6123">
                        <c:v>43291</c:v>
                      </c:pt>
                      <c:pt idx="6124">
                        <c:v>43292</c:v>
                      </c:pt>
                      <c:pt idx="6125">
                        <c:v>43293</c:v>
                      </c:pt>
                      <c:pt idx="6126">
                        <c:v>43294</c:v>
                      </c:pt>
                      <c:pt idx="6127">
                        <c:v>43297</c:v>
                      </c:pt>
                      <c:pt idx="6128">
                        <c:v>43298</c:v>
                      </c:pt>
                      <c:pt idx="6129">
                        <c:v>43299</c:v>
                      </c:pt>
                      <c:pt idx="6130">
                        <c:v>43300</c:v>
                      </c:pt>
                      <c:pt idx="6131">
                        <c:v>43301</c:v>
                      </c:pt>
                      <c:pt idx="6132">
                        <c:v>43304</c:v>
                      </c:pt>
                      <c:pt idx="6133">
                        <c:v>43305</c:v>
                      </c:pt>
                      <c:pt idx="6134">
                        <c:v>43306</c:v>
                      </c:pt>
                      <c:pt idx="6135">
                        <c:v>43307</c:v>
                      </c:pt>
                      <c:pt idx="6136">
                        <c:v>43308</c:v>
                      </c:pt>
                      <c:pt idx="6137">
                        <c:v>43311</c:v>
                      </c:pt>
                      <c:pt idx="6138">
                        <c:v>43312</c:v>
                      </c:pt>
                      <c:pt idx="6139">
                        <c:v>43313</c:v>
                      </c:pt>
                      <c:pt idx="6140">
                        <c:v>43314</c:v>
                      </c:pt>
                      <c:pt idx="6141">
                        <c:v>43315</c:v>
                      </c:pt>
                      <c:pt idx="6142">
                        <c:v>43318</c:v>
                      </c:pt>
                      <c:pt idx="6143">
                        <c:v>43319</c:v>
                      </c:pt>
                      <c:pt idx="6144">
                        <c:v>43320</c:v>
                      </c:pt>
                      <c:pt idx="6145">
                        <c:v>43321</c:v>
                      </c:pt>
                      <c:pt idx="6146">
                        <c:v>43322</c:v>
                      </c:pt>
                      <c:pt idx="6147">
                        <c:v>43325</c:v>
                      </c:pt>
                      <c:pt idx="6148">
                        <c:v>43326</c:v>
                      </c:pt>
                      <c:pt idx="6149">
                        <c:v>43327</c:v>
                      </c:pt>
                      <c:pt idx="6150">
                        <c:v>43328</c:v>
                      </c:pt>
                      <c:pt idx="6151">
                        <c:v>43329</c:v>
                      </c:pt>
                      <c:pt idx="6152">
                        <c:v>43332</c:v>
                      </c:pt>
                      <c:pt idx="6153">
                        <c:v>43333</c:v>
                      </c:pt>
                      <c:pt idx="6154">
                        <c:v>43334</c:v>
                      </c:pt>
                      <c:pt idx="6155">
                        <c:v>43335</c:v>
                      </c:pt>
                      <c:pt idx="6156">
                        <c:v>43336</c:v>
                      </c:pt>
                      <c:pt idx="6157">
                        <c:v>43339</c:v>
                      </c:pt>
                      <c:pt idx="6158">
                        <c:v>43340</c:v>
                      </c:pt>
                      <c:pt idx="6159">
                        <c:v>43341</c:v>
                      </c:pt>
                      <c:pt idx="6160">
                        <c:v>43342</c:v>
                      </c:pt>
                      <c:pt idx="6161">
                        <c:v>43343</c:v>
                      </c:pt>
                      <c:pt idx="6162">
                        <c:v>43346</c:v>
                      </c:pt>
                      <c:pt idx="6163">
                        <c:v>43347</c:v>
                      </c:pt>
                      <c:pt idx="6164">
                        <c:v>43348</c:v>
                      </c:pt>
                      <c:pt idx="6165">
                        <c:v>43349</c:v>
                      </c:pt>
                      <c:pt idx="6166">
                        <c:v>43350</c:v>
                      </c:pt>
                      <c:pt idx="6167">
                        <c:v>43353</c:v>
                      </c:pt>
                      <c:pt idx="6168">
                        <c:v>43354</c:v>
                      </c:pt>
                      <c:pt idx="6169">
                        <c:v>43355</c:v>
                      </c:pt>
                      <c:pt idx="6170">
                        <c:v>43356</c:v>
                      </c:pt>
                      <c:pt idx="6171">
                        <c:v>43357</c:v>
                      </c:pt>
                      <c:pt idx="6172">
                        <c:v>43360</c:v>
                      </c:pt>
                      <c:pt idx="6173">
                        <c:v>43361</c:v>
                      </c:pt>
                      <c:pt idx="6174">
                        <c:v>43362</c:v>
                      </c:pt>
                      <c:pt idx="6175">
                        <c:v>43363</c:v>
                      </c:pt>
                      <c:pt idx="6176">
                        <c:v>43364</c:v>
                      </c:pt>
                      <c:pt idx="6177">
                        <c:v>43367</c:v>
                      </c:pt>
                      <c:pt idx="6178">
                        <c:v>43368</c:v>
                      </c:pt>
                      <c:pt idx="6179">
                        <c:v>43369</c:v>
                      </c:pt>
                      <c:pt idx="6180">
                        <c:v>43370</c:v>
                      </c:pt>
                      <c:pt idx="6181">
                        <c:v>43371</c:v>
                      </c:pt>
                      <c:pt idx="6182">
                        <c:v>43374</c:v>
                      </c:pt>
                      <c:pt idx="6183">
                        <c:v>43375</c:v>
                      </c:pt>
                      <c:pt idx="6184">
                        <c:v>43376</c:v>
                      </c:pt>
                      <c:pt idx="6185">
                        <c:v>43377</c:v>
                      </c:pt>
                      <c:pt idx="6186">
                        <c:v>43378</c:v>
                      </c:pt>
                      <c:pt idx="6187">
                        <c:v>43381</c:v>
                      </c:pt>
                      <c:pt idx="6188">
                        <c:v>43382</c:v>
                      </c:pt>
                      <c:pt idx="6189">
                        <c:v>43383</c:v>
                      </c:pt>
                      <c:pt idx="6190">
                        <c:v>43384</c:v>
                      </c:pt>
                      <c:pt idx="6191">
                        <c:v>43385</c:v>
                      </c:pt>
                      <c:pt idx="6192">
                        <c:v>43388</c:v>
                      </c:pt>
                      <c:pt idx="6193">
                        <c:v>43389</c:v>
                      </c:pt>
                      <c:pt idx="6194">
                        <c:v>43390</c:v>
                      </c:pt>
                      <c:pt idx="6195">
                        <c:v>43391</c:v>
                      </c:pt>
                      <c:pt idx="6196">
                        <c:v>43392</c:v>
                      </c:pt>
                      <c:pt idx="6197">
                        <c:v>43395</c:v>
                      </c:pt>
                      <c:pt idx="6198">
                        <c:v>43396</c:v>
                      </c:pt>
                      <c:pt idx="6199">
                        <c:v>43397</c:v>
                      </c:pt>
                      <c:pt idx="6200">
                        <c:v>43398</c:v>
                      </c:pt>
                      <c:pt idx="6201">
                        <c:v>43399</c:v>
                      </c:pt>
                      <c:pt idx="6202">
                        <c:v>43402</c:v>
                      </c:pt>
                      <c:pt idx="6203">
                        <c:v>43403</c:v>
                      </c:pt>
                      <c:pt idx="6204">
                        <c:v>43404</c:v>
                      </c:pt>
                      <c:pt idx="6205">
                        <c:v>43405</c:v>
                      </c:pt>
                      <c:pt idx="6206">
                        <c:v>43406</c:v>
                      </c:pt>
                      <c:pt idx="6207">
                        <c:v>43409</c:v>
                      </c:pt>
                      <c:pt idx="6208">
                        <c:v>43410</c:v>
                      </c:pt>
                      <c:pt idx="6209">
                        <c:v>43411</c:v>
                      </c:pt>
                      <c:pt idx="6210">
                        <c:v>43412</c:v>
                      </c:pt>
                      <c:pt idx="6211">
                        <c:v>43413</c:v>
                      </c:pt>
                      <c:pt idx="6212">
                        <c:v>43416</c:v>
                      </c:pt>
                      <c:pt idx="6213">
                        <c:v>43417</c:v>
                      </c:pt>
                      <c:pt idx="6214">
                        <c:v>43418</c:v>
                      </c:pt>
                      <c:pt idx="6215">
                        <c:v>43419</c:v>
                      </c:pt>
                      <c:pt idx="6216">
                        <c:v>43420</c:v>
                      </c:pt>
                      <c:pt idx="6217">
                        <c:v>43423</c:v>
                      </c:pt>
                      <c:pt idx="6218">
                        <c:v>43424</c:v>
                      </c:pt>
                      <c:pt idx="6219">
                        <c:v>43425</c:v>
                      </c:pt>
                      <c:pt idx="6220">
                        <c:v>43426</c:v>
                      </c:pt>
                      <c:pt idx="6221">
                        <c:v>43427</c:v>
                      </c:pt>
                      <c:pt idx="6222">
                        <c:v>43430</c:v>
                      </c:pt>
                      <c:pt idx="6223">
                        <c:v>43431</c:v>
                      </c:pt>
                      <c:pt idx="6224">
                        <c:v>43432</c:v>
                      </c:pt>
                      <c:pt idx="6225">
                        <c:v>43433</c:v>
                      </c:pt>
                      <c:pt idx="6226">
                        <c:v>43434</c:v>
                      </c:pt>
                      <c:pt idx="6227">
                        <c:v>43437</c:v>
                      </c:pt>
                      <c:pt idx="6228">
                        <c:v>43438</c:v>
                      </c:pt>
                      <c:pt idx="6229">
                        <c:v>43439</c:v>
                      </c:pt>
                      <c:pt idx="6230">
                        <c:v>43440</c:v>
                      </c:pt>
                      <c:pt idx="6231">
                        <c:v>43441</c:v>
                      </c:pt>
                      <c:pt idx="6232">
                        <c:v>43444</c:v>
                      </c:pt>
                      <c:pt idx="6233">
                        <c:v>43445</c:v>
                      </c:pt>
                      <c:pt idx="6234">
                        <c:v>43446</c:v>
                      </c:pt>
                      <c:pt idx="6235">
                        <c:v>43447</c:v>
                      </c:pt>
                      <c:pt idx="6236">
                        <c:v>43448</c:v>
                      </c:pt>
                      <c:pt idx="6237">
                        <c:v>43451</c:v>
                      </c:pt>
                      <c:pt idx="6238">
                        <c:v>43452</c:v>
                      </c:pt>
                      <c:pt idx="6239">
                        <c:v>43453</c:v>
                      </c:pt>
                      <c:pt idx="6240">
                        <c:v>43454</c:v>
                      </c:pt>
                      <c:pt idx="6241">
                        <c:v>43455</c:v>
                      </c:pt>
                      <c:pt idx="6242">
                        <c:v>43458</c:v>
                      </c:pt>
                      <c:pt idx="6243">
                        <c:v>43459</c:v>
                      </c:pt>
                      <c:pt idx="6244">
                        <c:v>43460</c:v>
                      </c:pt>
                      <c:pt idx="6245">
                        <c:v>43461</c:v>
                      </c:pt>
                      <c:pt idx="6246">
                        <c:v>43462</c:v>
                      </c:pt>
                      <c:pt idx="6247">
                        <c:v>43465</c:v>
                      </c:pt>
                      <c:pt idx="6248">
                        <c:v>43466</c:v>
                      </c:pt>
                      <c:pt idx="6249">
                        <c:v>43467</c:v>
                      </c:pt>
                      <c:pt idx="6250">
                        <c:v>43468</c:v>
                      </c:pt>
                      <c:pt idx="6251">
                        <c:v>43469</c:v>
                      </c:pt>
                      <c:pt idx="6252">
                        <c:v>43472</c:v>
                      </c:pt>
                      <c:pt idx="6253">
                        <c:v>43473</c:v>
                      </c:pt>
                      <c:pt idx="6254">
                        <c:v>43474</c:v>
                      </c:pt>
                      <c:pt idx="6255">
                        <c:v>43475</c:v>
                      </c:pt>
                      <c:pt idx="6256">
                        <c:v>43476</c:v>
                      </c:pt>
                      <c:pt idx="6257">
                        <c:v>43479</c:v>
                      </c:pt>
                      <c:pt idx="6258">
                        <c:v>43480</c:v>
                      </c:pt>
                      <c:pt idx="6259">
                        <c:v>43481</c:v>
                      </c:pt>
                      <c:pt idx="6260">
                        <c:v>43482</c:v>
                      </c:pt>
                      <c:pt idx="6261">
                        <c:v>43483</c:v>
                      </c:pt>
                      <c:pt idx="6262">
                        <c:v>43486</c:v>
                      </c:pt>
                      <c:pt idx="6263">
                        <c:v>43487</c:v>
                      </c:pt>
                      <c:pt idx="6264">
                        <c:v>43488</c:v>
                      </c:pt>
                      <c:pt idx="6265">
                        <c:v>43489</c:v>
                      </c:pt>
                      <c:pt idx="6266">
                        <c:v>43490</c:v>
                      </c:pt>
                      <c:pt idx="6267">
                        <c:v>43493</c:v>
                      </c:pt>
                      <c:pt idx="6268">
                        <c:v>43494</c:v>
                      </c:pt>
                      <c:pt idx="6269">
                        <c:v>43495</c:v>
                      </c:pt>
                      <c:pt idx="6270">
                        <c:v>43496</c:v>
                      </c:pt>
                      <c:pt idx="6271">
                        <c:v>43497</c:v>
                      </c:pt>
                      <c:pt idx="6272">
                        <c:v>43500</c:v>
                      </c:pt>
                      <c:pt idx="6273">
                        <c:v>43501</c:v>
                      </c:pt>
                      <c:pt idx="6274">
                        <c:v>43502</c:v>
                      </c:pt>
                      <c:pt idx="6275">
                        <c:v>43503</c:v>
                      </c:pt>
                      <c:pt idx="6276">
                        <c:v>43504</c:v>
                      </c:pt>
                      <c:pt idx="6277">
                        <c:v>43507</c:v>
                      </c:pt>
                      <c:pt idx="6278">
                        <c:v>43508</c:v>
                      </c:pt>
                      <c:pt idx="6279">
                        <c:v>43509</c:v>
                      </c:pt>
                      <c:pt idx="6280">
                        <c:v>43510</c:v>
                      </c:pt>
                      <c:pt idx="6281">
                        <c:v>43511</c:v>
                      </c:pt>
                      <c:pt idx="6282">
                        <c:v>43514</c:v>
                      </c:pt>
                      <c:pt idx="6283">
                        <c:v>43515</c:v>
                      </c:pt>
                      <c:pt idx="6284">
                        <c:v>43516</c:v>
                      </c:pt>
                      <c:pt idx="6285">
                        <c:v>43517</c:v>
                      </c:pt>
                      <c:pt idx="6286">
                        <c:v>43518</c:v>
                      </c:pt>
                      <c:pt idx="6287">
                        <c:v>43521</c:v>
                      </c:pt>
                      <c:pt idx="6288">
                        <c:v>43522</c:v>
                      </c:pt>
                      <c:pt idx="6289">
                        <c:v>43523</c:v>
                      </c:pt>
                      <c:pt idx="6290">
                        <c:v>43524</c:v>
                      </c:pt>
                      <c:pt idx="6291">
                        <c:v>43525</c:v>
                      </c:pt>
                      <c:pt idx="6292">
                        <c:v>43528</c:v>
                      </c:pt>
                      <c:pt idx="6293">
                        <c:v>43529</c:v>
                      </c:pt>
                      <c:pt idx="6294">
                        <c:v>43530</c:v>
                      </c:pt>
                      <c:pt idx="6295">
                        <c:v>43531</c:v>
                      </c:pt>
                      <c:pt idx="6296">
                        <c:v>43532</c:v>
                      </c:pt>
                      <c:pt idx="6297">
                        <c:v>43535</c:v>
                      </c:pt>
                      <c:pt idx="6298">
                        <c:v>43536</c:v>
                      </c:pt>
                      <c:pt idx="6299">
                        <c:v>43537</c:v>
                      </c:pt>
                      <c:pt idx="6300">
                        <c:v>43538</c:v>
                      </c:pt>
                      <c:pt idx="6301">
                        <c:v>43539</c:v>
                      </c:pt>
                      <c:pt idx="6302">
                        <c:v>43542</c:v>
                      </c:pt>
                      <c:pt idx="6303">
                        <c:v>43543</c:v>
                      </c:pt>
                      <c:pt idx="6304">
                        <c:v>43544</c:v>
                      </c:pt>
                      <c:pt idx="6305">
                        <c:v>43545</c:v>
                      </c:pt>
                      <c:pt idx="6306">
                        <c:v>43546</c:v>
                      </c:pt>
                      <c:pt idx="6307">
                        <c:v>43549</c:v>
                      </c:pt>
                      <c:pt idx="6308">
                        <c:v>43550</c:v>
                      </c:pt>
                      <c:pt idx="6309">
                        <c:v>43551</c:v>
                      </c:pt>
                      <c:pt idx="6310">
                        <c:v>43552</c:v>
                      </c:pt>
                      <c:pt idx="6311">
                        <c:v>43553</c:v>
                      </c:pt>
                      <c:pt idx="6312">
                        <c:v>43556</c:v>
                      </c:pt>
                      <c:pt idx="6313">
                        <c:v>43557</c:v>
                      </c:pt>
                      <c:pt idx="6314">
                        <c:v>43558</c:v>
                      </c:pt>
                      <c:pt idx="6315">
                        <c:v>43559</c:v>
                      </c:pt>
                      <c:pt idx="6316">
                        <c:v>43560</c:v>
                      </c:pt>
                      <c:pt idx="6317">
                        <c:v>43563</c:v>
                      </c:pt>
                      <c:pt idx="6318">
                        <c:v>43564</c:v>
                      </c:pt>
                      <c:pt idx="6319">
                        <c:v>43565</c:v>
                      </c:pt>
                      <c:pt idx="6320">
                        <c:v>43566</c:v>
                      </c:pt>
                      <c:pt idx="6321">
                        <c:v>43567</c:v>
                      </c:pt>
                      <c:pt idx="6322">
                        <c:v>43570</c:v>
                      </c:pt>
                      <c:pt idx="6323">
                        <c:v>43571</c:v>
                      </c:pt>
                      <c:pt idx="6324">
                        <c:v>43572</c:v>
                      </c:pt>
                      <c:pt idx="6325">
                        <c:v>43573</c:v>
                      </c:pt>
                      <c:pt idx="6326">
                        <c:v>43574</c:v>
                      </c:pt>
                      <c:pt idx="6327">
                        <c:v>43577</c:v>
                      </c:pt>
                      <c:pt idx="6328">
                        <c:v>43578</c:v>
                      </c:pt>
                      <c:pt idx="6329">
                        <c:v>43579</c:v>
                      </c:pt>
                      <c:pt idx="6330">
                        <c:v>43580</c:v>
                      </c:pt>
                      <c:pt idx="6331">
                        <c:v>43581</c:v>
                      </c:pt>
                      <c:pt idx="6332">
                        <c:v>43584</c:v>
                      </c:pt>
                      <c:pt idx="6333">
                        <c:v>43585</c:v>
                      </c:pt>
                      <c:pt idx="6334">
                        <c:v>43586</c:v>
                      </c:pt>
                      <c:pt idx="6335">
                        <c:v>43587</c:v>
                      </c:pt>
                      <c:pt idx="6336">
                        <c:v>43588</c:v>
                      </c:pt>
                      <c:pt idx="6337">
                        <c:v>43591</c:v>
                      </c:pt>
                      <c:pt idx="6338">
                        <c:v>43592</c:v>
                      </c:pt>
                      <c:pt idx="6339">
                        <c:v>43593</c:v>
                      </c:pt>
                      <c:pt idx="6340">
                        <c:v>43594</c:v>
                      </c:pt>
                      <c:pt idx="6341">
                        <c:v>43595</c:v>
                      </c:pt>
                      <c:pt idx="6342">
                        <c:v>43598</c:v>
                      </c:pt>
                      <c:pt idx="6343">
                        <c:v>43599</c:v>
                      </c:pt>
                      <c:pt idx="6344">
                        <c:v>43600</c:v>
                      </c:pt>
                      <c:pt idx="6345">
                        <c:v>43601</c:v>
                      </c:pt>
                      <c:pt idx="6346">
                        <c:v>43602</c:v>
                      </c:pt>
                      <c:pt idx="6347">
                        <c:v>43605</c:v>
                      </c:pt>
                      <c:pt idx="6348">
                        <c:v>43606</c:v>
                      </c:pt>
                      <c:pt idx="6349">
                        <c:v>43607</c:v>
                      </c:pt>
                      <c:pt idx="6350">
                        <c:v>43608</c:v>
                      </c:pt>
                      <c:pt idx="6351">
                        <c:v>43609</c:v>
                      </c:pt>
                      <c:pt idx="6352">
                        <c:v>43612</c:v>
                      </c:pt>
                      <c:pt idx="6353">
                        <c:v>43613</c:v>
                      </c:pt>
                      <c:pt idx="6354">
                        <c:v>43614</c:v>
                      </c:pt>
                      <c:pt idx="6355">
                        <c:v>43615</c:v>
                      </c:pt>
                      <c:pt idx="6356">
                        <c:v>43616</c:v>
                      </c:pt>
                      <c:pt idx="6357">
                        <c:v>43619</c:v>
                      </c:pt>
                      <c:pt idx="6358">
                        <c:v>43620</c:v>
                      </c:pt>
                      <c:pt idx="6359">
                        <c:v>43621</c:v>
                      </c:pt>
                      <c:pt idx="6360">
                        <c:v>43622</c:v>
                      </c:pt>
                      <c:pt idx="6361">
                        <c:v>43623</c:v>
                      </c:pt>
                      <c:pt idx="6362">
                        <c:v>43626</c:v>
                      </c:pt>
                      <c:pt idx="6363">
                        <c:v>43627</c:v>
                      </c:pt>
                      <c:pt idx="6364">
                        <c:v>43628</c:v>
                      </c:pt>
                      <c:pt idx="6365">
                        <c:v>43629</c:v>
                      </c:pt>
                      <c:pt idx="6366">
                        <c:v>43630</c:v>
                      </c:pt>
                      <c:pt idx="6367">
                        <c:v>43633</c:v>
                      </c:pt>
                      <c:pt idx="6368">
                        <c:v>43634</c:v>
                      </c:pt>
                      <c:pt idx="6369">
                        <c:v>43635</c:v>
                      </c:pt>
                      <c:pt idx="6370">
                        <c:v>43636</c:v>
                      </c:pt>
                      <c:pt idx="6371">
                        <c:v>43637</c:v>
                      </c:pt>
                      <c:pt idx="6372">
                        <c:v>43640</c:v>
                      </c:pt>
                      <c:pt idx="6373">
                        <c:v>43641</c:v>
                      </c:pt>
                      <c:pt idx="6374">
                        <c:v>43642</c:v>
                      </c:pt>
                      <c:pt idx="6375">
                        <c:v>43643</c:v>
                      </c:pt>
                      <c:pt idx="6376">
                        <c:v>43644</c:v>
                      </c:pt>
                      <c:pt idx="6377">
                        <c:v>43647</c:v>
                      </c:pt>
                      <c:pt idx="6378">
                        <c:v>43648</c:v>
                      </c:pt>
                      <c:pt idx="6379">
                        <c:v>43649</c:v>
                      </c:pt>
                      <c:pt idx="6380">
                        <c:v>43650</c:v>
                      </c:pt>
                      <c:pt idx="6381">
                        <c:v>43651</c:v>
                      </c:pt>
                      <c:pt idx="6382">
                        <c:v>43654</c:v>
                      </c:pt>
                      <c:pt idx="6383">
                        <c:v>43655</c:v>
                      </c:pt>
                      <c:pt idx="6384">
                        <c:v>43656</c:v>
                      </c:pt>
                      <c:pt idx="6385">
                        <c:v>43657</c:v>
                      </c:pt>
                      <c:pt idx="6386">
                        <c:v>43658</c:v>
                      </c:pt>
                      <c:pt idx="6387">
                        <c:v>43661</c:v>
                      </c:pt>
                      <c:pt idx="6388">
                        <c:v>43662</c:v>
                      </c:pt>
                      <c:pt idx="6389">
                        <c:v>43663</c:v>
                      </c:pt>
                      <c:pt idx="6390">
                        <c:v>43664</c:v>
                      </c:pt>
                      <c:pt idx="6391">
                        <c:v>43665</c:v>
                      </c:pt>
                      <c:pt idx="6392">
                        <c:v>43668</c:v>
                      </c:pt>
                      <c:pt idx="6393">
                        <c:v>43669</c:v>
                      </c:pt>
                      <c:pt idx="6394">
                        <c:v>43670</c:v>
                      </c:pt>
                      <c:pt idx="6395">
                        <c:v>43671</c:v>
                      </c:pt>
                      <c:pt idx="6396">
                        <c:v>43672</c:v>
                      </c:pt>
                      <c:pt idx="6397">
                        <c:v>43675</c:v>
                      </c:pt>
                      <c:pt idx="6398">
                        <c:v>43676</c:v>
                      </c:pt>
                      <c:pt idx="6399">
                        <c:v>43677</c:v>
                      </c:pt>
                      <c:pt idx="6400">
                        <c:v>43678</c:v>
                      </c:pt>
                      <c:pt idx="6401">
                        <c:v>43679</c:v>
                      </c:pt>
                      <c:pt idx="6402">
                        <c:v>43682</c:v>
                      </c:pt>
                      <c:pt idx="6403">
                        <c:v>43683</c:v>
                      </c:pt>
                      <c:pt idx="6404">
                        <c:v>43684</c:v>
                      </c:pt>
                      <c:pt idx="6405">
                        <c:v>43685</c:v>
                      </c:pt>
                      <c:pt idx="6406">
                        <c:v>43686</c:v>
                      </c:pt>
                      <c:pt idx="6407">
                        <c:v>43689</c:v>
                      </c:pt>
                      <c:pt idx="6408">
                        <c:v>43690</c:v>
                      </c:pt>
                      <c:pt idx="6409">
                        <c:v>43691</c:v>
                      </c:pt>
                      <c:pt idx="6410">
                        <c:v>43692</c:v>
                      </c:pt>
                      <c:pt idx="6411">
                        <c:v>43693</c:v>
                      </c:pt>
                      <c:pt idx="6412">
                        <c:v>43696</c:v>
                      </c:pt>
                      <c:pt idx="6413">
                        <c:v>43697</c:v>
                      </c:pt>
                      <c:pt idx="6414">
                        <c:v>43698</c:v>
                      </c:pt>
                      <c:pt idx="6415">
                        <c:v>43699</c:v>
                      </c:pt>
                      <c:pt idx="6416">
                        <c:v>43700</c:v>
                      </c:pt>
                      <c:pt idx="6417">
                        <c:v>43703</c:v>
                      </c:pt>
                      <c:pt idx="6418">
                        <c:v>43704</c:v>
                      </c:pt>
                      <c:pt idx="6419">
                        <c:v>43705</c:v>
                      </c:pt>
                      <c:pt idx="6420">
                        <c:v>43706</c:v>
                      </c:pt>
                      <c:pt idx="6421">
                        <c:v>43707</c:v>
                      </c:pt>
                      <c:pt idx="6422">
                        <c:v>43710</c:v>
                      </c:pt>
                      <c:pt idx="6423">
                        <c:v>43711</c:v>
                      </c:pt>
                      <c:pt idx="6424">
                        <c:v>43712</c:v>
                      </c:pt>
                      <c:pt idx="6425">
                        <c:v>43713</c:v>
                      </c:pt>
                      <c:pt idx="6426">
                        <c:v>43714</c:v>
                      </c:pt>
                      <c:pt idx="6427">
                        <c:v>43717</c:v>
                      </c:pt>
                      <c:pt idx="6428">
                        <c:v>43718</c:v>
                      </c:pt>
                      <c:pt idx="6429">
                        <c:v>43719</c:v>
                      </c:pt>
                      <c:pt idx="6430">
                        <c:v>43720</c:v>
                      </c:pt>
                      <c:pt idx="6431">
                        <c:v>43721</c:v>
                      </c:pt>
                      <c:pt idx="6432">
                        <c:v>43724</c:v>
                      </c:pt>
                      <c:pt idx="6433">
                        <c:v>43725</c:v>
                      </c:pt>
                      <c:pt idx="6434">
                        <c:v>43726</c:v>
                      </c:pt>
                      <c:pt idx="6435">
                        <c:v>43727</c:v>
                      </c:pt>
                      <c:pt idx="6436">
                        <c:v>43728</c:v>
                      </c:pt>
                      <c:pt idx="6437">
                        <c:v>43731</c:v>
                      </c:pt>
                      <c:pt idx="6438">
                        <c:v>43732</c:v>
                      </c:pt>
                      <c:pt idx="6439">
                        <c:v>43733</c:v>
                      </c:pt>
                      <c:pt idx="6440">
                        <c:v>43734</c:v>
                      </c:pt>
                      <c:pt idx="6441">
                        <c:v>43735</c:v>
                      </c:pt>
                      <c:pt idx="6442">
                        <c:v>43738</c:v>
                      </c:pt>
                      <c:pt idx="6443">
                        <c:v>43739</c:v>
                      </c:pt>
                      <c:pt idx="6444">
                        <c:v>43740</c:v>
                      </c:pt>
                      <c:pt idx="6445">
                        <c:v>43741</c:v>
                      </c:pt>
                      <c:pt idx="6446">
                        <c:v>43742</c:v>
                      </c:pt>
                      <c:pt idx="6447">
                        <c:v>43745</c:v>
                      </c:pt>
                      <c:pt idx="6448">
                        <c:v>43746</c:v>
                      </c:pt>
                      <c:pt idx="6449">
                        <c:v>43747</c:v>
                      </c:pt>
                      <c:pt idx="6450">
                        <c:v>43748</c:v>
                      </c:pt>
                      <c:pt idx="6451">
                        <c:v>43749</c:v>
                      </c:pt>
                      <c:pt idx="6452">
                        <c:v>43752</c:v>
                      </c:pt>
                      <c:pt idx="6453">
                        <c:v>43753</c:v>
                      </c:pt>
                      <c:pt idx="6454">
                        <c:v>43754</c:v>
                      </c:pt>
                      <c:pt idx="6455">
                        <c:v>43755</c:v>
                      </c:pt>
                      <c:pt idx="6456">
                        <c:v>43756</c:v>
                      </c:pt>
                      <c:pt idx="6457">
                        <c:v>43759</c:v>
                      </c:pt>
                      <c:pt idx="6458">
                        <c:v>43760</c:v>
                      </c:pt>
                      <c:pt idx="6459">
                        <c:v>43761</c:v>
                      </c:pt>
                      <c:pt idx="6460">
                        <c:v>43762</c:v>
                      </c:pt>
                      <c:pt idx="6461">
                        <c:v>43763</c:v>
                      </c:pt>
                      <c:pt idx="6462">
                        <c:v>43766</c:v>
                      </c:pt>
                      <c:pt idx="6463">
                        <c:v>43767</c:v>
                      </c:pt>
                      <c:pt idx="6464">
                        <c:v>43768</c:v>
                      </c:pt>
                      <c:pt idx="6465">
                        <c:v>43769</c:v>
                      </c:pt>
                      <c:pt idx="6466">
                        <c:v>43770</c:v>
                      </c:pt>
                      <c:pt idx="6467">
                        <c:v>43773</c:v>
                      </c:pt>
                      <c:pt idx="6468">
                        <c:v>43774</c:v>
                      </c:pt>
                      <c:pt idx="6469">
                        <c:v>43775</c:v>
                      </c:pt>
                      <c:pt idx="6470">
                        <c:v>43776</c:v>
                      </c:pt>
                      <c:pt idx="6471">
                        <c:v>43777</c:v>
                      </c:pt>
                      <c:pt idx="6472">
                        <c:v>43780</c:v>
                      </c:pt>
                      <c:pt idx="6473">
                        <c:v>43781</c:v>
                      </c:pt>
                      <c:pt idx="6474">
                        <c:v>43782</c:v>
                      </c:pt>
                      <c:pt idx="6475">
                        <c:v>43783</c:v>
                      </c:pt>
                      <c:pt idx="6476">
                        <c:v>43784</c:v>
                      </c:pt>
                      <c:pt idx="6477">
                        <c:v>43787</c:v>
                      </c:pt>
                      <c:pt idx="6478">
                        <c:v>43788</c:v>
                      </c:pt>
                      <c:pt idx="6479">
                        <c:v>43789</c:v>
                      </c:pt>
                      <c:pt idx="6480">
                        <c:v>43790</c:v>
                      </c:pt>
                      <c:pt idx="6481">
                        <c:v>43791</c:v>
                      </c:pt>
                      <c:pt idx="6482">
                        <c:v>43794</c:v>
                      </c:pt>
                      <c:pt idx="6483">
                        <c:v>43795</c:v>
                      </c:pt>
                      <c:pt idx="6484">
                        <c:v>43796</c:v>
                      </c:pt>
                      <c:pt idx="6485">
                        <c:v>43797</c:v>
                      </c:pt>
                      <c:pt idx="6486">
                        <c:v>43798</c:v>
                      </c:pt>
                      <c:pt idx="6487">
                        <c:v>43801</c:v>
                      </c:pt>
                      <c:pt idx="6488">
                        <c:v>43802</c:v>
                      </c:pt>
                      <c:pt idx="6489">
                        <c:v>43803</c:v>
                      </c:pt>
                      <c:pt idx="6490">
                        <c:v>43804</c:v>
                      </c:pt>
                      <c:pt idx="6491">
                        <c:v>43805</c:v>
                      </c:pt>
                      <c:pt idx="6492">
                        <c:v>43808</c:v>
                      </c:pt>
                      <c:pt idx="6493">
                        <c:v>43809</c:v>
                      </c:pt>
                      <c:pt idx="6494">
                        <c:v>43810</c:v>
                      </c:pt>
                      <c:pt idx="6495">
                        <c:v>43811</c:v>
                      </c:pt>
                      <c:pt idx="6496">
                        <c:v>43812</c:v>
                      </c:pt>
                      <c:pt idx="6497">
                        <c:v>43815</c:v>
                      </c:pt>
                      <c:pt idx="6498">
                        <c:v>43816</c:v>
                      </c:pt>
                      <c:pt idx="6499">
                        <c:v>43817</c:v>
                      </c:pt>
                      <c:pt idx="6500">
                        <c:v>43818</c:v>
                      </c:pt>
                      <c:pt idx="6501">
                        <c:v>43819</c:v>
                      </c:pt>
                      <c:pt idx="6502">
                        <c:v>43822</c:v>
                      </c:pt>
                      <c:pt idx="6503">
                        <c:v>43823</c:v>
                      </c:pt>
                      <c:pt idx="6504">
                        <c:v>43824</c:v>
                      </c:pt>
                      <c:pt idx="6505">
                        <c:v>43825</c:v>
                      </c:pt>
                      <c:pt idx="6506">
                        <c:v>43826</c:v>
                      </c:pt>
                      <c:pt idx="6507">
                        <c:v>43829</c:v>
                      </c:pt>
                      <c:pt idx="6508">
                        <c:v>43830</c:v>
                      </c:pt>
                      <c:pt idx="6509">
                        <c:v>43831</c:v>
                      </c:pt>
                      <c:pt idx="6510">
                        <c:v>43832</c:v>
                      </c:pt>
                      <c:pt idx="6511">
                        <c:v>43833</c:v>
                      </c:pt>
                      <c:pt idx="6512">
                        <c:v>43836</c:v>
                      </c:pt>
                      <c:pt idx="6513">
                        <c:v>43837</c:v>
                      </c:pt>
                      <c:pt idx="6514">
                        <c:v>43838</c:v>
                      </c:pt>
                      <c:pt idx="6515">
                        <c:v>43839</c:v>
                      </c:pt>
                      <c:pt idx="6516">
                        <c:v>43840</c:v>
                      </c:pt>
                      <c:pt idx="6517">
                        <c:v>43843</c:v>
                      </c:pt>
                      <c:pt idx="6518">
                        <c:v>43844</c:v>
                      </c:pt>
                      <c:pt idx="6519">
                        <c:v>43845</c:v>
                      </c:pt>
                      <c:pt idx="6520">
                        <c:v>43846</c:v>
                      </c:pt>
                      <c:pt idx="6521">
                        <c:v>43847</c:v>
                      </c:pt>
                      <c:pt idx="6522">
                        <c:v>43850</c:v>
                      </c:pt>
                      <c:pt idx="6523">
                        <c:v>43851</c:v>
                      </c:pt>
                      <c:pt idx="6524">
                        <c:v>43852</c:v>
                      </c:pt>
                      <c:pt idx="6525">
                        <c:v>43853</c:v>
                      </c:pt>
                      <c:pt idx="6526">
                        <c:v>43854</c:v>
                      </c:pt>
                      <c:pt idx="6527">
                        <c:v>43857</c:v>
                      </c:pt>
                      <c:pt idx="6528">
                        <c:v>43858</c:v>
                      </c:pt>
                      <c:pt idx="6529">
                        <c:v>43859</c:v>
                      </c:pt>
                      <c:pt idx="6530">
                        <c:v>43860</c:v>
                      </c:pt>
                      <c:pt idx="6531">
                        <c:v>43861</c:v>
                      </c:pt>
                      <c:pt idx="6532">
                        <c:v>43864</c:v>
                      </c:pt>
                      <c:pt idx="6533">
                        <c:v>43865</c:v>
                      </c:pt>
                      <c:pt idx="6534">
                        <c:v>43866</c:v>
                      </c:pt>
                      <c:pt idx="6535">
                        <c:v>43867</c:v>
                      </c:pt>
                      <c:pt idx="6536">
                        <c:v>43868</c:v>
                      </c:pt>
                      <c:pt idx="6537">
                        <c:v>43871</c:v>
                      </c:pt>
                      <c:pt idx="6538">
                        <c:v>43872</c:v>
                      </c:pt>
                      <c:pt idx="6539">
                        <c:v>43873</c:v>
                      </c:pt>
                      <c:pt idx="6540">
                        <c:v>43874</c:v>
                      </c:pt>
                      <c:pt idx="6541">
                        <c:v>43875</c:v>
                      </c:pt>
                      <c:pt idx="6542">
                        <c:v>43878</c:v>
                      </c:pt>
                      <c:pt idx="6543">
                        <c:v>43879</c:v>
                      </c:pt>
                      <c:pt idx="6544">
                        <c:v>43880</c:v>
                      </c:pt>
                      <c:pt idx="6545">
                        <c:v>43881</c:v>
                      </c:pt>
                      <c:pt idx="6546">
                        <c:v>43882</c:v>
                      </c:pt>
                      <c:pt idx="6547">
                        <c:v>43885</c:v>
                      </c:pt>
                      <c:pt idx="6548">
                        <c:v>43886</c:v>
                      </c:pt>
                      <c:pt idx="6549">
                        <c:v>43887</c:v>
                      </c:pt>
                      <c:pt idx="6550">
                        <c:v>43888</c:v>
                      </c:pt>
                      <c:pt idx="6551">
                        <c:v>43889</c:v>
                      </c:pt>
                      <c:pt idx="6552">
                        <c:v>43892</c:v>
                      </c:pt>
                      <c:pt idx="6553">
                        <c:v>43893</c:v>
                      </c:pt>
                      <c:pt idx="6554">
                        <c:v>43894</c:v>
                      </c:pt>
                      <c:pt idx="6555">
                        <c:v>43895</c:v>
                      </c:pt>
                      <c:pt idx="6556">
                        <c:v>43896</c:v>
                      </c:pt>
                      <c:pt idx="6557">
                        <c:v>43899</c:v>
                      </c:pt>
                      <c:pt idx="6558">
                        <c:v>43900</c:v>
                      </c:pt>
                      <c:pt idx="6559">
                        <c:v>43901</c:v>
                      </c:pt>
                      <c:pt idx="6560">
                        <c:v>43902</c:v>
                      </c:pt>
                      <c:pt idx="6561">
                        <c:v>43903</c:v>
                      </c:pt>
                      <c:pt idx="6562">
                        <c:v>43906</c:v>
                      </c:pt>
                      <c:pt idx="6563">
                        <c:v>43907</c:v>
                      </c:pt>
                      <c:pt idx="6564">
                        <c:v>43908</c:v>
                      </c:pt>
                      <c:pt idx="6565">
                        <c:v>43909</c:v>
                      </c:pt>
                      <c:pt idx="6566">
                        <c:v>43910</c:v>
                      </c:pt>
                      <c:pt idx="6567">
                        <c:v>43913</c:v>
                      </c:pt>
                      <c:pt idx="6568">
                        <c:v>43914</c:v>
                      </c:pt>
                      <c:pt idx="6569">
                        <c:v>43915</c:v>
                      </c:pt>
                      <c:pt idx="6570">
                        <c:v>43916</c:v>
                      </c:pt>
                      <c:pt idx="6571">
                        <c:v>43917</c:v>
                      </c:pt>
                      <c:pt idx="6572">
                        <c:v>43920</c:v>
                      </c:pt>
                      <c:pt idx="6573">
                        <c:v>43921</c:v>
                      </c:pt>
                      <c:pt idx="6574">
                        <c:v>43922</c:v>
                      </c:pt>
                      <c:pt idx="6575">
                        <c:v>43923</c:v>
                      </c:pt>
                      <c:pt idx="6576">
                        <c:v>43924</c:v>
                      </c:pt>
                      <c:pt idx="6577">
                        <c:v>43927</c:v>
                      </c:pt>
                      <c:pt idx="6578">
                        <c:v>43928</c:v>
                      </c:pt>
                      <c:pt idx="6579">
                        <c:v>43929</c:v>
                      </c:pt>
                      <c:pt idx="6580">
                        <c:v>43930</c:v>
                      </c:pt>
                      <c:pt idx="6581">
                        <c:v>43931</c:v>
                      </c:pt>
                      <c:pt idx="6582">
                        <c:v>43934</c:v>
                      </c:pt>
                      <c:pt idx="6583">
                        <c:v>43935</c:v>
                      </c:pt>
                      <c:pt idx="6584">
                        <c:v>43936</c:v>
                      </c:pt>
                      <c:pt idx="6585">
                        <c:v>43937</c:v>
                      </c:pt>
                      <c:pt idx="6586">
                        <c:v>43938</c:v>
                      </c:pt>
                      <c:pt idx="6587">
                        <c:v>43941</c:v>
                      </c:pt>
                      <c:pt idx="6588">
                        <c:v>43942</c:v>
                      </c:pt>
                      <c:pt idx="6589">
                        <c:v>43943</c:v>
                      </c:pt>
                      <c:pt idx="6590">
                        <c:v>43944</c:v>
                      </c:pt>
                      <c:pt idx="6591">
                        <c:v>43945</c:v>
                      </c:pt>
                      <c:pt idx="6592">
                        <c:v>43948</c:v>
                      </c:pt>
                      <c:pt idx="6593">
                        <c:v>43949</c:v>
                      </c:pt>
                      <c:pt idx="6594">
                        <c:v>43950</c:v>
                      </c:pt>
                      <c:pt idx="6595">
                        <c:v>43951</c:v>
                      </c:pt>
                      <c:pt idx="6596">
                        <c:v>43952</c:v>
                      </c:pt>
                      <c:pt idx="6597">
                        <c:v>43955</c:v>
                      </c:pt>
                      <c:pt idx="6598">
                        <c:v>43956</c:v>
                      </c:pt>
                      <c:pt idx="6599">
                        <c:v>43957</c:v>
                      </c:pt>
                      <c:pt idx="6600">
                        <c:v>43958</c:v>
                      </c:pt>
                      <c:pt idx="6601">
                        <c:v>43959</c:v>
                      </c:pt>
                      <c:pt idx="6602">
                        <c:v>43962</c:v>
                      </c:pt>
                      <c:pt idx="6603">
                        <c:v>43963</c:v>
                      </c:pt>
                      <c:pt idx="6604">
                        <c:v>43964</c:v>
                      </c:pt>
                      <c:pt idx="6605">
                        <c:v>43965</c:v>
                      </c:pt>
                      <c:pt idx="6606">
                        <c:v>43966</c:v>
                      </c:pt>
                      <c:pt idx="6607">
                        <c:v>43969</c:v>
                      </c:pt>
                      <c:pt idx="6608">
                        <c:v>43970</c:v>
                      </c:pt>
                      <c:pt idx="6609">
                        <c:v>43971</c:v>
                      </c:pt>
                      <c:pt idx="6610">
                        <c:v>43972</c:v>
                      </c:pt>
                      <c:pt idx="6611">
                        <c:v>43973</c:v>
                      </c:pt>
                      <c:pt idx="6612">
                        <c:v>43976</c:v>
                      </c:pt>
                      <c:pt idx="6613">
                        <c:v>43977</c:v>
                      </c:pt>
                      <c:pt idx="6614">
                        <c:v>43978</c:v>
                      </c:pt>
                      <c:pt idx="6615">
                        <c:v>43979</c:v>
                      </c:pt>
                      <c:pt idx="6616">
                        <c:v>43980</c:v>
                      </c:pt>
                      <c:pt idx="6617">
                        <c:v>43983</c:v>
                      </c:pt>
                      <c:pt idx="6618">
                        <c:v>43984</c:v>
                      </c:pt>
                      <c:pt idx="6619">
                        <c:v>43985</c:v>
                      </c:pt>
                      <c:pt idx="6620">
                        <c:v>43986</c:v>
                      </c:pt>
                      <c:pt idx="6621">
                        <c:v>43987</c:v>
                      </c:pt>
                      <c:pt idx="6622">
                        <c:v>43990</c:v>
                      </c:pt>
                      <c:pt idx="6623">
                        <c:v>43991</c:v>
                      </c:pt>
                      <c:pt idx="6624">
                        <c:v>43992</c:v>
                      </c:pt>
                      <c:pt idx="6625">
                        <c:v>43993</c:v>
                      </c:pt>
                      <c:pt idx="6626">
                        <c:v>43994</c:v>
                      </c:pt>
                      <c:pt idx="6627">
                        <c:v>43997</c:v>
                      </c:pt>
                      <c:pt idx="6628">
                        <c:v>43998</c:v>
                      </c:pt>
                      <c:pt idx="6629">
                        <c:v>43999</c:v>
                      </c:pt>
                      <c:pt idx="6630">
                        <c:v>44000</c:v>
                      </c:pt>
                      <c:pt idx="6631">
                        <c:v>44001</c:v>
                      </c:pt>
                      <c:pt idx="6632">
                        <c:v>44004</c:v>
                      </c:pt>
                      <c:pt idx="6633">
                        <c:v>44005</c:v>
                      </c:pt>
                      <c:pt idx="6634">
                        <c:v>44006</c:v>
                      </c:pt>
                      <c:pt idx="6635">
                        <c:v>44007</c:v>
                      </c:pt>
                      <c:pt idx="6636">
                        <c:v>44008</c:v>
                      </c:pt>
                      <c:pt idx="6637">
                        <c:v>44011</c:v>
                      </c:pt>
                      <c:pt idx="6638">
                        <c:v>44012</c:v>
                      </c:pt>
                      <c:pt idx="6639">
                        <c:v>44013</c:v>
                      </c:pt>
                      <c:pt idx="6640">
                        <c:v>44014</c:v>
                      </c:pt>
                      <c:pt idx="6641">
                        <c:v>44015</c:v>
                      </c:pt>
                      <c:pt idx="6642">
                        <c:v>44018</c:v>
                      </c:pt>
                      <c:pt idx="6643">
                        <c:v>44019</c:v>
                      </c:pt>
                      <c:pt idx="6644">
                        <c:v>44020</c:v>
                      </c:pt>
                      <c:pt idx="6645">
                        <c:v>44021</c:v>
                      </c:pt>
                      <c:pt idx="6646">
                        <c:v>44022</c:v>
                      </c:pt>
                      <c:pt idx="6647">
                        <c:v>44025</c:v>
                      </c:pt>
                      <c:pt idx="6648">
                        <c:v>44026</c:v>
                      </c:pt>
                      <c:pt idx="6649">
                        <c:v>44027</c:v>
                      </c:pt>
                      <c:pt idx="6650">
                        <c:v>44028</c:v>
                      </c:pt>
                      <c:pt idx="6651">
                        <c:v>44029</c:v>
                      </c:pt>
                      <c:pt idx="6652">
                        <c:v>44032</c:v>
                      </c:pt>
                      <c:pt idx="6653">
                        <c:v>44033</c:v>
                      </c:pt>
                      <c:pt idx="6654">
                        <c:v>44034</c:v>
                      </c:pt>
                      <c:pt idx="6655">
                        <c:v>44035</c:v>
                      </c:pt>
                      <c:pt idx="6656">
                        <c:v>44036</c:v>
                      </c:pt>
                      <c:pt idx="6657">
                        <c:v>44039</c:v>
                      </c:pt>
                      <c:pt idx="6658">
                        <c:v>44040</c:v>
                      </c:pt>
                      <c:pt idx="6659">
                        <c:v>44041</c:v>
                      </c:pt>
                      <c:pt idx="6660">
                        <c:v>44042</c:v>
                      </c:pt>
                      <c:pt idx="6661">
                        <c:v>44043</c:v>
                      </c:pt>
                      <c:pt idx="6662">
                        <c:v>44046</c:v>
                      </c:pt>
                      <c:pt idx="6663">
                        <c:v>44047</c:v>
                      </c:pt>
                      <c:pt idx="6664">
                        <c:v>44048</c:v>
                      </c:pt>
                      <c:pt idx="6665">
                        <c:v>44049</c:v>
                      </c:pt>
                      <c:pt idx="6666">
                        <c:v>44050</c:v>
                      </c:pt>
                      <c:pt idx="6667">
                        <c:v>44053</c:v>
                      </c:pt>
                      <c:pt idx="6668">
                        <c:v>44054</c:v>
                      </c:pt>
                      <c:pt idx="6669">
                        <c:v>44055</c:v>
                      </c:pt>
                      <c:pt idx="6670">
                        <c:v>44056</c:v>
                      </c:pt>
                      <c:pt idx="6671">
                        <c:v>44057</c:v>
                      </c:pt>
                      <c:pt idx="6672">
                        <c:v>44060</c:v>
                      </c:pt>
                      <c:pt idx="6673">
                        <c:v>44061</c:v>
                      </c:pt>
                      <c:pt idx="6674">
                        <c:v>44062</c:v>
                      </c:pt>
                      <c:pt idx="6675">
                        <c:v>44063</c:v>
                      </c:pt>
                      <c:pt idx="6676">
                        <c:v>44064</c:v>
                      </c:pt>
                      <c:pt idx="6677">
                        <c:v>44067</c:v>
                      </c:pt>
                      <c:pt idx="6678">
                        <c:v>44068</c:v>
                      </c:pt>
                      <c:pt idx="6679">
                        <c:v>44069</c:v>
                      </c:pt>
                      <c:pt idx="6680">
                        <c:v>44070</c:v>
                      </c:pt>
                      <c:pt idx="6681">
                        <c:v>44071</c:v>
                      </c:pt>
                      <c:pt idx="6682">
                        <c:v>44074</c:v>
                      </c:pt>
                      <c:pt idx="6683">
                        <c:v>44075</c:v>
                      </c:pt>
                      <c:pt idx="6684">
                        <c:v>44076</c:v>
                      </c:pt>
                      <c:pt idx="6685">
                        <c:v>44077</c:v>
                      </c:pt>
                      <c:pt idx="6686">
                        <c:v>44078</c:v>
                      </c:pt>
                      <c:pt idx="6687">
                        <c:v>44081</c:v>
                      </c:pt>
                      <c:pt idx="6688">
                        <c:v>44082</c:v>
                      </c:pt>
                      <c:pt idx="6689">
                        <c:v>44083</c:v>
                      </c:pt>
                      <c:pt idx="6690">
                        <c:v>44084</c:v>
                      </c:pt>
                      <c:pt idx="6691">
                        <c:v>44085</c:v>
                      </c:pt>
                      <c:pt idx="6692">
                        <c:v>44088</c:v>
                      </c:pt>
                      <c:pt idx="6693">
                        <c:v>44089</c:v>
                      </c:pt>
                      <c:pt idx="6694">
                        <c:v>44090</c:v>
                      </c:pt>
                      <c:pt idx="6695">
                        <c:v>44091</c:v>
                      </c:pt>
                      <c:pt idx="6696">
                        <c:v>44092</c:v>
                      </c:pt>
                      <c:pt idx="6697">
                        <c:v>44095</c:v>
                      </c:pt>
                      <c:pt idx="6698">
                        <c:v>44096</c:v>
                      </c:pt>
                      <c:pt idx="6699">
                        <c:v>44097</c:v>
                      </c:pt>
                      <c:pt idx="6700">
                        <c:v>44098</c:v>
                      </c:pt>
                      <c:pt idx="6701">
                        <c:v>44099</c:v>
                      </c:pt>
                      <c:pt idx="6702">
                        <c:v>44102</c:v>
                      </c:pt>
                      <c:pt idx="6703">
                        <c:v>44103</c:v>
                      </c:pt>
                      <c:pt idx="6704">
                        <c:v>44104</c:v>
                      </c:pt>
                      <c:pt idx="6705">
                        <c:v>44105</c:v>
                      </c:pt>
                      <c:pt idx="6706">
                        <c:v>44106</c:v>
                      </c:pt>
                      <c:pt idx="6707">
                        <c:v>44109</c:v>
                      </c:pt>
                      <c:pt idx="6708">
                        <c:v>44110</c:v>
                      </c:pt>
                      <c:pt idx="6709">
                        <c:v>44111</c:v>
                      </c:pt>
                      <c:pt idx="6710">
                        <c:v>44112</c:v>
                      </c:pt>
                      <c:pt idx="6711">
                        <c:v>44113</c:v>
                      </c:pt>
                      <c:pt idx="6712">
                        <c:v>44116</c:v>
                      </c:pt>
                      <c:pt idx="6713">
                        <c:v>44117</c:v>
                      </c:pt>
                      <c:pt idx="6714">
                        <c:v>44118</c:v>
                      </c:pt>
                      <c:pt idx="6715">
                        <c:v>44119</c:v>
                      </c:pt>
                      <c:pt idx="6716">
                        <c:v>44120</c:v>
                      </c:pt>
                      <c:pt idx="6717">
                        <c:v>44123</c:v>
                      </c:pt>
                      <c:pt idx="6718">
                        <c:v>44124</c:v>
                      </c:pt>
                      <c:pt idx="6719">
                        <c:v>44125</c:v>
                      </c:pt>
                      <c:pt idx="6720">
                        <c:v>44126</c:v>
                      </c:pt>
                      <c:pt idx="6721">
                        <c:v>44127</c:v>
                      </c:pt>
                      <c:pt idx="6722">
                        <c:v>44130</c:v>
                      </c:pt>
                      <c:pt idx="6723">
                        <c:v>44131</c:v>
                      </c:pt>
                      <c:pt idx="6724">
                        <c:v>44132</c:v>
                      </c:pt>
                      <c:pt idx="6725">
                        <c:v>44133</c:v>
                      </c:pt>
                      <c:pt idx="6726">
                        <c:v>44134</c:v>
                      </c:pt>
                      <c:pt idx="6727">
                        <c:v>44137</c:v>
                      </c:pt>
                      <c:pt idx="6728">
                        <c:v>44138</c:v>
                      </c:pt>
                      <c:pt idx="6729">
                        <c:v>44139</c:v>
                      </c:pt>
                      <c:pt idx="6730">
                        <c:v>44140</c:v>
                      </c:pt>
                      <c:pt idx="6731">
                        <c:v>44141</c:v>
                      </c:pt>
                      <c:pt idx="6732">
                        <c:v>44144</c:v>
                      </c:pt>
                      <c:pt idx="6733">
                        <c:v>44145</c:v>
                      </c:pt>
                      <c:pt idx="6734">
                        <c:v>44146</c:v>
                      </c:pt>
                      <c:pt idx="6735">
                        <c:v>44147</c:v>
                      </c:pt>
                      <c:pt idx="6736">
                        <c:v>44148</c:v>
                      </c:pt>
                      <c:pt idx="6737">
                        <c:v>44151</c:v>
                      </c:pt>
                      <c:pt idx="6738">
                        <c:v>44152</c:v>
                      </c:pt>
                      <c:pt idx="6739">
                        <c:v>44153</c:v>
                      </c:pt>
                      <c:pt idx="6740">
                        <c:v>44154</c:v>
                      </c:pt>
                      <c:pt idx="6741">
                        <c:v>44155</c:v>
                      </c:pt>
                      <c:pt idx="6742">
                        <c:v>44158</c:v>
                      </c:pt>
                      <c:pt idx="6743">
                        <c:v>44159</c:v>
                      </c:pt>
                      <c:pt idx="6744">
                        <c:v>44160</c:v>
                      </c:pt>
                      <c:pt idx="6745">
                        <c:v>44161</c:v>
                      </c:pt>
                      <c:pt idx="6746">
                        <c:v>44162</c:v>
                      </c:pt>
                      <c:pt idx="6747">
                        <c:v>44165</c:v>
                      </c:pt>
                      <c:pt idx="6748">
                        <c:v>44166</c:v>
                      </c:pt>
                      <c:pt idx="6749">
                        <c:v>44167</c:v>
                      </c:pt>
                      <c:pt idx="6750">
                        <c:v>44168</c:v>
                      </c:pt>
                      <c:pt idx="6751">
                        <c:v>44169</c:v>
                      </c:pt>
                      <c:pt idx="6752">
                        <c:v>44172</c:v>
                      </c:pt>
                      <c:pt idx="6753">
                        <c:v>44173</c:v>
                      </c:pt>
                      <c:pt idx="6754">
                        <c:v>44174</c:v>
                      </c:pt>
                      <c:pt idx="6755">
                        <c:v>44175</c:v>
                      </c:pt>
                      <c:pt idx="6756">
                        <c:v>44176</c:v>
                      </c:pt>
                      <c:pt idx="6757">
                        <c:v>44179</c:v>
                      </c:pt>
                      <c:pt idx="6758">
                        <c:v>44180</c:v>
                      </c:pt>
                      <c:pt idx="6759">
                        <c:v>44181</c:v>
                      </c:pt>
                      <c:pt idx="6760">
                        <c:v>44182</c:v>
                      </c:pt>
                      <c:pt idx="6761">
                        <c:v>44183</c:v>
                      </c:pt>
                      <c:pt idx="6762">
                        <c:v>44186</c:v>
                      </c:pt>
                      <c:pt idx="6763">
                        <c:v>44187</c:v>
                      </c:pt>
                      <c:pt idx="6764">
                        <c:v>44188</c:v>
                      </c:pt>
                      <c:pt idx="6765">
                        <c:v>44189</c:v>
                      </c:pt>
                      <c:pt idx="6766">
                        <c:v>44190</c:v>
                      </c:pt>
                      <c:pt idx="6767">
                        <c:v>44193</c:v>
                      </c:pt>
                      <c:pt idx="6768">
                        <c:v>44194</c:v>
                      </c:pt>
                      <c:pt idx="6769">
                        <c:v>44195</c:v>
                      </c:pt>
                      <c:pt idx="6770">
                        <c:v>44196</c:v>
                      </c:pt>
                      <c:pt idx="6771">
                        <c:v>44197</c:v>
                      </c:pt>
                      <c:pt idx="6772">
                        <c:v>44200</c:v>
                      </c:pt>
                      <c:pt idx="6773">
                        <c:v>44201</c:v>
                      </c:pt>
                      <c:pt idx="6774">
                        <c:v>44202</c:v>
                      </c:pt>
                      <c:pt idx="6775">
                        <c:v>44203</c:v>
                      </c:pt>
                      <c:pt idx="6776">
                        <c:v>44204</c:v>
                      </c:pt>
                      <c:pt idx="6777">
                        <c:v>44207</c:v>
                      </c:pt>
                      <c:pt idx="6778">
                        <c:v>44208</c:v>
                      </c:pt>
                      <c:pt idx="6779">
                        <c:v>44209</c:v>
                      </c:pt>
                      <c:pt idx="6780">
                        <c:v>44210</c:v>
                      </c:pt>
                      <c:pt idx="6781">
                        <c:v>44211</c:v>
                      </c:pt>
                      <c:pt idx="6782">
                        <c:v>44214</c:v>
                      </c:pt>
                      <c:pt idx="6783">
                        <c:v>44215</c:v>
                      </c:pt>
                      <c:pt idx="6784">
                        <c:v>44216</c:v>
                      </c:pt>
                      <c:pt idx="6785">
                        <c:v>44217</c:v>
                      </c:pt>
                      <c:pt idx="6786">
                        <c:v>44218</c:v>
                      </c:pt>
                      <c:pt idx="6787">
                        <c:v>44221</c:v>
                      </c:pt>
                      <c:pt idx="6788">
                        <c:v>44222</c:v>
                      </c:pt>
                      <c:pt idx="6789">
                        <c:v>44223</c:v>
                      </c:pt>
                      <c:pt idx="6790">
                        <c:v>44224</c:v>
                      </c:pt>
                      <c:pt idx="6791">
                        <c:v>44225</c:v>
                      </c:pt>
                      <c:pt idx="6792">
                        <c:v>44228</c:v>
                      </c:pt>
                      <c:pt idx="6793">
                        <c:v>44229</c:v>
                      </c:pt>
                      <c:pt idx="6794">
                        <c:v>44230</c:v>
                      </c:pt>
                      <c:pt idx="6795">
                        <c:v>44231</c:v>
                      </c:pt>
                      <c:pt idx="6796">
                        <c:v>44232</c:v>
                      </c:pt>
                      <c:pt idx="6797">
                        <c:v>44235</c:v>
                      </c:pt>
                      <c:pt idx="6798">
                        <c:v>44236</c:v>
                      </c:pt>
                      <c:pt idx="6799">
                        <c:v>44237</c:v>
                      </c:pt>
                      <c:pt idx="6800">
                        <c:v>44238</c:v>
                      </c:pt>
                      <c:pt idx="6801">
                        <c:v>44239</c:v>
                      </c:pt>
                      <c:pt idx="6802">
                        <c:v>44242</c:v>
                      </c:pt>
                      <c:pt idx="6803">
                        <c:v>44243</c:v>
                      </c:pt>
                      <c:pt idx="6804">
                        <c:v>44244</c:v>
                      </c:pt>
                      <c:pt idx="6805">
                        <c:v>44245</c:v>
                      </c:pt>
                      <c:pt idx="6806">
                        <c:v>44246</c:v>
                      </c:pt>
                      <c:pt idx="6807">
                        <c:v>44249</c:v>
                      </c:pt>
                      <c:pt idx="6808">
                        <c:v>44250</c:v>
                      </c:pt>
                      <c:pt idx="6809">
                        <c:v>44251</c:v>
                      </c:pt>
                      <c:pt idx="6810">
                        <c:v>44252</c:v>
                      </c:pt>
                      <c:pt idx="6811">
                        <c:v>44253</c:v>
                      </c:pt>
                      <c:pt idx="6812">
                        <c:v>44256</c:v>
                      </c:pt>
                      <c:pt idx="6813">
                        <c:v>44257</c:v>
                      </c:pt>
                      <c:pt idx="6814">
                        <c:v>44258</c:v>
                      </c:pt>
                      <c:pt idx="6815">
                        <c:v>44259</c:v>
                      </c:pt>
                      <c:pt idx="6816">
                        <c:v>44260</c:v>
                      </c:pt>
                      <c:pt idx="6817">
                        <c:v>44263</c:v>
                      </c:pt>
                      <c:pt idx="6818">
                        <c:v>44264</c:v>
                      </c:pt>
                      <c:pt idx="6819">
                        <c:v>44265</c:v>
                      </c:pt>
                      <c:pt idx="6820">
                        <c:v>44266</c:v>
                      </c:pt>
                      <c:pt idx="6821">
                        <c:v>44267</c:v>
                      </c:pt>
                      <c:pt idx="6822">
                        <c:v>44270</c:v>
                      </c:pt>
                      <c:pt idx="6823">
                        <c:v>44271</c:v>
                      </c:pt>
                      <c:pt idx="6824">
                        <c:v>44272</c:v>
                      </c:pt>
                      <c:pt idx="6825">
                        <c:v>44273</c:v>
                      </c:pt>
                      <c:pt idx="6826">
                        <c:v>44274</c:v>
                      </c:pt>
                      <c:pt idx="6827">
                        <c:v>44277</c:v>
                      </c:pt>
                      <c:pt idx="6828">
                        <c:v>44278</c:v>
                      </c:pt>
                      <c:pt idx="6829">
                        <c:v>44279</c:v>
                      </c:pt>
                      <c:pt idx="6830">
                        <c:v>44280</c:v>
                      </c:pt>
                      <c:pt idx="6831">
                        <c:v>44281</c:v>
                      </c:pt>
                      <c:pt idx="6832">
                        <c:v>44284</c:v>
                      </c:pt>
                      <c:pt idx="6833">
                        <c:v>44285</c:v>
                      </c:pt>
                      <c:pt idx="6834">
                        <c:v>44286</c:v>
                      </c:pt>
                      <c:pt idx="6835">
                        <c:v>44287</c:v>
                      </c:pt>
                      <c:pt idx="6836">
                        <c:v>44288</c:v>
                      </c:pt>
                      <c:pt idx="6837">
                        <c:v>44291</c:v>
                      </c:pt>
                      <c:pt idx="6838">
                        <c:v>44292</c:v>
                      </c:pt>
                      <c:pt idx="6839">
                        <c:v>44293</c:v>
                      </c:pt>
                      <c:pt idx="6840">
                        <c:v>44294</c:v>
                      </c:pt>
                      <c:pt idx="6841">
                        <c:v>44295</c:v>
                      </c:pt>
                      <c:pt idx="6842">
                        <c:v>44298</c:v>
                      </c:pt>
                      <c:pt idx="6843">
                        <c:v>44299</c:v>
                      </c:pt>
                      <c:pt idx="6844">
                        <c:v>44300</c:v>
                      </c:pt>
                      <c:pt idx="6845">
                        <c:v>44301</c:v>
                      </c:pt>
                      <c:pt idx="6846">
                        <c:v>44302</c:v>
                      </c:pt>
                      <c:pt idx="6847">
                        <c:v>44305</c:v>
                      </c:pt>
                      <c:pt idx="6848">
                        <c:v>44306</c:v>
                      </c:pt>
                      <c:pt idx="6849">
                        <c:v>44307</c:v>
                      </c:pt>
                      <c:pt idx="6850">
                        <c:v>44308</c:v>
                      </c:pt>
                      <c:pt idx="6851">
                        <c:v>44309</c:v>
                      </c:pt>
                      <c:pt idx="6852">
                        <c:v>44312</c:v>
                      </c:pt>
                      <c:pt idx="6853">
                        <c:v>44313</c:v>
                      </c:pt>
                      <c:pt idx="6854">
                        <c:v>44314</c:v>
                      </c:pt>
                      <c:pt idx="6855">
                        <c:v>44315</c:v>
                      </c:pt>
                      <c:pt idx="6856">
                        <c:v>44316</c:v>
                      </c:pt>
                      <c:pt idx="6857">
                        <c:v>44319</c:v>
                      </c:pt>
                      <c:pt idx="6858">
                        <c:v>44320</c:v>
                      </c:pt>
                      <c:pt idx="6859">
                        <c:v>44321</c:v>
                      </c:pt>
                      <c:pt idx="6860">
                        <c:v>44322</c:v>
                      </c:pt>
                      <c:pt idx="6861">
                        <c:v>44323</c:v>
                      </c:pt>
                      <c:pt idx="6862">
                        <c:v>44326</c:v>
                      </c:pt>
                      <c:pt idx="6863">
                        <c:v>44327</c:v>
                      </c:pt>
                      <c:pt idx="6864">
                        <c:v>44328</c:v>
                      </c:pt>
                      <c:pt idx="6865">
                        <c:v>44329</c:v>
                      </c:pt>
                      <c:pt idx="6866">
                        <c:v>44330</c:v>
                      </c:pt>
                      <c:pt idx="6867">
                        <c:v>44333</c:v>
                      </c:pt>
                      <c:pt idx="6868">
                        <c:v>44334</c:v>
                      </c:pt>
                      <c:pt idx="6869">
                        <c:v>44335</c:v>
                      </c:pt>
                      <c:pt idx="6870">
                        <c:v>44336</c:v>
                      </c:pt>
                      <c:pt idx="6871">
                        <c:v>44337</c:v>
                      </c:pt>
                      <c:pt idx="6872">
                        <c:v>44340</c:v>
                      </c:pt>
                      <c:pt idx="6873">
                        <c:v>44341</c:v>
                      </c:pt>
                      <c:pt idx="6874">
                        <c:v>44342</c:v>
                      </c:pt>
                      <c:pt idx="6875">
                        <c:v>44343</c:v>
                      </c:pt>
                      <c:pt idx="6876">
                        <c:v>44344</c:v>
                      </c:pt>
                      <c:pt idx="6877">
                        <c:v>44347</c:v>
                      </c:pt>
                      <c:pt idx="6878">
                        <c:v>44348</c:v>
                      </c:pt>
                      <c:pt idx="6879">
                        <c:v>44349</c:v>
                      </c:pt>
                      <c:pt idx="6880">
                        <c:v>44350</c:v>
                      </c:pt>
                      <c:pt idx="6881">
                        <c:v>44351</c:v>
                      </c:pt>
                      <c:pt idx="6882">
                        <c:v>44354</c:v>
                      </c:pt>
                      <c:pt idx="6883">
                        <c:v>44355</c:v>
                      </c:pt>
                      <c:pt idx="6884">
                        <c:v>44356</c:v>
                      </c:pt>
                      <c:pt idx="6885">
                        <c:v>44357</c:v>
                      </c:pt>
                      <c:pt idx="6886">
                        <c:v>44358</c:v>
                      </c:pt>
                      <c:pt idx="6887">
                        <c:v>44361</c:v>
                      </c:pt>
                      <c:pt idx="6888">
                        <c:v>44362</c:v>
                      </c:pt>
                      <c:pt idx="6889">
                        <c:v>44363</c:v>
                      </c:pt>
                      <c:pt idx="6890">
                        <c:v>44364</c:v>
                      </c:pt>
                      <c:pt idx="6891">
                        <c:v>44365</c:v>
                      </c:pt>
                      <c:pt idx="6892">
                        <c:v>44368</c:v>
                      </c:pt>
                      <c:pt idx="6893">
                        <c:v>44369</c:v>
                      </c:pt>
                      <c:pt idx="6894">
                        <c:v>44370</c:v>
                      </c:pt>
                      <c:pt idx="6895">
                        <c:v>44371</c:v>
                      </c:pt>
                      <c:pt idx="6896">
                        <c:v>44372</c:v>
                      </c:pt>
                      <c:pt idx="6897">
                        <c:v>44375</c:v>
                      </c:pt>
                      <c:pt idx="6898">
                        <c:v>44376</c:v>
                      </c:pt>
                      <c:pt idx="6899">
                        <c:v>44377</c:v>
                      </c:pt>
                      <c:pt idx="6900">
                        <c:v>44378</c:v>
                      </c:pt>
                      <c:pt idx="6901">
                        <c:v>44379</c:v>
                      </c:pt>
                      <c:pt idx="6902">
                        <c:v>44382</c:v>
                      </c:pt>
                      <c:pt idx="6903">
                        <c:v>44383</c:v>
                      </c:pt>
                      <c:pt idx="6904">
                        <c:v>44384</c:v>
                      </c:pt>
                      <c:pt idx="6905">
                        <c:v>44385</c:v>
                      </c:pt>
                      <c:pt idx="6906">
                        <c:v>44386</c:v>
                      </c:pt>
                      <c:pt idx="6907">
                        <c:v>44389</c:v>
                      </c:pt>
                      <c:pt idx="6908">
                        <c:v>44390</c:v>
                      </c:pt>
                      <c:pt idx="6909">
                        <c:v>44391</c:v>
                      </c:pt>
                      <c:pt idx="6910">
                        <c:v>44392</c:v>
                      </c:pt>
                      <c:pt idx="6911">
                        <c:v>44393</c:v>
                      </c:pt>
                      <c:pt idx="6912">
                        <c:v>44396</c:v>
                      </c:pt>
                      <c:pt idx="6913">
                        <c:v>44397</c:v>
                      </c:pt>
                      <c:pt idx="6914">
                        <c:v>44398</c:v>
                      </c:pt>
                      <c:pt idx="6915">
                        <c:v>44399</c:v>
                      </c:pt>
                      <c:pt idx="6916">
                        <c:v>44400</c:v>
                      </c:pt>
                      <c:pt idx="6917">
                        <c:v>44403</c:v>
                      </c:pt>
                      <c:pt idx="6918">
                        <c:v>44404</c:v>
                      </c:pt>
                      <c:pt idx="6919">
                        <c:v>44405</c:v>
                      </c:pt>
                      <c:pt idx="6920">
                        <c:v>44406</c:v>
                      </c:pt>
                      <c:pt idx="6921">
                        <c:v>44407</c:v>
                      </c:pt>
                      <c:pt idx="6922">
                        <c:v>44410</c:v>
                      </c:pt>
                      <c:pt idx="6923">
                        <c:v>44411</c:v>
                      </c:pt>
                      <c:pt idx="6924">
                        <c:v>44412</c:v>
                      </c:pt>
                      <c:pt idx="6925">
                        <c:v>44413</c:v>
                      </c:pt>
                      <c:pt idx="6926">
                        <c:v>44414</c:v>
                      </c:pt>
                      <c:pt idx="6927">
                        <c:v>44417</c:v>
                      </c:pt>
                      <c:pt idx="6928">
                        <c:v>44418</c:v>
                      </c:pt>
                      <c:pt idx="6929">
                        <c:v>44419</c:v>
                      </c:pt>
                      <c:pt idx="6930">
                        <c:v>44420</c:v>
                      </c:pt>
                      <c:pt idx="6931">
                        <c:v>44421</c:v>
                      </c:pt>
                      <c:pt idx="6932">
                        <c:v>44424</c:v>
                      </c:pt>
                      <c:pt idx="6933">
                        <c:v>44425</c:v>
                      </c:pt>
                      <c:pt idx="6934">
                        <c:v>44426</c:v>
                      </c:pt>
                      <c:pt idx="6935">
                        <c:v>44427</c:v>
                      </c:pt>
                      <c:pt idx="6936">
                        <c:v>44428</c:v>
                      </c:pt>
                      <c:pt idx="6937">
                        <c:v>44431</c:v>
                      </c:pt>
                      <c:pt idx="6938">
                        <c:v>44432</c:v>
                      </c:pt>
                      <c:pt idx="6939">
                        <c:v>44433</c:v>
                      </c:pt>
                      <c:pt idx="6940">
                        <c:v>44434</c:v>
                      </c:pt>
                      <c:pt idx="6941">
                        <c:v>44435</c:v>
                      </c:pt>
                      <c:pt idx="6942">
                        <c:v>44438</c:v>
                      </c:pt>
                      <c:pt idx="6943">
                        <c:v>44439</c:v>
                      </c:pt>
                      <c:pt idx="6944">
                        <c:v>44440</c:v>
                      </c:pt>
                      <c:pt idx="6945">
                        <c:v>44441</c:v>
                      </c:pt>
                      <c:pt idx="6946">
                        <c:v>44442</c:v>
                      </c:pt>
                      <c:pt idx="6947">
                        <c:v>44445</c:v>
                      </c:pt>
                      <c:pt idx="6948">
                        <c:v>44446</c:v>
                      </c:pt>
                      <c:pt idx="6949">
                        <c:v>44447</c:v>
                      </c:pt>
                      <c:pt idx="6950">
                        <c:v>44448</c:v>
                      </c:pt>
                      <c:pt idx="6951">
                        <c:v>44449</c:v>
                      </c:pt>
                      <c:pt idx="6952">
                        <c:v>44452</c:v>
                      </c:pt>
                      <c:pt idx="6953">
                        <c:v>44453</c:v>
                      </c:pt>
                      <c:pt idx="6954">
                        <c:v>44454</c:v>
                      </c:pt>
                      <c:pt idx="6955">
                        <c:v>44455</c:v>
                      </c:pt>
                      <c:pt idx="6956">
                        <c:v>44456</c:v>
                      </c:pt>
                      <c:pt idx="6957">
                        <c:v>44459</c:v>
                      </c:pt>
                      <c:pt idx="6958">
                        <c:v>44460</c:v>
                      </c:pt>
                      <c:pt idx="6959">
                        <c:v>44461</c:v>
                      </c:pt>
                      <c:pt idx="6960">
                        <c:v>44462</c:v>
                      </c:pt>
                      <c:pt idx="6961">
                        <c:v>44463</c:v>
                      </c:pt>
                      <c:pt idx="6962">
                        <c:v>44466</c:v>
                      </c:pt>
                      <c:pt idx="6963">
                        <c:v>44467</c:v>
                      </c:pt>
                      <c:pt idx="6964">
                        <c:v>44468</c:v>
                      </c:pt>
                      <c:pt idx="6965">
                        <c:v>44469</c:v>
                      </c:pt>
                      <c:pt idx="6966">
                        <c:v>44470</c:v>
                      </c:pt>
                      <c:pt idx="6967">
                        <c:v>44473</c:v>
                      </c:pt>
                      <c:pt idx="6968">
                        <c:v>44474</c:v>
                      </c:pt>
                      <c:pt idx="6969">
                        <c:v>44475</c:v>
                      </c:pt>
                      <c:pt idx="6970">
                        <c:v>44476</c:v>
                      </c:pt>
                      <c:pt idx="6971">
                        <c:v>44477</c:v>
                      </c:pt>
                      <c:pt idx="6972">
                        <c:v>44480</c:v>
                      </c:pt>
                      <c:pt idx="6973">
                        <c:v>44481</c:v>
                      </c:pt>
                      <c:pt idx="6974">
                        <c:v>44482</c:v>
                      </c:pt>
                      <c:pt idx="6975">
                        <c:v>44483</c:v>
                      </c:pt>
                      <c:pt idx="6976">
                        <c:v>44484</c:v>
                      </c:pt>
                      <c:pt idx="6977">
                        <c:v>44487</c:v>
                      </c:pt>
                      <c:pt idx="6978">
                        <c:v>44488</c:v>
                      </c:pt>
                      <c:pt idx="6979">
                        <c:v>44489</c:v>
                      </c:pt>
                      <c:pt idx="6980">
                        <c:v>44490</c:v>
                      </c:pt>
                      <c:pt idx="6981">
                        <c:v>44491</c:v>
                      </c:pt>
                      <c:pt idx="6982">
                        <c:v>44494</c:v>
                      </c:pt>
                      <c:pt idx="6983">
                        <c:v>44495</c:v>
                      </c:pt>
                      <c:pt idx="6984">
                        <c:v>44496</c:v>
                      </c:pt>
                      <c:pt idx="6985">
                        <c:v>44497</c:v>
                      </c:pt>
                      <c:pt idx="6986">
                        <c:v>44498</c:v>
                      </c:pt>
                      <c:pt idx="6987">
                        <c:v>44501</c:v>
                      </c:pt>
                      <c:pt idx="6988">
                        <c:v>44502</c:v>
                      </c:pt>
                      <c:pt idx="6989">
                        <c:v>44503</c:v>
                      </c:pt>
                      <c:pt idx="6990">
                        <c:v>44504</c:v>
                      </c:pt>
                      <c:pt idx="6991">
                        <c:v>44505</c:v>
                      </c:pt>
                      <c:pt idx="6992">
                        <c:v>44508</c:v>
                      </c:pt>
                      <c:pt idx="6993">
                        <c:v>44509</c:v>
                      </c:pt>
                      <c:pt idx="6994">
                        <c:v>44510</c:v>
                      </c:pt>
                      <c:pt idx="6995">
                        <c:v>44511</c:v>
                      </c:pt>
                      <c:pt idx="6996">
                        <c:v>44512</c:v>
                      </c:pt>
                      <c:pt idx="6997">
                        <c:v>44515</c:v>
                      </c:pt>
                      <c:pt idx="6998">
                        <c:v>44516</c:v>
                      </c:pt>
                      <c:pt idx="6999">
                        <c:v>44517</c:v>
                      </c:pt>
                      <c:pt idx="7000">
                        <c:v>44518</c:v>
                      </c:pt>
                      <c:pt idx="7001">
                        <c:v>44519</c:v>
                      </c:pt>
                      <c:pt idx="7002">
                        <c:v>44522</c:v>
                      </c:pt>
                      <c:pt idx="7003">
                        <c:v>44523</c:v>
                      </c:pt>
                      <c:pt idx="7004">
                        <c:v>44524</c:v>
                      </c:pt>
                      <c:pt idx="7005">
                        <c:v>44525</c:v>
                      </c:pt>
                      <c:pt idx="7006">
                        <c:v>44526</c:v>
                      </c:pt>
                      <c:pt idx="7007">
                        <c:v>44529</c:v>
                      </c:pt>
                      <c:pt idx="7008">
                        <c:v>44530</c:v>
                      </c:pt>
                      <c:pt idx="7009">
                        <c:v>44531</c:v>
                      </c:pt>
                      <c:pt idx="7010">
                        <c:v>44532</c:v>
                      </c:pt>
                      <c:pt idx="7011">
                        <c:v>44533</c:v>
                      </c:pt>
                      <c:pt idx="7012">
                        <c:v>44536</c:v>
                      </c:pt>
                      <c:pt idx="7013">
                        <c:v>44537</c:v>
                      </c:pt>
                      <c:pt idx="7014">
                        <c:v>44538</c:v>
                      </c:pt>
                      <c:pt idx="7015">
                        <c:v>44539</c:v>
                      </c:pt>
                      <c:pt idx="7016">
                        <c:v>44540</c:v>
                      </c:pt>
                      <c:pt idx="7017">
                        <c:v>44543</c:v>
                      </c:pt>
                      <c:pt idx="7018">
                        <c:v>44544</c:v>
                      </c:pt>
                      <c:pt idx="7019">
                        <c:v>44545</c:v>
                      </c:pt>
                      <c:pt idx="7020">
                        <c:v>44546</c:v>
                      </c:pt>
                      <c:pt idx="7021">
                        <c:v>44547</c:v>
                      </c:pt>
                      <c:pt idx="7022">
                        <c:v>44550</c:v>
                      </c:pt>
                      <c:pt idx="7023">
                        <c:v>44551</c:v>
                      </c:pt>
                      <c:pt idx="7024">
                        <c:v>44552</c:v>
                      </c:pt>
                      <c:pt idx="7025">
                        <c:v>44553</c:v>
                      </c:pt>
                      <c:pt idx="7026">
                        <c:v>44554</c:v>
                      </c:pt>
                      <c:pt idx="7027">
                        <c:v>44557</c:v>
                      </c:pt>
                      <c:pt idx="7028">
                        <c:v>44558</c:v>
                      </c:pt>
                      <c:pt idx="7029">
                        <c:v>44559</c:v>
                      </c:pt>
                      <c:pt idx="7030">
                        <c:v>44560</c:v>
                      </c:pt>
                      <c:pt idx="7031">
                        <c:v>44561</c:v>
                      </c:pt>
                      <c:pt idx="7032">
                        <c:v>44564</c:v>
                      </c:pt>
                      <c:pt idx="7033">
                        <c:v>44565</c:v>
                      </c:pt>
                      <c:pt idx="7034">
                        <c:v>44566</c:v>
                      </c:pt>
                      <c:pt idx="7035">
                        <c:v>44567</c:v>
                      </c:pt>
                      <c:pt idx="7036">
                        <c:v>44568</c:v>
                      </c:pt>
                      <c:pt idx="7037">
                        <c:v>44571</c:v>
                      </c:pt>
                      <c:pt idx="7038">
                        <c:v>44572</c:v>
                      </c:pt>
                      <c:pt idx="7039">
                        <c:v>44573</c:v>
                      </c:pt>
                      <c:pt idx="7040">
                        <c:v>44574</c:v>
                      </c:pt>
                      <c:pt idx="7041">
                        <c:v>44575</c:v>
                      </c:pt>
                      <c:pt idx="7042">
                        <c:v>44578</c:v>
                      </c:pt>
                      <c:pt idx="7043">
                        <c:v>44579</c:v>
                      </c:pt>
                      <c:pt idx="7044">
                        <c:v>44580</c:v>
                      </c:pt>
                      <c:pt idx="7045">
                        <c:v>44581</c:v>
                      </c:pt>
                      <c:pt idx="7046">
                        <c:v>44582</c:v>
                      </c:pt>
                      <c:pt idx="7047">
                        <c:v>44585</c:v>
                      </c:pt>
                      <c:pt idx="7048">
                        <c:v>44586</c:v>
                      </c:pt>
                      <c:pt idx="7049">
                        <c:v>44587</c:v>
                      </c:pt>
                      <c:pt idx="7050">
                        <c:v>44588</c:v>
                      </c:pt>
                      <c:pt idx="7051">
                        <c:v>44589</c:v>
                      </c:pt>
                      <c:pt idx="7052">
                        <c:v>44592</c:v>
                      </c:pt>
                      <c:pt idx="7053">
                        <c:v>44593</c:v>
                      </c:pt>
                      <c:pt idx="7054">
                        <c:v>44594</c:v>
                      </c:pt>
                      <c:pt idx="7055">
                        <c:v>44595</c:v>
                      </c:pt>
                      <c:pt idx="7056">
                        <c:v>44596</c:v>
                      </c:pt>
                      <c:pt idx="7057">
                        <c:v>44599</c:v>
                      </c:pt>
                      <c:pt idx="7058">
                        <c:v>44600</c:v>
                      </c:pt>
                      <c:pt idx="7059">
                        <c:v>44601</c:v>
                      </c:pt>
                      <c:pt idx="7060">
                        <c:v>44602</c:v>
                      </c:pt>
                      <c:pt idx="7061">
                        <c:v>44603</c:v>
                      </c:pt>
                      <c:pt idx="7062">
                        <c:v>44606</c:v>
                      </c:pt>
                      <c:pt idx="7063">
                        <c:v>44607</c:v>
                      </c:pt>
                      <c:pt idx="7064">
                        <c:v>44608</c:v>
                      </c:pt>
                      <c:pt idx="7065">
                        <c:v>44609</c:v>
                      </c:pt>
                      <c:pt idx="7066">
                        <c:v>44610</c:v>
                      </c:pt>
                      <c:pt idx="7067">
                        <c:v>44613</c:v>
                      </c:pt>
                      <c:pt idx="7068">
                        <c:v>44614</c:v>
                      </c:pt>
                      <c:pt idx="7069">
                        <c:v>44615</c:v>
                      </c:pt>
                      <c:pt idx="7070">
                        <c:v>44616</c:v>
                      </c:pt>
                      <c:pt idx="7071">
                        <c:v>44617</c:v>
                      </c:pt>
                      <c:pt idx="7072">
                        <c:v>44620</c:v>
                      </c:pt>
                      <c:pt idx="7073">
                        <c:v>44621</c:v>
                      </c:pt>
                      <c:pt idx="7074">
                        <c:v>44622</c:v>
                      </c:pt>
                      <c:pt idx="7075">
                        <c:v>44623</c:v>
                      </c:pt>
                      <c:pt idx="7076">
                        <c:v>44624</c:v>
                      </c:pt>
                      <c:pt idx="7077">
                        <c:v>44627</c:v>
                      </c:pt>
                      <c:pt idx="7078">
                        <c:v>44628</c:v>
                      </c:pt>
                      <c:pt idx="7079">
                        <c:v>44629</c:v>
                      </c:pt>
                      <c:pt idx="7080">
                        <c:v>44630</c:v>
                      </c:pt>
                      <c:pt idx="7081">
                        <c:v>44631</c:v>
                      </c:pt>
                      <c:pt idx="7082">
                        <c:v>44634</c:v>
                      </c:pt>
                      <c:pt idx="7083">
                        <c:v>44635</c:v>
                      </c:pt>
                      <c:pt idx="7084">
                        <c:v>44636</c:v>
                      </c:pt>
                      <c:pt idx="7085">
                        <c:v>44637</c:v>
                      </c:pt>
                      <c:pt idx="7086">
                        <c:v>44638</c:v>
                      </c:pt>
                      <c:pt idx="7087">
                        <c:v>44641</c:v>
                      </c:pt>
                      <c:pt idx="7088">
                        <c:v>44642</c:v>
                      </c:pt>
                      <c:pt idx="7089">
                        <c:v>44643</c:v>
                      </c:pt>
                      <c:pt idx="7090">
                        <c:v>44644</c:v>
                      </c:pt>
                      <c:pt idx="7091">
                        <c:v>44645</c:v>
                      </c:pt>
                      <c:pt idx="7092">
                        <c:v>44648</c:v>
                      </c:pt>
                      <c:pt idx="7093">
                        <c:v>44649</c:v>
                      </c:pt>
                      <c:pt idx="7094">
                        <c:v>44650</c:v>
                      </c:pt>
                      <c:pt idx="7095">
                        <c:v>44651</c:v>
                      </c:pt>
                      <c:pt idx="7096">
                        <c:v>44652</c:v>
                      </c:pt>
                      <c:pt idx="7097">
                        <c:v>44655</c:v>
                      </c:pt>
                      <c:pt idx="7098">
                        <c:v>44656</c:v>
                      </c:pt>
                      <c:pt idx="7099">
                        <c:v>44657</c:v>
                      </c:pt>
                      <c:pt idx="7100">
                        <c:v>44658</c:v>
                      </c:pt>
                      <c:pt idx="7101">
                        <c:v>44659</c:v>
                      </c:pt>
                      <c:pt idx="7102">
                        <c:v>44662</c:v>
                      </c:pt>
                      <c:pt idx="7103">
                        <c:v>44663</c:v>
                      </c:pt>
                      <c:pt idx="7104">
                        <c:v>44664</c:v>
                      </c:pt>
                      <c:pt idx="7105">
                        <c:v>44665</c:v>
                      </c:pt>
                      <c:pt idx="7106">
                        <c:v>44666</c:v>
                      </c:pt>
                      <c:pt idx="7107">
                        <c:v>44669</c:v>
                      </c:pt>
                      <c:pt idx="7108">
                        <c:v>44670</c:v>
                      </c:pt>
                      <c:pt idx="7109">
                        <c:v>44671</c:v>
                      </c:pt>
                      <c:pt idx="7110">
                        <c:v>44672</c:v>
                      </c:pt>
                      <c:pt idx="7111">
                        <c:v>44673</c:v>
                      </c:pt>
                      <c:pt idx="7112">
                        <c:v>44676</c:v>
                      </c:pt>
                      <c:pt idx="7113">
                        <c:v>44677</c:v>
                      </c:pt>
                      <c:pt idx="7114">
                        <c:v>44678</c:v>
                      </c:pt>
                      <c:pt idx="7115">
                        <c:v>44679</c:v>
                      </c:pt>
                      <c:pt idx="7116">
                        <c:v>44680</c:v>
                      </c:pt>
                      <c:pt idx="7117">
                        <c:v>44683</c:v>
                      </c:pt>
                      <c:pt idx="7118">
                        <c:v>44684</c:v>
                      </c:pt>
                      <c:pt idx="7119">
                        <c:v>44685</c:v>
                      </c:pt>
                      <c:pt idx="7120">
                        <c:v>44686</c:v>
                      </c:pt>
                      <c:pt idx="7121">
                        <c:v>44687</c:v>
                      </c:pt>
                      <c:pt idx="7122">
                        <c:v>44690</c:v>
                      </c:pt>
                      <c:pt idx="7123">
                        <c:v>44691</c:v>
                      </c:pt>
                      <c:pt idx="7124">
                        <c:v>44692</c:v>
                      </c:pt>
                      <c:pt idx="7125">
                        <c:v>44693</c:v>
                      </c:pt>
                      <c:pt idx="7126">
                        <c:v>44694</c:v>
                      </c:pt>
                      <c:pt idx="7127">
                        <c:v>44697</c:v>
                      </c:pt>
                      <c:pt idx="7128">
                        <c:v>44698</c:v>
                      </c:pt>
                      <c:pt idx="7129">
                        <c:v>44699</c:v>
                      </c:pt>
                      <c:pt idx="7130">
                        <c:v>44700</c:v>
                      </c:pt>
                      <c:pt idx="7131">
                        <c:v>44701</c:v>
                      </c:pt>
                      <c:pt idx="7132">
                        <c:v>44704</c:v>
                      </c:pt>
                      <c:pt idx="7133">
                        <c:v>44705</c:v>
                      </c:pt>
                      <c:pt idx="7134">
                        <c:v>44706</c:v>
                      </c:pt>
                      <c:pt idx="7135">
                        <c:v>44707</c:v>
                      </c:pt>
                      <c:pt idx="7136">
                        <c:v>44708</c:v>
                      </c:pt>
                      <c:pt idx="7137">
                        <c:v>44711</c:v>
                      </c:pt>
                      <c:pt idx="7138">
                        <c:v>44712</c:v>
                      </c:pt>
                      <c:pt idx="7139">
                        <c:v>44713</c:v>
                      </c:pt>
                      <c:pt idx="7140">
                        <c:v>44714</c:v>
                      </c:pt>
                      <c:pt idx="7141">
                        <c:v>44715</c:v>
                      </c:pt>
                      <c:pt idx="7142">
                        <c:v>44718</c:v>
                      </c:pt>
                      <c:pt idx="7143">
                        <c:v>44719</c:v>
                      </c:pt>
                      <c:pt idx="7144">
                        <c:v>44720</c:v>
                      </c:pt>
                      <c:pt idx="7145">
                        <c:v>44721</c:v>
                      </c:pt>
                      <c:pt idx="7146">
                        <c:v>44722</c:v>
                      </c:pt>
                      <c:pt idx="7147">
                        <c:v>44725</c:v>
                      </c:pt>
                      <c:pt idx="7148">
                        <c:v>44726</c:v>
                      </c:pt>
                      <c:pt idx="7149">
                        <c:v>44727</c:v>
                      </c:pt>
                      <c:pt idx="7150">
                        <c:v>44728</c:v>
                      </c:pt>
                      <c:pt idx="7151">
                        <c:v>44729</c:v>
                      </c:pt>
                      <c:pt idx="7152">
                        <c:v>44732</c:v>
                      </c:pt>
                      <c:pt idx="7153">
                        <c:v>44733</c:v>
                      </c:pt>
                      <c:pt idx="7154">
                        <c:v>44734</c:v>
                      </c:pt>
                      <c:pt idx="7155">
                        <c:v>44735</c:v>
                      </c:pt>
                      <c:pt idx="7156">
                        <c:v>44736</c:v>
                      </c:pt>
                      <c:pt idx="7157">
                        <c:v>44739</c:v>
                      </c:pt>
                      <c:pt idx="7158">
                        <c:v>44740</c:v>
                      </c:pt>
                      <c:pt idx="7159">
                        <c:v>44741</c:v>
                      </c:pt>
                      <c:pt idx="7160">
                        <c:v>44742</c:v>
                      </c:pt>
                      <c:pt idx="7161">
                        <c:v>44743</c:v>
                      </c:pt>
                      <c:pt idx="7162">
                        <c:v>44746</c:v>
                      </c:pt>
                      <c:pt idx="7163">
                        <c:v>44747</c:v>
                      </c:pt>
                      <c:pt idx="7164">
                        <c:v>44748</c:v>
                      </c:pt>
                      <c:pt idx="7165">
                        <c:v>44749</c:v>
                      </c:pt>
                      <c:pt idx="7166">
                        <c:v>44750</c:v>
                      </c:pt>
                      <c:pt idx="7167">
                        <c:v>44753</c:v>
                      </c:pt>
                      <c:pt idx="7168">
                        <c:v>44754</c:v>
                      </c:pt>
                      <c:pt idx="7169">
                        <c:v>44755</c:v>
                      </c:pt>
                      <c:pt idx="7170">
                        <c:v>44756</c:v>
                      </c:pt>
                      <c:pt idx="7171">
                        <c:v>44757</c:v>
                      </c:pt>
                      <c:pt idx="7172">
                        <c:v>44760</c:v>
                      </c:pt>
                      <c:pt idx="7173">
                        <c:v>44761</c:v>
                      </c:pt>
                      <c:pt idx="7174">
                        <c:v>44762</c:v>
                      </c:pt>
                      <c:pt idx="7175">
                        <c:v>44763</c:v>
                      </c:pt>
                      <c:pt idx="7176">
                        <c:v>44764</c:v>
                      </c:pt>
                      <c:pt idx="7177">
                        <c:v>44767</c:v>
                      </c:pt>
                      <c:pt idx="7178">
                        <c:v>44768</c:v>
                      </c:pt>
                      <c:pt idx="7179">
                        <c:v>44769</c:v>
                      </c:pt>
                      <c:pt idx="7180">
                        <c:v>44770</c:v>
                      </c:pt>
                      <c:pt idx="7181">
                        <c:v>44771</c:v>
                      </c:pt>
                      <c:pt idx="7182">
                        <c:v>44774</c:v>
                      </c:pt>
                      <c:pt idx="7183">
                        <c:v>44775</c:v>
                      </c:pt>
                      <c:pt idx="7184">
                        <c:v>44776</c:v>
                      </c:pt>
                      <c:pt idx="7185">
                        <c:v>44777</c:v>
                      </c:pt>
                      <c:pt idx="7186">
                        <c:v>44778</c:v>
                      </c:pt>
                      <c:pt idx="7187">
                        <c:v>44781</c:v>
                      </c:pt>
                      <c:pt idx="7188">
                        <c:v>44782</c:v>
                      </c:pt>
                      <c:pt idx="7189">
                        <c:v>44783</c:v>
                      </c:pt>
                      <c:pt idx="7190">
                        <c:v>44784</c:v>
                      </c:pt>
                      <c:pt idx="7191">
                        <c:v>44785</c:v>
                      </c:pt>
                      <c:pt idx="7192">
                        <c:v>44788</c:v>
                      </c:pt>
                      <c:pt idx="7193">
                        <c:v>44789</c:v>
                      </c:pt>
                      <c:pt idx="7194">
                        <c:v>44790</c:v>
                      </c:pt>
                      <c:pt idx="7195">
                        <c:v>44791</c:v>
                      </c:pt>
                      <c:pt idx="7196">
                        <c:v>44792</c:v>
                      </c:pt>
                      <c:pt idx="7197">
                        <c:v>44795</c:v>
                      </c:pt>
                      <c:pt idx="7198">
                        <c:v>44796</c:v>
                      </c:pt>
                      <c:pt idx="7199">
                        <c:v>44797</c:v>
                      </c:pt>
                      <c:pt idx="7200">
                        <c:v>44798</c:v>
                      </c:pt>
                      <c:pt idx="7201">
                        <c:v>44799</c:v>
                      </c:pt>
                      <c:pt idx="7202">
                        <c:v>44802</c:v>
                      </c:pt>
                      <c:pt idx="7203">
                        <c:v>44803</c:v>
                      </c:pt>
                      <c:pt idx="7204">
                        <c:v>44804</c:v>
                      </c:pt>
                      <c:pt idx="7205">
                        <c:v>44805</c:v>
                      </c:pt>
                      <c:pt idx="7206">
                        <c:v>44806</c:v>
                      </c:pt>
                      <c:pt idx="7207">
                        <c:v>44809</c:v>
                      </c:pt>
                      <c:pt idx="7208">
                        <c:v>44810</c:v>
                      </c:pt>
                      <c:pt idx="7209">
                        <c:v>44811</c:v>
                      </c:pt>
                      <c:pt idx="7210">
                        <c:v>44812</c:v>
                      </c:pt>
                      <c:pt idx="7211">
                        <c:v>44813</c:v>
                      </c:pt>
                      <c:pt idx="7212">
                        <c:v>44816</c:v>
                      </c:pt>
                      <c:pt idx="7213">
                        <c:v>44817</c:v>
                      </c:pt>
                      <c:pt idx="7214">
                        <c:v>44818</c:v>
                      </c:pt>
                      <c:pt idx="7215">
                        <c:v>44819</c:v>
                      </c:pt>
                      <c:pt idx="7216">
                        <c:v>44820</c:v>
                      </c:pt>
                      <c:pt idx="7217">
                        <c:v>44823</c:v>
                      </c:pt>
                      <c:pt idx="7218">
                        <c:v>44824</c:v>
                      </c:pt>
                      <c:pt idx="7219">
                        <c:v>44825</c:v>
                      </c:pt>
                      <c:pt idx="7220">
                        <c:v>44826</c:v>
                      </c:pt>
                      <c:pt idx="7221">
                        <c:v>44827</c:v>
                      </c:pt>
                      <c:pt idx="7222">
                        <c:v>44830</c:v>
                      </c:pt>
                      <c:pt idx="7223">
                        <c:v>44831</c:v>
                      </c:pt>
                      <c:pt idx="7224">
                        <c:v>44832</c:v>
                      </c:pt>
                      <c:pt idx="7225">
                        <c:v>44833</c:v>
                      </c:pt>
                      <c:pt idx="7226">
                        <c:v>44834</c:v>
                      </c:pt>
                      <c:pt idx="7227">
                        <c:v>44837</c:v>
                      </c:pt>
                      <c:pt idx="7228">
                        <c:v>44838</c:v>
                      </c:pt>
                      <c:pt idx="7229">
                        <c:v>44839</c:v>
                      </c:pt>
                      <c:pt idx="7230">
                        <c:v>44840</c:v>
                      </c:pt>
                      <c:pt idx="7231">
                        <c:v>44841</c:v>
                      </c:pt>
                      <c:pt idx="7232">
                        <c:v>44844</c:v>
                      </c:pt>
                      <c:pt idx="7233">
                        <c:v>44845</c:v>
                      </c:pt>
                      <c:pt idx="7234">
                        <c:v>44846</c:v>
                      </c:pt>
                      <c:pt idx="7235">
                        <c:v>44847</c:v>
                      </c:pt>
                      <c:pt idx="7236">
                        <c:v>44848</c:v>
                      </c:pt>
                      <c:pt idx="7237">
                        <c:v>44851</c:v>
                      </c:pt>
                      <c:pt idx="7238">
                        <c:v>44852</c:v>
                      </c:pt>
                      <c:pt idx="7239">
                        <c:v>44853</c:v>
                      </c:pt>
                      <c:pt idx="7240">
                        <c:v>44854</c:v>
                      </c:pt>
                      <c:pt idx="7241">
                        <c:v>44855</c:v>
                      </c:pt>
                      <c:pt idx="7242">
                        <c:v>44858</c:v>
                      </c:pt>
                      <c:pt idx="7243">
                        <c:v>44859</c:v>
                      </c:pt>
                      <c:pt idx="7244">
                        <c:v>44860</c:v>
                      </c:pt>
                      <c:pt idx="7245">
                        <c:v>44861</c:v>
                      </c:pt>
                      <c:pt idx="7246">
                        <c:v>44862</c:v>
                      </c:pt>
                      <c:pt idx="7247">
                        <c:v>44865</c:v>
                      </c:pt>
                      <c:pt idx="7248">
                        <c:v>44866</c:v>
                      </c:pt>
                      <c:pt idx="7249">
                        <c:v>44867</c:v>
                      </c:pt>
                      <c:pt idx="7250">
                        <c:v>44868</c:v>
                      </c:pt>
                      <c:pt idx="7251">
                        <c:v>44869</c:v>
                      </c:pt>
                      <c:pt idx="7252">
                        <c:v>44872</c:v>
                      </c:pt>
                      <c:pt idx="7253">
                        <c:v>44873</c:v>
                      </c:pt>
                      <c:pt idx="7254">
                        <c:v>44874</c:v>
                      </c:pt>
                      <c:pt idx="7255">
                        <c:v>44875</c:v>
                      </c:pt>
                      <c:pt idx="7256">
                        <c:v>44876</c:v>
                      </c:pt>
                      <c:pt idx="7257">
                        <c:v>44879</c:v>
                      </c:pt>
                      <c:pt idx="7258">
                        <c:v>44880</c:v>
                      </c:pt>
                      <c:pt idx="7259">
                        <c:v>44881</c:v>
                      </c:pt>
                      <c:pt idx="7260">
                        <c:v>44882</c:v>
                      </c:pt>
                      <c:pt idx="7261">
                        <c:v>44883</c:v>
                      </c:pt>
                      <c:pt idx="7262">
                        <c:v>44886</c:v>
                      </c:pt>
                      <c:pt idx="7263">
                        <c:v>44887</c:v>
                      </c:pt>
                      <c:pt idx="7264">
                        <c:v>44888</c:v>
                      </c:pt>
                      <c:pt idx="7265">
                        <c:v>44889</c:v>
                      </c:pt>
                      <c:pt idx="7266">
                        <c:v>44890</c:v>
                      </c:pt>
                      <c:pt idx="7267">
                        <c:v>44893</c:v>
                      </c:pt>
                      <c:pt idx="7268">
                        <c:v>44894</c:v>
                      </c:pt>
                      <c:pt idx="7269">
                        <c:v>44895</c:v>
                      </c:pt>
                      <c:pt idx="7270">
                        <c:v>44896</c:v>
                      </c:pt>
                      <c:pt idx="7271">
                        <c:v>44897</c:v>
                      </c:pt>
                      <c:pt idx="7272">
                        <c:v>44900</c:v>
                      </c:pt>
                      <c:pt idx="7273">
                        <c:v>44901</c:v>
                      </c:pt>
                      <c:pt idx="7274">
                        <c:v>44902</c:v>
                      </c:pt>
                      <c:pt idx="7275">
                        <c:v>44903</c:v>
                      </c:pt>
                      <c:pt idx="7276">
                        <c:v>44904</c:v>
                      </c:pt>
                      <c:pt idx="7277">
                        <c:v>44907</c:v>
                      </c:pt>
                      <c:pt idx="7278">
                        <c:v>44908</c:v>
                      </c:pt>
                      <c:pt idx="7279">
                        <c:v>44909</c:v>
                      </c:pt>
                      <c:pt idx="7280">
                        <c:v>44910</c:v>
                      </c:pt>
                      <c:pt idx="7281">
                        <c:v>44911</c:v>
                      </c:pt>
                      <c:pt idx="7282">
                        <c:v>44914</c:v>
                      </c:pt>
                      <c:pt idx="7283">
                        <c:v>44915</c:v>
                      </c:pt>
                      <c:pt idx="7284">
                        <c:v>44916</c:v>
                      </c:pt>
                      <c:pt idx="7285">
                        <c:v>44917</c:v>
                      </c:pt>
                      <c:pt idx="7286">
                        <c:v>44918</c:v>
                      </c:pt>
                      <c:pt idx="7287">
                        <c:v>44921</c:v>
                      </c:pt>
                      <c:pt idx="7288">
                        <c:v>44922</c:v>
                      </c:pt>
                      <c:pt idx="7289">
                        <c:v>44923</c:v>
                      </c:pt>
                      <c:pt idx="7290">
                        <c:v>44924</c:v>
                      </c:pt>
                      <c:pt idx="7291">
                        <c:v>44925</c:v>
                      </c:pt>
                      <c:pt idx="7292">
                        <c:v>44928</c:v>
                      </c:pt>
                      <c:pt idx="7293">
                        <c:v>44929</c:v>
                      </c:pt>
                      <c:pt idx="7294">
                        <c:v>44930</c:v>
                      </c:pt>
                      <c:pt idx="7295">
                        <c:v>44931</c:v>
                      </c:pt>
                      <c:pt idx="7296">
                        <c:v>44932</c:v>
                      </c:pt>
                      <c:pt idx="7297">
                        <c:v>44935</c:v>
                      </c:pt>
                      <c:pt idx="7298">
                        <c:v>44936</c:v>
                      </c:pt>
                      <c:pt idx="7299">
                        <c:v>44937</c:v>
                      </c:pt>
                      <c:pt idx="7300">
                        <c:v>44938</c:v>
                      </c:pt>
                      <c:pt idx="7301">
                        <c:v>44939</c:v>
                      </c:pt>
                      <c:pt idx="7302">
                        <c:v>44942</c:v>
                      </c:pt>
                      <c:pt idx="7303">
                        <c:v>44943</c:v>
                      </c:pt>
                      <c:pt idx="7304">
                        <c:v>44944</c:v>
                      </c:pt>
                      <c:pt idx="7305">
                        <c:v>44945</c:v>
                      </c:pt>
                      <c:pt idx="7306">
                        <c:v>44946</c:v>
                      </c:pt>
                      <c:pt idx="7307">
                        <c:v>44949</c:v>
                      </c:pt>
                      <c:pt idx="7308">
                        <c:v>44950</c:v>
                      </c:pt>
                      <c:pt idx="7309">
                        <c:v>44951</c:v>
                      </c:pt>
                      <c:pt idx="7310">
                        <c:v>44952</c:v>
                      </c:pt>
                      <c:pt idx="7311">
                        <c:v>44953</c:v>
                      </c:pt>
                      <c:pt idx="7312">
                        <c:v>44956</c:v>
                      </c:pt>
                      <c:pt idx="7313">
                        <c:v>44957</c:v>
                      </c:pt>
                      <c:pt idx="7314">
                        <c:v>44958</c:v>
                      </c:pt>
                      <c:pt idx="7315">
                        <c:v>44959</c:v>
                      </c:pt>
                      <c:pt idx="7316">
                        <c:v>44960</c:v>
                      </c:pt>
                      <c:pt idx="7317">
                        <c:v>44963</c:v>
                      </c:pt>
                      <c:pt idx="7318">
                        <c:v>44964</c:v>
                      </c:pt>
                      <c:pt idx="7319">
                        <c:v>44965</c:v>
                      </c:pt>
                      <c:pt idx="7320">
                        <c:v>44966</c:v>
                      </c:pt>
                      <c:pt idx="7321">
                        <c:v>44967</c:v>
                      </c:pt>
                      <c:pt idx="7322">
                        <c:v>44970</c:v>
                      </c:pt>
                      <c:pt idx="7323">
                        <c:v>44971</c:v>
                      </c:pt>
                      <c:pt idx="7324">
                        <c:v>44972</c:v>
                      </c:pt>
                      <c:pt idx="7325">
                        <c:v>44973</c:v>
                      </c:pt>
                      <c:pt idx="7326">
                        <c:v>44974</c:v>
                      </c:pt>
                      <c:pt idx="7327">
                        <c:v>44977</c:v>
                      </c:pt>
                      <c:pt idx="7328">
                        <c:v>44978</c:v>
                      </c:pt>
                      <c:pt idx="7329">
                        <c:v>44979</c:v>
                      </c:pt>
                      <c:pt idx="7330">
                        <c:v>44980</c:v>
                      </c:pt>
                      <c:pt idx="7331">
                        <c:v>44981</c:v>
                      </c:pt>
                      <c:pt idx="7332">
                        <c:v>44984</c:v>
                      </c:pt>
                      <c:pt idx="7333">
                        <c:v>44985</c:v>
                      </c:pt>
                      <c:pt idx="7334">
                        <c:v>44986</c:v>
                      </c:pt>
                      <c:pt idx="7335">
                        <c:v>44987</c:v>
                      </c:pt>
                      <c:pt idx="7336">
                        <c:v>44988</c:v>
                      </c:pt>
                      <c:pt idx="7337">
                        <c:v>44991</c:v>
                      </c:pt>
                      <c:pt idx="7338">
                        <c:v>44992</c:v>
                      </c:pt>
                      <c:pt idx="7339">
                        <c:v>44993</c:v>
                      </c:pt>
                      <c:pt idx="7340">
                        <c:v>44994</c:v>
                      </c:pt>
                      <c:pt idx="7341">
                        <c:v>44995</c:v>
                      </c:pt>
                      <c:pt idx="7342">
                        <c:v>44998</c:v>
                      </c:pt>
                      <c:pt idx="7343">
                        <c:v>44999</c:v>
                      </c:pt>
                      <c:pt idx="7344">
                        <c:v>45000</c:v>
                      </c:pt>
                      <c:pt idx="7345">
                        <c:v>45001</c:v>
                      </c:pt>
                      <c:pt idx="7346">
                        <c:v>45002</c:v>
                      </c:pt>
                      <c:pt idx="7347">
                        <c:v>45005</c:v>
                      </c:pt>
                      <c:pt idx="7348">
                        <c:v>45006</c:v>
                      </c:pt>
                      <c:pt idx="7349">
                        <c:v>45007</c:v>
                      </c:pt>
                      <c:pt idx="7350">
                        <c:v>45008</c:v>
                      </c:pt>
                      <c:pt idx="7351">
                        <c:v>45009</c:v>
                      </c:pt>
                      <c:pt idx="7352">
                        <c:v>45012</c:v>
                      </c:pt>
                      <c:pt idx="7353">
                        <c:v>45013</c:v>
                      </c:pt>
                      <c:pt idx="7354">
                        <c:v>45014</c:v>
                      </c:pt>
                      <c:pt idx="7355">
                        <c:v>45015</c:v>
                      </c:pt>
                      <c:pt idx="7356">
                        <c:v>45016</c:v>
                      </c:pt>
                      <c:pt idx="7357">
                        <c:v>45019</c:v>
                      </c:pt>
                      <c:pt idx="7358">
                        <c:v>45020</c:v>
                      </c:pt>
                      <c:pt idx="7359">
                        <c:v>45021</c:v>
                      </c:pt>
                      <c:pt idx="7360">
                        <c:v>45022</c:v>
                      </c:pt>
                      <c:pt idx="7361">
                        <c:v>45023</c:v>
                      </c:pt>
                      <c:pt idx="7362">
                        <c:v>45026</c:v>
                      </c:pt>
                      <c:pt idx="7363">
                        <c:v>45027</c:v>
                      </c:pt>
                      <c:pt idx="7364">
                        <c:v>45028</c:v>
                      </c:pt>
                      <c:pt idx="7365">
                        <c:v>45029</c:v>
                      </c:pt>
                      <c:pt idx="7366">
                        <c:v>45030</c:v>
                      </c:pt>
                      <c:pt idx="7367">
                        <c:v>45033</c:v>
                      </c:pt>
                      <c:pt idx="7368">
                        <c:v>45034</c:v>
                      </c:pt>
                      <c:pt idx="7369">
                        <c:v>45035</c:v>
                      </c:pt>
                      <c:pt idx="7370">
                        <c:v>45036</c:v>
                      </c:pt>
                      <c:pt idx="7371">
                        <c:v>45037</c:v>
                      </c:pt>
                      <c:pt idx="7372">
                        <c:v>45040</c:v>
                      </c:pt>
                      <c:pt idx="7373">
                        <c:v>45041</c:v>
                      </c:pt>
                      <c:pt idx="7374">
                        <c:v>45042</c:v>
                      </c:pt>
                      <c:pt idx="7375">
                        <c:v>45043</c:v>
                      </c:pt>
                      <c:pt idx="7376">
                        <c:v>45044</c:v>
                      </c:pt>
                      <c:pt idx="7377">
                        <c:v>45047</c:v>
                      </c:pt>
                      <c:pt idx="7378">
                        <c:v>45048</c:v>
                      </c:pt>
                      <c:pt idx="7379">
                        <c:v>45049</c:v>
                      </c:pt>
                      <c:pt idx="7380">
                        <c:v>45050</c:v>
                      </c:pt>
                      <c:pt idx="7381">
                        <c:v>45051</c:v>
                      </c:pt>
                      <c:pt idx="7382">
                        <c:v>45054</c:v>
                      </c:pt>
                      <c:pt idx="7383">
                        <c:v>45055</c:v>
                      </c:pt>
                      <c:pt idx="7384">
                        <c:v>45056</c:v>
                      </c:pt>
                      <c:pt idx="7385">
                        <c:v>45057</c:v>
                      </c:pt>
                      <c:pt idx="7386">
                        <c:v>45058</c:v>
                      </c:pt>
                      <c:pt idx="7387">
                        <c:v>45061</c:v>
                      </c:pt>
                      <c:pt idx="7388">
                        <c:v>45062</c:v>
                      </c:pt>
                      <c:pt idx="7389">
                        <c:v>45063</c:v>
                      </c:pt>
                      <c:pt idx="7390">
                        <c:v>45064</c:v>
                      </c:pt>
                      <c:pt idx="7391">
                        <c:v>45065</c:v>
                      </c:pt>
                      <c:pt idx="7392">
                        <c:v>45068</c:v>
                      </c:pt>
                      <c:pt idx="7393">
                        <c:v>45069</c:v>
                      </c:pt>
                      <c:pt idx="7394">
                        <c:v>45070</c:v>
                      </c:pt>
                      <c:pt idx="7395">
                        <c:v>45071</c:v>
                      </c:pt>
                      <c:pt idx="7396">
                        <c:v>45072</c:v>
                      </c:pt>
                      <c:pt idx="7397">
                        <c:v>45075</c:v>
                      </c:pt>
                      <c:pt idx="7398">
                        <c:v>45076</c:v>
                      </c:pt>
                      <c:pt idx="7399">
                        <c:v>45077</c:v>
                      </c:pt>
                      <c:pt idx="7400">
                        <c:v>45078</c:v>
                      </c:pt>
                      <c:pt idx="7401">
                        <c:v>45079</c:v>
                      </c:pt>
                      <c:pt idx="7402">
                        <c:v>45082</c:v>
                      </c:pt>
                      <c:pt idx="7403">
                        <c:v>45083</c:v>
                      </c:pt>
                      <c:pt idx="7404">
                        <c:v>45084</c:v>
                      </c:pt>
                      <c:pt idx="7405">
                        <c:v>45085</c:v>
                      </c:pt>
                      <c:pt idx="7406">
                        <c:v>45086</c:v>
                      </c:pt>
                      <c:pt idx="7407">
                        <c:v>45089</c:v>
                      </c:pt>
                      <c:pt idx="7408">
                        <c:v>45090</c:v>
                      </c:pt>
                      <c:pt idx="7409">
                        <c:v>45091</c:v>
                      </c:pt>
                      <c:pt idx="7410">
                        <c:v>45092</c:v>
                      </c:pt>
                      <c:pt idx="7411">
                        <c:v>45093</c:v>
                      </c:pt>
                      <c:pt idx="7412">
                        <c:v>45096</c:v>
                      </c:pt>
                      <c:pt idx="7413">
                        <c:v>45097</c:v>
                      </c:pt>
                      <c:pt idx="7414">
                        <c:v>45098</c:v>
                      </c:pt>
                      <c:pt idx="7415">
                        <c:v>45099</c:v>
                      </c:pt>
                      <c:pt idx="7416">
                        <c:v>45100</c:v>
                      </c:pt>
                      <c:pt idx="7417">
                        <c:v>45103</c:v>
                      </c:pt>
                      <c:pt idx="7418">
                        <c:v>45104</c:v>
                      </c:pt>
                      <c:pt idx="7419">
                        <c:v>45105</c:v>
                      </c:pt>
                      <c:pt idx="7420">
                        <c:v>45106</c:v>
                      </c:pt>
                      <c:pt idx="7421">
                        <c:v>45107</c:v>
                      </c:pt>
                      <c:pt idx="7422">
                        <c:v>45110</c:v>
                      </c:pt>
                      <c:pt idx="7423">
                        <c:v>45111</c:v>
                      </c:pt>
                      <c:pt idx="7424">
                        <c:v>45112</c:v>
                      </c:pt>
                      <c:pt idx="7425">
                        <c:v>45113</c:v>
                      </c:pt>
                      <c:pt idx="7426">
                        <c:v>45114</c:v>
                      </c:pt>
                      <c:pt idx="7427">
                        <c:v>45117</c:v>
                      </c:pt>
                      <c:pt idx="7428">
                        <c:v>45118</c:v>
                      </c:pt>
                      <c:pt idx="7429">
                        <c:v>45119</c:v>
                      </c:pt>
                      <c:pt idx="7430">
                        <c:v>45120</c:v>
                      </c:pt>
                      <c:pt idx="7431">
                        <c:v>45121</c:v>
                      </c:pt>
                      <c:pt idx="7432">
                        <c:v>45124</c:v>
                      </c:pt>
                      <c:pt idx="7433">
                        <c:v>45125</c:v>
                      </c:pt>
                      <c:pt idx="7434">
                        <c:v>45126</c:v>
                      </c:pt>
                      <c:pt idx="7435">
                        <c:v>45127</c:v>
                      </c:pt>
                      <c:pt idx="7436">
                        <c:v>45128</c:v>
                      </c:pt>
                      <c:pt idx="7437">
                        <c:v>45131</c:v>
                      </c:pt>
                      <c:pt idx="7438">
                        <c:v>45132</c:v>
                      </c:pt>
                      <c:pt idx="7439">
                        <c:v>45133</c:v>
                      </c:pt>
                      <c:pt idx="7440">
                        <c:v>45134</c:v>
                      </c:pt>
                      <c:pt idx="7441">
                        <c:v>45135</c:v>
                      </c:pt>
                      <c:pt idx="7442">
                        <c:v>45138</c:v>
                      </c:pt>
                      <c:pt idx="7443">
                        <c:v>45139</c:v>
                      </c:pt>
                      <c:pt idx="7444">
                        <c:v>45140</c:v>
                      </c:pt>
                      <c:pt idx="7445">
                        <c:v>45141</c:v>
                      </c:pt>
                      <c:pt idx="7446">
                        <c:v>45142</c:v>
                      </c:pt>
                      <c:pt idx="7447">
                        <c:v>45145</c:v>
                      </c:pt>
                      <c:pt idx="7448">
                        <c:v>45146</c:v>
                      </c:pt>
                      <c:pt idx="7449">
                        <c:v>45147</c:v>
                      </c:pt>
                      <c:pt idx="7450">
                        <c:v>45148</c:v>
                      </c:pt>
                      <c:pt idx="7451">
                        <c:v>45149</c:v>
                      </c:pt>
                      <c:pt idx="7452">
                        <c:v>45152</c:v>
                      </c:pt>
                      <c:pt idx="7453">
                        <c:v>45153</c:v>
                      </c:pt>
                      <c:pt idx="7454">
                        <c:v>45154</c:v>
                      </c:pt>
                      <c:pt idx="7455">
                        <c:v>45155</c:v>
                      </c:pt>
                      <c:pt idx="7456">
                        <c:v>45156</c:v>
                      </c:pt>
                      <c:pt idx="7457">
                        <c:v>45159</c:v>
                      </c:pt>
                      <c:pt idx="7458">
                        <c:v>45160</c:v>
                      </c:pt>
                      <c:pt idx="7459">
                        <c:v>45161</c:v>
                      </c:pt>
                      <c:pt idx="7460">
                        <c:v>45162</c:v>
                      </c:pt>
                      <c:pt idx="7461">
                        <c:v>45163</c:v>
                      </c:pt>
                      <c:pt idx="7462">
                        <c:v>45166</c:v>
                      </c:pt>
                      <c:pt idx="7463">
                        <c:v>45167</c:v>
                      </c:pt>
                      <c:pt idx="7464">
                        <c:v>45168</c:v>
                      </c:pt>
                      <c:pt idx="7465">
                        <c:v>45169</c:v>
                      </c:pt>
                      <c:pt idx="7466">
                        <c:v>45170</c:v>
                      </c:pt>
                      <c:pt idx="7467">
                        <c:v>45173</c:v>
                      </c:pt>
                      <c:pt idx="7468">
                        <c:v>45174</c:v>
                      </c:pt>
                      <c:pt idx="7469">
                        <c:v>45175</c:v>
                      </c:pt>
                      <c:pt idx="7470">
                        <c:v>45176</c:v>
                      </c:pt>
                      <c:pt idx="7471">
                        <c:v>45177</c:v>
                      </c:pt>
                      <c:pt idx="7472">
                        <c:v>45180</c:v>
                      </c:pt>
                      <c:pt idx="7473">
                        <c:v>45181</c:v>
                      </c:pt>
                      <c:pt idx="7474">
                        <c:v>45182</c:v>
                      </c:pt>
                      <c:pt idx="7475">
                        <c:v>45183</c:v>
                      </c:pt>
                      <c:pt idx="7476">
                        <c:v>45184</c:v>
                      </c:pt>
                      <c:pt idx="7477">
                        <c:v>45187</c:v>
                      </c:pt>
                      <c:pt idx="7478">
                        <c:v>45188</c:v>
                      </c:pt>
                      <c:pt idx="7479">
                        <c:v>45189</c:v>
                      </c:pt>
                      <c:pt idx="7480">
                        <c:v>45190</c:v>
                      </c:pt>
                      <c:pt idx="7481">
                        <c:v>45191</c:v>
                      </c:pt>
                      <c:pt idx="7482">
                        <c:v>45194</c:v>
                      </c:pt>
                      <c:pt idx="7483">
                        <c:v>45195</c:v>
                      </c:pt>
                      <c:pt idx="7484">
                        <c:v>45196</c:v>
                      </c:pt>
                      <c:pt idx="7485">
                        <c:v>45197</c:v>
                      </c:pt>
                      <c:pt idx="7486">
                        <c:v>45198</c:v>
                      </c:pt>
                      <c:pt idx="7487">
                        <c:v>45201</c:v>
                      </c:pt>
                      <c:pt idx="7488">
                        <c:v>45202</c:v>
                      </c:pt>
                      <c:pt idx="7489">
                        <c:v>45203</c:v>
                      </c:pt>
                      <c:pt idx="7490">
                        <c:v>45204</c:v>
                      </c:pt>
                      <c:pt idx="7491">
                        <c:v>45205</c:v>
                      </c:pt>
                      <c:pt idx="7492">
                        <c:v>45208</c:v>
                      </c:pt>
                      <c:pt idx="7493">
                        <c:v>45209</c:v>
                      </c:pt>
                      <c:pt idx="7494">
                        <c:v>45210</c:v>
                      </c:pt>
                      <c:pt idx="7495">
                        <c:v>45211</c:v>
                      </c:pt>
                      <c:pt idx="7496">
                        <c:v>45212</c:v>
                      </c:pt>
                      <c:pt idx="7497">
                        <c:v>45215</c:v>
                      </c:pt>
                      <c:pt idx="7498">
                        <c:v>45216</c:v>
                      </c:pt>
                      <c:pt idx="7499">
                        <c:v>45217</c:v>
                      </c:pt>
                      <c:pt idx="7500">
                        <c:v>45218</c:v>
                      </c:pt>
                      <c:pt idx="7501">
                        <c:v>45219</c:v>
                      </c:pt>
                      <c:pt idx="7502">
                        <c:v>45222</c:v>
                      </c:pt>
                      <c:pt idx="7503">
                        <c:v>45223</c:v>
                      </c:pt>
                      <c:pt idx="7504">
                        <c:v>45224</c:v>
                      </c:pt>
                      <c:pt idx="7505">
                        <c:v>45225</c:v>
                      </c:pt>
                      <c:pt idx="7506">
                        <c:v>45226</c:v>
                      </c:pt>
                      <c:pt idx="7507">
                        <c:v>45229</c:v>
                      </c:pt>
                      <c:pt idx="7508">
                        <c:v>45230</c:v>
                      </c:pt>
                      <c:pt idx="7509">
                        <c:v>45231</c:v>
                      </c:pt>
                      <c:pt idx="7510">
                        <c:v>45232</c:v>
                      </c:pt>
                      <c:pt idx="7511">
                        <c:v>45233</c:v>
                      </c:pt>
                      <c:pt idx="7512">
                        <c:v>45236</c:v>
                      </c:pt>
                      <c:pt idx="7513">
                        <c:v>45237</c:v>
                      </c:pt>
                      <c:pt idx="7514">
                        <c:v>45238</c:v>
                      </c:pt>
                      <c:pt idx="7515">
                        <c:v>45239</c:v>
                      </c:pt>
                      <c:pt idx="7516">
                        <c:v>45240</c:v>
                      </c:pt>
                      <c:pt idx="7517">
                        <c:v>45243</c:v>
                      </c:pt>
                      <c:pt idx="7518">
                        <c:v>45244</c:v>
                      </c:pt>
                      <c:pt idx="7519">
                        <c:v>45245</c:v>
                      </c:pt>
                      <c:pt idx="7520">
                        <c:v>45246</c:v>
                      </c:pt>
                      <c:pt idx="7521">
                        <c:v>45247</c:v>
                      </c:pt>
                      <c:pt idx="7522">
                        <c:v>45250</c:v>
                      </c:pt>
                      <c:pt idx="7523">
                        <c:v>45251</c:v>
                      </c:pt>
                      <c:pt idx="7524">
                        <c:v>45252</c:v>
                      </c:pt>
                      <c:pt idx="7525">
                        <c:v>45253</c:v>
                      </c:pt>
                      <c:pt idx="7526">
                        <c:v>45254</c:v>
                      </c:pt>
                      <c:pt idx="7527">
                        <c:v>45257</c:v>
                      </c:pt>
                      <c:pt idx="7528">
                        <c:v>45258</c:v>
                      </c:pt>
                      <c:pt idx="7529">
                        <c:v>45259</c:v>
                      </c:pt>
                      <c:pt idx="7530">
                        <c:v>45260</c:v>
                      </c:pt>
                      <c:pt idx="7531">
                        <c:v>45261</c:v>
                      </c:pt>
                      <c:pt idx="7532">
                        <c:v>45264</c:v>
                      </c:pt>
                      <c:pt idx="7533">
                        <c:v>45265</c:v>
                      </c:pt>
                      <c:pt idx="7534">
                        <c:v>45266</c:v>
                      </c:pt>
                      <c:pt idx="7535">
                        <c:v>45267</c:v>
                      </c:pt>
                      <c:pt idx="7536">
                        <c:v>45268</c:v>
                      </c:pt>
                      <c:pt idx="7537">
                        <c:v>45271</c:v>
                      </c:pt>
                      <c:pt idx="7538">
                        <c:v>45272</c:v>
                      </c:pt>
                      <c:pt idx="7539">
                        <c:v>45273</c:v>
                      </c:pt>
                      <c:pt idx="7540">
                        <c:v>45274</c:v>
                      </c:pt>
                      <c:pt idx="7541">
                        <c:v>45275</c:v>
                      </c:pt>
                      <c:pt idx="7542">
                        <c:v>45278</c:v>
                      </c:pt>
                      <c:pt idx="7543">
                        <c:v>45279</c:v>
                      </c:pt>
                      <c:pt idx="7544">
                        <c:v>45280</c:v>
                      </c:pt>
                      <c:pt idx="7545">
                        <c:v>45281</c:v>
                      </c:pt>
                      <c:pt idx="7546">
                        <c:v>45282</c:v>
                      </c:pt>
                      <c:pt idx="7547">
                        <c:v>45285</c:v>
                      </c:pt>
                      <c:pt idx="7548">
                        <c:v>45286</c:v>
                      </c:pt>
                      <c:pt idx="7549">
                        <c:v>45287</c:v>
                      </c:pt>
                      <c:pt idx="7550">
                        <c:v>45288</c:v>
                      </c:pt>
                      <c:pt idx="7551">
                        <c:v>45289</c:v>
                      </c:pt>
                      <c:pt idx="7552">
                        <c:v>45292</c:v>
                      </c:pt>
                      <c:pt idx="7553">
                        <c:v>45293</c:v>
                      </c:pt>
                      <c:pt idx="7554">
                        <c:v>45294</c:v>
                      </c:pt>
                      <c:pt idx="7555">
                        <c:v>45295</c:v>
                      </c:pt>
                      <c:pt idx="7556">
                        <c:v>45296</c:v>
                      </c:pt>
                      <c:pt idx="7557">
                        <c:v>45299</c:v>
                      </c:pt>
                      <c:pt idx="7558">
                        <c:v>45300</c:v>
                      </c:pt>
                      <c:pt idx="7559">
                        <c:v>45301</c:v>
                      </c:pt>
                      <c:pt idx="7560">
                        <c:v>45302</c:v>
                      </c:pt>
                      <c:pt idx="7561">
                        <c:v>45303</c:v>
                      </c:pt>
                      <c:pt idx="7562">
                        <c:v>45306</c:v>
                      </c:pt>
                      <c:pt idx="7563">
                        <c:v>45307</c:v>
                      </c:pt>
                      <c:pt idx="7564">
                        <c:v>45308</c:v>
                      </c:pt>
                      <c:pt idx="7565">
                        <c:v>45309</c:v>
                      </c:pt>
                      <c:pt idx="7566">
                        <c:v>45310</c:v>
                      </c:pt>
                      <c:pt idx="7567">
                        <c:v>45313</c:v>
                      </c:pt>
                      <c:pt idx="7568">
                        <c:v>45314</c:v>
                      </c:pt>
                      <c:pt idx="7569">
                        <c:v>45315</c:v>
                      </c:pt>
                      <c:pt idx="7570">
                        <c:v>45316</c:v>
                      </c:pt>
                      <c:pt idx="7571">
                        <c:v>45317</c:v>
                      </c:pt>
                      <c:pt idx="7572">
                        <c:v>45320</c:v>
                      </c:pt>
                      <c:pt idx="7573">
                        <c:v>45321</c:v>
                      </c:pt>
                      <c:pt idx="7574">
                        <c:v>45322</c:v>
                      </c:pt>
                      <c:pt idx="7575">
                        <c:v>45323</c:v>
                      </c:pt>
                      <c:pt idx="7576">
                        <c:v>45324</c:v>
                      </c:pt>
                      <c:pt idx="7577">
                        <c:v>45327</c:v>
                      </c:pt>
                      <c:pt idx="7578">
                        <c:v>45328</c:v>
                      </c:pt>
                      <c:pt idx="7579">
                        <c:v>45329</c:v>
                      </c:pt>
                      <c:pt idx="7580">
                        <c:v>45330</c:v>
                      </c:pt>
                      <c:pt idx="7581">
                        <c:v>45331</c:v>
                      </c:pt>
                      <c:pt idx="7582">
                        <c:v>45334</c:v>
                      </c:pt>
                      <c:pt idx="7583">
                        <c:v>45335</c:v>
                      </c:pt>
                      <c:pt idx="7584">
                        <c:v>45336</c:v>
                      </c:pt>
                      <c:pt idx="7585">
                        <c:v>45337</c:v>
                      </c:pt>
                      <c:pt idx="7586">
                        <c:v>45338</c:v>
                      </c:pt>
                      <c:pt idx="7587">
                        <c:v>45341</c:v>
                      </c:pt>
                      <c:pt idx="7588">
                        <c:v>45342</c:v>
                      </c:pt>
                      <c:pt idx="7589">
                        <c:v>45343</c:v>
                      </c:pt>
                      <c:pt idx="7590">
                        <c:v>45344</c:v>
                      </c:pt>
                      <c:pt idx="7591">
                        <c:v>45345</c:v>
                      </c:pt>
                      <c:pt idx="7592">
                        <c:v>45348</c:v>
                      </c:pt>
                      <c:pt idx="7593">
                        <c:v>45349</c:v>
                      </c:pt>
                      <c:pt idx="7594">
                        <c:v>45350</c:v>
                      </c:pt>
                      <c:pt idx="7595">
                        <c:v>45351</c:v>
                      </c:pt>
                      <c:pt idx="7596">
                        <c:v>45352</c:v>
                      </c:pt>
                      <c:pt idx="7597">
                        <c:v>45355</c:v>
                      </c:pt>
                      <c:pt idx="7598">
                        <c:v>45356</c:v>
                      </c:pt>
                      <c:pt idx="7599">
                        <c:v>45357</c:v>
                      </c:pt>
                      <c:pt idx="7600">
                        <c:v>45358</c:v>
                      </c:pt>
                      <c:pt idx="7601">
                        <c:v>45359</c:v>
                      </c:pt>
                      <c:pt idx="7602">
                        <c:v>45362</c:v>
                      </c:pt>
                      <c:pt idx="7603">
                        <c:v>45363</c:v>
                      </c:pt>
                      <c:pt idx="7604">
                        <c:v>45364</c:v>
                      </c:pt>
                      <c:pt idx="7605">
                        <c:v>45365</c:v>
                      </c:pt>
                      <c:pt idx="7606">
                        <c:v>45366</c:v>
                      </c:pt>
                      <c:pt idx="7607">
                        <c:v>45369</c:v>
                      </c:pt>
                      <c:pt idx="7608">
                        <c:v>45370</c:v>
                      </c:pt>
                      <c:pt idx="7609">
                        <c:v>45371</c:v>
                      </c:pt>
                      <c:pt idx="7610">
                        <c:v>45372</c:v>
                      </c:pt>
                      <c:pt idx="7611">
                        <c:v>45373</c:v>
                      </c:pt>
                      <c:pt idx="7612">
                        <c:v>45376</c:v>
                      </c:pt>
                      <c:pt idx="7613">
                        <c:v>45377</c:v>
                      </c:pt>
                      <c:pt idx="7614">
                        <c:v>45378</c:v>
                      </c:pt>
                      <c:pt idx="7615">
                        <c:v>45379</c:v>
                      </c:pt>
                      <c:pt idx="7616">
                        <c:v>45380</c:v>
                      </c:pt>
                      <c:pt idx="7617">
                        <c:v>45383</c:v>
                      </c:pt>
                      <c:pt idx="7618">
                        <c:v>45384</c:v>
                      </c:pt>
                      <c:pt idx="7619">
                        <c:v>45385</c:v>
                      </c:pt>
                      <c:pt idx="7620">
                        <c:v>45386</c:v>
                      </c:pt>
                      <c:pt idx="7621">
                        <c:v>45387</c:v>
                      </c:pt>
                      <c:pt idx="7622">
                        <c:v>45390</c:v>
                      </c:pt>
                      <c:pt idx="7623">
                        <c:v>45391</c:v>
                      </c:pt>
                      <c:pt idx="7624">
                        <c:v>45392</c:v>
                      </c:pt>
                      <c:pt idx="7625">
                        <c:v>45393</c:v>
                      </c:pt>
                      <c:pt idx="7626">
                        <c:v>45394</c:v>
                      </c:pt>
                      <c:pt idx="7627">
                        <c:v>45397</c:v>
                      </c:pt>
                      <c:pt idx="7628">
                        <c:v>45398</c:v>
                      </c:pt>
                      <c:pt idx="7629">
                        <c:v>45399</c:v>
                      </c:pt>
                      <c:pt idx="7630">
                        <c:v>45400</c:v>
                      </c:pt>
                      <c:pt idx="7631">
                        <c:v>45401</c:v>
                      </c:pt>
                      <c:pt idx="7632">
                        <c:v>45404</c:v>
                      </c:pt>
                      <c:pt idx="7633">
                        <c:v>45405</c:v>
                      </c:pt>
                      <c:pt idx="7634">
                        <c:v>45406</c:v>
                      </c:pt>
                      <c:pt idx="7635">
                        <c:v>45407</c:v>
                      </c:pt>
                      <c:pt idx="7636">
                        <c:v>45408</c:v>
                      </c:pt>
                      <c:pt idx="7637">
                        <c:v>45411</c:v>
                      </c:pt>
                      <c:pt idx="7638">
                        <c:v>45412</c:v>
                      </c:pt>
                      <c:pt idx="7639">
                        <c:v>45413</c:v>
                      </c:pt>
                      <c:pt idx="7640">
                        <c:v>45414</c:v>
                      </c:pt>
                      <c:pt idx="7641">
                        <c:v>45415</c:v>
                      </c:pt>
                      <c:pt idx="7642">
                        <c:v>45418</c:v>
                      </c:pt>
                      <c:pt idx="7643">
                        <c:v>45419</c:v>
                      </c:pt>
                      <c:pt idx="7644">
                        <c:v>45420</c:v>
                      </c:pt>
                      <c:pt idx="7645">
                        <c:v>45421</c:v>
                      </c:pt>
                      <c:pt idx="7646">
                        <c:v>45422</c:v>
                      </c:pt>
                      <c:pt idx="7647">
                        <c:v>45425</c:v>
                      </c:pt>
                      <c:pt idx="7648">
                        <c:v>45426</c:v>
                      </c:pt>
                      <c:pt idx="7649">
                        <c:v>45427</c:v>
                      </c:pt>
                      <c:pt idx="7650">
                        <c:v>45428</c:v>
                      </c:pt>
                      <c:pt idx="7651">
                        <c:v>45429</c:v>
                      </c:pt>
                      <c:pt idx="7652">
                        <c:v>45432</c:v>
                      </c:pt>
                      <c:pt idx="7653">
                        <c:v>45433</c:v>
                      </c:pt>
                      <c:pt idx="7654">
                        <c:v>45434</c:v>
                      </c:pt>
                      <c:pt idx="7655">
                        <c:v>45435</c:v>
                      </c:pt>
                      <c:pt idx="7656">
                        <c:v>45436</c:v>
                      </c:pt>
                      <c:pt idx="7657">
                        <c:v>45439</c:v>
                      </c:pt>
                      <c:pt idx="7658">
                        <c:v>45440</c:v>
                      </c:pt>
                      <c:pt idx="7659">
                        <c:v>45441</c:v>
                      </c:pt>
                      <c:pt idx="7660">
                        <c:v>45442</c:v>
                      </c:pt>
                      <c:pt idx="7661">
                        <c:v>45443</c:v>
                      </c:pt>
                      <c:pt idx="7662">
                        <c:v>45446</c:v>
                      </c:pt>
                      <c:pt idx="7663">
                        <c:v>45447</c:v>
                      </c:pt>
                      <c:pt idx="7664">
                        <c:v>45448</c:v>
                      </c:pt>
                      <c:pt idx="7665">
                        <c:v>45449</c:v>
                      </c:pt>
                      <c:pt idx="7666">
                        <c:v>45450</c:v>
                      </c:pt>
                      <c:pt idx="7667">
                        <c:v>45453</c:v>
                      </c:pt>
                      <c:pt idx="7668">
                        <c:v>45454</c:v>
                      </c:pt>
                      <c:pt idx="7669">
                        <c:v>45455</c:v>
                      </c:pt>
                      <c:pt idx="7670">
                        <c:v>45456</c:v>
                      </c:pt>
                      <c:pt idx="7671">
                        <c:v>45457</c:v>
                      </c:pt>
                      <c:pt idx="7672">
                        <c:v>45460</c:v>
                      </c:pt>
                      <c:pt idx="7673">
                        <c:v>45461</c:v>
                      </c:pt>
                      <c:pt idx="7674">
                        <c:v>45462</c:v>
                      </c:pt>
                      <c:pt idx="7675">
                        <c:v>45463</c:v>
                      </c:pt>
                      <c:pt idx="7676">
                        <c:v>45464</c:v>
                      </c:pt>
                      <c:pt idx="7677">
                        <c:v>45467</c:v>
                      </c:pt>
                      <c:pt idx="7678">
                        <c:v>45468</c:v>
                      </c:pt>
                      <c:pt idx="7679">
                        <c:v>45469</c:v>
                      </c:pt>
                      <c:pt idx="7680">
                        <c:v>45470</c:v>
                      </c:pt>
                      <c:pt idx="7681">
                        <c:v>45471</c:v>
                      </c:pt>
                      <c:pt idx="7682">
                        <c:v>45474</c:v>
                      </c:pt>
                      <c:pt idx="7683">
                        <c:v>45475</c:v>
                      </c:pt>
                      <c:pt idx="7684">
                        <c:v>45476</c:v>
                      </c:pt>
                      <c:pt idx="7685">
                        <c:v>45477</c:v>
                      </c:pt>
                      <c:pt idx="7686">
                        <c:v>45478</c:v>
                      </c:pt>
                      <c:pt idx="7687">
                        <c:v>45481</c:v>
                      </c:pt>
                      <c:pt idx="7688">
                        <c:v>45482</c:v>
                      </c:pt>
                      <c:pt idx="7689">
                        <c:v>45483</c:v>
                      </c:pt>
                      <c:pt idx="7690">
                        <c:v>45484</c:v>
                      </c:pt>
                      <c:pt idx="7691">
                        <c:v>45485</c:v>
                      </c:pt>
                      <c:pt idx="7692">
                        <c:v>45488</c:v>
                      </c:pt>
                      <c:pt idx="7693">
                        <c:v>45489</c:v>
                      </c:pt>
                      <c:pt idx="7694">
                        <c:v>45490</c:v>
                      </c:pt>
                      <c:pt idx="7695">
                        <c:v>45491</c:v>
                      </c:pt>
                      <c:pt idx="7696">
                        <c:v>45492</c:v>
                      </c:pt>
                      <c:pt idx="7697">
                        <c:v>45495</c:v>
                      </c:pt>
                      <c:pt idx="7698">
                        <c:v>45496</c:v>
                      </c:pt>
                      <c:pt idx="7699">
                        <c:v>45497</c:v>
                      </c:pt>
                      <c:pt idx="7700">
                        <c:v>45498</c:v>
                      </c:pt>
                      <c:pt idx="7701">
                        <c:v>45499</c:v>
                      </c:pt>
                      <c:pt idx="7702">
                        <c:v>45502</c:v>
                      </c:pt>
                      <c:pt idx="7703">
                        <c:v>45503</c:v>
                      </c:pt>
                      <c:pt idx="7704">
                        <c:v>45504</c:v>
                      </c:pt>
                      <c:pt idx="7705">
                        <c:v>45505</c:v>
                      </c:pt>
                      <c:pt idx="7706">
                        <c:v>45506</c:v>
                      </c:pt>
                      <c:pt idx="7707">
                        <c:v>45509</c:v>
                      </c:pt>
                      <c:pt idx="7708">
                        <c:v>45510</c:v>
                      </c:pt>
                      <c:pt idx="7709">
                        <c:v>45511</c:v>
                      </c:pt>
                      <c:pt idx="7710">
                        <c:v>45512</c:v>
                      </c:pt>
                      <c:pt idx="7711">
                        <c:v>45513</c:v>
                      </c:pt>
                      <c:pt idx="7712">
                        <c:v>45516</c:v>
                      </c:pt>
                      <c:pt idx="7713">
                        <c:v>45517</c:v>
                      </c:pt>
                      <c:pt idx="7714">
                        <c:v>45518</c:v>
                      </c:pt>
                      <c:pt idx="7715">
                        <c:v>45519</c:v>
                      </c:pt>
                      <c:pt idx="7716">
                        <c:v>45520</c:v>
                      </c:pt>
                      <c:pt idx="7717">
                        <c:v>45523</c:v>
                      </c:pt>
                      <c:pt idx="7718">
                        <c:v>45524</c:v>
                      </c:pt>
                      <c:pt idx="7719">
                        <c:v>45525</c:v>
                      </c:pt>
                      <c:pt idx="7720">
                        <c:v>45526</c:v>
                      </c:pt>
                      <c:pt idx="7721">
                        <c:v>45527</c:v>
                      </c:pt>
                      <c:pt idx="7722">
                        <c:v>45530</c:v>
                      </c:pt>
                      <c:pt idx="7723">
                        <c:v>45531</c:v>
                      </c:pt>
                      <c:pt idx="7724">
                        <c:v>45532</c:v>
                      </c:pt>
                      <c:pt idx="7725">
                        <c:v>45533</c:v>
                      </c:pt>
                      <c:pt idx="7726">
                        <c:v>45534</c:v>
                      </c:pt>
                      <c:pt idx="7727">
                        <c:v>45537</c:v>
                      </c:pt>
                      <c:pt idx="7728">
                        <c:v>45538</c:v>
                      </c:pt>
                      <c:pt idx="7729">
                        <c:v>45539</c:v>
                      </c:pt>
                      <c:pt idx="7730">
                        <c:v>45540</c:v>
                      </c:pt>
                      <c:pt idx="7731">
                        <c:v>45541</c:v>
                      </c:pt>
                      <c:pt idx="7732">
                        <c:v>45544</c:v>
                      </c:pt>
                      <c:pt idx="7733">
                        <c:v>45545</c:v>
                      </c:pt>
                      <c:pt idx="7734">
                        <c:v>45546</c:v>
                      </c:pt>
                      <c:pt idx="7735">
                        <c:v>45547</c:v>
                      </c:pt>
                      <c:pt idx="7736">
                        <c:v>45548</c:v>
                      </c:pt>
                      <c:pt idx="7737">
                        <c:v>45551</c:v>
                      </c:pt>
                      <c:pt idx="7738">
                        <c:v>45552</c:v>
                      </c:pt>
                      <c:pt idx="7739">
                        <c:v>45553</c:v>
                      </c:pt>
                      <c:pt idx="7740">
                        <c:v>45554</c:v>
                      </c:pt>
                      <c:pt idx="7741">
                        <c:v>45555</c:v>
                      </c:pt>
                      <c:pt idx="7742">
                        <c:v>45558</c:v>
                      </c:pt>
                      <c:pt idx="7743">
                        <c:v>45559</c:v>
                      </c:pt>
                      <c:pt idx="7744">
                        <c:v>45560</c:v>
                      </c:pt>
                      <c:pt idx="7745">
                        <c:v>45561</c:v>
                      </c:pt>
                      <c:pt idx="7746">
                        <c:v>45562</c:v>
                      </c:pt>
                      <c:pt idx="7747">
                        <c:v>45565</c:v>
                      </c:pt>
                      <c:pt idx="7748">
                        <c:v>45566</c:v>
                      </c:pt>
                      <c:pt idx="7749">
                        <c:v>45567</c:v>
                      </c:pt>
                      <c:pt idx="7750">
                        <c:v>45568</c:v>
                      </c:pt>
                      <c:pt idx="7751">
                        <c:v>45569</c:v>
                      </c:pt>
                      <c:pt idx="7752">
                        <c:v>45572</c:v>
                      </c:pt>
                      <c:pt idx="7753">
                        <c:v>45573</c:v>
                      </c:pt>
                      <c:pt idx="7754">
                        <c:v>45574</c:v>
                      </c:pt>
                      <c:pt idx="7755">
                        <c:v>45575</c:v>
                      </c:pt>
                      <c:pt idx="7756">
                        <c:v>45576</c:v>
                      </c:pt>
                      <c:pt idx="7757">
                        <c:v>45579</c:v>
                      </c:pt>
                      <c:pt idx="7758">
                        <c:v>45580</c:v>
                      </c:pt>
                      <c:pt idx="7759">
                        <c:v>45581</c:v>
                      </c:pt>
                      <c:pt idx="7760">
                        <c:v>45582</c:v>
                      </c:pt>
                      <c:pt idx="7761">
                        <c:v>45583</c:v>
                      </c:pt>
                      <c:pt idx="7762">
                        <c:v>45586</c:v>
                      </c:pt>
                      <c:pt idx="7763">
                        <c:v>45587</c:v>
                      </c:pt>
                      <c:pt idx="7764">
                        <c:v>45588</c:v>
                      </c:pt>
                      <c:pt idx="7765">
                        <c:v>45589</c:v>
                      </c:pt>
                      <c:pt idx="7766">
                        <c:v>45590</c:v>
                      </c:pt>
                      <c:pt idx="7767">
                        <c:v>45593</c:v>
                      </c:pt>
                      <c:pt idx="7768">
                        <c:v>45594</c:v>
                      </c:pt>
                      <c:pt idx="7769">
                        <c:v>45595</c:v>
                      </c:pt>
                      <c:pt idx="7770">
                        <c:v>45596</c:v>
                      </c:pt>
                      <c:pt idx="7771">
                        <c:v>45597</c:v>
                      </c:pt>
                      <c:pt idx="7772">
                        <c:v>45600</c:v>
                      </c:pt>
                      <c:pt idx="7773">
                        <c:v>45601</c:v>
                      </c:pt>
                      <c:pt idx="7774">
                        <c:v>45602</c:v>
                      </c:pt>
                      <c:pt idx="7775">
                        <c:v>45603</c:v>
                      </c:pt>
                      <c:pt idx="7776">
                        <c:v>45604</c:v>
                      </c:pt>
                      <c:pt idx="7777">
                        <c:v>45607</c:v>
                      </c:pt>
                      <c:pt idx="7778">
                        <c:v>45608</c:v>
                      </c:pt>
                      <c:pt idx="7779">
                        <c:v>45609</c:v>
                      </c:pt>
                      <c:pt idx="7780">
                        <c:v>45610</c:v>
                      </c:pt>
                      <c:pt idx="7781">
                        <c:v>45611</c:v>
                      </c:pt>
                      <c:pt idx="7782">
                        <c:v>45614</c:v>
                      </c:pt>
                      <c:pt idx="7783">
                        <c:v>45615</c:v>
                      </c:pt>
                      <c:pt idx="7784">
                        <c:v>45616</c:v>
                      </c:pt>
                      <c:pt idx="7785">
                        <c:v>45617</c:v>
                      </c:pt>
                      <c:pt idx="7786">
                        <c:v>45618</c:v>
                      </c:pt>
                      <c:pt idx="7787">
                        <c:v>45621</c:v>
                      </c:pt>
                    </c:numCache>
                  </c:numRef>
                </c:cat>
                <c:val>
                  <c:numRef>
                    <c:extLst>
                      <c:ext uri="{02D57815-91ED-43cb-92C2-25804820EDAC}">
                        <c15:formulaRef>
                          <c15:sqref>Sheet1!$E$3:$E$7788</c15:sqref>
                        </c15:formulaRef>
                      </c:ext>
                    </c:extLst>
                    <c:numCache>
                      <c:formatCode>General</c:formatCode>
                      <c:ptCount val="7786"/>
                      <c:pt idx="0">
                        <c:v>1.1839999999999999</c:v>
                      </c:pt>
                      <c:pt idx="1">
                        <c:v>1.1839999999999999</c:v>
                      </c:pt>
                      <c:pt idx="2">
                        <c:v>1.1839999999999999</c:v>
                      </c:pt>
                      <c:pt idx="3">
                        <c:v>1.1839999999999999</c:v>
                      </c:pt>
                      <c:pt idx="4">
                        <c:v>1.1839999999999999</c:v>
                      </c:pt>
                      <c:pt idx="5">
                        <c:v>1.1839999999999999</c:v>
                      </c:pt>
                      <c:pt idx="6">
                        <c:v>1.1839999999999999</c:v>
                      </c:pt>
                      <c:pt idx="7">
                        <c:v>1.1839999999999999</c:v>
                      </c:pt>
                      <c:pt idx="8">
                        <c:v>1.1839999999999999</c:v>
                      </c:pt>
                      <c:pt idx="9">
                        <c:v>1.1839999999999999</c:v>
                      </c:pt>
                      <c:pt idx="10">
                        <c:v>1.1839999999999999</c:v>
                      </c:pt>
                      <c:pt idx="11">
                        <c:v>1.1839999999999999</c:v>
                      </c:pt>
                      <c:pt idx="12">
                        <c:v>1.1839999999999999</c:v>
                      </c:pt>
                      <c:pt idx="13">
                        <c:v>1.1839999999999999</c:v>
                      </c:pt>
                      <c:pt idx="14">
                        <c:v>1.1839999999999999</c:v>
                      </c:pt>
                      <c:pt idx="15">
                        <c:v>1.1839999999999999</c:v>
                      </c:pt>
                      <c:pt idx="16">
                        <c:v>1.1839999999999999</c:v>
                      </c:pt>
                      <c:pt idx="17">
                        <c:v>1.1839999999999999</c:v>
                      </c:pt>
                      <c:pt idx="18">
                        <c:v>1.1839999999999999</c:v>
                      </c:pt>
                      <c:pt idx="19">
                        <c:v>1.1839999999999999</c:v>
                      </c:pt>
                      <c:pt idx="20">
                        <c:v>1.2370000000000001</c:v>
                      </c:pt>
                      <c:pt idx="21">
                        <c:v>1.2370000000000001</c:v>
                      </c:pt>
                      <c:pt idx="22">
                        <c:v>1.2370000000000001</c:v>
                      </c:pt>
                      <c:pt idx="23">
                        <c:v>1.2370000000000001</c:v>
                      </c:pt>
                      <c:pt idx="24">
                        <c:v>1.2370000000000001</c:v>
                      </c:pt>
                      <c:pt idx="25">
                        <c:v>1.2370000000000001</c:v>
                      </c:pt>
                      <c:pt idx="26">
                        <c:v>1.2370000000000001</c:v>
                      </c:pt>
                      <c:pt idx="27">
                        <c:v>1.2370000000000001</c:v>
                      </c:pt>
                      <c:pt idx="28">
                        <c:v>1.2370000000000001</c:v>
                      </c:pt>
                      <c:pt idx="29">
                        <c:v>1.2370000000000001</c:v>
                      </c:pt>
                      <c:pt idx="30">
                        <c:v>1.2370000000000001</c:v>
                      </c:pt>
                      <c:pt idx="31">
                        <c:v>1.2370000000000001</c:v>
                      </c:pt>
                      <c:pt idx="32">
                        <c:v>1.2370000000000001</c:v>
                      </c:pt>
                      <c:pt idx="33">
                        <c:v>1.2370000000000001</c:v>
                      </c:pt>
                      <c:pt idx="34">
                        <c:v>1.2370000000000001</c:v>
                      </c:pt>
                      <c:pt idx="35">
                        <c:v>1.2370000000000001</c:v>
                      </c:pt>
                      <c:pt idx="36">
                        <c:v>1.2370000000000001</c:v>
                      </c:pt>
                      <c:pt idx="37">
                        <c:v>1.2370000000000001</c:v>
                      </c:pt>
                      <c:pt idx="38">
                        <c:v>1.2370000000000001</c:v>
                      </c:pt>
                      <c:pt idx="39">
                        <c:v>1.2370000000000001</c:v>
                      </c:pt>
                      <c:pt idx="40">
                        <c:v>1.294</c:v>
                      </c:pt>
                      <c:pt idx="41">
                        <c:v>1.294</c:v>
                      </c:pt>
                      <c:pt idx="42">
                        <c:v>1.294</c:v>
                      </c:pt>
                      <c:pt idx="43">
                        <c:v>1.294</c:v>
                      </c:pt>
                      <c:pt idx="44">
                        <c:v>1.294</c:v>
                      </c:pt>
                      <c:pt idx="45">
                        <c:v>1.294</c:v>
                      </c:pt>
                      <c:pt idx="46">
                        <c:v>1.294</c:v>
                      </c:pt>
                      <c:pt idx="47">
                        <c:v>1.294</c:v>
                      </c:pt>
                      <c:pt idx="48">
                        <c:v>1.294</c:v>
                      </c:pt>
                      <c:pt idx="49">
                        <c:v>1.294</c:v>
                      </c:pt>
                      <c:pt idx="50">
                        <c:v>1.294</c:v>
                      </c:pt>
                      <c:pt idx="51">
                        <c:v>1.294</c:v>
                      </c:pt>
                      <c:pt idx="52">
                        <c:v>1.294</c:v>
                      </c:pt>
                      <c:pt idx="53">
                        <c:v>1.294</c:v>
                      </c:pt>
                      <c:pt idx="54">
                        <c:v>1.294</c:v>
                      </c:pt>
                      <c:pt idx="55">
                        <c:v>1.294</c:v>
                      </c:pt>
                      <c:pt idx="56">
                        <c:v>1.294</c:v>
                      </c:pt>
                      <c:pt idx="57">
                        <c:v>1.294</c:v>
                      </c:pt>
                      <c:pt idx="58">
                        <c:v>1.294</c:v>
                      </c:pt>
                      <c:pt idx="59">
                        <c:v>1.294</c:v>
                      </c:pt>
                      <c:pt idx="60">
                        <c:v>1.294</c:v>
                      </c:pt>
                      <c:pt idx="61">
                        <c:v>1.294</c:v>
                      </c:pt>
                      <c:pt idx="62">
                        <c:v>1.294</c:v>
                      </c:pt>
                      <c:pt idx="63">
                        <c:v>1.294</c:v>
                      </c:pt>
                      <c:pt idx="64">
                        <c:v>1.294</c:v>
                      </c:pt>
                      <c:pt idx="65">
                        <c:v>1.353</c:v>
                      </c:pt>
                      <c:pt idx="66">
                        <c:v>1.353</c:v>
                      </c:pt>
                      <c:pt idx="67">
                        <c:v>1.353</c:v>
                      </c:pt>
                      <c:pt idx="68">
                        <c:v>1.353</c:v>
                      </c:pt>
                      <c:pt idx="69">
                        <c:v>1.353</c:v>
                      </c:pt>
                      <c:pt idx="70">
                        <c:v>1.353</c:v>
                      </c:pt>
                      <c:pt idx="71">
                        <c:v>1.353</c:v>
                      </c:pt>
                      <c:pt idx="72">
                        <c:v>1.353</c:v>
                      </c:pt>
                      <c:pt idx="73">
                        <c:v>1.353</c:v>
                      </c:pt>
                      <c:pt idx="74">
                        <c:v>1.353</c:v>
                      </c:pt>
                      <c:pt idx="75">
                        <c:v>1.353</c:v>
                      </c:pt>
                      <c:pt idx="76">
                        <c:v>1.353</c:v>
                      </c:pt>
                      <c:pt idx="77">
                        <c:v>1.353</c:v>
                      </c:pt>
                      <c:pt idx="78">
                        <c:v>1.353</c:v>
                      </c:pt>
                      <c:pt idx="79">
                        <c:v>1.353</c:v>
                      </c:pt>
                      <c:pt idx="80">
                        <c:v>1.353</c:v>
                      </c:pt>
                      <c:pt idx="81">
                        <c:v>1.353</c:v>
                      </c:pt>
                      <c:pt idx="82">
                        <c:v>1.353</c:v>
                      </c:pt>
                      <c:pt idx="83">
                        <c:v>1.353</c:v>
                      </c:pt>
                      <c:pt idx="84">
                        <c:v>1.353</c:v>
                      </c:pt>
                      <c:pt idx="85">
                        <c:v>1.419</c:v>
                      </c:pt>
                      <c:pt idx="86">
                        <c:v>1.419</c:v>
                      </c:pt>
                      <c:pt idx="87">
                        <c:v>1.419</c:v>
                      </c:pt>
                      <c:pt idx="88">
                        <c:v>1.419</c:v>
                      </c:pt>
                      <c:pt idx="89">
                        <c:v>1.419</c:v>
                      </c:pt>
                      <c:pt idx="90">
                        <c:v>1.419</c:v>
                      </c:pt>
                      <c:pt idx="91">
                        <c:v>1.419</c:v>
                      </c:pt>
                      <c:pt idx="92">
                        <c:v>1.419</c:v>
                      </c:pt>
                      <c:pt idx="93">
                        <c:v>1.419</c:v>
                      </c:pt>
                      <c:pt idx="94">
                        <c:v>1.419</c:v>
                      </c:pt>
                      <c:pt idx="95">
                        <c:v>1.419</c:v>
                      </c:pt>
                      <c:pt idx="96">
                        <c:v>1.419</c:v>
                      </c:pt>
                      <c:pt idx="97">
                        <c:v>1.419</c:v>
                      </c:pt>
                      <c:pt idx="98">
                        <c:v>1.419</c:v>
                      </c:pt>
                      <c:pt idx="99">
                        <c:v>1.419</c:v>
                      </c:pt>
                      <c:pt idx="100">
                        <c:v>1.419</c:v>
                      </c:pt>
                      <c:pt idx="101">
                        <c:v>1.419</c:v>
                      </c:pt>
                      <c:pt idx="102">
                        <c:v>1.419</c:v>
                      </c:pt>
                      <c:pt idx="103">
                        <c:v>1.419</c:v>
                      </c:pt>
                      <c:pt idx="104">
                        <c:v>1.419</c:v>
                      </c:pt>
                      <c:pt idx="105">
                        <c:v>1.474</c:v>
                      </c:pt>
                      <c:pt idx="106">
                        <c:v>1.474</c:v>
                      </c:pt>
                      <c:pt idx="107">
                        <c:v>1.474</c:v>
                      </c:pt>
                      <c:pt idx="108">
                        <c:v>1.474</c:v>
                      </c:pt>
                      <c:pt idx="109">
                        <c:v>1.474</c:v>
                      </c:pt>
                      <c:pt idx="110">
                        <c:v>1.474</c:v>
                      </c:pt>
                      <c:pt idx="111">
                        <c:v>1.474</c:v>
                      </c:pt>
                      <c:pt idx="112">
                        <c:v>1.474</c:v>
                      </c:pt>
                      <c:pt idx="113">
                        <c:v>1.474</c:v>
                      </c:pt>
                      <c:pt idx="114">
                        <c:v>1.474</c:v>
                      </c:pt>
                      <c:pt idx="115">
                        <c:v>1.474</c:v>
                      </c:pt>
                      <c:pt idx="116">
                        <c:v>1.474</c:v>
                      </c:pt>
                      <c:pt idx="117">
                        <c:v>1.474</c:v>
                      </c:pt>
                      <c:pt idx="118">
                        <c:v>1.474</c:v>
                      </c:pt>
                      <c:pt idx="119">
                        <c:v>1.474</c:v>
                      </c:pt>
                      <c:pt idx="120">
                        <c:v>1.474</c:v>
                      </c:pt>
                      <c:pt idx="121">
                        <c:v>1.474</c:v>
                      </c:pt>
                      <c:pt idx="122">
                        <c:v>1.474</c:v>
                      </c:pt>
                      <c:pt idx="123">
                        <c:v>1.474</c:v>
                      </c:pt>
                      <c:pt idx="124">
                        <c:v>1.474</c:v>
                      </c:pt>
                      <c:pt idx="125">
                        <c:v>1.474</c:v>
                      </c:pt>
                      <c:pt idx="126">
                        <c:v>1.474</c:v>
                      </c:pt>
                      <c:pt idx="127">
                        <c:v>1.474</c:v>
                      </c:pt>
                      <c:pt idx="128">
                        <c:v>1.474</c:v>
                      </c:pt>
                      <c:pt idx="129">
                        <c:v>1.474</c:v>
                      </c:pt>
                      <c:pt idx="130">
                        <c:v>1.659</c:v>
                      </c:pt>
                      <c:pt idx="131">
                        <c:v>1.659</c:v>
                      </c:pt>
                      <c:pt idx="132">
                        <c:v>1.659</c:v>
                      </c:pt>
                      <c:pt idx="133">
                        <c:v>1.659</c:v>
                      </c:pt>
                      <c:pt idx="134">
                        <c:v>1.659</c:v>
                      </c:pt>
                      <c:pt idx="135">
                        <c:v>1.659</c:v>
                      </c:pt>
                      <c:pt idx="136">
                        <c:v>1.659</c:v>
                      </c:pt>
                      <c:pt idx="137">
                        <c:v>1.659</c:v>
                      </c:pt>
                      <c:pt idx="138">
                        <c:v>1.659</c:v>
                      </c:pt>
                      <c:pt idx="139">
                        <c:v>1.659</c:v>
                      </c:pt>
                      <c:pt idx="140">
                        <c:v>1.659</c:v>
                      </c:pt>
                      <c:pt idx="141">
                        <c:v>1.659</c:v>
                      </c:pt>
                      <c:pt idx="142">
                        <c:v>1.659</c:v>
                      </c:pt>
                      <c:pt idx="143">
                        <c:v>1.659</c:v>
                      </c:pt>
                      <c:pt idx="144">
                        <c:v>1.659</c:v>
                      </c:pt>
                      <c:pt idx="145">
                        <c:v>1.659</c:v>
                      </c:pt>
                      <c:pt idx="146">
                        <c:v>1.659</c:v>
                      </c:pt>
                      <c:pt idx="147">
                        <c:v>1.659</c:v>
                      </c:pt>
                      <c:pt idx="148">
                        <c:v>1.659</c:v>
                      </c:pt>
                      <c:pt idx="149">
                        <c:v>1.659</c:v>
                      </c:pt>
                      <c:pt idx="150">
                        <c:v>1.597</c:v>
                      </c:pt>
                      <c:pt idx="151">
                        <c:v>1.597</c:v>
                      </c:pt>
                      <c:pt idx="152">
                        <c:v>1.597</c:v>
                      </c:pt>
                      <c:pt idx="153">
                        <c:v>1.597</c:v>
                      </c:pt>
                      <c:pt idx="154">
                        <c:v>1.597</c:v>
                      </c:pt>
                      <c:pt idx="155">
                        <c:v>1.597</c:v>
                      </c:pt>
                      <c:pt idx="156">
                        <c:v>1.597</c:v>
                      </c:pt>
                      <c:pt idx="157">
                        <c:v>1.597</c:v>
                      </c:pt>
                      <c:pt idx="158">
                        <c:v>1.597</c:v>
                      </c:pt>
                      <c:pt idx="159">
                        <c:v>1.597</c:v>
                      </c:pt>
                      <c:pt idx="160">
                        <c:v>1.597</c:v>
                      </c:pt>
                      <c:pt idx="161">
                        <c:v>1.597</c:v>
                      </c:pt>
                      <c:pt idx="162">
                        <c:v>1.597</c:v>
                      </c:pt>
                      <c:pt idx="163">
                        <c:v>1.597</c:v>
                      </c:pt>
                      <c:pt idx="164">
                        <c:v>1.597</c:v>
                      </c:pt>
                      <c:pt idx="165">
                        <c:v>1.597</c:v>
                      </c:pt>
                      <c:pt idx="166">
                        <c:v>1.597</c:v>
                      </c:pt>
                      <c:pt idx="167">
                        <c:v>1.597</c:v>
                      </c:pt>
                      <c:pt idx="168">
                        <c:v>1.597</c:v>
                      </c:pt>
                      <c:pt idx="169">
                        <c:v>1.597</c:v>
                      </c:pt>
                      <c:pt idx="170">
                        <c:v>1.6779999999999999</c:v>
                      </c:pt>
                      <c:pt idx="171">
                        <c:v>1.6779999999999999</c:v>
                      </c:pt>
                      <c:pt idx="172">
                        <c:v>1.6779999999999999</c:v>
                      </c:pt>
                      <c:pt idx="173">
                        <c:v>1.6779999999999999</c:v>
                      </c:pt>
                      <c:pt idx="174">
                        <c:v>1.6779999999999999</c:v>
                      </c:pt>
                      <c:pt idx="175">
                        <c:v>1.6779999999999999</c:v>
                      </c:pt>
                      <c:pt idx="176">
                        <c:v>1.6779999999999999</c:v>
                      </c:pt>
                      <c:pt idx="177">
                        <c:v>1.6779999999999999</c:v>
                      </c:pt>
                      <c:pt idx="178">
                        <c:v>1.6779999999999999</c:v>
                      </c:pt>
                      <c:pt idx="179">
                        <c:v>1.6779999999999999</c:v>
                      </c:pt>
                      <c:pt idx="180">
                        <c:v>1.6779999999999999</c:v>
                      </c:pt>
                      <c:pt idx="181">
                        <c:v>1.6779999999999999</c:v>
                      </c:pt>
                      <c:pt idx="182">
                        <c:v>1.6779999999999999</c:v>
                      </c:pt>
                      <c:pt idx="183">
                        <c:v>1.6779999999999999</c:v>
                      </c:pt>
                      <c:pt idx="184">
                        <c:v>1.6779999999999999</c:v>
                      </c:pt>
                      <c:pt idx="185">
                        <c:v>1.6779999999999999</c:v>
                      </c:pt>
                      <c:pt idx="186">
                        <c:v>1.6779999999999999</c:v>
                      </c:pt>
                      <c:pt idx="187">
                        <c:v>1.6779999999999999</c:v>
                      </c:pt>
                      <c:pt idx="188">
                        <c:v>1.6779999999999999</c:v>
                      </c:pt>
                      <c:pt idx="189">
                        <c:v>1.6779999999999999</c:v>
                      </c:pt>
                      <c:pt idx="190">
                        <c:v>1.6779999999999999</c:v>
                      </c:pt>
                      <c:pt idx="191">
                        <c:v>1.6779999999999999</c:v>
                      </c:pt>
                      <c:pt idx="192">
                        <c:v>1.6779999999999999</c:v>
                      </c:pt>
                      <c:pt idx="193">
                        <c:v>1.6779999999999999</c:v>
                      </c:pt>
                      <c:pt idx="194">
                        <c:v>1.6779999999999999</c:v>
                      </c:pt>
                      <c:pt idx="195">
                        <c:v>1.6819999999999999</c:v>
                      </c:pt>
                      <c:pt idx="196">
                        <c:v>1.6819999999999999</c:v>
                      </c:pt>
                      <c:pt idx="197">
                        <c:v>1.6819999999999999</c:v>
                      </c:pt>
                      <c:pt idx="198">
                        <c:v>1.6819999999999999</c:v>
                      </c:pt>
                      <c:pt idx="199">
                        <c:v>1.6819999999999999</c:v>
                      </c:pt>
                      <c:pt idx="200">
                        <c:v>1.6819999999999999</c:v>
                      </c:pt>
                      <c:pt idx="201">
                        <c:v>1.6819999999999999</c:v>
                      </c:pt>
                      <c:pt idx="202">
                        <c:v>1.6819999999999999</c:v>
                      </c:pt>
                      <c:pt idx="203">
                        <c:v>1.6819999999999999</c:v>
                      </c:pt>
                      <c:pt idx="204">
                        <c:v>1.6819999999999999</c:v>
                      </c:pt>
                      <c:pt idx="205">
                        <c:v>1.6819999999999999</c:v>
                      </c:pt>
                      <c:pt idx="206">
                        <c:v>1.6819999999999999</c:v>
                      </c:pt>
                      <c:pt idx="207">
                        <c:v>1.6819999999999999</c:v>
                      </c:pt>
                      <c:pt idx="208">
                        <c:v>1.6819999999999999</c:v>
                      </c:pt>
                      <c:pt idx="209">
                        <c:v>1.6819999999999999</c:v>
                      </c:pt>
                      <c:pt idx="210">
                        <c:v>1.6819999999999999</c:v>
                      </c:pt>
                      <c:pt idx="211">
                        <c:v>1.6819999999999999</c:v>
                      </c:pt>
                      <c:pt idx="212">
                        <c:v>1.6819999999999999</c:v>
                      </c:pt>
                      <c:pt idx="213">
                        <c:v>1.6819999999999999</c:v>
                      </c:pt>
                      <c:pt idx="214">
                        <c:v>1.6819999999999999</c:v>
                      </c:pt>
                      <c:pt idx="215">
                        <c:v>1.7549999999999999</c:v>
                      </c:pt>
                      <c:pt idx="216">
                        <c:v>1.7549999999999999</c:v>
                      </c:pt>
                      <c:pt idx="217">
                        <c:v>1.7549999999999999</c:v>
                      </c:pt>
                      <c:pt idx="218">
                        <c:v>1.7549999999999999</c:v>
                      </c:pt>
                      <c:pt idx="219">
                        <c:v>1.7549999999999999</c:v>
                      </c:pt>
                      <c:pt idx="220">
                        <c:v>1.7549999999999999</c:v>
                      </c:pt>
                      <c:pt idx="221">
                        <c:v>1.7549999999999999</c:v>
                      </c:pt>
                      <c:pt idx="222">
                        <c:v>1.7549999999999999</c:v>
                      </c:pt>
                      <c:pt idx="223">
                        <c:v>1.7549999999999999</c:v>
                      </c:pt>
                      <c:pt idx="224">
                        <c:v>1.7549999999999999</c:v>
                      </c:pt>
                      <c:pt idx="225">
                        <c:v>1.7549999999999999</c:v>
                      </c:pt>
                      <c:pt idx="226">
                        <c:v>1.7549999999999999</c:v>
                      </c:pt>
                      <c:pt idx="227">
                        <c:v>1.7549999999999999</c:v>
                      </c:pt>
                      <c:pt idx="228">
                        <c:v>1.7549999999999999</c:v>
                      </c:pt>
                      <c:pt idx="229">
                        <c:v>1.7549999999999999</c:v>
                      </c:pt>
                      <c:pt idx="230">
                        <c:v>1.7549999999999999</c:v>
                      </c:pt>
                      <c:pt idx="231">
                        <c:v>1.7549999999999999</c:v>
                      </c:pt>
                      <c:pt idx="232">
                        <c:v>1.7549999999999999</c:v>
                      </c:pt>
                      <c:pt idx="233">
                        <c:v>1.7549999999999999</c:v>
                      </c:pt>
                      <c:pt idx="234">
                        <c:v>1.7549999999999999</c:v>
                      </c:pt>
                      <c:pt idx="235">
                        <c:v>1.827</c:v>
                      </c:pt>
                      <c:pt idx="236">
                        <c:v>1.827</c:v>
                      </c:pt>
                      <c:pt idx="237">
                        <c:v>1.827</c:v>
                      </c:pt>
                      <c:pt idx="238">
                        <c:v>1.827</c:v>
                      </c:pt>
                      <c:pt idx="239">
                        <c:v>1.827</c:v>
                      </c:pt>
                      <c:pt idx="240">
                        <c:v>1.827</c:v>
                      </c:pt>
                      <c:pt idx="241">
                        <c:v>1.827</c:v>
                      </c:pt>
                      <c:pt idx="242">
                        <c:v>1.827</c:v>
                      </c:pt>
                      <c:pt idx="243">
                        <c:v>1.827</c:v>
                      </c:pt>
                      <c:pt idx="244">
                        <c:v>1.827</c:v>
                      </c:pt>
                      <c:pt idx="245">
                        <c:v>1.827</c:v>
                      </c:pt>
                      <c:pt idx="246">
                        <c:v>1.827</c:v>
                      </c:pt>
                      <c:pt idx="247">
                        <c:v>1.827</c:v>
                      </c:pt>
                      <c:pt idx="248">
                        <c:v>1.827</c:v>
                      </c:pt>
                      <c:pt idx="249">
                        <c:v>1.827</c:v>
                      </c:pt>
                      <c:pt idx="250">
                        <c:v>1.827</c:v>
                      </c:pt>
                      <c:pt idx="251">
                        <c:v>1.827</c:v>
                      </c:pt>
                      <c:pt idx="252">
                        <c:v>1.827</c:v>
                      </c:pt>
                      <c:pt idx="253">
                        <c:v>1.827</c:v>
                      </c:pt>
                      <c:pt idx="254">
                        <c:v>1.827</c:v>
                      </c:pt>
                      <c:pt idx="255">
                        <c:v>1.827</c:v>
                      </c:pt>
                      <c:pt idx="256">
                        <c:v>1.827</c:v>
                      </c:pt>
                      <c:pt idx="257">
                        <c:v>1.827</c:v>
                      </c:pt>
                      <c:pt idx="258">
                        <c:v>1.827</c:v>
                      </c:pt>
                      <c:pt idx="259">
                        <c:v>1.827</c:v>
                      </c:pt>
                      <c:pt idx="260">
                        <c:v>1.8420000000000001</c:v>
                      </c:pt>
                      <c:pt idx="261">
                        <c:v>1.8420000000000001</c:v>
                      </c:pt>
                      <c:pt idx="262">
                        <c:v>1.8420000000000001</c:v>
                      </c:pt>
                      <c:pt idx="263">
                        <c:v>1.8420000000000001</c:v>
                      </c:pt>
                      <c:pt idx="264">
                        <c:v>1.8420000000000001</c:v>
                      </c:pt>
                      <c:pt idx="265">
                        <c:v>1.8420000000000001</c:v>
                      </c:pt>
                      <c:pt idx="266">
                        <c:v>1.8420000000000001</c:v>
                      </c:pt>
                      <c:pt idx="267">
                        <c:v>1.8420000000000001</c:v>
                      </c:pt>
                      <c:pt idx="268">
                        <c:v>1.8420000000000001</c:v>
                      </c:pt>
                      <c:pt idx="269">
                        <c:v>1.8420000000000001</c:v>
                      </c:pt>
                      <c:pt idx="270">
                        <c:v>1.8420000000000001</c:v>
                      </c:pt>
                      <c:pt idx="271">
                        <c:v>1.8420000000000001</c:v>
                      </c:pt>
                      <c:pt idx="272">
                        <c:v>1.8420000000000001</c:v>
                      </c:pt>
                      <c:pt idx="273">
                        <c:v>1.8420000000000001</c:v>
                      </c:pt>
                      <c:pt idx="274">
                        <c:v>1.8420000000000001</c:v>
                      </c:pt>
                      <c:pt idx="275">
                        <c:v>1.8420000000000001</c:v>
                      </c:pt>
                      <c:pt idx="276">
                        <c:v>1.8420000000000001</c:v>
                      </c:pt>
                      <c:pt idx="277">
                        <c:v>1.8420000000000001</c:v>
                      </c:pt>
                      <c:pt idx="278">
                        <c:v>1.8420000000000001</c:v>
                      </c:pt>
                      <c:pt idx="279">
                        <c:v>1.8420000000000001</c:v>
                      </c:pt>
                      <c:pt idx="280">
                        <c:v>1.847</c:v>
                      </c:pt>
                      <c:pt idx="281">
                        <c:v>1.847</c:v>
                      </c:pt>
                      <c:pt idx="282">
                        <c:v>1.847</c:v>
                      </c:pt>
                      <c:pt idx="283">
                        <c:v>1.847</c:v>
                      </c:pt>
                      <c:pt idx="284">
                        <c:v>1.847</c:v>
                      </c:pt>
                      <c:pt idx="285">
                        <c:v>1.847</c:v>
                      </c:pt>
                      <c:pt idx="286">
                        <c:v>1.847</c:v>
                      </c:pt>
                      <c:pt idx="287">
                        <c:v>1.847</c:v>
                      </c:pt>
                      <c:pt idx="288">
                        <c:v>1.847</c:v>
                      </c:pt>
                      <c:pt idx="289">
                        <c:v>1.847</c:v>
                      </c:pt>
                      <c:pt idx="290">
                        <c:v>1.847</c:v>
                      </c:pt>
                      <c:pt idx="291">
                        <c:v>1.847</c:v>
                      </c:pt>
                      <c:pt idx="292">
                        <c:v>1.847</c:v>
                      </c:pt>
                      <c:pt idx="293">
                        <c:v>1.847</c:v>
                      </c:pt>
                      <c:pt idx="294">
                        <c:v>1.847</c:v>
                      </c:pt>
                      <c:pt idx="295">
                        <c:v>1.847</c:v>
                      </c:pt>
                      <c:pt idx="296">
                        <c:v>1.847</c:v>
                      </c:pt>
                      <c:pt idx="297">
                        <c:v>1.847</c:v>
                      </c:pt>
                      <c:pt idx="298">
                        <c:v>1.847</c:v>
                      </c:pt>
                      <c:pt idx="299">
                        <c:v>1.847</c:v>
                      </c:pt>
                      <c:pt idx="300">
                        <c:v>1.833</c:v>
                      </c:pt>
                      <c:pt idx="301">
                        <c:v>1.833</c:v>
                      </c:pt>
                      <c:pt idx="302">
                        <c:v>1.833</c:v>
                      </c:pt>
                      <c:pt idx="303">
                        <c:v>1.833</c:v>
                      </c:pt>
                      <c:pt idx="304">
                        <c:v>1.833</c:v>
                      </c:pt>
                      <c:pt idx="305">
                        <c:v>1.833</c:v>
                      </c:pt>
                      <c:pt idx="306">
                        <c:v>1.833</c:v>
                      </c:pt>
                      <c:pt idx="307">
                        <c:v>1.833</c:v>
                      </c:pt>
                      <c:pt idx="308">
                        <c:v>1.833</c:v>
                      </c:pt>
                      <c:pt idx="309">
                        <c:v>1.833</c:v>
                      </c:pt>
                      <c:pt idx="310">
                        <c:v>1.833</c:v>
                      </c:pt>
                      <c:pt idx="311">
                        <c:v>1.833</c:v>
                      </c:pt>
                      <c:pt idx="312">
                        <c:v>1.833</c:v>
                      </c:pt>
                      <c:pt idx="313">
                        <c:v>1.833</c:v>
                      </c:pt>
                      <c:pt idx="314">
                        <c:v>1.833</c:v>
                      </c:pt>
                      <c:pt idx="315">
                        <c:v>1.833</c:v>
                      </c:pt>
                      <c:pt idx="316">
                        <c:v>1.833</c:v>
                      </c:pt>
                      <c:pt idx="317">
                        <c:v>1.833</c:v>
                      </c:pt>
                      <c:pt idx="318">
                        <c:v>1.833</c:v>
                      </c:pt>
                      <c:pt idx="319">
                        <c:v>1.833</c:v>
                      </c:pt>
                      <c:pt idx="320">
                        <c:v>1.833</c:v>
                      </c:pt>
                      <c:pt idx="321">
                        <c:v>1.833</c:v>
                      </c:pt>
                      <c:pt idx="322">
                        <c:v>1.833</c:v>
                      </c:pt>
                      <c:pt idx="323">
                        <c:v>1.833</c:v>
                      </c:pt>
                      <c:pt idx="324">
                        <c:v>1.833</c:v>
                      </c:pt>
                      <c:pt idx="325">
                        <c:v>1.9</c:v>
                      </c:pt>
                      <c:pt idx="326">
                        <c:v>1.9</c:v>
                      </c:pt>
                      <c:pt idx="327">
                        <c:v>1.9</c:v>
                      </c:pt>
                      <c:pt idx="328">
                        <c:v>1.9</c:v>
                      </c:pt>
                      <c:pt idx="329">
                        <c:v>1.9</c:v>
                      </c:pt>
                      <c:pt idx="330">
                        <c:v>1.9</c:v>
                      </c:pt>
                      <c:pt idx="331">
                        <c:v>1.9</c:v>
                      </c:pt>
                      <c:pt idx="332">
                        <c:v>1.9</c:v>
                      </c:pt>
                      <c:pt idx="333">
                        <c:v>1.9</c:v>
                      </c:pt>
                      <c:pt idx="334">
                        <c:v>1.9</c:v>
                      </c:pt>
                      <c:pt idx="335">
                        <c:v>1.9</c:v>
                      </c:pt>
                      <c:pt idx="336">
                        <c:v>1.9</c:v>
                      </c:pt>
                      <c:pt idx="337">
                        <c:v>1.9</c:v>
                      </c:pt>
                      <c:pt idx="338">
                        <c:v>1.9</c:v>
                      </c:pt>
                      <c:pt idx="339">
                        <c:v>1.9</c:v>
                      </c:pt>
                      <c:pt idx="340">
                        <c:v>1.9</c:v>
                      </c:pt>
                      <c:pt idx="341">
                        <c:v>1.9</c:v>
                      </c:pt>
                      <c:pt idx="342">
                        <c:v>1.9</c:v>
                      </c:pt>
                      <c:pt idx="343">
                        <c:v>1.9</c:v>
                      </c:pt>
                      <c:pt idx="344">
                        <c:v>1.9</c:v>
                      </c:pt>
                      <c:pt idx="345">
                        <c:v>1.8640000000000001</c:v>
                      </c:pt>
                      <c:pt idx="346">
                        <c:v>1.8640000000000001</c:v>
                      </c:pt>
                      <c:pt idx="347">
                        <c:v>1.8640000000000001</c:v>
                      </c:pt>
                      <c:pt idx="348">
                        <c:v>1.8640000000000001</c:v>
                      </c:pt>
                      <c:pt idx="349">
                        <c:v>1.8640000000000001</c:v>
                      </c:pt>
                      <c:pt idx="350">
                        <c:v>1.8640000000000001</c:v>
                      </c:pt>
                      <c:pt idx="351">
                        <c:v>1.8640000000000001</c:v>
                      </c:pt>
                      <c:pt idx="352">
                        <c:v>1.8640000000000001</c:v>
                      </c:pt>
                      <c:pt idx="353">
                        <c:v>1.8640000000000001</c:v>
                      </c:pt>
                      <c:pt idx="354">
                        <c:v>1.8640000000000001</c:v>
                      </c:pt>
                      <c:pt idx="355">
                        <c:v>1.8640000000000001</c:v>
                      </c:pt>
                      <c:pt idx="356">
                        <c:v>1.8640000000000001</c:v>
                      </c:pt>
                      <c:pt idx="357">
                        <c:v>1.8640000000000001</c:v>
                      </c:pt>
                      <c:pt idx="358">
                        <c:v>1.8640000000000001</c:v>
                      </c:pt>
                      <c:pt idx="359">
                        <c:v>1.8640000000000001</c:v>
                      </c:pt>
                      <c:pt idx="360">
                        <c:v>1.8640000000000001</c:v>
                      </c:pt>
                      <c:pt idx="361">
                        <c:v>1.8640000000000001</c:v>
                      </c:pt>
                      <c:pt idx="362">
                        <c:v>1.8640000000000001</c:v>
                      </c:pt>
                      <c:pt idx="363">
                        <c:v>1.8640000000000001</c:v>
                      </c:pt>
                      <c:pt idx="364">
                        <c:v>1.8640000000000001</c:v>
                      </c:pt>
                      <c:pt idx="365">
                        <c:v>1.8640000000000001</c:v>
                      </c:pt>
                      <c:pt idx="366">
                        <c:v>1.8640000000000001</c:v>
                      </c:pt>
                      <c:pt idx="367">
                        <c:v>1.8640000000000001</c:v>
                      </c:pt>
                      <c:pt idx="368">
                        <c:v>1.8640000000000001</c:v>
                      </c:pt>
                      <c:pt idx="369">
                        <c:v>1.8640000000000001</c:v>
                      </c:pt>
                      <c:pt idx="370">
                        <c:v>1.8480000000000001</c:v>
                      </c:pt>
                      <c:pt idx="371">
                        <c:v>1.8480000000000001</c:v>
                      </c:pt>
                      <c:pt idx="372">
                        <c:v>1.8480000000000001</c:v>
                      </c:pt>
                      <c:pt idx="373">
                        <c:v>1.8480000000000001</c:v>
                      </c:pt>
                      <c:pt idx="374">
                        <c:v>1.8480000000000001</c:v>
                      </c:pt>
                      <c:pt idx="375">
                        <c:v>1.8480000000000001</c:v>
                      </c:pt>
                      <c:pt idx="376">
                        <c:v>1.8480000000000001</c:v>
                      </c:pt>
                      <c:pt idx="377">
                        <c:v>1.8480000000000001</c:v>
                      </c:pt>
                      <c:pt idx="378">
                        <c:v>1.8480000000000001</c:v>
                      </c:pt>
                      <c:pt idx="379">
                        <c:v>1.8480000000000001</c:v>
                      </c:pt>
                      <c:pt idx="380">
                        <c:v>1.8480000000000001</c:v>
                      </c:pt>
                      <c:pt idx="381">
                        <c:v>1.8480000000000001</c:v>
                      </c:pt>
                      <c:pt idx="382">
                        <c:v>1.8480000000000001</c:v>
                      </c:pt>
                      <c:pt idx="383">
                        <c:v>1.8480000000000001</c:v>
                      </c:pt>
                      <c:pt idx="384">
                        <c:v>1.8480000000000001</c:v>
                      </c:pt>
                      <c:pt idx="385">
                        <c:v>1.8480000000000001</c:v>
                      </c:pt>
                      <c:pt idx="386">
                        <c:v>1.8480000000000001</c:v>
                      </c:pt>
                      <c:pt idx="387">
                        <c:v>1.8480000000000001</c:v>
                      </c:pt>
                      <c:pt idx="388">
                        <c:v>1.8480000000000001</c:v>
                      </c:pt>
                      <c:pt idx="389">
                        <c:v>1.8480000000000001</c:v>
                      </c:pt>
                      <c:pt idx="390">
                        <c:v>1.758</c:v>
                      </c:pt>
                      <c:pt idx="391">
                        <c:v>1.758</c:v>
                      </c:pt>
                      <c:pt idx="392">
                        <c:v>1.758</c:v>
                      </c:pt>
                      <c:pt idx="393">
                        <c:v>1.758</c:v>
                      </c:pt>
                      <c:pt idx="394">
                        <c:v>1.758</c:v>
                      </c:pt>
                      <c:pt idx="395">
                        <c:v>1.758</c:v>
                      </c:pt>
                      <c:pt idx="396">
                        <c:v>1.758</c:v>
                      </c:pt>
                      <c:pt idx="397">
                        <c:v>1.758</c:v>
                      </c:pt>
                      <c:pt idx="398">
                        <c:v>1.758</c:v>
                      </c:pt>
                      <c:pt idx="399">
                        <c:v>1.758</c:v>
                      </c:pt>
                      <c:pt idx="400">
                        <c:v>1.758</c:v>
                      </c:pt>
                      <c:pt idx="401">
                        <c:v>1.758</c:v>
                      </c:pt>
                      <c:pt idx="402">
                        <c:v>1.758</c:v>
                      </c:pt>
                      <c:pt idx="403">
                        <c:v>1.758</c:v>
                      </c:pt>
                      <c:pt idx="404">
                        <c:v>1.758</c:v>
                      </c:pt>
                      <c:pt idx="405">
                        <c:v>1.758</c:v>
                      </c:pt>
                      <c:pt idx="406">
                        <c:v>1.758</c:v>
                      </c:pt>
                      <c:pt idx="407">
                        <c:v>1.758</c:v>
                      </c:pt>
                      <c:pt idx="408">
                        <c:v>1.758</c:v>
                      </c:pt>
                      <c:pt idx="409">
                        <c:v>1.758</c:v>
                      </c:pt>
                      <c:pt idx="410">
                        <c:v>1.782</c:v>
                      </c:pt>
                      <c:pt idx="411">
                        <c:v>1.782</c:v>
                      </c:pt>
                      <c:pt idx="412">
                        <c:v>1.782</c:v>
                      </c:pt>
                      <c:pt idx="413">
                        <c:v>1.782</c:v>
                      </c:pt>
                      <c:pt idx="414">
                        <c:v>1.782</c:v>
                      </c:pt>
                      <c:pt idx="415">
                        <c:v>1.782</c:v>
                      </c:pt>
                      <c:pt idx="416">
                        <c:v>1.782</c:v>
                      </c:pt>
                      <c:pt idx="417">
                        <c:v>1.782</c:v>
                      </c:pt>
                      <c:pt idx="418">
                        <c:v>1.782</c:v>
                      </c:pt>
                      <c:pt idx="419">
                        <c:v>1.782</c:v>
                      </c:pt>
                      <c:pt idx="420">
                        <c:v>1.782</c:v>
                      </c:pt>
                      <c:pt idx="421">
                        <c:v>1.782</c:v>
                      </c:pt>
                      <c:pt idx="422">
                        <c:v>1.782</c:v>
                      </c:pt>
                      <c:pt idx="423">
                        <c:v>1.782</c:v>
                      </c:pt>
                      <c:pt idx="424">
                        <c:v>1.782</c:v>
                      </c:pt>
                      <c:pt idx="425">
                        <c:v>1.782</c:v>
                      </c:pt>
                      <c:pt idx="426">
                        <c:v>1.782</c:v>
                      </c:pt>
                      <c:pt idx="427">
                        <c:v>1.782</c:v>
                      </c:pt>
                      <c:pt idx="428">
                        <c:v>1.782</c:v>
                      </c:pt>
                      <c:pt idx="429">
                        <c:v>1.782</c:v>
                      </c:pt>
                      <c:pt idx="430">
                        <c:v>1.782</c:v>
                      </c:pt>
                      <c:pt idx="431">
                        <c:v>1.782</c:v>
                      </c:pt>
                      <c:pt idx="432">
                        <c:v>1.782</c:v>
                      </c:pt>
                      <c:pt idx="433">
                        <c:v>1.782</c:v>
                      </c:pt>
                      <c:pt idx="434">
                        <c:v>1.782</c:v>
                      </c:pt>
                      <c:pt idx="435">
                        <c:v>1.774</c:v>
                      </c:pt>
                      <c:pt idx="436">
                        <c:v>1.774</c:v>
                      </c:pt>
                      <c:pt idx="437">
                        <c:v>1.774</c:v>
                      </c:pt>
                      <c:pt idx="438">
                        <c:v>1.774</c:v>
                      </c:pt>
                      <c:pt idx="439">
                        <c:v>1.774</c:v>
                      </c:pt>
                      <c:pt idx="440">
                        <c:v>1.774</c:v>
                      </c:pt>
                      <c:pt idx="441">
                        <c:v>1.774</c:v>
                      </c:pt>
                      <c:pt idx="442">
                        <c:v>1.774</c:v>
                      </c:pt>
                      <c:pt idx="443">
                        <c:v>1.774</c:v>
                      </c:pt>
                      <c:pt idx="444">
                        <c:v>1.774</c:v>
                      </c:pt>
                      <c:pt idx="445">
                        <c:v>1.774</c:v>
                      </c:pt>
                      <c:pt idx="446">
                        <c:v>1.774</c:v>
                      </c:pt>
                      <c:pt idx="447">
                        <c:v>1.774</c:v>
                      </c:pt>
                      <c:pt idx="448">
                        <c:v>1.774</c:v>
                      </c:pt>
                      <c:pt idx="449">
                        <c:v>1.774</c:v>
                      </c:pt>
                      <c:pt idx="450">
                        <c:v>1.774</c:v>
                      </c:pt>
                      <c:pt idx="451">
                        <c:v>1.774</c:v>
                      </c:pt>
                      <c:pt idx="452">
                        <c:v>1.774</c:v>
                      </c:pt>
                      <c:pt idx="453">
                        <c:v>1.774</c:v>
                      </c:pt>
                      <c:pt idx="454">
                        <c:v>1.774</c:v>
                      </c:pt>
                      <c:pt idx="455">
                        <c:v>1.82</c:v>
                      </c:pt>
                      <c:pt idx="456">
                        <c:v>1.82</c:v>
                      </c:pt>
                      <c:pt idx="457">
                        <c:v>1.82</c:v>
                      </c:pt>
                      <c:pt idx="458">
                        <c:v>1.82</c:v>
                      </c:pt>
                      <c:pt idx="459">
                        <c:v>1.82</c:v>
                      </c:pt>
                      <c:pt idx="460">
                        <c:v>1.82</c:v>
                      </c:pt>
                      <c:pt idx="461">
                        <c:v>1.82</c:v>
                      </c:pt>
                      <c:pt idx="462">
                        <c:v>1.82</c:v>
                      </c:pt>
                      <c:pt idx="463">
                        <c:v>1.82</c:v>
                      </c:pt>
                      <c:pt idx="464">
                        <c:v>1.82</c:v>
                      </c:pt>
                      <c:pt idx="465">
                        <c:v>1.82</c:v>
                      </c:pt>
                      <c:pt idx="466">
                        <c:v>1.82</c:v>
                      </c:pt>
                      <c:pt idx="467">
                        <c:v>1.82</c:v>
                      </c:pt>
                      <c:pt idx="468">
                        <c:v>1.82</c:v>
                      </c:pt>
                      <c:pt idx="469">
                        <c:v>1.82</c:v>
                      </c:pt>
                      <c:pt idx="470">
                        <c:v>1.82</c:v>
                      </c:pt>
                      <c:pt idx="471">
                        <c:v>1.82</c:v>
                      </c:pt>
                      <c:pt idx="472">
                        <c:v>1.82</c:v>
                      </c:pt>
                      <c:pt idx="473">
                        <c:v>1.82</c:v>
                      </c:pt>
                      <c:pt idx="474">
                        <c:v>1.82</c:v>
                      </c:pt>
                      <c:pt idx="475">
                        <c:v>1.788</c:v>
                      </c:pt>
                      <c:pt idx="476">
                        <c:v>1.788</c:v>
                      </c:pt>
                      <c:pt idx="477">
                        <c:v>1.788</c:v>
                      </c:pt>
                      <c:pt idx="478">
                        <c:v>1.788</c:v>
                      </c:pt>
                      <c:pt idx="479">
                        <c:v>1.788</c:v>
                      </c:pt>
                      <c:pt idx="480">
                        <c:v>1.788</c:v>
                      </c:pt>
                      <c:pt idx="481">
                        <c:v>1.788</c:v>
                      </c:pt>
                      <c:pt idx="482">
                        <c:v>1.788</c:v>
                      </c:pt>
                      <c:pt idx="483">
                        <c:v>1.788</c:v>
                      </c:pt>
                      <c:pt idx="484">
                        <c:v>1.788</c:v>
                      </c:pt>
                      <c:pt idx="485">
                        <c:v>1.788</c:v>
                      </c:pt>
                      <c:pt idx="486">
                        <c:v>1.788</c:v>
                      </c:pt>
                      <c:pt idx="487">
                        <c:v>1.788</c:v>
                      </c:pt>
                      <c:pt idx="488">
                        <c:v>1.788</c:v>
                      </c:pt>
                      <c:pt idx="489">
                        <c:v>1.788</c:v>
                      </c:pt>
                      <c:pt idx="490">
                        <c:v>1.788</c:v>
                      </c:pt>
                      <c:pt idx="491">
                        <c:v>1.788</c:v>
                      </c:pt>
                      <c:pt idx="492">
                        <c:v>1.788</c:v>
                      </c:pt>
                      <c:pt idx="493">
                        <c:v>1.788</c:v>
                      </c:pt>
                      <c:pt idx="494">
                        <c:v>1.788</c:v>
                      </c:pt>
                      <c:pt idx="495">
                        <c:v>1.788</c:v>
                      </c:pt>
                      <c:pt idx="496">
                        <c:v>1.788</c:v>
                      </c:pt>
                      <c:pt idx="497">
                        <c:v>1.788</c:v>
                      </c:pt>
                      <c:pt idx="498">
                        <c:v>1.788</c:v>
                      </c:pt>
                      <c:pt idx="499">
                        <c:v>1.788</c:v>
                      </c:pt>
                      <c:pt idx="500">
                        <c:v>1.76</c:v>
                      </c:pt>
                      <c:pt idx="501">
                        <c:v>1.76</c:v>
                      </c:pt>
                      <c:pt idx="502">
                        <c:v>1.76</c:v>
                      </c:pt>
                      <c:pt idx="503">
                        <c:v>1.76</c:v>
                      </c:pt>
                      <c:pt idx="504">
                        <c:v>1.76</c:v>
                      </c:pt>
                      <c:pt idx="505">
                        <c:v>1.76</c:v>
                      </c:pt>
                      <c:pt idx="506">
                        <c:v>1.76</c:v>
                      </c:pt>
                      <c:pt idx="507">
                        <c:v>1.76</c:v>
                      </c:pt>
                      <c:pt idx="508">
                        <c:v>1.76</c:v>
                      </c:pt>
                      <c:pt idx="509">
                        <c:v>1.76</c:v>
                      </c:pt>
                      <c:pt idx="510">
                        <c:v>1.76</c:v>
                      </c:pt>
                      <c:pt idx="511">
                        <c:v>1.76</c:v>
                      </c:pt>
                      <c:pt idx="512">
                        <c:v>1.76</c:v>
                      </c:pt>
                      <c:pt idx="513">
                        <c:v>1.76</c:v>
                      </c:pt>
                      <c:pt idx="514">
                        <c:v>1.76</c:v>
                      </c:pt>
                      <c:pt idx="515">
                        <c:v>1.76</c:v>
                      </c:pt>
                      <c:pt idx="516">
                        <c:v>1.76</c:v>
                      </c:pt>
                      <c:pt idx="517">
                        <c:v>1.76</c:v>
                      </c:pt>
                      <c:pt idx="518">
                        <c:v>1.76</c:v>
                      </c:pt>
                      <c:pt idx="519">
                        <c:v>1.76</c:v>
                      </c:pt>
                      <c:pt idx="520">
                        <c:v>1.893</c:v>
                      </c:pt>
                      <c:pt idx="521">
                        <c:v>1.893</c:v>
                      </c:pt>
                      <c:pt idx="522">
                        <c:v>1.893</c:v>
                      </c:pt>
                      <c:pt idx="523">
                        <c:v>1.893</c:v>
                      </c:pt>
                      <c:pt idx="524">
                        <c:v>1.893</c:v>
                      </c:pt>
                      <c:pt idx="525">
                        <c:v>1.893</c:v>
                      </c:pt>
                      <c:pt idx="526">
                        <c:v>1.893</c:v>
                      </c:pt>
                      <c:pt idx="527">
                        <c:v>1.893</c:v>
                      </c:pt>
                      <c:pt idx="528">
                        <c:v>1.893</c:v>
                      </c:pt>
                      <c:pt idx="529">
                        <c:v>1.893</c:v>
                      </c:pt>
                      <c:pt idx="530">
                        <c:v>1.893</c:v>
                      </c:pt>
                      <c:pt idx="531">
                        <c:v>1.893</c:v>
                      </c:pt>
                      <c:pt idx="532">
                        <c:v>1.893</c:v>
                      </c:pt>
                      <c:pt idx="533">
                        <c:v>1.893</c:v>
                      </c:pt>
                      <c:pt idx="534">
                        <c:v>1.893</c:v>
                      </c:pt>
                      <c:pt idx="535">
                        <c:v>1.893</c:v>
                      </c:pt>
                      <c:pt idx="536">
                        <c:v>1.893</c:v>
                      </c:pt>
                      <c:pt idx="537">
                        <c:v>1.893</c:v>
                      </c:pt>
                      <c:pt idx="538">
                        <c:v>1.893</c:v>
                      </c:pt>
                      <c:pt idx="539">
                        <c:v>1.893</c:v>
                      </c:pt>
                      <c:pt idx="540">
                        <c:v>1.893</c:v>
                      </c:pt>
                      <c:pt idx="541">
                        <c:v>1.893</c:v>
                      </c:pt>
                      <c:pt idx="542">
                        <c:v>1.893</c:v>
                      </c:pt>
                      <c:pt idx="543">
                        <c:v>1.893</c:v>
                      </c:pt>
                      <c:pt idx="544">
                        <c:v>1.893</c:v>
                      </c:pt>
                      <c:pt idx="545">
                        <c:v>1.9039999999999999</c:v>
                      </c:pt>
                      <c:pt idx="546">
                        <c:v>1.9039999999999999</c:v>
                      </c:pt>
                      <c:pt idx="547">
                        <c:v>1.9039999999999999</c:v>
                      </c:pt>
                      <c:pt idx="548">
                        <c:v>1.9039999999999999</c:v>
                      </c:pt>
                      <c:pt idx="549">
                        <c:v>1.9039999999999999</c:v>
                      </c:pt>
                      <c:pt idx="550">
                        <c:v>1.9039999999999999</c:v>
                      </c:pt>
                      <c:pt idx="551">
                        <c:v>1.9039999999999999</c:v>
                      </c:pt>
                      <c:pt idx="552">
                        <c:v>1.9039999999999999</c:v>
                      </c:pt>
                      <c:pt idx="553">
                        <c:v>1.9039999999999999</c:v>
                      </c:pt>
                      <c:pt idx="554">
                        <c:v>1.9039999999999999</c:v>
                      </c:pt>
                      <c:pt idx="555">
                        <c:v>1.9039999999999999</c:v>
                      </c:pt>
                      <c:pt idx="556">
                        <c:v>1.9039999999999999</c:v>
                      </c:pt>
                      <c:pt idx="557">
                        <c:v>1.9039999999999999</c:v>
                      </c:pt>
                      <c:pt idx="558">
                        <c:v>1.9039999999999999</c:v>
                      </c:pt>
                      <c:pt idx="559">
                        <c:v>1.9039999999999999</c:v>
                      </c:pt>
                      <c:pt idx="560">
                        <c:v>1.9039999999999999</c:v>
                      </c:pt>
                      <c:pt idx="561">
                        <c:v>1.9039999999999999</c:v>
                      </c:pt>
                      <c:pt idx="562">
                        <c:v>1.9039999999999999</c:v>
                      </c:pt>
                      <c:pt idx="563">
                        <c:v>1.9039999999999999</c:v>
                      </c:pt>
                      <c:pt idx="564">
                        <c:v>1.9039999999999999</c:v>
                      </c:pt>
                      <c:pt idx="565">
                        <c:v>1.9990000000000001</c:v>
                      </c:pt>
                      <c:pt idx="566">
                        <c:v>1.9990000000000001</c:v>
                      </c:pt>
                      <c:pt idx="567">
                        <c:v>1.9990000000000001</c:v>
                      </c:pt>
                      <c:pt idx="568">
                        <c:v>1.9990000000000001</c:v>
                      </c:pt>
                      <c:pt idx="569">
                        <c:v>1.9990000000000001</c:v>
                      </c:pt>
                      <c:pt idx="570">
                        <c:v>1.9990000000000001</c:v>
                      </c:pt>
                      <c:pt idx="571">
                        <c:v>1.9990000000000001</c:v>
                      </c:pt>
                      <c:pt idx="572">
                        <c:v>1.9990000000000001</c:v>
                      </c:pt>
                      <c:pt idx="573">
                        <c:v>1.9990000000000001</c:v>
                      </c:pt>
                      <c:pt idx="574">
                        <c:v>1.9990000000000001</c:v>
                      </c:pt>
                      <c:pt idx="575">
                        <c:v>1.9990000000000001</c:v>
                      </c:pt>
                      <c:pt idx="576">
                        <c:v>1.9990000000000001</c:v>
                      </c:pt>
                      <c:pt idx="577">
                        <c:v>1.9990000000000001</c:v>
                      </c:pt>
                      <c:pt idx="578">
                        <c:v>1.9990000000000001</c:v>
                      </c:pt>
                      <c:pt idx="579">
                        <c:v>1.9990000000000001</c:v>
                      </c:pt>
                      <c:pt idx="580">
                        <c:v>1.9990000000000001</c:v>
                      </c:pt>
                      <c:pt idx="581">
                        <c:v>1.9990000000000001</c:v>
                      </c:pt>
                      <c:pt idx="582">
                        <c:v>1.9990000000000001</c:v>
                      </c:pt>
                      <c:pt idx="583">
                        <c:v>1.9990000000000001</c:v>
                      </c:pt>
                      <c:pt idx="584">
                        <c:v>1.9990000000000001</c:v>
                      </c:pt>
                      <c:pt idx="585">
                        <c:v>1.98</c:v>
                      </c:pt>
                      <c:pt idx="586">
                        <c:v>1.98</c:v>
                      </c:pt>
                      <c:pt idx="587">
                        <c:v>1.98</c:v>
                      </c:pt>
                      <c:pt idx="588">
                        <c:v>1.98</c:v>
                      </c:pt>
                      <c:pt idx="589">
                        <c:v>1.98</c:v>
                      </c:pt>
                      <c:pt idx="590">
                        <c:v>1.98</c:v>
                      </c:pt>
                      <c:pt idx="591">
                        <c:v>1.98</c:v>
                      </c:pt>
                      <c:pt idx="592">
                        <c:v>1.98</c:v>
                      </c:pt>
                      <c:pt idx="593">
                        <c:v>1.98</c:v>
                      </c:pt>
                      <c:pt idx="594">
                        <c:v>1.98</c:v>
                      </c:pt>
                      <c:pt idx="595">
                        <c:v>1.98</c:v>
                      </c:pt>
                      <c:pt idx="596">
                        <c:v>1.98</c:v>
                      </c:pt>
                      <c:pt idx="597">
                        <c:v>1.98</c:v>
                      </c:pt>
                      <c:pt idx="598">
                        <c:v>1.98</c:v>
                      </c:pt>
                      <c:pt idx="599">
                        <c:v>1.98</c:v>
                      </c:pt>
                      <c:pt idx="600">
                        <c:v>1.98</c:v>
                      </c:pt>
                      <c:pt idx="601">
                        <c:v>1.98</c:v>
                      </c:pt>
                      <c:pt idx="602">
                        <c:v>1.98</c:v>
                      </c:pt>
                      <c:pt idx="603">
                        <c:v>1.98</c:v>
                      </c:pt>
                      <c:pt idx="604">
                        <c:v>1.98</c:v>
                      </c:pt>
                      <c:pt idx="605">
                        <c:v>2.06</c:v>
                      </c:pt>
                      <c:pt idx="606">
                        <c:v>2.06</c:v>
                      </c:pt>
                      <c:pt idx="607">
                        <c:v>2.06</c:v>
                      </c:pt>
                      <c:pt idx="608">
                        <c:v>2.06</c:v>
                      </c:pt>
                      <c:pt idx="609">
                        <c:v>2.06</c:v>
                      </c:pt>
                      <c:pt idx="610">
                        <c:v>2.06</c:v>
                      </c:pt>
                      <c:pt idx="611">
                        <c:v>2.06</c:v>
                      </c:pt>
                      <c:pt idx="612">
                        <c:v>2.06</c:v>
                      </c:pt>
                      <c:pt idx="613">
                        <c:v>2.06</c:v>
                      </c:pt>
                      <c:pt idx="614">
                        <c:v>2.06</c:v>
                      </c:pt>
                      <c:pt idx="615">
                        <c:v>2.06</c:v>
                      </c:pt>
                      <c:pt idx="616">
                        <c:v>2.06</c:v>
                      </c:pt>
                      <c:pt idx="617">
                        <c:v>2.06</c:v>
                      </c:pt>
                      <c:pt idx="618">
                        <c:v>2.06</c:v>
                      </c:pt>
                      <c:pt idx="619">
                        <c:v>2.06</c:v>
                      </c:pt>
                      <c:pt idx="620">
                        <c:v>2.06</c:v>
                      </c:pt>
                      <c:pt idx="621">
                        <c:v>2.06</c:v>
                      </c:pt>
                      <c:pt idx="622">
                        <c:v>2.06</c:v>
                      </c:pt>
                      <c:pt idx="623">
                        <c:v>2.06</c:v>
                      </c:pt>
                      <c:pt idx="624">
                        <c:v>2.06</c:v>
                      </c:pt>
                      <c:pt idx="625">
                        <c:v>2.06</c:v>
                      </c:pt>
                      <c:pt idx="626">
                        <c:v>2.06</c:v>
                      </c:pt>
                      <c:pt idx="627">
                        <c:v>2.06</c:v>
                      </c:pt>
                      <c:pt idx="628">
                        <c:v>2.06</c:v>
                      </c:pt>
                      <c:pt idx="629">
                        <c:v>2.06</c:v>
                      </c:pt>
                      <c:pt idx="630">
                        <c:v>2.0779999999999998</c:v>
                      </c:pt>
                      <c:pt idx="631">
                        <c:v>2.0779999999999998</c:v>
                      </c:pt>
                      <c:pt idx="632">
                        <c:v>2.0779999999999998</c:v>
                      </c:pt>
                      <c:pt idx="633">
                        <c:v>2.0779999999999998</c:v>
                      </c:pt>
                      <c:pt idx="634">
                        <c:v>2.0779999999999998</c:v>
                      </c:pt>
                      <c:pt idx="635">
                        <c:v>2.0779999999999998</c:v>
                      </c:pt>
                      <c:pt idx="636">
                        <c:v>2.0779999999999998</c:v>
                      </c:pt>
                      <c:pt idx="637">
                        <c:v>2.0779999999999998</c:v>
                      </c:pt>
                      <c:pt idx="638">
                        <c:v>2.0779999999999998</c:v>
                      </c:pt>
                      <c:pt idx="639">
                        <c:v>2.0779999999999998</c:v>
                      </c:pt>
                      <c:pt idx="640">
                        <c:v>2.0779999999999998</c:v>
                      </c:pt>
                      <c:pt idx="641">
                        <c:v>2.0779999999999998</c:v>
                      </c:pt>
                      <c:pt idx="642">
                        <c:v>2.0779999999999998</c:v>
                      </c:pt>
                      <c:pt idx="643">
                        <c:v>2.0779999999999998</c:v>
                      </c:pt>
                      <c:pt idx="644">
                        <c:v>2.0779999999999998</c:v>
                      </c:pt>
                      <c:pt idx="645">
                        <c:v>2.0779999999999998</c:v>
                      </c:pt>
                      <c:pt idx="646">
                        <c:v>2.0779999999999998</c:v>
                      </c:pt>
                      <c:pt idx="647">
                        <c:v>2.0779999999999998</c:v>
                      </c:pt>
                      <c:pt idx="648">
                        <c:v>2.0779999999999998</c:v>
                      </c:pt>
                      <c:pt idx="649">
                        <c:v>2.0779999999999998</c:v>
                      </c:pt>
                      <c:pt idx="650">
                        <c:v>1.9930000000000001</c:v>
                      </c:pt>
                      <c:pt idx="651">
                        <c:v>1.9930000000000001</c:v>
                      </c:pt>
                      <c:pt idx="652">
                        <c:v>1.9930000000000001</c:v>
                      </c:pt>
                      <c:pt idx="653">
                        <c:v>1.9930000000000001</c:v>
                      </c:pt>
                      <c:pt idx="654">
                        <c:v>1.9930000000000001</c:v>
                      </c:pt>
                      <c:pt idx="655">
                        <c:v>1.9930000000000001</c:v>
                      </c:pt>
                      <c:pt idx="656">
                        <c:v>1.9930000000000001</c:v>
                      </c:pt>
                      <c:pt idx="657">
                        <c:v>1.9930000000000001</c:v>
                      </c:pt>
                      <c:pt idx="658">
                        <c:v>1.9930000000000001</c:v>
                      </c:pt>
                      <c:pt idx="659">
                        <c:v>1.9930000000000001</c:v>
                      </c:pt>
                      <c:pt idx="660">
                        <c:v>1.9930000000000001</c:v>
                      </c:pt>
                      <c:pt idx="661">
                        <c:v>1.9930000000000001</c:v>
                      </c:pt>
                      <c:pt idx="662">
                        <c:v>1.9930000000000001</c:v>
                      </c:pt>
                      <c:pt idx="663">
                        <c:v>1.9930000000000001</c:v>
                      </c:pt>
                      <c:pt idx="664">
                        <c:v>1.9930000000000001</c:v>
                      </c:pt>
                      <c:pt idx="665">
                        <c:v>1.9930000000000001</c:v>
                      </c:pt>
                      <c:pt idx="666">
                        <c:v>1.9930000000000001</c:v>
                      </c:pt>
                      <c:pt idx="667">
                        <c:v>1.9930000000000001</c:v>
                      </c:pt>
                      <c:pt idx="668">
                        <c:v>1.9930000000000001</c:v>
                      </c:pt>
                      <c:pt idx="669">
                        <c:v>1.9930000000000001</c:v>
                      </c:pt>
                      <c:pt idx="670">
                        <c:v>2.0990000000000002</c:v>
                      </c:pt>
                      <c:pt idx="671">
                        <c:v>2.0990000000000002</c:v>
                      </c:pt>
                      <c:pt idx="672">
                        <c:v>2.0990000000000002</c:v>
                      </c:pt>
                      <c:pt idx="673">
                        <c:v>2.0990000000000002</c:v>
                      </c:pt>
                      <c:pt idx="674">
                        <c:v>2.0990000000000002</c:v>
                      </c:pt>
                      <c:pt idx="675">
                        <c:v>2.0990000000000002</c:v>
                      </c:pt>
                      <c:pt idx="676">
                        <c:v>2.0990000000000002</c:v>
                      </c:pt>
                      <c:pt idx="677">
                        <c:v>2.0990000000000002</c:v>
                      </c:pt>
                      <c:pt idx="678">
                        <c:v>2.0990000000000002</c:v>
                      </c:pt>
                      <c:pt idx="679">
                        <c:v>2.0990000000000002</c:v>
                      </c:pt>
                      <c:pt idx="680">
                        <c:v>2.0990000000000002</c:v>
                      </c:pt>
                      <c:pt idx="681">
                        <c:v>2.0990000000000002</c:v>
                      </c:pt>
                      <c:pt idx="682">
                        <c:v>2.0990000000000002</c:v>
                      </c:pt>
                      <c:pt idx="683">
                        <c:v>2.0990000000000002</c:v>
                      </c:pt>
                      <c:pt idx="684">
                        <c:v>2.0990000000000002</c:v>
                      </c:pt>
                      <c:pt idx="685">
                        <c:v>2.0990000000000002</c:v>
                      </c:pt>
                      <c:pt idx="686">
                        <c:v>2.0990000000000002</c:v>
                      </c:pt>
                      <c:pt idx="687">
                        <c:v>2.0990000000000002</c:v>
                      </c:pt>
                      <c:pt idx="688">
                        <c:v>2.0990000000000002</c:v>
                      </c:pt>
                      <c:pt idx="689">
                        <c:v>2.0990000000000002</c:v>
                      </c:pt>
                      <c:pt idx="690">
                        <c:v>2.0990000000000002</c:v>
                      </c:pt>
                      <c:pt idx="691">
                        <c:v>2.0990000000000002</c:v>
                      </c:pt>
                      <c:pt idx="692">
                        <c:v>2.0990000000000002</c:v>
                      </c:pt>
                      <c:pt idx="693">
                        <c:v>2.0990000000000002</c:v>
                      </c:pt>
                      <c:pt idx="694">
                        <c:v>2.0990000000000002</c:v>
                      </c:pt>
                      <c:pt idx="695">
                        <c:v>2.1429999999999998</c:v>
                      </c:pt>
                      <c:pt idx="696">
                        <c:v>2.1429999999999998</c:v>
                      </c:pt>
                      <c:pt idx="697">
                        <c:v>2.1429999999999998</c:v>
                      </c:pt>
                      <c:pt idx="698">
                        <c:v>2.1429999999999998</c:v>
                      </c:pt>
                      <c:pt idx="699">
                        <c:v>2.1429999999999998</c:v>
                      </c:pt>
                      <c:pt idx="700">
                        <c:v>2.1429999999999998</c:v>
                      </c:pt>
                      <c:pt idx="701">
                        <c:v>2.1429999999999998</c:v>
                      </c:pt>
                      <c:pt idx="702">
                        <c:v>2.1429999999999998</c:v>
                      </c:pt>
                      <c:pt idx="703">
                        <c:v>2.1429999999999998</c:v>
                      </c:pt>
                      <c:pt idx="704">
                        <c:v>2.1429999999999998</c:v>
                      </c:pt>
                      <c:pt idx="705">
                        <c:v>2.1429999999999998</c:v>
                      </c:pt>
                      <c:pt idx="706">
                        <c:v>2.1429999999999998</c:v>
                      </c:pt>
                      <c:pt idx="707">
                        <c:v>2.1429999999999998</c:v>
                      </c:pt>
                      <c:pt idx="708">
                        <c:v>2.1429999999999998</c:v>
                      </c:pt>
                      <c:pt idx="709">
                        <c:v>2.1429999999999998</c:v>
                      </c:pt>
                      <c:pt idx="710">
                        <c:v>2.1429999999999998</c:v>
                      </c:pt>
                      <c:pt idx="711">
                        <c:v>2.1429999999999998</c:v>
                      </c:pt>
                      <c:pt idx="712">
                        <c:v>2.1429999999999998</c:v>
                      </c:pt>
                      <c:pt idx="713">
                        <c:v>2.1429999999999998</c:v>
                      </c:pt>
                      <c:pt idx="714">
                        <c:v>2.1429999999999998</c:v>
                      </c:pt>
                      <c:pt idx="715">
                        <c:v>2.1760000000000002</c:v>
                      </c:pt>
                      <c:pt idx="716">
                        <c:v>2.1760000000000002</c:v>
                      </c:pt>
                      <c:pt idx="717">
                        <c:v>2.1760000000000002</c:v>
                      </c:pt>
                      <c:pt idx="718">
                        <c:v>2.1760000000000002</c:v>
                      </c:pt>
                      <c:pt idx="719">
                        <c:v>2.1760000000000002</c:v>
                      </c:pt>
                      <c:pt idx="720">
                        <c:v>2.1760000000000002</c:v>
                      </c:pt>
                      <c:pt idx="721">
                        <c:v>2.1760000000000002</c:v>
                      </c:pt>
                      <c:pt idx="722">
                        <c:v>2.1760000000000002</c:v>
                      </c:pt>
                      <c:pt idx="723">
                        <c:v>2.1760000000000002</c:v>
                      </c:pt>
                      <c:pt idx="724">
                        <c:v>2.1760000000000002</c:v>
                      </c:pt>
                      <c:pt idx="725">
                        <c:v>2.1760000000000002</c:v>
                      </c:pt>
                      <c:pt idx="726">
                        <c:v>2.1760000000000002</c:v>
                      </c:pt>
                      <c:pt idx="727">
                        <c:v>2.1760000000000002</c:v>
                      </c:pt>
                      <c:pt idx="728">
                        <c:v>2.1760000000000002</c:v>
                      </c:pt>
                      <c:pt idx="729">
                        <c:v>2.1760000000000002</c:v>
                      </c:pt>
                      <c:pt idx="730">
                        <c:v>2.1760000000000002</c:v>
                      </c:pt>
                      <c:pt idx="731">
                        <c:v>2.1760000000000002</c:v>
                      </c:pt>
                      <c:pt idx="732">
                        <c:v>2.1760000000000002</c:v>
                      </c:pt>
                      <c:pt idx="733">
                        <c:v>2.1760000000000002</c:v>
                      </c:pt>
                      <c:pt idx="734">
                        <c:v>2.1760000000000002</c:v>
                      </c:pt>
                      <c:pt idx="735">
                        <c:v>2.1760000000000002</c:v>
                      </c:pt>
                      <c:pt idx="736">
                        <c:v>2.1760000000000002</c:v>
                      </c:pt>
                      <c:pt idx="737">
                        <c:v>2.1760000000000002</c:v>
                      </c:pt>
                      <c:pt idx="738">
                        <c:v>2.1760000000000002</c:v>
                      </c:pt>
                      <c:pt idx="739">
                        <c:v>2.1760000000000002</c:v>
                      </c:pt>
                      <c:pt idx="740">
                        <c:v>2.1669999999999998</c:v>
                      </c:pt>
                      <c:pt idx="741">
                        <c:v>2.1669999999999998</c:v>
                      </c:pt>
                      <c:pt idx="742">
                        <c:v>2.1669999999999998</c:v>
                      </c:pt>
                      <c:pt idx="743">
                        <c:v>2.1669999999999998</c:v>
                      </c:pt>
                      <c:pt idx="744">
                        <c:v>2.1669999999999998</c:v>
                      </c:pt>
                      <c:pt idx="745">
                        <c:v>2.1669999999999998</c:v>
                      </c:pt>
                      <c:pt idx="746">
                        <c:v>2.1669999999999998</c:v>
                      </c:pt>
                      <c:pt idx="747">
                        <c:v>2.1669999999999998</c:v>
                      </c:pt>
                      <c:pt idx="748">
                        <c:v>2.1669999999999998</c:v>
                      </c:pt>
                      <c:pt idx="749">
                        <c:v>2.1669999999999998</c:v>
                      </c:pt>
                      <c:pt idx="750">
                        <c:v>2.1669999999999998</c:v>
                      </c:pt>
                      <c:pt idx="751">
                        <c:v>2.1669999999999998</c:v>
                      </c:pt>
                      <c:pt idx="752">
                        <c:v>2.1669999999999998</c:v>
                      </c:pt>
                      <c:pt idx="753">
                        <c:v>2.1669999999999998</c:v>
                      </c:pt>
                      <c:pt idx="754">
                        <c:v>2.1669999999999998</c:v>
                      </c:pt>
                      <c:pt idx="755">
                        <c:v>2.1669999999999998</c:v>
                      </c:pt>
                      <c:pt idx="756">
                        <c:v>2.1669999999999998</c:v>
                      </c:pt>
                      <c:pt idx="757">
                        <c:v>2.1669999999999998</c:v>
                      </c:pt>
                      <c:pt idx="758">
                        <c:v>2.1669999999999998</c:v>
                      </c:pt>
                      <c:pt idx="759">
                        <c:v>2.1669999999999998</c:v>
                      </c:pt>
                      <c:pt idx="760">
                        <c:v>2.2309999999999999</c:v>
                      </c:pt>
                      <c:pt idx="761">
                        <c:v>2.2309999999999999</c:v>
                      </c:pt>
                      <c:pt idx="762">
                        <c:v>2.2309999999999999</c:v>
                      </c:pt>
                      <c:pt idx="763">
                        <c:v>2.2309999999999999</c:v>
                      </c:pt>
                      <c:pt idx="764">
                        <c:v>2.2309999999999999</c:v>
                      </c:pt>
                      <c:pt idx="765">
                        <c:v>2.2309999999999999</c:v>
                      </c:pt>
                      <c:pt idx="766">
                        <c:v>2.2309999999999999</c:v>
                      </c:pt>
                      <c:pt idx="767">
                        <c:v>2.2309999999999999</c:v>
                      </c:pt>
                      <c:pt idx="768">
                        <c:v>2.2309999999999999</c:v>
                      </c:pt>
                      <c:pt idx="769">
                        <c:v>2.2309999999999999</c:v>
                      </c:pt>
                      <c:pt idx="770">
                        <c:v>2.2309999999999999</c:v>
                      </c:pt>
                      <c:pt idx="771">
                        <c:v>2.2309999999999999</c:v>
                      </c:pt>
                      <c:pt idx="772">
                        <c:v>2.2309999999999999</c:v>
                      </c:pt>
                      <c:pt idx="773">
                        <c:v>2.2309999999999999</c:v>
                      </c:pt>
                      <c:pt idx="774">
                        <c:v>2.2309999999999999</c:v>
                      </c:pt>
                      <c:pt idx="775">
                        <c:v>2.2309999999999999</c:v>
                      </c:pt>
                      <c:pt idx="776">
                        <c:v>2.2309999999999999</c:v>
                      </c:pt>
                      <c:pt idx="777">
                        <c:v>2.2309999999999999</c:v>
                      </c:pt>
                      <c:pt idx="778">
                        <c:v>2.2309999999999999</c:v>
                      </c:pt>
                      <c:pt idx="779">
                        <c:v>2.2309999999999999</c:v>
                      </c:pt>
                      <c:pt idx="780">
                        <c:v>2.2650000000000001</c:v>
                      </c:pt>
                      <c:pt idx="781">
                        <c:v>2.2650000000000001</c:v>
                      </c:pt>
                      <c:pt idx="782">
                        <c:v>2.2650000000000001</c:v>
                      </c:pt>
                      <c:pt idx="783">
                        <c:v>2.2650000000000001</c:v>
                      </c:pt>
                      <c:pt idx="784">
                        <c:v>2.2650000000000001</c:v>
                      </c:pt>
                      <c:pt idx="785">
                        <c:v>2.2650000000000001</c:v>
                      </c:pt>
                      <c:pt idx="786">
                        <c:v>2.2650000000000001</c:v>
                      </c:pt>
                      <c:pt idx="787">
                        <c:v>2.2650000000000001</c:v>
                      </c:pt>
                      <c:pt idx="788">
                        <c:v>2.2650000000000001</c:v>
                      </c:pt>
                      <c:pt idx="789">
                        <c:v>2.2650000000000001</c:v>
                      </c:pt>
                      <c:pt idx="790">
                        <c:v>2.2650000000000001</c:v>
                      </c:pt>
                      <c:pt idx="791">
                        <c:v>2.2650000000000001</c:v>
                      </c:pt>
                      <c:pt idx="792">
                        <c:v>2.2650000000000001</c:v>
                      </c:pt>
                      <c:pt idx="793">
                        <c:v>2.2650000000000001</c:v>
                      </c:pt>
                      <c:pt idx="794">
                        <c:v>2.2650000000000001</c:v>
                      </c:pt>
                      <c:pt idx="795">
                        <c:v>2.2650000000000001</c:v>
                      </c:pt>
                      <c:pt idx="796">
                        <c:v>2.2650000000000001</c:v>
                      </c:pt>
                      <c:pt idx="797">
                        <c:v>2.2650000000000001</c:v>
                      </c:pt>
                      <c:pt idx="798">
                        <c:v>2.2650000000000001</c:v>
                      </c:pt>
                      <c:pt idx="799">
                        <c:v>2.2650000000000001</c:v>
                      </c:pt>
                      <c:pt idx="800">
                        <c:v>2.2650000000000001</c:v>
                      </c:pt>
                      <c:pt idx="801">
                        <c:v>2.2650000000000001</c:v>
                      </c:pt>
                      <c:pt idx="802">
                        <c:v>2.2650000000000001</c:v>
                      </c:pt>
                      <c:pt idx="803">
                        <c:v>2.2650000000000001</c:v>
                      </c:pt>
                      <c:pt idx="804">
                        <c:v>2.2650000000000001</c:v>
                      </c:pt>
                      <c:pt idx="805">
                        <c:v>2.25</c:v>
                      </c:pt>
                      <c:pt idx="806">
                        <c:v>2.25</c:v>
                      </c:pt>
                      <c:pt idx="807">
                        <c:v>2.25</c:v>
                      </c:pt>
                      <c:pt idx="808">
                        <c:v>2.25</c:v>
                      </c:pt>
                      <c:pt idx="809">
                        <c:v>2.25</c:v>
                      </c:pt>
                      <c:pt idx="810">
                        <c:v>2.25</c:v>
                      </c:pt>
                      <c:pt idx="811">
                        <c:v>2.25</c:v>
                      </c:pt>
                      <c:pt idx="812">
                        <c:v>2.25</c:v>
                      </c:pt>
                      <c:pt idx="813">
                        <c:v>2.25</c:v>
                      </c:pt>
                      <c:pt idx="814">
                        <c:v>2.25</c:v>
                      </c:pt>
                      <c:pt idx="815">
                        <c:v>2.25</c:v>
                      </c:pt>
                      <c:pt idx="816">
                        <c:v>2.25</c:v>
                      </c:pt>
                      <c:pt idx="817">
                        <c:v>2.25</c:v>
                      </c:pt>
                      <c:pt idx="818">
                        <c:v>2.25</c:v>
                      </c:pt>
                      <c:pt idx="819">
                        <c:v>2.25</c:v>
                      </c:pt>
                      <c:pt idx="820">
                        <c:v>2.25</c:v>
                      </c:pt>
                      <c:pt idx="821">
                        <c:v>2.25</c:v>
                      </c:pt>
                      <c:pt idx="822">
                        <c:v>2.25</c:v>
                      </c:pt>
                      <c:pt idx="823">
                        <c:v>2.25</c:v>
                      </c:pt>
                      <c:pt idx="824">
                        <c:v>2.25</c:v>
                      </c:pt>
                      <c:pt idx="825">
                        <c:v>2.2410000000000001</c:v>
                      </c:pt>
                      <c:pt idx="826">
                        <c:v>2.2410000000000001</c:v>
                      </c:pt>
                      <c:pt idx="827">
                        <c:v>2.2410000000000001</c:v>
                      </c:pt>
                      <c:pt idx="828">
                        <c:v>2.2410000000000001</c:v>
                      </c:pt>
                      <c:pt idx="829">
                        <c:v>2.2410000000000001</c:v>
                      </c:pt>
                      <c:pt idx="830">
                        <c:v>2.2410000000000001</c:v>
                      </c:pt>
                      <c:pt idx="831">
                        <c:v>2.2410000000000001</c:v>
                      </c:pt>
                      <c:pt idx="832">
                        <c:v>2.2410000000000001</c:v>
                      </c:pt>
                      <c:pt idx="833">
                        <c:v>2.2410000000000001</c:v>
                      </c:pt>
                      <c:pt idx="834">
                        <c:v>2.2410000000000001</c:v>
                      </c:pt>
                      <c:pt idx="835">
                        <c:v>2.2410000000000001</c:v>
                      </c:pt>
                      <c:pt idx="836">
                        <c:v>2.2410000000000001</c:v>
                      </c:pt>
                      <c:pt idx="837">
                        <c:v>2.2410000000000001</c:v>
                      </c:pt>
                      <c:pt idx="838">
                        <c:v>2.2410000000000001</c:v>
                      </c:pt>
                      <c:pt idx="839">
                        <c:v>2.2410000000000001</c:v>
                      </c:pt>
                      <c:pt idx="840">
                        <c:v>2.2410000000000001</c:v>
                      </c:pt>
                      <c:pt idx="841">
                        <c:v>2.2410000000000001</c:v>
                      </c:pt>
                      <c:pt idx="842">
                        <c:v>2.2410000000000001</c:v>
                      </c:pt>
                      <c:pt idx="843">
                        <c:v>2.2410000000000001</c:v>
                      </c:pt>
                      <c:pt idx="844">
                        <c:v>2.2410000000000001</c:v>
                      </c:pt>
                      <c:pt idx="845">
                        <c:v>2.2229999999999999</c:v>
                      </c:pt>
                      <c:pt idx="846">
                        <c:v>2.2229999999999999</c:v>
                      </c:pt>
                      <c:pt idx="847">
                        <c:v>2.2229999999999999</c:v>
                      </c:pt>
                      <c:pt idx="848">
                        <c:v>2.2229999999999999</c:v>
                      </c:pt>
                      <c:pt idx="849">
                        <c:v>2.2229999999999999</c:v>
                      </c:pt>
                      <c:pt idx="850">
                        <c:v>2.2229999999999999</c:v>
                      </c:pt>
                      <c:pt idx="851">
                        <c:v>2.2229999999999999</c:v>
                      </c:pt>
                      <c:pt idx="852">
                        <c:v>2.2229999999999999</c:v>
                      </c:pt>
                      <c:pt idx="853">
                        <c:v>2.2229999999999999</c:v>
                      </c:pt>
                      <c:pt idx="854">
                        <c:v>2.2229999999999999</c:v>
                      </c:pt>
                      <c:pt idx="855">
                        <c:v>2.2229999999999999</c:v>
                      </c:pt>
                      <c:pt idx="856">
                        <c:v>2.2229999999999999</c:v>
                      </c:pt>
                      <c:pt idx="857">
                        <c:v>2.2229999999999999</c:v>
                      </c:pt>
                      <c:pt idx="858">
                        <c:v>2.2229999999999999</c:v>
                      </c:pt>
                      <c:pt idx="859">
                        <c:v>2.2229999999999999</c:v>
                      </c:pt>
                      <c:pt idx="860">
                        <c:v>2.2229999999999999</c:v>
                      </c:pt>
                      <c:pt idx="861">
                        <c:v>2.2229999999999999</c:v>
                      </c:pt>
                      <c:pt idx="862">
                        <c:v>2.2229999999999999</c:v>
                      </c:pt>
                      <c:pt idx="863">
                        <c:v>2.2229999999999999</c:v>
                      </c:pt>
                      <c:pt idx="864">
                        <c:v>2.2229999999999999</c:v>
                      </c:pt>
                      <c:pt idx="865">
                        <c:v>2.2469999999999999</c:v>
                      </c:pt>
                      <c:pt idx="866">
                        <c:v>2.2469999999999999</c:v>
                      </c:pt>
                      <c:pt idx="867">
                        <c:v>2.2469999999999999</c:v>
                      </c:pt>
                      <c:pt idx="868">
                        <c:v>2.2469999999999999</c:v>
                      </c:pt>
                      <c:pt idx="869">
                        <c:v>2.2469999999999999</c:v>
                      </c:pt>
                      <c:pt idx="870">
                        <c:v>2.2469999999999999</c:v>
                      </c:pt>
                      <c:pt idx="871">
                        <c:v>2.2469999999999999</c:v>
                      </c:pt>
                      <c:pt idx="872">
                        <c:v>2.2469999999999999</c:v>
                      </c:pt>
                      <c:pt idx="873">
                        <c:v>2.2469999999999999</c:v>
                      </c:pt>
                      <c:pt idx="874">
                        <c:v>2.2469999999999999</c:v>
                      </c:pt>
                      <c:pt idx="875">
                        <c:v>2.2469999999999999</c:v>
                      </c:pt>
                      <c:pt idx="876">
                        <c:v>2.2469999999999999</c:v>
                      </c:pt>
                      <c:pt idx="877">
                        <c:v>2.2469999999999999</c:v>
                      </c:pt>
                      <c:pt idx="878">
                        <c:v>2.2469999999999999</c:v>
                      </c:pt>
                      <c:pt idx="879">
                        <c:v>2.2469999999999999</c:v>
                      </c:pt>
                      <c:pt idx="880">
                        <c:v>2.2469999999999999</c:v>
                      </c:pt>
                      <c:pt idx="881">
                        <c:v>2.2469999999999999</c:v>
                      </c:pt>
                      <c:pt idx="882">
                        <c:v>2.2469999999999999</c:v>
                      </c:pt>
                      <c:pt idx="883">
                        <c:v>2.2469999999999999</c:v>
                      </c:pt>
                      <c:pt idx="884">
                        <c:v>2.2469999999999999</c:v>
                      </c:pt>
                      <c:pt idx="885">
                        <c:v>2.2469999999999999</c:v>
                      </c:pt>
                      <c:pt idx="886">
                        <c:v>2.2469999999999999</c:v>
                      </c:pt>
                      <c:pt idx="887">
                        <c:v>2.2469999999999999</c:v>
                      </c:pt>
                      <c:pt idx="888">
                        <c:v>2.2469999999999999</c:v>
                      </c:pt>
                      <c:pt idx="889">
                        <c:v>2.2469999999999999</c:v>
                      </c:pt>
                      <c:pt idx="890">
                        <c:v>2.2200000000000002</c:v>
                      </c:pt>
                      <c:pt idx="891">
                        <c:v>2.2200000000000002</c:v>
                      </c:pt>
                      <c:pt idx="892">
                        <c:v>2.2200000000000002</c:v>
                      </c:pt>
                      <c:pt idx="893">
                        <c:v>2.2200000000000002</c:v>
                      </c:pt>
                      <c:pt idx="894">
                        <c:v>2.2200000000000002</c:v>
                      </c:pt>
                      <c:pt idx="895">
                        <c:v>2.2200000000000002</c:v>
                      </c:pt>
                      <c:pt idx="896">
                        <c:v>2.2200000000000002</c:v>
                      </c:pt>
                      <c:pt idx="897">
                        <c:v>2.2200000000000002</c:v>
                      </c:pt>
                      <c:pt idx="898">
                        <c:v>2.2200000000000002</c:v>
                      </c:pt>
                      <c:pt idx="899">
                        <c:v>2.2200000000000002</c:v>
                      </c:pt>
                      <c:pt idx="900">
                        <c:v>2.2200000000000002</c:v>
                      </c:pt>
                      <c:pt idx="901">
                        <c:v>2.2200000000000002</c:v>
                      </c:pt>
                      <c:pt idx="902">
                        <c:v>2.2200000000000002</c:v>
                      </c:pt>
                      <c:pt idx="903">
                        <c:v>2.2200000000000002</c:v>
                      </c:pt>
                      <c:pt idx="904">
                        <c:v>2.2200000000000002</c:v>
                      </c:pt>
                      <c:pt idx="905">
                        <c:v>2.2200000000000002</c:v>
                      </c:pt>
                      <c:pt idx="906">
                        <c:v>2.2200000000000002</c:v>
                      </c:pt>
                      <c:pt idx="907">
                        <c:v>2.2200000000000002</c:v>
                      </c:pt>
                      <c:pt idx="908">
                        <c:v>2.2200000000000002</c:v>
                      </c:pt>
                      <c:pt idx="909">
                        <c:v>2.2200000000000002</c:v>
                      </c:pt>
                      <c:pt idx="910">
                        <c:v>2.1829999999999998</c:v>
                      </c:pt>
                      <c:pt idx="911">
                        <c:v>2.1829999999999998</c:v>
                      </c:pt>
                      <c:pt idx="912">
                        <c:v>2.1829999999999998</c:v>
                      </c:pt>
                      <c:pt idx="913">
                        <c:v>2.1829999999999998</c:v>
                      </c:pt>
                      <c:pt idx="914">
                        <c:v>2.1829999999999998</c:v>
                      </c:pt>
                      <c:pt idx="915">
                        <c:v>2.1829999999999998</c:v>
                      </c:pt>
                      <c:pt idx="916">
                        <c:v>2.1829999999999998</c:v>
                      </c:pt>
                      <c:pt idx="917">
                        <c:v>2.1829999999999998</c:v>
                      </c:pt>
                      <c:pt idx="918">
                        <c:v>2.1829999999999998</c:v>
                      </c:pt>
                      <c:pt idx="919">
                        <c:v>2.1829999999999998</c:v>
                      </c:pt>
                      <c:pt idx="920">
                        <c:v>2.1829999999999998</c:v>
                      </c:pt>
                      <c:pt idx="921">
                        <c:v>2.1829999999999998</c:v>
                      </c:pt>
                      <c:pt idx="922">
                        <c:v>2.1829999999999998</c:v>
                      </c:pt>
                      <c:pt idx="923">
                        <c:v>2.1829999999999998</c:v>
                      </c:pt>
                      <c:pt idx="924">
                        <c:v>2.1829999999999998</c:v>
                      </c:pt>
                      <c:pt idx="925">
                        <c:v>2.1829999999999998</c:v>
                      </c:pt>
                      <c:pt idx="926">
                        <c:v>2.1829999999999998</c:v>
                      </c:pt>
                      <c:pt idx="927">
                        <c:v>2.1829999999999998</c:v>
                      </c:pt>
                      <c:pt idx="928">
                        <c:v>2.1829999999999998</c:v>
                      </c:pt>
                      <c:pt idx="929">
                        <c:v>2.1829999999999998</c:v>
                      </c:pt>
                      <c:pt idx="930">
                        <c:v>2.1829999999999998</c:v>
                      </c:pt>
                      <c:pt idx="931">
                        <c:v>2.1829999999999998</c:v>
                      </c:pt>
                      <c:pt idx="932">
                        <c:v>2.1829999999999998</c:v>
                      </c:pt>
                      <c:pt idx="933">
                        <c:v>2.1829999999999998</c:v>
                      </c:pt>
                      <c:pt idx="934">
                        <c:v>2.1829999999999998</c:v>
                      </c:pt>
                      <c:pt idx="935">
                        <c:v>2.25</c:v>
                      </c:pt>
                      <c:pt idx="936">
                        <c:v>2.25</c:v>
                      </c:pt>
                      <c:pt idx="937">
                        <c:v>2.25</c:v>
                      </c:pt>
                      <c:pt idx="938">
                        <c:v>2.25</c:v>
                      </c:pt>
                      <c:pt idx="939">
                        <c:v>2.25</c:v>
                      </c:pt>
                      <c:pt idx="940">
                        <c:v>2.25</c:v>
                      </c:pt>
                      <c:pt idx="941">
                        <c:v>2.25</c:v>
                      </c:pt>
                      <c:pt idx="942">
                        <c:v>2.25</c:v>
                      </c:pt>
                      <c:pt idx="943">
                        <c:v>2.25</c:v>
                      </c:pt>
                      <c:pt idx="944">
                        <c:v>2.25</c:v>
                      </c:pt>
                      <c:pt idx="945">
                        <c:v>2.25</c:v>
                      </c:pt>
                      <c:pt idx="946">
                        <c:v>2.25</c:v>
                      </c:pt>
                      <c:pt idx="947">
                        <c:v>2.25</c:v>
                      </c:pt>
                      <c:pt idx="948">
                        <c:v>2.25</c:v>
                      </c:pt>
                      <c:pt idx="949">
                        <c:v>2.25</c:v>
                      </c:pt>
                      <c:pt idx="950">
                        <c:v>2.25</c:v>
                      </c:pt>
                      <c:pt idx="951">
                        <c:v>2.25</c:v>
                      </c:pt>
                      <c:pt idx="952">
                        <c:v>2.25</c:v>
                      </c:pt>
                      <c:pt idx="953">
                        <c:v>2.25</c:v>
                      </c:pt>
                      <c:pt idx="954">
                        <c:v>2.25</c:v>
                      </c:pt>
                      <c:pt idx="955">
                        <c:v>2.278</c:v>
                      </c:pt>
                      <c:pt idx="956">
                        <c:v>2.278</c:v>
                      </c:pt>
                      <c:pt idx="957">
                        <c:v>2.278</c:v>
                      </c:pt>
                      <c:pt idx="958">
                        <c:v>2.278</c:v>
                      </c:pt>
                      <c:pt idx="959">
                        <c:v>2.278</c:v>
                      </c:pt>
                      <c:pt idx="960">
                        <c:v>2.278</c:v>
                      </c:pt>
                      <c:pt idx="961">
                        <c:v>2.278</c:v>
                      </c:pt>
                      <c:pt idx="962">
                        <c:v>2.278</c:v>
                      </c:pt>
                      <c:pt idx="963">
                        <c:v>2.278</c:v>
                      </c:pt>
                      <c:pt idx="964">
                        <c:v>2.278</c:v>
                      </c:pt>
                      <c:pt idx="965">
                        <c:v>2.278</c:v>
                      </c:pt>
                      <c:pt idx="966">
                        <c:v>2.278</c:v>
                      </c:pt>
                      <c:pt idx="967">
                        <c:v>2.278</c:v>
                      </c:pt>
                      <c:pt idx="968">
                        <c:v>2.278</c:v>
                      </c:pt>
                      <c:pt idx="969">
                        <c:v>2.278</c:v>
                      </c:pt>
                      <c:pt idx="970">
                        <c:v>2.278</c:v>
                      </c:pt>
                      <c:pt idx="971">
                        <c:v>2.278</c:v>
                      </c:pt>
                      <c:pt idx="972">
                        <c:v>2.278</c:v>
                      </c:pt>
                      <c:pt idx="973">
                        <c:v>2.278</c:v>
                      </c:pt>
                      <c:pt idx="974">
                        <c:v>2.278</c:v>
                      </c:pt>
                      <c:pt idx="975">
                        <c:v>2.2229999999999999</c:v>
                      </c:pt>
                      <c:pt idx="976">
                        <c:v>2.2229999999999999</c:v>
                      </c:pt>
                      <c:pt idx="977">
                        <c:v>2.2229999999999999</c:v>
                      </c:pt>
                      <c:pt idx="978">
                        <c:v>2.2229999999999999</c:v>
                      </c:pt>
                      <c:pt idx="979">
                        <c:v>2.2229999999999999</c:v>
                      </c:pt>
                      <c:pt idx="980">
                        <c:v>2.2229999999999999</c:v>
                      </c:pt>
                      <c:pt idx="981">
                        <c:v>2.2229999999999999</c:v>
                      </c:pt>
                      <c:pt idx="982">
                        <c:v>2.2229999999999999</c:v>
                      </c:pt>
                      <c:pt idx="983">
                        <c:v>2.2229999999999999</c:v>
                      </c:pt>
                      <c:pt idx="984">
                        <c:v>2.2229999999999999</c:v>
                      </c:pt>
                      <c:pt idx="985">
                        <c:v>2.2229999999999999</c:v>
                      </c:pt>
                      <c:pt idx="986">
                        <c:v>2.2229999999999999</c:v>
                      </c:pt>
                      <c:pt idx="987">
                        <c:v>2.2229999999999999</c:v>
                      </c:pt>
                      <c:pt idx="988">
                        <c:v>2.2229999999999999</c:v>
                      </c:pt>
                      <c:pt idx="989">
                        <c:v>2.2229999999999999</c:v>
                      </c:pt>
                      <c:pt idx="990">
                        <c:v>2.2229999999999999</c:v>
                      </c:pt>
                      <c:pt idx="991">
                        <c:v>2.2229999999999999</c:v>
                      </c:pt>
                      <c:pt idx="992">
                        <c:v>2.2229999999999999</c:v>
                      </c:pt>
                      <c:pt idx="993">
                        <c:v>2.2229999999999999</c:v>
                      </c:pt>
                      <c:pt idx="994">
                        <c:v>2.2229999999999999</c:v>
                      </c:pt>
                      <c:pt idx="995">
                        <c:v>2.2229999999999999</c:v>
                      </c:pt>
                      <c:pt idx="996">
                        <c:v>2.2229999999999999</c:v>
                      </c:pt>
                      <c:pt idx="997">
                        <c:v>2.2229999999999999</c:v>
                      </c:pt>
                      <c:pt idx="998">
                        <c:v>2.2229999999999999</c:v>
                      </c:pt>
                      <c:pt idx="999">
                        <c:v>2.2229999999999999</c:v>
                      </c:pt>
                      <c:pt idx="1000">
                        <c:v>2.33</c:v>
                      </c:pt>
                      <c:pt idx="1001">
                        <c:v>2.33</c:v>
                      </c:pt>
                      <c:pt idx="1002">
                        <c:v>2.33</c:v>
                      </c:pt>
                      <c:pt idx="1003">
                        <c:v>2.33</c:v>
                      </c:pt>
                      <c:pt idx="1004">
                        <c:v>2.33</c:v>
                      </c:pt>
                      <c:pt idx="1005">
                        <c:v>2.33</c:v>
                      </c:pt>
                      <c:pt idx="1006">
                        <c:v>2.33</c:v>
                      </c:pt>
                      <c:pt idx="1007">
                        <c:v>2.33</c:v>
                      </c:pt>
                      <c:pt idx="1008">
                        <c:v>2.33</c:v>
                      </c:pt>
                      <c:pt idx="1009">
                        <c:v>2.33</c:v>
                      </c:pt>
                      <c:pt idx="1010">
                        <c:v>2.33</c:v>
                      </c:pt>
                      <c:pt idx="1011">
                        <c:v>2.33</c:v>
                      </c:pt>
                      <c:pt idx="1012">
                        <c:v>2.33</c:v>
                      </c:pt>
                      <c:pt idx="1013">
                        <c:v>2.33</c:v>
                      </c:pt>
                      <c:pt idx="1014">
                        <c:v>2.33</c:v>
                      </c:pt>
                      <c:pt idx="1015">
                        <c:v>2.33</c:v>
                      </c:pt>
                      <c:pt idx="1016">
                        <c:v>2.33</c:v>
                      </c:pt>
                      <c:pt idx="1017">
                        <c:v>2.33</c:v>
                      </c:pt>
                      <c:pt idx="1018">
                        <c:v>2.33</c:v>
                      </c:pt>
                      <c:pt idx="1019">
                        <c:v>2.33</c:v>
                      </c:pt>
                      <c:pt idx="1020">
                        <c:v>2.3620000000000001</c:v>
                      </c:pt>
                      <c:pt idx="1021">
                        <c:v>2.3620000000000001</c:v>
                      </c:pt>
                      <c:pt idx="1022">
                        <c:v>2.3620000000000001</c:v>
                      </c:pt>
                      <c:pt idx="1023">
                        <c:v>2.3620000000000001</c:v>
                      </c:pt>
                      <c:pt idx="1024">
                        <c:v>2.3620000000000001</c:v>
                      </c:pt>
                      <c:pt idx="1025">
                        <c:v>2.3620000000000001</c:v>
                      </c:pt>
                      <c:pt idx="1026">
                        <c:v>2.3620000000000001</c:v>
                      </c:pt>
                      <c:pt idx="1027">
                        <c:v>2.3620000000000001</c:v>
                      </c:pt>
                      <c:pt idx="1028">
                        <c:v>2.3620000000000001</c:v>
                      </c:pt>
                      <c:pt idx="1029">
                        <c:v>2.3620000000000001</c:v>
                      </c:pt>
                      <c:pt idx="1030">
                        <c:v>2.3620000000000001</c:v>
                      </c:pt>
                      <c:pt idx="1031">
                        <c:v>2.3620000000000001</c:v>
                      </c:pt>
                      <c:pt idx="1032">
                        <c:v>2.3620000000000001</c:v>
                      </c:pt>
                      <c:pt idx="1033">
                        <c:v>2.3620000000000001</c:v>
                      </c:pt>
                      <c:pt idx="1034">
                        <c:v>2.3620000000000001</c:v>
                      </c:pt>
                      <c:pt idx="1035">
                        <c:v>2.3620000000000001</c:v>
                      </c:pt>
                      <c:pt idx="1036">
                        <c:v>2.3620000000000001</c:v>
                      </c:pt>
                      <c:pt idx="1037">
                        <c:v>2.3620000000000001</c:v>
                      </c:pt>
                      <c:pt idx="1038">
                        <c:v>2.3620000000000001</c:v>
                      </c:pt>
                      <c:pt idx="1039">
                        <c:v>2.3620000000000001</c:v>
                      </c:pt>
                      <c:pt idx="1040">
                        <c:v>2.3889999999999998</c:v>
                      </c:pt>
                      <c:pt idx="1041">
                        <c:v>2.3889999999999998</c:v>
                      </c:pt>
                      <c:pt idx="1042">
                        <c:v>2.3889999999999998</c:v>
                      </c:pt>
                      <c:pt idx="1043">
                        <c:v>2.3889999999999998</c:v>
                      </c:pt>
                      <c:pt idx="1044">
                        <c:v>2.3889999999999998</c:v>
                      </c:pt>
                      <c:pt idx="1045">
                        <c:v>2.3889999999999998</c:v>
                      </c:pt>
                      <c:pt idx="1046">
                        <c:v>2.3889999999999998</c:v>
                      </c:pt>
                      <c:pt idx="1047">
                        <c:v>2.3889999999999998</c:v>
                      </c:pt>
                      <c:pt idx="1048">
                        <c:v>2.3889999999999998</c:v>
                      </c:pt>
                      <c:pt idx="1049">
                        <c:v>2.3889999999999998</c:v>
                      </c:pt>
                      <c:pt idx="1050">
                        <c:v>2.3889999999999998</c:v>
                      </c:pt>
                      <c:pt idx="1051">
                        <c:v>2.3889999999999998</c:v>
                      </c:pt>
                      <c:pt idx="1052">
                        <c:v>2.3889999999999998</c:v>
                      </c:pt>
                      <c:pt idx="1053">
                        <c:v>2.3889999999999998</c:v>
                      </c:pt>
                      <c:pt idx="1054">
                        <c:v>2.3889999999999998</c:v>
                      </c:pt>
                      <c:pt idx="1055">
                        <c:v>2.3889999999999998</c:v>
                      </c:pt>
                      <c:pt idx="1056">
                        <c:v>2.3889999999999998</c:v>
                      </c:pt>
                      <c:pt idx="1057">
                        <c:v>2.3889999999999998</c:v>
                      </c:pt>
                      <c:pt idx="1058">
                        <c:v>2.3889999999999998</c:v>
                      </c:pt>
                      <c:pt idx="1059">
                        <c:v>2.3889999999999998</c:v>
                      </c:pt>
                      <c:pt idx="1060">
                        <c:v>2.3889999999999998</c:v>
                      </c:pt>
                      <c:pt idx="1061">
                        <c:v>2.3889999999999998</c:v>
                      </c:pt>
                      <c:pt idx="1062">
                        <c:v>2.3889999999999998</c:v>
                      </c:pt>
                      <c:pt idx="1063">
                        <c:v>2.3889999999999998</c:v>
                      </c:pt>
                      <c:pt idx="1064">
                        <c:v>2.3889999999999998</c:v>
                      </c:pt>
                      <c:pt idx="1065">
                        <c:v>2.577</c:v>
                      </c:pt>
                      <c:pt idx="1066">
                        <c:v>2.577</c:v>
                      </c:pt>
                      <c:pt idx="1067">
                        <c:v>2.577</c:v>
                      </c:pt>
                      <c:pt idx="1068">
                        <c:v>2.577</c:v>
                      </c:pt>
                      <c:pt idx="1069">
                        <c:v>2.577</c:v>
                      </c:pt>
                      <c:pt idx="1070">
                        <c:v>2.577</c:v>
                      </c:pt>
                      <c:pt idx="1071">
                        <c:v>2.577</c:v>
                      </c:pt>
                      <c:pt idx="1072">
                        <c:v>2.577</c:v>
                      </c:pt>
                      <c:pt idx="1073">
                        <c:v>2.577</c:v>
                      </c:pt>
                      <c:pt idx="1074">
                        <c:v>2.577</c:v>
                      </c:pt>
                      <c:pt idx="1075">
                        <c:v>2.577</c:v>
                      </c:pt>
                      <c:pt idx="1076">
                        <c:v>2.577</c:v>
                      </c:pt>
                      <c:pt idx="1077">
                        <c:v>2.577</c:v>
                      </c:pt>
                      <c:pt idx="1078">
                        <c:v>2.577</c:v>
                      </c:pt>
                      <c:pt idx="1079">
                        <c:v>2.577</c:v>
                      </c:pt>
                      <c:pt idx="1080">
                        <c:v>2.577</c:v>
                      </c:pt>
                      <c:pt idx="1081">
                        <c:v>2.577</c:v>
                      </c:pt>
                      <c:pt idx="1082">
                        <c:v>2.577</c:v>
                      </c:pt>
                      <c:pt idx="1083">
                        <c:v>2.577</c:v>
                      </c:pt>
                      <c:pt idx="1084">
                        <c:v>2.577</c:v>
                      </c:pt>
                      <c:pt idx="1085">
                        <c:v>2.585</c:v>
                      </c:pt>
                      <c:pt idx="1086">
                        <c:v>2.585</c:v>
                      </c:pt>
                      <c:pt idx="1087">
                        <c:v>2.585</c:v>
                      </c:pt>
                      <c:pt idx="1088">
                        <c:v>2.585</c:v>
                      </c:pt>
                      <c:pt idx="1089">
                        <c:v>2.585</c:v>
                      </c:pt>
                      <c:pt idx="1090">
                        <c:v>2.585</c:v>
                      </c:pt>
                      <c:pt idx="1091">
                        <c:v>2.585</c:v>
                      </c:pt>
                      <c:pt idx="1092">
                        <c:v>2.585</c:v>
                      </c:pt>
                      <c:pt idx="1093">
                        <c:v>2.585</c:v>
                      </c:pt>
                      <c:pt idx="1094">
                        <c:v>2.585</c:v>
                      </c:pt>
                      <c:pt idx="1095">
                        <c:v>2.585</c:v>
                      </c:pt>
                      <c:pt idx="1096">
                        <c:v>2.585</c:v>
                      </c:pt>
                      <c:pt idx="1097">
                        <c:v>2.585</c:v>
                      </c:pt>
                      <c:pt idx="1098">
                        <c:v>2.585</c:v>
                      </c:pt>
                      <c:pt idx="1099">
                        <c:v>2.585</c:v>
                      </c:pt>
                      <c:pt idx="1100">
                        <c:v>2.585</c:v>
                      </c:pt>
                      <c:pt idx="1101">
                        <c:v>2.585</c:v>
                      </c:pt>
                      <c:pt idx="1102">
                        <c:v>2.585</c:v>
                      </c:pt>
                      <c:pt idx="1103">
                        <c:v>2.585</c:v>
                      </c:pt>
                      <c:pt idx="1104">
                        <c:v>2.585</c:v>
                      </c:pt>
                      <c:pt idx="1105">
                        <c:v>2.681</c:v>
                      </c:pt>
                      <c:pt idx="1106">
                        <c:v>2.681</c:v>
                      </c:pt>
                      <c:pt idx="1107">
                        <c:v>2.681</c:v>
                      </c:pt>
                      <c:pt idx="1108">
                        <c:v>2.681</c:v>
                      </c:pt>
                      <c:pt idx="1109">
                        <c:v>2.681</c:v>
                      </c:pt>
                      <c:pt idx="1110">
                        <c:v>2.681</c:v>
                      </c:pt>
                      <c:pt idx="1111">
                        <c:v>2.681</c:v>
                      </c:pt>
                      <c:pt idx="1112">
                        <c:v>2.681</c:v>
                      </c:pt>
                      <c:pt idx="1113">
                        <c:v>2.681</c:v>
                      </c:pt>
                      <c:pt idx="1114">
                        <c:v>2.681</c:v>
                      </c:pt>
                      <c:pt idx="1115">
                        <c:v>2.681</c:v>
                      </c:pt>
                      <c:pt idx="1116">
                        <c:v>2.681</c:v>
                      </c:pt>
                      <c:pt idx="1117">
                        <c:v>2.681</c:v>
                      </c:pt>
                      <c:pt idx="1118">
                        <c:v>2.681</c:v>
                      </c:pt>
                      <c:pt idx="1119">
                        <c:v>2.681</c:v>
                      </c:pt>
                      <c:pt idx="1120">
                        <c:v>2.681</c:v>
                      </c:pt>
                      <c:pt idx="1121">
                        <c:v>2.681</c:v>
                      </c:pt>
                      <c:pt idx="1122">
                        <c:v>2.681</c:v>
                      </c:pt>
                      <c:pt idx="1123">
                        <c:v>2.681</c:v>
                      </c:pt>
                      <c:pt idx="1124">
                        <c:v>2.681</c:v>
                      </c:pt>
                      <c:pt idx="1125">
                        <c:v>2.681</c:v>
                      </c:pt>
                      <c:pt idx="1126">
                        <c:v>2.681</c:v>
                      </c:pt>
                      <c:pt idx="1127">
                        <c:v>2.681</c:v>
                      </c:pt>
                      <c:pt idx="1128">
                        <c:v>2.681</c:v>
                      </c:pt>
                      <c:pt idx="1129">
                        <c:v>2.681</c:v>
                      </c:pt>
                      <c:pt idx="1130">
                        <c:v>2.6819999999999999</c:v>
                      </c:pt>
                      <c:pt idx="1131">
                        <c:v>2.6819999999999999</c:v>
                      </c:pt>
                      <c:pt idx="1132">
                        <c:v>2.6819999999999999</c:v>
                      </c:pt>
                      <c:pt idx="1133">
                        <c:v>2.6819999999999999</c:v>
                      </c:pt>
                      <c:pt idx="1134">
                        <c:v>2.6819999999999999</c:v>
                      </c:pt>
                      <c:pt idx="1135">
                        <c:v>2.6819999999999999</c:v>
                      </c:pt>
                      <c:pt idx="1136">
                        <c:v>2.6819999999999999</c:v>
                      </c:pt>
                      <c:pt idx="1137">
                        <c:v>2.6819999999999999</c:v>
                      </c:pt>
                      <c:pt idx="1138">
                        <c:v>2.6819999999999999</c:v>
                      </c:pt>
                      <c:pt idx="1139">
                        <c:v>2.6819999999999999</c:v>
                      </c:pt>
                      <c:pt idx="1140">
                        <c:v>2.6819999999999999</c:v>
                      </c:pt>
                      <c:pt idx="1141">
                        <c:v>2.6819999999999999</c:v>
                      </c:pt>
                      <c:pt idx="1142">
                        <c:v>2.6819999999999999</c:v>
                      </c:pt>
                      <c:pt idx="1143">
                        <c:v>2.6819999999999999</c:v>
                      </c:pt>
                      <c:pt idx="1144">
                        <c:v>2.6819999999999999</c:v>
                      </c:pt>
                      <c:pt idx="1145">
                        <c:v>2.6819999999999999</c:v>
                      </c:pt>
                      <c:pt idx="1146">
                        <c:v>2.6819999999999999</c:v>
                      </c:pt>
                      <c:pt idx="1147">
                        <c:v>2.6819999999999999</c:v>
                      </c:pt>
                      <c:pt idx="1148">
                        <c:v>2.6819999999999999</c:v>
                      </c:pt>
                      <c:pt idx="1149">
                        <c:v>2.6819999999999999</c:v>
                      </c:pt>
                      <c:pt idx="1150">
                        <c:v>2.6139999999999999</c:v>
                      </c:pt>
                      <c:pt idx="1151">
                        <c:v>2.6139999999999999</c:v>
                      </c:pt>
                      <c:pt idx="1152">
                        <c:v>2.6139999999999999</c:v>
                      </c:pt>
                      <c:pt idx="1153">
                        <c:v>2.6139999999999999</c:v>
                      </c:pt>
                      <c:pt idx="1154">
                        <c:v>2.6139999999999999</c:v>
                      </c:pt>
                      <c:pt idx="1155">
                        <c:v>2.6139999999999999</c:v>
                      </c:pt>
                      <c:pt idx="1156">
                        <c:v>2.6139999999999999</c:v>
                      </c:pt>
                      <c:pt idx="1157">
                        <c:v>2.6139999999999999</c:v>
                      </c:pt>
                      <c:pt idx="1158">
                        <c:v>2.6139999999999999</c:v>
                      </c:pt>
                      <c:pt idx="1159">
                        <c:v>2.6139999999999999</c:v>
                      </c:pt>
                      <c:pt idx="1160">
                        <c:v>2.6139999999999999</c:v>
                      </c:pt>
                      <c:pt idx="1161">
                        <c:v>2.6139999999999999</c:v>
                      </c:pt>
                      <c:pt idx="1162">
                        <c:v>2.6139999999999999</c:v>
                      </c:pt>
                      <c:pt idx="1163">
                        <c:v>2.6139999999999999</c:v>
                      </c:pt>
                      <c:pt idx="1164">
                        <c:v>2.6139999999999999</c:v>
                      </c:pt>
                      <c:pt idx="1165">
                        <c:v>2.6139999999999999</c:v>
                      </c:pt>
                      <c:pt idx="1166">
                        <c:v>2.6139999999999999</c:v>
                      </c:pt>
                      <c:pt idx="1167">
                        <c:v>2.6139999999999999</c:v>
                      </c:pt>
                      <c:pt idx="1168">
                        <c:v>2.6139999999999999</c:v>
                      </c:pt>
                      <c:pt idx="1169">
                        <c:v>2.6139999999999999</c:v>
                      </c:pt>
                      <c:pt idx="1170">
                        <c:v>2.7719999999999998</c:v>
                      </c:pt>
                      <c:pt idx="1171">
                        <c:v>2.7719999999999998</c:v>
                      </c:pt>
                      <c:pt idx="1172">
                        <c:v>2.7719999999999998</c:v>
                      </c:pt>
                      <c:pt idx="1173">
                        <c:v>2.7719999999999998</c:v>
                      </c:pt>
                      <c:pt idx="1174">
                        <c:v>2.7719999999999998</c:v>
                      </c:pt>
                      <c:pt idx="1175">
                        <c:v>2.7719999999999998</c:v>
                      </c:pt>
                      <c:pt idx="1176">
                        <c:v>2.7719999999999998</c:v>
                      </c:pt>
                      <c:pt idx="1177">
                        <c:v>2.7719999999999998</c:v>
                      </c:pt>
                      <c:pt idx="1178">
                        <c:v>2.7719999999999998</c:v>
                      </c:pt>
                      <c:pt idx="1179">
                        <c:v>2.7719999999999998</c:v>
                      </c:pt>
                      <c:pt idx="1180">
                        <c:v>2.7719999999999998</c:v>
                      </c:pt>
                      <c:pt idx="1181">
                        <c:v>2.7719999999999998</c:v>
                      </c:pt>
                      <c:pt idx="1182">
                        <c:v>2.7719999999999998</c:v>
                      </c:pt>
                      <c:pt idx="1183">
                        <c:v>2.7719999999999998</c:v>
                      </c:pt>
                      <c:pt idx="1184">
                        <c:v>2.7719999999999998</c:v>
                      </c:pt>
                      <c:pt idx="1185">
                        <c:v>2.7719999999999998</c:v>
                      </c:pt>
                      <c:pt idx="1186">
                        <c:v>2.7719999999999998</c:v>
                      </c:pt>
                      <c:pt idx="1187">
                        <c:v>2.7719999999999998</c:v>
                      </c:pt>
                      <c:pt idx="1188">
                        <c:v>2.7719999999999998</c:v>
                      </c:pt>
                      <c:pt idx="1189">
                        <c:v>2.7719999999999998</c:v>
                      </c:pt>
                      <c:pt idx="1190">
                        <c:v>2.7719999999999998</c:v>
                      </c:pt>
                      <c:pt idx="1191">
                        <c:v>2.7719999999999998</c:v>
                      </c:pt>
                      <c:pt idx="1192">
                        <c:v>2.7719999999999998</c:v>
                      </c:pt>
                      <c:pt idx="1193">
                        <c:v>2.7719999999999998</c:v>
                      </c:pt>
                      <c:pt idx="1194">
                        <c:v>2.7719999999999998</c:v>
                      </c:pt>
                      <c:pt idx="1195">
                        <c:v>2.907</c:v>
                      </c:pt>
                      <c:pt idx="1196">
                        <c:v>2.907</c:v>
                      </c:pt>
                      <c:pt idx="1197">
                        <c:v>2.907</c:v>
                      </c:pt>
                      <c:pt idx="1198">
                        <c:v>2.907</c:v>
                      </c:pt>
                      <c:pt idx="1199">
                        <c:v>2.907</c:v>
                      </c:pt>
                      <c:pt idx="1200">
                        <c:v>2.907</c:v>
                      </c:pt>
                      <c:pt idx="1201">
                        <c:v>2.907</c:v>
                      </c:pt>
                      <c:pt idx="1202">
                        <c:v>2.907</c:v>
                      </c:pt>
                      <c:pt idx="1203">
                        <c:v>2.907</c:v>
                      </c:pt>
                      <c:pt idx="1204">
                        <c:v>2.907</c:v>
                      </c:pt>
                      <c:pt idx="1205">
                        <c:v>2.907</c:v>
                      </c:pt>
                      <c:pt idx="1206">
                        <c:v>2.907</c:v>
                      </c:pt>
                      <c:pt idx="1207">
                        <c:v>2.907</c:v>
                      </c:pt>
                      <c:pt idx="1208">
                        <c:v>2.907</c:v>
                      </c:pt>
                      <c:pt idx="1209">
                        <c:v>2.907</c:v>
                      </c:pt>
                      <c:pt idx="1210">
                        <c:v>2.907</c:v>
                      </c:pt>
                      <c:pt idx="1211">
                        <c:v>2.907</c:v>
                      </c:pt>
                      <c:pt idx="1212">
                        <c:v>2.907</c:v>
                      </c:pt>
                      <c:pt idx="1213">
                        <c:v>2.907</c:v>
                      </c:pt>
                      <c:pt idx="1214">
                        <c:v>2.907</c:v>
                      </c:pt>
                      <c:pt idx="1215">
                        <c:v>2.9009999999999998</c:v>
                      </c:pt>
                      <c:pt idx="1216">
                        <c:v>2.9009999999999998</c:v>
                      </c:pt>
                      <c:pt idx="1217">
                        <c:v>2.9009999999999998</c:v>
                      </c:pt>
                      <c:pt idx="1218">
                        <c:v>2.9009999999999998</c:v>
                      </c:pt>
                      <c:pt idx="1219">
                        <c:v>2.9009999999999998</c:v>
                      </c:pt>
                      <c:pt idx="1220">
                        <c:v>2.9009999999999998</c:v>
                      </c:pt>
                      <c:pt idx="1221">
                        <c:v>2.9009999999999998</c:v>
                      </c:pt>
                      <c:pt idx="1222">
                        <c:v>2.9009999999999998</c:v>
                      </c:pt>
                      <c:pt idx="1223">
                        <c:v>2.9009999999999998</c:v>
                      </c:pt>
                      <c:pt idx="1224">
                        <c:v>2.9009999999999998</c:v>
                      </c:pt>
                      <c:pt idx="1225">
                        <c:v>2.9009999999999998</c:v>
                      </c:pt>
                      <c:pt idx="1226">
                        <c:v>2.9009999999999998</c:v>
                      </c:pt>
                      <c:pt idx="1227">
                        <c:v>2.9009999999999998</c:v>
                      </c:pt>
                      <c:pt idx="1228">
                        <c:v>2.9009999999999998</c:v>
                      </c:pt>
                      <c:pt idx="1229">
                        <c:v>2.9009999999999998</c:v>
                      </c:pt>
                      <c:pt idx="1230">
                        <c:v>2.9009999999999998</c:v>
                      </c:pt>
                      <c:pt idx="1231">
                        <c:v>2.9009999999999998</c:v>
                      </c:pt>
                      <c:pt idx="1232">
                        <c:v>2.9009999999999998</c:v>
                      </c:pt>
                      <c:pt idx="1233">
                        <c:v>2.9009999999999998</c:v>
                      </c:pt>
                      <c:pt idx="1234">
                        <c:v>2.9009999999999998</c:v>
                      </c:pt>
                      <c:pt idx="1235">
                        <c:v>2.9329999999999998</c:v>
                      </c:pt>
                      <c:pt idx="1236">
                        <c:v>2.9329999999999998</c:v>
                      </c:pt>
                      <c:pt idx="1237">
                        <c:v>2.9329999999999998</c:v>
                      </c:pt>
                      <c:pt idx="1238">
                        <c:v>2.9329999999999998</c:v>
                      </c:pt>
                      <c:pt idx="1239">
                        <c:v>2.9329999999999998</c:v>
                      </c:pt>
                      <c:pt idx="1240">
                        <c:v>2.9329999999999998</c:v>
                      </c:pt>
                      <c:pt idx="1241">
                        <c:v>2.9329999999999998</c:v>
                      </c:pt>
                      <c:pt idx="1242">
                        <c:v>2.9329999999999998</c:v>
                      </c:pt>
                      <c:pt idx="1243">
                        <c:v>2.9329999999999998</c:v>
                      </c:pt>
                      <c:pt idx="1244">
                        <c:v>2.9329999999999998</c:v>
                      </c:pt>
                      <c:pt idx="1245">
                        <c:v>2.9329999999999998</c:v>
                      </c:pt>
                      <c:pt idx="1246">
                        <c:v>2.9329999999999998</c:v>
                      </c:pt>
                      <c:pt idx="1247">
                        <c:v>2.9329999999999998</c:v>
                      </c:pt>
                      <c:pt idx="1248">
                        <c:v>2.9329999999999998</c:v>
                      </c:pt>
                      <c:pt idx="1249">
                        <c:v>2.9329999999999998</c:v>
                      </c:pt>
                      <c:pt idx="1250">
                        <c:v>2.9329999999999998</c:v>
                      </c:pt>
                      <c:pt idx="1251">
                        <c:v>2.9329999999999998</c:v>
                      </c:pt>
                      <c:pt idx="1252">
                        <c:v>2.9329999999999998</c:v>
                      </c:pt>
                      <c:pt idx="1253">
                        <c:v>2.9329999999999998</c:v>
                      </c:pt>
                      <c:pt idx="1254">
                        <c:v>2.9329999999999998</c:v>
                      </c:pt>
                      <c:pt idx="1255">
                        <c:v>2.9329999999999998</c:v>
                      </c:pt>
                      <c:pt idx="1256">
                        <c:v>2.9329999999999998</c:v>
                      </c:pt>
                      <c:pt idx="1257">
                        <c:v>2.9329999999999998</c:v>
                      </c:pt>
                      <c:pt idx="1258">
                        <c:v>2.9329999999999998</c:v>
                      </c:pt>
                      <c:pt idx="1259">
                        <c:v>2.9329999999999998</c:v>
                      </c:pt>
                      <c:pt idx="1260">
                        <c:v>2.948</c:v>
                      </c:pt>
                      <c:pt idx="1261">
                        <c:v>2.948</c:v>
                      </c:pt>
                      <c:pt idx="1262">
                        <c:v>2.948</c:v>
                      </c:pt>
                      <c:pt idx="1263">
                        <c:v>2.948</c:v>
                      </c:pt>
                      <c:pt idx="1264">
                        <c:v>2.948</c:v>
                      </c:pt>
                      <c:pt idx="1265">
                        <c:v>2.948</c:v>
                      </c:pt>
                      <c:pt idx="1266">
                        <c:v>2.948</c:v>
                      </c:pt>
                      <c:pt idx="1267">
                        <c:v>2.948</c:v>
                      </c:pt>
                      <c:pt idx="1268">
                        <c:v>2.948</c:v>
                      </c:pt>
                      <c:pt idx="1269">
                        <c:v>2.948</c:v>
                      </c:pt>
                      <c:pt idx="1270">
                        <c:v>2.948</c:v>
                      </c:pt>
                      <c:pt idx="1271">
                        <c:v>2.948</c:v>
                      </c:pt>
                      <c:pt idx="1272">
                        <c:v>2.948</c:v>
                      </c:pt>
                      <c:pt idx="1273">
                        <c:v>2.948</c:v>
                      </c:pt>
                      <c:pt idx="1274">
                        <c:v>2.948</c:v>
                      </c:pt>
                      <c:pt idx="1275">
                        <c:v>2.948</c:v>
                      </c:pt>
                      <c:pt idx="1276">
                        <c:v>2.948</c:v>
                      </c:pt>
                      <c:pt idx="1277">
                        <c:v>2.948</c:v>
                      </c:pt>
                      <c:pt idx="1278">
                        <c:v>2.948</c:v>
                      </c:pt>
                      <c:pt idx="1279">
                        <c:v>2.948</c:v>
                      </c:pt>
                      <c:pt idx="1280">
                        <c:v>2.8450000000000002</c:v>
                      </c:pt>
                      <c:pt idx="1281">
                        <c:v>2.8450000000000002</c:v>
                      </c:pt>
                      <c:pt idx="1282">
                        <c:v>2.8450000000000002</c:v>
                      </c:pt>
                      <c:pt idx="1283">
                        <c:v>2.8450000000000002</c:v>
                      </c:pt>
                      <c:pt idx="1284">
                        <c:v>2.8450000000000002</c:v>
                      </c:pt>
                      <c:pt idx="1285">
                        <c:v>2.8450000000000002</c:v>
                      </c:pt>
                      <c:pt idx="1286">
                        <c:v>2.8450000000000002</c:v>
                      </c:pt>
                      <c:pt idx="1287">
                        <c:v>2.8450000000000002</c:v>
                      </c:pt>
                      <c:pt idx="1288">
                        <c:v>2.8450000000000002</c:v>
                      </c:pt>
                      <c:pt idx="1289">
                        <c:v>2.8450000000000002</c:v>
                      </c:pt>
                      <c:pt idx="1290">
                        <c:v>2.8450000000000002</c:v>
                      </c:pt>
                      <c:pt idx="1291">
                        <c:v>2.8450000000000002</c:v>
                      </c:pt>
                      <c:pt idx="1292">
                        <c:v>2.8450000000000002</c:v>
                      </c:pt>
                      <c:pt idx="1293">
                        <c:v>2.8450000000000002</c:v>
                      </c:pt>
                      <c:pt idx="1294">
                        <c:v>2.8450000000000002</c:v>
                      </c:pt>
                      <c:pt idx="1295">
                        <c:v>2.8450000000000002</c:v>
                      </c:pt>
                      <c:pt idx="1296">
                        <c:v>2.8450000000000002</c:v>
                      </c:pt>
                      <c:pt idx="1297">
                        <c:v>2.8450000000000002</c:v>
                      </c:pt>
                      <c:pt idx="1298">
                        <c:v>2.8450000000000002</c:v>
                      </c:pt>
                      <c:pt idx="1299">
                        <c:v>2.8450000000000002</c:v>
                      </c:pt>
                      <c:pt idx="1300">
                        <c:v>2.8450000000000002</c:v>
                      </c:pt>
                      <c:pt idx="1301">
                        <c:v>2.8450000000000002</c:v>
                      </c:pt>
                      <c:pt idx="1302">
                        <c:v>2.8450000000000002</c:v>
                      </c:pt>
                      <c:pt idx="1303">
                        <c:v>2.8450000000000002</c:v>
                      </c:pt>
                      <c:pt idx="1304">
                        <c:v>2.8450000000000002</c:v>
                      </c:pt>
                      <c:pt idx="1305">
                        <c:v>3.073</c:v>
                      </c:pt>
                      <c:pt idx="1306">
                        <c:v>3.073</c:v>
                      </c:pt>
                      <c:pt idx="1307">
                        <c:v>3.073</c:v>
                      </c:pt>
                      <c:pt idx="1308">
                        <c:v>3.073</c:v>
                      </c:pt>
                      <c:pt idx="1309">
                        <c:v>3.073</c:v>
                      </c:pt>
                      <c:pt idx="1310">
                        <c:v>3.073</c:v>
                      </c:pt>
                      <c:pt idx="1311">
                        <c:v>3.073</c:v>
                      </c:pt>
                      <c:pt idx="1312">
                        <c:v>3.073</c:v>
                      </c:pt>
                      <c:pt idx="1313">
                        <c:v>3.073</c:v>
                      </c:pt>
                      <c:pt idx="1314">
                        <c:v>3.073</c:v>
                      </c:pt>
                      <c:pt idx="1315">
                        <c:v>3.073</c:v>
                      </c:pt>
                      <c:pt idx="1316">
                        <c:v>3.073</c:v>
                      </c:pt>
                      <c:pt idx="1317">
                        <c:v>3.073</c:v>
                      </c:pt>
                      <c:pt idx="1318">
                        <c:v>3.073</c:v>
                      </c:pt>
                      <c:pt idx="1319">
                        <c:v>3.073</c:v>
                      </c:pt>
                      <c:pt idx="1320">
                        <c:v>3.073</c:v>
                      </c:pt>
                      <c:pt idx="1321">
                        <c:v>3.073</c:v>
                      </c:pt>
                      <c:pt idx="1322">
                        <c:v>3.073</c:v>
                      </c:pt>
                      <c:pt idx="1323">
                        <c:v>3.073</c:v>
                      </c:pt>
                      <c:pt idx="1324">
                        <c:v>3.073</c:v>
                      </c:pt>
                      <c:pt idx="1325">
                        <c:v>3.129</c:v>
                      </c:pt>
                      <c:pt idx="1326">
                        <c:v>3.129</c:v>
                      </c:pt>
                      <c:pt idx="1327">
                        <c:v>3.129</c:v>
                      </c:pt>
                      <c:pt idx="1328">
                        <c:v>3.129</c:v>
                      </c:pt>
                      <c:pt idx="1329">
                        <c:v>3.129</c:v>
                      </c:pt>
                      <c:pt idx="1330">
                        <c:v>3.129</c:v>
                      </c:pt>
                      <c:pt idx="1331">
                        <c:v>3.129</c:v>
                      </c:pt>
                      <c:pt idx="1332">
                        <c:v>3.129</c:v>
                      </c:pt>
                      <c:pt idx="1333">
                        <c:v>3.129</c:v>
                      </c:pt>
                      <c:pt idx="1334">
                        <c:v>3.129</c:v>
                      </c:pt>
                      <c:pt idx="1335">
                        <c:v>3.129</c:v>
                      </c:pt>
                      <c:pt idx="1336">
                        <c:v>3.129</c:v>
                      </c:pt>
                      <c:pt idx="1337">
                        <c:v>3.129</c:v>
                      </c:pt>
                      <c:pt idx="1338">
                        <c:v>3.129</c:v>
                      </c:pt>
                      <c:pt idx="1339">
                        <c:v>3.129</c:v>
                      </c:pt>
                      <c:pt idx="1340">
                        <c:v>3.129</c:v>
                      </c:pt>
                      <c:pt idx="1341">
                        <c:v>3.129</c:v>
                      </c:pt>
                      <c:pt idx="1342">
                        <c:v>3.129</c:v>
                      </c:pt>
                      <c:pt idx="1343">
                        <c:v>3.129</c:v>
                      </c:pt>
                      <c:pt idx="1344">
                        <c:v>3.129</c:v>
                      </c:pt>
                      <c:pt idx="1345">
                        <c:v>3.206</c:v>
                      </c:pt>
                      <c:pt idx="1346">
                        <c:v>3.206</c:v>
                      </c:pt>
                      <c:pt idx="1347">
                        <c:v>3.206</c:v>
                      </c:pt>
                      <c:pt idx="1348">
                        <c:v>3.206</c:v>
                      </c:pt>
                      <c:pt idx="1349">
                        <c:v>3.206</c:v>
                      </c:pt>
                      <c:pt idx="1350">
                        <c:v>3.206</c:v>
                      </c:pt>
                      <c:pt idx="1351">
                        <c:v>3.206</c:v>
                      </c:pt>
                      <c:pt idx="1352">
                        <c:v>3.206</c:v>
                      </c:pt>
                      <c:pt idx="1353">
                        <c:v>3.206</c:v>
                      </c:pt>
                      <c:pt idx="1354">
                        <c:v>3.206</c:v>
                      </c:pt>
                      <c:pt idx="1355">
                        <c:v>3.206</c:v>
                      </c:pt>
                      <c:pt idx="1356">
                        <c:v>3.206</c:v>
                      </c:pt>
                      <c:pt idx="1357">
                        <c:v>3.206</c:v>
                      </c:pt>
                      <c:pt idx="1358">
                        <c:v>3.206</c:v>
                      </c:pt>
                      <c:pt idx="1359">
                        <c:v>3.206</c:v>
                      </c:pt>
                      <c:pt idx="1360">
                        <c:v>3.206</c:v>
                      </c:pt>
                      <c:pt idx="1361">
                        <c:v>3.206</c:v>
                      </c:pt>
                      <c:pt idx="1362">
                        <c:v>3.206</c:v>
                      </c:pt>
                      <c:pt idx="1363">
                        <c:v>3.206</c:v>
                      </c:pt>
                      <c:pt idx="1364">
                        <c:v>3.206</c:v>
                      </c:pt>
                      <c:pt idx="1365">
                        <c:v>3.206</c:v>
                      </c:pt>
                      <c:pt idx="1366">
                        <c:v>3.206</c:v>
                      </c:pt>
                      <c:pt idx="1367">
                        <c:v>3.206</c:v>
                      </c:pt>
                      <c:pt idx="1368">
                        <c:v>3.206</c:v>
                      </c:pt>
                      <c:pt idx="1369">
                        <c:v>3.206</c:v>
                      </c:pt>
                      <c:pt idx="1370">
                        <c:v>3.3620000000000001</c:v>
                      </c:pt>
                      <c:pt idx="1371">
                        <c:v>3.3620000000000001</c:v>
                      </c:pt>
                      <c:pt idx="1372">
                        <c:v>3.3620000000000001</c:v>
                      </c:pt>
                      <c:pt idx="1373">
                        <c:v>3.3620000000000001</c:v>
                      </c:pt>
                      <c:pt idx="1374">
                        <c:v>3.3620000000000001</c:v>
                      </c:pt>
                      <c:pt idx="1375">
                        <c:v>3.3620000000000001</c:v>
                      </c:pt>
                      <c:pt idx="1376">
                        <c:v>3.3620000000000001</c:v>
                      </c:pt>
                      <c:pt idx="1377">
                        <c:v>3.3620000000000001</c:v>
                      </c:pt>
                      <c:pt idx="1378">
                        <c:v>3.3620000000000001</c:v>
                      </c:pt>
                      <c:pt idx="1379">
                        <c:v>3.3620000000000001</c:v>
                      </c:pt>
                      <c:pt idx="1380">
                        <c:v>3.3620000000000001</c:v>
                      </c:pt>
                      <c:pt idx="1381">
                        <c:v>3.3620000000000001</c:v>
                      </c:pt>
                      <c:pt idx="1382">
                        <c:v>3.3620000000000001</c:v>
                      </c:pt>
                      <c:pt idx="1383">
                        <c:v>3.3620000000000001</c:v>
                      </c:pt>
                      <c:pt idx="1384">
                        <c:v>3.3620000000000001</c:v>
                      </c:pt>
                      <c:pt idx="1385">
                        <c:v>3.3620000000000001</c:v>
                      </c:pt>
                      <c:pt idx="1386">
                        <c:v>3.3620000000000001</c:v>
                      </c:pt>
                      <c:pt idx="1387">
                        <c:v>3.3620000000000001</c:v>
                      </c:pt>
                      <c:pt idx="1388">
                        <c:v>3.3620000000000001</c:v>
                      </c:pt>
                      <c:pt idx="1389">
                        <c:v>3.3620000000000001</c:v>
                      </c:pt>
                      <c:pt idx="1390">
                        <c:v>3.262</c:v>
                      </c:pt>
                      <c:pt idx="1391">
                        <c:v>3.262</c:v>
                      </c:pt>
                      <c:pt idx="1392">
                        <c:v>3.262</c:v>
                      </c:pt>
                      <c:pt idx="1393">
                        <c:v>3.262</c:v>
                      </c:pt>
                      <c:pt idx="1394">
                        <c:v>3.262</c:v>
                      </c:pt>
                      <c:pt idx="1395">
                        <c:v>3.262</c:v>
                      </c:pt>
                      <c:pt idx="1396">
                        <c:v>3.262</c:v>
                      </c:pt>
                      <c:pt idx="1397">
                        <c:v>3.262</c:v>
                      </c:pt>
                      <c:pt idx="1398">
                        <c:v>3.262</c:v>
                      </c:pt>
                      <c:pt idx="1399">
                        <c:v>3.262</c:v>
                      </c:pt>
                      <c:pt idx="1400">
                        <c:v>3.262</c:v>
                      </c:pt>
                      <c:pt idx="1401">
                        <c:v>3.262</c:v>
                      </c:pt>
                      <c:pt idx="1402">
                        <c:v>3.262</c:v>
                      </c:pt>
                      <c:pt idx="1403">
                        <c:v>3.262</c:v>
                      </c:pt>
                      <c:pt idx="1404">
                        <c:v>3.262</c:v>
                      </c:pt>
                      <c:pt idx="1405">
                        <c:v>3.262</c:v>
                      </c:pt>
                      <c:pt idx="1406">
                        <c:v>3.262</c:v>
                      </c:pt>
                      <c:pt idx="1407">
                        <c:v>3.262</c:v>
                      </c:pt>
                      <c:pt idx="1408">
                        <c:v>3.262</c:v>
                      </c:pt>
                      <c:pt idx="1409">
                        <c:v>3.262</c:v>
                      </c:pt>
                      <c:pt idx="1410">
                        <c:v>3.3180000000000001</c:v>
                      </c:pt>
                      <c:pt idx="1411">
                        <c:v>3.3180000000000001</c:v>
                      </c:pt>
                      <c:pt idx="1412">
                        <c:v>3.3180000000000001</c:v>
                      </c:pt>
                      <c:pt idx="1413">
                        <c:v>3.3180000000000001</c:v>
                      </c:pt>
                      <c:pt idx="1414">
                        <c:v>3.3180000000000001</c:v>
                      </c:pt>
                      <c:pt idx="1415">
                        <c:v>3.3180000000000001</c:v>
                      </c:pt>
                      <c:pt idx="1416">
                        <c:v>3.3180000000000001</c:v>
                      </c:pt>
                      <c:pt idx="1417">
                        <c:v>3.3180000000000001</c:v>
                      </c:pt>
                      <c:pt idx="1418">
                        <c:v>3.3180000000000001</c:v>
                      </c:pt>
                      <c:pt idx="1419">
                        <c:v>3.3180000000000001</c:v>
                      </c:pt>
                      <c:pt idx="1420">
                        <c:v>3.3180000000000001</c:v>
                      </c:pt>
                      <c:pt idx="1421">
                        <c:v>3.3180000000000001</c:v>
                      </c:pt>
                      <c:pt idx="1422">
                        <c:v>3.3180000000000001</c:v>
                      </c:pt>
                      <c:pt idx="1423">
                        <c:v>3.3180000000000001</c:v>
                      </c:pt>
                      <c:pt idx="1424">
                        <c:v>3.3180000000000001</c:v>
                      </c:pt>
                      <c:pt idx="1425">
                        <c:v>3.3180000000000001</c:v>
                      </c:pt>
                      <c:pt idx="1426">
                        <c:v>3.3180000000000001</c:v>
                      </c:pt>
                      <c:pt idx="1427">
                        <c:v>3.3180000000000001</c:v>
                      </c:pt>
                      <c:pt idx="1428">
                        <c:v>3.3180000000000001</c:v>
                      </c:pt>
                      <c:pt idx="1429">
                        <c:v>3.3180000000000001</c:v>
                      </c:pt>
                      <c:pt idx="1430">
                        <c:v>3.3180000000000001</c:v>
                      </c:pt>
                      <c:pt idx="1431">
                        <c:v>3.3180000000000001</c:v>
                      </c:pt>
                      <c:pt idx="1432">
                        <c:v>3.3180000000000001</c:v>
                      </c:pt>
                      <c:pt idx="1433">
                        <c:v>3.3180000000000001</c:v>
                      </c:pt>
                      <c:pt idx="1434">
                        <c:v>3.3180000000000001</c:v>
                      </c:pt>
                      <c:pt idx="1435">
                        <c:v>3.4420000000000002</c:v>
                      </c:pt>
                      <c:pt idx="1436">
                        <c:v>3.4420000000000002</c:v>
                      </c:pt>
                      <c:pt idx="1437">
                        <c:v>3.4420000000000002</c:v>
                      </c:pt>
                      <c:pt idx="1438">
                        <c:v>3.4420000000000002</c:v>
                      </c:pt>
                      <c:pt idx="1439">
                        <c:v>3.4420000000000002</c:v>
                      </c:pt>
                      <c:pt idx="1440">
                        <c:v>3.4420000000000002</c:v>
                      </c:pt>
                      <c:pt idx="1441">
                        <c:v>3.4420000000000002</c:v>
                      </c:pt>
                      <c:pt idx="1442">
                        <c:v>3.4420000000000002</c:v>
                      </c:pt>
                      <c:pt idx="1443">
                        <c:v>3.4420000000000002</c:v>
                      </c:pt>
                      <c:pt idx="1444">
                        <c:v>3.4420000000000002</c:v>
                      </c:pt>
                      <c:pt idx="1445">
                        <c:v>3.4420000000000002</c:v>
                      </c:pt>
                      <c:pt idx="1446">
                        <c:v>3.4420000000000002</c:v>
                      </c:pt>
                      <c:pt idx="1447">
                        <c:v>3.4420000000000002</c:v>
                      </c:pt>
                      <c:pt idx="1448">
                        <c:v>3.4420000000000002</c:v>
                      </c:pt>
                      <c:pt idx="1449">
                        <c:v>3.4420000000000002</c:v>
                      </c:pt>
                      <c:pt idx="1450">
                        <c:v>3.4420000000000002</c:v>
                      </c:pt>
                      <c:pt idx="1451">
                        <c:v>3.4420000000000002</c:v>
                      </c:pt>
                      <c:pt idx="1452">
                        <c:v>3.4420000000000002</c:v>
                      </c:pt>
                      <c:pt idx="1453">
                        <c:v>3.4420000000000002</c:v>
                      </c:pt>
                      <c:pt idx="1454">
                        <c:v>3.4420000000000002</c:v>
                      </c:pt>
                      <c:pt idx="1455">
                        <c:v>3.391</c:v>
                      </c:pt>
                      <c:pt idx="1456">
                        <c:v>3.391</c:v>
                      </c:pt>
                      <c:pt idx="1457">
                        <c:v>3.391</c:v>
                      </c:pt>
                      <c:pt idx="1458">
                        <c:v>3.391</c:v>
                      </c:pt>
                      <c:pt idx="1459">
                        <c:v>3.391</c:v>
                      </c:pt>
                      <c:pt idx="1460">
                        <c:v>3.391</c:v>
                      </c:pt>
                      <c:pt idx="1461">
                        <c:v>3.391</c:v>
                      </c:pt>
                      <c:pt idx="1462">
                        <c:v>3.391</c:v>
                      </c:pt>
                      <c:pt idx="1463">
                        <c:v>3.391</c:v>
                      </c:pt>
                      <c:pt idx="1464">
                        <c:v>3.391</c:v>
                      </c:pt>
                      <c:pt idx="1465">
                        <c:v>3.391</c:v>
                      </c:pt>
                      <c:pt idx="1466">
                        <c:v>3.391</c:v>
                      </c:pt>
                      <c:pt idx="1467">
                        <c:v>3.391</c:v>
                      </c:pt>
                      <c:pt idx="1468">
                        <c:v>3.391</c:v>
                      </c:pt>
                      <c:pt idx="1469">
                        <c:v>3.391</c:v>
                      </c:pt>
                      <c:pt idx="1470">
                        <c:v>3.391</c:v>
                      </c:pt>
                      <c:pt idx="1471">
                        <c:v>3.391</c:v>
                      </c:pt>
                      <c:pt idx="1472">
                        <c:v>3.391</c:v>
                      </c:pt>
                      <c:pt idx="1473">
                        <c:v>3.391</c:v>
                      </c:pt>
                      <c:pt idx="1474">
                        <c:v>3.391</c:v>
                      </c:pt>
                      <c:pt idx="1475">
                        <c:v>3.0779999999999998</c:v>
                      </c:pt>
                      <c:pt idx="1476">
                        <c:v>3.0779999999999998</c:v>
                      </c:pt>
                      <c:pt idx="1477">
                        <c:v>3.0779999999999998</c:v>
                      </c:pt>
                      <c:pt idx="1478">
                        <c:v>3.0779999999999998</c:v>
                      </c:pt>
                      <c:pt idx="1479">
                        <c:v>3.0779999999999998</c:v>
                      </c:pt>
                      <c:pt idx="1480">
                        <c:v>3.0779999999999998</c:v>
                      </c:pt>
                      <c:pt idx="1481">
                        <c:v>3.0779999999999998</c:v>
                      </c:pt>
                      <c:pt idx="1482">
                        <c:v>3.0779999999999998</c:v>
                      </c:pt>
                      <c:pt idx="1483">
                        <c:v>3.0779999999999998</c:v>
                      </c:pt>
                      <c:pt idx="1484">
                        <c:v>3.0779999999999998</c:v>
                      </c:pt>
                      <c:pt idx="1485">
                        <c:v>3.0779999999999998</c:v>
                      </c:pt>
                      <c:pt idx="1486">
                        <c:v>3.0779999999999998</c:v>
                      </c:pt>
                      <c:pt idx="1487">
                        <c:v>3.0779999999999998</c:v>
                      </c:pt>
                      <c:pt idx="1488">
                        <c:v>3.0779999999999998</c:v>
                      </c:pt>
                      <c:pt idx="1489">
                        <c:v>3.0779999999999998</c:v>
                      </c:pt>
                      <c:pt idx="1490">
                        <c:v>3.0779999999999998</c:v>
                      </c:pt>
                      <c:pt idx="1491">
                        <c:v>3.0779999999999998</c:v>
                      </c:pt>
                      <c:pt idx="1492">
                        <c:v>3.0779999999999998</c:v>
                      </c:pt>
                      <c:pt idx="1493">
                        <c:v>3.0779999999999998</c:v>
                      </c:pt>
                      <c:pt idx="1494">
                        <c:v>3.0779999999999998</c:v>
                      </c:pt>
                      <c:pt idx="1495">
                        <c:v>3.0779999999999998</c:v>
                      </c:pt>
                      <c:pt idx="1496">
                        <c:v>3.0779999999999998</c:v>
                      </c:pt>
                      <c:pt idx="1497">
                        <c:v>3.0779999999999998</c:v>
                      </c:pt>
                      <c:pt idx="1498">
                        <c:v>3.0779999999999998</c:v>
                      </c:pt>
                      <c:pt idx="1499">
                        <c:v>3.0779999999999998</c:v>
                      </c:pt>
                      <c:pt idx="1500">
                        <c:v>3.1859999999999999</c:v>
                      </c:pt>
                      <c:pt idx="1501">
                        <c:v>3.1859999999999999</c:v>
                      </c:pt>
                      <c:pt idx="1502">
                        <c:v>3.1859999999999999</c:v>
                      </c:pt>
                      <c:pt idx="1503">
                        <c:v>3.1859999999999999</c:v>
                      </c:pt>
                      <c:pt idx="1504">
                        <c:v>3.1859999999999999</c:v>
                      </c:pt>
                      <c:pt idx="1505">
                        <c:v>3.1859999999999999</c:v>
                      </c:pt>
                      <c:pt idx="1506">
                        <c:v>3.1859999999999999</c:v>
                      </c:pt>
                      <c:pt idx="1507">
                        <c:v>3.1859999999999999</c:v>
                      </c:pt>
                      <c:pt idx="1508">
                        <c:v>3.1859999999999999</c:v>
                      </c:pt>
                      <c:pt idx="1509">
                        <c:v>3.1859999999999999</c:v>
                      </c:pt>
                      <c:pt idx="1510">
                        <c:v>3.1859999999999999</c:v>
                      </c:pt>
                      <c:pt idx="1511">
                        <c:v>3.1859999999999999</c:v>
                      </c:pt>
                      <c:pt idx="1512">
                        <c:v>3.1859999999999999</c:v>
                      </c:pt>
                      <c:pt idx="1513">
                        <c:v>3.1859999999999999</c:v>
                      </c:pt>
                      <c:pt idx="1514">
                        <c:v>3.1859999999999999</c:v>
                      </c:pt>
                      <c:pt idx="1515">
                        <c:v>3.1859999999999999</c:v>
                      </c:pt>
                      <c:pt idx="1516">
                        <c:v>3.1859999999999999</c:v>
                      </c:pt>
                      <c:pt idx="1517">
                        <c:v>3.1859999999999999</c:v>
                      </c:pt>
                      <c:pt idx="1518">
                        <c:v>3.1859999999999999</c:v>
                      </c:pt>
                      <c:pt idx="1519">
                        <c:v>3.1859999999999999</c:v>
                      </c:pt>
                      <c:pt idx="1520">
                        <c:v>3.1139999999999999</c:v>
                      </c:pt>
                      <c:pt idx="1521">
                        <c:v>3.1139999999999999</c:v>
                      </c:pt>
                      <c:pt idx="1522">
                        <c:v>3.1139999999999999</c:v>
                      </c:pt>
                      <c:pt idx="1523">
                        <c:v>3.1139999999999999</c:v>
                      </c:pt>
                      <c:pt idx="1524">
                        <c:v>3.1139999999999999</c:v>
                      </c:pt>
                      <c:pt idx="1525">
                        <c:v>3.1139999999999999</c:v>
                      </c:pt>
                      <c:pt idx="1526">
                        <c:v>3.1139999999999999</c:v>
                      </c:pt>
                      <c:pt idx="1527">
                        <c:v>3.1139999999999999</c:v>
                      </c:pt>
                      <c:pt idx="1528">
                        <c:v>3.1139999999999999</c:v>
                      </c:pt>
                      <c:pt idx="1529">
                        <c:v>3.1139999999999999</c:v>
                      </c:pt>
                      <c:pt idx="1530">
                        <c:v>3.1139999999999999</c:v>
                      </c:pt>
                      <c:pt idx="1531">
                        <c:v>3.1139999999999999</c:v>
                      </c:pt>
                      <c:pt idx="1532">
                        <c:v>3.1139999999999999</c:v>
                      </c:pt>
                      <c:pt idx="1533">
                        <c:v>3.1139999999999999</c:v>
                      </c:pt>
                      <c:pt idx="1534">
                        <c:v>3.1139999999999999</c:v>
                      </c:pt>
                      <c:pt idx="1535">
                        <c:v>3.1139999999999999</c:v>
                      </c:pt>
                      <c:pt idx="1536">
                        <c:v>3.1139999999999999</c:v>
                      </c:pt>
                      <c:pt idx="1537">
                        <c:v>3.1139999999999999</c:v>
                      </c:pt>
                      <c:pt idx="1538">
                        <c:v>3.1139999999999999</c:v>
                      </c:pt>
                      <c:pt idx="1539">
                        <c:v>3.1139999999999999</c:v>
                      </c:pt>
                      <c:pt idx="1540">
                        <c:v>3.2669999999999999</c:v>
                      </c:pt>
                      <c:pt idx="1541">
                        <c:v>3.2669999999999999</c:v>
                      </c:pt>
                      <c:pt idx="1542">
                        <c:v>3.2669999999999999</c:v>
                      </c:pt>
                      <c:pt idx="1543">
                        <c:v>3.2669999999999999</c:v>
                      </c:pt>
                      <c:pt idx="1544">
                        <c:v>3.2669999999999999</c:v>
                      </c:pt>
                      <c:pt idx="1545">
                        <c:v>3.2669999999999999</c:v>
                      </c:pt>
                      <c:pt idx="1546">
                        <c:v>3.2669999999999999</c:v>
                      </c:pt>
                      <c:pt idx="1547">
                        <c:v>3.2669999999999999</c:v>
                      </c:pt>
                      <c:pt idx="1548">
                        <c:v>3.2669999999999999</c:v>
                      </c:pt>
                      <c:pt idx="1549">
                        <c:v>3.2669999999999999</c:v>
                      </c:pt>
                      <c:pt idx="1550">
                        <c:v>3.2669999999999999</c:v>
                      </c:pt>
                      <c:pt idx="1551">
                        <c:v>3.2669999999999999</c:v>
                      </c:pt>
                      <c:pt idx="1552">
                        <c:v>3.2669999999999999</c:v>
                      </c:pt>
                      <c:pt idx="1553">
                        <c:v>3.2669999999999999</c:v>
                      </c:pt>
                      <c:pt idx="1554">
                        <c:v>3.2669999999999999</c:v>
                      </c:pt>
                      <c:pt idx="1555">
                        <c:v>3.2669999999999999</c:v>
                      </c:pt>
                      <c:pt idx="1556">
                        <c:v>3.2669999999999999</c:v>
                      </c:pt>
                      <c:pt idx="1557">
                        <c:v>3.2669999999999999</c:v>
                      </c:pt>
                      <c:pt idx="1558">
                        <c:v>3.2669999999999999</c:v>
                      </c:pt>
                      <c:pt idx="1559">
                        <c:v>3.2669999999999999</c:v>
                      </c:pt>
                      <c:pt idx="1560">
                        <c:v>3.2669999999999999</c:v>
                      </c:pt>
                      <c:pt idx="1561">
                        <c:v>3.2669999999999999</c:v>
                      </c:pt>
                      <c:pt idx="1562">
                        <c:v>3.2669999999999999</c:v>
                      </c:pt>
                      <c:pt idx="1563">
                        <c:v>3.2669999999999999</c:v>
                      </c:pt>
                      <c:pt idx="1564">
                        <c:v>3.2669999999999999</c:v>
                      </c:pt>
                      <c:pt idx="1565">
                        <c:v>3.0529999999999999</c:v>
                      </c:pt>
                      <c:pt idx="1566">
                        <c:v>3.0529999999999999</c:v>
                      </c:pt>
                      <c:pt idx="1567">
                        <c:v>3.0529999999999999</c:v>
                      </c:pt>
                      <c:pt idx="1568">
                        <c:v>3.0529999999999999</c:v>
                      </c:pt>
                      <c:pt idx="1569">
                        <c:v>3.0529999999999999</c:v>
                      </c:pt>
                      <c:pt idx="1570">
                        <c:v>3.0529999999999999</c:v>
                      </c:pt>
                      <c:pt idx="1571">
                        <c:v>3.0529999999999999</c:v>
                      </c:pt>
                      <c:pt idx="1572">
                        <c:v>3.0529999999999999</c:v>
                      </c:pt>
                      <c:pt idx="1573">
                        <c:v>3.0529999999999999</c:v>
                      </c:pt>
                      <c:pt idx="1574">
                        <c:v>3.0529999999999999</c:v>
                      </c:pt>
                      <c:pt idx="1575">
                        <c:v>3.0529999999999999</c:v>
                      </c:pt>
                      <c:pt idx="1576">
                        <c:v>3.0529999999999999</c:v>
                      </c:pt>
                      <c:pt idx="1577">
                        <c:v>3.0529999999999999</c:v>
                      </c:pt>
                      <c:pt idx="1578">
                        <c:v>3.0529999999999999</c:v>
                      </c:pt>
                      <c:pt idx="1579">
                        <c:v>3.0529999999999999</c:v>
                      </c:pt>
                      <c:pt idx="1580">
                        <c:v>3.0529999999999999</c:v>
                      </c:pt>
                      <c:pt idx="1581">
                        <c:v>3.0529999999999999</c:v>
                      </c:pt>
                      <c:pt idx="1582">
                        <c:v>3.0529999999999999</c:v>
                      </c:pt>
                      <c:pt idx="1583">
                        <c:v>3.0529999999999999</c:v>
                      </c:pt>
                      <c:pt idx="1584">
                        <c:v>3.0529999999999999</c:v>
                      </c:pt>
                      <c:pt idx="1585">
                        <c:v>2.9289999999999998</c:v>
                      </c:pt>
                      <c:pt idx="1586">
                        <c:v>2.9289999999999998</c:v>
                      </c:pt>
                      <c:pt idx="1587">
                        <c:v>2.9289999999999998</c:v>
                      </c:pt>
                      <c:pt idx="1588">
                        <c:v>2.9289999999999998</c:v>
                      </c:pt>
                      <c:pt idx="1589">
                        <c:v>2.9289999999999998</c:v>
                      </c:pt>
                      <c:pt idx="1590">
                        <c:v>2.9289999999999998</c:v>
                      </c:pt>
                      <c:pt idx="1591">
                        <c:v>2.9289999999999998</c:v>
                      </c:pt>
                      <c:pt idx="1592">
                        <c:v>2.9289999999999998</c:v>
                      </c:pt>
                      <c:pt idx="1593">
                        <c:v>2.9289999999999998</c:v>
                      </c:pt>
                      <c:pt idx="1594">
                        <c:v>2.9289999999999998</c:v>
                      </c:pt>
                      <c:pt idx="1595">
                        <c:v>2.9289999999999998</c:v>
                      </c:pt>
                      <c:pt idx="1596">
                        <c:v>2.9289999999999998</c:v>
                      </c:pt>
                      <c:pt idx="1597">
                        <c:v>2.9289999999999998</c:v>
                      </c:pt>
                      <c:pt idx="1598">
                        <c:v>2.9289999999999998</c:v>
                      </c:pt>
                      <c:pt idx="1599">
                        <c:v>2.9289999999999998</c:v>
                      </c:pt>
                      <c:pt idx="1600">
                        <c:v>2.9289999999999998</c:v>
                      </c:pt>
                      <c:pt idx="1601">
                        <c:v>2.9289999999999998</c:v>
                      </c:pt>
                      <c:pt idx="1602">
                        <c:v>2.9289999999999998</c:v>
                      </c:pt>
                      <c:pt idx="1603">
                        <c:v>2.9289999999999998</c:v>
                      </c:pt>
                      <c:pt idx="1604">
                        <c:v>2.9289999999999998</c:v>
                      </c:pt>
                      <c:pt idx="1605">
                        <c:v>2.97</c:v>
                      </c:pt>
                      <c:pt idx="1606">
                        <c:v>2.97</c:v>
                      </c:pt>
                      <c:pt idx="1607">
                        <c:v>2.97</c:v>
                      </c:pt>
                      <c:pt idx="1608">
                        <c:v>2.97</c:v>
                      </c:pt>
                      <c:pt idx="1609">
                        <c:v>2.97</c:v>
                      </c:pt>
                      <c:pt idx="1610">
                        <c:v>2.97</c:v>
                      </c:pt>
                      <c:pt idx="1611">
                        <c:v>2.97</c:v>
                      </c:pt>
                      <c:pt idx="1612">
                        <c:v>2.97</c:v>
                      </c:pt>
                      <c:pt idx="1613">
                        <c:v>2.97</c:v>
                      </c:pt>
                      <c:pt idx="1614">
                        <c:v>2.97</c:v>
                      </c:pt>
                      <c:pt idx="1615">
                        <c:v>2.97</c:v>
                      </c:pt>
                      <c:pt idx="1616">
                        <c:v>2.97</c:v>
                      </c:pt>
                      <c:pt idx="1617">
                        <c:v>2.97</c:v>
                      </c:pt>
                      <c:pt idx="1618">
                        <c:v>2.97</c:v>
                      </c:pt>
                      <c:pt idx="1619">
                        <c:v>2.97</c:v>
                      </c:pt>
                      <c:pt idx="1620">
                        <c:v>2.97</c:v>
                      </c:pt>
                      <c:pt idx="1621">
                        <c:v>2.97</c:v>
                      </c:pt>
                      <c:pt idx="1622">
                        <c:v>2.97</c:v>
                      </c:pt>
                      <c:pt idx="1623">
                        <c:v>2.97</c:v>
                      </c:pt>
                      <c:pt idx="1624">
                        <c:v>2.97</c:v>
                      </c:pt>
                      <c:pt idx="1625">
                        <c:v>2.97</c:v>
                      </c:pt>
                      <c:pt idx="1626">
                        <c:v>2.97</c:v>
                      </c:pt>
                      <c:pt idx="1627">
                        <c:v>2.97</c:v>
                      </c:pt>
                      <c:pt idx="1628">
                        <c:v>2.97</c:v>
                      </c:pt>
                      <c:pt idx="1629">
                        <c:v>2.97</c:v>
                      </c:pt>
                      <c:pt idx="1630">
                        <c:v>2.448</c:v>
                      </c:pt>
                      <c:pt idx="1631">
                        <c:v>2.448</c:v>
                      </c:pt>
                      <c:pt idx="1632">
                        <c:v>2.448</c:v>
                      </c:pt>
                      <c:pt idx="1633">
                        <c:v>2.448</c:v>
                      </c:pt>
                      <c:pt idx="1634">
                        <c:v>2.448</c:v>
                      </c:pt>
                      <c:pt idx="1635">
                        <c:v>2.448</c:v>
                      </c:pt>
                      <c:pt idx="1636">
                        <c:v>2.448</c:v>
                      </c:pt>
                      <c:pt idx="1637">
                        <c:v>2.448</c:v>
                      </c:pt>
                      <c:pt idx="1638">
                        <c:v>2.448</c:v>
                      </c:pt>
                      <c:pt idx="1639">
                        <c:v>2.448</c:v>
                      </c:pt>
                      <c:pt idx="1640">
                        <c:v>2.448</c:v>
                      </c:pt>
                      <c:pt idx="1641">
                        <c:v>2.448</c:v>
                      </c:pt>
                      <c:pt idx="1642">
                        <c:v>2.448</c:v>
                      </c:pt>
                      <c:pt idx="1643">
                        <c:v>2.448</c:v>
                      </c:pt>
                      <c:pt idx="1644">
                        <c:v>2.448</c:v>
                      </c:pt>
                      <c:pt idx="1645">
                        <c:v>2.448</c:v>
                      </c:pt>
                      <c:pt idx="1646">
                        <c:v>2.448</c:v>
                      </c:pt>
                      <c:pt idx="1647">
                        <c:v>2.448</c:v>
                      </c:pt>
                      <c:pt idx="1648">
                        <c:v>2.448</c:v>
                      </c:pt>
                      <c:pt idx="1649">
                        <c:v>2.448</c:v>
                      </c:pt>
                      <c:pt idx="1650">
                        <c:v>2.44</c:v>
                      </c:pt>
                      <c:pt idx="1651">
                        <c:v>2.44</c:v>
                      </c:pt>
                      <c:pt idx="1652">
                        <c:v>2.44</c:v>
                      </c:pt>
                      <c:pt idx="1653">
                        <c:v>2.44</c:v>
                      </c:pt>
                      <c:pt idx="1654">
                        <c:v>2.44</c:v>
                      </c:pt>
                      <c:pt idx="1655">
                        <c:v>2.44</c:v>
                      </c:pt>
                      <c:pt idx="1656">
                        <c:v>2.44</c:v>
                      </c:pt>
                      <c:pt idx="1657">
                        <c:v>2.44</c:v>
                      </c:pt>
                      <c:pt idx="1658">
                        <c:v>2.44</c:v>
                      </c:pt>
                      <c:pt idx="1659">
                        <c:v>2.44</c:v>
                      </c:pt>
                      <c:pt idx="1660">
                        <c:v>2.44</c:v>
                      </c:pt>
                      <c:pt idx="1661">
                        <c:v>2.44</c:v>
                      </c:pt>
                      <c:pt idx="1662">
                        <c:v>2.44</c:v>
                      </c:pt>
                      <c:pt idx="1663">
                        <c:v>2.44</c:v>
                      </c:pt>
                      <c:pt idx="1664">
                        <c:v>2.44</c:v>
                      </c:pt>
                      <c:pt idx="1665">
                        <c:v>2.44</c:v>
                      </c:pt>
                      <c:pt idx="1666">
                        <c:v>2.44</c:v>
                      </c:pt>
                      <c:pt idx="1667">
                        <c:v>2.44</c:v>
                      </c:pt>
                      <c:pt idx="1668">
                        <c:v>2.44</c:v>
                      </c:pt>
                      <c:pt idx="1669">
                        <c:v>2.44</c:v>
                      </c:pt>
                      <c:pt idx="1670">
                        <c:v>2.5209999999999999</c:v>
                      </c:pt>
                      <c:pt idx="1671">
                        <c:v>2.5209999999999999</c:v>
                      </c:pt>
                      <c:pt idx="1672">
                        <c:v>2.5209999999999999</c:v>
                      </c:pt>
                      <c:pt idx="1673">
                        <c:v>2.5209999999999999</c:v>
                      </c:pt>
                      <c:pt idx="1674">
                        <c:v>2.5209999999999999</c:v>
                      </c:pt>
                      <c:pt idx="1675">
                        <c:v>2.5209999999999999</c:v>
                      </c:pt>
                      <c:pt idx="1676">
                        <c:v>2.5209999999999999</c:v>
                      </c:pt>
                      <c:pt idx="1677">
                        <c:v>2.5209999999999999</c:v>
                      </c:pt>
                      <c:pt idx="1678">
                        <c:v>2.5209999999999999</c:v>
                      </c:pt>
                      <c:pt idx="1679">
                        <c:v>2.5209999999999999</c:v>
                      </c:pt>
                      <c:pt idx="1680">
                        <c:v>2.5209999999999999</c:v>
                      </c:pt>
                      <c:pt idx="1681">
                        <c:v>2.5209999999999999</c:v>
                      </c:pt>
                      <c:pt idx="1682">
                        <c:v>2.5209999999999999</c:v>
                      </c:pt>
                      <c:pt idx="1683">
                        <c:v>2.5209999999999999</c:v>
                      </c:pt>
                      <c:pt idx="1684">
                        <c:v>2.5209999999999999</c:v>
                      </c:pt>
                      <c:pt idx="1685">
                        <c:v>2.5209999999999999</c:v>
                      </c:pt>
                      <c:pt idx="1686">
                        <c:v>2.5209999999999999</c:v>
                      </c:pt>
                      <c:pt idx="1687">
                        <c:v>2.5209999999999999</c:v>
                      </c:pt>
                      <c:pt idx="1688">
                        <c:v>2.5209999999999999</c:v>
                      </c:pt>
                      <c:pt idx="1689">
                        <c:v>2.5209999999999999</c:v>
                      </c:pt>
                      <c:pt idx="1690">
                        <c:v>2.5209999999999999</c:v>
                      </c:pt>
                      <c:pt idx="1691">
                        <c:v>2.5209999999999999</c:v>
                      </c:pt>
                      <c:pt idx="1692">
                        <c:v>2.5209999999999999</c:v>
                      </c:pt>
                      <c:pt idx="1693">
                        <c:v>2.5209999999999999</c:v>
                      </c:pt>
                      <c:pt idx="1694">
                        <c:v>2.5209999999999999</c:v>
                      </c:pt>
                      <c:pt idx="1695">
                        <c:v>2.3359999999999999</c:v>
                      </c:pt>
                      <c:pt idx="1696">
                        <c:v>2.3359999999999999</c:v>
                      </c:pt>
                      <c:pt idx="1697">
                        <c:v>2.3359999999999999</c:v>
                      </c:pt>
                      <c:pt idx="1698">
                        <c:v>2.3359999999999999</c:v>
                      </c:pt>
                      <c:pt idx="1699">
                        <c:v>2.3359999999999999</c:v>
                      </c:pt>
                      <c:pt idx="1700">
                        <c:v>2.3359999999999999</c:v>
                      </c:pt>
                      <c:pt idx="1701">
                        <c:v>2.3359999999999999</c:v>
                      </c:pt>
                      <c:pt idx="1702">
                        <c:v>2.3359999999999999</c:v>
                      </c:pt>
                      <c:pt idx="1703">
                        <c:v>2.3359999999999999</c:v>
                      </c:pt>
                      <c:pt idx="1704">
                        <c:v>2.3359999999999999</c:v>
                      </c:pt>
                      <c:pt idx="1705">
                        <c:v>2.3359999999999999</c:v>
                      </c:pt>
                      <c:pt idx="1706">
                        <c:v>2.3359999999999999</c:v>
                      </c:pt>
                      <c:pt idx="1707">
                        <c:v>2.3359999999999999</c:v>
                      </c:pt>
                      <c:pt idx="1708">
                        <c:v>2.3359999999999999</c:v>
                      </c:pt>
                      <c:pt idx="1709">
                        <c:v>2.3359999999999999</c:v>
                      </c:pt>
                      <c:pt idx="1710">
                        <c:v>2.3359999999999999</c:v>
                      </c:pt>
                      <c:pt idx="1711">
                        <c:v>2.3359999999999999</c:v>
                      </c:pt>
                      <c:pt idx="1712">
                        <c:v>2.3359999999999999</c:v>
                      </c:pt>
                      <c:pt idx="1713">
                        <c:v>2.3359999999999999</c:v>
                      </c:pt>
                      <c:pt idx="1714">
                        <c:v>2.3359999999999999</c:v>
                      </c:pt>
                      <c:pt idx="1715">
                        <c:v>2.081</c:v>
                      </c:pt>
                      <c:pt idx="1716">
                        <c:v>2.081</c:v>
                      </c:pt>
                      <c:pt idx="1717">
                        <c:v>2.081</c:v>
                      </c:pt>
                      <c:pt idx="1718">
                        <c:v>2.081</c:v>
                      </c:pt>
                      <c:pt idx="1719">
                        <c:v>2.081</c:v>
                      </c:pt>
                      <c:pt idx="1720">
                        <c:v>2.081</c:v>
                      </c:pt>
                      <c:pt idx="1721">
                        <c:v>2.081</c:v>
                      </c:pt>
                      <c:pt idx="1722">
                        <c:v>2.081</c:v>
                      </c:pt>
                      <c:pt idx="1723">
                        <c:v>2.081</c:v>
                      </c:pt>
                      <c:pt idx="1724">
                        <c:v>2.081</c:v>
                      </c:pt>
                      <c:pt idx="1725">
                        <c:v>2.081</c:v>
                      </c:pt>
                      <c:pt idx="1726">
                        <c:v>2.081</c:v>
                      </c:pt>
                      <c:pt idx="1727">
                        <c:v>2.081</c:v>
                      </c:pt>
                      <c:pt idx="1728">
                        <c:v>2.081</c:v>
                      </c:pt>
                      <c:pt idx="1729">
                        <c:v>2.081</c:v>
                      </c:pt>
                      <c:pt idx="1730">
                        <c:v>2.081</c:v>
                      </c:pt>
                      <c:pt idx="1731">
                        <c:v>2.081</c:v>
                      </c:pt>
                      <c:pt idx="1732">
                        <c:v>2.081</c:v>
                      </c:pt>
                      <c:pt idx="1733">
                        <c:v>2.081</c:v>
                      </c:pt>
                      <c:pt idx="1734">
                        <c:v>2.081</c:v>
                      </c:pt>
                      <c:pt idx="1735">
                        <c:v>2.081</c:v>
                      </c:pt>
                      <c:pt idx="1736">
                        <c:v>2.081</c:v>
                      </c:pt>
                      <c:pt idx="1737">
                        <c:v>2.081</c:v>
                      </c:pt>
                      <c:pt idx="1738">
                        <c:v>2.081</c:v>
                      </c:pt>
                      <c:pt idx="1739">
                        <c:v>2.081</c:v>
                      </c:pt>
                      <c:pt idx="1740">
                        <c:v>1.9039999999999999</c:v>
                      </c:pt>
                      <c:pt idx="1741">
                        <c:v>1.9039999999999999</c:v>
                      </c:pt>
                      <c:pt idx="1742">
                        <c:v>1.9039999999999999</c:v>
                      </c:pt>
                      <c:pt idx="1743">
                        <c:v>1.9039999999999999</c:v>
                      </c:pt>
                      <c:pt idx="1744">
                        <c:v>1.9039999999999999</c:v>
                      </c:pt>
                      <c:pt idx="1745">
                        <c:v>1.9039999999999999</c:v>
                      </c:pt>
                      <c:pt idx="1746">
                        <c:v>1.9039999999999999</c:v>
                      </c:pt>
                      <c:pt idx="1747">
                        <c:v>1.9039999999999999</c:v>
                      </c:pt>
                      <c:pt idx="1748">
                        <c:v>1.9039999999999999</c:v>
                      </c:pt>
                      <c:pt idx="1749">
                        <c:v>1.9039999999999999</c:v>
                      </c:pt>
                      <c:pt idx="1750">
                        <c:v>1.9039999999999999</c:v>
                      </c:pt>
                      <c:pt idx="1751">
                        <c:v>1.9039999999999999</c:v>
                      </c:pt>
                      <c:pt idx="1752">
                        <c:v>1.9039999999999999</c:v>
                      </c:pt>
                      <c:pt idx="1753">
                        <c:v>1.9039999999999999</c:v>
                      </c:pt>
                      <c:pt idx="1754">
                        <c:v>1.9039999999999999</c:v>
                      </c:pt>
                      <c:pt idx="1755">
                        <c:v>1.9039999999999999</c:v>
                      </c:pt>
                      <c:pt idx="1756">
                        <c:v>1.9039999999999999</c:v>
                      </c:pt>
                      <c:pt idx="1757">
                        <c:v>1.9039999999999999</c:v>
                      </c:pt>
                      <c:pt idx="1758">
                        <c:v>1.9039999999999999</c:v>
                      </c:pt>
                      <c:pt idx="1759">
                        <c:v>1.9039999999999999</c:v>
                      </c:pt>
                      <c:pt idx="1760">
                        <c:v>1.8029999999999999</c:v>
                      </c:pt>
                      <c:pt idx="1761">
                        <c:v>1.8029999999999999</c:v>
                      </c:pt>
                      <c:pt idx="1762">
                        <c:v>1.8029999999999999</c:v>
                      </c:pt>
                      <c:pt idx="1763">
                        <c:v>1.8029999999999999</c:v>
                      </c:pt>
                      <c:pt idx="1764">
                        <c:v>1.8029999999999999</c:v>
                      </c:pt>
                      <c:pt idx="1765">
                        <c:v>1.8029999999999999</c:v>
                      </c:pt>
                      <c:pt idx="1766">
                        <c:v>1.8029999999999999</c:v>
                      </c:pt>
                      <c:pt idx="1767">
                        <c:v>1.8029999999999999</c:v>
                      </c:pt>
                      <c:pt idx="1768">
                        <c:v>1.8029999999999999</c:v>
                      </c:pt>
                      <c:pt idx="1769">
                        <c:v>1.8029999999999999</c:v>
                      </c:pt>
                      <c:pt idx="1770">
                        <c:v>1.8029999999999999</c:v>
                      </c:pt>
                      <c:pt idx="1771">
                        <c:v>1.8029999999999999</c:v>
                      </c:pt>
                      <c:pt idx="1772">
                        <c:v>1.8029999999999999</c:v>
                      </c:pt>
                      <c:pt idx="1773">
                        <c:v>1.8029999999999999</c:v>
                      </c:pt>
                      <c:pt idx="1774">
                        <c:v>1.8029999999999999</c:v>
                      </c:pt>
                      <c:pt idx="1775">
                        <c:v>1.8029999999999999</c:v>
                      </c:pt>
                      <c:pt idx="1776">
                        <c:v>1.8029999999999999</c:v>
                      </c:pt>
                      <c:pt idx="1777">
                        <c:v>1.8029999999999999</c:v>
                      </c:pt>
                      <c:pt idx="1778">
                        <c:v>1.8029999999999999</c:v>
                      </c:pt>
                      <c:pt idx="1779">
                        <c:v>1.8029999999999999</c:v>
                      </c:pt>
                      <c:pt idx="1780">
                        <c:v>1.62</c:v>
                      </c:pt>
                      <c:pt idx="1781">
                        <c:v>1.62</c:v>
                      </c:pt>
                      <c:pt idx="1782">
                        <c:v>1.62</c:v>
                      </c:pt>
                      <c:pt idx="1783">
                        <c:v>1.62</c:v>
                      </c:pt>
                      <c:pt idx="1784">
                        <c:v>1.62</c:v>
                      </c:pt>
                      <c:pt idx="1785">
                        <c:v>1.62</c:v>
                      </c:pt>
                      <c:pt idx="1786">
                        <c:v>1.62</c:v>
                      </c:pt>
                      <c:pt idx="1787">
                        <c:v>1.62</c:v>
                      </c:pt>
                      <c:pt idx="1788">
                        <c:v>1.62</c:v>
                      </c:pt>
                      <c:pt idx="1789">
                        <c:v>1.62</c:v>
                      </c:pt>
                      <c:pt idx="1790">
                        <c:v>1.62</c:v>
                      </c:pt>
                      <c:pt idx="1791">
                        <c:v>1.62</c:v>
                      </c:pt>
                      <c:pt idx="1792">
                        <c:v>1.62</c:v>
                      </c:pt>
                      <c:pt idx="1793">
                        <c:v>1.62</c:v>
                      </c:pt>
                      <c:pt idx="1794">
                        <c:v>1.62</c:v>
                      </c:pt>
                      <c:pt idx="1795">
                        <c:v>1.62</c:v>
                      </c:pt>
                      <c:pt idx="1796">
                        <c:v>1.62</c:v>
                      </c:pt>
                      <c:pt idx="1797">
                        <c:v>1.62</c:v>
                      </c:pt>
                      <c:pt idx="1798">
                        <c:v>1.62</c:v>
                      </c:pt>
                      <c:pt idx="1799">
                        <c:v>1.62</c:v>
                      </c:pt>
                      <c:pt idx="1800">
                        <c:v>1.62</c:v>
                      </c:pt>
                      <c:pt idx="1801">
                        <c:v>1.62</c:v>
                      </c:pt>
                      <c:pt idx="1802">
                        <c:v>1.62</c:v>
                      </c:pt>
                      <c:pt idx="1803">
                        <c:v>1.62</c:v>
                      </c:pt>
                      <c:pt idx="1804">
                        <c:v>1.62</c:v>
                      </c:pt>
                      <c:pt idx="1805">
                        <c:v>1.5880000000000001</c:v>
                      </c:pt>
                      <c:pt idx="1806">
                        <c:v>1.5880000000000001</c:v>
                      </c:pt>
                      <c:pt idx="1807">
                        <c:v>1.5880000000000001</c:v>
                      </c:pt>
                      <c:pt idx="1808">
                        <c:v>1.5880000000000001</c:v>
                      </c:pt>
                      <c:pt idx="1809">
                        <c:v>1.5880000000000001</c:v>
                      </c:pt>
                      <c:pt idx="1810">
                        <c:v>1.5880000000000001</c:v>
                      </c:pt>
                      <c:pt idx="1811">
                        <c:v>1.5880000000000001</c:v>
                      </c:pt>
                      <c:pt idx="1812">
                        <c:v>1.5880000000000001</c:v>
                      </c:pt>
                      <c:pt idx="1813">
                        <c:v>1.5880000000000001</c:v>
                      </c:pt>
                      <c:pt idx="1814">
                        <c:v>1.5880000000000001</c:v>
                      </c:pt>
                      <c:pt idx="1815">
                        <c:v>1.5880000000000001</c:v>
                      </c:pt>
                      <c:pt idx="1816">
                        <c:v>1.5880000000000001</c:v>
                      </c:pt>
                      <c:pt idx="1817">
                        <c:v>1.5880000000000001</c:v>
                      </c:pt>
                      <c:pt idx="1818">
                        <c:v>1.5880000000000001</c:v>
                      </c:pt>
                      <c:pt idx="1819">
                        <c:v>1.5880000000000001</c:v>
                      </c:pt>
                      <c:pt idx="1820">
                        <c:v>1.5880000000000001</c:v>
                      </c:pt>
                      <c:pt idx="1821">
                        <c:v>1.5880000000000001</c:v>
                      </c:pt>
                      <c:pt idx="1822">
                        <c:v>1.5880000000000001</c:v>
                      </c:pt>
                      <c:pt idx="1823">
                        <c:v>1.5880000000000001</c:v>
                      </c:pt>
                      <c:pt idx="1824">
                        <c:v>1.5880000000000001</c:v>
                      </c:pt>
                      <c:pt idx="1825">
                        <c:v>1.607</c:v>
                      </c:pt>
                      <c:pt idx="1826">
                        <c:v>1.607</c:v>
                      </c:pt>
                      <c:pt idx="1827">
                        <c:v>1.607</c:v>
                      </c:pt>
                      <c:pt idx="1828">
                        <c:v>1.607</c:v>
                      </c:pt>
                      <c:pt idx="1829">
                        <c:v>1.607</c:v>
                      </c:pt>
                      <c:pt idx="1830">
                        <c:v>1.607</c:v>
                      </c:pt>
                      <c:pt idx="1831">
                        <c:v>1.607</c:v>
                      </c:pt>
                      <c:pt idx="1832">
                        <c:v>1.607</c:v>
                      </c:pt>
                      <c:pt idx="1833">
                        <c:v>1.607</c:v>
                      </c:pt>
                      <c:pt idx="1834">
                        <c:v>1.607</c:v>
                      </c:pt>
                      <c:pt idx="1835">
                        <c:v>1.607</c:v>
                      </c:pt>
                      <c:pt idx="1836">
                        <c:v>1.607</c:v>
                      </c:pt>
                      <c:pt idx="1837">
                        <c:v>1.607</c:v>
                      </c:pt>
                      <c:pt idx="1838">
                        <c:v>1.607</c:v>
                      </c:pt>
                      <c:pt idx="1839">
                        <c:v>1.607</c:v>
                      </c:pt>
                      <c:pt idx="1840">
                        <c:v>1.607</c:v>
                      </c:pt>
                      <c:pt idx="1841">
                        <c:v>1.607</c:v>
                      </c:pt>
                      <c:pt idx="1842">
                        <c:v>1.607</c:v>
                      </c:pt>
                      <c:pt idx="1843">
                        <c:v>1.607</c:v>
                      </c:pt>
                      <c:pt idx="1844">
                        <c:v>1.607</c:v>
                      </c:pt>
                      <c:pt idx="1845">
                        <c:v>1.593</c:v>
                      </c:pt>
                      <c:pt idx="1846">
                        <c:v>1.593</c:v>
                      </c:pt>
                      <c:pt idx="1847">
                        <c:v>1.593</c:v>
                      </c:pt>
                      <c:pt idx="1848">
                        <c:v>1.593</c:v>
                      </c:pt>
                      <c:pt idx="1849">
                        <c:v>1.593</c:v>
                      </c:pt>
                      <c:pt idx="1850">
                        <c:v>1.593</c:v>
                      </c:pt>
                      <c:pt idx="1851">
                        <c:v>1.593</c:v>
                      </c:pt>
                      <c:pt idx="1852">
                        <c:v>1.593</c:v>
                      </c:pt>
                      <c:pt idx="1853">
                        <c:v>1.593</c:v>
                      </c:pt>
                      <c:pt idx="1854">
                        <c:v>1.593</c:v>
                      </c:pt>
                      <c:pt idx="1855">
                        <c:v>1.593</c:v>
                      </c:pt>
                      <c:pt idx="1856">
                        <c:v>1.593</c:v>
                      </c:pt>
                      <c:pt idx="1857">
                        <c:v>1.593</c:v>
                      </c:pt>
                      <c:pt idx="1858">
                        <c:v>1.593</c:v>
                      </c:pt>
                      <c:pt idx="1859">
                        <c:v>1.593</c:v>
                      </c:pt>
                      <c:pt idx="1860">
                        <c:v>1.593</c:v>
                      </c:pt>
                      <c:pt idx="1861">
                        <c:v>1.593</c:v>
                      </c:pt>
                      <c:pt idx="1862">
                        <c:v>1.593</c:v>
                      </c:pt>
                      <c:pt idx="1863">
                        <c:v>1.593</c:v>
                      </c:pt>
                      <c:pt idx="1864">
                        <c:v>1.593</c:v>
                      </c:pt>
                      <c:pt idx="1865">
                        <c:v>1.66</c:v>
                      </c:pt>
                      <c:pt idx="1866">
                        <c:v>1.66</c:v>
                      </c:pt>
                      <c:pt idx="1867">
                        <c:v>1.66</c:v>
                      </c:pt>
                      <c:pt idx="1868">
                        <c:v>1.66</c:v>
                      </c:pt>
                      <c:pt idx="1869">
                        <c:v>1.66</c:v>
                      </c:pt>
                      <c:pt idx="1870">
                        <c:v>1.66</c:v>
                      </c:pt>
                      <c:pt idx="1871">
                        <c:v>1.66</c:v>
                      </c:pt>
                      <c:pt idx="1872">
                        <c:v>1.66</c:v>
                      </c:pt>
                      <c:pt idx="1873">
                        <c:v>1.66</c:v>
                      </c:pt>
                      <c:pt idx="1874">
                        <c:v>1.66</c:v>
                      </c:pt>
                      <c:pt idx="1875">
                        <c:v>1.66</c:v>
                      </c:pt>
                      <c:pt idx="1876">
                        <c:v>1.66</c:v>
                      </c:pt>
                      <c:pt idx="1877">
                        <c:v>1.66</c:v>
                      </c:pt>
                      <c:pt idx="1878">
                        <c:v>1.66</c:v>
                      </c:pt>
                      <c:pt idx="1879">
                        <c:v>1.66</c:v>
                      </c:pt>
                      <c:pt idx="1880">
                        <c:v>1.66</c:v>
                      </c:pt>
                      <c:pt idx="1881">
                        <c:v>1.66</c:v>
                      </c:pt>
                      <c:pt idx="1882">
                        <c:v>1.66</c:v>
                      </c:pt>
                      <c:pt idx="1883">
                        <c:v>1.66</c:v>
                      </c:pt>
                      <c:pt idx="1884">
                        <c:v>1.66</c:v>
                      </c:pt>
                      <c:pt idx="1885">
                        <c:v>1.66</c:v>
                      </c:pt>
                      <c:pt idx="1886">
                        <c:v>1.66</c:v>
                      </c:pt>
                      <c:pt idx="1887">
                        <c:v>1.66</c:v>
                      </c:pt>
                      <c:pt idx="1888">
                        <c:v>1.66</c:v>
                      </c:pt>
                      <c:pt idx="1889">
                        <c:v>1.66</c:v>
                      </c:pt>
                      <c:pt idx="1890">
                        <c:v>1.532</c:v>
                      </c:pt>
                      <c:pt idx="1891">
                        <c:v>1.532</c:v>
                      </c:pt>
                      <c:pt idx="1892">
                        <c:v>1.532</c:v>
                      </c:pt>
                      <c:pt idx="1893">
                        <c:v>1.532</c:v>
                      </c:pt>
                      <c:pt idx="1894">
                        <c:v>1.532</c:v>
                      </c:pt>
                      <c:pt idx="1895">
                        <c:v>1.532</c:v>
                      </c:pt>
                      <c:pt idx="1896">
                        <c:v>1.532</c:v>
                      </c:pt>
                      <c:pt idx="1897">
                        <c:v>1.532</c:v>
                      </c:pt>
                      <c:pt idx="1898">
                        <c:v>1.532</c:v>
                      </c:pt>
                      <c:pt idx="1899">
                        <c:v>1.532</c:v>
                      </c:pt>
                      <c:pt idx="1900">
                        <c:v>1.532</c:v>
                      </c:pt>
                      <c:pt idx="1901">
                        <c:v>1.532</c:v>
                      </c:pt>
                      <c:pt idx="1902">
                        <c:v>1.532</c:v>
                      </c:pt>
                      <c:pt idx="1903">
                        <c:v>1.532</c:v>
                      </c:pt>
                      <c:pt idx="1904">
                        <c:v>1.532</c:v>
                      </c:pt>
                      <c:pt idx="1905">
                        <c:v>1.532</c:v>
                      </c:pt>
                      <c:pt idx="1906">
                        <c:v>1.532</c:v>
                      </c:pt>
                      <c:pt idx="1907">
                        <c:v>1.532</c:v>
                      </c:pt>
                      <c:pt idx="1908">
                        <c:v>1.532</c:v>
                      </c:pt>
                      <c:pt idx="1909">
                        <c:v>1.532</c:v>
                      </c:pt>
                      <c:pt idx="1910">
                        <c:v>1.528</c:v>
                      </c:pt>
                      <c:pt idx="1911">
                        <c:v>1.528</c:v>
                      </c:pt>
                      <c:pt idx="1912">
                        <c:v>1.528</c:v>
                      </c:pt>
                      <c:pt idx="1913">
                        <c:v>1.528</c:v>
                      </c:pt>
                      <c:pt idx="1914">
                        <c:v>1.528</c:v>
                      </c:pt>
                      <c:pt idx="1915">
                        <c:v>1.528</c:v>
                      </c:pt>
                      <c:pt idx="1916">
                        <c:v>1.528</c:v>
                      </c:pt>
                      <c:pt idx="1917">
                        <c:v>1.528</c:v>
                      </c:pt>
                      <c:pt idx="1918">
                        <c:v>1.528</c:v>
                      </c:pt>
                      <c:pt idx="1919">
                        <c:v>1.528</c:v>
                      </c:pt>
                      <c:pt idx="1920">
                        <c:v>1.528</c:v>
                      </c:pt>
                      <c:pt idx="1921">
                        <c:v>1.528</c:v>
                      </c:pt>
                      <c:pt idx="1922">
                        <c:v>1.528</c:v>
                      </c:pt>
                      <c:pt idx="1923">
                        <c:v>1.528</c:v>
                      </c:pt>
                      <c:pt idx="1924">
                        <c:v>1.528</c:v>
                      </c:pt>
                      <c:pt idx="1925">
                        <c:v>1.528</c:v>
                      </c:pt>
                      <c:pt idx="1926">
                        <c:v>1.528</c:v>
                      </c:pt>
                      <c:pt idx="1927">
                        <c:v>1.528</c:v>
                      </c:pt>
                      <c:pt idx="1928">
                        <c:v>1.528</c:v>
                      </c:pt>
                      <c:pt idx="1929">
                        <c:v>1.528</c:v>
                      </c:pt>
                      <c:pt idx="1930">
                        <c:v>1.528</c:v>
                      </c:pt>
                      <c:pt idx="1931">
                        <c:v>1.528</c:v>
                      </c:pt>
                      <c:pt idx="1932">
                        <c:v>1.528</c:v>
                      </c:pt>
                      <c:pt idx="1933">
                        <c:v>1.528</c:v>
                      </c:pt>
                      <c:pt idx="1934">
                        <c:v>1.528</c:v>
                      </c:pt>
                      <c:pt idx="1935">
                        <c:v>1.4570000000000001</c:v>
                      </c:pt>
                      <c:pt idx="1936">
                        <c:v>1.4570000000000001</c:v>
                      </c:pt>
                      <c:pt idx="1937">
                        <c:v>1.4570000000000001</c:v>
                      </c:pt>
                      <c:pt idx="1938">
                        <c:v>1.4570000000000001</c:v>
                      </c:pt>
                      <c:pt idx="1939">
                        <c:v>1.4570000000000001</c:v>
                      </c:pt>
                      <c:pt idx="1940">
                        <c:v>1.4570000000000001</c:v>
                      </c:pt>
                      <c:pt idx="1941">
                        <c:v>1.4570000000000001</c:v>
                      </c:pt>
                      <c:pt idx="1942">
                        <c:v>1.4570000000000001</c:v>
                      </c:pt>
                      <c:pt idx="1943">
                        <c:v>1.4570000000000001</c:v>
                      </c:pt>
                      <c:pt idx="1944">
                        <c:v>1.4570000000000001</c:v>
                      </c:pt>
                      <c:pt idx="1945">
                        <c:v>1.4570000000000001</c:v>
                      </c:pt>
                      <c:pt idx="1946">
                        <c:v>1.4570000000000001</c:v>
                      </c:pt>
                      <c:pt idx="1947">
                        <c:v>1.4570000000000001</c:v>
                      </c:pt>
                      <c:pt idx="1948">
                        <c:v>1.4570000000000001</c:v>
                      </c:pt>
                      <c:pt idx="1949">
                        <c:v>1.4570000000000001</c:v>
                      </c:pt>
                      <c:pt idx="1950">
                        <c:v>1.4570000000000001</c:v>
                      </c:pt>
                      <c:pt idx="1951">
                        <c:v>1.4570000000000001</c:v>
                      </c:pt>
                      <c:pt idx="1952">
                        <c:v>1.4570000000000001</c:v>
                      </c:pt>
                      <c:pt idx="1953">
                        <c:v>1.4570000000000001</c:v>
                      </c:pt>
                      <c:pt idx="1954">
                        <c:v>1.4570000000000001</c:v>
                      </c:pt>
                      <c:pt idx="1955">
                        <c:v>1.341</c:v>
                      </c:pt>
                      <c:pt idx="1956">
                        <c:v>1.341</c:v>
                      </c:pt>
                      <c:pt idx="1957">
                        <c:v>1.341</c:v>
                      </c:pt>
                      <c:pt idx="1958">
                        <c:v>1.341</c:v>
                      </c:pt>
                      <c:pt idx="1959">
                        <c:v>1.341</c:v>
                      </c:pt>
                      <c:pt idx="1960">
                        <c:v>1.341</c:v>
                      </c:pt>
                      <c:pt idx="1961">
                        <c:v>1.341</c:v>
                      </c:pt>
                      <c:pt idx="1962">
                        <c:v>1.341</c:v>
                      </c:pt>
                      <c:pt idx="1963">
                        <c:v>1.341</c:v>
                      </c:pt>
                      <c:pt idx="1964">
                        <c:v>1.341</c:v>
                      </c:pt>
                      <c:pt idx="1965">
                        <c:v>1.341</c:v>
                      </c:pt>
                      <c:pt idx="1966">
                        <c:v>1.341</c:v>
                      </c:pt>
                      <c:pt idx="1967">
                        <c:v>1.341</c:v>
                      </c:pt>
                      <c:pt idx="1968">
                        <c:v>1.341</c:v>
                      </c:pt>
                      <c:pt idx="1969">
                        <c:v>1.341</c:v>
                      </c:pt>
                      <c:pt idx="1970">
                        <c:v>1.341</c:v>
                      </c:pt>
                      <c:pt idx="1971">
                        <c:v>1.341</c:v>
                      </c:pt>
                      <c:pt idx="1972">
                        <c:v>1.341</c:v>
                      </c:pt>
                      <c:pt idx="1973">
                        <c:v>1.341</c:v>
                      </c:pt>
                      <c:pt idx="1974">
                        <c:v>1.341</c:v>
                      </c:pt>
                      <c:pt idx="1975">
                        <c:v>1.264</c:v>
                      </c:pt>
                      <c:pt idx="1976">
                        <c:v>1.264</c:v>
                      </c:pt>
                      <c:pt idx="1977">
                        <c:v>1.264</c:v>
                      </c:pt>
                      <c:pt idx="1978">
                        <c:v>1.264</c:v>
                      </c:pt>
                      <c:pt idx="1979">
                        <c:v>1.264</c:v>
                      </c:pt>
                      <c:pt idx="1980">
                        <c:v>1.264</c:v>
                      </c:pt>
                      <c:pt idx="1981">
                        <c:v>1.264</c:v>
                      </c:pt>
                      <c:pt idx="1982">
                        <c:v>1.264</c:v>
                      </c:pt>
                      <c:pt idx="1983">
                        <c:v>1.264</c:v>
                      </c:pt>
                      <c:pt idx="1984">
                        <c:v>1.264</c:v>
                      </c:pt>
                      <c:pt idx="1985">
                        <c:v>1.264</c:v>
                      </c:pt>
                      <c:pt idx="1986">
                        <c:v>1.264</c:v>
                      </c:pt>
                      <c:pt idx="1987">
                        <c:v>1.264</c:v>
                      </c:pt>
                      <c:pt idx="1988">
                        <c:v>1.264</c:v>
                      </c:pt>
                      <c:pt idx="1989">
                        <c:v>1.264</c:v>
                      </c:pt>
                      <c:pt idx="1990">
                        <c:v>1.264</c:v>
                      </c:pt>
                      <c:pt idx="1991">
                        <c:v>1.264</c:v>
                      </c:pt>
                      <c:pt idx="1992">
                        <c:v>1.264</c:v>
                      </c:pt>
                      <c:pt idx="1993">
                        <c:v>1.264</c:v>
                      </c:pt>
                      <c:pt idx="1994">
                        <c:v>1.264</c:v>
                      </c:pt>
                      <c:pt idx="1995">
                        <c:v>1.264</c:v>
                      </c:pt>
                      <c:pt idx="1996">
                        <c:v>1.264</c:v>
                      </c:pt>
                      <c:pt idx="1997">
                        <c:v>1.264</c:v>
                      </c:pt>
                      <c:pt idx="1998">
                        <c:v>1.264</c:v>
                      </c:pt>
                      <c:pt idx="1999">
                        <c:v>1.264</c:v>
                      </c:pt>
                      <c:pt idx="2000">
                        <c:v>1.3140000000000001</c:v>
                      </c:pt>
                      <c:pt idx="2001">
                        <c:v>1.3140000000000001</c:v>
                      </c:pt>
                      <c:pt idx="2002">
                        <c:v>1.3140000000000001</c:v>
                      </c:pt>
                      <c:pt idx="2003">
                        <c:v>1.3140000000000001</c:v>
                      </c:pt>
                      <c:pt idx="2004">
                        <c:v>1.3140000000000001</c:v>
                      </c:pt>
                      <c:pt idx="2005">
                        <c:v>1.3140000000000001</c:v>
                      </c:pt>
                      <c:pt idx="2006">
                        <c:v>1.3140000000000001</c:v>
                      </c:pt>
                      <c:pt idx="2007">
                        <c:v>1.3140000000000001</c:v>
                      </c:pt>
                      <c:pt idx="2008">
                        <c:v>1.3140000000000001</c:v>
                      </c:pt>
                      <c:pt idx="2009">
                        <c:v>1.3140000000000001</c:v>
                      </c:pt>
                      <c:pt idx="2010">
                        <c:v>1.3140000000000001</c:v>
                      </c:pt>
                      <c:pt idx="2011">
                        <c:v>1.3140000000000001</c:v>
                      </c:pt>
                      <c:pt idx="2012">
                        <c:v>1.3140000000000001</c:v>
                      </c:pt>
                      <c:pt idx="2013">
                        <c:v>1.3140000000000001</c:v>
                      </c:pt>
                      <c:pt idx="2014">
                        <c:v>1.3140000000000001</c:v>
                      </c:pt>
                      <c:pt idx="2015">
                        <c:v>1.3140000000000001</c:v>
                      </c:pt>
                      <c:pt idx="2016">
                        <c:v>1.3140000000000001</c:v>
                      </c:pt>
                      <c:pt idx="2017">
                        <c:v>1.3140000000000001</c:v>
                      </c:pt>
                      <c:pt idx="2018">
                        <c:v>1.3140000000000001</c:v>
                      </c:pt>
                      <c:pt idx="2019">
                        <c:v>1.3140000000000001</c:v>
                      </c:pt>
                      <c:pt idx="2020">
                        <c:v>1.3340000000000001</c:v>
                      </c:pt>
                      <c:pt idx="2021">
                        <c:v>1.3340000000000001</c:v>
                      </c:pt>
                      <c:pt idx="2022">
                        <c:v>1.3340000000000001</c:v>
                      </c:pt>
                      <c:pt idx="2023">
                        <c:v>1.3340000000000001</c:v>
                      </c:pt>
                      <c:pt idx="2024">
                        <c:v>1.3340000000000001</c:v>
                      </c:pt>
                      <c:pt idx="2025">
                        <c:v>1.3340000000000001</c:v>
                      </c:pt>
                      <c:pt idx="2026">
                        <c:v>1.3340000000000001</c:v>
                      </c:pt>
                      <c:pt idx="2027">
                        <c:v>1.3340000000000001</c:v>
                      </c:pt>
                      <c:pt idx="2028">
                        <c:v>1.3340000000000001</c:v>
                      </c:pt>
                      <c:pt idx="2029">
                        <c:v>1.3340000000000001</c:v>
                      </c:pt>
                      <c:pt idx="2030">
                        <c:v>1.3340000000000001</c:v>
                      </c:pt>
                      <c:pt idx="2031">
                        <c:v>1.3340000000000001</c:v>
                      </c:pt>
                      <c:pt idx="2032">
                        <c:v>1.3340000000000001</c:v>
                      </c:pt>
                      <c:pt idx="2033">
                        <c:v>1.3340000000000001</c:v>
                      </c:pt>
                      <c:pt idx="2034">
                        <c:v>1.3340000000000001</c:v>
                      </c:pt>
                      <c:pt idx="2035">
                        <c:v>1.3340000000000001</c:v>
                      </c:pt>
                      <c:pt idx="2036">
                        <c:v>1.3340000000000001</c:v>
                      </c:pt>
                      <c:pt idx="2037">
                        <c:v>1.3340000000000001</c:v>
                      </c:pt>
                      <c:pt idx="2038">
                        <c:v>1.3340000000000001</c:v>
                      </c:pt>
                      <c:pt idx="2039">
                        <c:v>1.3340000000000001</c:v>
                      </c:pt>
                      <c:pt idx="2040">
                        <c:v>1.24</c:v>
                      </c:pt>
                      <c:pt idx="2041">
                        <c:v>1.24</c:v>
                      </c:pt>
                      <c:pt idx="2042">
                        <c:v>1.24</c:v>
                      </c:pt>
                      <c:pt idx="2043">
                        <c:v>1.24</c:v>
                      </c:pt>
                      <c:pt idx="2044">
                        <c:v>1.24</c:v>
                      </c:pt>
                      <c:pt idx="2045">
                        <c:v>1.24</c:v>
                      </c:pt>
                      <c:pt idx="2046">
                        <c:v>1.24</c:v>
                      </c:pt>
                      <c:pt idx="2047">
                        <c:v>1.24</c:v>
                      </c:pt>
                      <c:pt idx="2048">
                        <c:v>1.24</c:v>
                      </c:pt>
                      <c:pt idx="2049">
                        <c:v>1.24</c:v>
                      </c:pt>
                      <c:pt idx="2050">
                        <c:v>1.24</c:v>
                      </c:pt>
                      <c:pt idx="2051">
                        <c:v>1.24</c:v>
                      </c:pt>
                      <c:pt idx="2052">
                        <c:v>1.24</c:v>
                      </c:pt>
                      <c:pt idx="2053">
                        <c:v>1.24</c:v>
                      </c:pt>
                      <c:pt idx="2054">
                        <c:v>1.24</c:v>
                      </c:pt>
                      <c:pt idx="2055">
                        <c:v>1.24</c:v>
                      </c:pt>
                      <c:pt idx="2056">
                        <c:v>1.24</c:v>
                      </c:pt>
                      <c:pt idx="2057">
                        <c:v>1.24</c:v>
                      </c:pt>
                      <c:pt idx="2058">
                        <c:v>1.24</c:v>
                      </c:pt>
                      <c:pt idx="2059">
                        <c:v>1.24</c:v>
                      </c:pt>
                      <c:pt idx="2060">
                        <c:v>1.24</c:v>
                      </c:pt>
                      <c:pt idx="2061">
                        <c:v>1.24</c:v>
                      </c:pt>
                      <c:pt idx="2062">
                        <c:v>1.24</c:v>
                      </c:pt>
                      <c:pt idx="2063">
                        <c:v>1.24</c:v>
                      </c:pt>
                      <c:pt idx="2064">
                        <c:v>1.24</c:v>
                      </c:pt>
                      <c:pt idx="2065">
                        <c:v>1.329</c:v>
                      </c:pt>
                      <c:pt idx="2066">
                        <c:v>1.329</c:v>
                      </c:pt>
                      <c:pt idx="2067">
                        <c:v>1.329</c:v>
                      </c:pt>
                      <c:pt idx="2068">
                        <c:v>1.329</c:v>
                      </c:pt>
                      <c:pt idx="2069">
                        <c:v>1.329</c:v>
                      </c:pt>
                      <c:pt idx="2070">
                        <c:v>1.329</c:v>
                      </c:pt>
                      <c:pt idx="2071">
                        <c:v>1.329</c:v>
                      </c:pt>
                      <c:pt idx="2072">
                        <c:v>1.329</c:v>
                      </c:pt>
                      <c:pt idx="2073">
                        <c:v>1.329</c:v>
                      </c:pt>
                      <c:pt idx="2074">
                        <c:v>1.329</c:v>
                      </c:pt>
                      <c:pt idx="2075">
                        <c:v>1.329</c:v>
                      </c:pt>
                      <c:pt idx="2076">
                        <c:v>1.329</c:v>
                      </c:pt>
                      <c:pt idx="2077">
                        <c:v>1.329</c:v>
                      </c:pt>
                      <c:pt idx="2078">
                        <c:v>1.329</c:v>
                      </c:pt>
                      <c:pt idx="2079">
                        <c:v>1.329</c:v>
                      </c:pt>
                      <c:pt idx="2080">
                        <c:v>1.329</c:v>
                      </c:pt>
                      <c:pt idx="2081">
                        <c:v>1.329</c:v>
                      </c:pt>
                      <c:pt idx="2082">
                        <c:v>1.329</c:v>
                      </c:pt>
                      <c:pt idx="2083">
                        <c:v>1.329</c:v>
                      </c:pt>
                      <c:pt idx="2084">
                        <c:v>1.329</c:v>
                      </c:pt>
                      <c:pt idx="2085">
                        <c:v>1.371</c:v>
                      </c:pt>
                      <c:pt idx="2086">
                        <c:v>1.371</c:v>
                      </c:pt>
                      <c:pt idx="2087">
                        <c:v>1.371</c:v>
                      </c:pt>
                      <c:pt idx="2088">
                        <c:v>1.371</c:v>
                      </c:pt>
                      <c:pt idx="2089">
                        <c:v>1.371</c:v>
                      </c:pt>
                      <c:pt idx="2090">
                        <c:v>1.371</c:v>
                      </c:pt>
                      <c:pt idx="2091">
                        <c:v>1.371</c:v>
                      </c:pt>
                      <c:pt idx="2092">
                        <c:v>1.371</c:v>
                      </c:pt>
                      <c:pt idx="2093">
                        <c:v>1.371</c:v>
                      </c:pt>
                      <c:pt idx="2094">
                        <c:v>1.371</c:v>
                      </c:pt>
                      <c:pt idx="2095">
                        <c:v>1.371</c:v>
                      </c:pt>
                      <c:pt idx="2096">
                        <c:v>1.371</c:v>
                      </c:pt>
                      <c:pt idx="2097">
                        <c:v>1.371</c:v>
                      </c:pt>
                      <c:pt idx="2098">
                        <c:v>1.371</c:v>
                      </c:pt>
                      <c:pt idx="2099">
                        <c:v>1.371</c:v>
                      </c:pt>
                      <c:pt idx="2100">
                        <c:v>1.371</c:v>
                      </c:pt>
                      <c:pt idx="2101">
                        <c:v>1.371</c:v>
                      </c:pt>
                      <c:pt idx="2102">
                        <c:v>1.371</c:v>
                      </c:pt>
                      <c:pt idx="2103">
                        <c:v>1.371</c:v>
                      </c:pt>
                      <c:pt idx="2104">
                        <c:v>1.371</c:v>
                      </c:pt>
                      <c:pt idx="2105">
                        <c:v>1.371</c:v>
                      </c:pt>
                      <c:pt idx="2106">
                        <c:v>1.371</c:v>
                      </c:pt>
                      <c:pt idx="2107">
                        <c:v>1.371</c:v>
                      </c:pt>
                      <c:pt idx="2108">
                        <c:v>1.371</c:v>
                      </c:pt>
                      <c:pt idx="2109">
                        <c:v>1.371</c:v>
                      </c:pt>
                      <c:pt idx="2110">
                        <c:v>1.4319999999999999</c:v>
                      </c:pt>
                      <c:pt idx="2111">
                        <c:v>1.4319999999999999</c:v>
                      </c:pt>
                      <c:pt idx="2112">
                        <c:v>1.4319999999999999</c:v>
                      </c:pt>
                      <c:pt idx="2113">
                        <c:v>1.4319999999999999</c:v>
                      </c:pt>
                      <c:pt idx="2114">
                        <c:v>1.4319999999999999</c:v>
                      </c:pt>
                      <c:pt idx="2115">
                        <c:v>1.4319999999999999</c:v>
                      </c:pt>
                      <c:pt idx="2116">
                        <c:v>1.4319999999999999</c:v>
                      </c:pt>
                      <c:pt idx="2117">
                        <c:v>1.4319999999999999</c:v>
                      </c:pt>
                      <c:pt idx="2118">
                        <c:v>1.4319999999999999</c:v>
                      </c:pt>
                      <c:pt idx="2119">
                        <c:v>1.4319999999999999</c:v>
                      </c:pt>
                      <c:pt idx="2120">
                        <c:v>1.4319999999999999</c:v>
                      </c:pt>
                      <c:pt idx="2121">
                        <c:v>1.4319999999999999</c:v>
                      </c:pt>
                      <c:pt idx="2122">
                        <c:v>1.4319999999999999</c:v>
                      </c:pt>
                      <c:pt idx="2123">
                        <c:v>1.4319999999999999</c:v>
                      </c:pt>
                      <c:pt idx="2124">
                        <c:v>1.4319999999999999</c:v>
                      </c:pt>
                      <c:pt idx="2125">
                        <c:v>1.4319999999999999</c:v>
                      </c:pt>
                      <c:pt idx="2126">
                        <c:v>1.4319999999999999</c:v>
                      </c:pt>
                      <c:pt idx="2127">
                        <c:v>1.4319999999999999</c:v>
                      </c:pt>
                      <c:pt idx="2128">
                        <c:v>1.4319999999999999</c:v>
                      </c:pt>
                      <c:pt idx="2129">
                        <c:v>1.4319999999999999</c:v>
                      </c:pt>
                      <c:pt idx="2130">
                        <c:v>1.468</c:v>
                      </c:pt>
                      <c:pt idx="2131">
                        <c:v>1.468</c:v>
                      </c:pt>
                      <c:pt idx="2132">
                        <c:v>1.468</c:v>
                      </c:pt>
                      <c:pt idx="2133">
                        <c:v>1.468</c:v>
                      </c:pt>
                      <c:pt idx="2134">
                        <c:v>1.468</c:v>
                      </c:pt>
                      <c:pt idx="2135">
                        <c:v>1.468</c:v>
                      </c:pt>
                      <c:pt idx="2136">
                        <c:v>1.468</c:v>
                      </c:pt>
                      <c:pt idx="2137">
                        <c:v>1.468</c:v>
                      </c:pt>
                      <c:pt idx="2138">
                        <c:v>1.468</c:v>
                      </c:pt>
                      <c:pt idx="2139">
                        <c:v>1.468</c:v>
                      </c:pt>
                      <c:pt idx="2140">
                        <c:v>1.468</c:v>
                      </c:pt>
                      <c:pt idx="2141">
                        <c:v>1.468</c:v>
                      </c:pt>
                      <c:pt idx="2142">
                        <c:v>1.468</c:v>
                      </c:pt>
                      <c:pt idx="2143">
                        <c:v>1.468</c:v>
                      </c:pt>
                      <c:pt idx="2144">
                        <c:v>1.468</c:v>
                      </c:pt>
                      <c:pt idx="2145">
                        <c:v>1.468</c:v>
                      </c:pt>
                      <c:pt idx="2146">
                        <c:v>1.468</c:v>
                      </c:pt>
                      <c:pt idx="2147">
                        <c:v>1.468</c:v>
                      </c:pt>
                      <c:pt idx="2148">
                        <c:v>1.468</c:v>
                      </c:pt>
                      <c:pt idx="2149">
                        <c:v>1.468</c:v>
                      </c:pt>
                      <c:pt idx="2150">
                        <c:v>1.4750000000000001</c:v>
                      </c:pt>
                      <c:pt idx="2151">
                        <c:v>1.4750000000000001</c:v>
                      </c:pt>
                      <c:pt idx="2152">
                        <c:v>1.4750000000000001</c:v>
                      </c:pt>
                      <c:pt idx="2153">
                        <c:v>1.4750000000000001</c:v>
                      </c:pt>
                      <c:pt idx="2154">
                        <c:v>1.4750000000000001</c:v>
                      </c:pt>
                      <c:pt idx="2155">
                        <c:v>1.4750000000000001</c:v>
                      </c:pt>
                      <c:pt idx="2156">
                        <c:v>1.4750000000000001</c:v>
                      </c:pt>
                      <c:pt idx="2157">
                        <c:v>1.4750000000000001</c:v>
                      </c:pt>
                      <c:pt idx="2158">
                        <c:v>1.4750000000000001</c:v>
                      </c:pt>
                      <c:pt idx="2159">
                        <c:v>1.4750000000000001</c:v>
                      </c:pt>
                      <c:pt idx="2160">
                        <c:v>1.4750000000000001</c:v>
                      </c:pt>
                      <c:pt idx="2161">
                        <c:v>1.4750000000000001</c:v>
                      </c:pt>
                      <c:pt idx="2162">
                        <c:v>1.4750000000000001</c:v>
                      </c:pt>
                      <c:pt idx="2163">
                        <c:v>1.4750000000000001</c:v>
                      </c:pt>
                      <c:pt idx="2164">
                        <c:v>1.4750000000000001</c:v>
                      </c:pt>
                      <c:pt idx="2165">
                        <c:v>1.4750000000000001</c:v>
                      </c:pt>
                      <c:pt idx="2166">
                        <c:v>1.4750000000000001</c:v>
                      </c:pt>
                      <c:pt idx="2167">
                        <c:v>1.4750000000000001</c:v>
                      </c:pt>
                      <c:pt idx="2168">
                        <c:v>1.4750000000000001</c:v>
                      </c:pt>
                      <c:pt idx="2169">
                        <c:v>1.4750000000000001</c:v>
                      </c:pt>
                      <c:pt idx="2170">
                        <c:v>1.6279999999999999</c:v>
                      </c:pt>
                      <c:pt idx="2171">
                        <c:v>1.6279999999999999</c:v>
                      </c:pt>
                      <c:pt idx="2172">
                        <c:v>1.6279999999999999</c:v>
                      </c:pt>
                      <c:pt idx="2173">
                        <c:v>1.6279999999999999</c:v>
                      </c:pt>
                      <c:pt idx="2174">
                        <c:v>1.6279999999999999</c:v>
                      </c:pt>
                      <c:pt idx="2175">
                        <c:v>1.6279999999999999</c:v>
                      </c:pt>
                      <c:pt idx="2176">
                        <c:v>1.6279999999999999</c:v>
                      </c:pt>
                      <c:pt idx="2177">
                        <c:v>1.6279999999999999</c:v>
                      </c:pt>
                      <c:pt idx="2178">
                        <c:v>1.6279999999999999</c:v>
                      </c:pt>
                      <c:pt idx="2179">
                        <c:v>1.6279999999999999</c:v>
                      </c:pt>
                      <c:pt idx="2180">
                        <c:v>1.6279999999999999</c:v>
                      </c:pt>
                      <c:pt idx="2181">
                        <c:v>1.6279999999999999</c:v>
                      </c:pt>
                      <c:pt idx="2182">
                        <c:v>1.6279999999999999</c:v>
                      </c:pt>
                      <c:pt idx="2183">
                        <c:v>1.6279999999999999</c:v>
                      </c:pt>
                      <c:pt idx="2184">
                        <c:v>1.6279999999999999</c:v>
                      </c:pt>
                      <c:pt idx="2185">
                        <c:v>1.6279999999999999</c:v>
                      </c:pt>
                      <c:pt idx="2186">
                        <c:v>1.6279999999999999</c:v>
                      </c:pt>
                      <c:pt idx="2187">
                        <c:v>1.6279999999999999</c:v>
                      </c:pt>
                      <c:pt idx="2188">
                        <c:v>1.6279999999999999</c:v>
                      </c:pt>
                      <c:pt idx="2189">
                        <c:v>1.6279999999999999</c:v>
                      </c:pt>
                      <c:pt idx="2190">
                        <c:v>1.6279999999999999</c:v>
                      </c:pt>
                      <c:pt idx="2191">
                        <c:v>1.6279999999999999</c:v>
                      </c:pt>
                      <c:pt idx="2192">
                        <c:v>1.6279999999999999</c:v>
                      </c:pt>
                      <c:pt idx="2193">
                        <c:v>1.6279999999999999</c:v>
                      </c:pt>
                      <c:pt idx="2194">
                        <c:v>1.6279999999999999</c:v>
                      </c:pt>
                      <c:pt idx="2195">
                        <c:v>1.6539999999999999</c:v>
                      </c:pt>
                      <c:pt idx="2196">
                        <c:v>1.6539999999999999</c:v>
                      </c:pt>
                      <c:pt idx="2197">
                        <c:v>1.6539999999999999</c:v>
                      </c:pt>
                      <c:pt idx="2198">
                        <c:v>1.6539999999999999</c:v>
                      </c:pt>
                      <c:pt idx="2199">
                        <c:v>1.6539999999999999</c:v>
                      </c:pt>
                      <c:pt idx="2200">
                        <c:v>1.6539999999999999</c:v>
                      </c:pt>
                      <c:pt idx="2201">
                        <c:v>1.6539999999999999</c:v>
                      </c:pt>
                      <c:pt idx="2202">
                        <c:v>1.6539999999999999</c:v>
                      </c:pt>
                      <c:pt idx="2203">
                        <c:v>1.6539999999999999</c:v>
                      </c:pt>
                      <c:pt idx="2204">
                        <c:v>1.6539999999999999</c:v>
                      </c:pt>
                      <c:pt idx="2205">
                        <c:v>1.6539999999999999</c:v>
                      </c:pt>
                      <c:pt idx="2206">
                        <c:v>1.6539999999999999</c:v>
                      </c:pt>
                      <c:pt idx="2207">
                        <c:v>1.6539999999999999</c:v>
                      </c:pt>
                      <c:pt idx="2208">
                        <c:v>1.6539999999999999</c:v>
                      </c:pt>
                      <c:pt idx="2209">
                        <c:v>1.6539999999999999</c:v>
                      </c:pt>
                      <c:pt idx="2210">
                        <c:v>1.6539999999999999</c:v>
                      </c:pt>
                      <c:pt idx="2211">
                        <c:v>1.6539999999999999</c:v>
                      </c:pt>
                      <c:pt idx="2212">
                        <c:v>1.6539999999999999</c:v>
                      </c:pt>
                      <c:pt idx="2213">
                        <c:v>1.6539999999999999</c:v>
                      </c:pt>
                      <c:pt idx="2214">
                        <c:v>1.6539999999999999</c:v>
                      </c:pt>
                      <c:pt idx="2215">
                        <c:v>1.722</c:v>
                      </c:pt>
                      <c:pt idx="2216">
                        <c:v>1.722</c:v>
                      </c:pt>
                      <c:pt idx="2217">
                        <c:v>1.722</c:v>
                      </c:pt>
                      <c:pt idx="2218">
                        <c:v>1.722</c:v>
                      </c:pt>
                      <c:pt idx="2219">
                        <c:v>1.722</c:v>
                      </c:pt>
                      <c:pt idx="2220">
                        <c:v>1.722</c:v>
                      </c:pt>
                      <c:pt idx="2221">
                        <c:v>1.722</c:v>
                      </c:pt>
                      <c:pt idx="2222">
                        <c:v>1.722</c:v>
                      </c:pt>
                      <c:pt idx="2223">
                        <c:v>1.722</c:v>
                      </c:pt>
                      <c:pt idx="2224">
                        <c:v>1.722</c:v>
                      </c:pt>
                      <c:pt idx="2225">
                        <c:v>1.722</c:v>
                      </c:pt>
                      <c:pt idx="2226">
                        <c:v>1.722</c:v>
                      </c:pt>
                      <c:pt idx="2227">
                        <c:v>1.722</c:v>
                      </c:pt>
                      <c:pt idx="2228">
                        <c:v>1.722</c:v>
                      </c:pt>
                      <c:pt idx="2229">
                        <c:v>1.722</c:v>
                      </c:pt>
                      <c:pt idx="2230">
                        <c:v>1.722</c:v>
                      </c:pt>
                      <c:pt idx="2231">
                        <c:v>1.722</c:v>
                      </c:pt>
                      <c:pt idx="2232">
                        <c:v>1.722</c:v>
                      </c:pt>
                      <c:pt idx="2233">
                        <c:v>1.722</c:v>
                      </c:pt>
                      <c:pt idx="2234">
                        <c:v>1.722</c:v>
                      </c:pt>
                      <c:pt idx="2235">
                        <c:v>1.758</c:v>
                      </c:pt>
                      <c:pt idx="2236">
                        <c:v>1.758</c:v>
                      </c:pt>
                      <c:pt idx="2237">
                        <c:v>1.758</c:v>
                      </c:pt>
                      <c:pt idx="2238">
                        <c:v>1.758</c:v>
                      </c:pt>
                      <c:pt idx="2239">
                        <c:v>1.758</c:v>
                      </c:pt>
                      <c:pt idx="2240">
                        <c:v>1.758</c:v>
                      </c:pt>
                      <c:pt idx="2241">
                        <c:v>1.758</c:v>
                      </c:pt>
                      <c:pt idx="2242">
                        <c:v>1.758</c:v>
                      </c:pt>
                      <c:pt idx="2243">
                        <c:v>1.758</c:v>
                      </c:pt>
                      <c:pt idx="2244">
                        <c:v>1.758</c:v>
                      </c:pt>
                      <c:pt idx="2245">
                        <c:v>1.758</c:v>
                      </c:pt>
                      <c:pt idx="2246">
                        <c:v>1.758</c:v>
                      </c:pt>
                      <c:pt idx="2247">
                        <c:v>1.758</c:v>
                      </c:pt>
                      <c:pt idx="2248">
                        <c:v>1.758</c:v>
                      </c:pt>
                      <c:pt idx="2249">
                        <c:v>1.758</c:v>
                      </c:pt>
                      <c:pt idx="2250">
                        <c:v>1.758</c:v>
                      </c:pt>
                      <c:pt idx="2251">
                        <c:v>1.758</c:v>
                      </c:pt>
                      <c:pt idx="2252">
                        <c:v>1.758</c:v>
                      </c:pt>
                      <c:pt idx="2253">
                        <c:v>1.758</c:v>
                      </c:pt>
                      <c:pt idx="2254">
                        <c:v>1.758</c:v>
                      </c:pt>
                      <c:pt idx="2255">
                        <c:v>1.758</c:v>
                      </c:pt>
                      <c:pt idx="2256">
                        <c:v>1.758</c:v>
                      </c:pt>
                      <c:pt idx="2257">
                        <c:v>1.758</c:v>
                      </c:pt>
                      <c:pt idx="2258">
                        <c:v>1.758</c:v>
                      </c:pt>
                      <c:pt idx="2259">
                        <c:v>1.758</c:v>
                      </c:pt>
                      <c:pt idx="2260">
                        <c:v>1.83</c:v>
                      </c:pt>
                      <c:pt idx="2261">
                        <c:v>1.83</c:v>
                      </c:pt>
                      <c:pt idx="2262">
                        <c:v>1.83</c:v>
                      </c:pt>
                      <c:pt idx="2263">
                        <c:v>1.83</c:v>
                      </c:pt>
                      <c:pt idx="2264">
                        <c:v>1.83</c:v>
                      </c:pt>
                      <c:pt idx="2265">
                        <c:v>1.83</c:v>
                      </c:pt>
                      <c:pt idx="2266">
                        <c:v>1.83</c:v>
                      </c:pt>
                      <c:pt idx="2267">
                        <c:v>1.83</c:v>
                      </c:pt>
                      <c:pt idx="2268">
                        <c:v>1.83</c:v>
                      </c:pt>
                      <c:pt idx="2269">
                        <c:v>1.83</c:v>
                      </c:pt>
                      <c:pt idx="2270">
                        <c:v>1.83</c:v>
                      </c:pt>
                      <c:pt idx="2271">
                        <c:v>1.83</c:v>
                      </c:pt>
                      <c:pt idx="2272">
                        <c:v>1.83</c:v>
                      </c:pt>
                      <c:pt idx="2273">
                        <c:v>1.83</c:v>
                      </c:pt>
                      <c:pt idx="2274">
                        <c:v>1.83</c:v>
                      </c:pt>
                      <c:pt idx="2275">
                        <c:v>1.83</c:v>
                      </c:pt>
                      <c:pt idx="2276">
                        <c:v>1.83</c:v>
                      </c:pt>
                      <c:pt idx="2277">
                        <c:v>1.83</c:v>
                      </c:pt>
                      <c:pt idx="2278">
                        <c:v>1.83</c:v>
                      </c:pt>
                      <c:pt idx="2279">
                        <c:v>1.83</c:v>
                      </c:pt>
                      <c:pt idx="2280">
                        <c:v>1.8620000000000001</c:v>
                      </c:pt>
                      <c:pt idx="2281">
                        <c:v>1.8620000000000001</c:v>
                      </c:pt>
                      <c:pt idx="2282">
                        <c:v>1.8620000000000001</c:v>
                      </c:pt>
                      <c:pt idx="2283">
                        <c:v>1.8620000000000001</c:v>
                      </c:pt>
                      <c:pt idx="2284">
                        <c:v>1.8620000000000001</c:v>
                      </c:pt>
                      <c:pt idx="2285">
                        <c:v>1.8620000000000001</c:v>
                      </c:pt>
                      <c:pt idx="2286">
                        <c:v>1.8620000000000001</c:v>
                      </c:pt>
                      <c:pt idx="2287">
                        <c:v>1.8620000000000001</c:v>
                      </c:pt>
                      <c:pt idx="2288">
                        <c:v>1.8620000000000001</c:v>
                      </c:pt>
                      <c:pt idx="2289">
                        <c:v>1.8620000000000001</c:v>
                      </c:pt>
                      <c:pt idx="2290">
                        <c:v>1.8620000000000001</c:v>
                      </c:pt>
                      <c:pt idx="2291">
                        <c:v>1.8620000000000001</c:v>
                      </c:pt>
                      <c:pt idx="2292">
                        <c:v>1.8620000000000001</c:v>
                      </c:pt>
                      <c:pt idx="2293">
                        <c:v>1.8620000000000001</c:v>
                      </c:pt>
                      <c:pt idx="2294">
                        <c:v>1.8620000000000001</c:v>
                      </c:pt>
                      <c:pt idx="2295">
                        <c:v>1.8620000000000001</c:v>
                      </c:pt>
                      <c:pt idx="2296">
                        <c:v>1.8620000000000001</c:v>
                      </c:pt>
                      <c:pt idx="2297">
                        <c:v>1.8620000000000001</c:v>
                      </c:pt>
                      <c:pt idx="2298">
                        <c:v>1.8620000000000001</c:v>
                      </c:pt>
                      <c:pt idx="2299">
                        <c:v>1.8620000000000001</c:v>
                      </c:pt>
                      <c:pt idx="2300">
                        <c:v>1.8620000000000001</c:v>
                      </c:pt>
                      <c:pt idx="2301">
                        <c:v>1.8620000000000001</c:v>
                      </c:pt>
                      <c:pt idx="2302">
                        <c:v>1.8620000000000001</c:v>
                      </c:pt>
                      <c:pt idx="2303">
                        <c:v>1.8620000000000001</c:v>
                      </c:pt>
                      <c:pt idx="2304">
                        <c:v>1.8620000000000001</c:v>
                      </c:pt>
                      <c:pt idx="2305">
                        <c:v>1.9039999999999999</c:v>
                      </c:pt>
                      <c:pt idx="2306">
                        <c:v>1.9039999999999999</c:v>
                      </c:pt>
                      <c:pt idx="2307">
                        <c:v>1.9039999999999999</c:v>
                      </c:pt>
                      <c:pt idx="2308">
                        <c:v>1.9039999999999999</c:v>
                      </c:pt>
                      <c:pt idx="2309">
                        <c:v>1.9039999999999999</c:v>
                      </c:pt>
                      <c:pt idx="2310">
                        <c:v>1.9039999999999999</c:v>
                      </c:pt>
                      <c:pt idx="2311">
                        <c:v>1.9039999999999999</c:v>
                      </c:pt>
                      <c:pt idx="2312">
                        <c:v>1.9039999999999999</c:v>
                      </c:pt>
                      <c:pt idx="2313">
                        <c:v>1.9039999999999999</c:v>
                      </c:pt>
                      <c:pt idx="2314">
                        <c:v>1.9039999999999999</c:v>
                      </c:pt>
                      <c:pt idx="2315">
                        <c:v>1.9039999999999999</c:v>
                      </c:pt>
                      <c:pt idx="2316">
                        <c:v>1.9039999999999999</c:v>
                      </c:pt>
                      <c:pt idx="2317">
                        <c:v>1.9039999999999999</c:v>
                      </c:pt>
                      <c:pt idx="2318">
                        <c:v>1.9039999999999999</c:v>
                      </c:pt>
                      <c:pt idx="2319">
                        <c:v>1.9039999999999999</c:v>
                      </c:pt>
                      <c:pt idx="2320">
                        <c:v>1.9039999999999999</c:v>
                      </c:pt>
                      <c:pt idx="2321">
                        <c:v>1.9039999999999999</c:v>
                      </c:pt>
                      <c:pt idx="2322">
                        <c:v>1.9039999999999999</c:v>
                      </c:pt>
                      <c:pt idx="2323">
                        <c:v>1.9039999999999999</c:v>
                      </c:pt>
                      <c:pt idx="2324">
                        <c:v>1.9039999999999999</c:v>
                      </c:pt>
                      <c:pt idx="2325">
                        <c:v>1.978</c:v>
                      </c:pt>
                      <c:pt idx="2326">
                        <c:v>1.978</c:v>
                      </c:pt>
                      <c:pt idx="2327">
                        <c:v>1.978</c:v>
                      </c:pt>
                      <c:pt idx="2328">
                        <c:v>1.978</c:v>
                      </c:pt>
                      <c:pt idx="2329">
                        <c:v>1.978</c:v>
                      </c:pt>
                      <c:pt idx="2330">
                        <c:v>1.978</c:v>
                      </c:pt>
                      <c:pt idx="2331">
                        <c:v>1.978</c:v>
                      </c:pt>
                      <c:pt idx="2332">
                        <c:v>1.978</c:v>
                      </c:pt>
                      <c:pt idx="2333">
                        <c:v>1.978</c:v>
                      </c:pt>
                      <c:pt idx="2334">
                        <c:v>1.978</c:v>
                      </c:pt>
                      <c:pt idx="2335">
                        <c:v>1.978</c:v>
                      </c:pt>
                      <c:pt idx="2336">
                        <c:v>1.978</c:v>
                      </c:pt>
                      <c:pt idx="2337">
                        <c:v>1.978</c:v>
                      </c:pt>
                      <c:pt idx="2338">
                        <c:v>1.978</c:v>
                      </c:pt>
                      <c:pt idx="2339">
                        <c:v>1.978</c:v>
                      </c:pt>
                      <c:pt idx="2340">
                        <c:v>1.978</c:v>
                      </c:pt>
                      <c:pt idx="2341">
                        <c:v>1.978</c:v>
                      </c:pt>
                      <c:pt idx="2342">
                        <c:v>1.978</c:v>
                      </c:pt>
                      <c:pt idx="2343">
                        <c:v>1.978</c:v>
                      </c:pt>
                      <c:pt idx="2344">
                        <c:v>1.978</c:v>
                      </c:pt>
                      <c:pt idx="2345">
                        <c:v>2.032</c:v>
                      </c:pt>
                      <c:pt idx="2346">
                        <c:v>2.032</c:v>
                      </c:pt>
                      <c:pt idx="2347">
                        <c:v>2.032</c:v>
                      </c:pt>
                      <c:pt idx="2348">
                        <c:v>2.032</c:v>
                      </c:pt>
                      <c:pt idx="2349">
                        <c:v>2.032</c:v>
                      </c:pt>
                      <c:pt idx="2350">
                        <c:v>2.032</c:v>
                      </c:pt>
                      <c:pt idx="2351">
                        <c:v>2.032</c:v>
                      </c:pt>
                      <c:pt idx="2352">
                        <c:v>2.032</c:v>
                      </c:pt>
                      <c:pt idx="2353">
                        <c:v>2.032</c:v>
                      </c:pt>
                      <c:pt idx="2354">
                        <c:v>2.032</c:v>
                      </c:pt>
                      <c:pt idx="2355">
                        <c:v>2.032</c:v>
                      </c:pt>
                      <c:pt idx="2356">
                        <c:v>2.032</c:v>
                      </c:pt>
                      <c:pt idx="2357">
                        <c:v>2.032</c:v>
                      </c:pt>
                      <c:pt idx="2358">
                        <c:v>2.032</c:v>
                      </c:pt>
                      <c:pt idx="2359">
                        <c:v>2.032</c:v>
                      </c:pt>
                      <c:pt idx="2360">
                        <c:v>2.032</c:v>
                      </c:pt>
                      <c:pt idx="2361">
                        <c:v>2.032</c:v>
                      </c:pt>
                      <c:pt idx="2362">
                        <c:v>2.032</c:v>
                      </c:pt>
                      <c:pt idx="2363">
                        <c:v>2.032</c:v>
                      </c:pt>
                      <c:pt idx="2364">
                        <c:v>2.032</c:v>
                      </c:pt>
                      <c:pt idx="2365">
                        <c:v>2.032</c:v>
                      </c:pt>
                      <c:pt idx="2366">
                        <c:v>2.032</c:v>
                      </c:pt>
                      <c:pt idx="2367">
                        <c:v>2.032</c:v>
                      </c:pt>
                      <c:pt idx="2368">
                        <c:v>2.032</c:v>
                      </c:pt>
                      <c:pt idx="2369">
                        <c:v>2.032</c:v>
                      </c:pt>
                      <c:pt idx="2370">
                        <c:v>2.1629999999999998</c:v>
                      </c:pt>
                      <c:pt idx="2371">
                        <c:v>2.1629999999999998</c:v>
                      </c:pt>
                      <c:pt idx="2372">
                        <c:v>2.1629999999999998</c:v>
                      </c:pt>
                      <c:pt idx="2373">
                        <c:v>2.1629999999999998</c:v>
                      </c:pt>
                      <c:pt idx="2374">
                        <c:v>2.1629999999999998</c:v>
                      </c:pt>
                      <c:pt idx="2375">
                        <c:v>2.1629999999999998</c:v>
                      </c:pt>
                      <c:pt idx="2376">
                        <c:v>2.1629999999999998</c:v>
                      </c:pt>
                      <c:pt idx="2377">
                        <c:v>2.1629999999999998</c:v>
                      </c:pt>
                      <c:pt idx="2378">
                        <c:v>2.1629999999999998</c:v>
                      </c:pt>
                      <c:pt idx="2379">
                        <c:v>2.1629999999999998</c:v>
                      </c:pt>
                      <c:pt idx="2380">
                        <c:v>2.1629999999999998</c:v>
                      </c:pt>
                      <c:pt idx="2381">
                        <c:v>2.1629999999999998</c:v>
                      </c:pt>
                      <c:pt idx="2382">
                        <c:v>2.1629999999999998</c:v>
                      </c:pt>
                      <c:pt idx="2383">
                        <c:v>2.1629999999999998</c:v>
                      </c:pt>
                      <c:pt idx="2384">
                        <c:v>2.1629999999999998</c:v>
                      </c:pt>
                      <c:pt idx="2385">
                        <c:v>2.1629999999999998</c:v>
                      </c:pt>
                      <c:pt idx="2386">
                        <c:v>2.1629999999999998</c:v>
                      </c:pt>
                      <c:pt idx="2387">
                        <c:v>2.1629999999999998</c:v>
                      </c:pt>
                      <c:pt idx="2388">
                        <c:v>2.1629999999999998</c:v>
                      </c:pt>
                      <c:pt idx="2389">
                        <c:v>2.1629999999999998</c:v>
                      </c:pt>
                      <c:pt idx="2390">
                        <c:v>2.1869999999999998</c:v>
                      </c:pt>
                      <c:pt idx="2391">
                        <c:v>2.1869999999999998</c:v>
                      </c:pt>
                      <c:pt idx="2392">
                        <c:v>2.1869999999999998</c:v>
                      </c:pt>
                      <c:pt idx="2393">
                        <c:v>2.1869999999999998</c:v>
                      </c:pt>
                      <c:pt idx="2394">
                        <c:v>2.1869999999999998</c:v>
                      </c:pt>
                      <c:pt idx="2395">
                        <c:v>2.1869999999999998</c:v>
                      </c:pt>
                      <c:pt idx="2396">
                        <c:v>2.1869999999999998</c:v>
                      </c:pt>
                      <c:pt idx="2397">
                        <c:v>2.1869999999999998</c:v>
                      </c:pt>
                      <c:pt idx="2398">
                        <c:v>2.1869999999999998</c:v>
                      </c:pt>
                      <c:pt idx="2399">
                        <c:v>2.1869999999999998</c:v>
                      </c:pt>
                      <c:pt idx="2400">
                        <c:v>2.1869999999999998</c:v>
                      </c:pt>
                      <c:pt idx="2401">
                        <c:v>2.1869999999999998</c:v>
                      </c:pt>
                      <c:pt idx="2402">
                        <c:v>2.1869999999999998</c:v>
                      </c:pt>
                      <c:pt idx="2403">
                        <c:v>2.1869999999999998</c:v>
                      </c:pt>
                      <c:pt idx="2404">
                        <c:v>2.1869999999999998</c:v>
                      </c:pt>
                      <c:pt idx="2405">
                        <c:v>2.1869999999999998</c:v>
                      </c:pt>
                      <c:pt idx="2406">
                        <c:v>2.1869999999999998</c:v>
                      </c:pt>
                      <c:pt idx="2407">
                        <c:v>2.1869999999999998</c:v>
                      </c:pt>
                      <c:pt idx="2408">
                        <c:v>2.1869999999999998</c:v>
                      </c:pt>
                      <c:pt idx="2409">
                        <c:v>2.1869999999999998</c:v>
                      </c:pt>
                      <c:pt idx="2410">
                        <c:v>2.2839999999999998</c:v>
                      </c:pt>
                      <c:pt idx="2411">
                        <c:v>2.2839999999999998</c:v>
                      </c:pt>
                      <c:pt idx="2412">
                        <c:v>2.2839999999999998</c:v>
                      </c:pt>
                      <c:pt idx="2413">
                        <c:v>2.2839999999999998</c:v>
                      </c:pt>
                      <c:pt idx="2414">
                        <c:v>2.2839999999999998</c:v>
                      </c:pt>
                      <c:pt idx="2415">
                        <c:v>2.2839999999999998</c:v>
                      </c:pt>
                      <c:pt idx="2416">
                        <c:v>2.2839999999999998</c:v>
                      </c:pt>
                      <c:pt idx="2417">
                        <c:v>2.2839999999999998</c:v>
                      </c:pt>
                      <c:pt idx="2418">
                        <c:v>2.2839999999999998</c:v>
                      </c:pt>
                      <c:pt idx="2419">
                        <c:v>2.2839999999999998</c:v>
                      </c:pt>
                      <c:pt idx="2420">
                        <c:v>2.2839999999999998</c:v>
                      </c:pt>
                      <c:pt idx="2421">
                        <c:v>2.2839999999999998</c:v>
                      </c:pt>
                      <c:pt idx="2422">
                        <c:v>2.2839999999999998</c:v>
                      </c:pt>
                      <c:pt idx="2423">
                        <c:v>2.2839999999999998</c:v>
                      </c:pt>
                      <c:pt idx="2424">
                        <c:v>2.2839999999999998</c:v>
                      </c:pt>
                      <c:pt idx="2425">
                        <c:v>2.2839999999999998</c:v>
                      </c:pt>
                      <c:pt idx="2426">
                        <c:v>2.2839999999999998</c:v>
                      </c:pt>
                      <c:pt idx="2427">
                        <c:v>2.2839999999999998</c:v>
                      </c:pt>
                      <c:pt idx="2428">
                        <c:v>2.2839999999999998</c:v>
                      </c:pt>
                      <c:pt idx="2429">
                        <c:v>2.2839999999999998</c:v>
                      </c:pt>
                      <c:pt idx="2430">
                        <c:v>2.2839999999999998</c:v>
                      </c:pt>
                      <c:pt idx="2431">
                        <c:v>2.2839999999999998</c:v>
                      </c:pt>
                      <c:pt idx="2432">
                        <c:v>2.2839999999999998</c:v>
                      </c:pt>
                      <c:pt idx="2433">
                        <c:v>2.2839999999999998</c:v>
                      </c:pt>
                      <c:pt idx="2434">
                        <c:v>2.2839999999999998</c:v>
                      </c:pt>
                      <c:pt idx="2435">
                        <c:v>2.3889999999999998</c:v>
                      </c:pt>
                      <c:pt idx="2436">
                        <c:v>2.3889999999999998</c:v>
                      </c:pt>
                      <c:pt idx="2437">
                        <c:v>2.3889999999999998</c:v>
                      </c:pt>
                      <c:pt idx="2438">
                        <c:v>2.3889999999999998</c:v>
                      </c:pt>
                      <c:pt idx="2439">
                        <c:v>2.3889999999999998</c:v>
                      </c:pt>
                      <c:pt idx="2440">
                        <c:v>2.3889999999999998</c:v>
                      </c:pt>
                      <c:pt idx="2441">
                        <c:v>2.3889999999999998</c:v>
                      </c:pt>
                      <c:pt idx="2442">
                        <c:v>2.3889999999999998</c:v>
                      </c:pt>
                      <c:pt idx="2443">
                        <c:v>2.3889999999999998</c:v>
                      </c:pt>
                      <c:pt idx="2444">
                        <c:v>2.3889999999999998</c:v>
                      </c:pt>
                      <c:pt idx="2445">
                        <c:v>2.3889999999999998</c:v>
                      </c:pt>
                      <c:pt idx="2446">
                        <c:v>2.3889999999999998</c:v>
                      </c:pt>
                      <c:pt idx="2447">
                        <c:v>2.3889999999999998</c:v>
                      </c:pt>
                      <c:pt idx="2448">
                        <c:v>2.3889999999999998</c:v>
                      </c:pt>
                      <c:pt idx="2449">
                        <c:v>2.3889999999999998</c:v>
                      </c:pt>
                      <c:pt idx="2450">
                        <c:v>2.3889999999999998</c:v>
                      </c:pt>
                      <c:pt idx="2451">
                        <c:v>2.3889999999999998</c:v>
                      </c:pt>
                      <c:pt idx="2452">
                        <c:v>2.3889999999999998</c:v>
                      </c:pt>
                      <c:pt idx="2453">
                        <c:v>2.3889999999999998</c:v>
                      </c:pt>
                      <c:pt idx="2454">
                        <c:v>2.3889999999999998</c:v>
                      </c:pt>
                      <c:pt idx="2455">
                        <c:v>2.48</c:v>
                      </c:pt>
                      <c:pt idx="2456">
                        <c:v>2.48</c:v>
                      </c:pt>
                      <c:pt idx="2457">
                        <c:v>2.48</c:v>
                      </c:pt>
                      <c:pt idx="2458">
                        <c:v>2.48</c:v>
                      </c:pt>
                      <c:pt idx="2459">
                        <c:v>2.48</c:v>
                      </c:pt>
                      <c:pt idx="2460">
                        <c:v>2.48</c:v>
                      </c:pt>
                      <c:pt idx="2461">
                        <c:v>2.48</c:v>
                      </c:pt>
                      <c:pt idx="2462">
                        <c:v>2.48</c:v>
                      </c:pt>
                      <c:pt idx="2463">
                        <c:v>2.48</c:v>
                      </c:pt>
                      <c:pt idx="2464">
                        <c:v>2.48</c:v>
                      </c:pt>
                      <c:pt idx="2465">
                        <c:v>2.48</c:v>
                      </c:pt>
                      <c:pt idx="2466">
                        <c:v>2.48</c:v>
                      </c:pt>
                      <c:pt idx="2467">
                        <c:v>2.48</c:v>
                      </c:pt>
                      <c:pt idx="2468">
                        <c:v>2.48</c:v>
                      </c:pt>
                      <c:pt idx="2469">
                        <c:v>2.48</c:v>
                      </c:pt>
                      <c:pt idx="2470">
                        <c:v>2.48</c:v>
                      </c:pt>
                      <c:pt idx="2471">
                        <c:v>2.48</c:v>
                      </c:pt>
                      <c:pt idx="2472">
                        <c:v>2.48</c:v>
                      </c:pt>
                      <c:pt idx="2473">
                        <c:v>2.48</c:v>
                      </c:pt>
                      <c:pt idx="2474">
                        <c:v>2.48</c:v>
                      </c:pt>
                      <c:pt idx="2475">
                        <c:v>2.59</c:v>
                      </c:pt>
                      <c:pt idx="2476">
                        <c:v>2.59</c:v>
                      </c:pt>
                      <c:pt idx="2477">
                        <c:v>2.59</c:v>
                      </c:pt>
                      <c:pt idx="2478">
                        <c:v>2.59</c:v>
                      </c:pt>
                      <c:pt idx="2479">
                        <c:v>2.59</c:v>
                      </c:pt>
                      <c:pt idx="2480">
                        <c:v>2.59</c:v>
                      </c:pt>
                      <c:pt idx="2481">
                        <c:v>2.59</c:v>
                      </c:pt>
                      <c:pt idx="2482">
                        <c:v>2.59</c:v>
                      </c:pt>
                      <c:pt idx="2483">
                        <c:v>2.59</c:v>
                      </c:pt>
                      <c:pt idx="2484">
                        <c:v>2.59</c:v>
                      </c:pt>
                      <c:pt idx="2485">
                        <c:v>2.59</c:v>
                      </c:pt>
                      <c:pt idx="2486">
                        <c:v>2.59</c:v>
                      </c:pt>
                      <c:pt idx="2487">
                        <c:v>2.59</c:v>
                      </c:pt>
                      <c:pt idx="2488">
                        <c:v>2.59</c:v>
                      </c:pt>
                      <c:pt idx="2489">
                        <c:v>2.59</c:v>
                      </c:pt>
                      <c:pt idx="2490">
                        <c:v>2.59</c:v>
                      </c:pt>
                      <c:pt idx="2491">
                        <c:v>2.59</c:v>
                      </c:pt>
                      <c:pt idx="2492">
                        <c:v>2.59</c:v>
                      </c:pt>
                      <c:pt idx="2493">
                        <c:v>2.59</c:v>
                      </c:pt>
                      <c:pt idx="2494">
                        <c:v>2.59</c:v>
                      </c:pt>
                      <c:pt idx="2495">
                        <c:v>2.59</c:v>
                      </c:pt>
                      <c:pt idx="2496">
                        <c:v>2.59</c:v>
                      </c:pt>
                      <c:pt idx="2497">
                        <c:v>2.59</c:v>
                      </c:pt>
                      <c:pt idx="2498">
                        <c:v>2.59</c:v>
                      </c:pt>
                      <c:pt idx="2499">
                        <c:v>2.59</c:v>
                      </c:pt>
                      <c:pt idx="2500">
                        <c:v>2.5529999999999999</c:v>
                      </c:pt>
                      <c:pt idx="2501">
                        <c:v>2.5529999999999999</c:v>
                      </c:pt>
                      <c:pt idx="2502">
                        <c:v>2.5529999999999999</c:v>
                      </c:pt>
                      <c:pt idx="2503">
                        <c:v>2.5529999999999999</c:v>
                      </c:pt>
                      <c:pt idx="2504">
                        <c:v>2.5529999999999999</c:v>
                      </c:pt>
                      <c:pt idx="2505">
                        <c:v>2.5529999999999999</c:v>
                      </c:pt>
                      <c:pt idx="2506">
                        <c:v>2.5529999999999999</c:v>
                      </c:pt>
                      <c:pt idx="2507">
                        <c:v>2.5529999999999999</c:v>
                      </c:pt>
                      <c:pt idx="2508">
                        <c:v>2.5529999999999999</c:v>
                      </c:pt>
                      <c:pt idx="2509">
                        <c:v>2.5529999999999999</c:v>
                      </c:pt>
                      <c:pt idx="2510">
                        <c:v>2.5529999999999999</c:v>
                      </c:pt>
                      <c:pt idx="2511">
                        <c:v>2.5529999999999999</c:v>
                      </c:pt>
                      <c:pt idx="2512">
                        <c:v>2.5529999999999999</c:v>
                      </c:pt>
                      <c:pt idx="2513">
                        <c:v>2.5529999999999999</c:v>
                      </c:pt>
                      <c:pt idx="2514">
                        <c:v>2.5529999999999999</c:v>
                      </c:pt>
                      <c:pt idx="2515">
                        <c:v>2.5529999999999999</c:v>
                      </c:pt>
                      <c:pt idx="2516">
                        <c:v>2.5529999999999999</c:v>
                      </c:pt>
                      <c:pt idx="2517">
                        <c:v>2.5529999999999999</c:v>
                      </c:pt>
                      <c:pt idx="2518">
                        <c:v>2.5529999999999999</c:v>
                      </c:pt>
                      <c:pt idx="2519">
                        <c:v>2.5529999999999999</c:v>
                      </c:pt>
                      <c:pt idx="2520">
                        <c:v>2.6869999999999998</c:v>
                      </c:pt>
                      <c:pt idx="2521">
                        <c:v>2.6869999999999998</c:v>
                      </c:pt>
                      <c:pt idx="2522">
                        <c:v>2.6869999999999998</c:v>
                      </c:pt>
                      <c:pt idx="2523">
                        <c:v>2.6869999999999998</c:v>
                      </c:pt>
                      <c:pt idx="2524">
                        <c:v>2.6869999999999998</c:v>
                      </c:pt>
                      <c:pt idx="2525">
                        <c:v>2.6869999999999998</c:v>
                      </c:pt>
                      <c:pt idx="2526">
                        <c:v>2.6869999999999998</c:v>
                      </c:pt>
                      <c:pt idx="2527">
                        <c:v>2.6869999999999998</c:v>
                      </c:pt>
                      <c:pt idx="2528">
                        <c:v>2.6869999999999998</c:v>
                      </c:pt>
                      <c:pt idx="2529">
                        <c:v>2.6869999999999998</c:v>
                      </c:pt>
                      <c:pt idx="2530">
                        <c:v>2.6869999999999998</c:v>
                      </c:pt>
                      <c:pt idx="2531">
                        <c:v>2.6869999999999998</c:v>
                      </c:pt>
                      <c:pt idx="2532">
                        <c:v>2.6869999999999998</c:v>
                      </c:pt>
                      <c:pt idx="2533">
                        <c:v>2.6869999999999998</c:v>
                      </c:pt>
                      <c:pt idx="2534">
                        <c:v>2.6869999999999998</c:v>
                      </c:pt>
                      <c:pt idx="2535">
                        <c:v>2.6869999999999998</c:v>
                      </c:pt>
                      <c:pt idx="2536">
                        <c:v>2.6869999999999998</c:v>
                      </c:pt>
                      <c:pt idx="2537">
                        <c:v>2.6869999999999998</c:v>
                      </c:pt>
                      <c:pt idx="2538">
                        <c:v>2.6869999999999998</c:v>
                      </c:pt>
                      <c:pt idx="2539">
                        <c:v>2.6869999999999998</c:v>
                      </c:pt>
                      <c:pt idx="2540">
                        <c:v>2.6930000000000001</c:v>
                      </c:pt>
                      <c:pt idx="2541">
                        <c:v>2.6930000000000001</c:v>
                      </c:pt>
                      <c:pt idx="2542">
                        <c:v>2.6930000000000001</c:v>
                      </c:pt>
                      <c:pt idx="2543">
                        <c:v>2.6930000000000001</c:v>
                      </c:pt>
                      <c:pt idx="2544">
                        <c:v>2.6930000000000001</c:v>
                      </c:pt>
                      <c:pt idx="2545">
                        <c:v>2.6930000000000001</c:v>
                      </c:pt>
                      <c:pt idx="2546">
                        <c:v>2.6930000000000001</c:v>
                      </c:pt>
                      <c:pt idx="2547">
                        <c:v>2.6930000000000001</c:v>
                      </c:pt>
                      <c:pt idx="2548">
                        <c:v>2.6930000000000001</c:v>
                      </c:pt>
                      <c:pt idx="2549">
                        <c:v>2.6930000000000001</c:v>
                      </c:pt>
                      <c:pt idx="2550">
                        <c:v>2.6930000000000001</c:v>
                      </c:pt>
                      <c:pt idx="2551">
                        <c:v>2.6930000000000001</c:v>
                      </c:pt>
                      <c:pt idx="2552">
                        <c:v>2.6930000000000001</c:v>
                      </c:pt>
                      <c:pt idx="2553">
                        <c:v>2.6930000000000001</c:v>
                      </c:pt>
                      <c:pt idx="2554">
                        <c:v>2.6930000000000001</c:v>
                      </c:pt>
                      <c:pt idx="2555">
                        <c:v>2.6930000000000001</c:v>
                      </c:pt>
                      <c:pt idx="2556">
                        <c:v>2.6930000000000001</c:v>
                      </c:pt>
                      <c:pt idx="2557">
                        <c:v>2.6930000000000001</c:v>
                      </c:pt>
                      <c:pt idx="2558">
                        <c:v>2.6930000000000001</c:v>
                      </c:pt>
                      <c:pt idx="2559">
                        <c:v>2.6930000000000001</c:v>
                      </c:pt>
                      <c:pt idx="2560">
                        <c:v>2.6930000000000001</c:v>
                      </c:pt>
                      <c:pt idx="2561">
                        <c:v>2.6930000000000001</c:v>
                      </c:pt>
                      <c:pt idx="2562">
                        <c:v>2.6930000000000001</c:v>
                      </c:pt>
                      <c:pt idx="2563">
                        <c:v>2.6930000000000001</c:v>
                      </c:pt>
                      <c:pt idx="2564">
                        <c:v>2.6930000000000001</c:v>
                      </c:pt>
                      <c:pt idx="2565">
                        <c:v>2.766</c:v>
                      </c:pt>
                      <c:pt idx="2566">
                        <c:v>2.766</c:v>
                      </c:pt>
                      <c:pt idx="2567">
                        <c:v>2.766</c:v>
                      </c:pt>
                      <c:pt idx="2568">
                        <c:v>2.766</c:v>
                      </c:pt>
                      <c:pt idx="2569">
                        <c:v>2.766</c:v>
                      </c:pt>
                      <c:pt idx="2570">
                        <c:v>2.766</c:v>
                      </c:pt>
                      <c:pt idx="2571">
                        <c:v>2.766</c:v>
                      </c:pt>
                      <c:pt idx="2572">
                        <c:v>2.766</c:v>
                      </c:pt>
                      <c:pt idx="2573">
                        <c:v>2.766</c:v>
                      </c:pt>
                      <c:pt idx="2574">
                        <c:v>2.766</c:v>
                      </c:pt>
                      <c:pt idx="2575">
                        <c:v>2.766</c:v>
                      </c:pt>
                      <c:pt idx="2576">
                        <c:v>2.766</c:v>
                      </c:pt>
                      <c:pt idx="2577">
                        <c:v>2.766</c:v>
                      </c:pt>
                      <c:pt idx="2578">
                        <c:v>2.766</c:v>
                      </c:pt>
                      <c:pt idx="2579">
                        <c:v>2.766</c:v>
                      </c:pt>
                      <c:pt idx="2580">
                        <c:v>2.766</c:v>
                      </c:pt>
                      <c:pt idx="2581">
                        <c:v>2.766</c:v>
                      </c:pt>
                      <c:pt idx="2582">
                        <c:v>2.766</c:v>
                      </c:pt>
                      <c:pt idx="2583">
                        <c:v>2.766</c:v>
                      </c:pt>
                      <c:pt idx="2584">
                        <c:v>2.766</c:v>
                      </c:pt>
                      <c:pt idx="2585">
                        <c:v>2.8570000000000002</c:v>
                      </c:pt>
                      <c:pt idx="2586">
                        <c:v>2.8570000000000002</c:v>
                      </c:pt>
                      <c:pt idx="2587">
                        <c:v>2.8570000000000002</c:v>
                      </c:pt>
                      <c:pt idx="2588">
                        <c:v>2.8570000000000002</c:v>
                      </c:pt>
                      <c:pt idx="2589">
                        <c:v>2.8570000000000002</c:v>
                      </c:pt>
                      <c:pt idx="2590">
                        <c:v>2.8570000000000002</c:v>
                      </c:pt>
                      <c:pt idx="2591">
                        <c:v>2.8570000000000002</c:v>
                      </c:pt>
                      <c:pt idx="2592">
                        <c:v>2.8570000000000002</c:v>
                      </c:pt>
                      <c:pt idx="2593">
                        <c:v>2.8570000000000002</c:v>
                      </c:pt>
                      <c:pt idx="2594">
                        <c:v>2.8570000000000002</c:v>
                      </c:pt>
                      <c:pt idx="2595">
                        <c:v>2.8570000000000002</c:v>
                      </c:pt>
                      <c:pt idx="2596">
                        <c:v>2.8570000000000002</c:v>
                      </c:pt>
                      <c:pt idx="2597">
                        <c:v>2.8570000000000002</c:v>
                      </c:pt>
                      <c:pt idx="2598">
                        <c:v>2.8570000000000002</c:v>
                      </c:pt>
                      <c:pt idx="2599">
                        <c:v>2.8570000000000002</c:v>
                      </c:pt>
                      <c:pt idx="2600">
                        <c:v>2.8570000000000002</c:v>
                      </c:pt>
                      <c:pt idx="2601">
                        <c:v>2.8570000000000002</c:v>
                      </c:pt>
                      <c:pt idx="2602">
                        <c:v>2.8570000000000002</c:v>
                      </c:pt>
                      <c:pt idx="2603">
                        <c:v>2.8570000000000002</c:v>
                      </c:pt>
                      <c:pt idx="2604">
                        <c:v>2.8570000000000002</c:v>
                      </c:pt>
                      <c:pt idx="2605">
                        <c:v>2.8570000000000002</c:v>
                      </c:pt>
                      <c:pt idx="2606">
                        <c:v>2.8570000000000002</c:v>
                      </c:pt>
                      <c:pt idx="2607">
                        <c:v>2.8570000000000002</c:v>
                      </c:pt>
                      <c:pt idx="2608">
                        <c:v>2.8570000000000002</c:v>
                      </c:pt>
                      <c:pt idx="2609">
                        <c:v>2.8570000000000002</c:v>
                      </c:pt>
                      <c:pt idx="2610">
                        <c:v>2.9689999999999999</c:v>
                      </c:pt>
                      <c:pt idx="2611">
                        <c:v>2.9689999999999999</c:v>
                      </c:pt>
                      <c:pt idx="2612">
                        <c:v>2.9689999999999999</c:v>
                      </c:pt>
                      <c:pt idx="2613">
                        <c:v>2.9689999999999999</c:v>
                      </c:pt>
                      <c:pt idx="2614">
                        <c:v>2.9689999999999999</c:v>
                      </c:pt>
                      <c:pt idx="2615">
                        <c:v>2.9689999999999999</c:v>
                      </c:pt>
                      <c:pt idx="2616">
                        <c:v>2.9689999999999999</c:v>
                      </c:pt>
                      <c:pt idx="2617">
                        <c:v>2.9689999999999999</c:v>
                      </c:pt>
                      <c:pt idx="2618">
                        <c:v>2.9689999999999999</c:v>
                      </c:pt>
                      <c:pt idx="2619">
                        <c:v>2.9689999999999999</c:v>
                      </c:pt>
                      <c:pt idx="2620">
                        <c:v>2.9689999999999999</c:v>
                      </c:pt>
                      <c:pt idx="2621">
                        <c:v>2.9689999999999999</c:v>
                      </c:pt>
                      <c:pt idx="2622">
                        <c:v>2.9689999999999999</c:v>
                      </c:pt>
                      <c:pt idx="2623">
                        <c:v>2.9689999999999999</c:v>
                      </c:pt>
                      <c:pt idx="2624">
                        <c:v>2.9689999999999999</c:v>
                      </c:pt>
                      <c:pt idx="2625">
                        <c:v>2.9689999999999999</c:v>
                      </c:pt>
                      <c:pt idx="2626">
                        <c:v>2.9689999999999999</c:v>
                      </c:pt>
                      <c:pt idx="2627">
                        <c:v>2.9689999999999999</c:v>
                      </c:pt>
                      <c:pt idx="2628">
                        <c:v>2.9689999999999999</c:v>
                      </c:pt>
                      <c:pt idx="2629">
                        <c:v>2.9689999999999999</c:v>
                      </c:pt>
                      <c:pt idx="2630">
                        <c:v>2.9740000000000002</c:v>
                      </c:pt>
                      <c:pt idx="2631">
                        <c:v>2.9740000000000002</c:v>
                      </c:pt>
                      <c:pt idx="2632">
                        <c:v>2.9740000000000002</c:v>
                      </c:pt>
                      <c:pt idx="2633">
                        <c:v>2.9740000000000002</c:v>
                      </c:pt>
                      <c:pt idx="2634">
                        <c:v>2.9740000000000002</c:v>
                      </c:pt>
                      <c:pt idx="2635">
                        <c:v>2.9740000000000002</c:v>
                      </c:pt>
                      <c:pt idx="2636">
                        <c:v>2.9740000000000002</c:v>
                      </c:pt>
                      <c:pt idx="2637">
                        <c:v>2.9740000000000002</c:v>
                      </c:pt>
                      <c:pt idx="2638">
                        <c:v>2.9740000000000002</c:v>
                      </c:pt>
                      <c:pt idx="2639">
                        <c:v>2.9740000000000002</c:v>
                      </c:pt>
                      <c:pt idx="2640">
                        <c:v>2.9740000000000002</c:v>
                      </c:pt>
                      <c:pt idx="2641">
                        <c:v>2.9740000000000002</c:v>
                      </c:pt>
                      <c:pt idx="2642">
                        <c:v>2.9740000000000002</c:v>
                      </c:pt>
                      <c:pt idx="2643">
                        <c:v>2.9740000000000002</c:v>
                      </c:pt>
                      <c:pt idx="2644">
                        <c:v>2.9740000000000002</c:v>
                      </c:pt>
                      <c:pt idx="2645">
                        <c:v>2.9740000000000002</c:v>
                      </c:pt>
                      <c:pt idx="2646">
                        <c:v>2.9740000000000002</c:v>
                      </c:pt>
                      <c:pt idx="2647">
                        <c:v>2.9740000000000002</c:v>
                      </c:pt>
                      <c:pt idx="2648">
                        <c:v>2.9740000000000002</c:v>
                      </c:pt>
                      <c:pt idx="2649">
                        <c:v>2.9740000000000002</c:v>
                      </c:pt>
                      <c:pt idx="2650">
                        <c:v>3.0289999999999999</c:v>
                      </c:pt>
                      <c:pt idx="2651">
                        <c:v>3.0289999999999999</c:v>
                      </c:pt>
                      <c:pt idx="2652">
                        <c:v>3.0289999999999999</c:v>
                      </c:pt>
                      <c:pt idx="2653">
                        <c:v>3.0289999999999999</c:v>
                      </c:pt>
                      <c:pt idx="2654">
                        <c:v>3.0289999999999999</c:v>
                      </c:pt>
                      <c:pt idx="2655">
                        <c:v>3.0289999999999999</c:v>
                      </c:pt>
                      <c:pt idx="2656">
                        <c:v>3.0289999999999999</c:v>
                      </c:pt>
                      <c:pt idx="2657">
                        <c:v>3.0289999999999999</c:v>
                      </c:pt>
                      <c:pt idx="2658">
                        <c:v>3.0289999999999999</c:v>
                      </c:pt>
                      <c:pt idx="2659">
                        <c:v>3.0289999999999999</c:v>
                      </c:pt>
                      <c:pt idx="2660">
                        <c:v>3.0289999999999999</c:v>
                      </c:pt>
                      <c:pt idx="2661">
                        <c:v>3.0289999999999999</c:v>
                      </c:pt>
                      <c:pt idx="2662">
                        <c:v>3.0289999999999999</c:v>
                      </c:pt>
                      <c:pt idx="2663">
                        <c:v>3.0289999999999999</c:v>
                      </c:pt>
                      <c:pt idx="2664">
                        <c:v>3.0289999999999999</c:v>
                      </c:pt>
                      <c:pt idx="2665">
                        <c:v>3.0289999999999999</c:v>
                      </c:pt>
                      <c:pt idx="2666">
                        <c:v>3.0289999999999999</c:v>
                      </c:pt>
                      <c:pt idx="2667">
                        <c:v>3.0289999999999999</c:v>
                      </c:pt>
                      <c:pt idx="2668">
                        <c:v>3.0289999999999999</c:v>
                      </c:pt>
                      <c:pt idx="2669">
                        <c:v>3.0289999999999999</c:v>
                      </c:pt>
                      <c:pt idx="2670">
                        <c:v>3.0640000000000001</c:v>
                      </c:pt>
                      <c:pt idx="2671">
                        <c:v>3.0640000000000001</c:v>
                      </c:pt>
                      <c:pt idx="2672">
                        <c:v>3.0640000000000001</c:v>
                      </c:pt>
                      <c:pt idx="2673">
                        <c:v>3.0640000000000001</c:v>
                      </c:pt>
                      <c:pt idx="2674">
                        <c:v>3.0640000000000001</c:v>
                      </c:pt>
                      <c:pt idx="2675">
                        <c:v>3.0640000000000001</c:v>
                      </c:pt>
                      <c:pt idx="2676">
                        <c:v>3.0640000000000001</c:v>
                      </c:pt>
                      <c:pt idx="2677">
                        <c:v>3.0640000000000001</c:v>
                      </c:pt>
                      <c:pt idx="2678">
                        <c:v>3.0640000000000001</c:v>
                      </c:pt>
                      <c:pt idx="2679">
                        <c:v>3.0640000000000001</c:v>
                      </c:pt>
                      <c:pt idx="2680">
                        <c:v>3.0640000000000001</c:v>
                      </c:pt>
                      <c:pt idx="2681">
                        <c:v>3.0640000000000001</c:v>
                      </c:pt>
                      <c:pt idx="2682">
                        <c:v>3.0640000000000001</c:v>
                      </c:pt>
                      <c:pt idx="2683">
                        <c:v>3.0640000000000001</c:v>
                      </c:pt>
                      <c:pt idx="2684">
                        <c:v>3.0640000000000001</c:v>
                      </c:pt>
                      <c:pt idx="2685">
                        <c:v>3.0640000000000001</c:v>
                      </c:pt>
                      <c:pt idx="2686">
                        <c:v>3.0640000000000001</c:v>
                      </c:pt>
                      <c:pt idx="2687">
                        <c:v>3.0640000000000001</c:v>
                      </c:pt>
                      <c:pt idx="2688">
                        <c:v>3.0640000000000001</c:v>
                      </c:pt>
                      <c:pt idx="2689">
                        <c:v>3.0640000000000001</c:v>
                      </c:pt>
                      <c:pt idx="2690">
                        <c:v>3.0640000000000001</c:v>
                      </c:pt>
                      <c:pt idx="2691">
                        <c:v>3.0640000000000001</c:v>
                      </c:pt>
                      <c:pt idx="2692">
                        <c:v>3.0640000000000001</c:v>
                      </c:pt>
                      <c:pt idx="2693">
                        <c:v>3.0640000000000001</c:v>
                      </c:pt>
                      <c:pt idx="2694">
                        <c:v>3.0640000000000001</c:v>
                      </c:pt>
                      <c:pt idx="2695">
                        <c:v>3.012</c:v>
                      </c:pt>
                      <c:pt idx="2696">
                        <c:v>3.012</c:v>
                      </c:pt>
                      <c:pt idx="2697">
                        <c:v>3.012</c:v>
                      </c:pt>
                      <c:pt idx="2698">
                        <c:v>3.012</c:v>
                      </c:pt>
                      <c:pt idx="2699">
                        <c:v>3.012</c:v>
                      </c:pt>
                      <c:pt idx="2700">
                        <c:v>3.012</c:v>
                      </c:pt>
                      <c:pt idx="2701">
                        <c:v>3.012</c:v>
                      </c:pt>
                      <c:pt idx="2702">
                        <c:v>3.012</c:v>
                      </c:pt>
                      <c:pt idx="2703">
                        <c:v>3.012</c:v>
                      </c:pt>
                      <c:pt idx="2704">
                        <c:v>3.012</c:v>
                      </c:pt>
                      <c:pt idx="2705">
                        <c:v>3.012</c:v>
                      </c:pt>
                      <c:pt idx="2706">
                        <c:v>3.012</c:v>
                      </c:pt>
                      <c:pt idx="2707">
                        <c:v>3.012</c:v>
                      </c:pt>
                      <c:pt idx="2708">
                        <c:v>3.012</c:v>
                      </c:pt>
                      <c:pt idx="2709">
                        <c:v>3.012</c:v>
                      </c:pt>
                      <c:pt idx="2710">
                        <c:v>3.012</c:v>
                      </c:pt>
                      <c:pt idx="2711">
                        <c:v>3.012</c:v>
                      </c:pt>
                      <c:pt idx="2712">
                        <c:v>3.012</c:v>
                      </c:pt>
                      <c:pt idx="2713">
                        <c:v>3.012</c:v>
                      </c:pt>
                      <c:pt idx="2714">
                        <c:v>3.012</c:v>
                      </c:pt>
                      <c:pt idx="2715">
                        <c:v>3.0489999999999999</c:v>
                      </c:pt>
                      <c:pt idx="2716">
                        <c:v>3.0489999999999999</c:v>
                      </c:pt>
                      <c:pt idx="2717">
                        <c:v>3.0489999999999999</c:v>
                      </c:pt>
                      <c:pt idx="2718">
                        <c:v>3.0489999999999999</c:v>
                      </c:pt>
                      <c:pt idx="2719">
                        <c:v>3.0489999999999999</c:v>
                      </c:pt>
                      <c:pt idx="2720">
                        <c:v>3.0489999999999999</c:v>
                      </c:pt>
                      <c:pt idx="2721">
                        <c:v>3.0489999999999999</c:v>
                      </c:pt>
                      <c:pt idx="2722">
                        <c:v>3.0489999999999999</c:v>
                      </c:pt>
                      <c:pt idx="2723">
                        <c:v>3.0489999999999999</c:v>
                      </c:pt>
                      <c:pt idx="2724">
                        <c:v>3.0489999999999999</c:v>
                      </c:pt>
                      <c:pt idx="2725">
                        <c:v>3.0489999999999999</c:v>
                      </c:pt>
                      <c:pt idx="2726">
                        <c:v>3.0489999999999999</c:v>
                      </c:pt>
                      <c:pt idx="2727">
                        <c:v>3.0489999999999999</c:v>
                      </c:pt>
                      <c:pt idx="2728">
                        <c:v>3.0489999999999999</c:v>
                      </c:pt>
                      <c:pt idx="2729">
                        <c:v>3.0489999999999999</c:v>
                      </c:pt>
                      <c:pt idx="2730">
                        <c:v>3.0489999999999999</c:v>
                      </c:pt>
                      <c:pt idx="2731">
                        <c:v>3.0489999999999999</c:v>
                      </c:pt>
                      <c:pt idx="2732">
                        <c:v>3.0489999999999999</c:v>
                      </c:pt>
                      <c:pt idx="2733">
                        <c:v>3.0489999999999999</c:v>
                      </c:pt>
                      <c:pt idx="2734">
                        <c:v>3.0489999999999999</c:v>
                      </c:pt>
                      <c:pt idx="2735">
                        <c:v>3.0739999999999998</c:v>
                      </c:pt>
                      <c:pt idx="2736">
                        <c:v>3.0739999999999998</c:v>
                      </c:pt>
                      <c:pt idx="2737">
                        <c:v>3.0739999999999998</c:v>
                      </c:pt>
                      <c:pt idx="2738">
                        <c:v>3.0739999999999998</c:v>
                      </c:pt>
                      <c:pt idx="2739">
                        <c:v>3.0739999999999998</c:v>
                      </c:pt>
                      <c:pt idx="2740">
                        <c:v>3.0739999999999998</c:v>
                      </c:pt>
                      <c:pt idx="2741">
                        <c:v>3.0739999999999998</c:v>
                      </c:pt>
                      <c:pt idx="2742">
                        <c:v>3.0739999999999998</c:v>
                      </c:pt>
                      <c:pt idx="2743">
                        <c:v>3.0739999999999998</c:v>
                      </c:pt>
                      <c:pt idx="2744">
                        <c:v>3.0739999999999998</c:v>
                      </c:pt>
                      <c:pt idx="2745">
                        <c:v>3.0739999999999998</c:v>
                      </c:pt>
                      <c:pt idx="2746">
                        <c:v>3.0739999999999998</c:v>
                      </c:pt>
                      <c:pt idx="2747">
                        <c:v>3.0739999999999998</c:v>
                      </c:pt>
                      <c:pt idx="2748">
                        <c:v>3.0739999999999998</c:v>
                      </c:pt>
                      <c:pt idx="2749">
                        <c:v>3.0739999999999998</c:v>
                      </c:pt>
                      <c:pt idx="2750">
                        <c:v>3.0739999999999998</c:v>
                      </c:pt>
                      <c:pt idx="2751">
                        <c:v>3.0739999999999998</c:v>
                      </c:pt>
                      <c:pt idx="2752">
                        <c:v>3.0739999999999998</c:v>
                      </c:pt>
                      <c:pt idx="2753">
                        <c:v>3.0739999999999998</c:v>
                      </c:pt>
                      <c:pt idx="2754">
                        <c:v>3.0739999999999998</c:v>
                      </c:pt>
                      <c:pt idx="2755">
                        <c:v>3.0739999999999998</c:v>
                      </c:pt>
                      <c:pt idx="2756">
                        <c:v>3.0739999999999998</c:v>
                      </c:pt>
                      <c:pt idx="2757">
                        <c:v>3.0739999999999998</c:v>
                      </c:pt>
                      <c:pt idx="2758">
                        <c:v>3.0739999999999998</c:v>
                      </c:pt>
                      <c:pt idx="2759">
                        <c:v>3.0739999999999998</c:v>
                      </c:pt>
                      <c:pt idx="2760">
                        <c:v>3.1219999999999999</c:v>
                      </c:pt>
                      <c:pt idx="2761">
                        <c:v>3.1219999999999999</c:v>
                      </c:pt>
                      <c:pt idx="2762">
                        <c:v>3.1219999999999999</c:v>
                      </c:pt>
                      <c:pt idx="2763">
                        <c:v>3.1219999999999999</c:v>
                      </c:pt>
                      <c:pt idx="2764">
                        <c:v>3.1219999999999999</c:v>
                      </c:pt>
                      <c:pt idx="2765">
                        <c:v>3.1219999999999999</c:v>
                      </c:pt>
                      <c:pt idx="2766">
                        <c:v>3.1219999999999999</c:v>
                      </c:pt>
                      <c:pt idx="2767">
                        <c:v>3.1219999999999999</c:v>
                      </c:pt>
                      <c:pt idx="2768">
                        <c:v>3.1219999999999999</c:v>
                      </c:pt>
                      <c:pt idx="2769">
                        <c:v>3.1219999999999999</c:v>
                      </c:pt>
                      <c:pt idx="2770">
                        <c:v>3.1219999999999999</c:v>
                      </c:pt>
                      <c:pt idx="2771">
                        <c:v>3.1219999999999999</c:v>
                      </c:pt>
                      <c:pt idx="2772">
                        <c:v>3.1219999999999999</c:v>
                      </c:pt>
                      <c:pt idx="2773">
                        <c:v>3.1219999999999999</c:v>
                      </c:pt>
                      <c:pt idx="2774">
                        <c:v>3.1219999999999999</c:v>
                      </c:pt>
                      <c:pt idx="2775">
                        <c:v>3.1219999999999999</c:v>
                      </c:pt>
                      <c:pt idx="2776">
                        <c:v>3.1219999999999999</c:v>
                      </c:pt>
                      <c:pt idx="2777">
                        <c:v>3.1219999999999999</c:v>
                      </c:pt>
                      <c:pt idx="2778">
                        <c:v>3.1219999999999999</c:v>
                      </c:pt>
                      <c:pt idx="2779">
                        <c:v>3.1219999999999999</c:v>
                      </c:pt>
                      <c:pt idx="2780">
                        <c:v>3.2130000000000001</c:v>
                      </c:pt>
                      <c:pt idx="2781">
                        <c:v>3.2130000000000001</c:v>
                      </c:pt>
                      <c:pt idx="2782">
                        <c:v>3.2130000000000001</c:v>
                      </c:pt>
                      <c:pt idx="2783">
                        <c:v>3.2130000000000001</c:v>
                      </c:pt>
                      <c:pt idx="2784">
                        <c:v>3.2130000000000001</c:v>
                      </c:pt>
                      <c:pt idx="2785">
                        <c:v>3.2130000000000001</c:v>
                      </c:pt>
                      <c:pt idx="2786">
                        <c:v>3.2130000000000001</c:v>
                      </c:pt>
                      <c:pt idx="2787">
                        <c:v>3.2130000000000001</c:v>
                      </c:pt>
                      <c:pt idx="2788">
                        <c:v>3.2130000000000001</c:v>
                      </c:pt>
                      <c:pt idx="2789">
                        <c:v>3.2130000000000001</c:v>
                      </c:pt>
                      <c:pt idx="2790">
                        <c:v>3.2130000000000001</c:v>
                      </c:pt>
                      <c:pt idx="2791">
                        <c:v>3.2130000000000001</c:v>
                      </c:pt>
                      <c:pt idx="2792">
                        <c:v>3.2130000000000001</c:v>
                      </c:pt>
                      <c:pt idx="2793">
                        <c:v>3.2130000000000001</c:v>
                      </c:pt>
                      <c:pt idx="2794">
                        <c:v>3.2130000000000001</c:v>
                      </c:pt>
                      <c:pt idx="2795">
                        <c:v>3.2130000000000001</c:v>
                      </c:pt>
                      <c:pt idx="2796">
                        <c:v>3.2130000000000001</c:v>
                      </c:pt>
                      <c:pt idx="2797">
                        <c:v>3.2130000000000001</c:v>
                      </c:pt>
                      <c:pt idx="2798">
                        <c:v>3.2130000000000001</c:v>
                      </c:pt>
                      <c:pt idx="2799">
                        <c:v>3.2130000000000001</c:v>
                      </c:pt>
                      <c:pt idx="2800">
                        <c:v>3.2130000000000001</c:v>
                      </c:pt>
                      <c:pt idx="2801">
                        <c:v>3.2130000000000001</c:v>
                      </c:pt>
                      <c:pt idx="2802">
                        <c:v>3.2130000000000001</c:v>
                      </c:pt>
                      <c:pt idx="2803">
                        <c:v>3.2130000000000001</c:v>
                      </c:pt>
                      <c:pt idx="2804">
                        <c:v>3.2130000000000001</c:v>
                      </c:pt>
                      <c:pt idx="2805">
                        <c:v>3.1749999999999998</c:v>
                      </c:pt>
                      <c:pt idx="2806">
                        <c:v>3.1749999999999998</c:v>
                      </c:pt>
                      <c:pt idx="2807">
                        <c:v>3.1749999999999998</c:v>
                      </c:pt>
                      <c:pt idx="2808">
                        <c:v>3.1749999999999998</c:v>
                      </c:pt>
                      <c:pt idx="2809">
                        <c:v>3.1749999999999998</c:v>
                      </c:pt>
                      <c:pt idx="2810">
                        <c:v>3.1749999999999998</c:v>
                      </c:pt>
                      <c:pt idx="2811">
                        <c:v>3.1749999999999998</c:v>
                      </c:pt>
                      <c:pt idx="2812">
                        <c:v>3.1749999999999998</c:v>
                      </c:pt>
                      <c:pt idx="2813">
                        <c:v>3.1749999999999998</c:v>
                      </c:pt>
                      <c:pt idx="2814">
                        <c:v>3.1749999999999998</c:v>
                      </c:pt>
                      <c:pt idx="2815">
                        <c:v>3.1749999999999998</c:v>
                      </c:pt>
                      <c:pt idx="2816">
                        <c:v>3.1749999999999998</c:v>
                      </c:pt>
                      <c:pt idx="2817">
                        <c:v>3.1749999999999998</c:v>
                      </c:pt>
                      <c:pt idx="2818">
                        <c:v>3.1749999999999998</c:v>
                      </c:pt>
                      <c:pt idx="2819">
                        <c:v>3.1749999999999998</c:v>
                      </c:pt>
                      <c:pt idx="2820">
                        <c:v>3.1749999999999998</c:v>
                      </c:pt>
                      <c:pt idx="2821">
                        <c:v>3.1749999999999998</c:v>
                      </c:pt>
                      <c:pt idx="2822">
                        <c:v>3.1749999999999998</c:v>
                      </c:pt>
                      <c:pt idx="2823">
                        <c:v>3.1749999999999998</c:v>
                      </c:pt>
                      <c:pt idx="2824">
                        <c:v>3.1749999999999998</c:v>
                      </c:pt>
                      <c:pt idx="2825">
                        <c:v>3.2530000000000001</c:v>
                      </c:pt>
                      <c:pt idx="2826">
                        <c:v>3.2530000000000001</c:v>
                      </c:pt>
                      <c:pt idx="2827">
                        <c:v>3.2530000000000001</c:v>
                      </c:pt>
                      <c:pt idx="2828">
                        <c:v>3.2530000000000001</c:v>
                      </c:pt>
                      <c:pt idx="2829">
                        <c:v>3.2530000000000001</c:v>
                      </c:pt>
                      <c:pt idx="2830">
                        <c:v>3.2530000000000001</c:v>
                      </c:pt>
                      <c:pt idx="2831">
                        <c:v>3.2530000000000001</c:v>
                      </c:pt>
                      <c:pt idx="2832">
                        <c:v>3.2530000000000001</c:v>
                      </c:pt>
                      <c:pt idx="2833">
                        <c:v>3.2530000000000001</c:v>
                      </c:pt>
                      <c:pt idx="2834">
                        <c:v>3.2530000000000001</c:v>
                      </c:pt>
                      <c:pt idx="2835">
                        <c:v>3.2530000000000001</c:v>
                      </c:pt>
                      <c:pt idx="2836">
                        <c:v>3.2530000000000001</c:v>
                      </c:pt>
                      <c:pt idx="2837">
                        <c:v>3.2530000000000001</c:v>
                      </c:pt>
                      <c:pt idx="2838">
                        <c:v>3.2530000000000001</c:v>
                      </c:pt>
                      <c:pt idx="2839">
                        <c:v>3.2530000000000001</c:v>
                      </c:pt>
                      <c:pt idx="2840">
                        <c:v>3.2530000000000001</c:v>
                      </c:pt>
                      <c:pt idx="2841">
                        <c:v>3.2530000000000001</c:v>
                      </c:pt>
                      <c:pt idx="2842">
                        <c:v>3.2530000000000001</c:v>
                      </c:pt>
                      <c:pt idx="2843">
                        <c:v>3.2530000000000001</c:v>
                      </c:pt>
                      <c:pt idx="2844">
                        <c:v>3.2530000000000001</c:v>
                      </c:pt>
                      <c:pt idx="2845">
                        <c:v>3.3069999999999999</c:v>
                      </c:pt>
                      <c:pt idx="2846">
                        <c:v>3.3069999999999999</c:v>
                      </c:pt>
                      <c:pt idx="2847">
                        <c:v>3.3069999999999999</c:v>
                      </c:pt>
                      <c:pt idx="2848">
                        <c:v>3.3069999999999999</c:v>
                      </c:pt>
                      <c:pt idx="2849">
                        <c:v>3.3069999999999999</c:v>
                      </c:pt>
                      <c:pt idx="2850">
                        <c:v>3.3069999999999999</c:v>
                      </c:pt>
                      <c:pt idx="2851">
                        <c:v>3.3069999999999999</c:v>
                      </c:pt>
                      <c:pt idx="2852">
                        <c:v>3.3069999999999999</c:v>
                      </c:pt>
                      <c:pt idx="2853">
                        <c:v>3.3069999999999999</c:v>
                      </c:pt>
                      <c:pt idx="2854">
                        <c:v>3.3069999999999999</c:v>
                      </c:pt>
                      <c:pt idx="2855">
                        <c:v>3.3069999999999999</c:v>
                      </c:pt>
                      <c:pt idx="2856">
                        <c:v>3.3069999999999999</c:v>
                      </c:pt>
                      <c:pt idx="2857">
                        <c:v>3.3069999999999999</c:v>
                      </c:pt>
                      <c:pt idx="2858">
                        <c:v>3.3069999999999999</c:v>
                      </c:pt>
                      <c:pt idx="2859">
                        <c:v>3.3069999999999999</c:v>
                      </c:pt>
                      <c:pt idx="2860">
                        <c:v>3.3069999999999999</c:v>
                      </c:pt>
                      <c:pt idx="2861">
                        <c:v>3.3069999999999999</c:v>
                      </c:pt>
                      <c:pt idx="2862">
                        <c:v>3.3069999999999999</c:v>
                      </c:pt>
                      <c:pt idx="2863">
                        <c:v>3.3069999999999999</c:v>
                      </c:pt>
                      <c:pt idx="2864">
                        <c:v>3.3069999999999999</c:v>
                      </c:pt>
                      <c:pt idx="2865">
                        <c:v>3.3069999999999999</c:v>
                      </c:pt>
                      <c:pt idx="2866">
                        <c:v>3.3069999999999999</c:v>
                      </c:pt>
                      <c:pt idx="2867">
                        <c:v>3.3069999999999999</c:v>
                      </c:pt>
                      <c:pt idx="2868">
                        <c:v>3.3069999999999999</c:v>
                      </c:pt>
                      <c:pt idx="2869">
                        <c:v>3.3069999999999999</c:v>
                      </c:pt>
                      <c:pt idx="2870">
                        <c:v>3.3929999999999998</c:v>
                      </c:pt>
                      <c:pt idx="2871">
                        <c:v>3.3929999999999998</c:v>
                      </c:pt>
                      <c:pt idx="2872">
                        <c:v>3.3929999999999998</c:v>
                      </c:pt>
                      <c:pt idx="2873">
                        <c:v>3.3929999999999998</c:v>
                      </c:pt>
                      <c:pt idx="2874">
                        <c:v>3.3929999999999998</c:v>
                      </c:pt>
                      <c:pt idx="2875">
                        <c:v>3.3450000000000002</c:v>
                      </c:pt>
                      <c:pt idx="2876">
                        <c:v>3.3450000000000002</c:v>
                      </c:pt>
                      <c:pt idx="2877">
                        <c:v>3.3450000000000002</c:v>
                      </c:pt>
                      <c:pt idx="2878">
                        <c:v>3.3450000000000002</c:v>
                      </c:pt>
                      <c:pt idx="2879">
                        <c:v>3.3450000000000002</c:v>
                      </c:pt>
                      <c:pt idx="2880">
                        <c:v>3.3610000000000002</c:v>
                      </c:pt>
                      <c:pt idx="2881">
                        <c:v>3.3610000000000002</c:v>
                      </c:pt>
                      <c:pt idx="2882">
                        <c:v>3.3610000000000002</c:v>
                      </c:pt>
                      <c:pt idx="2883">
                        <c:v>3.3610000000000002</c:v>
                      </c:pt>
                      <c:pt idx="2884">
                        <c:v>3.3610000000000002</c:v>
                      </c:pt>
                      <c:pt idx="2885">
                        <c:v>3.2789999999999999</c:v>
                      </c:pt>
                      <c:pt idx="2886">
                        <c:v>3.2789999999999999</c:v>
                      </c:pt>
                      <c:pt idx="2887">
                        <c:v>3.2789999999999999</c:v>
                      </c:pt>
                      <c:pt idx="2888">
                        <c:v>3.2789999999999999</c:v>
                      </c:pt>
                      <c:pt idx="2889">
                        <c:v>3.2789999999999999</c:v>
                      </c:pt>
                      <c:pt idx="2890">
                        <c:v>3.3370000000000002</c:v>
                      </c:pt>
                      <c:pt idx="2891">
                        <c:v>3.3370000000000002</c:v>
                      </c:pt>
                      <c:pt idx="2892">
                        <c:v>3.3370000000000002</c:v>
                      </c:pt>
                      <c:pt idx="2893">
                        <c:v>3.3370000000000002</c:v>
                      </c:pt>
                      <c:pt idx="2894">
                        <c:v>3.3370000000000002</c:v>
                      </c:pt>
                      <c:pt idx="2895">
                        <c:v>3.3220000000000001</c:v>
                      </c:pt>
                      <c:pt idx="2896">
                        <c:v>3.3220000000000001</c:v>
                      </c:pt>
                      <c:pt idx="2897">
                        <c:v>3.3220000000000001</c:v>
                      </c:pt>
                      <c:pt idx="2898">
                        <c:v>3.3220000000000001</c:v>
                      </c:pt>
                      <c:pt idx="2899">
                        <c:v>3.3220000000000001</c:v>
                      </c:pt>
                      <c:pt idx="2900">
                        <c:v>3.3109999999999999</c:v>
                      </c:pt>
                      <c:pt idx="2901">
                        <c:v>3.3109999999999999</c:v>
                      </c:pt>
                      <c:pt idx="2902">
                        <c:v>3.3109999999999999</c:v>
                      </c:pt>
                      <c:pt idx="2903">
                        <c:v>3.3109999999999999</c:v>
                      </c:pt>
                      <c:pt idx="2904">
                        <c:v>3.3109999999999999</c:v>
                      </c:pt>
                      <c:pt idx="2905">
                        <c:v>3.3650000000000002</c:v>
                      </c:pt>
                      <c:pt idx="2906">
                        <c:v>3.3650000000000002</c:v>
                      </c:pt>
                      <c:pt idx="2907">
                        <c:v>3.3650000000000002</c:v>
                      </c:pt>
                      <c:pt idx="2908">
                        <c:v>3.3650000000000002</c:v>
                      </c:pt>
                      <c:pt idx="2909">
                        <c:v>3.3650000000000002</c:v>
                      </c:pt>
                      <c:pt idx="2910">
                        <c:v>3.335</c:v>
                      </c:pt>
                      <c:pt idx="2911">
                        <c:v>3.335</c:v>
                      </c:pt>
                      <c:pt idx="2912">
                        <c:v>3.335</c:v>
                      </c:pt>
                      <c:pt idx="2913">
                        <c:v>3.335</c:v>
                      </c:pt>
                      <c:pt idx="2914">
                        <c:v>3.335</c:v>
                      </c:pt>
                      <c:pt idx="2915">
                        <c:v>3.3610000000000002</c:v>
                      </c:pt>
                      <c:pt idx="2916">
                        <c:v>3.3610000000000002</c:v>
                      </c:pt>
                      <c:pt idx="2917">
                        <c:v>3.3610000000000002</c:v>
                      </c:pt>
                      <c:pt idx="2918">
                        <c:v>3.3610000000000002</c:v>
                      </c:pt>
                      <c:pt idx="2919">
                        <c:v>3.3610000000000002</c:v>
                      </c:pt>
                      <c:pt idx="2920">
                        <c:v>3.3039999999999998</c:v>
                      </c:pt>
                      <c:pt idx="2921">
                        <c:v>3.3039999999999998</c:v>
                      </c:pt>
                      <c:pt idx="2922">
                        <c:v>3.3039999999999998</c:v>
                      </c:pt>
                      <c:pt idx="2923">
                        <c:v>3.3039999999999998</c:v>
                      </c:pt>
                      <c:pt idx="2924">
                        <c:v>3.3039999999999998</c:v>
                      </c:pt>
                      <c:pt idx="2925">
                        <c:v>3.3580000000000001</c:v>
                      </c:pt>
                      <c:pt idx="2926">
                        <c:v>3.3580000000000001</c:v>
                      </c:pt>
                      <c:pt idx="2927">
                        <c:v>3.3580000000000001</c:v>
                      </c:pt>
                      <c:pt idx="2928">
                        <c:v>3.3580000000000001</c:v>
                      </c:pt>
                      <c:pt idx="2929">
                        <c:v>3.3580000000000001</c:v>
                      </c:pt>
                      <c:pt idx="2930">
                        <c:v>3.3809999999999998</c:v>
                      </c:pt>
                      <c:pt idx="2931">
                        <c:v>3.3809999999999998</c:v>
                      </c:pt>
                      <c:pt idx="2932">
                        <c:v>3.3809999999999998</c:v>
                      </c:pt>
                      <c:pt idx="2933">
                        <c:v>3.3809999999999998</c:v>
                      </c:pt>
                      <c:pt idx="2934">
                        <c:v>3.3809999999999998</c:v>
                      </c:pt>
                      <c:pt idx="2935">
                        <c:v>3.3769999999999998</c:v>
                      </c:pt>
                      <c:pt idx="2936">
                        <c:v>3.3769999999999998</c:v>
                      </c:pt>
                      <c:pt idx="2937">
                        <c:v>3.3769999999999998</c:v>
                      </c:pt>
                      <c:pt idx="2938">
                        <c:v>3.3769999999999998</c:v>
                      </c:pt>
                      <c:pt idx="2939">
                        <c:v>3.3769999999999998</c:v>
                      </c:pt>
                      <c:pt idx="2940">
                        <c:v>3.3650000000000002</c:v>
                      </c:pt>
                      <c:pt idx="2941">
                        <c:v>3.3650000000000002</c:v>
                      </c:pt>
                      <c:pt idx="2942">
                        <c:v>3.3650000000000002</c:v>
                      </c:pt>
                      <c:pt idx="2943">
                        <c:v>3.3650000000000002</c:v>
                      </c:pt>
                      <c:pt idx="2944">
                        <c:v>3.3650000000000002</c:v>
                      </c:pt>
                      <c:pt idx="2945">
                        <c:v>3.395</c:v>
                      </c:pt>
                      <c:pt idx="2946">
                        <c:v>3.395</c:v>
                      </c:pt>
                      <c:pt idx="2947">
                        <c:v>3.395</c:v>
                      </c:pt>
                      <c:pt idx="2948">
                        <c:v>3.395</c:v>
                      </c:pt>
                      <c:pt idx="2949">
                        <c:v>3.395</c:v>
                      </c:pt>
                      <c:pt idx="2950">
                        <c:v>3.4169999999999998</c:v>
                      </c:pt>
                      <c:pt idx="2951">
                        <c:v>3.4169999999999998</c:v>
                      </c:pt>
                      <c:pt idx="2952">
                        <c:v>3.4169999999999998</c:v>
                      </c:pt>
                      <c:pt idx="2953">
                        <c:v>3.4169999999999998</c:v>
                      </c:pt>
                      <c:pt idx="2954">
                        <c:v>3.4169999999999998</c:v>
                      </c:pt>
                      <c:pt idx="2955">
                        <c:v>3.4260000000000002</c:v>
                      </c:pt>
                      <c:pt idx="2956">
                        <c:v>3.4260000000000002</c:v>
                      </c:pt>
                      <c:pt idx="2957">
                        <c:v>3.4260000000000002</c:v>
                      </c:pt>
                      <c:pt idx="2958">
                        <c:v>3.4260000000000002</c:v>
                      </c:pt>
                      <c:pt idx="2959">
                        <c:v>3.4260000000000002</c:v>
                      </c:pt>
                      <c:pt idx="2960">
                        <c:v>3.36</c:v>
                      </c:pt>
                      <c:pt idx="2961">
                        <c:v>3.36</c:v>
                      </c:pt>
                      <c:pt idx="2962">
                        <c:v>3.36</c:v>
                      </c:pt>
                      <c:pt idx="2963">
                        <c:v>3.36</c:v>
                      </c:pt>
                      <c:pt idx="2964">
                        <c:v>3.36</c:v>
                      </c:pt>
                      <c:pt idx="2965">
                        <c:v>3.41</c:v>
                      </c:pt>
                      <c:pt idx="2966">
                        <c:v>3.41</c:v>
                      </c:pt>
                      <c:pt idx="2967">
                        <c:v>3.41</c:v>
                      </c:pt>
                      <c:pt idx="2968">
                        <c:v>3.41</c:v>
                      </c:pt>
                      <c:pt idx="2969">
                        <c:v>3.41</c:v>
                      </c:pt>
                      <c:pt idx="2970">
                        <c:v>3.4470000000000001</c:v>
                      </c:pt>
                      <c:pt idx="2971">
                        <c:v>3.4470000000000001</c:v>
                      </c:pt>
                      <c:pt idx="2972">
                        <c:v>3.4470000000000001</c:v>
                      </c:pt>
                      <c:pt idx="2973">
                        <c:v>3.4470000000000001</c:v>
                      </c:pt>
                      <c:pt idx="2974">
                        <c:v>3.4470000000000001</c:v>
                      </c:pt>
                      <c:pt idx="2975">
                        <c:v>3.3639999999999999</c:v>
                      </c:pt>
                      <c:pt idx="2976">
                        <c:v>3.3639999999999999</c:v>
                      </c:pt>
                      <c:pt idx="2977">
                        <c:v>3.3639999999999999</c:v>
                      </c:pt>
                      <c:pt idx="2978">
                        <c:v>3.3639999999999999</c:v>
                      </c:pt>
                      <c:pt idx="2979">
                        <c:v>3.3639999999999999</c:v>
                      </c:pt>
                      <c:pt idx="2980">
                        <c:v>3.3410000000000002</c:v>
                      </c:pt>
                      <c:pt idx="2981">
                        <c:v>3.3410000000000002</c:v>
                      </c:pt>
                      <c:pt idx="2982">
                        <c:v>3.3410000000000002</c:v>
                      </c:pt>
                      <c:pt idx="2983">
                        <c:v>3.3410000000000002</c:v>
                      </c:pt>
                      <c:pt idx="2984">
                        <c:v>3.3410000000000002</c:v>
                      </c:pt>
                      <c:pt idx="2985">
                        <c:v>3.379</c:v>
                      </c:pt>
                      <c:pt idx="2986">
                        <c:v>3.379</c:v>
                      </c:pt>
                      <c:pt idx="2987">
                        <c:v>3.379</c:v>
                      </c:pt>
                      <c:pt idx="2988">
                        <c:v>3.379</c:v>
                      </c:pt>
                      <c:pt idx="2989">
                        <c:v>3.379</c:v>
                      </c:pt>
                      <c:pt idx="2990">
                        <c:v>3.4889999999999999</c:v>
                      </c:pt>
                      <c:pt idx="2991">
                        <c:v>3.4889999999999999</c:v>
                      </c:pt>
                      <c:pt idx="2992">
                        <c:v>3.4889999999999999</c:v>
                      </c:pt>
                      <c:pt idx="2993">
                        <c:v>3.4889999999999999</c:v>
                      </c:pt>
                      <c:pt idx="2994">
                        <c:v>3.4889999999999999</c:v>
                      </c:pt>
                      <c:pt idx="2995">
                        <c:v>3.4969999999999999</c:v>
                      </c:pt>
                      <c:pt idx="2996">
                        <c:v>3.4969999999999999</c:v>
                      </c:pt>
                      <c:pt idx="2997">
                        <c:v>3.4969999999999999</c:v>
                      </c:pt>
                      <c:pt idx="2998">
                        <c:v>3.4969999999999999</c:v>
                      </c:pt>
                      <c:pt idx="2999">
                        <c:v>3.4969999999999999</c:v>
                      </c:pt>
                      <c:pt idx="3000">
                        <c:v>3.375</c:v>
                      </c:pt>
                      <c:pt idx="3001">
                        <c:v>3.375</c:v>
                      </c:pt>
                      <c:pt idx="3002">
                        <c:v>3.375</c:v>
                      </c:pt>
                      <c:pt idx="3003">
                        <c:v>3.375</c:v>
                      </c:pt>
                      <c:pt idx="3004">
                        <c:v>3.375</c:v>
                      </c:pt>
                      <c:pt idx="3005">
                        <c:v>3.4060000000000001</c:v>
                      </c:pt>
                      <c:pt idx="3006">
                        <c:v>3.4060000000000001</c:v>
                      </c:pt>
                      <c:pt idx="3007">
                        <c:v>3.4060000000000001</c:v>
                      </c:pt>
                      <c:pt idx="3008">
                        <c:v>3.4060000000000001</c:v>
                      </c:pt>
                      <c:pt idx="3009">
                        <c:v>3.4060000000000001</c:v>
                      </c:pt>
                      <c:pt idx="3010">
                        <c:v>3.3969999999999998</c:v>
                      </c:pt>
                      <c:pt idx="3011">
                        <c:v>3.3969999999999998</c:v>
                      </c:pt>
                      <c:pt idx="3012">
                        <c:v>3.3969999999999998</c:v>
                      </c:pt>
                      <c:pt idx="3013">
                        <c:v>3.3969999999999998</c:v>
                      </c:pt>
                      <c:pt idx="3014">
                        <c:v>3.3969999999999998</c:v>
                      </c:pt>
                      <c:pt idx="3015">
                        <c:v>3.4</c:v>
                      </c:pt>
                      <c:pt idx="3016">
                        <c:v>3.4</c:v>
                      </c:pt>
                      <c:pt idx="3017">
                        <c:v>3.4</c:v>
                      </c:pt>
                      <c:pt idx="3018">
                        <c:v>3.4</c:v>
                      </c:pt>
                      <c:pt idx="3019">
                        <c:v>3.4</c:v>
                      </c:pt>
                      <c:pt idx="3020">
                        <c:v>3.367</c:v>
                      </c:pt>
                      <c:pt idx="3021">
                        <c:v>3.367</c:v>
                      </c:pt>
                      <c:pt idx="3022">
                        <c:v>3.367</c:v>
                      </c:pt>
                      <c:pt idx="3023">
                        <c:v>3.367</c:v>
                      </c:pt>
                      <c:pt idx="3024">
                        <c:v>3.367</c:v>
                      </c:pt>
                      <c:pt idx="3025">
                        <c:v>3.4550000000000001</c:v>
                      </c:pt>
                      <c:pt idx="3026">
                        <c:v>3.4550000000000001</c:v>
                      </c:pt>
                      <c:pt idx="3027">
                        <c:v>3.4550000000000001</c:v>
                      </c:pt>
                      <c:pt idx="3028">
                        <c:v>3.4550000000000001</c:v>
                      </c:pt>
                      <c:pt idx="3029">
                        <c:v>3.4550000000000001</c:v>
                      </c:pt>
                      <c:pt idx="3030">
                        <c:v>3.4020000000000001</c:v>
                      </c:pt>
                      <c:pt idx="3031">
                        <c:v>3.4020000000000001</c:v>
                      </c:pt>
                      <c:pt idx="3032">
                        <c:v>3.4020000000000001</c:v>
                      </c:pt>
                      <c:pt idx="3033">
                        <c:v>3.4020000000000001</c:v>
                      </c:pt>
                      <c:pt idx="3034">
                        <c:v>3.4020000000000001</c:v>
                      </c:pt>
                      <c:pt idx="3035">
                        <c:v>3.5329999999999999</c:v>
                      </c:pt>
                      <c:pt idx="3036">
                        <c:v>3.5329999999999999</c:v>
                      </c:pt>
                      <c:pt idx="3037">
                        <c:v>3.5329999999999999</c:v>
                      </c:pt>
                      <c:pt idx="3038">
                        <c:v>3.5329999999999999</c:v>
                      </c:pt>
                      <c:pt idx="3039">
                        <c:v>3.5329999999999999</c:v>
                      </c:pt>
                      <c:pt idx="3040">
                        <c:v>3.4620000000000002</c:v>
                      </c:pt>
                      <c:pt idx="3041">
                        <c:v>3.4620000000000002</c:v>
                      </c:pt>
                      <c:pt idx="3042">
                        <c:v>3.4620000000000002</c:v>
                      </c:pt>
                      <c:pt idx="3043">
                        <c:v>3.4620000000000002</c:v>
                      </c:pt>
                      <c:pt idx="3044">
                        <c:v>3.4620000000000002</c:v>
                      </c:pt>
                      <c:pt idx="3045">
                        <c:v>3.411</c:v>
                      </c:pt>
                      <c:pt idx="3046">
                        <c:v>3.411</c:v>
                      </c:pt>
                      <c:pt idx="3047">
                        <c:v>3.411</c:v>
                      </c:pt>
                      <c:pt idx="3048">
                        <c:v>3.411</c:v>
                      </c:pt>
                      <c:pt idx="3049">
                        <c:v>3.411</c:v>
                      </c:pt>
                      <c:pt idx="3050">
                        <c:v>3.4769999999999999</c:v>
                      </c:pt>
                      <c:pt idx="3051">
                        <c:v>3.4769999999999999</c:v>
                      </c:pt>
                      <c:pt idx="3052">
                        <c:v>3.4769999999999999</c:v>
                      </c:pt>
                      <c:pt idx="3053">
                        <c:v>3.4769999999999999</c:v>
                      </c:pt>
                      <c:pt idx="3054">
                        <c:v>3.4769999999999999</c:v>
                      </c:pt>
                      <c:pt idx="3055">
                        <c:v>3.431</c:v>
                      </c:pt>
                      <c:pt idx="3056">
                        <c:v>3.431</c:v>
                      </c:pt>
                      <c:pt idx="3057">
                        <c:v>3.431</c:v>
                      </c:pt>
                      <c:pt idx="3058">
                        <c:v>3.431</c:v>
                      </c:pt>
                      <c:pt idx="3059">
                        <c:v>3.431</c:v>
                      </c:pt>
                      <c:pt idx="3060">
                        <c:v>3.4940000000000002</c:v>
                      </c:pt>
                      <c:pt idx="3061">
                        <c:v>3.4940000000000002</c:v>
                      </c:pt>
                      <c:pt idx="3062">
                        <c:v>3.4940000000000002</c:v>
                      </c:pt>
                      <c:pt idx="3063">
                        <c:v>3.4940000000000002</c:v>
                      </c:pt>
                      <c:pt idx="3064">
                        <c:v>3.4940000000000002</c:v>
                      </c:pt>
                      <c:pt idx="3065">
                        <c:v>3.4870000000000001</c:v>
                      </c:pt>
                      <c:pt idx="3066">
                        <c:v>3.4870000000000001</c:v>
                      </c:pt>
                      <c:pt idx="3067">
                        <c:v>3.4870000000000001</c:v>
                      </c:pt>
                      <c:pt idx="3068">
                        <c:v>3.4870000000000001</c:v>
                      </c:pt>
                      <c:pt idx="3069">
                        <c:v>3.4870000000000001</c:v>
                      </c:pt>
                      <c:pt idx="3070">
                        <c:v>3.4929999999999999</c:v>
                      </c:pt>
                      <c:pt idx="3071">
                        <c:v>3.4929999999999999</c:v>
                      </c:pt>
                      <c:pt idx="3072">
                        <c:v>3.4929999999999999</c:v>
                      </c:pt>
                      <c:pt idx="3073">
                        <c:v>3.4929999999999999</c:v>
                      </c:pt>
                      <c:pt idx="3074">
                        <c:v>3.4929999999999999</c:v>
                      </c:pt>
                      <c:pt idx="3075">
                        <c:v>3.59</c:v>
                      </c:pt>
                      <c:pt idx="3076">
                        <c:v>3.59</c:v>
                      </c:pt>
                      <c:pt idx="3077">
                        <c:v>3.59</c:v>
                      </c:pt>
                      <c:pt idx="3078">
                        <c:v>3.59</c:v>
                      </c:pt>
                      <c:pt idx="3079">
                        <c:v>3.59</c:v>
                      </c:pt>
                      <c:pt idx="3080">
                        <c:v>3.5550000000000002</c:v>
                      </c:pt>
                      <c:pt idx="3081">
                        <c:v>3.5550000000000002</c:v>
                      </c:pt>
                      <c:pt idx="3082">
                        <c:v>3.5550000000000002</c:v>
                      </c:pt>
                      <c:pt idx="3083">
                        <c:v>3.5550000000000002</c:v>
                      </c:pt>
                      <c:pt idx="3084">
                        <c:v>3.5550000000000002</c:v>
                      </c:pt>
                      <c:pt idx="3085">
                        <c:v>3.5609999999999999</c:v>
                      </c:pt>
                      <c:pt idx="3086">
                        <c:v>3.5609999999999999</c:v>
                      </c:pt>
                      <c:pt idx="3087">
                        <c:v>3.5609999999999999</c:v>
                      </c:pt>
                      <c:pt idx="3088">
                        <c:v>3.5609999999999999</c:v>
                      </c:pt>
                      <c:pt idx="3089">
                        <c:v>3.5609999999999999</c:v>
                      </c:pt>
                      <c:pt idx="3090">
                        <c:v>3.5430000000000001</c:v>
                      </c:pt>
                      <c:pt idx="3091">
                        <c:v>3.5430000000000001</c:v>
                      </c:pt>
                      <c:pt idx="3092">
                        <c:v>3.5430000000000001</c:v>
                      </c:pt>
                      <c:pt idx="3093">
                        <c:v>3.5430000000000001</c:v>
                      </c:pt>
                      <c:pt idx="3094">
                        <c:v>3.5430000000000001</c:v>
                      </c:pt>
                      <c:pt idx="3095">
                        <c:v>3.556</c:v>
                      </c:pt>
                      <c:pt idx="3096">
                        <c:v>3.556</c:v>
                      </c:pt>
                      <c:pt idx="3097">
                        <c:v>3.556</c:v>
                      </c:pt>
                      <c:pt idx="3098">
                        <c:v>3.556</c:v>
                      </c:pt>
                      <c:pt idx="3099">
                        <c:v>3.556</c:v>
                      </c:pt>
                      <c:pt idx="3100">
                        <c:v>3.6030000000000002</c:v>
                      </c:pt>
                      <c:pt idx="3101">
                        <c:v>3.6030000000000002</c:v>
                      </c:pt>
                      <c:pt idx="3102">
                        <c:v>3.6030000000000002</c:v>
                      </c:pt>
                      <c:pt idx="3103">
                        <c:v>3.6030000000000002</c:v>
                      </c:pt>
                      <c:pt idx="3104">
                        <c:v>3.6030000000000002</c:v>
                      </c:pt>
                      <c:pt idx="3105">
                        <c:v>3.581</c:v>
                      </c:pt>
                      <c:pt idx="3106">
                        <c:v>3.581</c:v>
                      </c:pt>
                      <c:pt idx="3107">
                        <c:v>3.581</c:v>
                      </c:pt>
                      <c:pt idx="3108">
                        <c:v>3.581</c:v>
                      </c:pt>
                      <c:pt idx="3109">
                        <c:v>3.581</c:v>
                      </c:pt>
                      <c:pt idx="3110">
                        <c:v>3.5859999999999999</c:v>
                      </c:pt>
                      <c:pt idx="3111">
                        <c:v>3.5859999999999999</c:v>
                      </c:pt>
                      <c:pt idx="3112">
                        <c:v>3.5859999999999999</c:v>
                      </c:pt>
                      <c:pt idx="3113">
                        <c:v>3.5859999999999999</c:v>
                      </c:pt>
                      <c:pt idx="3114">
                        <c:v>3.5859999999999999</c:v>
                      </c:pt>
                      <c:pt idx="3115">
                        <c:v>3.5579999999999998</c:v>
                      </c:pt>
                      <c:pt idx="3116">
                        <c:v>3.5579999999999998</c:v>
                      </c:pt>
                      <c:pt idx="3117">
                        <c:v>3.5579999999999998</c:v>
                      </c:pt>
                      <c:pt idx="3118">
                        <c:v>3.5579999999999998</c:v>
                      </c:pt>
                      <c:pt idx="3119">
                        <c:v>3.5579999999999998</c:v>
                      </c:pt>
                      <c:pt idx="3120">
                        <c:v>3.621</c:v>
                      </c:pt>
                      <c:pt idx="3121">
                        <c:v>3.621</c:v>
                      </c:pt>
                      <c:pt idx="3122">
                        <c:v>3.621</c:v>
                      </c:pt>
                      <c:pt idx="3123">
                        <c:v>3.621</c:v>
                      </c:pt>
                      <c:pt idx="3124">
                        <c:v>3.621</c:v>
                      </c:pt>
                      <c:pt idx="3125">
                        <c:v>3.5920000000000001</c:v>
                      </c:pt>
                      <c:pt idx="3126">
                        <c:v>3.5920000000000001</c:v>
                      </c:pt>
                      <c:pt idx="3127">
                        <c:v>3.5920000000000001</c:v>
                      </c:pt>
                      <c:pt idx="3128">
                        <c:v>3.5920000000000001</c:v>
                      </c:pt>
                      <c:pt idx="3129">
                        <c:v>3.5920000000000001</c:v>
                      </c:pt>
                      <c:pt idx="3130">
                        <c:v>3.665</c:v>
                      </c:pt>
                      <c:pt idx="3131">
                        <c:v>3.665</c:v>
                      </c:pt>
                      <c:pt idx="3132">
                        <c:v>3.665</c:v>
                      </c:pt>
                      <c:pt idx="3133">
                        <c:v>3.665</c:v>
                      </c:pt>
                      <c:pt idx="3134">
                        <c:v>3.665</c:v>
                      </c:pt>
                      <c:pt idx="3135">
                        <c:v>3.57</c:v>
                      </c:pt>
                      <c:pt idx="3136">
                        <c:v>3.57</c:v>
                      </c:pt>
                      <c:pt idx="3137">
                        <c:v>3.57</c:v>
                      </c:pt>
                      <c:pt idx="3138">
                        <c:v>3.57</c:v>
                      </c:pt>
                      <c:pt idx="3139">
                        <c:v>3.57</c:v>
                      </c:pt>
                      <c:pt idx="3140">
                        <c:v>3.6680000000000001</c:v>
                      </c:pt>
                      <c:pt idx="3141">
                        <c:v>3.6680000000000001</c:v>
                      </c:pt>
                      <c:pt idx="3142">
                        <c:v>3.6680000000000001</c:v>
                      </c:pt>
                      <c:pt idx="3143">
                        <c:v>3.6680000000000001</c:v>
                      </c:pt>
                      <c:pt idx="3144">
                        <c:v>3.6680000000000001</c:v>
                      </c:pt>
                      <c:pt idx="3145">
                        <c:v>3.67</c:v>
                      </c:pt>
                      <c:pt idx="3146">
                        <c:v>3.67</c:v>
                      </c:pt>
                      <c:pt idx="3147">
                        <c:v>3.67</c:v>
                      </c:pt>
                      <c:pt idx="3148">
                        <c:v>3.67</c:v>
                      </c:pt>
                      <c:pt idx="3149">
                        <c:v>3.67</c:v>
                      </c:pt>
                      <c:pt idx="3150">
                        <c:v>3.6480000000000001</c:v>
                      </c:pt>
                      <c:pt idx="3151">
                        <c:v>3.6480000000000001</c:v>
                      </c:pt>
                      <c:pt idx="3152">
                        <c:v>3.6480000000000001</c:v>
                      </c:pt>
                      <c:pt idx="3153">
                        <c:v>3.6480000000000001</c:v>
                      </c:pt>
                      <c:pt idx="3154">
                        <c:v>3.6480000000000001</c:v>
                      </c:pt>
                      <c:pt idx="3155">
                        <c:v>3.7050000000000001</c:v>
                      </c:pt>
                      <c:pt idx="3156">
                        <c:v>3.7050000000000001</c:v>
                      </c:pt>
                      <c:pt idx="3157">
                        <c:v>3.7050000000000001</c:v>
                      </c:pt>
                      <c:pt idx="3158">
                        <c:v>3.7050000000000001</c:v>
                      </c:pt>
                      <c:pt idx="3159">
                        <c:v>3.7050000000000001</c:v>
                      </c:pt>
                      <c:pt idx="3160">
                        <c:v>3.7309999999999999</c:v>
                      </c:pt>
                      <c:pt idx="3161">
                        <c:v>3.7309999999999999</c:v>
                      </c:pt>
                      <c:pt idx="3162">
                        <c:v>3.7309999999999999</c:v>
                      </c:pt>
                      <c:pt idx="3163">
                        <c:v>3.7309999999999999</c:v>
                      </c:pt>
                      <c:pt idx="3164">
                        <c:v>3.7309999999999999</c:v>
                      </c:pt>
                      <c:pt idx="3165">
                        <c:v>3.7549999999999999</c:v>
                      </c:pt>
                      <c:pt idx="3166">
                        <c:v>3.7549999999999999</c:v>
                      </c:pt>
                      <c:pt idx="3167">
                        <c:v>3.7549999999999999</c:v>
                      </c:pt>
                      <c:pt idx="3168">
                        <c:v>3.7549999999999999</c:v>
                      </c:pt>
                      <c:pt idx="3169">
                        <c:v>3.7549999999999999</c:v>
                      </c:pt>
                      <c:pt idx="3170">
                        <c:v>3.69</c:v>
                      </c:pt>
                      <c:pt idx="3171">
                        <c:v>3.69</c:v>
                      </c:pt>
                      <c:pt idx="3172">
                        <c:v>3.69</c:v>
                      </c:pt>
                      <c:pt idx="3173">
                        <c:v>3.69</c:v>
                      </c:pt>
                      <c:pt idx="3174">
                        <c:v>3.69</c:v>
                      </c:pt>
                      <c:pt idx="3175">
                        <c:v>3.6549999999999998</c:v>
                      </c:pt>
                      <c:pt idx="3176">
                        <c:v>3.6549999999999998</c:v>
                      </c:pt>
                      <c:pt idx="3177">
                        <c:v>3.6549999999999998</c:v>
                      </c:pt>
                      <c:pt idx="3178">
                        <c:v>3.6549999999999998</c:v>
                      </c:pt>
                      <c:pt idx="3179">
                        <c:v>3.6549999999999998</c:v>
                      </c:pt>
                      <c:pt idx="3180">
                        <c:v>3.758</c:v>
                      </c:pt>
                      <c:pt idx="3181">
                        <c:v>3.758</c:v>
                      </c:pt>
                      <c:pt idx="3182">
                        <c:v>3.758</c:v>
                      </c:pt>
                      <c:pt idx="3183">
                        <c:v>3.758</c:v>
                      </c:pt>
                      <c:pt idx="3184">
                        <c:v>3.758</c:v>
                      </c:pt>
                      <c:pt idx="3185">
                        <c:v>3.7330000000000001</c:v>
                      </c:pt>
                      <c:pt idx="3186">
                        <c:v>3.7330000000000001</c:v>
                      </c:pt>
                      <c:pt idx="3187">
                        <c:v>3.7330000000000001</c:v>
                      </c:pt>
                      <c:pt idx="3188">
                        <c:v>3.7330000000000001</c:v>
                      </c:pt>
                      <c:pt idx="3189">
                        <c:v>3.7330000000000001</c:v>
                      </c:pt>
                      <c:pt idx="3190">
                        <c:v>3.7770000000000001</c:v>
                      </c:pt>
                      <c:pt idx="3191">
                        <c:v>3.7770000000000001</c:v>
                      </c:pt>
                      <c:pt idx="3192">
                        <c:v>3.7770000000000001</c:v>
                      </c:pt>
                      <c:pt idx="3193">
                        <c:v>3.7770000000000001</c:v>
                      </c:pt>
                      <c:pt idx="3194">
                        <c:v>3.7770000000000001</c:v>
                      </c:pt>
                      <c:pt idx="3195">
                        <c:v>3.7509999999999999</c:v>
                      </c:pt>
                      <c:pt idx="3196">
                        <c:v>3.7509999999999999</c:v>
                      </c:pt>
                      <c:pt idx="3197">
                        <c:v>3.7509999999999999</c:v>
                      </c:pt>
                      <c:pt idx="3198">
                        <c:v>3.7509999999999999</c:v>
                      </c:pt>
                      <c:pt idx="3199">
                        <c:v>3.7509999999999999</c:v>
                      </c:pt>
                      <c:pt idx="3200">
                        <c:v>3.7050000000000001</c:v>
                      </c:pt>
                      <c:pt idx="3201">
                        <c:v>3.7050000000000001</c:v>
                      </c:pt>
                      <c:pt idx="3202">
                        <c:v>3.7050000000000001</c:v>
                      </c:pt>
                      <c:pt idx="3203">
                        <c:v>3.7050000000000001</c:v>
                      </c:pt>
                      <c:pt idx="3204">
                        <c:v>3.7050000000000001</c:v>
                      </c:pt>
                      <c:pt idx="3205">
                        <c:v>3.76</c:v>
                      </c:pt>
                      <c:pt idx="3206">
                        <c:v>3.76</c:v>
                      </c:pt>
                      <c:pt idx="3207">
                        <c:v>3.76</c:v>
                      </c:pt>
                      <c:pt idx="3208">
                        <c:v>3.76</c:v>
                      </c:pt>
                      <c:pt idx="3209">
                        <c:v>3.76</c:v>
                      </c:pt>
                      <c:pt idx="3210">
                        <c:v>3.7850000000000001</c:v>
                      </c:pt>
                      <c:pt idx="3211">
                        <c:v>3.7850000000000001</c:v>
                      </c:pt>
                      <c:pt idx="3212">
                        <c:v>3.7850000000000001</c:v>
                      </c:pt>
                      <c:pt idx="3213">
                        <c:v>3.7850000000000001</c:v>
                      </c:pt>
                      <c:pt idx="3214">
                        <c:v>3.7850000000000001</c:v>
                      </c:pt>
                      <c:pt idx="3215">
                        <c:v>3.7559999999999998</c:v>
                      </c:pt>
                      <c:pt idx="3216">
                        <c:v>3.7559999999999998</c:v>
                      </c:pt>
                      <c:pt idx="3217">
                        <c:v>3.7559999999999998</c:v>
                      </c:pt>
                      <c:pt idx="3218">
                        <c:v>3.7559999999999998</c:v>
                      </c:pt>
                      <c:pt idx="3219">
                        <c:v>3.7559999999999998</c:v>
                      </c:pt>
                      <c:pt idx="3220">
                        <c:v>3.8260000000000001</c:v>
                      </c:pt>
                      <c:pt idx="3221">
                        <c:v>3.8260000000000001</c:v>
                      </c:pt>
                      <c:pt idx="3222">
                        <c:v>3.8260000000000001</c:v>
                      </c:pt>
                      <c:pt idx="3223">
                        <c:v>3.8260000000000001</c:v>
                      </c:pt>
                      <c:pt idx="3224">
                        <c:v>3.8260000000000001</c:v>
                      </c:pt>
                      <c:pt idx="3225">
                        <c:v>3.7610000000000001</c:v>
                      </c:pt>
                      <c:pt idx="3226">
                        <c:v>3.7610000000000001</c:v>
                      </c:pt>
                      <c:pt idx="3227">
                        <c:v>3.7610000000000001</c:v>
                      </c:pt>
                      <c:pt idx="3228">
                        <c:v>3.7610000000000001</c:v>
                      </c:pt>
                      <c:pt idx="3229">
                        <c:v>3.7610000000000001</c:v>
                      </c:pt>
                      <c:pt idx="3230">
                        <c:v>3.8620000000000001</c:v>
                      </c:pt>
                      <c:pt idx="3231">
                        <c:v>3.8620000000000001</c:v>
                      </c:pt>
                      <c:pt idx="3232">
                        <c:v>3.8620000000000001</c:v>
                      </c:pt>
                      <c:pt idx="3233">
                        <c:v>3.8620000000000001</c:v>
                      </c:pt>
                      <c:pt idx="3234">
                        <c:v>3.8620000000000001</c:v>
                      </c:pt>
                      <c:pt idx="3235">
                        <c:v>3.7749999999999999</c:v>
                      </c:pt>
                      <c:pt idx="3236">
                        <c:v>3.7749999999999999</c:v>
                      </c:pt>
                      <c:pt idx="3237">
                        <c:v>3.7749999999999999</c:v>
                      </c:pt>
                      <c:pt idx="3238">
                        <c:v>3.7749999999999999</c:v>
                      </c:pt>
                      <c:pt idx="3239">
                        <c:v>3.7749999999999999</c:v>
                      </c:pt>
                      <c:pt idx="3240">
                        <c:v>3.863</c:v>
                      </c:pt>
                      <c:pt idx="3241">
                        <c:v>3.863</c:v>
                      </c:pt>
                      <c:pt idx="3242">
                        <c:v>3.863</c:v>
                      </c:pt>
                      <c:pt idx="3243">
                        <c:v>3.863</c:v>
                      </c:pt>
                      <c:pt idx="3244">
                        <c:v>3.863</c:v>
                      </c:pt>
                      <c:pt idx="3245">
                        <c:v>3.7869999999999999</c:v>
                      </c:pt>
                      <c:pt idx="3246">
                        <c:v>3.7869999999999999</c:v>
                      </c:pt>
                      <c:pt idx="3247">
                        <c:v>3.7869999999999999</c:v>
                      </c:pt>
                      <c:pt idx="3248">
                        <c:v>3.7869999999999999</c:v>
                      </c:pt>
                      <c:pt idx="3249">
                        <c:v>3.7869999999999999</c:v>
                      </c:pt>
                      <c:pt idx="3250">
                        <c:v>3.859</c:v>
                      </c:pt>
                      <c:pt idx="3251">
                        <c:v>3.859</c:v>
                      </c:pt>
                      <c:pt idx="3252">
                        <c:v>3.859</c:v>
                      </c:pt>
                      <c:pt idx="3253">
                        <c:v>3.859</c:v>
                      </c:pt>
                      <c:pt idx="3254">
                        <c:v>3.859</c:v>
                      </c:pt>
                      <c:pt idx="3255">
                        <c:v>3.8239999999999998</c:v>
                      </c:pt>
                      <c:pt idx="3256">
                        <c:v>3.8239999999999998</c:v>
                      </c:pt>
                      <c:pt idx="3257">
                        <c:v>3.8239999999999998</c:v>
                      </c:pt>
                      <c:pt idx="3258">
                        <c:v>3.8239999999999998</c:v>
                      </c:pt>
                      <c:pt idx="3259">
                        <c:v>3.8239999999999998</c:v>
                      </c:pt>
                      <c:pt idx="3260">
                        <c:v>3.883</c:v>
                      </c:pt>
                      <c:pt idx="3261">
                        <c:v>3.883</c:v>
                      </c:pt>
                      <c:pt idx="3262">
                        <c:v>3.883</c:v>
                      </c:pt>
                      <c:pt idx="3263">
                        <c:v>3.883</c:v>
                      </c:pt>
                      <c:pt idx="3264">
                        <c:v>3.883</c:v>
                      </c:pt>
                      <c:pt idx="3265">
                        <c:v>3.8570000000000002</c:v>
                      </c:pt>
                      <c:pt idx="3266">
                        <c:v>3.8570000000000002</c:v>
                      </c:pt>
                      <c:pt idx="3267">
                        <c:v>3.8570000000000002</c:v>
                      </c:pt>
                      <c:pt idx="3268">
                        <c:v>3.8570000000000002</c:v>
                      </c:pt>
                      <c:pt idx="3269">
                        <c:v>3.8570000000000002</c:v>
                      </c:pt>
                      <c:pt idx="3270">
                        <c:v>3.8660000000000001</c:v>
                      </c:pt>
                      <c:pt idx="3271">
                        <c:v>3.8660000000000001</c:v>
                      </c:pt>
                      <c:pt idx="3272">
                        <c:v>3.8660000000000001</c:v>
                      </c:pt>
                      <c:pt idx="3273">
                        <c:v>3.8660000000000001</c:v>
                      </c:pt>
                      <c:pt idx="3274">
                        <c:v>3.8660000000000001</c:v>
                      </c:pt>
                      <c:pt idx="3275">
                        <c:v>3.843</c:v>
                      </c:pt>
                      <c:pt idx="3276">
                        <c:v>3.843</c:v>
                      </c:pt>
                      <c:pt idx="3277">
                        <c:v>3.843</c:v>
                      </c:pt>
                      <c:pt idx="3278">
                        <c:v>3.843</c:v>
                      </c:pt>
                      <c:pt idx="3279">
                        <c:v>3.843</c:v>
                      </c:pt>
                      <c:pt idx="3280">
                        <c:v>3.9830000000000001</c:v>
                      </c:pt>
                      <c:pt idx="3281">
                        <c:v>3.9830000000000001</c:v>
                      </c:pt>
                      <c:pt idx="3282">
                        <c:v>3.9830000000000001</c:v>
                      </c:pt>
                      <c:pt idx="3283">
                        <c:v>3.9830000000000001</c:v>
                      </c:pt>
                      <c:pt idx="3284">
                        <c:v>3.9830000000000001</c:v>
                      </c:pt>
                      <c:pt idx="3285">
                        <c:v>3.8769999999999998</c:v>
                      </c:pt>
                      <c:pt idx="3286">
                        <c:v>3.8769999999999998</c:v>
                      </c:pt>
                      <c:pt idx="3287">
                        <c:v>3.8769999999999998</c:v>
                      </c:pt>
                      <c:pt idx="3288">
                        <c:v>3.8769999999999998</c:v>
                      </c:pt>
                      <c:pt idx="3289">
                        <c:v>3.8769999999999998</c:v>
                      </c:pt>
                      <c:pt idx="3290">
                        <c:v>3.819</c:v>
                      </c:pt>
                      <c:pt idx="3291">
                        <c:v>3.819</c:v>
                      </c:pt>
                      <c:pt idx="3292">
                        <c:v>3.819</c:v>
                      </c:pt>
                      <c:pt idx="3293">
                        <c:v>3.819</c:v>
                      </c:pt>
                      <c:pt idx="3294">
                        <c:v>3.819</c:v>
                      </c:pt>
                      <c:pt idx="3295">
                        <c:v>3.9910000000000001</c:v>
                      </c:pt>
                      <c:pt idx="3296">
                        <c:v>3.9910000000000001</c:v>
                      </c:pt>
                      <c:pt idx="3297">
                        <c:v>3.9910000000000001</c:v>
                      </c:pt>
                      <c:pt idx="3298">
                        <c:v>3.9910000000000001</c:v>
                      </c:pt>
                      <c:pt idx="3299">
                        <c:v>3.9910000000000001</c:v>
                      </c:pt>
                      <c:pt idx="3300">
                        <c:v>3.988</c:v>
                      </c:pt>
                      <c:pt idx="3301">
                        <c:v>3.988</c:v>
                      </c:pt>
                      <c:pt idx="3302">
                        <c:v>3.988</c:v>
                      </c:pt>
                      <c:pt idx="3303">
                        <c:v>3.988</c:v>
                      </c:pt>
                      <c:pt idx="3304">
                        <c:v>3.988</c:v>
                      </c:pt>
                      <c:pt idx="3305">
                        <c:v>3.952</c:v>
                      </c:pt>
                      <c:pt idx="3306">
                        <c:v>3.952</c:v>
                      </c:pt>
                      <c:pt idx="3307">
                        <c:v>3.952</c:v>
                      </c:pt>
                      <c:pt idx="3308">
                        <c:v>3.952</c:v>
                      </c:pt>
                      <c:pt idx="3309">
                        <c:v>3.952</c:v>
                      </c:pt>
                      <c:pt idx="3310">
                        <c:v>3.97</c:v>
                      </c:pt>
                      <c:pt idx="3311">
                        <c:v>3.97</c:v>
                      </c:pt>
                      <c:pt idx="3312">
                        <c:v>3.97</c:v>
                      </c:pt>
                      <c:pt idx="3313">
                        <c:v>3.97</c:v>
                      </c:pt>
                      <c:pt idx="3314">
                        <c:v>3.97</c:v>
                      </c:pt>
                      <c:pt idx="3315">
                        <c:v>4.0590000000000002</c:v>
                      </c:pt>
                      <c:pt idx="3316">
                        <c:v>4.0590000000000002</c:v>
                      </c:pt>
                      <c:pt idx="3317">
                        <c:v>4.0590000000000002</c:v>
                      </c:pt>
                      <c:pt idx="3318">
                        <c:v>4.0590000000000002</c:v>
                      </c:pt>
                      <c:pt idx="3319">
                        <c:v>4.0590000000000002</c:v>
                      </c:pt>
                      <c:pt idx="3320">
                        <c:v>4.0060000000000002</c:v>
                      </c:pt>
                      <c:pt idx="3321">
                        <c:v>4.0060000000000002</c:v>
                      </c:pt>
                      <c:pt idx="3322">
                        <c:v>4.0060000000000002</c:v>
                      </c:pt>
                      <c:pt idx="3323">
                        <c:v>4.0060000000000002</c:v>
                      </c:pt>
                      <c:pt idx="3324">
                        <c:v>4.0060000000000002</c:v>
                      </c:pt>
                      <c:pt idx="3325">
                        <c:v>3.9780000000000002</c:v>
                      </c:pt>
                      <c:pt idx="3326">
                        <c:v>3.9780000000000002</c:v>
                      </c:pt>
                      <c:pt idx="3327">
                        <c:v>3.9780000000000002</c:v>
                      </c:pt>
                      <c:pt idx="3328">
                        <c:v>3.9780000000000002</c:v>
                      </c:pt>
                      <c:pt idx="3329">
                        <c:v>3.9780000000000002</c:v>
                      </c:pt>
                      <c:pt idx="3330">
                        <c:v>4.093</c:v>
                      </c:pt>
                      <c:pt idx="3331">
                        <c:v>4.093</c:v>
                      </c:pt>
                      <c:pt idx="3332">
                        <c:v>4.093</c:v>
                      </c:pt>
                      <c:pt idx="3333">
                        <c:v>4.093</c:v>
                      </c:pt>
                      <c:pt idx="3334">
                        <c:v>4.093</c:v>
                      </c:pt>
                      <c:pt idx="3335">
                        <c:v>4.0369999999999999</c:v>
                      </c:pt>
                      <c:pt idx="3336">
                        <c:v>4.0369999999999999</c:v>
                      </c:pt>
                      <c:pt idx="3337">
                        <c:v>4.0369999999999999</c:v>
                      </c:pt>
                      <c:pt idx="3338">
                        <c:v>4.0369999999999999</c:v>
                      </c:pt>
                      <c:pt idx="3339">
                        <c:v>4.0369999999999999</c:v>
                      </c:pt>
                      <c:pt idx="3340">
                        <c:v>4.226</c:v>
                      </c:pt>
                      <c:pt idx="3341">
                        <c:v>4.226</c:v>
                      </c:pt>
                      <c:pt idx="3342">
                        <c:v>4.226</c:v>
                      </c:pt>
                      <c:pt idx="3343">
                        <c:v>4.226</c:v>
                      </c:pt>
                      <c:pt idx="3344">
                        <c:v>4.226</c:v>
                      </c:pt>
                      <c:pt idx="3345">
                        <c:v>4.1870000000000003</c:v>
                      </c:pt>
                      <c:pt idx="3346">
                        <c:v>4.1870000000000003</c:v>
                      </c:pt>
                      <c:pt idx="3347">
                        <c:v>4.1870000000000003</c:v>
                      </c:pt>
                      <c:pt idx="3348">
                        <c:v>4.1870000000000003</c:v>
                      </c:pt>
                      <c:pt idx="3349">
                        <c:v>4.1870000000000003</c:v>
                      </c:pt>
                      <c:pt idx="3350">
                        <c:v>4.1959999999999997</c:v>
                      </c:pt>
                      <c:pt idx="3351">
                        <c:v>4.1959999999999997</c:v>
                      </c:pt>
                      <c:pt idx="3352">
                        <c:v>4.1959999999999997</c:v>
                      </c:pt>
                      <c:pt idx="3353">
                        <c:v>4.1959999999999997</c:v>
                      </c:pt>
                      <c:pt idx="3354">
                        <c:v>4.1959999999999997</c:v>
                      </c:pt>
                      <c:pt idx="3355">
                        <c:v>4.016</c:v>
                      </c:pt>
                      <c:pt idx="3356">
                        <c:v>4.016</c:v>
                      </c:pt>
                      <c:pt idx="3357">
                        <c:v>4.016</c:v>
                      </c:pt>
                      <c:pt idx="3358">
                        <c:v>4.016</c:v>
                      </c:pt>
                      <c:pt idx="3359">
                        <c:v>4.016</c:v>
                      </c:pt>
                      <c:pt idx="3360">
                        <c:v>4.077</c:v>
                      </c:pt>
                      <c:pt idx="3361">
                        <c:v>4.077</c:v>
                      </c:pt>
                      <c:pt idx="3362">
                        <c:v>4.077</c:v>
                      </c:pt>
                      <c:pt idx="3363">
                        <c:v>4.077</c:v>
                      </c:pt>
                      <c:pt idx="3364">
                        <c:v>4.077</c:v>
                      </c:pt>
                      <c:pt idx="3365">
                        <c:v>4.1390000000000002</c:v>
                      </c:pt>
                      <c:pt idx="3366">
                        <c:v>4.1390000000000002</c:v>
                      </c:pt>
                      <c:pt idx="3367">
                        <c:v>4.1390000000000002</c:v>
                      </c:pt>
                      <c:pt idx="3368">
                        <c:v>4.1390000000000002</c:v>
                      </c:pt>
                      <c:pt idx="3369">
                        <c:v>4.1390000000000002</c:v>
                      </c:pt>
                      <c:pt idx="3370">
                        <c:v>4.1779999999999999</c:v>
                      </c:pt>
                      <c:pt idx="3371">
                        <c:v>4.1779999999999999</c:v>
                      </c:pt>
                      <c:pt idx="3372">
                        <c:v>4.1779999999999999</c:v>
                      </c:pt>
                      <c:pt idx="3373">
                        <c:v>4.1779999999999999</c:v>
                      </c:pt>
                      <c:pt idx="3374">
                        <c:v>4.1779999999999999</c:v>
                      </c:pt>
                      <c:pt idx="3375">
                        <c:v>4.1769999999999996</c:v>
                      </c:pt>
                      <c:pt idx="3376">
                        <c:v>4.1769999999999996</c:v>
                      </c:pt>
                      <c:pt idx="3377">
                        <c:v>4.1769999999999996</c:v>
                      </c:pt>
                      <c:pt idx="3378">
                        <c:v>4.1769999999999996</c:v>
                      </c:pt>
                      <c:pt idx="3379">
                        <c:v>4.1769999999999996</c:v>
                      </c:pt>
                      <c:pt idx="3380">
                        <c:v>4.343</c:v>
                      </c:pt>
                      <c:pt idx="3381">
                        <c:v>4.343</c:v>
                      </c:pt>
                      <c:pt idx="3382">
                        <c:v>4.343</c:v>
                      </c:pt>
                      <c:pt idx="3383">
                        <c:v>4.343</c:v>
                      </c:pt>
                      <c:pt idx="3384">
                        <c:v>4.343</c:v>
                      </c:pt>
                      <c:pt idx="3385">
                        <c:v>4.1639999999999997</c:v>
                      </c:pt>
                      <c:pt idx="3386">
                        <c:v>4.1639999999999997</c:v>
                      </c:pt>
                      <c:pt idx="3387">
                        <c:v>4.1639999999999997</c:v>
                      </c:pt>
                      <c:pt idx="3388">
                        <c:v>4.1639999999999997</c:v>
                      </c:pt>
                      <c:pt idx="3389">
                        <c:v>4.1639999999999997</c:v>
                      </c:pt>
                      <c:pt idx="3390">
                        <c:v>4.335</c:v>
                      </c:pt>
                      <c:pt idx="3391">
                        <c:v>4.335</c:v>
                      </c:pt>
                      <c:pt idx="3392">
                        <c:v>4.335</c:v>
                      </c:pt>
                      <c:pt idx="3393">
                        <c:v>4.335</c:v>
                      </c:pt>
                      <c:pt idx="3394">
                        <c:v>4.335</c:v>
                      </c:pt>
                      <c:pt idx="3395">
                        <c:v>4.2679999999999998</c:v>
                      </c:pt>
                      <c:pt idx="3396">
                        <c:v>4.2679999999999998</c:v>
                      </c:pt>
                      <c:pt idx="3397">
                        <c:v>4.2679999999999998</c:v>
                      </c:pt>
                      <c:pt idx="3398">
                        <c:v>4.2679999999999998</c:v>
                      </c:pt>
                      <c:pt idx="3399">
                        <c:v>4.2679999999999998</c:v>
                      </c:pt>
                      <c:pt idx="3400">
                        <c:v>4.2839999999999998</c:v>
                      </c:pt>
                      <c:pt idx="3401">
                        <c:v>4.2839999999999998</c:v>
                      </c:pt>
                      <c:pt idx="3402">
                        <c:v>4.2839999999999998</c:v>
                      </c:pt>
                      <c:pt idx="3403">
                        <c:v>4.2839999999999998</c:v>
                      </c:pt>
                      <c:pt idx="3404">
                        <c:v>4.2839999999999998</c:v>
                      </c:pt>
                      <c:pt idx="3405">
                        <c:v>4.4020000000000001</c:v>
                      </c:pt>
                      <c:pt idx="3406">
                        <c:v>4.4020000000000001</c:v>
                      </c:pt>
                      <c:pt idx="3407">
                        <c:v>4.4020000000000001</c:v>
                      </c:pt>
                      <c:pt idx="3408">
                        <c:v>4.4020000000000001</c:v>
                      </c:pt>
                      <c:pt idx="3409">
                        <c:v>4.4020000000000001</c:v>
                      </c:pt>
                      <c:pt idx="3410">
                        <c:v>4.2160000000000002</c:v>
                      </c:pt>
                      <c:pt idx="3411">
                        <c:v>4.2160000000000002</c:v>
                      </c:pt>
                      <c:pt idx="3412">
                        <c:v>4.2160000000000002</c:v>
                      </c:pt>
                      <c:pt idx="3413">
                        <c:v>4.2160000000000002</c:v>
                      </c:pt>
                      <c:pt idx="3414">
                        <c:v>4.2160000000000002</c:v>
                      </c:pt>
                      <c:pt idx="3415">
                        <c:v>4.2779999999999996</c:v>
                      </c:pt>
                      <c:pt idx="3416">
                        <c:v>4.2779999999999996</c:v>
                      </c:pt>
                      <c:pt idx="3417">
                        <c:v>4.2779999999999996</c:v>
                      </c:pt>
                      <c:pt idx="3418">
                        <c:v>4.2779999999999996</c:v>
                      </c:pt>
                      <c:pt idx="3419">
                        <c:v>4.2779999999999996</c:v>
                      </c:pt>
                      <c:pt idx="3420">
                        <c:v>4.32</c:v>
                      </c:pt>
                      <c:pt idx="3421">
                        <c:v>4.32</c:v>
                      </c:pt>
                      <c:pt idx="3422">
                        <c:v>4.32</c:v>
                      </c:pt>
                      <c:pt idx="3423">
                        <c:v>4.32</c:v>
                      </c:pt>
                      <c:pt idx="3424">
                        <c:v>4.32</c:v>
                      </c:pt>
                      <c:pt idx="3425">
                        <c:v>4.37</c:v>
                      </c:pt>
                      <c:pt idx="3426">
                        <c:v>4.37</c:v>
                      </c:pt>
                      <c:pt idx="3427">
                        <c:v>4.37</c:v>
                      </c:pt>
                      <c:pt idx="3428">
                        <c:v>4.37</c:v>
                      </c:pt>
                      <c:pt idx="3429">
                        <c:v>4.37</c:v>
                      </c:pt>
                      <c:pt idx="3430">
                        <c:v>4.4260000000000002</c:v>
                      </c:pt>
                      <c:pt idx="3431">
                        <c:v>4.4260000000000002</c:v>
                      </c:pt>
                      <c:pt idx="3432">
                        <c:v>4.4260000000000002</c:v>
                      </c:pt>
                      <c:pt idx="3433">
                        <c:v>4.4260000000000002</c:v>
                      </c:pt>
                      <c:pt idx="3434">
                        <c:v>4.4260000000000002</c:v>
                      </c:pt>
                      <c:pt idx="3435">
                        <c:v>4.5270000000000001</c:v>
                      </c:pt>
                      <c:pt idx="3436">
                        <c:v>4.5270000000000001</c:v>
                      </c:pt>
                      <c:pt idx="3437">
                        <c:v>4.5270000000000001</c:v>
                      </c:pt>
                      <c:pt idx="3438">
                        <c:v>4.5270000000000001</c:v>
                      </c:pt>
                      <c:pt idx="3439">
                        <c:v>4.5270000000000001</c:v>
                      </c:pt>
                      <c:pt idx="3440">
                        <c:v>4.4480000000000004</c:v>
                      </c:pt>
                      <c:pt idx="3441">
                        <c:v>4.4480000000000004</c:v>
                      </c:pt>
                      <c:pt idx="3442">
                        <c:v>4.4480000000000004</c:v>
                      </c:pt>
                      <c:pt idx="3443">
                        <c:v>4.4480000000000004</c:v>
                      </c:pt>
                      <c:pt idx="3444">
                        <c:v>4.4480000000000004</c:v>
                      </c:pt>
                      <c:pt idx="3445">
                        <c:v>4.4800000000000004</c:v>
                      </c:pt>
                      <c:pt idx="3446">
                        <c:v>4.4800000000000004</c:v>
                      </c:pt>
                      <c:pt idx="3447">
                        <c:v>4.4800000000000004</c:v>
                      </c:pt>
                      <c:pt idx="3448">
                        <c:v>4.4800000000000004</c:v>
                      </c:pt>
                      <c:pt idx="3449">
                        <c:v>4.4800000000000004</c:v>
                      </c:pt>
                      <c:pt idx="3450">
                        <c:v>4.468</c:v>
                      </c:pt>
                      <c:pt idx="3451">
                        <c:v>4.468</c:v>
                      </c:pt>
                      <c:pt idx="3452">
                        <c:v>4.468</c:v>
                      </c:pt>
                      <c:pt idx="3453">
                        <c:v>4.468</c:v>
                      </c:pt>
                      <c:pt idx="3454">
                        <c:v>4.468</c:v>
                      </c:pt>
                      <c:pt idx="3455">
                        <c:v>4.2830000000000004</c:v>
                      </c:pt>
                      <c:pt idx="3456">
                        <c:v>4.2830000000000004</c:v>
                      </c:pt>
                      <c:pt idx="3457">
                        <c:v>4.2830000000000004</c:v>
                      </c:pt>
                      <c:pt idx="3458">
                        <c:v>4.2830000000000004</c:v>
                      </c:pt>
                      <c:pt idx="3459">
                        <c:v>4.2830000000000004</c:v>
                      </c:pt>
                      <c:pt idx="3460">
                        <c:v>4.3940000000000001</c:v>
                      </c:pt>
                      <c:pt idx="3461">
                        <c:v>4.3940000000000001</c:v>
                      </c:pt>
                      <c:pt idx="3462">
                        <c:v>4.3940000000000001</c:v>
                      </c:pt>
                      <c:pt idx="3463">
                        <c:v>4.3940000000000001</c:v>
                      </c:pt>
                      <c:pt idx="3464">
                        <c:v>4.3940000000000001</c:v>
                      </c:pt>
                      <c:pt idx="3465">
                        <c:v>4.5750000000000002</c:v>
                      </c:pt>
                      <c:pt idx="3466">
                        <c:v>4.5750000000000002</c:v>
                      </c:pt>
                      <c:pt idx="3467">
                        <c:v>4.5750000000000002</c:v>
                      </c:pt>
                      <c:pt idx="3468">
                        <c:v>4.5750000000000002</c:v>
                      </c:pt>
                      <c:pt idx="3469">
                        <c:v>4.5750000000000002</c:v>
                      </c:pt>
                      <c:pt idx="3470">
                        <c:v>4.5999999999999996</c:v>
                      </c:pt>
                      <c:pt idx="3471">
                        <c:v>4.5999999999999996</c:v>
                      </c:pt>
                      <c:pt idx="3472">
                        <c:v>4.5999999999999996</c:v>
                      </c:pt>
                      <c:pt idx="3473">
                        <c:v>4.5999999999999996</c:v>
                      </c:pt>
                      <c:pt idx="3474">
                        <c:v>4.5999999999999996</c:v>
                      </c:pt>
                      <c:pt idx="3475">
                        <c:v>4.46</c:v>
                      </c:pt>
                      <c:pt idx="3476">
                        <c:v>4.46</c:v>
                      </c:pt>
                      <c:pt idx="3477">
                        <c:v>4.46</c:v>
                      </c:pt>
                      <c:pt idx="3478">
                        <c:v>4.46</c:v>
                      </c:pt>
                      <c:pt idx="3479">
                        <c:v>4.46</c:v>
                      </c:pt>
                      <c:pt idx="3480">
                        <c:v>4.5629999999999997</c:v>
                      </c:pt>
                      <c:pt idx="3481">
                        <c:v>4.5629999999999997</c:v>
                      </c:pt>
                      <c:pt idx="3482">
                        <c:v>4.5629999999999997</c:v>
                      </c:pt>
                      <c:pt idx="3483">
                        <c:v>4.5629999999999997</c:v>
                      </c:pt>
                      <c:pt idx="3484">
                        <c:v>4.5629999999999997</c:v>
                      </c:pt>
                      <c:pt idx="3485">
                        <c:v>4.46</c:v>
                      </c:pt>
                      <c:pt idx="3486">
                        <c:v>4.46</c:v>
                      </c:pt>
                      <c:pt idx="3487">
                        <c:v>4.46</c:v>
                      </c:pt>
                      <c:pt idx="3488">
                        <c:v>4.46</c:v>
                      </c:pt>
                      <c:pt idx="3489">
                        <c:v>4.46</c:v>
                      </c:pt>
                      <c:pt idx="3490">
                        <c:v>4.4930000000000003</c:v>
                      </c:pt>
                      <c:pt idx="3491">
                        <c:v>4.4930000000000003</c:v>
                      </c:pt>
                      <c:pt idx="3492">
                        <c:v>4.4930000000000003</c:v>
                      </c:pt>
                      <c:pt idx="3493">
                        <c:v>4.4930000000000003</c:v>
                      </c:pt>
                      <c:pt idx="3494">
                        <c:v>4.4930000000000003</c:v>
                      </c:pt>
                      <c:pt idx="3495">
                        <c:v>4.6420000000000003</c:v>
                      </c:pt>
                      <c:pt idx="3496">
                        <c:v>4.6420000000000003</c:v>
                      </c:pt>
                      <c:pt idx="3497">
                        <c:v>4.6420000000000003</c:v>
                      </c:pt>
                      <c:pt idx="3498">
                        <c:v>4.6420000000000003</c:v>
                      </c:pt>
                      <c:pt idx="3499">
                        <c:v>4.6420000000000003</c:v>
                      </c:pt>
                      <c:pt idx="3500">
                        <c:v>4.5919999999999996</c:v>
                      </c:pt>
                      <c:pt idx="3501">
                        <c:v>4.5919999999999996</c:v>
                      </c:pt>
                      <c:pt idx="3502">
                        <c:v>4.5919999999999996</c:v>
                      </c:pt>
                      <c:pt idx="3503">
                        <c:v>4.5919999999999996</c:v>
                      </c:pt>
                      <c:pt idx="3504">
                        <c:v>4.5919999999999996</c:v>
                      </c:pt>
                      <c:pt idx="3505">
                        <c:v>4.4720000000000004</c:v>
                      </c:pt>
                      <c:pt idx="3506">
                        <c:v>4.4720000000000004</c:v>
                      </c:pt>
                      <c:pt idx="3507">
                        <c:v>4.4720000000000004</c:v>
                      </c:pt>
                      <c:pt idx="3508">
                        <c:v>4.4720000000000004</c:v>
                      </c:pt>
                      <c:pt idx="3509">
                        <c:v>4.4720000000000004</c:v>
                      </c:pt>
                      <c:pt idx="3510">
                        <c:v>4.6749999999999998</c:v>
                      </c:pt>
                      <c:pt idx="3511">
                        <c:v>4.6749999999999998</c:v>
                      </c:pt>
                      <c:pt idx="3512">
                        <c:v>4.6749999999999998</c:v>
                      </c:pt>
                      <c:pt idx="3513">
                        <c:v>4.6749999999999998</c:v>
                      </c:pt>
                      <c:pt idx="3514">
                        <c:v>4.6749999999999998</c:v>
                      </c:pt>
                      <c:pt idx="3515">
                        <c:v>4.7610000000000001</c:v>
                      </c:pt>
                      <c:pt idx="3516">
                        <c:v>4.7610000000000001</c:v>
                      </c:pt>
                      <c:pt idx="3517">
                        <c:v>4.7610000000000001</c:v>
                      </c:pt>
                      <c:pt idx="3518">
                        <c:v>4.7610000000000001</c:v>
                      </c:pt>
                      <c:pt idx="3519">
                        <c:v>4.7610000000000001</c:v>
                      </c:pt>
                      <c:pt idx="3520">
                        <c:v>4.4930000000000003</c:v>
                      </c:pt>
                      <c:pt idx="3521">
                        <c:v>4.4930000000000003</c:v>
                      </c:pt>
                      <c:pt idx="3522">
                        <c:v>4.4930000000000003</c:v>
                      </c:pt>
                      <c:pt idx="3523">
                        <c:v>4.4930000000000003</c:v>
                      </c:pt>
                      <c:pt idx="3524">
                        <c:v>4.4930000000000003</c:v>
                      </c:pt>
                      <c:pt idx="3525">
                        <c:v>4.5279999999999996</c:v>
                      </c:pt>
                      <c:pt idx="3526">
                        <c:v>4.5279999999999996</c:v>
                      </c:pt>
                      <c:pt idx="3527">
                        <c:v>4.5279999999999996</c:v>
                      </c:pt>
                      <c:pt idx="3528">
                        <c:v>4.5279999999999996</c:v>
                      </c:pt>
                      <c:pt idx="3529">
                        <c:v>4.5279999999999996</c:v>
                      </c:pt>
                      <c:pt idx="3530">
                        <c:v>4.5629999999999997</c:v>
                      </c:pt>
                      <c:pt idx="3531">
                        <c:v>4.5629999999999997</c:v>
                      </c:pt>
                      <c:pt idx="3532">
                        <c:v>4.5629999999999997</c:v>
                      </c:pt>
                      <c:pt idx="3533">
                        <c:v>4.5629999999999997</c:v>
                      </c:pt>
                      <c:pt idx="3534">
                        <c:v>4.5629999999999997</c:v>
                      </c:pt>
                      <c:pt idx="3535">
                        <c:v>4.585</c:v>
                      </c:pt>
                      <c:pt idx="3536">
                        <c:v>4.585</c:v>
                      </c:pt>
                      <c:pt idx="3537">
                        <c:v>4.585</c:v>
                      </c:pt>
                      <c:pt idx="3538">
                        <c:v>4.585</c:v>
                      </c:pt>
                      <c:pt idx="3539">
                        <c:v>4.585</c:v>
                      </c:pt>
                      <c:pt idx="3540">
                        <c:v>4.6470000000000002</c:v>
                      </c:pt>
                      <c:pt idx="3541">
                        <c:v>4.6470000000000002</c:v>
                      </c:pt>
                      <c:pt idx="3542">
                        <c:v>4.6470000000000002</c:v>
                      </c:pt>
                      <c:pt idx="3543">
                        <c:v>4.6470000000000002</c:v>
                      </c:pt>
                      <c:pt idx="3544">
                        <c:v>4.6470000000000002</c:v>
                      </c:pt>
                      <c:pt idx="3545">
                        <c:v>4.625</c:v>
                      </c:pt>
                      <c:pt idx="3546">
                        <c:v>4.625</c:v>
                      </c:pt>
                      <c:pt idx="3547">
                        <c:v>4.625</c:v>
                      </c:pt>
                      <c:pt idx="3548">
                        <c:v>4.625</c:v>
                      </c:pt>
                      <c:pt idx="3549">
                        <c:v>4.625</c:v>
                      </c:pt>
                      <c:pt idx="3550">
                        <c:v>4.5999999999999996</c:v>
                      </c:pt>
                      <c:pt idx="3551">
                        <c:v>4.5999999999999996</c:v>
                      </c:pt>
                      <c:pt idx="3552">
                        <c:v>4.5999999999999996</c:v>
                      </c:pt>
                      <c:pt idx="3553">
                        <c:v>4.5999999999999996</c:v>
                      </c:pt>
                      <c:pt idx="3554">
                        <c:v>4.5999999999999996</c:v>
                      </c:pt>
                      <c:pt idx="3555">
                        <c:v>4.7489999999999997</c:v>
                      </c:pt>
                      <c:pt idx="3556">
                        <c:v>4.7489999999999997</c:v>
                      </c:pt>
                      <c:pt idx="3557">
                        <c:v>4.7489999999999997</c:v>
                      </c:pt>
                      <c:pt idx="3558">
                        <c:v>4.7489999999999997</c:v>
                      </c:pt>
                      <c:pt idx="3559">
                        <c:v>4.7489999999999997</c:v>
                      </c:pt>
                      <c:pt idx="3560">
                        <c:v>4.6239999999999997</c:v>
                      </c:pt>
                      <c:pt idx="3561">
                        <c:v>4.6239999999999997</c:v>
                      </c:pt>
                      <c:pt idx="3562">
                        <c:v>4.6239999999999997</c:v>
                      </c:pt>
                      <c:pt idx="3563">
                        <c:v>4.6239999999999997</c:v>
                      </c:pt>
                      <c:pt idx="3564">
                        <c:v>4.6239999999999997</c:v>
                      </c:pt>
                      <c:pt idx="3565">
                        <c:v>4.8979999999999997</c:v>
                      </c:pt>
                      <c:pt idx="3566">
                        <c:v>4.8979999999999997</c:v>
                      </c:pt>
                      <c:pt idx="3567">
                        <c:v>4.8979999999999997</c:v>
                      </c:pt>
                      <c:pt idx="3568">
                        <c:v>4.8979999999999997</c:v>
                      </c:pt>
                      <c:pt idx="3569">
                        <c:v>4.8979999999999997</c:v>
                      </c:pt>
                      <c:pt idx="3570">
                        <c:v>4.625</c:v>
                      </c:pt>
                      <c:pt idx="3571">
                        <c:v>4.625</c:v>
                      </c:pt>
                      <c:pt idx="3572">
                        <c:v>4.625</c:v>
                      </c:pt>
                      <c:pt idx="3573">
                        <c:v>4.625</c:v>
                      </c:pt>
                      <c:pt idx="3574">
                        <c:v>4.625</c:v>
                      </c:pt>
                      <c:pt idx="3575">
                        <c:v>4.798</c:v>
                      </c:pt>
                      <c:pt idx="3576">
                        <c:v>4.798</c:v>
                      </c:pt>
                      <c:pt idx="3577">
                        <c:v>4.798</c:v>
                      </c:pt>
                      <c:pt idx="3578">
                        <c:v>4.798</c:v>
                      </c:pt>
                      <c:pt idx="3579">
                        <c:v>4.798</c:v>
                      </c:pt>
                      <c:pt idx="3580">
                        <c:v>4.7130000000000001</c:v>
                      </c:pt>
                      <c:pt idx="3581">
                        <c:v>4.7130000000000001</c:v>
                      </c:pt>
                      <c:pt idx="3582">
                        <c:v>4.7130000000000001</c:v>
                      </c:pt>
                      <c:pt idx="3583">
                        <c:v>4.7130000000000001</c:v>
                      </c:pt>
                      <c:pt idx="3584">
                        <c:v>4.7130000000000001</c:v>
                      </c:pt>
                      <c:pt idx="3585">
                        <c:v>5.0529999999999999</c:v>
                      </c:pt>
                      <c:pt idx="3586">
                        <c:v>5.0529999999999999</c:v>
                      </c:pt>
                      <c:pt idx="3587">
                        <c:v>5.0529999999999999</c:v>
                      </c:pt>
                      <c:pt idx="3588">
                        <c:v>5.0529999999999999</c:v>
                      </c:pt>
                      <c:pt idx="3589">
                        <c:v>5.0529999999999999</c:v>
                      </c:pt>
                      <c:pt idx="3590">
                        <c:v>4.8440000000000003</c:v>
                      </c:pt>
                      <c:pt idx="3591">
                        <c:v>4.8440000000000003</c:v>
                      </c:pt>
                      <c:pt idx="3592">
                        <c:v>4.8440000000000003</c:v>
                      </c:pt>
                      <c:pt idx="3593">
                        <c:v>4.8440000000000003</c:v>
                      </c:pt>
                      <c:pt idx="3594">
                        <c:v>4.8440000000000003</c:v>
                      </c:pt>
                      <c:pt idx="3595">
                        <c:v>4.7030000000000003</c:v>
                      </c:pt>
                      <c:pt idx="3596">
                        <c:v>4.7030000000000003</c:v>
                      </c:pt>
                      <c:pt idx="3597">
                        <c:v>4.7030000000000003</c:v>
                      </c:pt>
                      <c:pt idx="3598">
                        <c:v>4.7030000000000003</c:v>
                      </c:pt>
                      <c:pt idx="3599">
                        <c:v>4.7030000000000003</c:v>
                      </c:pt>
                      <c:pt idx="3600">
                        <c:v>4.8949999999999996</c:v>
                      </c:pt>
                      <c:pt idx="3601">
                        <c:v>4.8949999999999996</c:v>
                      </c:pt>
                      <c:pt idx="3602">
                        <c:v>4.8949999999999996</c:v>
                      </c:pt>
                      <c:pt idx="3603">
                        <c:v>4.8949999999999996</c:v>
                      </c:pt>
                      <c:pt idx="3604">
                        <c:v>4.8949999999999996</c:v>
                      </c:pt>
                      <c:pt idx="3605">
                        <c:v>4.835</c:v>
                      </c:pt>
                      <c:pt idx="3606">
                        <c:v>4.835</c:v>
                      </c:pt>
                      <c:pt idx="3607">
                        <c:v>4.835</c:v>
                      </c:pt>
                      <c:pt idx="3608">
                        <c:v>4.835</c:v>
                      </c:pt>
                      <c:pt idx="3609">
                        <c:v>4.835</c:v>
                      </c:pt>
                      <c:pt idx="3610">
                        <c:v>4.8440000000000003</c:v>
                      </c:pt>
                      <c:pt idx="3611">
                        <c:v>4.8440000000000003</c:v>
                      </c:pt>
                      <c:pt idx="3612">
                        <c:v>4.8440000000000003</c:v>
                      </c:pt>
                      <c:pt idx="3613">
                        <c:v>4.8440000000000003</c:v>
                      </c:pt>
                      <c:pt idx="3614">
                        <c:v>4.8440000000000003</c:v>
                      </c:pt>
                      <c:pt idx="3615">
                        <c:v>4.3730000000000002</c:v>
                      </c:pt>
                      <c:pt idx="3616">
                        <c:v>4.3730000000000002</c:v>
                      </c:pt>
                      <c:pt idx="3617">
                        <c:v>4.3730000000000002</c:v>
                      </c:pt>
                      <c:pt idx="3618">
                        <c:v>4.3730000000000002</c:v>
                      </c:pt>
                      <c:pt idx="3619">
                        <c:v>4.3730000000000002</c:v>
                      </c:pt>
                      <c:pt idx="3620">
                        <c:v>4.4089999999999998</c:v>
                      </c:pt>
                      <c:pt idx="3621">
                        <c:v>4.4089999999999998</c:v>
                      </c:pt>
                      <c:pt idx="3622">
                        <c:v>4.4089999999999998</c:v>
                      </c:pt>
                      <c:pt idx="3623">
                        <c:v>4.4089999999999998</c:v>
                      </c:pt>
                      <c:pt idx="3624">
                        <c:v>4.4089999999999998</c:v>
                      </c:pt>
                      <c:pt idx="3625">
                        <c:v>4.4729999999999999</c:v>
                      </c:pt>
                      <c:pt idx="3626">
                        <c:v>4.4729999999999999</c:v>
                      </c:pt>
                      <c:pt idx="3627">
                        <c:v>4.4729999999999999</c:v>
                      </c:pt>
                      <c:pt idx="3628">
                        <c:v>4.4729999999999999</c:v>
                      </c:pt>
                      <c:pt idx="3629">
                        <c:v>4.4729999999999999</c:v>
                      </c:pt>
                      <c:pt idx="3630">
                        <c:v>4.5510000000000002</c:v>
                      </c:pt>
                      <c:pt idx="3631">
                        <c:v>4.5510000000000002</c:v>
                      </c:pt>
                      <c:pt idx="3632">
                        <c:v>4.5510000000000002</c:v>
                      </c:pt>
                      <c:pt idx="3633">
                        <c:v>4.5510000000000002</c:v>
                      </c:pt>
                      <c:pt idx="3634">
                        <c:v>4.5510000000000002</c:v>
                      </c:pt>
                      <c:pt idx="3635">
                        <c:v>4.4619999999999997</c:v>
                      </c:pt>
                      <c:pt idx="3636">
                        <c:v>4.4619999999999997</c:v>
                      </c:pt>
                      <c:pt idx="3637">
                        <c:v>4.4619999999999997</c:v>
                      </c:pt>
                      <c:pt idx="3638">
                        <c:v>4.4619999999999997</c:v>
                      </c:pt>
                      <c:pt idx="3639">
                        <c:v>4.4619999999999997</c:v>
                      </c:pt>
                      <c:pt idx="3640">
                        <c:v>4.3920000000000003</c:v>
                      </c:pt>
                      <c:pt idx="3641">
                        <c:v>4.3920000000000003</c:v>
                      </c:pt>
                      <c:pt idx="3642">
                        <c:v>4.3920000000000003</c:v>
                      </c:pt>
                      <c:pt idx="3643">
                        <c:v>4.3920000000000003</c:v>
                      </c:pt>
                      <c:pt idx="3644">
                        <c:v>4.3920000000000003</c:v>
                      </c:pt>
                      <c:pt idx="3645">
                        <c:v>4.5599999999999996</c:v>
                      </c:pt>
                      <c:pt idx="3646">
                        <c:v>4.5599999999999996</c:v>
                      </c:pt>
                      <c:pt idx="3647">
                        <c:v>4.5599999999999996</c:v>
                      </c:pt>
                      <c:pt idx="3648">
                        <c:v>4.5599999999999996</c:v>
                      </c:pt>
                      <c:pt idx="3649">
                        <c:v>4.5599999999999996</c:v>
                      </c:pt>
                      <c:pt idx="3650">
                        <c:v>4.5250000000000004</c:v>
                      </c:pt>
                      <c:pt idx="3651">
                        <c:v>4.5250000000000004</c:v>
                      </c:pt>
                      <c:pt idx="3652">
                        <c:v>4.5250000000000004</c:v>
                      </c:pt>
                      <c:pt idx="3653">
                        <c:v>4.5250000000000004</c:v>
                      </c:pt>
                      <c:pt idx="3654">
                        <c:v>4.5250000000000004</c:v>
                      </c:pt>
                      <c:pt idx="3655">
                        <c:v>4.1449999999999996</c:v>
                      </c:pt>
                      <c:pt idx="3656">
                        <c:v>4.1449999999999996</c:v>
                      </c:pt>
                      <c:pt idx="3657">
                        <c:v>4.1449999999999996</c:v>
                      </c:pt>
                      <c:pt idx="3658">
                        <c:v>4.1449999999999996</c:v>
                      </c:pt>
                      <c:pt idx="3659">
                        <c:v>4.1449999999999996</c:v>
                      </c:pt>
                      <c:pt idx="3660">
                        <c:v>4.1680000000000001</c:v>
                      </c:pt>
                      <c:pt idx="3661">
                        <c:v>4.1680000000000001</c:v>
                      </c:pt>
                      <c:pt idx="3662">
                        <c:v>4.1680000000000001</c:v>
                      </c:pt>
                      <c:pt idx="3663">
                        <c:v>4.1680000000000001</c:v>
                      </c:pt>
                      <c:pt idx="3664">
                        <c:v>4.1680000000000001</c:v>
                      </c:pt>
                      <c:pt idx="3665">
                        <c:v>4.1870000000000003</c:v>
                      </c:pt>
                      <c:pt idx="3666">
                        <c:v>4.1870000000000003</c:v>
                      </c:pt>
                      <c:pt idx="3667">
                        <c:v>4.1870000000000003</c:v>
                      </c:pt>
                      <c:pt idx="3668">
                        <c:v>4.1870000000000003</c:v>
                      </c:pt>
                      <c:pt idx="3669">
                        <c:v>4.1870000000000003</c:v>
                      </c:pt>
                      <c:pt idx="3670">
                        <c:v>4.1660000000000004</c:v>
                      </c:pt>
                      <c:pt idx="3671">
                        <c:v>4.1660000000000004</c:v>
                      </c:pt>
                      <c:pt idx="3672">
                        <c:v>4.1660000000000004</c:v>
                      </c:pt>
                      <c:pt idx="3673">
                        <c:v>4.1660000000000004</c:v>
                      </c:pt>
                      <c:pt idx="3674">
                        <c:v>4.1660000000000004</c:v>
                      </c:pt>
                      <c:pt idx="3675">
                        <c:v>4.1550000000000002</c:v>
                      </c:pt>
                      <c:pt idx="3676">
                        <c:v>4.1550000000000002</c:v>
                      </c:pt>
                      <c:pt idx="3677">
                        <c:v>4.1550000000000002</c:v>
                      </c:pt>
                      <c:pt idx="3678">
                        <c:v>4.1550000000000002</c:v>
                      </c:pt>
                      <c:pt idx="3679">
                        <c:v>4.1550000000000002</c:v>
                      </c:pt>
                      <c:pt idx="3680">
                        <c:v>4.1760000000000002</c:v>
                      </c:pt>
                      <c:pt idx="3681">
                        <c:v>4.1760000000000002</c:v>
                      </c:pt>
                      <c:pt idx="3682">
                        <c:v>4.1760000000000002</c:v>
                      </c:pt>
                      <c:pt idx="3683">
                        <c:v>4.1760000000000002</c:v>
                      </c:pt>
                      <c:pt idx="3684">
                        <c:v>4.1760000000000002</c:v>
                      </c:pt>
                      <c:pt idx="3685">
                        <c:v>3.9809999999999999</c:v>
                      </c:pt>
                      <c:pt idx="3686">
                        <c:v>3.9809999999999999</c:v>
                      </c:pt>
                      <c:pt idx="3687">
                        <c:v>3.9809999999999999</c:v>
                      </c:pt>
                      <c:pt idx="3688">
                        <c:v>3.9809999999999999</c:v>
                      </c:pt>
                      <c:pt idx="3689">
                        <c:v>3.9809999999999999</c:v>
                      </c:pt>
                      <c:pt idx="3690">
                        <c:v>4.0019999999999998</c:v>
                      </c:pt>
                      <c:pt idx="3691">
                        <c:v>4.0019999999999998</c:v>
                      </c:pt>
                      <c:pt idx="3692">
                        <c:v>4.0019999999999998</c:v>
                      </c:pt>
                      <c:pt idx="3693">
                        <c:v>4.0019999999999998</c:v>
                      </c:pt>
                      <c:pt idx="3694">
                        <c:v>4.0019999999999998</c:v>
                      </c:pt>
                      <c:pt idx="3695">
                        <c:v>4.024</c:v>
                      </c:pt>
                      <c:pt idx="3696">
                        <c:v>4.024</c:v>
                      </c:pt>
                      <c:pt idx="3697">
                        <c:v>4.024</c:v>
                      </c:pt>
                      <c:pt idx="3698">
                        <c:v>4.024</c:v>
                      </c:pt>
                      <c:pt idx="3699">
                        <c:v>4.024</c:v>
                      </c:pt>
                      <c:pt idx="3700">
                        <c:v>4.0789999999999997</c:v>
                      </c:pt>
                      <c:pt idx="3701">
                        <c:v>4.0789999999999997</c:v>
                      </c:pt>
                      <c:pt idx="3702">
                        <c:v>4.0789999999999997</c:v>
                      </c:pt>
                      <c:pt idx="3703">
                        <c:v>4.0789999999999997</c:v>
                      </c:pt>
                      <c:pt idx="3704">
                        <c:v>4.0789999999999997</c:v>
                      </c:pt>
                      <c:pt idx="3705">
                        <c:v>3.9180000000000001</c:v>
                      </c:pt>
                      <c:pt idx="3706">
                        <c:v>3.9180000000000001</c:v>
                      </c:pt>
                      <c:pt idx="3707">
                        <c:v>3.9180000000000001</c:v>
                      </c:pt>
                      <c:pt idx="3708">
                        <c:v>3.9180000000000001</c:v>
                      </c:pt>
                      <c:pt idx="3709">
                        <c:v>3.9180000000000001</c:v>
                      </c:pt>
                      <c:pt idx="3710">
                        <c:v>3.9329999999999998</c:v>
                      </c:pt>
                      <c:pt idx="3711">
                        <c:v>3.9329999999999998</c:v>
                      </c:pt>
                      <c:pt idx="3712">
                        <c:v>3.9329999999999998</c:v>
                      </c:pt>
                      <c:pt idx="3713">
                        <c:v>3.9329999999999998</c:v>
                      </c:pt>
                      <c:pt idx="3714">
                        <c:v>3.9329999999999998</c:v>
                      </c:pt>
                      <c:pt idx="3715">
                        <c:v>3.9980000000000002</c:v>
                      </c:pt>
                      <c:pt idx="3716">
                        <c:v>3.9980000000000002</c:v>
                      </c:pt>
                      <c:pt idx="3717">
                        <c:v>3.9980000000000002</c:v>
                      </c:pt>
                      <c:pt idx="3718">
                        <c:v>3.9980000000000002</c:v>
                      </c:pt>
                      <c:pt idx="3719">
                        <c:v>3.9980000000000002</c:v>
                      </c:pt>
                      <c:pt idx="3720">
                        <c:v>4.0030000000000001</c:v>
                      </c:pt>
                      <c:pt idx="3721">
                        <c:v>4.0030000000000001</c:v>
                      </c:pt>
                      <c:pt idx="3722">
                        <c:v>4.0030000000000001</c:v>
                      </c:pt>
                      <c:pt idx="3723">
                        <c:v>4.0030000000000001</c:v>
                      </c:pt>
                      <c:pt idx="3724">
                        <c:v>4.0030000000000001</c:v>
                      </c:pt>
                      <c:pt idx="3725">
                        <c:v>3.9289999999999998</c:v>
                      </c:pt>
                      <c:pt idx="3726">
                        <c:v>3.9289999999999998</c:v>
                      </c:pt>
                      <c:pt idx="3727">
                        <c:v>3.9289999999999998</c:v>
                      </c:pt>
                      <c:pt idx="3728">
                        <c:v>3.9289999999999998</c:v>
                      </c:pt>
                      <c:pt idx="3729">
                        <c:v>3.9289999999999998</c:v>
                      </c:pt>
                      <c:pt idx="3730">
                        <c:v>3.9540000000000002</c:v>
                      </c:pt>
                      <c:pt idx="3731">
                        <c:v>3.9540000000000002</c:v>
                      </c:pt>
                      <c:pt idx="3732">
                        <c:v>3.9540000000000002</c:v>
                      </c:pt>
                      <c:pt idx="3733">
                        <c:v>3.9540000000000002</c:v>
                      </c:pt>
                      <c:pt idx="3734">
                        <c:v>3.9540000000000002</c:v>
                      </c:pt>
                      <c:pt idx="3735">
                        <c:v>4.0540000000000003</c:v>
                      </c:pt>
                      <c:pt idx="3736">
                        <c:v>4.0540000000000003</c:v>
                      </c:pt>
                      <c:pt idx="3737">
                        <c:v>4.0540000000000003</c:v>
                      </c:pt>
                      <c:pt idx="3738">
                        <c:v>4.0540000000000003</c:v>
                      </c:pt>
                      <c:pt idx="3739">
                        <c:v>4.0540000000000003</c:v>
                      </c:pt>
                      <c:pt idx="3740">
                        <c:v>3.99</c:v>
                      </c:pt>
                      <c:pt idx="3741">
                        <c:v>3.99</c:v>
                      </c:pt>
                      <c:pt idx="3742">
                        <c:v>3.99</c:v>
                      </c:pt>
                      <c:pt idx="3743">
                        <c:v>3.99</c:v>
                      </c:pt>
                      <c:pt idx="3744">
                        <c:v>3.99</c:v>
                      </c:pt>
                      <c:pt idx="3745">
                        <c:v>3.9940000000000002</c:v>
                      </c:pt>
                      <c:pt idx="3746">
                        <c:v>3.9940000000000002</c:v>
                      </c:pt>
                      <c:pt idx="3747">
                        <c:v>3.9940000000000002</c:v>
                      </c:pt>
                      <c:pt idx="3748">
                        <c:v>3.9940000000000002</c:v>
                      </c:pt>
                      <c:pt idx="3749">
                        <c:v>3.9940000000000002</c:v>
                      </c:pt>
                      <c:pt idx="3750">
                        <c:v>3.8820000000000001</c:v>
                      </c:pt>
                      <c:pt idx="3751">
                        <c:v>3.8820000000000001</c:v>
                      </c:pt>
                      <c:pt idx="3752">
                        <c:v>3.8820000000000001</c:v>
                      </c:pt>
                      <c:pt idx="3753">
                        <c:v>3.8820000000000001</c:v>
                      </c:pt>
                      <c:pt idx="3754">
                        <c:v>3.8820000000000001</c:v>
                      </c:pt>
                      <c:pt idx="3755">
                        <c:v>3.8879999999999999</c:v>
                      </c:pt>
                      <c:pt idx="3756">
                        <c:v>3.8879999999999999</c:v>
                      </c:pt>
                      <c:pt idx="3757">
                        <c:v>3.8879999999999999</c:v>
                      </c:pt>
                      <c:pt idx="3758">
                        <c:v>3.8879999999999999</c:v>
                      </c:pt>
                      <c:pt idx="3759">
                        <c:v>3.8879999999999999</c:v>
                      </c:pt>
                      <c:pt idx="3760">
                        <c:v>3.8730000000000002</c:v>
                      </c:pt>
                      <c:pt idx="3761">
                        <c:v>3.8730000000000002</c:v>
                      </c:pt>
                      <c:pt idx="3762">
                        <c:v>3.8730000000000002</c:v>
                      </c:pt>
                      <c:pt idx="3763">
                        <c:v>3.8730000000000002</c:v>
                      </c:pt>
                      <c:pt idx="3764">
                        <c:v>3.8730000000000002</c:v>
                      </c:pt>
                      <c:pt idx="3765">
                        <c:v>3.8559999999999999</c:v>
                      </c:pt>
                      <c:pt idx="3766">
                        <c:v>3.8559999999999999</c:v>
                      </c:pt>
                      <c:pt idx="3767">
                        <c:v>3.8559999999999999</c:v>
                      </c:pt>
                      <c:pt idx="3768">
                        <c:v>3.8559999999999999</c:v>
                      </c:pt>
                      <c:pt idx="3769">
                        <c:v>3.8559999999999999</c:v>
                      </c:pt>
                      <c:pt idx="3770">
                        <c:v>3.8519999999999999</c:v>
                      </c:pt>
                      <c:pt idx="3771">
                        <c:v>3.8519999999999999</c:v>
                      </c:pt>
                      <c:pt idx="3772">
                        <c:v>3.8519999999999999</c:v>
                      </c:pt>
                      <c:pt idx="3773">
                        <c:v>3.8519999999999999</c:v>
                      </c:pt>
                      <c:pt idx="3774">
                        <c:v>3.8519999999999999</c:v>
                      </c:pt>
                      <c:pt idx="3775">
                        <c:v>3.871</c:v>
                      </c:pt>
                      <c:pt idx="3776">
                        <c:v>3.871</c:v>
                      </c:pt>
                      <c:pt idx="3777">
                        <c:v>3.871</c:v>
                      </c:pt>
                      <c:pt idx="3778">
                        <c:v>3.871</c:v>
                      </c:pt>
                      <c:pt idx="3779">
                        <c:v>3.871</c:v>
                      </c:pt>
                      <c:pt idx="3780">
                        <c:v>3.72</c:v>
                      </c:pt>
                      <c:pt idx="3781">
                        <c:v>3.72</c:v>
                      </c:pt>
                      <c:pt idx="3782">
                        <c:v>3.72</c:v>
                      </c:pt>
                      <c:pt idx="3783">
                        <c:v>3.72</c:v>
                      </c:pt>
                      <c:pt idx="3784">
                        <c:v>3.72</c:v>
                      </c:pt>
                      <c:pt idx="3785">
                        <c:v>3.9060000000000001</c:v>
                      </c:pt>
                      <c:pt idx="3786">
                        <c:v>3.9060000000000001</c:v>
                      </c:pt>
                      <c:pt idx="3787">
                        <c:v>3.9060000000000001</c:v>
                      </c:pt>
                      <c:pt idx="3788">
                        <c:v>3.9060000000000001</c:v>
                      </c:pt>
                      <c:pt idx="3789">
                        <c:v>3.9060000000000001</c:v>
                      </c:pt>
                      <c:pt idx="3790">
                        <c:v>3.9510000000000001</c:v>
                      </c:pt>
                      <c:pt idx="3791">
                        <c:v>3.9510000000000001</c:v>
                      </c:pt>
                      <c:pt idx="3792">
                        <c:v>3.9510000000000001</c:v>
                      </c:pt>
                      <c:pt idx="3793">
                        <c:v>3.9510000000000001</c:v>
                      </c:pt>
                      <c:pt idx="3794">
                        <c:v>3.9510000000000001</c:v>
                      </c:pt>
                      <c:pt idx="3795">
                        <c:v>3.9660000000000002</c:v>
                      </c:pt>
                      <c:pt idx="3796">
                        <c:v>3.9660000000000002</c:v>
                      </c:pt>
                      <c:pt idx="3797">
                        <c:v>3.9660000000000002</c:v>
                      </c:pt>
                      <c:pt idx="3798">
                        <c:v>3.9660000000000002</c:v>
                      </c:pt>
                      <c:pt idx="3799">
                        <c:v>3.9660000000000002</c:v>
                      </c:pt>
                      <c:pt idx="3800">
                        <c:v>3.8769999999999998</c:v>
                      </c:pt>
                      <c:pt idx="3801">
                        <c:v>3.8769999999999998</c:v>
                      </c:pt>
                      <c:pt idx="3802">
                        <c:v>3.8769999999999998</c:v>
                      </c:pt>
                      <c:pt idx="3803">
                        <c:v>3.8769999999999998</c:v>
                      </c:pt>
                      <c:pt idx="3804">
                        <c:v>3.8769999999999998</c:v>
                      </c:pt>
                      <c:pt idx="3805">
                        <c:v>3.9340000000000002</c:v>
                      </c:pt>
                      <c:pt idx="3806">
                        <c:v>3.9340000000000002</c:v>
                      </c:pt>
                      <c:pt idx="3807">
                        <c:v>3.9340000000000002</c:v>
                      </c:pt>
                      <c:pt idx="3808">
                        <c:v>3.9340000000000002</c:v>
                      </c:pt>
                      <c:pt idx="3809">
                        <c:v>3.9340000000000002</c:v>
                      </c:pt>
                      <c:pt idx="3810">
                        <c:v>3.9470000000000001</c:v>
                      </c:pt>
                      <c:pt idx="3811">
                        <c:v>3.9470000000000001</c:v>
                      </c:pt>
                      <c:pt idx="3812">
                        <c:v>3.9470000000000001</c:v>
                      </c:pt>
                      <c:pt idx="3813">
                        <c:v>3.9470000000000001</c:v>
                      </c:pt>
                      <c:pt idx="3814">
                        <c:v>3.9470000000000001</c:v>
                      </c:pt>
                      <c:pt idx="3815">
                        <c:v>3.948</c:v>
                      </c:pt>
                      <c:pt idx="3816">
                        <c:v>3.948</c:v>
                      </c:pt>
                      <c:pt idx="3817">
                        <c:v>3.948</c:v>
                      </c:pt>
                      <c:pt idx="3818">
                        <c:v>3.948</c:v>
                      </c:pt>
                      <c:pt idx="3819">
                        <c:v>3.948</c:v>
                      </c:pt>
                      <c:pt idx="3820">
                        <c:v>3.923</c:v>
                      </c:pt>
                      <c:pt idx="3821">
                        <c:v>3.923</c:v>
                      </c:pt>
                      <c:pt idx="3822">
                        <c:v>3.923</c:v>
                      </c:pt>
                      <c:pt idx="3823">
                        <c:v>3.923</c:v>
                      </c:pt>
                      <c:pt idx="3824">
                        <c:v>3.923</c:v>
                      </c:pt>
                      <c:pt idx="3825">
                        <c:v>3.9169999999999998</c:v>
                      </c:pt>
                      <c:pt idx="3826">
                        <c:v>3.9169999999999998</c:v>
                      </c:pt>
                      <c:pt idx="3827">
                        <c:v>3.9169999999999998</c:v>
                      </c:pt>
                      <c:pt idx="3828">
                        <c:v>3.9169999999999998</c:v>
                      </c:pt>
                      <c:pt idx="3829">
                        <c:v>3.9169999999999998</c:v>
                      </c:pt>
                      <c:pt idx="3830">
                        <c:v>3.9750000000000001</c:v>
                      </c:pt>
                      <c:pt idx="3831">
                        <c:v>3.9750000000000001</c:v>
                      </c:pt>
                      <c:pt idx="3832">
                        <c:v>3.9750000000000001</c:v>
                      </c:pt>
                      <c:pt idx="3833">
                        <c:v>3.9750000000000001</c:v>
                      </c:pt>
                      <c:pt idx="3834">
                        <c:v>3.9750000000000001</c:v>
                      </c:pt>
                      <c:pt idx="3835">
                        <c:v>3.964</c:v>
                      </c:pt>
                      <c:pt idx="3836">
                        <c:v>3.964</c:v>
                      </c:pt>
                      <c:pt idx="3837">
                        <c:v>3.964</c:v>
                      </c:pt>
                      <c:pt idx="3838">
                        <c:v>3.964</c:v>
                      </c:pt>
                      <c:pt idx="3839">
                        <c:v>3.964</c:v>
                      </c:pt>
                      <c:pt idx="3840">
                        <c:v>3.9540000000000002</c:v>
                      </c:pt>
                      <c:pt idx="3841">
                        <c:v>3.9540000000000002</c:v>
                      </c:pt>
                      <c:pt idx="3842">
                        <c:v>3.9540000000000002</c:v>
                      </c:pt>
                      <c:pt idx="3843">
                        <c:v>3.9540000000000002</c:v>
                      </c:pt>
                      <c:pt idx="3844">
                        <c:v>3.9540000000000002</c:v>
                      </c:pt>
                      <c:pt idx="3845">
                        <c:v>3.9510000000000001</c:v>
                      </c:pt>
                      <c:pt idx="3846">
                        <c:v>3.9510000000000001</c:v>
                      </c:pt>
                      <c:pt idx="3847">
                        <c:v>3.9510000000000001</c:v>
                      </c:pt>
                      <c:pt idx="3848">
                        <c:v>3.9510000000000001</c:v>
                      </c:pt>
                      <c:pt idx="3849">
                        <c:v>3.9510000000000001</c:v>
                      </c:pt>
                      <c:pt idx="3850">
                        <c:v>4.0629999999999997</c:v>
                      </c:pt>
                      <c:pt idx="3851">
                        <c:v>4.0629999999999997</c:v>
                      </c:pt>
                      <c:pt idx="3852">
                        <c:v>4.0629999999999997</c:v>
                      </c:pt>
                      <c:pt idx="3853">
                        <c:v>4.0629999999999997</c:v>
                      </c:pt>
                      <c:pt idx="3854">
                        <c:v>4.0629999999999997</c:v>
                      </c:pt>
                      <c:pt idx="3855">
                        <c:v>4.1660000000000004</c:v>
                      </c:pt>
                      <c:pt idx="3856">
                        <c:v>4.1660000000000004</c:v>
                      </c:pt>
                      <c:pt idx="3857">
                        <c:v>4.1660000000000004</c:v>
                      </c:pt>
                      <c:pt idx="3858">
                        <c:v>4.1660000000000004</c:v>
                      </c:pt>
                      <c:pt idx="3859">
                        <c:v>4.1660000000000004</c:v>
                      </c:pt>
                      <c:pt idx="3860">
                        <c:v>4.1239999999999997</c:v>
                      </c:pt>
                      <c:pt idx="3861">
                        <c:v>4.1239999999999997</c:v>
                      </c:pt>
                      <c:pt idx="3862">
                        <c:v>4.1239999999999997</c:v>
                      </c:pt>
                      <c:pt idx="3863">
                        <c:v>4.1239999999999997</c:v>
                      </c:pt>
                      <c:pt idx="3864">
                        <c:v>4.1239999999999997</c:v>
                      </c:pt>
                      <c:pt idx="3865">
                        <c:v>4.1440000000000001</c:v>
                      </c:pt>
                      <c:pt idx="3866">
                        <c:v>4.1440000000000001</c:v>
                      </c:pt>
                      <c:pt idx="3867">
                        <c:v>4.1440000000000001</c:v>
                      </c:pt>
                      <c:pt idx="3868">
                        <c:v>4.1440000000000001</c:v>
                      </c:pt>
                      <c:pt idx="3869">
                        <c:v>4.1440000000000001</c:v>
                      </c:pt>
                      <c:pt idx="3870">
                        <c:v>4.1740000000000004</c:v>
                      </c:pt>
                      <c:pt idx="3871">
                        <c:v>4.1740000000000004</c:v>
                      </c:pt>
                      <c:pt idx="3872">
                        <c:v>4.1740000000000004</c:v>
                      </c:pt>
                      <c:pt idx="3873">
                        <c:v>4.1740000000000004</c:v>
                      </c:pt>
                      <c:pt idx="3874">
                        <c:v>4.1740000000000004</c:v>
                      </c:pt>
                      <c:pt idx="3875">
                        <c:v>4.1429999999999998</c:v>
                      </c:pt>
                      <c:pt idx="3876">
                        <c:v>4.1429999999999998</c:v>
                      </c:pt>
                      <c:pt idx="3877">
                        <c:v>4.1429999999999998</c:v>
                      </c:pt>
                      <c:pt idx="3878">
                        <c:v>4.1429999999999998</c:v>
                      </c:pt>
                      <c:pt idx="3879">
                        <c:v>4.1429999999999998</c:v>
                      </c:pt>
                      <c:pt idx="3880">
                        <c:v>4.1870000000000003</c:v>
                      </c:pt>
                      <c:pt idx="3881">
                        <c:v>4.1870000000000003</c:v>
                      </c:pt>
                      <c:pt idx="3882">
                        <c:v>4.1870000000000003</c:v>
                      </c:pt>
                      <c:pt idx="3883">
                        <c:v>4.1870000000000003</c:v>
                      </c:pt>
                      <c:pt idx="3884">
                        <c:v>4.1870000000000003</c:v>
                      </c:pt>
                      <c:pt idx="3885">
                        <c:v>4.1520000000000001</c:v>
                      </c:pt>
                      <c:pt idx="3886">
                        <c:v>4.1520000000000001</c:v>
                      </c:pt>
                      <c:pt idx="3887">
                        <c:v>4.1520000000000001</c:v>
                      </c:pt>
                      <c:pt idx="3888">
                        <c:v>4.1520000000000001</c:v>
                      </c:pt>
                      <c:pt idx="3889">
                        <c:v>4.1520000000000001</c:v>
                      </c:pt>
                      <c:pt idx="3890">
                        <c:v>4.1669999999999998</c:v>
                      </c:pt>
                      <c:pt idx="3891">
                        <c:v>4.1669999999999998</c:v>
                      </c:pt>
                      <c:pt idx="3892">
                        <c:v>4.1669999999999998</c:v>
                      </c:pt>
                      <c:pt idx="3893">
                        <c:v>4.1669999999999998</c:v>
                      </c:pt>
                      <c:pt idx="3894">
                        <c:v>4.1669999999999998</c:v>
                      </c:pt>
                      <c:pt idx="3895">
                        <c:v>4.173</c:v>
                      </c:pt>
                      <c:pt idx="3896">
                        <c:v>4.173</c:v>
                      </c:pt>
                      <c:pt idx="3897">
                        <c:v>4.173</c:v>
                      </c:pt>
                      <c:pt idx="3898">
                        <c:v>4.173</c:v>
                      </c:pt>
                      <c:pt idx="3899">
                        <c:v>4.173</c:v>
                      </c:pt>
                      <c:pt idx="3900">
                        <c:v>4.1849999999999996</c:v>
                      </c:pt>
                      <c:pt idx="3901">
                        <c:v>4.1849999999999996</c:v>
                      </c:pt>
                      <c:pt idx="3902">
                        <c:v>4.1849999999999996</c:v>
                      </c:pt>
                      <c:pt idx="3903">
                        <c:v>4.1849999999999996</c:v>
                      </c:pt>
                      <c:pt idx="3904">
                        <c:v>4.1849999999999996</c:v>
                      </c:pt>
                      <c:pt idx="3905">
                        <c:v>4.327</c:v>
                      </c:pt>
                      <c:pt idx="3906">
                        <c:v>4.327</c:v>
                      </c:pt>
                      <c:pt idx="3907">
                        <c:v>4.327</c:v>
                      </c:pt>
                      <c:pt idx="3908">
                        <c:v>4.327</c:v>
                      </c:pt>
                      <c:pt idx="3909">
                        <c:v>4.327</c:v>
                      </c:pt>
                      <c:pt idx="3910">
                        <c:v>4.2670000000000003</c:v>
                      </c:pt>
                      <c:pt idx="3911">
                        <c:v>4.2670000000000003</c:v>
                      </c:pt>
                      <c:pt idx="3912">
                        <c:v>4.2670000000000003</c:v>
                      </c:pt>
                      <c:pt idx="3913">
                        <c:v>4.2670000000000003</c:v>
                      </c:pt>
                      <c:pt idx="3914">
                        <c:v>4.2670000000000003</c:v>
                      </c:pt>
                      <c:pt idx="3915">
                        <c:v>4.4359999999999999</c:v>
                      </c:pt>
                      <c:pt idx="3916">
                        <c:v>4.4359999999999999</c:v>
                      </c:pt>
                      <c:pt idx="3917">
                        <c:v>4.4359999999999999</c:v>
                      </c:pt>
                      <c:pt idx="3918">
                        <c:v>4.4359999999999999</c:v>
                      </c:pt>
                      <c:pt idx="3919">
                        <c:v>4.4359999999999999</c:v>
                      </c:pt>
                      <c:pt idx="3920">
                        <c:v>4.4530000000000003</c:v>
                      </c:pt>
                      <c:pt idx="3921">
                        <c:v>4.4530000000000003</c:v>
                      </c:pt>
                      <c:pt idx="3922">
                        <c:v>4.4530000000000003</c:v>
                      </c:pt>
                      <c:pt idx="3923">
                        <c:v>4.4530000000000003</c:v>
                      </c:pt>
                      <c:pt idx="3924">
                        <c:v>4.4530000000000003</c:v>
                      </c:pt>
                      <c:pt idx="3925">
                        <c:v>4.6319999999999997</c:v>
                      </c:pt>
                      <c:pt idx="3926">
                        <c:v>4.6319999999999997</c:v>
                      </c:pt>
                      <c:pt idx="3927">
                        <c:v>4.6319999999999997</c:v>
                      </c:pt>
                      <c:pt idx="3928">
                        <c:v>4.6319999999999997</c:v>
                      </c:pt>
                      <c:pt idx="3929">
                        <c:v>4.6319999999999997</c:v>
                      </c:pt>
                      <c:pt idx="3930">
                        <c:v>4.6660000000000004</c:v>
                      </c:pt>
                      <c:pt idx="3931">
                        <c:v>4.6660000000000004</c:v>
                      </c:pt>
                      <c:pt idx="3932">
                        <c:v>4.6660000000000004</c:v>
                      </c:pt>
                      <c:pt idx="3933">
                        <c:v>4.6660000000000004</c:v>
                      </c:pt>
                      <c:pt idx="3934">
                        <c:v>4.6660000000000004</c:v>
                      </c:pt>
                      <c:pt idx="3935">
                        <c:v>4.6440000000000001</c:v>
                      </c:pt>
                      <c:pt idx="3936">
                        <c:v>4.6440000000000001</c:v>
                      </c:pt>
                      <c:pt idx="3937">
                        <c:v>4.6440000000000001</c:v>
                      </c:pt>
                      <c:pt idx="3938">
                        <c:v>4.6440000000000001</c:v>
                      </c:pt>
                      <c:pt idx="3939">
                        <c:v>4.6440000000000001</c:v>
                      </c:pt>
                      <c:pt idx="3940">
                        <c:v>4.617</c:v>
                      </c:pt>
                      <c:pt idx="3941">
                        <c:v>4.617</c:v>
                      </c:pt>
                      <c:pt idx="3942">
                        <c:v>4.617</c:v>
                      </c:pt>
                      <c:pt idx="3943">
                        <c:v>4.617</c:v>
                      </c:pt>
                      <c:pt idx="3944">
                        <c:v>4.617</c:v>
                      </c:pt>
                      <c:pt idx="3945">
                        <c:v>4.7690000000000001</c:v>
                      </c:pt>
                      <c:pt idx="3946">
                        <c:v>4.7690000000000001</c:v>
                      </c:pt>
                      <c:pt idx="3947">
                        <c:v>4.7690000000000001</c:v>
                      </c:pt>
                      <c:pt idx="3948">
                        <c:v>4.7690000000000001</c:v>
                      </c:pt>
                      <c:pt idx="3949">
                        <c:v>4.7690000000000001</c:v>
                      </c:pt>
                      <c:pt idx="3950">
                        <c:v>4.734</c:v>
                      </c:pt>
                      <c:pt idx="3951">
                        <c:v>4.734</c:v>
                      </c:pt>
                      <c:pt idx="3952">
                        <c:v>4.734</c:v>
                      </c:pt>
                      <c:pt idx="3953">
                        <c:v>4.734</c:v>
                      </c:pt>
                      <c:pt idx="3954">
                        <c:v>4.734</c:v>
                      </c:pt>
                      <c:pt idx="3955">
                        <c:v>4.7519999999999998</c:v>
                      </c:pt>
                      <c:pt idx="3956">
                        <c:v>4.7519999999999998</c:v>
                      </c:pt>
                      <c:pt idx="3957">
                        <c:v>4.7519999999999998</c:v>
                      </c:pt>
                      <c:pt idx="3958">
                        <c:v>4.7519999999999998</c:v>
                      </c:pt>
                      <c:pt idx="3959">
                        <c:v>4.7519999999999998</c:v>
                      </c:pt>
                      <c:pt idx="3960">
                        <c:v>4.8070000000000004</c:v>
                      </c:pt>
                      <c:pt idx="3961">
                        <c:v>4.8070000000000004</c:v>
                      </c:pt>
                      <c:pt idx="3962">
                        <c:v>4.8070000000000004</c:v>
                      </c:pt>
                      <c:pt idx="3963">
                        <c:v>4.8070000000000004</c:v>
                      </c:pt>
                      <c:pt idx="3964">
                        <c:v>4.8070000000000004</c:v>
                      </c:pt>
                      <c:pt idx="3965">
                        <c:v>4.944</c:v>
                      </c:pt>
                      <c:pt idx="3966">
                        <c:v>4.944</c:v>
                      </c:pt>
                      <c:pt idx="3967">
                        <c:v>4.944</c:v>
                      </c:pt>
                      <c:pt idx="3968">
                        <c:v>4.944</c:v>
                      </c:pt>
                      <c:pt idx="3969">
                        <c:v>4.944</c:v>
                      </c:pt>
                      <c:pt idx="3970">
                        <c:v>4.9279999999999999</c:v>
                      </c:pt>
                      <c:pt idx="3971">
                        <c:v>4.9279999999999999</c:v>
                      </c:pt>
                      <c:pt idx="3972">
                        <c:v>4.9279999999999999</c:v>
                      </c:pt>
                      <c:pt idx="3973">
                        <c:v>4.9279999999999999</c:v>
                      </c:pt>
                      <c:pt idx="3974">
                        <c:v>4.9279999999999999</c:v>
                      </c:pt>
                      <c:pt idx="3975">
                        <c:v>4.8559999999999999</c:v>
                      </c:pt>
                      <c:pt idx="3976">
                        <c:v>4.8559999999999999</c:v>
                      </c:pt>
                      <c:pt idx="3977">
                        <c:v>4.8559999999999999</c:v>
                      </c:pt>
                      <c:pt idx="3978">
                        <c:v>4.8559999999999999</c:v>
                      </c:pt>
                      <c:pt idx="3979">
                        <c:v>4.8559999999999999</c:v>
                      </c:pt>
                      <c:pt idx="3980">
                        <c:v>4.9640000000000004</c:v>
                      </c:pt>
                      <c:pt idx="3981">
                        <c:v>4.9640000000000004</c:v>
                      </c:pt>
                      <c:pt idx="3982">
                        <c:v>4.9640000000000004</c:v>
                      </c:pt>
                      <c:pt idx="3983">
                        <c:v>4.9640000000000004</c:v>
                      </c:pt>
                      <c:pt idx="3984">
                        <c:v>4.9640000000000004</c:v>
                      </c:pt>
                      <c:pt idx="3985">
                        <c:v>4.9939999999999998</c:v>
                      </c:pt>
                      <c:pt idx="3986">
                        <c:v>4.9939999999999998</c:v>
                      </c:pt>
                      <c:pt idx="3987">
                        <c:v>4.9939999999999998</c:v>
                      </c:pt>
                      <c:pt idx="3988">
                        <c:v>4.9939999999999998</c:v>
                      </c:pt>
                      <c:pt idx="3989">
                        <c:v>4.9939999999999998</c:v>
                      </c:pt>
                      <c:pt idx="3990">
                        <c:v>5.2050000000000001</c:v>
                      </c:pt>
                      <c:pt idx="3991">
                        <c:v>5.2050000000000001</c:v>
                      </c:pt>
                      <c:pt idx="3992">
                        <c:v>5.2050000000000001</c:v>
                      </c:pt>
                      <c:pt idx="3993">
                        <c:v>5.2050000000000001</c:v>
                      </c:pt>
                      <c:pt idx="3994">
                        <c:v>5.2050000000000001</c:v>
                      </c:pt>
                      <c:pt idx="3995">
                        <c:v>5.0679999999999996</c:v>
                      </c:pt>
                      <c:pt idx="3996">
                        <c:v>5.0679999999999996</c:v>
                      </c:pt>
                      <c:pt idx="3997">
                        <c:v>5.0679999999999996</c:v>
                      </c:pt>
                      <c:pt idx="3998">
                        <c:v>5.0679999999999996</c:v>
                      </c:pt>
                      <c:pt idx="3999">
                        <c:v>5.0679999999999996</c:v>
                      </c:pt>
                      <c:pt idx="4000">
                        <c:v>5.2320000000000002</c:v>
                      </c:pt>
                      <c:pt idx="4001">
                        <c:v>5.2320000000000002</c:v>
                      </c:pt>
                      <c:pt idx="4002">
                        <c:v>5.2320000000000002</c:v>
                      </c:pt>
                      <c:pt idx="4003">
                        <c:v>5.2320000000000002</c:v>
                      </c:pt>
                      <c:pt idx="4004">
                        <c:v>5.2320000000000002</c:v>
                      </c:pt>
                      <c:pt idx="4005">
                        <c:v>5.2549999999999999</c:v>
                      </c:pt>
                      <c:pt idx="4006">
                        <c:v>5.2549999999999999</c:v>
                      </c:pt>
                      <c:pt idx="4007">
                        <c:v>5.2549999999999999</c:v>
                      </c:pt>
                      <c:pt idx="4008">
                        <c:v>5.2549999999999999</c:v>
                      </c:pt>
                      <c:pt idx="4009">
                        <c:v>5.2549999999999999</c:v>
                      </c:pt>
                      <c:pt idx="4010">
                        <c:v>5.218</c:v>
                      </c:pt>
                      <c:pt idx="4011">
                        <c:v>5.218</c:v>
                      </c:pt>
                      <c:pt idx="4012">
                        <c:v>5.218</c:v>
                      </c:pt>
                      <c:pt idx="4013">
                        <c:v>5.218</c:v>
                      </c:pt>
                      <c:pt idx="4014">
                        <c:v>5.218</c:v>
                      </c:pt>
                      <c:pt idx="4015">
                        <c:v>5.383</c:v>
                      </c:pt>
                      <c:pt idx="4016">
                        <c:v>5.383</c:v>
                      </c:pt>
                      <c:pt idx="4017">
                        <c:v>5.383</c:v>
                      </c:pt>
                      <c:pt idx="4018">
                        <c:v>5.383</c:v>
                      </c:pt>
                      <c:pt idx="4019">
                        <c:v>5.383</c:v>
                      </c:pt>
                      <c:pt idx="4020">
                        <c:v>5.3220000000000001</c:v>
                      </c:pt>
                      <c:pt idx="4021">
                        <c:v>5.3220000000000001</c:v>
                      </c:pt>
                      <c:pt idx="4022">
                        <c:v>5.3220000000000001</c:v>
                      </c:pt>
                      <c:pt idx="4023">
                        <c:v>5.3220000000000001</c:v>
                      </c:pt>
                      <c:pt idx="4024">
                        <c:v>5.3220000000000001</c:v>
                      </c:pt>
                      <c:pt idx="4025">
                        <c:v>5.3710000000000004</c:v>
                      </c:pt>
                      <c:pt idx="4026">
                        <c:v>5.3710000000000004</c:v>
                      </c:pt>
                      <c:pt idx="4027">
                        <c:v>5.3710000000000004</c:v>
                      </c:pt>
                      <c:pt idx="4028">
                        <c:v>5.3710000000000004</c:v>
                      </c:pt>
                      <c:pt idx="4029">
                        <c:v>5.3710000000000004</c:v>
                      </c:pt>
                      <c:pt idx="4030">
                        <c:v>5.5739999999999998</c:v>
                      </c:pt>
                      <c:pt idx="4031">
                        <c:v>5.5739999999999998</c:v>
                      </c:pt>
                      <c:pt idx="4032">
                        <c:v>5.5739999999999998</c:v>
                      </c:pt>
                      <c:pt idx="4033">
                        <c:v>5.5739999999999998</c:v>
                      </c:pt>
                      <c:pt idx="4034">
                        <c:v>5.5739999999999998</c:v>
                      </c:pt>
                      <c:pt idx="4035">
                        <c:v>5.3029999999999999</c:v>
                      </c:pt>
                      <c:pt idx="4036">
                        <c:v>5.3029999999999999</c:v>
                      </c:pt>
                      <c:pt idx="4037">
                        <c:v>5.3029999999999999</c:v>
                      </c:pt>
                      <c:pt idx="4038">
                        <c:v>5.3029999999999999</c:v>
                      </c:pt>
                      <c:pt idx="4039">
                        <c:v>5.3029999999999999</c:v>
                      </c:pt>
                      <c:pt idx="4040">
                        <c:v>5.4770000000000003</c:v>
                      </c:pt>
                      <c:pt idx="4041">
                        <c:v>5.4770000000000003</c:v>
                      </c:pt>
                      <c:pt idx="4042">
                        <c:v>5.4770000000000003</c:v>
                      </c:pt>
                      <c:pt idx="4043">
                        <c:v>5.4770000000000003</c:v>
                      </c:pt>
                      <c:pt idx="4044">
                        <c:v>5.4770000000000003</c:v>
                      </c:pt>
                      <c:pt idx="4045">
                        <c:v>5.64</c:v>
                      </c:pt>
                      <c:pt idx="4046">
                        <c:v>5.64</c:v>
                      </c:pt>
                      <c:pt idx="4047">
                        <c:v>5.64</c:v>
                      </c:pt>
                      <c:pt idx="4048">
                        <c:v>5.64</c:v>
                      </c:pt>
                      <c:pt idx="4049">
                        <c:v>5.64</c:v>
                      </c:pt>
                      <c:pt idx="4050">
                        <c:v>5.6289999999999996</c:v>
                      </c:pt>
                      <c:pt idx="4051">
                        <c:v>5.6289999999999996</c:v>
                      </c:pt>
                      <c:pt idx="4052">
                        <c:v>5.6289999999999996</c:v>
                      </c:pt>
                      <c:pt idx="4053">
                        <c:v>5.6289999999999996</c:v>
                      </c:pt>
                      <c:pt idx="4054">
                        <c:v>5.6289999999999996</c:v>
                      </c:pt>
                      <c:pt idx="4055">
                        <c:v>5.681</c:v>
                      </c:pt>
                      <c:pt idx="4056">
                        <c:v>5.681</c:v>
                      </c:pt>
                      <c:pt idx="4057">
                        <c:v>5.681</c:v>
                      </c:pt>
                      <c:pt idx="4058">
                        <c:v>5.681</c:v>
                      </c:pt>
                      <c:pt idx="4059">
                        <c:v>5.681</c:v>
                      </c:pt>
                      <c:pt idx="4060">
                        <c:v>5.87</c:v>
                      </c:pt>
                      <c:pt idx="4061">
                        <c:v>5.87</c:v>
                      </c:pt>
                      <c:pt idx="4062">
                        <c:v>5.87</c:v>
                      </c:pt>
                      <c:pt idx="4063">
                        <c:v>5.87</c:v>
                      </c:pt>
                      <c:pt idx="4064">
                        <c:v>5.87</c:v>
                      </c:pt>
                      <c:pt idx="4065">
                        <c:v>5.6980000000000004</c:v>
                      </c:pt>
                      <c:pt idx="4066">
                        <c:v>5.6980000000000004</c:v>
                      </c:pt>
                      <c:pt idx="4067">
                        <c:v>5.6980000000000004</c:v>
                      </c:pt>
                      <c:pt idx="4068">
                        <c:v>5.6980000000000004</c:v>
                      </c:pt>
                      <c:pt idx="4069">
                        <c:v>5.6980000000000004</c:v>
                      </c:pt>
                      <c:pt idx="4070">
                        <c:v>5.6989999999999998</c:v>
                      </c:pt>
                      <c:pt idx="4071">
                        <c:v>5.6989999999999998</c:v>
                      </c:pt>
                      <c:pt idx="4072">
                        <c:v>5.6989999999999998</c:v>
                      </c:pt>
                      <c:pt idx="4073">
                        <c:v>5.6989999999999998</c:v>
                      </c:pt>
                      <c:pt idx="4074">
                        <c:v>5.6989999999999998</c:v>
                      </c:pt>
                      <c:pt idx="4075">
                        <c:v>5.6890000000000001</c:v>
                      </c:pt>
                      <c:pt idx="4076">
                        <c:v>5.6890000000000001</c:v>
                      </c:pt>
                      <c:pt idx="4077">
                        <c:v>5.6890000000000001</c:v>
                      </c:pt>
                      <c:pt idx="4078">
                        <c:v>5.6890000000000001</c:v>
                      </c:pt>
                      <c:pt idx="4079">
                        <c:v>5.6890000000000001</c:v>
                      </c:pt>
                      <c:pt idx="4080">
                        <c:v>5.8140000000000001</c:v>
                      </c:pt>
                      <c:pt idx="4081">
                        <c:v>5.8140000000000001</c:v>
                      </c:pt>
                      <c:pt idx="4082">
                        <c:v>5.8140000000000001</c:v>
                      </c:pt>
                      <c:pt idx="4083">
                        <c:v>5.8140000000000001</c:v>
                      </c:pt>
                      <c:pt idx="4084">
                        <c:v>5.8140000000000001</c:v>
                      </c:pt>
                      <c:pt idx="4085">
                        <c:v>5.798</c:v>
                      </c:pt>
                      <c:pt idx="4086">
                        <c:v>5.798</c:v>
                      </c:pt>
                      <c:pt idx="4087">
                        <c:v>5.798</c:v>
                      </c:pt>
                      <c:pt idx="4088">
                        <c:v>5.798</c:v>
                      </c:pt>
                      <c:pt idx="4089">
                        <c:v>5.798</c:v>
                      </c:pt>
                      <c:pt idx="4090">
                        <c:v>5.867</c:v>
                      </c:pt>
                      <c:pt idx="4091">
                        <c:v>5.867</c:v>
                      </c:pt>
                      <c:pt idx="4092">
                        <c:v>5.867</c:v>
                      </c:pt>
                      <c:pt idx="4093">
                        <c:v>5.867</c:v>
                      </c:pt>
                      <c:pt idx="4094">
                        <c:v>5.867</c:v>
                      </c:pt>
                      <c:pt idx="4095">
                        <c:v>5.8280000000000003</c:v>
                      </c:pt>
                      <c:pt idx="4096">
                        <c:v>5.8280000000000003</c:v>
                      </c:pt>
                      <c:pt idx="4097">
                        <c:v>5.8280000000000003</c:v>
                      </c:pt>
                      <c:pt idx="4098">
                        <c:v>5.8280000000000003</c:v>
                      </c:pt>
                      <c:pt idx="4099">
                        <c:v>5.8280000000000003</c:v>
                      </c:pt>
                      <c:pt idx="4100">
                        <c:v>5.9770000000000003</c:v>
                      </c:pt>
                      <c:pt idx="4101">
                        <c:v>5.9770000000000003</c:v>
                      </c:pt>
                      <c:pt idx="4102">
                        <c:v>5.9770000000000003</c:v>
                      </c:pt>
                      <c:pt idx="4103">
                        <c:v>5.9770000000000003</c:v>
                      </c:pt>
                      <c:pt idx="4104">
                        <c:v>5.9770000000000003</c:v>
                      </c:pt>
                      <c:pt idx="4105">
                        <c:v>5.8929999999999998</c:v>
                      </c:pt>
                      <c:pt idx="4106">
                        <c:v>5.8929999999999998</c:v>
                      </c:pt>
                      <c:pt idx="4107">
                        <c:v>5.8929999999999998</c:v>
                      </c:pt>
                      <c:pt idx="4108">
                        <c:v>5.8929999999999998</c:v>
                      </c:pt>
                      <c:pt idx="4109">
                        <c:v>5.8929999999999998</c:v>
                      </c:pt>
                      <c:pt idx="4110">
                        <c:v>5.9550000000000001</c:v>
                      </c:pt>
                      <c:pt idx="4111">
                        <c:v>5.9550000000000001</c:v>
                      </c:pt>
                      <c:pt idx="4112">
                        <c:v>5.9550000000000001</c:v>
                      </c:pt>
                      <c:pt idx="4113">
                        <c:v>5.9550000000000001</c:v>
                      </c:pt>
                      <c:pt idx="4114">
                        <c:v>5.9550000000000001</c:v>
                      </c:pt>
                      <c:pt idx="4115">
                        <c:v>5.9790000000000001</c:v>
                      </c:pt>
                      <c:pt idx="4116">
                        <c:v>5.9790000000000001</c:v>
                      </c:pt>
                      <c:pt idx="4117">
                        <c:v>5.9790000000000001</c:v>
                      </c:pt>
                      <c:pt idx="4118">
                        <c:v>5.9790000000000001</c:v>
                      </c:pt>
                      <c:pt idx="4119">
                        <c:v>5.9790000000000001</c:v>
                      </c:pt>
                      <c:pt idx="4120">
                        <c:v>6.1120000000000001</c:v>
                      </c:pt>
                      <c:pt idx="4121">
                        <c:v>6.1120000000000001</c:v>
                      </c:pt>
                      <c:pt idx="4122">
                        <c:v>6.1120000000000001</c:v>
                      </c:pt>
                      <c:pt idx="4123">
                        <c:v>6.1120000000000001</c:v>
                      </c:pt>
                      <c:pt idx="4124">
                        <c:v>6.1120000000000001</c:v>
                      </c:pt>
                      <c:pt idx="4125">
                        <c:v>6.1180000000000003</c:v>
                      </c:pt>
                      <c:pt idx="4126">
                        <c:v>6.1180000000000003</c:v>
                      </c:pt>
                      <c:pt idx="4127">
                        <c:v>6.1180000000000003</c:v>
                      </c:pt>
                      <c:pt idx="4128">
                        <c:v>6.1180000000000003</c:v>
                      </c:pt>
                      <c:pt idx="4129">
                        <c:v>6.1180000000000003</c:v>
                      </c:pt>
                      <c:pt idx="4130">
                        <c:v>6.1379999999999999</c:v>
                      </c:pt>
                      <c:pt idx="4131">
                        <c:v>6.1379999999999999</c:v>
                      </c:pt>
                      <c:pt idx="4132">
                        <c:v>6.1379999999999999</c:v>
                      </c:pt>
                      <c:pt idx="4133">
                        <c:v>6.1379999999999999</c:v>
                      </c:pt>
                      <c:pt idx="4134">
                        <c:v>6.1379999999999999</c:v>
                      </c:pt>
                      <c:pt idx="4135">
                        <c:v>6.0449999999999999</c:v>
                      </c:pt>
                      <c:pt idx="4136">
                        <c:v>6.0449999999999999</c:v>
                      </c:pt>
                      <c:pt idx="4137">
                        <c:v>6.0449999999999999</c:v>
                      </c:pt>
                      <c:pt idx="4138">
                        <c:v>6.0449999999999999</c:v>
                      </c:pt>
                      <c:pt idx="4139">
                        <c:v>6.0449999999999999</c:v>
                      </c:pt>
                      <c:pt idx="4140">
                        <c:v>6.12</c:v>
                      </c:pt>
                      <c:pt idx="4141">
                        <c:v>6.12</c:v>
                      </c:pt>
                      <c:pt idx="4142">
                        <c:v>6.12</c:v>
                      </c:pt>
                      <c:pt idx="4143">
                        <c:v>6.12</c:v>
                      </c:pt>
                      <c:pt idx="4144">
                        <c:v>6.12</c:v>
                      </c:pt>
                      <c:pt idx="4145">
                        <c:v>6.2069999999999999</c:v>
                      </c:pt>
                      <c:pt idx="4146">
                        <c:v>6.2069999999999999</c:v>
                      </c:pt>
                      <c:pt idx="4147">
                        <c:v>6.2069999999999999</c:v>
                      </c:pt>
                      <c:pt idx="4148">
                        <c:v>6.2069999999999999</c:v>
                      </c:pt>
                      <c:pt idx="4149">
                        <c:v>6.2069999999999999</c:v>
                      </c:pt>
                      <c:pt idx="4150">
                        <c:v>6.2990000000000004</c:v>
                      </c:pt>
                      <c:pt idx="4151">
                        <c:v>6.2990000000000004</c:v>
                      </c:pt>
                      <c:pt idx="4152">
                        <c:v>6.2990000000000004</c:v>
                      </c:pt>
                      <c:pt idx="4153">
                        <c:v>6.2990000000000004</c:v>
                      </c:pt>
                      <c:pt idx="4154">
                        <c:v>6.2990000000000004</c:v>
                      </c:pt>
                      <c:pt idx="4155">
                        <c:v>6.2759999999999998</c:v>
                      </c:pt>
                      <c:pt idx="4156">
                        <c:v>6.2759999999999998</c:v>
                      </c:pt>
                      <c:pt idx="4157">
                        <c:v>6.2759999999999998</c:v>
                      </c:pt>
                      <c:pt idx="4158">
                        <c:v>6.2759999999999998</c:v>
                      </c:pt>
                      <c:pt idx="4159">
                        <c:v>6.2759999999999998</c:v>
                      </c:pt>
                      <c:pt idx="4160">
                        <c:v>6.2619999999999996</c:v>
                      </c:pt>
                      <c:pt idx="4161">
                        <c:v>6.2619999999999996</c:v>
                      </c:pt>
                      <c:pt idx="4162">
                        <c:v>6.2619999999999996</c:v>
                      </c:pt>
                      <c:pt idx="4163">
                        <c:v>6.2619999999999996</c:v>
                      </c:pt>
                      <c:pt idx="4164">
                        <c:v>6.2619999999999996</c:v>
                      </c:pt>
                      <c:pt idx="4165">
                        <c:v>6.3170000000000002</c:v>
                      </c:pt>
                      <c:pt idx="4166">
                        <c:v>6.3170000000000002</c:v>
                      </c:pt>
                      <c:pt idx="4167">
                        <c:v>6.3170000000000002</c:v>
                      </c:pt>
                      <c:pt idx="4168">
                        <c:v>6.3170000000000002</c:v>
                      </c:pt>
                      <c:pt idx="4169">
                        <c:v>6.3170000000000002</c:v>
                      </c:pt>
                      <c:pt idx="4170">
                        <c:v>6.3150000000000004</c:v>
                      </c:pt>
                      <c:pt idx="4171">
                        <c:v>6.3150000000000004</c:v>
                      </c:pt>
                      <c:pt idx="4172">
                        <c:v>6.3150000000000004</c:v>
                      </c:pt>
                      <c:pt idx="4173">
                        <c:v>6.3150000000000004</c:v>
                      </c:pt>
                      <c:pt idx="4174">
                        <c:v>6.3150000000000004</c:v>
                      </c:pt>
                      <c:pt idx="4175">
                        <c:v>6.452</c:v>
                      </c:pt>
                      <c:pt idx="4176">
                        <c:v>6.452</c:v>
                      </c:pt>
                      <c:pt idx="4177">
                        <c:v>6.452</c:v>
                      </c:pt>
                      <c:pt idx="4178">
                        <c:v>6.452</c:v>
                      </c:pt>
                      <c:pt idx="4179">
                        <c:v>6.452</c:v>
                      </c:pt>
                      <c:pt idx="4180">
                        <c:v>6.3979999999999997</c:v>
                      </c:pt>
                      <c:pt idx="4181">
                        <c:v>6.3979999999999997</c:v>
                      </c:pt>
                      <c:pt idx="4182">
                        <c:v>6.3979999999999997</c:v>
                      </c:pt>
                      <c:pt idx="4183">
                        <c:v>6.3979999999999997</c:v>
                      </c:pt>
                      <c:pt idx="4184">
                        <c:v>6.3979999999999997</c:v>
                      </c:pt>
                      <c:pt idx="4185">
                        <c:v>6.5110000000000001</c:v>
                      </c:pt>
                      <c:pt idx="4186">
                        <c:v>6.5110000000000001</c:v>
                      </c:pt>
                      <c:pt idx="4187">
                        <c:v>6.5110000000000001</c:v>
                      </c:pt>
                      <c:pt idx="4188">
                        <c:v>6.5110000000000001</c:v>
                      </c:pt>
                      <c:pt idx="4189">
                        <c:v>6.5110000000000001</c:v>
                      </c:pt>
                      <c:pt idx="4190">
                        <c:v>6.5439999999999996</c:v>
                      </c:pt>
                      <c:pt idx="4191">
                        <c:v>6.5439999999999996</c:v>
                      </c:pt>
                      <c:pt idx="4192">
                        <c:v>6.5439999999999996</c:v>
                      </c:pt>
                      <c:pt idx="4193">
                        <c:v>6.5439999999999996</c:v>
                      </c:pt>
                      <c:pt idx="4194">
                        <c:v>6.5439999999999996</c:v>
                      </c:pt>
                      <c:pt idx="4195">
                        <c:v>6.4950000000000001</c:v>
                      </c:pt>
                      <c:pt idx="4196">
                        <c:v>6.4950000000000001</c:v>
                      </c:pt>
                      <c:pt idx="4197">
                        <c:v>6.4950000000000001</c:v>
                      </c:pt>
                      <c:pt idx="4198">
                        <c:v>6.4950000000000001</c:v>
                      </c:pt>
                      <c:pt idx="4199">
                        <c:v>6.4950000000000001</c:v>
                      </c:pt>
                      <c:pt idx="4200">
                        <c:v>6.601</c:v>
                      </c:pt>
                      <c:pt idx="4201">
                        <c:v>6.601</c:v>
                      </c:pt>
                      <c:pt idx="4202">
                        <c:v>6.601</c:v>
                      </c:pt>
                      <c:pt idx="4203">
                        <c:v>6.601</c:v>
                      </c:pt>
                      <c:pt idx="4204">
                        <c:v>6.601</c:v>
                      </c:pt>
                      <c:pt idx="4205">
                        <c:v>6.5830000000000002</c:v>
                      </c:pt>
                      <c:pt idx="4206">
                        <c:v>6.5830000000000002</c:v>
                      </c:pt>
                      <c:pt idx="4207">
                        <c:v>6.5830000000000002</c:v>
                      </c:pt>
                      <c:pt idx="4208">
                        <c:v>6.5830000000000002</c:v>
                      </c:pt>
                      <c:pt idx="4209">
                        <c:v>6.5830000000000002</c:v>
                      </c:pt>
                      <c:pt idx="4210">
                        <c:v>6.6559999999999997</c:v>
                      </c:pt>
                      <c:pt idx="4211">
                        <c:v>6.6559999999999997</c:v>
                      </c:pt>
                      <c:pt idx="4212">
                        <c:v>6.6559999999999997</c:v>
                      </c:pt>
                      <c:pt idx="4213">
                        <c:v>6.6559999999999997</c:v>
                      </c:pt>
                      <c:pt idx="4214">
                        <c:v>6.6559999999999997</c:v>
                      </c:pt>
                      <c:pt idx="4215">
                        <c:v>6.6660000000000004</c:v>
                      </c:pt>
                      <c:pt idx="4216">
                        <c:v>6.6660000000000004</c:v>
                      </c:pt>
                      <c:pt idx="4217">
                        <c:v>6.6660000000000004</c:v>
                      </c:pt>
                      <c:pt idx="4218">
                        <c:v>6.6660000000000004</c:v>
                      </c:pt>
                      <c:pt idx="4219">
                        <c:v>6.6660000000000004</c:v>
                      </c:pt>
                      <c:pt idx="4220">
                        <c:v>6.5789999999999997</c:v>
                      </c:pt>
                      <c:pt idx="4221">
                        <c:v>6.5789999999999997</c:v>
                      </c:pt>
                      <c:pt idx="4222">
                        <c:v>6.5789999999999997</c:v>
                      </c:pt>
                      <c:pt idx="4223">
                        <c:v>6.5789999999999997</c:v>
                      </c:pt>
                      <c:pt idx="4224">
                        <c:v>6.5789999999999997</c:v>
                      </c:pt>
                      <c:pt idx="4225">
                        <c:v>6.6150000000000002</c:v>
                      </c:pt>
                      <c:pt idx="4226">
                        <c:v>6.6150000000000002</c:v>
                      </c:pt>
                      <c:pt idx="4227">
                        <c:v>6.6150000000000002</c:v>
                      </c:pt>
                      <c:pt idx="4228">
                        <c:v>6.6150000000000002</c:v>
                      </c:pt>
                      <c:pt idx="4229">
                        <c:v>6.6150000000000002</c:v>
                      </c:pt>
                      <c:pt idx="4230">
                        <c:v>6.66</c:v>
                      </c:pt>
                      <c:pt idx="4231">
                        <c:v>6.66</c:v>
                      </c:pt>
                      <c:pt idx="4232">
                        <c:v>6.66</c:v>
                      </c:pt>
                      <c:pt idx="4233">
                        <c:v>6.66</c:v>
                      </c:pt>
                      <c:pt idx="4234">
                        <c:v>6.66</c:v>
                      </c:pt>
                      <c:pt idx="4235">
                        <c:v>6.6609999999999996</c:v>
                      </c:pt>
                      <c:pt idx="4236">
                        <c:v>6.6609999999999996</c:v>
                      </c:pt>
                      <c:pt idx="4237">
                        <c:v>6.6609999999999996</c:v>
                      </c:pt>
                      <c:pt idx="4238">
                        <c:v>6.6609999999999996</c:v>
                      </c:pt>
                      <c:pt idx="4239">
                        <c:v>6.6609999999999996</c:v>
                      </c:pt>
                      <c:pt idx="4240">
                        <c:v>6.6</c:v>
                      </c:pt>
                      <c:pt idx="4241">
                        <c:v>6.6</c:v>
                      </c:pt>
                      <c:pt idx="4242">
                        <c:v>6.6</c:v>
                      </c:pt>
                      <c:pt idx="4243">
                        <c:v>6.6</c:v>
                      </c:pt>
                      <c:pt idx="4244">
                        <c:v>6.6</c:v>
                      </c:pt>
                      <c:pt idx="4245">
                        <c:v>6.7309999999999999</c:v>
                      </c:pt>
                      <c:pt idx="4246">
                        <c:v>6.7309999999999999</c:v>
                      </c:pt>
                      <c:pt idx="4247">
                        <c:v>6.7309999999999999</c:v>
                      </c:pt>
                      <c:pt idx="4248">
                        <c:v>6.7309999999999999</c:v>
                      </c:pt>
                      <c:pt idx="4249">
                        <c:v>6.7309999999999999</c:v>
                      </c:pt>
                      <c:pt idx="4250">
                        <c:v>6.8849999999999998</c:v>
                      </c:pt>
                      <c:pt idx="4251">
                        <c:v>6.8849999999999998</c:v>
                      </c:pt>
                      <c:pt idx="4252">
                        <c:v>6.8849999999999998</c:v>
                      </c:pt>
                      <c:pt idx="4253">
                        <c:v>6.8849999999999998</c:v>
                      </c:pt>
                      <c:pt idx="4254">
                        <c:v>6.8849999999999998</c:v>
                      </c:pt>
                      <c:pt idx="4255">
                        <c:v>6.9240000000000004</c:v>
                      </c:pt>
                      <c:pt idx="4256">
                        <c:v>6.9240000000000004</c:v>
                      </c:pt>
                      <c:pt idx="4257">
                        <c:v>6.9240000000000004</c:v>
                      </c:pt>
                      <c:pt idx="4258">
                        <c:v>6.9240000000000004</c:v>
                      </c:pt>
                      <c:pt idx="4259">
                        <c:v>6.9240000000000004</c:v>
                      </c:pt>
                      <c:pt idx="4260">
                        <c:v>6.8129999999999997</c:v>
                      </c:pt>
                      <c:pt idx="4261">
                        <c:v>6.8129999999999997</c:v>
                      </c:pt>
                      <c:pt idx="4262">
                        <c:v>6.8129999999999997</c:v>
                      </c:pt>
                      <c:pt idx="4263">
                        <c:v>6.8129999999999997</c:v>
                      </c:pt>
                      <c:pt idx="4264">
                        <c:v>6.8129999999999997</c:v>
                      </c:pt>
                      <c:pt idx="4265">
                        <c:v>6.8339999999999996</c:v>
                      </c:pt>
                      <c:pt idx="4266">
                        <c:v>6.8339999999999996</c:v>
                      </c:pt>
                      <c:pt idx="4267">
                        <c:v>6.8339999999999996</c:v>
                      </c:pt>
                      <c:pt idx="4268">
                        <c:v>6.8339999999999996</c:v>
                      </c:pt>
                      <c:pt idx="4269">
                        <c:v>6.8339999999999996</c:v>
                      </c:pt>
                      <c:pt idx="4270">
                        <c:v>7.1029999999999998</c:v>
                      </c:pt>
                      <c:pt idx="4271">
                        <c:v>7.1029999999999998</c:v>
                      </c:pt>
                      <c:pt idx="4272">
                        <c:v>7.1029999999999998</c:v>
                      </c:pt>
                      <c:pt idx="4273">
                        <c:v>7.1029999999999998</c:v>
                      </c:pt>
                      <c:pt idx="4274">
                        <c:v>7.1029999999999998</c:v>
                      </c:pt>
                      <c:pt idx="4275">
                        <c:v>6.9809999999999999</c:v>
                      </c:pt>
                      <c:pt idx="4276">
                        <c:v>6.9809999999999999</c:v>
                      </c:pt>
                      <c:pt idx="4277">
                        <c:v>6.9809999999999999</c:v>
                      </c:pt>
                      <c:pt idx="4278">
                        <c:v>6.9809999999999999</c:v>
                      </c:pt>
                      <c:pt idx="4279">
                        <c:v>6.9809999999999999</c:v>
                      </c:pt>
                      <c:pt idx="4280">
                        <c:v>7.0570000000000004</c:v>
                      </c:pt>
                      <c:pt idx="4281">
                        <c:v>7.0570000000000004</c:v>
                      </c:pt>
                      <c:pt idx="4282">
                        <c:v>7.0570000000000004</c:v>
                      </c:pt>
                      <c:pt idx="4283">
                        <c:v>7.0570000000000004</c:v>
                      </c:pt>
                      <c:pt idx="4284">
                        <c:v>7.0570000000000004</c:v>
                      </c:pt>
                      <c:pt idx="4285">
                        <c:v>6.9850000000000003</c:v>
                      </c:pt>
                      <c:pt idx="4286">
                        <c:v>6.9850000000000003</c:v>
                      </c:pt>
                      <c:pt idx="4287">
                        <c:v>6.9850000000000003</c:v>
                      </c:pt>
                      <c:pt idx="4288">
                        <c:v>6.9850000000000003</c:v>
                      </c:pt>
                      <c:pt idx="4289">
                        <c:v>6.9850000000000003</c:v>
                      </c:pt>
                      <c:pt idx="4290">
                        <c:v>6.9509999999999996</c:v>
                      </c:pt>
                      <c:pt idx="4291">
                        <c:v>6.9509999999999996</c:v>
                      </c:pt>
                      <c:pt idx="4292">
                        <c:v>6.9509999999999996</c:v>
                      </c:pt>
                      <c:pt idx="4293">
                        <c:v>6.9509999999999996</c:v>
                      </c:pt>
                      <c:pt idx="4294">
                        <c:v>6.9509999999999996</c:v>
                      </c:pt>
                      <c:pt idx="4295">
                        <c:v>6.9749999999999996</c:v>
                      </c:pt>
                      <c:pt idx="4296">
                        <c:v>6.9749999999999996</c:v>
                      </c:pt>
                      <c:pt idx="4297">
                        <c:v>6.9749999999999996</c:v>
                      </c:pt>
                      <c:pt idx="4298">
                        <c:v>6.9749999999999996</c:v>
                      </c:pt>
                      <c:pt idx="4299">
                        <c:v>6.9749999999999996</c:v>
                      </c:pt>
                      <c:pt idx="4300">
                        <c:v>6.9909999999999997</c:v>
                      </c:pt>
                      <c:pt idx="4301">
                        <c:v>6.9909999999999997</c:v>
                      </c:pt>
                      <c:pt idx="4302">
                        <c:v>6.9909999999999997</c:v>
                      </c:pt>
                      <c:pt idx="4303">
                        <c:v>6.9909999999999997</c:v>
                      </c:pt>
                      <c:pt idx="4304">
                        <c:v>6.9909999999999997</c:v>
                      </c:pt>
                      <c:pt idx="4305">
                        <c:v>7.165</c:v>
                      </c:pt>
                      <c:pt idx="4306">
                        <c:v>7.165</c:v>
                      </c:pt>
                      <c:pt idx="4307">
                        <c:v>7.165</c:v>
                      </c:pt>
                      <c:pt idx="4308">
                        <c:v>7.165</c:v>
                      </c:pt>
                      <c:pt idx="4309">
                        <c:v>7.165</c:v>
                      </c:pt>
                      <c:pt idx="4310">
                        <c:v>7.367</c:v>
                      </c:pt>
                      <c:pt idx="4311">
                        <c:v>7.367</c:v>
                      </c:pt>
                      <c:pt idx="4312">
                        <c:v>7.367</c:v>
                      </c:pt>
                      <c:pt idx="4313">
                        <c:v>7.367</c:v>
                      </c:pt>
                      <c:pt idx="4314">
                        <c:v>7.367</c:v>
                      </c:pt>
                      <c:pt idx="4315">
                        <c:v>7.1539999999999999</c:v>
                      </c:pt>
                      <c:pt idx="4316">
                        <c:v>7.1539999999999999</c:v>
                      </c:pt>
                      <c:pt idx="4317">
                        <c:v>7.1539999999999999</c:v>
                      </c:pt>
                      <c:pt idx="4318">
                        <c:v>7.1539999999999999</c:v>
                      </c:pt>
                      <c:pt idx="4319">
                        <c:v>7.1539999999999999</c:v>
                      </c:pt>
                      <c:pt idx="4320">
                        <c:v>7.5410000000000004</c:v>
                      </c:pt>
                      <c:pt idx="4321">
                        <c:v>7.5410000000000004</c:v>
                      </c:pt>
                      <c:pt idx="4322">
                        <c:v>7.5410000000000004</c:v>
                      </c:pt>
                      <c:pt idx="4323">
                        <c:v>7.5410000000000004</c:v>
                      </c:pt>
                      <c:pt idx="4324">
                        <c:v>7.5410000000000004</c:v>
                      </c:pt>
                      <c:pt idx="4325">
                        <c:v>7.3049999999999997</c:v>
                      </c:pt>
                      <c:pt idx="4326">
                        <c:v>7.3049999999999997</c:v>
                      </c:pt>
                      <c:pt idx="4327">
                        <c:v>7.3049999999999997</c:v>
                      </c:pt>
                      <c:pt idx="4328">
                        <c:v>7.3049999999999997</c:v>
                      </c:pt>
                      <c:pt idx="4329">
                        <c:v>7.3049999999999997</c:v>
                      </c:pt>
                      <c:pt idx="4330">
                        <c:v>7.2220000000000004</c:v>
                      </c:pt>
                      <c:pt idx="4331">
                        <c:v>7.2220000000000004</c:v>
                      </c:pt>
                      <c:pt idx="4332">
                        <c:v>7.2220000000000004</c:v>
                      </c:pt>
                      <c:pt idx="4333">
                        <c:v>7.2220000000000004</c:v>
                      </c:pt>
                      <c:pt idx="4334">
                        <c:v>7.2220000000000004</c:v>
                      </c:pt>
                      <c:pt idx="4335">
                        <c:v>7.3049999999999997</c:v>
                      </c:pt>
                      <c:pt idx="4336">
                        <c:v>7.3049999999999997</c:v>
                      </c:pt>
                      <c:pt idx="4337">
                        <c:v>7.3049999999999997</c:v>
                      </c:pt>
                      <c:pt idx="4338">
                        <c:v>7.3049999999999997</c:v>
                      </c:pt>
                      <c:pt idx="4339">
                        <c:v>7.3049999999999997</c:v>
                      </c:pt>
                      <c:pt idx="4340">
                        <c:v>7.0979999999999999</c:v>
                      </c:pt>
                      <c:pt idx="4341">
                        <c:v>7.0979999999999999</c:v>
                      </c:pt>
                      <c:pt idx="4342">
                        <c:v>7.0979999999999999</c:v>
                      </c:pt>
                      <c:pt idx="4343">
                        <c:v>7.0979999999999999</c:v>
                      </c:pt>
                      <c:pt idx="4344">
                        <c:v>7.0979999999999999</c:v>
                      </c:pt>
                      <c:pt idx="4345">
                        <c:v>7.1680000000000001</c:v>
                      </c:pt>
                      <c:pt idx="4346">
                        <c:v>7.1680000000000001</c:v>
                      </c:pt>
                      <c:pt idx="4347">
                        <c:v>7.1680000000000001</c:v>
                      </c:pt>
                      <c:pt idx="4348">
                        <c:v>7.1680000000000001</c:v>
                      </c:pt>
                      <c:pt idx="4349">
                        <c:v>7.1680000000000001</c:v>
                      </c:pt>
                      <c:pt idx="4350">
                        <c:v>7.3819999999999997</c:v>
                      </c:pt>
                      <c:pt idx="4351">
                        <c:v>7.3819999999999997</c:v>
                      </c:pt>
                      <c:pt idx="4352">
                        <c:v>7.3819999999999997</c:v>
                      </c:pt>
                      <c:pt idx="4353">
                        <c:v>7.3819999999999997</c:v>
                      </c:pt>
                      <c:pt idx="4354">
                        <c:v>7.3819999999999997</c:v>
                      </c:pt>
                      <c:pt idx="4355">
                        <c:v>7.4589999999999996</c:v>
                      </c:pt>
                      <c:pt idx="4356">
                        <c:v>7.4589999999999996</c:v>
                      </c:pt>
                      <c:pt idx="4357">
                        <c:v>7.4589999999999996</c:v>
                      </c:pt>
                      <c:pt idx="4358">
                        <c:v>7.4589999999999996</c:v>
                      </c:pt>
                      <c:pt idx="4359">
                        <c:v>7.4589999999999996</c:v>
                      </c:pt>
                      <c:pt idx="4360">
                        <c:v>7.1849999999999996</c:v>
                      </c:pt>
                      <c:pt idx="4361">
                        <c:v>7.1849999999999996</c:v>
                      </c:pt>
                      <c:pt idx="4362">
                        <c:v>7.1849999999999996</c:v>
                      </c:pt>
                      <c:pt idx="4363">
                        <c:v>7.1849999999999996</c:v>
                      </c:pt>
                      <c:pt idx="4364">
                        <c:v>7.1849999999999996</c:v>
                      </c:pt>
                      <c:pt idx="4365">
                        <c:v>7.31</c:v>
                      </c:pt>
                      <c:pt idx="4366">
                        <c:v>7.31</c:v>
                      </c:pt>
                      <c:pt idx="4367">
                        <c:v>7.31</c:v>
                      </c:pt>
                      <c:pt idx="4368">
                        <c:v>7.31</c:v>
                      </c:pt>
                      <c:pt idx="4369">
                        <c:v>7.31</c:v>
                      </c:pt>
                      <c:pt idx="4370">
                        <c:v>7.5279999999999996</c:v>
                      </c:pt>
                      <c:pt idx="4371">
                        <c:v>7.5279999999999996</c:v>
                      </c:pt>
                      <c:pt idx="4372">
                        <c:v>7.5279999999999996</c:v>
                      </c:pt>
                      <c:pt idx="4373">
                        <c:v>7.5279999999999996</c:v>
                      </c:pt>
                      <c:pt idx="4374">
                        <c:v>7.5279999999999996</c:v>
                      </c:pt>
                      <c:pt idx="4375">
                        <c:v>7.3239999999999998</c:v>
                      </c:pt>
                      <c:pt idx="4376">
                        <c:v>7.3239999999999998</c:v>
                      </c:pt>
                      <c:pt idx="4377">
                        <c:v>7.3239999999999998</c:v>
                      </c:pt>
                      <c:pt idx="4378">
                        <c:v>7.3239999999999998</c:v>
                      </c:pt>
                      <c:pt idx="4379">
                        <c:v>7.3239999999999998</c:v>
                      </c:pt>
                      <c:pt idx="4380">
                        <c:v>7.3310000000000004</c:v>
                      </c:pt>
                      <c:pt idx="4381">
                        <c:v>7.3310000000000004</c:v>
                      </c:pt>
                      <c:pt idx="4382">
                        <c:v>7.3310000000000004</c:v>
                      </c:pt>
                      <c:pt idx="4383">
                        <c:v>7.3310000000000004</c:v>
                      </c:pt>
                      <c:pt idx="4384">
                        <c:v>7.3310000000000004</c:v>
                      </c:pt>
                      <c:pt idx="4385">
                        <c:v>7.702</c:v>
                      </c:pt>
                      <c:pt idx="4386">
                        <c:v>7.702</c:v>
                      </c:pt>
                      <c:pt idx="4387">
                        <c:v>7.702</c:v>
                      </c:pt>
                      <c:pt idx="4388">
                        <c:v>7.702</c:v>
                      </c:pt>
                      <c:pt idx="4389">
                        <c:v>7.702</c:v>
                      </c:pt>
                      <c:pt idx="4390">
                        <c:v>7.5369999999999999</c:v>
                      </c:pt>
                      <c:pt idx="4391">
                        <c:v>7.5369999999999999</c:v>
                      </c:pt>
                      <c:pt idx="4392">
                        <c:v>7.5369999999999999</c:v>
                      </c:pt>
                      <c:pt idx="4393">
                        <c:v>7.5369999999999999</c:v>
                      </c:pt>
                      <c:pt idx="4394">
                        <c:v>7.5369999999999999</c:v>
                      </c:pt>
                      <c:pt idx="4395">
                        <c:v>7.6040000000000001</c:v>
                      </c:pt>
                      <c:pt idx="4396">
                        <c:v>7.6040000000000001</c:v>
                      </c:pt>
                      <c:pt idx="4397">
                        <c:v>7.6040000000000001</c:v>
                      </c:pt>
                      <c:pt idx="4398">
                        <c:v>7.6040000000000001</c:v>
                      </c:pt>
                      <c:pt idx="4399">
                        <c:v>7.6040000000000001</c:v>
                      </c:pt>
                      <c:pt idx="4400">
                        <c:v>7.4749999999999996</c:v>
                      </c:pt>
                      <c:pt idx="4401">
                        <c:v>7.4749999999999996</c:v>
                      </c:pt>
                      <c:pt idx="4402">
                        <c:v>7.4749999999999996</c:v>
                      </c:pt>
                      <c:pt idx="4403">
                        <c:v>7.4749999999999996</c:v>
                      </c:pt>
                      <c:pt idx="4404">
                        <c:v>7.4749999999999996</c:v>
                      </c:pt>
                      <c:pt idx="4405">
                        <c:v>7.4710000000000001</c:v>
                      </c:pt>
                      <c:pt idx="4406">
                        <c:v>7.4710000000000001</c:v>
                      </c:pt>
                      <c:pt idx="4407">
                        <c:v>7.4710000000000001</c:v>
                      </c:pt>
                      <c:pt idx="4408">
                        <c:v>7.4710000000000001</c:v>
                      </c:pt>
                      <c:pt idx="4409">
                        <c:v>7.4710000000000001</c:v>
                      </c:pt>
                      <c:pt idx="4410">
                        <c:v>7.5839999999999996</c:v>
                      </c:pt>
                      <c:pt idx="4411">
                        <c:v>7.5839999999999996</c:v>
                      </c:pt>
                      <c:pt idx="4412">
                        <c:v>7.5839999999999996</c:v>
                      </c:pt>
                      <c:pt idx="4413">
                        <c:v>7.5839999999999996</c:v>
                      </c:pt>
                      <c:pt idx="4414">
                        <c:v>7.5839999999999996</c:v>
                      </c:pt>
                      <c:pt idx="4415">
                        <c:v>7.5949999999999998</c:v>
                      </c:pt>
                      <c:pt idx="4416">
                        <c:v>7.5949999999999998</c:v>
                      </c:pt>
                      <c:pt idx="4417">
                        <c:v>7.5949999999999998</c:v>
                      </c:pt>
                      <c:pt idx="4418">
                        <c:v>7.5949999999999998</c:v>
                      </c:pt>
                      <c:pt idx="4419">
                        <c:v>7.5949999999999998</c:v>
                      </c:pt>
                      <c:pt idx="4420">
                        <c:v>7.5229999999999997</c:v>
                      </c:pt>
                      <c:pt idx="4421">
                        <c:v>7.5229999999999997</c:v>
                      </c:pt>
                      <c:pt idx="4422">
                        <c:v>7.5229999999999997</c:v>
                      </c:pt>
                      <c:pt idx="4423">
                        <c:v>7.5229999999999997</c:v>
                      </c:pt>
                      <c:pt idx="4424">
                        <c:v>7.5229999999999997</c:v>
                      </c:pt>
                      <c:pt idx="4425">
                        <c:v>7.4829999999999997</c:v>
                      </c:pt>
                      <c:pt idx="4426">
                        <c:v>7.4829999999999997</c:v>
                      </c:pt>
                      <c:pt idx="4427">
                        <c:v>7.4829999999999997</c:v>
                      </c:pt>
                      <c:pt idx="4428">
                        <c:v>7.4829999999999997</c:v>
                      </c:pt>
                      <c:pt idx="4429">
                        <c:v>7.4829999999999997</c:v>
                      </c:pt>
                      <c:pt idx="4430">
                        <c:v>7.4850000000000003</c:v>
                      </c:pt>
                      <c:pt idx="4431">
                        <c:v>7.4850000000000003</c:v>
                      </c:pt>
                      <c:pt idx="4432">
                        <c:v>7.4850000000000003</c:v>
                      </c:pt>
                      <c:pt idx="4433">
                        <c:v>7.4850000000000003</c:v>
                      </c:pt>
                      <c:pt idx="4434">
                        <c:v>7.4850000000000003</c:v>
                      </c:pt>
                      <c:pt idx="4435">
                        <c:v>7.3819999999999997</c:v>
                      </c:pt>
                      <c:pt idx="4436">
                        <c:v>7.3819999999999997</c:v>
                      </c:pt>
                      <c:pt idx="4437">
                        <c:v>7.3819999999999997</c:v>
                      </c:pt>
                      <c:pt idx="4438">
                        <c:v>7.3819999999999997</c:v>
                      </c:pt>
                      <c:pt idx="4439">
                        <c:v>7.3819999999999997</c:v>
                      </c:pt>
                      <c:pt idx="4440">
                        <c:v>7.5270000000000001</c:v>
                      </c:pt>
                      <c:pt idx="4441">
                        <c:v>7.5270000000000001</c:v>
                      </c:pt>
                      <c:pt idx="4442">
                        <c:v>7.5270000000000001</c:v>
                      </c:pt>
                      <c:pt idx="4443">
                        <c:v>7.5270000000000001</c:v>
                      </c:pt>
                      <c:pt idx="4444">
                        <c:v>7.5270000000000001</c:v>
                      </c:pt>
                      <c:pt idx="4445">
                        <c:v>7.6150000000000002</c:v>
                      </c:pt>
                      <c:pt idx="4446">
                        <c:v>7.6150000000000002</c:v>
                      </c:pt>
                      <c:pt idx="4447">
                        <c:v>7.6150000000000002</c:v>
                      </c:pt>
                      <c:pt idx="4448">
                        <c:v>7.6150000000000002</c:v>
                      </c:pt>
                      <c:pt idx="4449">
                        <c:v>7.6150000000000002</c:v>
                      </c:pt>
                      <c:pt idx="4450">
                        <c:v>7.6589999999999998</c:v>
                      </c:pt>
                      <c:pt idx="4451">
                        <c:v>7.6589999999999998</c:v>
                      </c:pt>
                      <c:pt idx="4452">
                        <c:v>7.6589999999999998</c:v>
                      </c:pt>
                      <c:pt idx="4453">
                        <c:v>7.6589999999999998</c:v>
                      </c:pt>
                      <c:pt idx="4454">
                        <c:v>7.6589999999999998</c:v>
                      </c:pt>
                      <c:pt idx="4455">
                        <c:v>7.766</c:v>
                      </c:pt>
                      <c:pt idx="4456">
                        <c:v>7.766</c:v>
                      </c:pt>
                      <c:pt idx="4457">
                        <c:v>7.766</c:v>
                      </c:pt>
                      <c:pt idx="4458">
                        <c:v>7.766</c:v>
                      </c:pt>
                      <c:pt idx="4459">
                        <c:v>7.766</c:v>
                      </c:pt>
                      <c:pt idx="4460">
                        <c:v>7.7549999999999999</c:v>
                      </c:pt>
                      <c:pt idx="4461">
                        <c:v>7.7549999999999999</c:v>
                      </c:pt>
                      <c:pt idx="4462">
                        <c:v>7.7549999999999999</c:v>
                      </c:pt>
                      <c:pt idx="4463">
                        <c:v>7.7549999999999999</c:v>
                      </c:pt>
                      <c:pt idx="4464">
                        <c:v>7.7549999999999999</c:v>
                      </c:pt>
                      <c:pt idx="4465">
                        <c:v>7.8380000000000001</c:v>
                      </c:pt>
                      <c:pt idx="4466">
                        <c:v>7.8380000000000001</c:v>
                      </c:pt>
                      <c:pt idx="4467">
                        <c:v>7.8380000000000001</c:v>
                      </c:pt>
                      <c:pt idx="4468">
                        <c:v>7.8380000000000001</c:v>
                      </c:pt>
                      <c:pt idx="4469">
                        <c:v>7.8380000000000001</c:v>
                      </c:pt>
                      <c:pt idx="4470">
                        <c:v>7.73</c:v>
                      </c:pt>
                      <c:pt idx="4471">
                        <c:v>7.73</c:v>
                      </c:pt>
                      <c:pt idx="4472">
                        <c:v>7.73</c:v>
                      </c:pt>
                      <c:pt idx="4473">
                        <c:v>7.73</c:v>
                      </c:pt>
                      <c:pt idx="4474">
                        <c:v>7.73</c:v>
                      </c:pt>
                      <c:pt idx="4475">
                        <c:v>7.7510000000000003</c:v>
                      </c:pt>
                      <c:pt idx="4476">
                        <c:v>7.7510000000000003</c:v>
                      </c:pt>
                      <c:pt idx="4477">
                        <c:v>7.7510000000000003</c:v>
                      </c:pt>
                      <c:pt idx="4478">
                        <c:v>7.7510000000000003</c:v>
                      </c:pt>
                      <c:pt idx="4479">
                        <c:v>7.7510000000000003</c:v>
                      </c:pt>
                      <c:pt idx="4480">
                        <c:v>7.8209999999999997</c:v>
                      </c:pt>
                      <c:pt idx="4481">
                        <c:v>7.8209999999999997</c:v>
                      </c:pt>
                      <c:pt idx="4482">
                        <c:v>7.8209999999999997</c:v>
                      </c:pt>
                      <c:pt idx="4483">
                        <c:v>7.8209999999999997</c:v>
                      </c:pt>
                      <c:pt idx="4484">
                        <c:v>7.8209999999999997</c:v>
                      </c:pt>
                      <c:pt idx="4485">
                        <c:v>7.835</c:v>
                      </c:pt>
                      <c:pt idx="4486">
                        <c:v>7.835</c:v>
                      </c:pt>
                      <c:pt idx="4487">
                        <c:v>7.835</c:v>
                      </c:pt>
                      <c:pt idx="4488">
                        <c:v>7.835</c:v>
                      </c:pt>
                      <c:pt idx="4489">
                        <c:v>7.835</c:v>
                      </c:pt>
                      <c:pt idx="4490">
                        <c:v>8.0079999999999991</c:v>
                      </c:pt>
                      <c:pt idx="4491">
                        <c:v>8.0079999999999991</c:v>
                      </c:pt>
                      <c:pt idx="4492">
                        <c:v>8.0079999999999991</c:v>
                      </c:pt>
                      <c:pt idx="4493">
                        <c:v>8.0079999999999991</c:v>
                      </c:pt>
                      <c:pt idx="4494">
                        <c:v>8.0079999999999991</c:v>
                      </c:pt>
                      <c:pt idx="4495">
                        <c:v>7.8680000000000003</c:v>
                      </c:pt>
                      <c:pt idx="4496">
                        <c:v>7.8680000000000003</c:v>
                      </c:pt>
                      <c:pt idx="4497">
                        <c:v>7.8680000000000003</c:v>
                      </c:pt>
                      <c:pt idx="4498">
                        <c:v>7.8680000000000003</c:v>
                      </c:pt>
                      <c:pt idx="4499">
                        <c:v>7.8680000000000003</c:v>
                      </c:pt>
                      <c:pt idx="4500">
                        <c:v>7.9859999999999998</c:v>
                      </c:pt>
                      <c:pt idx="4501">
                        <c:v>7.9859999999999998</c:v>
                      </c:pt>
                      <c:pt idx="4502">
                        <c:v>7.9859999999999998</c:v>
                      </c:pt>
                      <c:pt idx="4503">
                        <c:v>7.9859999999999998</c:v>
                      </c:pt>
                      <c:pt idx="4504">
                        <c:v>7.9859999999999998</c:v>
                      </c:pt>
                      <c:pt idx="4505">
                        <c:v>7.7380000000000004</c:v>
                      </c:pt>
                      <c:pt idx="4506">
                        <c:v>7.7380000000000004</c:v>
                      </c:pt>
                      <c:pt idx="4507">
                        <c:v>7.7380000000000004</c:v>
                      </c:pt>
                      <c:pt idx="4508">
                        <c:v>7.7380000000000004</c:v>
                      </c:pt>
                      <c:pt idx="4509">
                        <c:v>7.7380000000000004</c:v>
                      </c:pt>
                      <c:pt idx="4510">
                        <c:v>8.0850000000000009</c:v>
                      </c:pt>
                      <c:pt idx="4511">
                        <c:v>8.0850000000000009</c:v>
                      </c:pt>
                      <c:pt idx="4512">
                        <c:v>8.0850000000000009</c:v>
                      </c:pt>
                      <c:pt idx="4513">
                        <c:v>8.0850000000000009</c:v>
                      </c:pt>
                      <c:pt idx="4514">
                        <c:v>8.0850000000000009</c:v>
                      </c:pt>
                      <c:pt idx="4515">
                        <c:v>8.1069999999999993</c:v>
                      </c:pt>
                      <c:pt idx="4516">
                        <c:v>8.1069999999999993</c:v>
                      </c:pt>
                      <c:pt idx="4517">
                        <c:v>8.1069999999999993</c:v>
                      </c:pt>
                      <c:pt idx="4518">
                        <c:v>8.1069999999999993</c:v>
                      </c:pt>
                      <c:pt idx="4519">
                        <c:v>8.1069999999999993</c:v>
                      </c:pt>
                      <c:pt idx="4520">
                        <c:v>8.1669999999999998</c:v>
                      </c:pt>
                      <c:pt idx="4521">
                        <c:v>8.1669999999999998</c:v>
                      </c:pt>
                      <c:pt idx="4522">
                        <c:v>8.1669999999999998</c:v>
                      </c:pt>
                      <c:pt idx="4523">
                        <c:v>8.1669999999999998</c:v>
                      </c:pt>
                      <c:pt idx="4524">
                        <c:v>8.1669999999999998</c:v>
                      </c:pt>
                      <c:pt idx="4525">
                        <c:v>8.1120000000000001</c:v>
                      </c:pt>
                      <c:pt idx="4526">
                        <c:v>8.1120000000000001</c:v>
                      </c:pt>
                      <c:pt idx="4527">
                        <c:v>8.1120000000000001</c:v>
                      </c:pt>
                      <c:pt idx="4528">
                        <c:v>8.1120000000000001</c:v>
                      </c:pt>
                      <c:pt idx="4529">
                        <c:v>8.1120000000000001</c:v>
                      </c:pt>
                      <c:pt idx="4530">
                        <c:v>8.2850000000000001</c:v>
                      </c:pt>
                      <c:pt idx="4531">
                        <c:v>8.2850000000000001</c:v>
                      </c:pt>
                      <c:pt idx="4532">
                        <c:v>8.2850000000000001</c:v>
                      </c:pt>
                      <c:pt idx="4533">
                        <c:v>8.2850000000000001</c:v>
                      </c:pt>
                      <c:pt idx="4534">
                        <c:v>8.2850000000000001</c:v>
                      </c:pt>
                      <c:pt idx="4535">
                        <c:v>7.8819999999999997</c:v>
                      </c:pt>
                      <c:pt idx="4536">
                        <c:v>7.8819999999999997</c:v>
                      </c:pt>
                      <c:pt idx="4537">
                        <c:v>7.8819999999999997</c:v>
                      </c:pt>
                      <c:pt idx="4538">
                        <c:v>7.8819999999999997</c:v>
                      </c:pt>
                      <c:pt idx="4539">
                        <c:v>7.8819999999999997</c:v>
                      </c:pt>
                      <c:pt idx="4540">
                        <c:v>8.1340000000000003</c:v>
                      </c:pt>
                      <c:pt idx="4541">
                        <c:v>8.1340000000000003</c:v>
                      </c:pt>
                      <c:pt idx="4542">
                        <c:v>8.1340000000000003</c:v>
                      </c:pt>
                      <c:pt idx="4543">
                        <c:v>8.1340000000000003</c:v>
                      </c:pt>
                      <c:pt idx="4544">
                        <c:v>8.1340000000000003</c:v>
                      </c:pt>
                      <c:pt idx="4545">
                        <c:v>8.048</c:v>
                      </c:pt>
                      <c:pt idx="4546">
                        <c:v>8.048</c:v>
                      </c:pt>
                      <c:pt idx="4547">
                        <c:v>8.048</c:v>
                      </c:pt>
                      <c:pt idx="4548">
                        <c:v>8.048</c:v>
                      </c:pt>
                      <c:pt idx="4549">
                        <c:v>8.048</c:v>
                      </c:pt>
                      <c:pt idx="4550">
                        <c:v>8.0069999999999997</c:v>
                      </c:pt>
                      <c:pt idx="4551">
                        <c:v>8.0069999999999997</c:v>
                      </c:pt>
                      <c:pt idx="4552">
                        <c:v>8.0069999999999997</c:v>
                      </c:pt>
                      <c:pt idx="4553">
                        <c:v>8.0069999999999997</c:v>
                      </c:pt>
                      <c:pt idx="4554">
                        <c:v>8.0069999999999997</c:v>
                      </c:pt>
                      <c:pt idx="4555">
                        <c:v>8.1549999999999994</c:v>
                      </c:pt>
                      <c:pt idx="4556">
                        <c:v>8.1549999999999994</c:v>
                      </c:pt>
                      <c:pt idx="4557">
                        <c:v>8.1549999999999994</c:v>
                      </c:pt>
                      <c:pt idx="4558">
                        <c:v>8.1549999999999994</c:v>
                      </c:pt>
                      <c:pt idx="4559">
                        <c:v>8.1549999999999994</c:v>
                      </c:pt>
                      <c:pt idx="4560">
                        <c:v>8.1820000000000004</c:v>
                      </c:pt>
                      <c:pt idx="4561">
                        <c:v>8.1820000000000004</c:v>
                      </c:pt>
                      <c:pt idx="4562">
                        <c:v>8.1820000000000004</c:v>
                      </c:pt>
                      <c:pt idx="4563">
                        <c:v>8.1820000000000004</c:v>
                      </c:pt>
                      <c:pt idx="4564">
                        <c:v>8.1820000000000004</c:v>
                      </c:pt>
                      <c:pt idx="4565">
                        <c:v>7.9690000000000003</c:v>
                      </c:pt>
                      <c:pt idx="4566">
                        <c:v>7.9690000000000003</c:v>
                      </c:pt>
                      <c:pt idx="4567">
                        <c:v>7.9690000000000003</c:v>
                      </c:pt>
                      <c:pt idx="4568">
                        <c:v>7.9690000000000003</c:v>
                      </c:pt>
                      <c:pt idx="4569">
                        <c:v>7.9690000000000003</c:v>
                      </c:pt>
                      <c:pt idx="4570">
                        <c:v>8.11</c:v>
                      </c:pt>
                      <c:pt idx="4571">
                        <c:v>8.11</c:v>
                      </c:pt>
                      <c:pt idx="4572">
                        <c:v>8.11</c:v>
                      </c:pt>
                      <c:pt idx="4573">
                        <c:v>8.11</c:v>
                      </c:pt>
                      <c:pt idx="4574">
                        <c:v>8.11</c:v>
                      </c:pt>
                      <c:pt idx="4575">
                        <c:v>8.1519999999999992</c:v>
                      </c:pt>
                      <c:pt idx="4576">
                        <c:v>8.1519999999999992</c:v>
                      </c:pt>
                      <c:pt idx="4577">
                        <c:v>8.1519999999999992</c:v>
                      </c:pt>
                      <c:pt idx="4578">
                        <c:v>8.1519999999999992</c:v>
                      </c:pt>
                      <c:pt idx="4579">
                        <c:v>8.1519999999999992</c:v>
                      </c:pt>
                      <c:pt idx="4580">
                        <c:v>8.11</c:v>
                      </c:pt>
                      <c:pt idx="4581">
                        <c:v>8.11</c:v>
                      </c:pt>
                      <c:pt idx="4582">
                        <c:v>8.11</c:v>
                      </c:pt>
                      <c:pt idx="4583">
                        <c:v>8.11</c:v>
                      </c:pt>
                      <c:pt idx="4584">
                        <c:v>8.11</c:v>
                      </c:pt>
                      <c:pt idx="4585">
                        <c:v>8.109</c:v>
                      </c:pt>
                      <c:pt idx="4586">
                        <c:v>8.109</c:v>
                      </c:pt>
                      <c:pt idx="4587">
                        <c:v>8.109</c:v>
                      </c:pt>
                      <c:pt idx="4588">
                        <c:v>8.109</c:v>
                      </c:pt>
                      <c:pt idx="4589">
                        <c:v>8.109</c:v>
                      </c:pt>
                      <c:pt idx="4590">
                        <c:v>8.0909999999999993</c:v>
                      </c:pt>
                      <c:pt idx="4591">
                        <c:v>8.0909999999999993</c:v>
                      </c:pt>
                      <c:pt idx="4592">
                        <c:v>8.0909999999999993</c:v>
                      </c:pt>
                      <c:pt idx="4593">
                        <c:v>8.0909999999999993</c:v>
                      </c:pt>
                      <c:pt idx="4594">
                        <c:v>8.0909999999999993</c:v>
                      </c:pt>
                      <c:pt idx="4595">
                        <c:v>8.1750000000000007</c:v>
                      </c:pt>
                      <c:pt idx="4596">
                        <c:v>8.1750000000000007</c:v>
                      </c:pt>
                      <c:pt idx="4597">
                        <c:v>8.1750000000000007</c:v>
                      </c:pt>
                      <c:pt idx="4598">
                        <c:v>8.1750000000000007</c:v>
                      </c:pt>
                      <c:pt idx="4599">
                        <c:v>8.1750000000000007</c:v>
                      </c:pt>
                      <c:pt idx="4600">
                        <c:v>8.1750000000000007</c:v>
                      </c:pt>
                      <c:pt idx="4601">
                        <c:v>8.1750000000000007</c:v>
                      </c:pt>
                      <c:pt idx="4602">
                        <c:v>8.1750000000000007</c:v>
                      </c:pt>
                      <c:pt idx="4603">
                        <c:v>8.1750000000000007</c:v>
                      </c:pt>
                      <c:pt idx="4604">
                        <c:v>8.1750000000000007</c:v>
                      </c:pt>
                      <c:pt idx="4605">
                        <c:v>8.0980000000000008</c:v>
                      </c:pt>
                      <c:pt idx="4606">
                        <c:v>8.0980000000000008</c:v>
                      </c:pt>
                      <c:pt idx="4607">
                        <c:v>8.0980000000000008</c:v>
                      </c:pt>
                      <c:pt idx="4608">
                        <c:v>8.0980000000000008</c:v>
                      </c:pt>
                      <c:pt idx="4609">
                        <c:v>8.0980000000000008</c:v>
                      </c:pt>
                      <c:pt idx="4610">
                        <c:v>8.1329999999999991</c:v>
                      </c:pt>
                      <c:pt idx="4611">
                        <c:v>8.1329999999999991</c:v>
                      </c:pt>
                      <c:pt idx="4612">
                        <c:v>8.1329999999999991</c:v>
                      </c:pt>
                      <c:pt idx="4613">
                        <c:v>8.1329999999999991</c:v>
                      </c:pt>
                      <c:pt idx="4614">
                        <c:v>8.1329999999999991</c:v>
                      </c:pt>
                      <c:pt idx="4615">
                        <c:v>8.1980000000000004</c:v>
                      </c:pt>
                      <c:pt idx="4616">
                        <c:v>8.1980000000000004</c:v>
                      </c:pt>
                      <c:pt idx="4617">
                        <c:v>8.1980000000000004</c:v>
                      </c:pt>
                      <c:pt idx="4618">
                        <c:v>8.1980000000000004</c:v>
                      </c:pt>
                      <c:pt idx="4619">
                        <c:v>8.1980000000000004</c:v>
                      </c:pt>
                      <c:pt idx="4620">
                        <c:v>8.1479999999999997</c:v>
                      </c:pt>
                      <c:pt idx="4621">
                        <c:v>8.1479999999999997</c:v>
                      </c:pt>
                      <c:pt idx="4622">
                        <c:v>8.1479999999999997</c:v>
                      </c:pt>
                      <c:pt idx="4623">
                        <c:v>8.1479999999999997</c:v>
                      </c:pt>
                      <c:pt idx="4624">
                        <c:v>8.1479999999999997</c:v>
                      </c:pt>
                      <c:pt idx="4625">
                        <c:v>8.2149999999999999</c:v>
                      </c:pt>
                      <c:pt idx="4626">
                        <c:v>8.2149999999999999</c:v>
                      </c:pt>
                      <c:pt idx="4627">
                        <c:v>8.2149999999999999</c:v>
                      </c:pt>
                      <c:pt idx="4628">
                        <c:v>8.2149999999999999</c:v>
                      </c:pt>
                      <c:pt idx="4629">
                        <c:v>8.2149999999999999</c:v>
                      </c:pt>
                      <c:pt idx="4630">
                        <c:v>8.2319999999999993</c:v>
                      </c:pt>
                      <c:pt idx="4631">
                        <c:v>8.2319999999999993</c:v>
                      </c:pt>
                      <c:pt idx="4632">
                        <c:v>8.2319999999999993</c:v>
                      </c:pt>
                      <c:pt idx="4633">
                        <c:v>8.2319999999999993</c:v>
                      </c:pt>
                      <c:pt idx="4634">
                        <c:v>8.2319999999999993</c:v>
                      </c:pt>
                      <c:pt idx="4635">
                        <c:v>8.1560000000000006</c:v>
                      </c:pt>
                      <c:pt idx="4636">
                        <c:v>8.1560000000000006</c:v>
                      </c:pt>
                      <c:pt idx="4637">
                        <c:v>8.1560000000000006</c:v>
                      </c:pt>
                      <c:pt idx="4638">
                        <c:v>8.1560000000000006</c:v>
                      </c:pt>
                      <c:pt idx="4639">
                        <c:v>8.1560000000000006</c:v>
                      </c:pt>
                      <c:pt idx="4640">
                        <c:v>8.17</c:v>
                      </c:pt>
                      <c:pt idx="4641">
                        <c:v>8.17</c:v>
                      </c:pt>
                      <c:pt idx="4642">
                        <c:v>8.17</c:v>
                      </c:pt>
                      <c:pt idx="4643">
                        <c:v>8.17</c:v>
                      </c:pt>
                      <c:pt idx="4644">
                        <c:v>8.17</c:v>
                      </c:pt>
                      <c:pt idx="4645">
                        <c:v>8.3699999999999992</c:v>
                      </c:pt>
                      <c:pt idx="4646">
                        <c:v>8.3699999999999992</c:v>
                      </c:pt>
                      <c:pt idx="4647">
                        <c:v>8.3699999999999992</c:v>
                      </c:pt>
                      <c:pt idx="4648">
                        <c:v>8.3699999999999992</c:v>
                      </c:pt>
                      <c:pt idx="4649">
                        <c:v>8.3699999999999992</c:v>
                      </c:pt>
                      <c:pt idx="4650">
                        <c:v>8.2110000000000003</c:v>
                      </c:pt>
                      <c:pt idx="4651">
                        <c:v>8.2110000000000003</c:v>
                      </c:pt>
                      <c:pt idx="4652">
                        <c:v>8.2110000000000003</c:v>
                      </c:pt>
                      <c:pt idx="4653">
                        <c:v>8.2110000000000003</c:v>
                      </c:pt>
                      <c:pt idx="4654">
                        <c:v>8.2110000000000003</c:v>
                      </c:pt>
                      <c:pt idx="4655">
                        <c:v>8.0920000000000005</c:v>
                      </c:pt>
                      <c:pt idx="4656">
                        <c:v>8.0920000000000005</c:v>
                      </c:pt>
                      <c:pt idx="4657">
                        <c:v>8.0920000000000005</c:v>
                      </c:pt>
                      <c:pt idx="4658">
                        <c:v>8.0920000000000005</c:v>
                      </c:pt>
                      <c:pt idx="4659">
                        <c:v>8.0920000000000005</c:v>
                      </c:pt>
                      <c:pt idx="4660">
                        <c:v>8.1029999999999998</c:v>
                      </c:pt>
                      <c:pt idx="4661">
                        <c:v>8.1029999999999998</c:v>
                      </c:pt>
                      <c:pt idx="4662">
                        <c:v>8.1029999999999998</c:v>
                      </c:pt>
                      <c:pt idx="4663">
                        <c:v>8.1029999999999998</c:v>
                      </c:pt>
                      <c:pt idx="4664">
                        <c:v>8.1029999999999998</c:v>
                      </c:pt>
                      <c:pt idx="4665">
                        <c:v>8.2100000000000009</c:v>
                      </c:pt>
                      <c:pt idx="4666">
                        <c:v>8.2100000000000009</c:v>
                      </c:pt>
                      <c:pt idx="4667">
                        <c:v>8.2100000000000009</c:v>
                      </c:pt>
                      <c:pt idx="4668">
                        <c:v>8.2100000000000009</c:v>
                      </c:pt>
                      <c:pt idx="4669">
                        <c:v>8.2100000000000009</c:v>
                      </c:pt>
                      <c:pt idx="4670">
                        <c:v>8.1479999999999997</c:v>
                      </c:pt>
                      <c:pt idx="4671">
                        <c:v>8.1479999999999997</c:v>
                      </c:pt>
                      <c:pt idx="4672">
                        <c:v>8.1479999999999997</c:v>
                      </c:pt>
                      <c:pt idx="4673">
                        <c:v>8.1479999999999997</c:v>
                      </c:pt>
                      <c:pt idx="4674">
                        <c:v>8.1479999999999997</c:v>
                      </c:pt>
                      <c:pt idx="4675">
                        <c:v>8.141</c:v>
                      </c:pt>
                      <c:pt idx="4676">
                        <c:v>8.141</c:v>
                      </c:pt>
                      <c:pt idx="4677">
                        <c:v>8.141</c:v>
                      </c:pt>
                      <c:pt idx="4678">
                        <c:v>8.141</c:v>
                      </c:pt>
                      <c:pt idx="4679">
                        <c:v>8.141</c:v>
                      </c:pt>
                      <c:pt idx="4680">
                        <c:v>8.1609999999999996</c:v>
                      </c:pt>
                      <c:pt idx="4681">
                        <c:v>8.1609999999999996</c:v>
                      </c:pt>
                      <c:pt idx="4682">
                        <c:v>8.1609999999999996</c:v>
                      </c:pt>
                      <c:pt idx="4683">
                        <c:v>8.1609999999999996</c:v>
                      </c:pt>
                      <c:pt idx="4684">
                        <c:v>8.1609999999999996</c:v>
                      </c:pt>
                      <c:pt idx="4685">
                        <c:v>7.9009999999999998</c:v>
                      </c:pt>
                      <c:pt idx="4686">
                        <c:v>7.9009999999999998</c:v>
                      </c:pt>
                      <c:pt idx="4687">
                        <c:v>7.9009999999999998</c:v>
                      </c:pt>
                      <c:pt idx="4688">
                        <c:v>7.9009999999999998</c:v>
                      </c:pt>
                      <c:pt idx="4689">
                        <c:v>7.9009999999999998</c:v>
                      </c:pt>
                      <c:pt idx="4690">
                        <c:v>8.1180000000000003</c:v>
                      </c:pt>
                      <c:pt idx="4691">
                        <c:v>8.1180000000000003</c:v>
                      </c:pt>
                      <c:pt idx="4692">
                        <c:v>8.1180000000000003</c:v>
                      </c:pt>
                      <c:pt idx="4693">
                        <c:v>8.1180000000000003</c:v>
                      </c:pt>
                      <c:pt idx="4694">
                        <c:v>8.1180000000000003</c:v>
                      </c:pt>
                      <c:pt idx="4695">
                        <c:v>8.0860000000000003</c:v>
                      </c:pt>
                      <c:pt idx="4696">
                        <c:v>8.0860000000000003</c:v>
                      </c:pt>
                      <c:pt idx="4697">
                        <c:v>8.0860000000000003</c:v>
                      </c:pt>
                      <c:pt idx="4698">
                        <c:v>8.0860000000000003</c:v>
                      </c:pt>
                      <c:pt idx="4699">
                        <c:v>8.0860000000000003</c:v>
                      </c:pt>
                      <c:pt idx="4700">
                        <c:v>8.0150000000000006</c:v>
                      </c:pt>
                      <c:pt idx="4701">
                        <c:v>8.0150000000000006</c:v>
                      </c:pt>
                      <c:pt idx="4702">
                        <c:v>8.0150000000000006</c:v>
                      </c:pt>
                      <c:pt idx="4703">
                        <c:v>8.0150000000000006</c:v>
                      </c:pt>
                      <c:pt idx="4704">
                        <c:v>8.0150000000000006</c:v>
                      </c:pt>
                      <c:pt idx="4705">
                        <c:v>8.1259999999999994</c:v>
                      </c:pt>
                      <c:pt idx="4706">
                        <c:v>8.1259999999999994</c:v>
                      </c:pt>
                      <c:pt idx="4707">
                        <c:v>8.1259999999999994</c:v>
                      </c:pt>
                      <c:pt idx="4708">
                        <c:v>8.1259999999999994</c:v>
                      </c:pt>
                      <c:pt idx="4709">
                        <c:v>8.1259999999999994</c:v>
                      </c:pt>
                      <c:pt idx="4710">
                        <c:v>8.1519999999999992</c:v>
                      </c:pt>
                      <c:pt idx="4711">
                        <c:v>8.1519999999999992</c:v>
                      </c:pt>
                      <c:pt idx="4712">
                        <c:v>8.1519999999999992</c:v>
                      </c:pt>
                      <c:pt idx="4713">
                        <c:v>8.1519999999999992</c:v>
                      </c:pt>
                      <c:pt idx="4714">
                        <c:v>8.1519999999999992</c:v>
                      </c:pt>
                      <c:pt idx="4715">
                        <c:v>8.1509999999999998</c:v>
                      </c:pt>
                      <c:pt idx="4716">
                        <c:v>8.1509999999999998</c:v>
                      </c:pt>
                      <c:pt idx="4717">
                        <c:v>8.1509999999999998</c:v>
                      </c:pt>
                      <c:pt idx="4718">
                        <c:v>8.1509999999999998</c:v>
                      </c:pt>
                      <c:pt idx="4719">
                        <c:v>8.1509999999999998</c:v>
                      </c:pt>
                      <c:pt idx="4720">
                        <c:v>8.2789999999999999</c:v>
                      </c:pt>
                      <c:pt idx="4721">
                        <c:v>8.2789999999999999</c:v>
                      </c:pt>
                      <c:pt idx="4722">
                        <c:v>8.2789999999999999</c:v>
                      </c:pt>
                      <c:pt idx="4723">
                        <c:v>8.2789999999999999</c:v>
                      </c:pt>
                      <c:pt idx="4724">
                        <c:v>8.2789999999999999</c:v>
                      </c:pt>
                      <c:pt idx="4725">
                        <c:v>8.109</c:v>
                      </c:pt>
                      <c:pt idx="4726">
                        <c:v>8.109</c:v>
                      </c:pt>
                      <c:pt idx="4727">
                        <c:v>8.109</c:v>
                      </c:pt>
                      <c:pt idx="4728">
                        <c:v>8.109</c:v>
                      </c:pt>
                      <c:pt idx="4729">
                        <c:v>8.109</c:v>
                      </c:pt>
                      <c:pt idx="4730">
                        <c:v>8.1259999999999994</c:v>
                      </c:pt>
                      <c:pt idx="4731">
                        <c:v>8.1259999999999994</c:v>
                      </c:pt>
                      <c:pt idx="4732">
                        <c:v>8.1259999999999994</c:v>
                      </c:pt>
                      <c:pt idx="4733">
                        <c:v>8.1259999999999994</c:v>
                      </c:pt>
                      <c:pt idx="4734">
                        <c:v>8.1259999999999994</c:v>
                      </c:pt>
                      <c:pt idx="4735">
                        <c:v>8.1219999999999999</c:v>
                      </c:pt>
                      <c:pt idx="4736">
                        <c:v>8.1219999999999999</c:v>
                      </c:pt>
                      <c:pt idx="4737">
                        <c:v>8.1219999999999999</c:v>
                      </c:pt>
                      <c:pt idx="4738">
                        <c:v>8.1219999999999999</c:v>
                      </c:pt>
                      <c:pt idx="4739">
                        <c:v>8.1219999999999999</c:v>
                      </c:pt>
                      <c:pt idx="4740">
                        <c:v>8.0459999999999994</c:v>
                      </c:pt>
                      <c:pt idx="4741">
                        <c:v>8.0459999999999994</c:v>
                      </c:pt>
                      <c:pt idx="4742">
                        <c:v>8.0459999999999994</c:v>
                      </c:pt>
                      <c:pt idx="4743">
                        <c:v>8.0459999999999994</c:v>
                      </c:pt>
                      <c:pt idx="4744">
                        <c:v>8.0459999999999994</c:v>
                      </c:pt>
                      <c:pt idx="4745">
                        <c:v>8.1319999999999997</c:v>
                      </c:pt>
                      <c:pt idx="4746">
                        <c:v>8.1319999999999997</c:v>
                      </c:pt>
                      <c:pt idx="4747">
                        <c:v>8.1319999999999997</c:v>
                      </c:pt>
                      <c:pt idx="4748">
                        <c:v>8.1319999999999997</c:v>
                      </c:pt>
                      <c:pt idx="4749">
                        <c:v>8.1319999999999997</c:v>
                      </c:pt>
                      <c:pt idx="4750">
                        <c:v>8.2029999999999994</c:v>
                      </c:pt>
                      <c:pt idx="4751">
                        <c:v>8.2029999999999994</c:v>
                      </c:pt>
                      <c:pt idx="4752">
                        <c:v>8.2029999999999994</c:v>
                      </c:pt>
                      <c:pt idx="4753">
                        <c:v>8.2029999999999994</c:v>
                      </c:pt>
                      <c:pt idx="4754">
                        <c:v>8.2029999999999994</c:v>
                      </c:pt>
                      <c:pt idx="4755">
                        <c:v>7.96</c:v>
                      </c:pt>
                      <c:pt idx="4756">
                        <c:v>7.96</c:v>
                      </c:pt>
                      <c:pt idx="4757">
                        <c:v>7.96</c:v>
                      </c:pt>
                      <c:pt idx="4758">
                        <c:v>7.96</c:v>
                      </c:pt>
                      <c:pt idx="4759">
                        <c:v>7.96</c:v>
                      </c:pt>
                      <c:pt idx="4760">
                        <c:v>8.2949999999999999</c:v>
                      </c:pt>
                      <c:pt idx="4761">
                        <c:v>8.2949999999999999</c:v>
                      </c:pt>
                      <c:pt idx="4762">
                        <c:v>8.2949999999999999</c:v>
                      </c:pt>
                      <c:pt idx="4763">
                        <c:v>8.2949999999999999</c:v>
                      </c:pt>
                      <c:pt idx="4764">
                        <c:v>8.2949999999999999</c:v>
                      </c:pt>
                      <c:pt idx="4765">
                        <c:v>7.9790000000000001</c:v>
                      </c:pt>
                      <c:pt idx="4766">
                        <c:v>7.9790000000000001</c:v>
                      </c:pt>
                      <c:pt idx="4767">
                        <c:v>7.9790000000000001</c:v>
                      </c:pt>
                      <c:pt idx="4768">
                        <c:v>7.9790000000000001</c:v>
                      </c:pt>
                      <c:pt idx="4769">
                        <c:v>7.9790000000000001</c:v>
                      </c:pt>
                      <c:pt idx="4770">
                        <c:v>8.1029999999999998</c:v>
                      </c:pt>
                      <c:pt idx="4771">
                        <c:v>8.1029999999999998</c:v>
                      </c:pt>
                      <c:pt idx="4772">
                        <c:v>8.1029999999999998</c:v>
                      </c:pt>
                      <c:pt idx="4773">
                        <c:v>8.1029999999999998</c:v>
                      </c:pt>
                      <c:pt idx="4774">
                        <c:v>8.1029999999999998</c:v>
                      </c:pt>
                      <c:pt idx="4775">
                        <c:v>7.9740000000000002</c:v>
                      </c:pt>
                      <c:pt idx="4776">
                        <c:v>7.9740000000000002</c:v>
                      </c:pt>
                      <c:pt idx="4777">
                        <c:v>7.9740000000000002</c:v>
                      </c:pt>
                      <c:pt idx="4778">
                        <c:v>7.9740000000000002</c:v>
                      </c:pt>
                      <c:pt idx="4779">
                        <c:v>7.9740000000000002</c:v>
                      </c:pt>
                      <c:pt idx="4780">
                        <c:v>8.0210000000000008</c:v>
                      </c:pt>
                      <c:pt idx="4781">
                        <c:v>8.0210000000000008</c:v>
                      </c:pt>
                      <c:pt idx="4782">
                        <c:v>8.0210000000000008</c:v>
                      </c:pt>
                      <c:pt idx="4783">
                        <c:v>8.0210000000000008</c:v>
                      </c:pt>
                      <c:pt idx="4784">
                        <c:v>8.0210000000000008</c:v>
                      </c:pt>
                      <c:pt idx="4785">
                        <c:v>8.1129999999999995</c:v>
                      </c:pt>
                      <c:pt idx="4786">
                        <c:v>8.1129999999999995</c:v>
                      </c:pt>
                      <c:pt idx="4787">
                        <c:v>8.1129999999999995</c:v>
                      </c:pt>
                      <c:pt idx="4788">
                        <c:v>8.1129999999999995</c:v>
                      </c:pt>
                      <c:pt idx="4789">
                        <c:v>8.1129999999999995</c:v>
                      </c:pt>
                      <c:pt idx="4790">
                        <c:v>8.0510000000000002</c:v>
                      </c:pt>
                      <c:pt idx="4791">
                        <c:v>8.0510000000000002</c:v>
                      </c:pt>
                      <c:pt idx="4792">
                        <c:v>8.0510000000000002</c:v>
                      </c:pt>
                      <c:pt idx="4793">
                        <c:v>8.0510000000000002</c:v>
                      </c:pt>
                      <c:pt idx="4794">
                        <c:v>8.0510000000000002</c:v>
                      </c:pt>
                      <c:pt idx="4795">
                        <c:v>8.1199999999999992</c:v>
                      </c:pt>
                      <c:pt idx="4796">
                        <c:v>8.1199999999999992</c:v>
                      </c:pt>
                      <c:pt idx="4797">
                        <c:v>8.1199999999999992</c:v>
                      </c:pt>
                      <c:pt idx="4798">
                        <c:v>8.1199999999999992</c:v>
                      </c:pt>
                      <c:pt idx="4799">
                        <c:v>8.1199999999999992</c:v>
                      </c:pt>
                      <c:pt idx="4800">
                        <c:v>8.1010000000000009</c:v>
                      </c:pt>
                      <c:pt idx="4801">
                        <c:v>8.1010000000000009</c:v>
                      </c:pt>
                      <c:pt idx="4802">
                        <c:v>8.1010000000000009</c:v>
                      </c:pt>
                      <c:pt idx="4803">
                        <c:v>8.1010000000000009</c:v>
                      </c:pt>
                      <c:pt idx="4804">
                        <c:v>8.1010000000000009</c:v>
                      </c:pt>
                      <c:pt idx="4805">
                        <c:v>8.1180000000000003</c:v>
                      </c:pt>
                      <c:pt idx="4806">
                        <c:v>8.1180000000000003</c:v>
                      </c:pt>
                      <c:pt idx="4807">
                        <c:v>8.1180000000000003</c:v>
                      </c:pt>
                      <c:pt idx="4808">
                        <c:v>8.1180000000000003</c:v>
                      </c:pt>
                      <c:pt idx="4809">
                        <c:v>8.1180000000000003</c:v>
                      </c:pt>
                      <c:pt idx="4810">
                        <c:v>8.0150000000000006</c:v>
                      </c:pt>
                      <c:pt idx="4811">
                        <c:v>8.0150000000000006</c:v>
                      </c:pt>
                      <c:pt idx="4812">
                        <c:v>8.0150000000000006</c:v>
                      </c:pt>
                      <c:pt idx="4813">
                        <c:v>8.0150000000000006</c:v>
                      </c:pt>
                      <c:pt idx="4814">
                        <c:v>8.0150000000000006</c:v>
                      </c:pt>
                      <c:pt idx="4815">
                        <c:v>8.0109999999999992</c:v>
                      </c:pt>
                      <c:pt idx="4816">
                        <c:v>8.0109999999999992</c:v>
                      </c:pt>
                      <c:pt idx="4817">
                        <c:v>8.0109999999999992</c:v>
                      </c:pt>
                      <c:pt idx="4818">
                        <c:v>8.0109999999999992</c:v>
                      </c:pt>
                      <c:pt idx="4819">
                        <c:v>8.0109999999999992</c:v>
                      </c:pt>
                      <c:pt idx="4820">
                        <c:v>8.0220000000000002</c:v>
                      </c:pt>
                      <c:pt idx="4821">
                        <c:v>8.0220000000000002</c:v>
                      </c:pt>
                      <c:pt idx="4822">
                        <c:v>8.0220000000000002</c:v>
                      </c:pt>
                      <c:pt idx="4823">
                        <c:v>8.0220000000000002</c:v>
                      </c:pt>
                      <c:pt idx="4824">
                        <c:v>8.0220000000000002</c:v>
                      </c:pt>
                      <c:pt idx="4825">
                        <c:v>8.0229999999999997</c:v>
                      </c:pt>
                      <c:pt idx="4826">
                        <c:v>8.0229999999999997</c:v>
                      </c:pt>
                      <c:pt idx="4827">
                        <c:v>8.0229999999999997</c:v>
                      </c:pt>
                      <c:pt idx="4828">
                        <c:v>8.0229999999999997</c:v>
                      </c:pt>
                      <c:pt idx="4829">
                        <c:v>8.0229999999999997</c:v>
                      </c:pt>
                      <c:pt idx="4830">
                        <c:v>7.9459999999999997</c:v>
                      </c:pt>
                      <c:pt idx="4831">
                        <c:v>7.9459999999999997</c:v>
                      </c:pt>
                      <c:pt idx="4832">
                        <c:v>7.9459999999999997</c:v>
                      </c:pt>
                      <c:pt idx="4833">
                        <c:v>7.9459999999999997</c:v>
                      </c:pt>
                      <c:pt idx="4834">
                        <c:v>7.9459999999999997</c:v>
                      </c:pt>
                      <c:pt idx="4835">
                        <c:v>8.0540000000000003</c:v>
                      </c:pt>
                      <c:pt idx="4836">
                        <c:v>8.0540000000000003</c:v>
                      </c:pt>
                      <c:pt idx="4837">
                        <c:v>8.0540000000000003</c:v>
                      </c:pt>
                      <c:pt idx="4838">
                        <c:v>8.0540000000000003</c:v>
                      </c:pt>
                      <c:pt idx="4839">
                        <c:v>8.0540000000000003</c:v>
                      </c:pt>
                      <c:pt idx="4840">
                        <c:v>8.0510000000000002</c:v>
                      </c:pt>
                      <c:pt idx="4841">
                        <c:v>8.0510000000000002</c:v>
                      </c:pt>
                      <c:pt idx="4842">
                        <c:v>8.0510000000000002</c:v>
                      </c:pt>
                      <c:pt idx="4843">
                        <c:v>8.0510000000000002</c:v>
                      </c:pt>
                      <c:pt idx="4844">
                        <c:v>8.0510000000000002</c:v>
                      </c:pt>
                      <c:pt idx="4845">
                        <c:v>8.0470000000000006</c:v>
                      </c:pt>
                      <c:pt idx="4846">
                        <c:v>8.0470000000000006</c:v>
                      </c:pt>
                      <c:pt idx="4847">
                        <c:v>8.0470000000000006</c:v>
                      </c:pt>
                      <c:pt idx="4848">
                        <c:v>8.0470000000000006</c:v>
                      </c:pt>
                      <c:pt idx="4849">
                        <c:v>8.0470000000000006</c:v>
                      </c:pt>
                      <c:pt idx="4850">
                        <c:v>8.0419999999999998</c:v>
                      </c:pt>
                      <c:pt idx="4851">
                        <c:v>8.0419999999999998</c:v>
                      </c:pt>
                      <c:pt idx="4852">
                        <c:v>8.0419999999999998</c:v>
                      </c:pt>
                      <c:pt idx="4853">
                        <c:v>8.0419999999999998</c:v>
                      </c:pt>
                      <c:pt idx="4854">
                        <c:v>8.0419999999999998</c:v>
                      </c:pt>
                      <c:pt idx="4855">
                        <c:v>8.01</c:v>
                      </c:pt>
                      <c:pt idx="4856">
                        <c:v>8.01</c:v>
                      </c:pt>
                      <c:pt idx="4857">
                        <c:v>8.01</c:v>
                      </c:pt>
                      <c:pt idx="4858">
                        <c:v>8.01</c:v>
                      </c:pt>
                      <c:pt idx="4859">
                        <c:v>8.01</c:v>
                      </c:pt>
                      <c:pt idx="4860">
                        <c:v>7.9790000000000001</c:v>
                      </c:pt>
                      <c:pt idx="4861">
                        <c:v>7.9790000000000001</c:v>
                      </c:pt>
                      <c:pt idx="4862">
                        <c:v>7.9790000000000001</c:v>
                      </c:pt>
                      <c:pt idx="4863">
                        <c:v>7.9790000000000001</c:v>
                      </c:pt>
                      <c:pt idx="4864">
                        <c:v>7.9790000000000001</c:v>
                      </c:pt>
                      <c:pt idx="4865">
                        <c:v>8.0679999999999996</c:v>
                      </c:pt>
                      <c:pt idx="4866">
                        <c:v>8.0679999999999996</c:v>
                      </c:pt>
                      <c:pt idx="4867">
                        <c:v>8.0679999999999996</c:v>
                      </c:pt>
                      <c:pt idx="4868">
                        <c:v>8.0679999999999996</c:v>
                      </c:pt>
                      <c:pt idx="4869">
                        <c:v>8.0679999999999996</c:v>
                      </c:pt>
                      <c:pt idx="4870">
                        <c:v>7.9340000000000002</c:v>
                      </c:pt>
                      <c:pt idx="4871">
                        <c:v>7.9340000000000002</c:v>
                      </c:pt>
                      <c:pt idx="4872">
                        <c:v>7.9340000000000002</c:v>
                      </c:pt>
                      <c:pt idx="4873">
                        <c:v>7.9340000000000002</c:v>
                      </c:pt>
                      <c:pt idx="4874">
                        <c:v>7.9340000000000002</c:v>
                      </c:pt>
                      <c:pt idx="4875">
                        <c:v>8.1029999999999998</c:v>
                      </c:pt>
                      <c:pt idx="4876">
                        <c:v>8.1029999999999998</c:v>
                      </c:pt>
                      <c:pt idx="4877">
                        <c:v>8.1029999999999998</c:v>
                      </c:pt>
                      <c:pt idx="4878">
                        <c:v>8.1029999999999998</c:v>
                      </c:pt>
                      <c:pt idx="4879">
                        <c:v>8.1029999999999998</c:v>
                      </c:pt>
                      <c:pt idx="4880">
                        <c:v>8.0809999999999995</c:v>
                      </c:pt>
                      <c:pt idx="4881">
                        <c:v>8.0809999999999995</c:v>
                      </c:pt>
                      <c:pt idx="4882">
                        <c:v>8.0809999999999995</c:v>
                      </c:pt>
                      <c:pt idx="4883">
                        <c:v>8.0809999999999995</c:v>
                      </c:pt>
                      <c:pt idx="4884">
                        <c:v>8.0809999999999995</c:v>
                      </c:pt>
                      <c:pt idx="4885">
                        <c:v>8.0660000000000007</c:v>
                      </c:pt>
                      <c:pt idx="4886">
                        <c:v>8.0660000000000007</c:v>
                      </c:pt>
                      <c:pt idx="4887">
                        <c:v>8.0660000000000007</c:v>
                      </c:pt>
                      <c:pt idx="4888">
                        <c:v>8.0660000000000007</c:v>
                      </c:pt>
                      <c:pt idx="4889">
                        <c:v>8.0660000000000007</c:v>
                      </c:pt>
                      <c:pt idx="4890">
                        <c:v>8.0139999999999993</c:v>
                      </c:pt>
                      <c:pt idx="4891">
                        <c:v>8.0139999999999993</c:v>
                      </c:pt>
                      <c:pt idx="4892">
                        <c:v>8.0139999999999993</c:v>
                      </c:pt>
                      <c:pt idx="4893">
                        <c:v>8.0139999999999993</c:v>
                      </c:pt>
                      <c:pt idx="4894">
                        <c:v>8.0139999999999993</c:v>
                      </c:pt>
                      <c:pt idx="4895">
                        <c:v>8.1430000000000007</c:v>
                      </c:pt>
                      <c:pt idx="4896">
                        <c:v>8.1430000000000007</c:v>
                      </c:pt>
                      <c:pt idx="4897">
                        <c:v>8.1430000000000007</c:v>
                      </c:pt>
                      <c:pt idx="4898">
                        <c:v>8.1430000000000007</c:v>
                      </c:pt>
                      <c:pt idx="4899">
                        <c:v>8.1430000000000007</c:v>
                      </c:pt>
                      <c:pt idx="4900">
                        <c:v>8.1739999999999995</c:v>
                      </c:pt>
                      <c:pt idx="4901">
                        <c:v>8.1739999999999995</c:v>
                      </c:pt>
                      <c:pt idx="4902">
                        <c:v>8.1739999999999995</c:v>
                      </c:pt>
                      <c:pt idx="4903">
                        <c:v>8.1739999999999995</c:v>
                      </c:pt>
                      <c:pt idx="4904">
                        <c:v>8.1739999999999995</c:v>
                      </c:pt>
                      <c:pt idx="4905">
                        <c:v>8.0850000000000009</c:v>
                      </c:pt>
                      <c:pt idx="4906">
                        <c:v>8.0850000000000009</c:v>
                      </c:pt>
                      <c:pt idx="4907">
                        <c:v>8.0850000000000009</c:v>
                      </c:pt>
                      <c:pt idx="4908">
                        <c:v>8.0850000000000009</c:v>
                      </c:pt>
                      <c:pt idx="4909">
                        <c:v>8.0850000000000009</c:v>
                      </c:pt>
                      <c:pt idx="4910">
                        <c:v>8.0459999999999994</c:v>
                      </c:pt>
                      <c:pt idx="4911">
                        <c:v>8.0459999999999994</c:v>
                      </c:pt>
                      <c:pt idx="4912">
                        <c:v>8.0459999999999994</c:v>
                      </c:pt>
                      <c:pt idx="4913">
                        <c:v>8.0459999999999994</c:v>
                      </c:pt>
                      <c:pt idx="4914">
                        <c:v>8.0459999999999994</c:v>
                      </c:pt>
                      <c:pt idx="4915">
                        <c:v>8.1579999999999995</c:v>
                      </c:pt>
                      <c:pt idx="4916">
                        <c:v>8.1579999999999995</c:v>
                      </c:pt>
                      <c:pt idx="4917">
                        <c:v>8.1579999999999995</c:v>
                      </c:pt>
                      <c:pt idx="4918">
                        <c:v>8.1579999999999995</c:v>
                      </c:pt>
                      <c:pt idx="4919">
                        <c:v>8.1579999999999995</c:v>
                      </c:pt>
                      <c:pt idx="4920">
                        <c:v>8.06</c:v>
                      </c:pt>
                      <c:pt idx="4921">
                        <c:v>8.06</c:v>
                      </c:pt>
                      <c:pt idx="4922">
                        <c:v>8.06</c:v>
                      </c:pt>
                      <c:pt idx="4923">
                        <c:v>8.06</c:v>
                      </c:pt>
                      <c:pt idx="4924">
                        <c:v>8.06</c:v>
                      </c:pt>
                      <c:pt idx="4925">
                        <c:v>8.09</c:v>
                      </c:pt>
                      <c:pt idx="4926">
                        <c:v>8.09</c:v>
                      </c:pt>
                      <c:pt idx="4927">
                        <c:v>8.09</c:v>
                      </c:pt>
                      <c:pt idx="4928">
                        <c:v>8.09</c:v>
                      </c:pt>
                      <c:pt idx="4929">
                        <c:v>8.09</c:v>
                      </c:pt>
                      <c:pt idx="4930">
                        <c:v>8.1880000000000006</c:v>
                      </c:pt>
                      <c:pt idx="4931">
                        <c:v>8.1880000000000006</c:v>
                      </c:pt>
                      <c:pt idx="4932">
                        <c:v>8.1880000000000006</c:v>
                      </c:pt>
                      <c:pt idx="4933">
                        <c:v>8.1880000000000006</c:v>
                      </c:pt>
                      <c:pt idx="4934">
                        <c:v>8.1880000000000006</c:v>
                      </c:pt>
                      <c:pt idx="4935">
                        <c:v>8.0519999999999996</c:v>
                      </c:pt>
                      <c:pt idx="4936">
                        <c:v>8.0519999999999996</c:v>
                      </c:pt>
                      <c:pt idx="4937">
                        <c:v>8.0519999999999996</c:v>
                      </c:pt>
                      <c:pt idx="4938">
                        <c:v>8.0519999999999996</c:v>
                      </c:pt>
                      <c:pt idx="4939">
                        <c:v>8.0519999999999996</c:v>
                      </c:pt>
                      <c:pt idx="4940">
                        <c:v>8.1150000000000002</c:v>
                      </c:pt>
                      <c:pt idx="4941">
                        <c:v>8.1150000000000002</c:v>
                      </c:pt>
                      <c:pt idx="4942">
                        <c:v>8.1150000000000002</c:v>
                      </c:pt>
                      <c:pt idx="4943">
                        <c:v>8.1150000000000002</c:v>
                      </c:pt>
                      <c:pt idx="4944">
                        <c:v>8.1150000000000002</c:v>
                      </c:pt>
                      <c:pt idx="4945">
                        <c:v>8.1809999999999992</c:v>
                      </c:pt>
                      <c:pt idx="4946">
                        <c:v>8.1809999999999992</c:v>
                      </c:pt>
                      <c:pt idx="4947">
                        <c:v>8.1809999999999992</c:v>
                      </c:pt>
                      <c:pt idx="4948">
                        <c:v>8.1809999999999992</c:v>
                      </c:pt>
                      <c:pt idx="4949">
                        <c:v>8.1809999999999992</c:v>
                      </c:pt>
                      <c:pt idx="4950">
                        <c:v>8.1750000000000007</c:v>
                      </c:pt>
                      <c:pt idx="4951">
                        <c:v>8.1750000000000007</c:v>
                      </c:pt>
                      <c:pt idx="4952">
                        <c:v>8.1750000000000007</c:v>
                      </c:pt>
                      <c:pt idx="4953">
                        <c:v>8.1750000000000007</c:v>
                      </c:pt>
                      <c:pt idx="4954">
                        <c:v>8.1750000000000007</c:v>
                      </c:pt>
                      <c:pt idx="4955">
                        <c:v>8.0839999999999996</c:v>
                      </c:pt>
                      <c:pt idx="4956">
                        <c:v>8.0839999999999996</c:v>
                      </c:pt>
                      <c:pt idx="4957">
                        <c:v>8.0839999999999996</c:v>
                      </c:pt>
                      <c:pt idx="4958">
                        <c:v>8.0839999999999996</c:v>
                      </c:pt>
                      <c:pt idx="4959">
                        <c:v>8.0839999999999996</c:v>
                      </c:pt>
                      <c:pt idx="4960">
                        <c:v>8.18</c:v>
                      </c:pt>
                      <c:pt idx="4961">
                        <c:v>8.18</c:v>
                      </c:pt>
                      <c:pt idx="4962">
                        <c:v>8.18</c:v>
                      </c:pt>
                      <c:pt idx="4963">
                        <c:v>8.18</c:v>
                      </c:pt>
                      <c:pt idx="4964">
                        <c:v>8.18</c:v>
                      </c:pt>
                      <c:pt idx="4965">
                        <c:v>8.2360000000000007</c:v>
                      </c:pt>
                      <c:pt idx="4966">
                        <c:v>8.2360000000000007</c:v>
                      </c:pt>
                      <c:pt idx="4967">
                        <c:v>8.2360000000000007</c:v>
                      </c:pt>
                      <c:pt idx="4968">
                        <c:v>8.2360000000000007</c:v>
                      </c:pt>
                      <c:pt idx="4969">
                        <c:v>8.2360000000000007</c:v>
                      </c:pt>
                      <c:pt idx="4970">
                        <c:v>8.2189999999999994</c:v>
                      </c:pt>
                      <c:pt idx="4971">
                        <c:v>8.2189999999999994</c:v>
                      </c:pt>
                      <c:pt idx="4972">
                        <c:v>8.2189999999999994</c:v>
                      </c:pt>
                      <c:pt idx="4973">
                        <c:v>8.2189999999999994</c:v>
                      </c:pt>
                      <c:pt idx="4974">
                        <c:v>8.2189999999999994</c:v>
                      </c:pt>
                      <c:pt idx="4975">
                        <c:v>8.2010000000000005</c:v>
                      </c:pt>
                      <c:pt idx="4976">
                        <c:v>8.2010000000000005</c:v>
                      </c:pt>
                      <c:pt idx="4977">
                        <c:v>8.2010000000000005</c:v>
                      </c:pt>
                      <c:pt idx="4978">
                        <c:v>8.2010000000000005</c:v>
                      </c:pt>
                      <c:pt idx="4979">
                        <c:v>8.2010000000000005</c:v>
                      </c:pt>
                      <c:pt idx="4980">
                        <c:v>8.27</c:v>
                      </c:pt>
                      <c:pt idx="4981">
                        <c:v>8.27</c:v>
                      </c:pt>
                      <c:pt idx="4982">
                        <c:v>8.27</c:v>
                      </c:pt>
                      <c:pt idx="4983">
                        <c:v>8.27</c:v>
                      </c:pt>
                      <c:pt idx="4984">
                        <c:v>8.27</c:v>
                      </c:pt>
                      <c:pt idx="4985">
                        <c:v>8.2789999999999999</c:v>
                      </c:pt>
                      <c:pt idx="4986">
                        <c:v>8.2789999999999999</c:v>
                      </c:pt>
                      <c:pt idx="4987">
                        <c:v>8.2789999999999999</c:v>
                      </c:pt>
                      <c:pt idx="4988">
                        <c:v>8.2789999999999999</c:v>
                      </c:pt>
                      <c:pt idx="4989">
                        <c:v>8.2789999999999999</c:v>
                      </c:pt>
                      <c:pt idx="4990">
                        <c:v>8.2829999999999995</c:v>
                      </c:pt>
                      <c:pt idx="4991">
                        <c:v>8.2829999999999995</c:v>
                      </c:pt>
                      <c:pt idx="4992">
                        <c:v>8.2829999999999995</c:v>
                      </c:pt>
                      <c:pt idx="4993">
                        <c:v>8.2829999999999995</c:v>
                      </c:pt>
                      <c:pt idx="4994">
                        <c:v>8.2829999999999995</c:v>
                      </c:pt>
                      <c:pt idx="4995">
                        <c:v>8.2690000000000001</c:v>
                      </c:pt>
                      <c:pt idx="4996">
                        <c:v>8.2690000000000001</c:v>
                      </c:pt>
                      <c:pt idx="4997">
                        <c:v>8.2690000000000001</c:v>
                      </c:pt>
                      <c:pt idx="4998">
                        <c:v>8.2690000000000001</c:v>
                      </c:pt>
                      <c:pt idx="4999">
                        <c:v>8.2690000000000001</c:v>
                      </c:pt>
                      <c:pt idx="5000">
                        <c:v>8.3339999999999996</c:v>
                      </c:pt>
                      <c:pt idx="5001">
                        <c:v>8.3339999999999996</c:v>
                      </c:pt>
                      <c:pt idx="5002">
                        <c:v>8.3339999999999996</c:v>
                      </c:pt>
                      <c:pt idx="5003">
                        <c:v>8.3339999999999996</c:v>
                      </c:pt>
                      <c:pt idx="5004">
                        <c:v>8.3339999999999996</c:v>
                      </c:pt>
                      <c:pt idx="5005">
                        <c:v>8.4</c:v>
                      </c:pt>
                      <c:pt idx="5006">
                        <c:v>8.4</c:v>
                      </c:pt>
                      <c:pt idx="5007">
                        <c:v>8.4</c:v>
                      </c:pt>
                      <c:pt idx="5008">
                        <c:v>8.4</c:v>
                      </c:pt>
                      <c:pt idx="5009">
                        <c:v>8.4</c:v>
                      </c:pt>
                      <c:pt idx="5010">
                        <c:v>8.3840000000000003</c:v>
                      </c:pt>
                      <c:pt idx="5011">
                        <c:v>8.3840000000000003</c:v>
                      </c:pt>
                      <c:pt idx="5012">
                        <c:v>8.3840000000000003</c:v>
                      </c:pt>
                      <c:pt idx="5013">
                        <c:v>8.3840000000000003</c:v>
                      </c:pt>
                      <c:pt idx="5014">
                        <c:v>8.3840000000000003</c:v>
                      </c:pt>
                      <c:pt idx="5015">
                        <c:v>8.2509999999999994</c:v>
                      </c:pt>
                      <c:pt idx="5016">
                        <c:v>8.2509999999999994</c:v>
                      </c:pt>
                      <c:pt idx="5017">
                        <c:v>8.2509999999999994</c:v>
                      </c:pt>
                      <c:pt idx="5018">
                        <c:v>8.2509999999999994</c:v>
                      </c:pt>
                      <c:pt idx="5019">
                        <c:v>8.2509999999999994</c:v>
                      </c:pt>
                      <c:pt idx="5020">
                        <c:v>8.2720000000000002</c:v>
                      </c:pt>
                      <c:pt idx="5021">
                        <c:v>8.2720000000000002</c:v>
                      </c:pt>
                      <c:pt idx="5022">
                        <c:v>8.2720000000000002</c:v>
                      </c:pt>
                      <c:pt idx="5023">
                        <c:v>8.2720000000000002</c:v>
                      </c:pt>
                      <c:pt idx="5024">
                        <c:v>8.2720000000000002</c:v>
                      </c:pt>
                      <c:pt idx="5025">
                        <c:v>8.4730000000000008</c:v>
                      </c:pt>
                      <c:pt idx="5026">
                        <c:v>8.4730000000000008</c:v>
                      </c:pt>
                      <c:pt idx="5027">
                        <c:v>8.4730000000000008</c:v>
                      </c:pt>
                      <c:pt idx="5028">
                        <c:v>8.4730000000000008</c:v>
                      </c:pt>
                      <c:pt idx="5029">
                        <c:v>8.4730000000000008</c:v>
                      </c:pt>
                      <c:pt idx="5030">
                        <c:v>8.4610000000000003</c:v>
                      </c:pt>
                      <c:pt idx="5031">
                        <c:v>8.4610000000000003</c:v>
                      </c:pt>
                      <c:pt idx="5032">
                        <c:v>8.4610000000000003</c:v>
                      </c:pt>
                      <c:pt idx="5033">
                        <c:v>8.4610000000000003</c:v>
                      </c:pt>
                      <c:pt idx="5034">
                        <c:v>8.4610000000000003</c:v>
                      </c:pt>
                      <c:pt idx="5035">
                        <c:v>8.5109999999999992</c:v>
                      </c:pt>
                      <c:pt idx="5036">
                        <c:v>8.5109999999999992</c:v>
                      </c:pt>
                      <c:pt idx="5037">
                        <c:v>8.5109999999999992</c:v>
                      </c:pt>
                      <c:pt idx="5038">
                        <c:v>8.5109999999999992</c:v>
                      </c:pt>
                      <c:pt idx="5039">
                        <c:v>8.5109999999999992</c:v>
                      </c:pt>
                      <c:pt idx="5040">
                        <c:v>8.5589999999999993</c:v>
                      </c:pt>
                      <c:pt idx="5041">
                        <c:v>8.5589999999999993</c:v>
                      </c:pt>
                      <c:pt idx="5042">
                        <c:v>8.5589999999999993</c:v>
                      </c:pt>
                      <c:pt idx="5043">
                        <c:v>8.5589999999999993</c:v>
                      </c:pt>
                      <c:pt idx="5044">
                        <c:v>8.5589999999999993</c:v>
                      </c:pt>
                      <c:pt idx="5045">
                        <c:v>8.4410000000000007</c:v>
                      </c:pt>
                      <c:pt idx="5046">
                        <c:v>8.4410000000000007</c:v>
                      </c:pt>
                      <c:pt idx="5047">
                        <c:v>8.4410000000000007</c:v>
                      </c:pt>
                      <c:pt idx="5048">
                        <c:v>8.4410000000000007</c:v>
                      </c:pt>
                      <c:pt idx="5049">
                        <c:v>8.4410000000000007</c:v>
                      </c:pt>
                      <c:pt idx="5050">
                        <c:v>8.5380000000000003</c:v>
                      </c:pt>
                      <c:pt idx="5051">
                        <c:v>8.5380000000000003</c:v>
                      </c:pt>
                      <c:pt idx="5052">
                        <c:v>8.5380000000000003</c:v>
                      </c:pt>
                      <c:pt idx="5053">
                        <c:v>8.5380000000000003</c:v>
                      </c:pt>
                      <c:pt idx="5054">
                        <c:v>8.5380000000000003</c:v>
                      </c:pt>
                      <c:pt idx="5055">
                        <c:v>8.516</c:v>
                      </c:pt>
                      <c:pt idx="5056">
                        <c:v>8.516</c:v>
                      </c:pt>
                      <c:pt idx="5057">
                        <c:v>8.516</c:v>
                      </c:pt>
                      <c:pt idx="5058">
                        <c:v>8.516</c:v>
                      </c:pt>
                      <c:pt idx="5059">
                        <c:v>8.516</c:v>
                      </c:pt>
                      <c:pt idx="5060">
                        <c:v>8.5649999999999995</c:v>
                      </c:pt>
                      <c:pt idx="5061">
                        <c:v>8.5649999999999995</c:v>
                      </c:pt>
                      <c:pt idx="5062">
                        <c:v>8.5649999999999995</c:v>
                      </c:pt>
                      <c:pt idx="5063">
                        <c:v>8.5649999999999995</c:v>
                      </c:pt>
                      <c:pt idx="5064">
                        <c:v>8.5649999999999995</c:v>
                      </c:pt>
                      <c:pt idx="5065">
                        <c:v>8.5079999999999991</c:v>
                      </c:pt>
                      <c:pt idx="5066">
                        <c:v>8.5079999999999991</c:v>
                      </c:pt>
                      <c:pt idx="5067">
                        <c:v>8.5079999999999991</c:v>
                      </c:pt>
                      <c:pt idx="5068">
                        <c:v>8.5079999999999991</c:v>
                      </c:pt>
                      <c:pt idx="5069">
                        <c:v>8.5079999999999991</c:v>
                      </c:pt>
                      <c:pt idx="5070">
                        <c:v>8.5079999999999991</c:v>
                      </c:pt>
                      <c:pt idx="5071">
                        <c:v>8.5079999999999991</c:v>
                      </c:pt>
                      <c:pt idx="5072">
                        <c:v>8.5079999999999991</c:v>
                      </c:pt>
                      <c:pt idx="5073">
                        <c:v>8.5079999999999991</c:v>
                      </c:pt>
                      <c:pt idx="5074">
                        <c:v>8.5079999999999991</c:v>
                      </c:pt>
                      <c:pt idx="5075">
                        <c:v>8.641</c:v>
                      </c:pt>
                      <c:pt idx="5076">
                        <c:v>8.641</c:v>
                      </c:pt>
                      <c:pt idx="5077">
                        <c:v>8.641</c:v>
                      </c:pt>
                      <c:pt idx="5078">
                        <c:v>8.641</c:v>
                      </c:pt>
                      <c:pt idx="5079">
                        <c:v>8.641</c:v>
                      </c:pt>
                      <c:pt idx="5080">
                        <c:v>8.6010000000000009</c:v>
                      </c:pt>
                      <c:pt idx="5081">
                        <c:v>8.6010000000000009</c:v>
                      </c:pt>
                      <c:pt idx="5082">
                        <c:v>8.6010000000000009</c:v>
                      </c:pt>
                      <c:pt idx="5083">
                        <c:v>8.6010000000000009</c:v>
                      </c:pt>
                      <c:pt idx="5084">
                        <c:v>8.6010000000000009</c:v>
                      </c:pt>
                      <c:pt idx="5085">
                        <c:v>8.5719999999999992</c:v>
                      </c:pt>
                      <c:pt idx="5086">
                        <c:v>8.5719999999999992</c:v>
                      </c:pt>
                      <c:pt idx="5087">
                        <c:v>8.5719999999999992</c:v>
                      </c:pt>
                      <c:pt idx="5088">
                        <c:v>8.5719999999999992</c:v>
                      </c:pt>
                      <c:pt idx="5089">
                        <c:v>8.5719999999999992</c:v>
                      </c:pt>
                      <c:pt idx="5090">
                        <c:v>8.6280000000000001</c:v>
                      </c:pt>
                      <c:pt idx="5091">
                        <c:v>8.6280000000000001</c:v>
                      </c:pt>
                      <c:pt idx="5092">
                        <c:v>8.6280000000000001</c:v>
                      </c:pt>
                      <c:pt idx="5093">
                        <c:v>8.6280000000000001</c:v>
                      </c:pt>
                      <c:pt idx="5094">
                        <c:v>8.6280000000000001</c:v>
                      </c:pt>
                      <c:pt idx="5095">
                        <c:v>8.6219999999999999</c:v>
                      </c:pt>
                      <c:pt idx="5096">
                        <c:v>8.6219999999999999</c:v>
                      </c:pt>
                      <c:pt idx="5097">
                        <c:v>8.6219999999999999</c:v>
                      </c:pt>
                      <c:pt idx="5098">
                        <c:v>8.6219999999999999</c:v>
                      </c:pt>
                      <c:pt idx="5099">
                        <c:v>8.6219999999999999</c:v>
                      </c:pt>
                      <c:pt idx="5100">
                        <c:v>8.7530000000000001</c:v>
                      </c:pt>
                      <c:pt idx="5101">
                        <c:v>8.7530000000000001</c:v>
                      </c:pt>
                      <c:pt idx="5102">
                        <c:v>8.7530000000000001</c:v>
                      </c:pt>
                      <c:pt idx="5103">
                        <c:v>8.7530000000000001</c:v>
                      </c:pt>
                      <c:pt idx="5104">
                        <c:v>8.7530000000000001</c:v>
                      </c:pt>
                      <c:pt idx="5105">
                        <c:v>8.6340000000000003</c:v>
                      </c:pt>
                      <c:pt idx="5106">
                        <c:v>8.6340000000000003</c:v>
                      </c:pt>
                      <c:pt idx="5107">
                        <c:v>8.6340000000000003</c:v>
                      </c:pt>
                      <c:pt idx="5108">
                        <c:v>8.6340000000000003</c:v>
                      </c:pt>
                      <c:pt idx="5109">
                        <c:v>8.6340000000000003</c:v>
                      </c:pt>
                      <c:pt idx="5110">
                        <c:v>8.7319999999999993</c:v>
                      </c:pt>
                      <c:pt idx="5111">
                        <c:v>8.7319999999999993</c:v>
                      </c:pt>
                      <c:pt idx="5112">
                        <c:v>8.7319999999999993</c:v>
                      </c:pt>
                      <c:pt idx="5113">
                        <c:v>8.7319999999999993</c:v>
                      </c:pt>
                      <c:pt idx="5114">
                        <c:v>8.7319999999999993</c:v>
                      </c:pt>
                      <c:pt idx="5115">
                        <c:v>8.7360000000000007</c:v>
                      </c:pt>
                      <c:pt idx="5116">
                        <c:v>8.7360000000000007</c:v>
                      </c:pt>
                      <c:pt idx="5117">
                        <c:v>8.7360000000000007</c:v>
                      </c:pt>
                      <c:pt idx="5118">
                        <c:v>8.7360000000000007</c:v>
                      </c:pt>
                      <c:pt idx="5119">
                        <c:v>8.7360000000000007</c:v>
                      </c:pt>
                      <c:pt idx="5120">
                        <c:v>8.8130000000000006</c:v>
                      </c:pt>
                      <c:pt idx="5121">
                        <c:v>8.8130000000000006</c:v>
                      </c:pt>
                      <c:pt idx="5122">
                        <c:v>8.8130000000000006</c:v>
                      </c:pt>
                      <c:pt idx="5123">
                        <c:v>8.8130000000000006</c:v>
                      </c:pt>
                      <c:pt idx="5124">
                        <c:v>8.8130000000000006</c:v>
                      </c:pt>
                      <c:pt idx="5125">
                        <c:v>8.6780000000000008</c:v>
                      </c:pt>
                      <c:pt idx="5126">
                        <c:v>8.6780000000000008</c:v>
                      </c:pt>
                      <c:pt idx="5127">
                        <c:v>8.6780000000000008</c:v>
                      </c:pt>
                      <c:pt idx="5128">
                        <c:v>8.6780000000000008</c:v>
                      </c:pt>
                      <c:pt idx="5129">
                        <c:v>8.6780000000000008</c:v>
                      </c:pt>
                      <c:pt idx="5130">
                        <c:v>8.7390000000000008</c:v>
                      </c:pt>
                      <c:pt idx="5131">
                        <c:v>8.7390000000000008</c:v>
                      </c:pt>
                      <c:pt idx="5132">
                        <c:v>8.7390000000000008</c:v>
                      </c:pt>
                      <c:pt idx="5133">
                        <c:v>8.7390000000000008</c:v>
                      </c:pt>
                      <c:pt idx="5134">
                        <c:v>8.7390000000000008</c:v>
                      </c:pt>
                      <c:pt idx="5135">
                        <c:v>8.6839999999999993</c:v>
                      </c:pt>
                      <c:pt idx="5136">
                        <c:v>8.6839999999999993</c:v>
                      </c:pt>
                      <c:pt idx="5137">
                        <c:v>8.6839999999999993</c:v>
                      </c:pt>
                      <c:pt idx="5138">
                        <c:v>8.6839999999999993</c:v>
                      </c:pt>
                      <c:pt idx="5139">
                        <c:v>8.6839999999999993</c:v>
                      </c:pt>
                      <c:pt idx="5140">
                        <c:v>8.9710000000000001</c:v>
                      </c:pt>
                      <c:pt idx="5141">
                        <c:v>8.9710000000000001</c:v>
                      </c:pt>
                      <c:pt idx="5142">
                        <c:v>8.9710000000000001</c:v>
                      </c:pt>
                      <c:pt idx="5143">
                        <c:v>8.9710000000000001</c:v>
                      </c:pt>
                      <c:pt idx="5144">
                        <c:v>8.9710000000000001</c:v>
                      </c:pt>
                      <c:pt idx="5145">
                        <c:v>8.6539999999999999</c:v>
                      </c:pt>
                      <c:pt idx="5146">
                        <c:v>8.6539999999999999</c:v>
                      </c:pt>
                      <c:pt idx="5147">
                        <c:v>8.6539999999999999</c:v>
                      </c:pt>
                      <c:pt idx="5148">
                        <c:v>8.6539999999999999</c:v>
                      </c:pt>
                      <c:pt idx="5149">
                        <c:v>8.6539999999999999</c:v>
                      </c:pt>
                      <c:pt idx="5150">
                        <c:v>8.8879999999999999</c:v>
                      </c:pt>
                      <c:pt idx="5151">
                        <c:v>8.8879999999999999</c:v>
                      </c:pt>
                      <c:pt idx="5152">
                        <c:v>8.8879999999999999</c:v>
                      </c:pt>
                      <c:pt idx="5153">
                        <c:v>8.8879999999999999</c:v>
                      </c:pt>
                      <c:pt idx="5154">
                        <c:v>8.8879999999999999</c:v>
                      </c:pt>
                      <c:pt idx="5155">
                        <c:v>8.8659999999999997</c:v>
                      </c:pt>
                      <c:pt idx="5156">
                        <c:v>8.8659999999999997</c:v>
                      </c:pt>
                      <c:pt idx="5157">
                        <c:v>8.8659999999999997</c:v>
                      </c:pt>
                      <c:pt idx="5158">
                        <c:v>8.8659999999999997</c:v>
                      </c:pt>
                      <c:pt idx="5159">
                        <c:v>8.8659999999999997</c:v>
                      </c:pt>
                      <c:pt idx="5160">
                        <c:v>8.83</c:v>
                      </c:pt>
                      <c:pt idx="5161">
                        <c:v>8.83</c:v>
                      </c:pt>
                      <c:pt idx="5162">
                        <c:v>8.83</c:v>
                      </c:pt>
                      <c:pt idx="5163">
                        <c:v>8.83</c:v>
                      </c:pt>
                      <c:pt idx="5164">
                        <c:v>8.83</c:v>
                      </c:pt>
                      <c:pt idx="5165">
                        <c:v>8.8620000000000001</c:v>
                      </c:pt>
                      <c:pt idx="5166">
                        <c:v>8.8620000000000001</c:v>
                      </c:pt>
                      <c:pt idx="5167">
                        <c:v>8.8620000000000001</c:v>
                      </c:pt>
                      <c:pt idx="5168">
                        <c:v>8.8620000000000001</c:v>
                      </c:pt>
                      <c:pt idx="5169">
                        <c:v>8.8620000000000001</c:v>
                      </c:pt>
                      <c:pt idx="5170">
                        <c:v>8.86</c:v>
                      </c:pt>
                      <c:pt idx="5171">
                        <c:v>8.86</c:v>
                      </c:pt>
                      <c:pt idx="5172">
                        <c:v>8.86</c:v>
                      </c:pt>
                      <c:pt idx="5173">
                        <c:v>8.86</c:v>
                      </c:pt>
                      <c:pt idx="5174">
                        <c:v>8.86</c:v>
                      </c:pt>
                      <c:pt idx="5175">
                        <c:v>8.9440000000000008</c:v>
                      </c:pt>
                      <c:pt idx="5176">
                        <c:v>8.9440000000000008</c:v>
                      </c:pt>
                      <c:pt idx="5177">
                        <c:v>8.9440000000000008</c:v>
                      </c:pt>
                      <c:pt idx="5178">
                        <c:v>8.9440000000000008</c:v>
                      </c:pt>
                      <c:pt idx="5179">
                        <c:v>8.9440000000000008</c:v>
                      </c:pt>
                      <c:pt idx="5180">
                        <c:v>8.8179999999999996</c:v>
                      </c:pt>
                      <c:pt idx="5181">
                        <c:v>8.8179999999999996</c:v>
                      </c:pt>
                      <c:pt idx="5182">
                        <c:v>8.8179999999999996</c:v>
                      </c:pt>
                      <c:pt idx="5183">
                        <c:v>8.8179999999999996</c:v>
                      </c:pt>
                      <c:pt idx="5184">
                        <c:v>8.8179999999999996</c:v>
                      </c:pt>
                      <c:pt idx="5185">
                        <c:v>8.8849999999999998</c:v>
                      </c:pt>
                      <c:pt idx="5186">
                        <c:v>8.8849999999999998</c:v>
                      </c:pt>
                      <c:pt idx="5187">
                        <c:v>8.8849999999999998</c:v>
                      </c:pt>
                      <c:pt idx="5188">
                        <c:v>8.8849999999999998</c:v>
                      </c:pt>
                      <c:pt idx="5189">
                        <c:v>8.8849999999999998</c:v>
                      </c:pt>
                      <c:pt idx="5190">
                        <c:v>9.0969999999999995</c:v>
                      </c:pt>
                      <c:pt idx="5191">
                        <c:v>9.0969999999999995</c:v>
                      </c:pt>
                      <c:pt idx="5192">
                        <c:v>9.0969999999999995</c:v>
                      </c:pt>
                      <c:pt idx="5193">
                        <c:v>9.0969999999999995</c:v>
                      </c:pt>
                      <c:pt idx="5194">
                        <c:v>9.0969999999999995</c:v>
                      </c:pt>
                      <c:pt idx="5195">
                        <c:v>8.7710000000000008</c:v>
                      </c:pt>
                      <c:pt idx="5196">
                        <c:v>8.7710000000000008</c:v>
                      </c:pt>
                      <c:pt idx="5197">
                        <c:v>8.7710000000000008</c:v>
                      </c:pt>
                      <c:pt idx="5198">
                        <c:v>8.7710000000000008</c:v>
                      </c:pt>
                      <c:pt idx="5199">
                        <c:v>8.7710000000000008</c:v>
                      </c:pt>
                      <c:pt idx="5200">
                        <c:v>8.9410000000000007</c:v>
                      </c:pt>
                      <c:pt idx="5201">
                        <c:v>8.9410000000000007</c:v>
                      </c:pt>
                      <c:pt idx="5202">
                        <c:v>8.9410000000000007</c:v>
                      </c:pt>
                      <c:pt idx="5203">
                        <c:v>8.9410000000000007</c:v>
                      </c:pt>
                      <c:pt idx="5204">
                        <c:v>8.9410000000000007</c:v>
                      </c:pt>
                      <c:pt idx="5205">
                        <c:v>9.1170000000000009</c:v>
                      </c:pt>
                      <c:pt idx="5206">
                        <c:v>9.1170000000000009</c:v>
                      </c:pt>
                      <c:pt idx="5207">
                        <c:v>9.1170000000000009</c:v>
                      </c:pt>
                      <c:pt idx="5208">
                        <c:v>9.1170000000000009</c:v>
                      </c:pt>
                      <c:pt idx="5209">
                        <c:v>9.1170000000000009</c:v>
                      </c:pt>
                      <c:pt idx="5210">
                        <c:v>8.9269999999999996</c:v>
                      </c:pt>
                      <c:pt idx="5211">
                        <c:v>8.9269999999999996</c:v>
                      </c:pt>
                      <c:pt idx="5212">
                        <c:v>8.9269999999999996</c:v>
                      </c:pt>
                      <c:pt idx="5213">
                        <c:v>8.9269999999999996</c:v>
                      </c:pt>
                      <c:pt idx="5214">
                        <c:v>8.9269999999999996</c:v>
                      </c:pt>
                      <c:pt idx="5215">
                        <c:v>9.0589999999999993</c:v>
                      </c:pt>
                      <c:pt idx="5216">
                        <c:v>9.0589999999999993</c:v>
                      </c:pt>
                      <c:pt idx="5217">
                        <c:v>9.0589999999999993</c:v>
                      </c:pt>
                      <c:pt idx="5218">
                        <c:v>9.0589999999999993</c:v>
                      </c:pt>
                      <c:pt idx="5219">
                        <c:v>9.0589999999999993</c:v>
                      </c:pt>
                      <c:pt idx="5220">
                        <c:v>9.0090000000000003</c:v>
                      </c:pt>
                      <c:pt idx="5221">
                        <c:v>9.0090000000000003</c:v>
                      </c:pt>
                      <c:pt idx="5222">
                        <c:v>9.0090000000000003</c:v>
                      </c:pt>
                      <c:pt idx="5223">
                        <c:v>9.0090000000000003</c:v>
                      </c:pt>
                      <c:pt idx="5224">
                        <c:v>9.0090000000000003</c:v>
                      </c:pt>
                      <c:pt idx="5225">
                        <c:v>9.0459999999999994</c:v>
                      </c:pt>
                      <c:pt idx="5226">
                        <c:v>9.0459999999999994</c:v>
                      </c:pt>
                      <c:pt idx="5227">
                        <c:v>9.0459999999999994</c:v>
                      </c:pt>
                      <c:pt idx="5228">
                        <c:v>9.0459999999999994</c:v>
                      </c:pt>
                      <c:pt idx="5229">
                        <c:v>9.0459999999999994</c:v>
                      </c:pt>
                      <c:pt idx="5230">
                        <c:v>9.1029999999999998</c:v>
                      </c:pt>
                      <c:pt idx="5231">
                        <c:v>9.1029999999999998</c:v>
                      </c:pt>
                      <c:pt idx="5232">
                        <c:v>9.1029999999999998</c:v>
                      </c:pt>
                      <c:pt idx="5233">
                        <c:v>9.1029999999999998</c:v>
                      </c:pt>
                      <c:pt idx="5234">
                        <c:v>9.1029999999999998</c:v>
                      </c:pt>
                      <c:pt idx="5235">
                        <c:v>9.0830000000000002</c:v>
                      </c:pt>
                      <c:pt idx="5236">
                        <c:v>9.0830000000000002</c:v>
                      </c:pt>
                      <c:pt idx="5237">
                        <c:v>9.0830000000000002</c:v>
                      </c:pt>
                      <c:pt idx="5238">
                        <c:v>9.0830000000000002</c:v>
                      </c:pt>
                      <c:pt idx="5239">
                        <c:v>9.0830000000000002</c:v>
                      </c:pt>
                      <c:pt idx="5240">
                        <c:v>9.093</c:v>
                      </c:pt>
                      <c:pt idx="5241">
                        <c:v>9.093</c:v>
                      </c:pt>
                      <c:pt idx="5242">
                        <c:v>9.093</c:v>
                      </c:pt>
                      <c:pt idx="5243">
                        <c:v>9.093</c:v>
                      </c:pt>
                      <c:pt idx="5244">
                        <c:v>9.093</c:v>
                      </c:pt>
                      <c:pt idx="5245">
                        <c:v>9.16</c:v>
                      </c:pt>
                      <c:pt idx="5246">
                        <c:v>9.16</c:v>
                      </c:pt>
                      <c:pt idx="5247">
                        <c:v>9.16</c:v>
                      </c:pt>
                      <c:pt idx="5248">
                        <c:v>9.16</c:v>
                      </c:pt>
                      <c:pt idx="5249">
                        <c:v>9.16</c:v>
                      </c:pt>
                      <c:pt idx="5250">
                        <c:v>9.1709999999999994</c:v>
                      </c:pt>
                      <c:pt idx="5251">
                        <c:v>9.1709999999999994</c:v>
                      </c:pt>
                      <c:pt idx="5252">
                        <c:v>9.1709999999999994</c:v>
                      </c:pt>
                      <c:pt idx="5253">
                        <c:v>9.1709999999999994</c:v>
                      </c:pt>
                      <c:pt idx="5254">
                        <c:v>9.1709999999999994</c:v>
                      </c:pt>
                      <c:pt idx="5255">
                        <c:v>9.1929999999999996</c:v>
                      </c:pt>
                      <c:pt idx="5256">
                        <c:v>9.1929999999999996</c:v>
                      </c:pt>
                      <c:pt idx="5257">
                        <c:v>9.1929999999999996</c:v>
                      </c:pt>
                      <c:pt idx="5258">
                        <c:v>9.1929999999999996</c:v>
                      </c:pt>
                      <c:pt idx="5259">
                        <c:v>9.1929999999999996</c:v>
                      </c:pt>
                      <c:pt idx="5260">
                        <c:v>9.2360000000000007</c:v>
                      </c:pt>
                      <c:pt idx="5261">
                        <c:v>9.2360000000000007</c:v>
                      </c:pt>
                      <c:pt idx="5262">
                        <c:v>9.2360000000000007</c:v>
                      </c:pt>
                      <c:pt idx="5263">
                        <c:v>9.2360000000000007</c:v>
                      </c:pt>
                      <c:pt idx="5264">
                        <c:v>9.2360000000000007</c:v>
                      </c:pt>
                      <c:pt idx="5265">
                        <c:v>9.3640000000000008</c:v>
                      </c:pt>
                      <c:pt idx="5266">
                        <c:v>9.3640000000000008</c:v>
                      </c:pt>
                      <c:pt idx="5267">
                        <c:v>9.3640000000000008</c:v>
                      </c:pt>
                      <c:pt idx="5268">
                        <c:v>9.3640000000000008</c:v>
                      </c:pt>
                      <c:pt idx="5269">
                        <c:v>9.3640000000000008</c:v>
                      </c:pt>
                      <c:pt idx="5270">
                        <c:v>9.2050000000000001</c:v>
                      </c:pt>
                      <c:pt idx="5271">
                        <c:v>9.2050000000000001</c:v>
                      </c:pt>
                      <c:pt idx="5272">
                        <c:v>9.2050000000000001</c:v>
                      </c:pt>
                      <c:pt idx="5273">
                        <c:v>9.2050000000000001</c:v>
                      </c:pt>
                      <c:pt idx="5274">
                        <c:v>9.2050000000000001</c:v>
                      </c:pt>
                      <c:pt idx="5275">
                        <c:v>9.1329999999999991</c:v>
                      </c:pt>
                      <c:pt idx="5276">
                        <c:v>9.1329999999999991</c:v>
                      </c:pt>
                      <c:pt idx="5277">
                        <c:v>9.1329999999999991</c:v>
                      </c:pt>
                      <c:pt idx="5278">
                        <c:v>9.1329999999999991</c:v>
                      </c:pt>
                      <c:pt idx="5279">
                        <c:v>9.1329999999999991</c:v>
                      </c:pt>
                      <c:pt idx="5280">
                        <c:v>9.077</c:v>
                      </c:pt>
                      <c:pt idx="5281">
                        <c:v>9.077</c:v>
                      </c:pt>
                      <c:pt idx="5282">
                        <c:v>9.077</c:v>
                      </c:pt>
                      <c:pt idx="5283">
                        <c:v>9.077</c:v>
                      </c:pt>
                      <c:pt idx="5284">
                        <c:v>9.077</c:v>
                      </c:pt>
                      <c:pt idx="5285">
                        <c:v>9.0429999999999993</c:v>
                      </c:pt>
                      <c:pt idx="5286">
                        <c:v>9.0429999999999993</c:v>
                      </c:pt>
                      <c:pt idx="5287">
                        <c:v>9.0429999999999993</c:v>
                      </c:pt>
                      <c:pt idx="5288">
                        <c:v>9.0429999999999993</c:v>
                      </c:pt>
                      <c:pt idx="5289">
                        <c:v>9.0429999999999993</c:v>
                      </c:pt>
                      <c:pt idx="5290">
                        <c:v>9.2260000000000009</c:v>
                      </c:pt>
                      <c:pt idx="5291">
                        <c:v>9.2260000000000009</c:v>
                      </c:pt>
                      <c:pt idx="5292">
                        <c:v>9.2260000000000009</c:v>
                      </c:pt>
                      <c:pt idx="5293">
                        <c:v>9.2260000000000009</c:v>
                      </c:pt>
                      <c:pt idx="5294">
                        <c:v>9.2260000000000009</c:v>
                      </c:pt>
                      <c:pt idx="5295">
                        <c:v>9.3209999999999997</c:v>
                      </c:pt>
                      <c:pt idx="5296">
                        <c:v>9.3209999999999997</c:v>
                      </c:pt>
                      <c:pt idx="5297">
                        <c:v>9.3209999999999997</c:v>
                      </c:pt>
                      <c:pt idx="5298">
                        <c:v>9.3209999999999997</c:v>
                      </c:pt>
                      <c:pt idx="5299">
                        <c:v>9.3209999999999997</c:v>
                      </c:pt>
                      <c:pt idx="5300">
                        <c:v>9.2089999999999996</c:v>
                      </c:pt>
                      <c:pt idx="5301">
                        <c:v>9.2089999999999996</c:v>
                      </c:pt>
                      <c:pt idx="5302">
                        <c:v>9.2089999999999996</c:v>
                      </c:pt>
                      <c:pt idx="5303">
                        <c:v>9.2089999999999996</c:v>
                      </c:pt>
                      <c:pt idx="5304">
                        <c:v>9.2089999999999996</c:v>
                      </c:pt>
                      <c:pt idx="5305">
                        <c:v>9.2460000000000004</c:v>
                      </c:pt>
                      <c:pt idx="5306">
                        <c:v>9.2460000000000004</c:v>
                      </c:pt>
                      <c:pt idx="5307">
                        <c:v>9.2460000000000004</c:v>
                      </c:pt>
                      <c:pt idx="5308">
                        <c:v>9.2460000000000004</c:v>
                      </c:pt>
                      <c:pt idx="5309">
                        <c:v>9.2460000000000004</c:v>
                      </c:pt>
                      <c:pt idx="5310">
                        <c:v>9.0879999999999992</c:v>
                      </c:pt>
                      <c:pt idx="5311">
                        <c:v>9.0879999999999992</c:v>
                      </c:pt>
                      <c:pt idx="5312">
                        <c:v>9.0879999999999992</c:v>
                      </c:pt>
                      <c:pt idx="5313">
                        <c:v>9.0879999999999992</c:v>
                      </c:pt>
                      <c:pt idx="5314">
                        <c:v>9.0879999999999992</c:v>
                      </c:pt>
                      <c:pt idx="5315">
                        <c:v>9.18</c:v>
                      </c:pt>
                      <c:pt idx="5316">
                        <c:v>9.18</c:v>
                      </c:pt>
                      <c:pt idx="5317">
                        <c:v>9.18</c:v>
                      </c:pt>
                      <c:pt idx="5318">
                        <c:v>9.18</c:v>
                      </c:pt>
                      <c:pt idx="5319">
                        <c:v>9.18</c:v>
                      </c:pt>
                      <c:pt idx="5320">
                        <c:v>9.0559999999999992</c:v>
                      </c:pt>
                      <c:pt idx="5321">
                        <c:v>9.0559999999999992</c:v>
                      </c:pt>
                      <c:pt idx="5322">
                        <c:v>9.0559999999999992</c:v>
                      </c:pt>
                      <c:pt idx="5323">
                        <c:v>9.0559999999999992</c:v>
                      </c:pt>
                      <c:pt idx="5324">
                        <c:v>9.0559999999999992</c:v>
                      </c:pt>
                      <c:pt idx="5325">
                        <c:v>9.1609999999999996</c:v>
                      </c:pt>
                      <c:pt idx="5326">
                        <c:v>9.1609999999999996</c:v>
                      </c:pt>
                      <c:pt idx="5327">
                        <c:v>9.1609999999999996</c:v>
                      </c:pt>
                      <c:pt idx="5328">
                        <c:v>9.1609999999999996</c:v>
                      </c:pt>
                      <c:pt idx="5329">
                        <c:v>9.1609999999999996</c:v>
                      </c:pt>
                      <c:pt idx="5330">
                        <c:v>9.2170000000000005</c:v>
                      </c:pt>
                      <c:pt idx="5331">
                        <c:v>9.2170000000000005</c:v>
                      </c:pt>
                      <c:pt idx="5332">
                        <c:v>9.2170000000000005</c:v>
                      </c:pt>
                      <c:pt idx="5333">
                        <c:v>9.2170000000000005</c:v>
                      </c:pt>
                      <c:pt idx="5334">
                        <c:v>9.2170000000000005</c:v>
                      </c:pt>
                      <c:pt idx="5335">
                        <c:v>9.1820000000000004</c:v>
                      </c:pt>
                      <c:pt idx="5336">
                        <c:v>9.1820000000000004</c:v>
                      </c:pt>
                      <c:pt idx="5337">
                        <c:v>9.1820000000000004</c:v>
                      </c:pt>
                      <c:pt idx="5338">
                        <c:v>9.1820000000000004</c:v>
                      </c:pt>
                      <c:pt idx="5339">
                        <c:v>9.1820000000000004</c:v>
                      </c:pt>
                      <c:pt idx="5340">
                        <c:v>9.4169999999999998</c:v>
                      </c:pt>
                      <c:pt idx="5341">
                        <c:v>9.4169999999999998</c:v>
                      </c:pt>
                      <c:pt idx="5342">
                        <c:v>9.4169999999999998</c:v>
                      </c:pt>
                      <c:pt idx="5343">
                        <c:v>9.4169999999999998</c:v>
                      </c:pt>
                      <c:pt idx="5344">
                        <c:v>9.4169999999999998</c:v>
                      </c:pt>
                      <c:pt idx="5345">
                        <c:v>9.26</c:v>
                      </c:pt>
                      <c:pt idx="5346">
                        <c:v>9.26</c:v>
                      </c:pt>
                      <c:pt idx="5347">
                        <c:v>9.26</c:v>
                      </c:pt>
                      <c:pt idx="5348">
                        <c:v>9.26</c:v>
                      </c:pt>
                      <c:pt idx="5349">
                        <c:v>9.26</c:v>
                      </c:pt>
                      <c:pt idx="5350">
                        <c:v>9.4190000000000005</c:v>
                      </c:pt>
                      <c:pt idx="5351">
                        <c:v>9.4190000000000005</c:v>
                      </c:pt>
                      <c:pt idx="5352">
                        <c:v>9.4190000000000005</c:v>
                      </c:pt>
                      <c:pt idx="5353">
                        <c:v>9.4190000000000005</c:v>
                      </c:pt>
                      <c:pt idx="5354">
                        <c:v>9.4190000000000005</c:v>
                      </c:pt>
                      <c:pt idx="5355">
                        <c:v>9.2289999999999992</c:v>
                      </c:pt>
                      <c:pt idx="5356">
                        <c:v>9.2289999999999992</c:v>
                      </c:pt>
                      <c:pt idx="5357">
                        <c:v>9.2289999999999992</c:v>
                      </c:pt>
                      <c:pt idx="5358">
                        <c:v>9.2289999999999992</c:v>
                      </c:pt>
                      <c:pt idx="5359">
                        <c:v>9.2289999999999992</c:v>
                      </c:pt>
                      <c:pt idx="5360">
                        <c:v>9.2550000000000008</c:v>
                      </c:pt>
                      <c:pt idx="5361">
                        <c:v>9.2550000000000008</c:v>
                      </c:pt>
                      <c:pt idx="5362">
                        <c:v>9.2550000000000008</c:v>
                      </c:pt>
                      <c:pt idx="5363">
                        <c:v>9.2550000000000008</c:v>
                      </c:pt>
                      <c:pt idx="5364">
                        <c:v>9.2550000000000008</c:v>
                      </c:pt>
                      <c:pt idx="5365">
                        <c:v>9.3049999999999997</c:v>
                      </c:pt>
                      <c:pt idx="5366">
                        <c:v>9.3049999999999997</c:v>
                      </c:pt>
                      <c:pt idx="5367">
                        <c:v>9.3049999999999997</c:v>
                      </c:pt>
                      <c:pt idx="5368">
                        <c:v>9.3049999999999997</c:v>
                      </c:pt>
                      <c:pt idx="5369">
                        <c:v>9.3049999999999997</c:v>
                      </c:pt>
                      <c:pt idx="5370">
                        <c:v>9.4269999999999996</c:v>
                      </c:pt>
                      <c:pt idx="5371">
                        <c:v>9.4269999999999996</c:v>
                      </c:pt>
                      <c:pt idx="5372">
                        <c:v>9.4269999999999996</c:v>
                      </c:pt>
                      <c:pt idx="5373">
                        <c:v>9.4269999999999996</c:v>
                      </c:pt>
                      <c:pt idx="5374">
                        <c:v>9.4269999999999996</c:v>
                      </c:pt>
                      <c:pt idx="5375">
                        <c:v>8.8870000000000005</c:v>
                      </c:pt>
                      <c:pt idx="5376">
                        <c:v>8.8870000000000005</c:v>
                      </c:pt>
                      <c:pt idx="5377">
                        <c:v>8.8870000000000005</c:v>
                      </c:pt>
                      <c:pt idx="5378">
                        <c:v>8.8870000000000005</c:v>
                      </c:pt>
                      <c:pt idx="5379">
                        <c:v>8.8870000000000005</c:v>
                      </c:pt>
                      <c:pt idx="5380">
                        <c:v>9.1289999999999996</c:v>
                      </c:pt>
                      <c:pt idx="5381">
                        <c:v>9.1289999999999996</c:v>
                      </c:pt>
                      <c:pt idx="5382">
                        <c:v>9.1289999999999996</c:v>
                      </c:pt>
                      <c:pt idx="5383">
                        <c:v>9.1289999999999996</c:v>
                      </c:pt>
                      <c:pt idx="5384">
                        <c:v>9.1289999999999996</c:v>
                      </c:pt>
                      <c:pt idx="5385">
                        <c:v>9.4879999999999995</c:v>
                      </c:pt>
                      <c:pt idx="5386">
                        <c:v>9.4879999999999995</c:v>
                      </c:pt>
                      <c:pt idx="5387">
                        <c:v>9.4879999999999995</c:v>
                      </c:pt>
                      <c:pt idx="5388">
                        <c:v>9.4879999999999995</c:v>
                      </c:pt>
                      <c:pt idx="5389">
                        <c:v>9.4879999999999995</c:v>
                      </c:pt>
                      <c:pt idx="5390">
                        <c:v>9.3149999999999995</c:v>
                      </c:pt>
                      <c:pt idx="5391">
                        <c:v>9.3149999999999995</c:v>
                      </c:pt>
                      <c:pt idx="5392">
                        <c:v>9.3149999999999995</c:v>
                      </c:pt>
                      <c:pt idx="5393">
                        <c:v>9.3149999999999995</c:v>
                      </c:pt>
                      <c:pt idx="5394">
                        <c:v>9.3149999999999995</c:v>
                      </c:pt>
                      <c:pt idx="5395">
                        <c:v>9.3439999999999994</c:v>
                      </c:pt>
                      <c:pt idx="5396">
                        <c:v>9.3439999999999994</c:v>
                      </c:pt>
                      <c:pt idx="5397">
                        <c:v>9.3439999999999994</c:v>
                      </c:pt>
                      <c:pt idx="5398">
                        <c:v>9.3439999999999994</c:v>
                      </c:pt>
                      <c:pt idx="5399">
                        <c:v>9.3439999999999994</c:v>
                      </c:pt>
                      <c:pt idx="5400">
                        <c:v>9.1829999999999998</c:v>
                      </c:pt>
                      <c:pt idx="5401">
                        <c:v>9.1829999999999998</c:v>
                      </c:pt>
                      <c:pt idx="5402">
                        <c:v>9.1829999999999998</c:v>
                      </c:pt>
                      <c:pt idx="5403">
                        <c:v>9.1829999999999998</c:v>
                      </c:pt>
                      <c:pt idx="5404">
                        <c:v>9.1829999999999998</c:v>
                      </c:pt>
                      <c:pt idx="5405">
                        <c:v>9.34</c:v>
                      </c:pt>
                      <c:pt idx="5406">
                        <c:v>9.34</c:v>
                      </c:pt>
                      <c:pt idx="5407">
                        <c:v>9.34</c:v>
                      </c:pt>
                      <c:pt idx="5408">
                        <c:v>9.34</c:v>
                      </c:pt>
                      <c:pt idx="5409">
                        <c:v>9.34</c:v>
                      </c:pt>
                      <c:pt idx="5410">
                        <c:v>9.3979999999999997</c:v>
                      </c:pt>
                      <c:pt idx="5411">
                        <c:v>9.3979999999999997</c:v>
                      </c:pt>
                      <c:pt idx="5412">
                        <c:v>9.3979999999999997</c:v>
                      </c:pt>
                      <c:pt idx="5413">
                        <c:v>9.3979999999999997</c:v>
                      </c:pt>
                      <c:pt idx="5414">
                        <c:v>9.3979999999999997</c:v>
                      </c:pt>
                      <c:pt idx="5415">
                        <c:v>9.4540000000000006</c:v>
                      </c:pt>
                      <c:pt idx="5416">
                        <c:v>9.4540000000000006</c:v>
                      </c:pt>
                      <c:pt idx="5417">
                        <c:v>9.4540000000000006</c:v>
                      </c:pt>
                      <c:pt idx="5418">
                        <c:v>9.4540000000000006</c:v>
                      </c:pt>
                      <c:pt idx="5419">
                        <c:v>9.4540000000000006</c:v>
                      </c:pt>
                      <c:pt idx="5420">
                        <c:v>9.2569999999999997</c:v>
                      </c:pt>
                      <c:pt idx="5421">
                        <c:v>9.2569999999999997</c:v>
                      </c:pt>
                      <c:pt idx="5422">
                        <c:v>9.2569999999999997</c:v>
                      </c:pt>
                      <c:pt idx="5423">
                        <c:v>9.2569999999999997</c:v>
                      </c:pt>
                      <c:pt idx="5424">
                        <c:v>9.2569999999999997</c:v>
                      </c:pt>
                      <c:pt idx="5425">
                        <c:v>9.3390000000000004</c:v>
                      </c:pt>
                      <c:pt idx="5426">
                        <c:v>9.3390000000000004</c:v>
                      </c:pt>
                      <c:pt idx="5427">
                        <c:v>9.3390000000000004</c:v>
                      </c:pt>
                      <c:pt idx="5428">
                        <c:v>9.3390000000000004</c:v>
                      </c:pt>
                      <c:pt idx="5429">
                        <c:v>9.3390000000000004</c:v>
                      </c:pt>
                      <c:pt idx="5430">
                        <c:v>9.4269999999999996</c:v>
                      </c:pt>
                      <c:pt idx="5431">
                        <c:v>9.4269999999999996</c:v>
                      </c:pt>
                      <c:pt idx="5432">
                        <c:v>9.4269999999999996</c:v>
                      </c:pt>
                      <c:pt idx="5433">
                        <c:v>9.4269999999999996</c:v>
                      </c:pt>
                      <c:pt idx="5434">
                        <c:v>9.4269999999999996</c:v>
                      </c:pt>
                      <c:pt idx="5435">
                        <c:v>9.2789999999999999</c:v>
                      </c:pt>
                      <c:pt idx="5436">
                        <c:v>9.2789999999999999</c:v>
                      </c:pt>
                      <c:pt idx="5437">
                        <c:v>9.2789999999999999</c:v>
                      </c:pt>
                      <c:pt idx="5438">
                        <c:v>9.2789999999999999</c:v>
                      </c:pt>
                      <c:pt idx="5439">
                        <c:v>9.2789999999999999</c:v>
                      </c:pt>
                      <c:pt idx="5440">
                        <c:v>9.4629999999999992</c:v>
                      </c:pt>
                      <c:pt idx="5441">
                        <c:v>9.4629999999999992</c:v>
                      </c:pt>
                      <c:pt idx="5442">
                        <c:v>9.4629999999999992</c:v>
                      </c:pt>
                      <c:pt idx="5443">
                        <c:v>9.4629999999999992</c:v>
                      </c:pt>
                      <c:pt idx="5444">
                        <c:v>9.4629999999999992</c:v>
                      </c:pt>
                      <c:pt idx="5445">
                        <c:v>9.5139999999999993</c:v>
                      </c:pt>
                      <c:pt idx="5446">
                        <c:v>9.5139999999999993</c:v>
                      </c:pt>
                      <c:pt idx="5447">
                        <c:v>9.5139999999999993</c:v>
                      </c:pt>
                      <c:pt idx="5448">
                        <c:v>9.5139999999999993</c:v>
                      </c:pt>
                      <c:pt idx="5449">
                        <c:v>9.5139999999999993</c:v>
                      </c:pt>
                      <c:pt idx="5450">
                        <c:v>9.5980000000000008</c:v>
                      </c:pt>
                      <c:pt idx="5451">
                        <c:v>9.5980000000000008</c:v>
                      </c:pt>
                      <c:pt idx="5452">
                        <c:v>9.5980000000000008</c:v>
                      </c:pt>
                      <c:pt idx="5453">
                        <c:v>9.5980000000000008</c:v>
                      </c:pt>
                      <c:pt idx="5454">
                        <c:v>9.5980000000000008</c:v>
                      </c:pt>
                      <c:pt idx="5455">
                        <c:v>9.3230000000000004</c:v>
                      </c:pt>
                      <c:pt idx="5456">
                        <c:v>9.3230000000000004</c:v>
                      </c:pt>
                      <c:pt idx="5457">
                        <c:v>9.3230000000000004</c:v>
                      </c:pt>
                      <c:pt idx="5458">
                        <c:v>9.3230000000000004</c:v>
                      </c:pt>
                      <c:pt idx="5459">
                        <c:v>9.3230000000000004</c:v>
                      </c:pt>
                      <c:pt idx="5460">
                        <c:v>9.35</c:v>
                      </c:pt>
                      <c:pt idx="5461">
                        <c:v>9.35</c:v>
                      </c:pt>
                      <c:pt idx="5462">
                        <c:v>9.35</c:v>
                      </c:pt>
                      <c:pt idx="5463">
                        <c:v>9.35</c:v>
                      </c:pt>
                      <c:pt idx="5464">
                        <c:v>9.35</c:v>
                      </c:pt>
                      <c:pt idx="5465">
                        <c:v>9.5259999999999998</c:v>
                      </c:pt>
                      <c:pt idx="5466">
                        <c:v>9.5259999999999998</c:v>
                      </c:pt>
                      <c:pt idx="5467">
                        <c:v>9.5259999999999998</c:v>
                      </c:pt>
                      <c:pt idx="5468">
                        <c:v>9.5259999999999998</c:v>
                      </c:pt>
                      <c:pt idx="5469">
                        <c:v>9.5259999999999998</c:v>
                      </c:pt>
                      <c:pt idx="5470">
                        <c:v>9.6199999999999992</c:v>
                      </c:pt>
                      <c:pt idx="5471">
                        <c:v>9.6199999999999992</c:v>
                      </c:pt>
                      <c:pt idx="5472">
                        <c:v>9.6199999999999992</c:v>
                      </c:pt>
                      <c:pt idx="5473">
                        <c:v>9.6199999999999992</c:v>
                      </c:pt>
                      <c:pt idx="5474">
                        <c:v>9.6199999999999992</c:v>
                      </c:pt>
                      <c:pt idx="5475">
                        <c:v>9.7710000000000008</c:v>
                      </c:pt>
                      <c:pt idx="5476">
                        <c:v>9.7710000000000008</c:v>
                      </c:pt>
                      <c:pt idx="5477">
                        <c:v>9.7710000000000008</c:v>
                      </c:pt>
                      <c:pt idx="5478">
                        <c:v>9.7710000000000008</c:v>
                      </c:pt>
                      <c:pt idx="5479">
                        <c:v>9.7710000000000008</c:v>
                      </c:pt>
                      <c:pt idx="5480">
                        <c:v>9.5410000000000004</c:v>
                      </c:pt>
                      <c:pt idx="5481">
                        <c:v>9.5410000000000004</c:v>
                      </c:pt>
                      <c:pt idx="5482">
                        <c:v>9.5410000000000004</c:v>
                      </c:pt>
                      <c:pt idx="5483">
                        <c:v>9.5410000000000004</c:v>
                      </c:pt>
                      <c:pt idx="5484">
                        <c:v>9.5410000000000004</c:v>
                      </c:pt>
                      <c:pt idx="5485">
                        <c:v>9.7059999999999995</c:v>
                      </c:pt>
                      <c:pt idx="5486">
                        <c:v>9.7059999999999995</c:v>
                      </c:pt>
                      <c:pt idx="5487">
                        <c:v>9.7059999999999995</c:v>
                      </c:pt>
                      <c:pt idx="5488">
                        <c:v>9.7059999999999995</c:v>
                      </c:pt>
                      <c:pt idx="5489">
                        <c:v>9.7059999999999995</c:v>
                      </c:pt>
                      <c:pt idx="5490">
                        <c:v>9.5429999999999993</c:v>
                      </c:pt>
                      <c:pt idx="5491">
                        <c:v>9.5429999999999993</c:v>
                      </c:pt>
                      <c:pt idx="5492">
                        <c:v>9.5429999999999993</c:v>
                      </c:pt>
                      <c:pt idx="5493">
                        <c:v>9.5429999999999993</c:v>
                      </c:pt>
                      <c:pt idx="5494">
                        <c:v>9.5429999999999993</c:v>
                      </c:pt>
                      <c:pt idx="5495">
                        <c:v>9.4700000000000006</c:v>
                      </c:pt>
                      <c:pt idx="5496">
                        <c:v>9.4700000000000006</c:v>
                      </c:pt>
                      <c:pt idx="5497">
                        <c:v>9.4700000000000006</c:v>
                      </c:pt>
                      <c:pt idx="5498">
                        <c:v>9.4700000000000006</c:v>
                      </c:pt>
                      <c:pt idx="5499">
                        <c:v>9.4700000000000006</c:v>
                      </c:pt>
                      <c:pt idx="5500">
                        <c:v>9.2899999999999991</c:v>
                      </c:pt>
                      <c:pt idx="5501">
                        <c:v>9.2899999999999991</c:v>
                      </c:pt>
                      <c:pt idx="5502">
                        <c:v>9.2899999999999991</c:v>
                      </c:pt>
                      <c:pt idx="5503">
                        <c:v>9.2899999999999991</c:v>
                      </c:pt>
                      <c:pt idx="5504">
                        <c:v>9.2899999999999991</c:v>
                      </c:pt>
                      <c:pt idx="5505">
                        <c:v>9.4320000000000004</c:v>
                      </c:pt>
                      <c:pt idx="5506">
                        <c:v>9.4320000000000004</c:v>
                      </c:pt>
                      <c:pt idx="5507">
                        <c:v>9.4320000000000004</c:v>
                      </c:pt>
                      <c:pt idx="5508">
                        <c:v>9.4320000000000004</c:v>
                      </c:pt>
                      <c:pt idx="5509">
                        <c:v>9.4320000000000004</c:v>
                      </c:pt>
                      <c:pt idx="5510">
                        <c:v>9.4710000000000001</c:v>
                      </c:pt>
                      <c:pt idx="5511">
                        <c:v>9.4710000000000001</c:v>
                      </c:pt>
                      <c:pt idx="5512">
                        <c:v>9.4710000000000001</c:v>
                      </c:pt>
                      <c:pt idx="5513">
                        <c:v>9.4710000000000001</c:v>
                      </c:pt>
                      <c:pt idx="5514">
                        <c:v>9.4710000000000001</c:v>
                      </c:pt>
                      <c:pt idx="5515">
                        <c:v>9.4030000000000005</c:v>
                      </c:pt>
                      <c:pt idx="5516">
                        <c:v>9.4030000000000005</c:v>
                      </c:pt>
                      <c:pt idx="5517">
                        <c:v>9.4030000000000005</c:v>
                      </c:pt>
                      <c:pt idx="5518">
                        <c:v>9.4030000000000005</c:v>
                      </c:pt>
                      <c:pt idx="5519">
                        <c:v>9.4030000000000005</c:v>
                      </c:pt>
                      <c:pt idx="5520">
                        <c:v>9.3960000000000008</c:v>
                      </c:pt>
                      <c:pt idx="5521">
                        <c:v>9.3960000000000008</c:v>
                      </c:pt>
                      <c:pt idx="5522">
                        <c:v>9.3960000000000008</c:v>
                      </c:pt>
                      <c:pt idx="5523">
                        <c:v>9.3960000000000008</c:v>
                      </c:pt>
                      <c:pt idx="5524">
                        <c:v>9.3960000000000008</c:v>
                      </c:pt>
                      <c:pt idx="5525">
                        <c:v>9.5619999999999994</c:v>
                      </c:pt>
                      <c:pt idx="5526">
                        <c:v>9.5619999999999994</c:v>
                      </c:pt>
                      <c:pt idx="5527">
                        <c:v>9.5619999999999994</c:v>
                      </c:pt>
                      <c:pt idx="5528">
                        <c:v>9.5619999999999994</c:v>
                      </c:pt>
                      <c:pt idx="5529">
                        <c:v>9.5619999999999994</c:v>
                      </c:pt>
                      <c:pt idx="5530">
                        <c:v>9.43</c:v>
                      </c:pt>
                      <c:pt idx="5531">
                        <c:v>9.43</c:v>
                      </c:pt>
                      <c:pt idx="5532">
                        <c:v>9.43</c:v>
                      </c:pt>
                      <c:pt idx="5533">
                        <c:v>9.43</c:v>
                      </c:pt>
                      <c:pt idx="5534">
                        <c:v>9.43</c:v>
                      </c:pt>
                      <c:pt idx="5535">
                        <c:v>9.4120000000000008</c:v>
                      </c:pt>
                      <c:pt idx="5536">
                        <c:v>9.4120000000000008</c:v>
                      </c:pt>
                      <c:pt idx="5537">
                        <c:v>9.4120000000000008</c:v>
                      </c:pt>
                      <c:pt idx="5538">
                        <c:v>9.4120000000000008</c:v>
                      </c:pt>
                      <c:pt idx="5539">
                        <c:v>9.4120000000000008</c:v>
                      </c:pt>
                      <c:pt idx="5540">
                        <c:v>9.3740000000000006</c:v>
                      </c:pt>
                      <c:pt idx="5541">
                        <c:v>9.3740000000000006</c:v>
                      </c:pt>
                      <c:pt idx="5542">
                        <c:v>9.3740000000000006</c:v>
                      </c:pt>
                      <c:pt idx="5543">
                        <c:v>9.3740000000000006</c:v>
                      </c:pt>
                      <c:pt idx="5544">
                        <c:v>9.3740000000000006</c:v>
                      </c:pt>
                      <c:pt idx="5545">
                        <c:v>9.4789999999999992</c:v>
                      </c:pt>
                      <c:pt idx="5546">
                        <c:v>9.4789999999999992</c:v>
                      </c:pt>
                      <c:pt idx="5547">
                        <c:v>9.4789999999999992</c:v>
                      </c:pt>
                      <c:pt idx="5548">
                        <c:v>9.4789999999999992</c:v>
                      </c:pt>
                      <c:pt idx="5549">
                        <c:v>9.4789999999999992</c:v>
                      </c:pt>
                      <c:pt idx="5550">
                        <c:v>9.4649999999999999</c:v>
                      </c:pt>
                      <c:pt idx="5551">
                        <c:v>9.4649999999999999</c:v>
                      </c:pt>
                      <c:pt idx="5552">
                        <c:v>9.4649999999999999</c:v>
                      </c:pt>
                      <c:pt idx="5553">
                        <c:v>9.4649999999999999</c:v>
                      </c:pt>
                      <c:pt idx="5554">
                        <c:v>9.4649999999999999</c:v>
                      </c:pt>
                      <c:pt idx="5555">
                        <c:v>9.4220000000000006</c:v>
                      </c:pt>
                      <c:pt idx="5556">
                        <c:v>9.4220000000000006</c:v>
                      </c:pt>
                      <c:pt idx="5557">
                        <c:v>9.4220000000000006</c:v>
                      </c:pt>
                      <c:pt idx="5558">
                        <c:v>9.4220000000000006</c:v>
                      </c:pt>
                      <c:pt idx="5559">
                        <c:v>9.4220000000000006</c:v>
                      </c:pt>
                      <c:pt idx="5560">
                        <c:v>9.4459999999999997</c:v>
                      </c:pt>
                      <c:pt idx="5561">
                        <c:v>9.4459999999999997</c:v>
                      </c:pt>
                      <c:pt idx="5562">
                        <c:v>9.4459999999999997</c:v>
                      </c:pt>
                      <c:pt idx="5563">
                        <c:v>9.4459999999999997</c:v>
                      </c:pt>
                      <c:pt idx="5564">
                        <c:v>9.4459999999999997</c:v>
                      </c:pt>
                      <c:pt idx="5565">
                        <c:v>9.3550000000000004</c:v>
                      </c:pt>
                      <c:pt idx="5566">
                        <c:v>9.3550000000000004</c:v>
                      </c:pt>
                      <c:pt idx="5567">
                        <c:v>9.3550000000000004</c:v>
                      </c:pt>
                      <c:pt idx="5568">
                        <c:v>9.3550000000000004</c:v>
                      </c:pt>
                      <c:pt idx="5569">
                        <c:v>9.3550000000000004</c:v>
                      </c:pt>
                      <c:pt idx="5570">
                        <c:v>9.3450000000000006</c:v>
                      </c:pt>
                      <c:pt idx="5571">
                        <c:v>9.3450000000000006</c:v>
                      </c:pt>
                      <c:pt idx="5572">
                        <c:v>9.3450000000000006</c:v>
                      </c:pt>
                      <c:pt idx="5573">
                        <c:v>9.3450000000000006</c:v>
                      </c:pt>
                      <c:pt idx="5574">
                        <c:v>9.3450000000000006</c:v>
                      </c:pt>
                      <c:pt idx="5575">
                        <c:v>9.4380000000000006</c:v>
                      </c:pt>
                      <c:pt idx="5576">
                        <c:v>9.4380000000000006</c:v>
                      </c:pt>
                      <c:pt idx="5577">
                        <c:v>9.4380000000000006</c:v>
                      </c:pt>
                      <c:pt idx="5578">
                        <c:v>9.4380000000000006</c:v>
                      </c:pt>
                      <c:pt idx="5579">
                        <c:v>9.4380000000000006</c:v>
                      </c:pt>
                      <c:pt idx="5580">
                        <c:v>9.3629999999999995</c:v>
                      </c:pt>
                      <c:pt idx="5581">
                        <c:v>9.3629999999999995</c:v>
                      </c:pt>
                      <c:pt idx="5582">
                        <c:v>9.3629999999999995</c:v>
                      </c:pt>
                      <c:pt idx="5583">
                        <c:v>9.3629999999999995</c:v>
                      </c:pt>
                      <c:pt idx="5584">
                        <c:v>9.3629999999999995</c:v>
                      </c:pt>
                      <c:pt idx="5585">
                        <c:v>9.3680000000000003</c:v>
                      </c:pt>
                      <c:pt idx="5586">
                        <c:v>9.3680000000000003</c:v>
                      </c:pt>
                      <c:pt idx="5587">
                        <c:v>9.3680000000000003</c:v>
                      </c:pt>
                      <c:pt idx="5588">
                        <c:v>9.3680000000000003</c:v>
                      </c:pt>
                      <c:pt idx="5589">
                        <c:v>9.3680000000000003</c:v>
                      </c:pt>
                      <c:pt idx="5590">
                        <c:v>9.3889999999999993</c:v>
                      </c:pt>
                      <c:pt idx="5591">
                        <c:v>9.3889999999999993</c:v>
                      </c:pt>
                      <c:pt idx="5592">
                        <c:v>9.3889999999999993</c:v>
                      </c:pt>
                      <c:pt idx="5593">
                        <c:v>9.3889999999999993</c:v>
                      </c:pt>
                      <c:pt idx="5594">
                        <c:v>9.3889999999999993</c:v>
                      </c:pt>
                      <c:pt idx="5595">
                        <c:v>9.1890000000000001</c:v>
                      </c:pt>
                      <c:pt idx="5596">
                        <c:v>9.1890000000000001</c:v>
                      </c:pt>
                      <c:pt idx="5597">
                        <c:v>9.1890000000000001</c:v>
                      </c:pt>
                      <c:pt idx="5598">
                        <c:v>9.1890000000000001</c:v>
                      </c:pt>
                      <c:pt idx="5599">
                        <c:v>9.1890000000000001</c:v>
                      </c:pt>
                      <c:pt idx="5600">
                        <c:v>9.3059999999999992</c:v>
                      </c:pt>
                      <c:pt idx="5601">
                        <c:v>9.3059999999999992</c:v>
                      </c:pt>
                      <c:pt idx="5602">
                        <c:v>9.3059999999999992</c:v>
                      </c:pt>
                      <c:pt idx="5603">
                        <c:v>9.3059999999999992</c:v>
                      </c:pt>
                      <c:pt idx="5604">
                        <c:v>9.3059999999999992</c:v>
                      </c:pt>
                      <c:pt idx="5605">
                        <c:v>9.3659999999999997</c:v>
                      </c:pt>
                      <c:pt idx="5606">
                        <c:v>9.3659999999999997</c:v>
                      </c:pt>
                      <c:pt idx="5607">
                        <c:v>9.3659999999999997</c:v>
                      </c:pt>
                      <c:pt idx="5608">
                        <c:v>9.3659999999999997</c:v>
                      </c:pt>
                      <c:pt idx="5609">
                        <c:v>9.3659999999999997</c:v>
                      </c:pt>
                      <c:pt idx="5610">
                        <c:v>9.282</c:v>
                      </c:pt>
                      <c:pt idx="5611">
                        <c:v>9.282</c:v>
                      </c:pt>
                      <c:pt idx="5612">
                        <c:v>9.282</c:v>
                      </c:pt>
                      <c:pt idx="5613">
                        <c:v>9.282</c:v>
                      </c:pt>
                      <c:pt idx="5614">
                        <c:v>9.282</c:v>
                      </c:pt>
                      <c:pt idx="5615">
                        <c:v>9.3840000000000003</c:v>
                      </c:pt>
                      <c:pt idx="5616">
                        <c:v>9.3840000000000003</c:v>
                      </c:pt>
                      <c:pt idx="5617">
                        <c:v>9.3840000000000003</c:v>
                      </c:pt>
                      <c:pt idx="5618">
                        <c:v>9.3840000000000003</c:v>
                      </c:pt>
                      <c:pt idx="5619">
                        <c:v>9.3840000000000003</c:v>
                      </c:pt>
                      <c:pt idx="5620">
                        <c:v>9.4510000000000005</c:v>
                      </c:pt>
                      <c:pt idx="5621">
                        <c:v>9.4510000000000005</c:v>
                      </c:pt>
                      <c:pt idx="5622">
                        <c:v>9.4510000000000005</c:v>
                      </c:pt>
                      <c:pt idx="5623">
                        <c:v>9.4510000000000005</c:v>
                      </c:pt>
                      <c:pt idx="5624">
                        <c:v>9.4510000000000005</c:v>
                      </c:pt>
                      <c:pt idx="5625">
                        <c:v>9.5269999999999992</c:v>
                      </c:pt>
                      <c:pt idx="5626">
                        <c:v>9.5269999999999992</c:v>
                      </c:pt>
                      <c:pt idx="5627">
                        <c:v>9.5269999999999992</c:v>
                      </c:pt>
                      <c:pt idx="5628">
                        <c:v>9.5269999999999992</c:v>
                      </c:pt>
                      <c:pt idx="5629">
                        <c:v>9.5269999999999992</c:v>
                      </c:pt>
                      <c:pt idx="5630">
                        <c:v>9.5109999999999992</c:v>
                      </c:pt>
                      <c:pt idx="5631">
                        <c:v>9.5109999999999992</c:v>
                      </c:pt>
                      <c:pt idx="5632">
                        <c:v>9.5109999999999992</c:v>
                      </c:pt>
                      <c:pt idx="5633">
                        <c:v>9.5109999999999992</c:v>
                      </c:pt>
                      <c:pt idx="5634">
                        <c:v>9.5109999999999992</c:v>
                      </c:pt>
                      <c:pt idx="5635">
                        <c:v>9.5679999999999996</c:v>
                      </c:pt>
                      <c:pt idx="5636">
                        <c:v>9.5679999999999996</c:v>
                      </c:pt>
                      <c:pt idx="5637">
                        <c:v>9.5679999999999996</c:v>
                      </c:pt>
                      <c:pt idx="5638">
                        <c:v>9.5679999999999996</c:v>
                      </c:pt>
                      <c:pt idx="5639">
                        <c:v>9.5679999999999996</c:v>
                      </c:pt>
                      <c:pt idx="5640">
                        <c:v>9.5960000000000001</c:v>
                      </c:pt>
                      <c:pt idx="5641">
                        <c:v>9.5960000000000001</c:v>
                      </c:pt>
                      <c:pt idx="5642">
                        <c:v>9.5960000000000001</c:v>
                      </c:pt>
                      <c:pt idx="5643">
                        <c:v>9.5960000000000001</c:v>
                      </c:pt>
                      <c:pt idx="5644">
                        <c:v>9.5960000000000001</c:v>
                      </c:pt>
                      <c:pt idx="5645">
                        <c:v>9.5399999999999991</c:v>
                      </c:pt>
                      <c:pt idx="5646">
                        <c:v>9.5399999999999991</c:v>
                      </c:pt>
                      <c:pt idx="5647">
                        <c:v>9.5399999999999991</c:v>
                      </c:pt>
                      <c:pt idx="5648">
                        <c:v>9.5399999999999991</c:v>
                      </c:pt>
                      <c:pt idx="5649">
                        <c:v>9.5399999999999991</c:v>
                      </c:pt>
                      <c:pt idx="5650">
                        <c:v>9.51</c:v>
                      </c:pt>
                      <c:pt idx="5651">
                        <c:v>9.51</c:v>
                      </c:pt>
                      <c:pt idx="5652">
                        <c:v>9.51</c:v>
                      </c:pt>
                      <c:pt idx="5653">
                        <c:v>9.51</c:v>
                      </c:pt>
                      <c:pt idx="5654">
                        <c:v>9.51</c:v>
                      </c:pt>
                      <c:pt idx="5655">
                        <c:v>9.4670000000000005</c:v>
                      </c:pt>
                      <c:pt idx="5656">
                        <c:v>9.4670000000000005</c:v>
                      </c:pt>
                      <c:pt idx="5657">
                        <c:v>9.4670000000000005</c:v>
                      </c:pt>
                      <c:pt idx="5658">
                        <c:v>9.4670000000000005</c:v>
                      </c:pt>
                      <c:pt idx="5659">
                        <c:v>9.4670000000000005</c:v>
                      </c:pt>
                      <c:pt idx="5660">
                        <c:v>9.5419999999999998</c:v>
                      </c:pt>
                      <c:pt idx="5661">
                        <c:v>9.5419999999999998</c:v>
                      </c:pt>
                      <c:pt idx="5662">
                        <c:v>9.5419999999999998</c:v>
                      </c:pt>
                      <c:pt idx="5663">
                        <c:v>9.5419999999999998</c:v>
                      </c:pt>
                      <c:pt idx="5664">
                        <c:v>9.5419999999999998</c:v>
                      </c:pt>
                      <c:pt idx="5665">
                        <c:v>9.6110000000000007</c:v>
                      </c:pt>
                      <c:pt idx="5666">
                        <c:v>9.6110000000000007</c:v>
                      </c:pt>
                      <c:pt idx="5667">
                        <c:v>9.6110000000000007</c:v>
                      </c:pt>
                      <c:pt idx="5668">
                        <c:v>9.6110000000000007</c:v>
                      </c:pt>
                      <c:pt idx="5669">
                        <c:v>9.6110000000000007</c:v>
                      </c:pt>
                      <c:pt idx="5670">
                        <c:v>9.6519999999999992</c:v>
                      </c:pt>
                      <c:pt idx="5671">
                        <c:v>9.6519999999999992</c:v>
                      </c:pt>
                      <c:pt idx="5672">
                        <c:v>9.6519999999999992</c:v>
                      </c:pt>
                      <c:pt idx="5673">
                        <c:v>9.6519999999999992</c:v>
                      </c:pt>
                      <c:pt idx="5674">
                        <c:v>9.6519999999999992</c:v>
                      </c:pt>
                      <c:pt idx="5675">
                        <c:v>9.6739999999999995</c:v>
                      </c:pt>
                      <c:pt idx="5676">
                        <c:v>9.6739999999999995</c:v>
                      </c:pt>
                      <c:pt idx="5677">
                        <c:v>9.6739999999999995</c:v>
                      </c:pt>
                      <c:pt idx="5678">
                        <c:v>9.6739999999999995</c:v>
                      </c:pt>
                      <c:pt idx="5679">
                        <c:v>9.6739999999999995</c:v>
                      </c:pt>
                      <c:pt idx="5680">
                        <c:v>9.7690000000000001</c:v>
                      </c:pt>
                      <c:pt idx="5681">
                        <c:v>9.7690000000000001</c:v>
                      </c:pt>
                      <c:pt idx="5682">
                        <c:v>9.7690000000000001</c:v>
                      </c:pt>
                      <c:pt idx="5683">
                        <c:v>9.7690000000000001</c:v>
                      </c:pt>
                      <c:pt idx="5684">
                        <c:v>9.7690000000000001</c:v>
                      </c:pt>
                      <c:pt idx="5685">
                        <c:v>9.9060000000000006</c:v>
                      </c:pt>
                      <c:pt idx="5686">
                        <c:v>9.9060000000000006</c:v>
                      </c:pt>
                      <c:pt idx="5687">
                        <c:v>9.9060000000000006</c:v>
                      </c:pt>
                      <c:pt idx="5688">
                        <c:v>9.9060000000000006</c:v>
                      </c:pt>
                      <c:pt idx="5689">
                        <c:v>9.9060000000000006</c:v>
                      </c:pt>
                      <c:pt idx="5690">
                        <c:v>9.8849999999999998</c:v>
                      </c:pt>
                      <c:pt idx="5691">
                        <c:v>9.8849999999999998</c:v>
                      </c:pt>
                      <c:pt idx="5692">
                        <c:v>9.8849999999999998</c:v>
                      </c:pt>
                      <c:pt idx="5693">
                        <c:v>9.8849999999999998</c:v>
                      </c:pt>
                      <c:pt idx="5694">
                        <c:v>9.8849999999999998</c:v>
                      </c:pt>
                      <c:pt idx="5695">
                        <c:v>9.7889999999999997</c:v>
                      </c:pt>
                      <c:pt idx="5696">
                        <c:v>9.7889999999999997</c:v>
                      </c:pt>
                      <c:pt idx="5697">
                        <c:v>9.7889999999999997</c:v>
                      </c:pt>
                      <c:pt idx="5698">
                        <c:v>9.7889999999999997</c:v>
                      </c:pt>
                      <c:pt idx="5699">
                        <c:v>9.7889999999999997</c:v>
                      </c:pt>
                      <c:pt idx="5700">
                        <c:v>9.9329999999999998</c:v>
                      </c:pt>
                      <c:pt idx="5701">
                        <c:v>9.9329999999999998</c:v>
                      </c:pt>
                      <c:pt idx="5702">
                        <c:v>9.9329999999999998</c:v>
                      </c:pt>
                      <c:pt idx="5703">
                        <c:v>9.9329999999999998</c:v>
                      </c:pt>
                      <c:pt idx="5704">
                        <c:v>9.9329999999999998</c:v>
                      </c:pt>
                      <c:pt idx="5705">
                        <c:v>10.092000000000001</c:v>
                      </c:pt>
                      <c:pt idx="5706">
                        <c:v>10.092000000000001</c:v>
                      </c:pt>
                      <c:pt idx="5707">
                        <c:v>10.092000000000001</c:v>
                      </c:pt>
                      <c:pt idx="5708">
                        <c:v>10.092000000000001</c:v>
                      </c:pt>
                      <c:pt idx="5709">
                        <c:v>10.092000000000001</c:v>
                      </c:pt>
                      <c:pt idx="5710">
                        <c:v>9.8049999999999997</c:v>
                      </c:pt>
                      <c:pt idx="5711">
                        <c:v>9.8049999999999997</c:v>
                      </c:pt>
                      <c:pt idx="5712">
                        <c:v>9.8049999999999997</c:v>
                      </c:pt>
                      <c:pt idx="5713">
                        <c:v>9.8049999999999997</c:v>
                      </c:pt>
                      <c:pt idx="5714">
                        <c:v>9.8049999999999997</c:v>
                      </c:pt>
                      <c:pt idx="5715">
                        <c:v>10.013999999999999</c:v>
                      </c:pt>
                      <c:pt idx="5716">
                        <c:v>10.013999999999999</c:v>
                      </c:pt>
                      <c:pt idx="5717">
                        <c:v>10.013999999999999</c:v>
                      </c:pt>
                      <c:pt idx="5718">
                        <c:v>10.013999999999999</c:v>
                      </c:pt>
                      <c:pt idx="5719">
                        <c:v>10.013999999999999</c:v>
                      </c:pt>
                      <c:pt idx="5720">
                        <c:v>10.021000000000001</c:v>
                      </c:pt>
                      <c:pt idx="5721">
                        <c:v>10.021000000000001</c:v>
                      </c:pt>
                      <c:pt idx="5722">
                        <c:v>10.021000000000001</c:v>
                      </c:pt>
                      <c:pt idx="5723">
                        <c:v>10.021000000000001</c:v>
                      </c:pt>
                      <c:pt idx="5724">
                        <c:v>10.021000000000001</c:v>
                      </c:pt>
                      <c:pt idx="5725">
                        <c:v>10.092000000000001</c:v>
                      </c:pt>
                      <c:pt idx="5726">
                        <c:v>10.092000000000001</c:v>
                      </c:pt>
                      <c:pt idx="5727">
                        <c:v>10.092000000000001</c:v>
                      </c:pt>
                      <c:pt idx="5728">
                        <c:v>10.092000000000001</c:v>
                      </c:pt>
                      <c:pt idx="5729">
                        <c:v>10.092000000000001</c:v>
                      </c:pt>
                      <c:pt idx="5730">
                        <c:v>10.057</c:v>
                      </c:pt>
                      <c:pt idx="5731">
                        <c:v>10.057</c:v>
                      </c:pt>
                      <c:pt idx="5732">
                        <c:v>10.057</c:v>
                      </c:pt>
                      <c:pt idx="5733">
                        <c:v>10.057</c:v>
                      </c:pt>
                      <c:pt idx="5734">
                        <c:v>10.057</c:v>
                      </c:pt>
                      <c:pt idx="5735">
                        <c:v>10.029999999999999</c:v>
                      </c:pt>
                      <c:pt idx="5736">
                        <c:v>10.029999999999999</c:v>
                      </c:pt>
                      <c:pt idx="5737">
                        <c:v>10.029999999999999</c:v>
                      </c:pt>
                      <c:pt idx="5738">
                        <c:v>10.029999999999999</c:v>
                      </c:pt>
                      <c:pt idx="5739">
                        <c:v>10.029999999999999</c:v>
                      </c:pt>
                      <c:pt idx="5740">
                        <c:v>10.061999999999999</c:v>
                      </c:pt>
                      <c:pt idx="5741">
                        <c:v>10.061999999999999</c:v>
                      </c:pt>
                      <c:pt idx="5742">
                        <c:v>10.061999999999999</c:v>
                      </c:pt>
                      <c:pt idx="5743">
                        <c:v>10.061999999999999</c:v>
                      </c:pt>
                      <c:pt idx="5744">
                        <c:v>10.061999999999999</c:v>
                      </c:pt>
                      <c:pt idx="5745">
                        <c:v>9.9990000000000006</c:v>
                      </c:pt>
                      <c:pt idx="5746">
                        <c:v>9.9990000000000006</c:v>
                      </c:pt>
                      <c:pt idx="5747">
                        <c:v>9.9990000000000006</c:v>
                      </c:pt>
                      <c:pt idx="5748">
                        <c:v>9.9990000000000006</c:v>
                      </c:pt>
                      <c:pt idx="5749">
                        <c:v>9.9990000000000006</c:v>
                      </c:pt>
                      <c:pt idx="5750">
                        <c:v>10.113</c:v>
                      </c:pt>
                      <c:pt idx="5751">
                        <c:v>10.113</c:v>
                      </c:pt>
                      <c:pt idx="5752">
                        <c:v>10.113</c:v>
                      </c:pt>
                      <c:pt idx="5753">
                        <c:v>10.113</c:v>
                      </c:pt>
                      <c:pt idx="5754">
                        <c:v>10.113</c:v>
                      </c:pt>
                      <c:pt idx="5755">
                        <c:v>10.163</c:v>
                      </c:pt>
                      <c:pt idx="5756">
                        <c:v>10.163</c:v>
                      </c:pt>
                      <c:pt idx="5757">
                        <c:v>10.163</c:v>
                      </c:pt>
                      <c:pt idx="5758">
                        <c:v>10.163</c:v>
                      </c:pt>
                      <c:pt idx="5759">
                        <c:v>10.163</c:v>
                      </c:pt>
                      <c:pt idx="5760">
                        <c:v>10.166</c:v>
                      </c:pt>
                      <c:pt idx="5761">
                        <c:v>10.166</c:v>
                      </c:pt>
                      <c:pt idx="5762">
                        <c:v>10.166</c:v>
                      </c:pt>
                      <c:pt idx="5763">
                        <c:v>10.166</c:v>
                      </c:pt>
                      <c:pt idx="5764">
                        <c:v>10.166</c:v>
                      </c:pt>
                      <c:pt idx="5765">
                        <c:v>10.19</c:v>
                      </c:pt>
                      <c:pt idx="5766">
                        <c:v>10.19</c:v>
                      </c:pt>
                      <c:pt idx="5767">
                        <c:v>10.19</c:v>
                      </c:pt>
                      <c:pt idx="5768">
                        <c:v>10.19</c:v>
                      </c:pt>
                      <c:pt idx="5769">
                        <c:v>10.19</c:v>
                      </c:pt>
                      <c:pt idx="5770">
                        <c:v>10.156000000000001</c:v>
                      </c:pt>
                      <c:pt idx="5771">
                        <c:v>10.156000000000001</c:v>
                      </c:pt>
                      <c:pt idx="5772">
                        <c:v>10.156000000000001</c:v>
                      </c:pt>
                      <c:pt idx="5773">
                        <c:v>10.156000000000001</c:v>
                      </c:pt>
                      <c:pt idx="5774">
                        <c:v>10.156000000000001</c:v>
                      </c:pt>
                      <c:pt idx="5775">
                        <c:v>10.263</c:v>
                      </c:pt>
                      <c:pt idx="5776">
                        <c:v>10.263</c:v>
                      </c:pt>
                      <c:pt idx="5777">
                        <c:v>10.263</c:v>
                      </c:pt>
                      <c:pt idx="5778">
                        <c:v>10.263</c:v>
                      </c:pt>
                      <c:pt idx="5779">
                        <c:v>10.263</c:v>
                      </c:pt>
                      <c:pt idx="5780">
                        <c:v>10.226000000000001</c:v>
                      </c:pt>
                      <c:pt idx="5781">
                        <c:v>10.226000000000001</c:v>
                      </c:pt>
                      <c:pt idx="5782">
                        <c:v>10.226000000000001</c:v>
                      </c:pt>
                      <c:pt idx="5783">
                        <c:v>10.226000000000001</c:v>
                      </c:pt>
                      <c:pt idx="5784">
                        <c:v>10.226000000000001</c:v>
                      </c:pt>
                      <c:pt idx="5785">
                        <c:v>10.218</c:v>
                      </c:pt>
                      <c:pt idx="5786">
                        <c:v>10.218</c:v>
                      </c:pt>
                      <c:pt idx="5787">
                        <c:v>10.218</c:v>
                      </c:pt>
                      <c:pt idx="5788">
                        <c:v>10.218</c:v>
                      </c:pt>
                      <c:pt idx="5789">
                        <c:v>10.218</c:v>
                      </c:pt>
                      <c:pt idx="5790">
                        <c:v>10.279</c:v>
                      </c:pt>
                      <c:pt idx="5791">
                        <c:v>10.279</c:v>
                      </c:pt>
                      <c:pt idx="5792">
                        <c:v>10.279</c:v>
                      </c:pt>
                      <c:pt idx="5793">
                        <c:v>10.279</c:v>
                      </c:pt>
                      <c:pt idx="5794">
                        <c:v>10.279</c:v>
                      </c:pt>
                      <c:pt idx="5795">
                        <c:v>10.438000000000001</c:v>
                      </c:pt>
                      <c:pt idx="5796">
                        <c:v>10.438000000000001</c:v>
                      </c:pt>
                      <c:pt idx="5797">
                        <c:v>10.438000000000001</c:v>
                      </c:pt>
                      <c:pt idx="5798">
                        <c:v>10.438000000000001</c:v>
                      </c:pt>
                      <c:pt idx="5799">
                        <c:v>10.438000000000001</c:v>
                      </c:pt>
                      <c:pt idx="5800">
                        <c:v>10.45</c:v>
                      </c:pt>
                      <c:pt idx="5801">
                        <c:v>10.45</c:v>
                      </c:pt>
                      <c:pt idx="5802">
                        <c:v>10.45</c:v>
                      </c:pt>
                      <c:pt idx="5803">
                        <c:v>10.45</c:v>
                      </c:pt>
                      <c:pt idx="5804">
                        <c:v>10.45</c:v>
                      </c:pt>
                      <c:pt idx="5805">
                        <c:v>10.430999999999999</c:v>
                      </c:pt>
                      <c:pt idx="5806">
                        <c:v>10.430999999999999</c:v>
                      </c:pt>
                      <c:pt idx="5807">
                        <c:v>10.430999999999999</c:v>
                      </c:pt>
                      <c:pt idx="5808">
                        <c:v>10.430999999999999</c:v>
                      </c:pt>
                      <c:pt idx="5809">
                        <c:v>10.430999999999999</c:v>
                      </c:pt>
                      <c:pt idx="5810">
                        <c:v>10.464</c:v>
                      </c:pt>
                      <c:pt idx="5811">
                        <c:v>10.464</c:v>
                      </c:pt>
                      <c:pt idx="5812">
                        <c:v>10.464</c:v>
                      </c:pt>
                      <c:pt idx="5813">
                        <c:v>10.464</c:v>
                      </c:pt>
                      <c:pt idx="5814">
                        <c:v>10.464</c:v>
                      </c:pt>
                      <c:pt idx="5815">
                        <c:v>10.548</c:v>
                      </c:pt>
                      <c:pt idx="5816">
                        <c:v>10.548</c:v>
                      </c:pt>
                      <c:pt idx="5817">
                        <c:v>10.548</c:v>
                      </c:pt>
                      <c:pt idx="5818">
                        <c:v>10.548</c:v>
                      </c:pt>
                      <c:pt idx="5819">
                        <c:v>10.548</c:v>
                      </c:pt>
                      <c:pt idx="5820">
                        <c:v>10.486000000000001</c:v>
                      </c:pt>
                      <c:pt idx="5821">
                        <c:v>10.486000000000001</c:v>
                      </c:pt>
                      <c:pt idx="5822">
                        <c:v>10.486000000000001</c:v>
                      </c:pt>
                      <c:pt idx="5823">
                        <c:v>10.486000000000001</c:v>
                      </c:pt>
                      <c:pt idx="5824">
                        <c:v>10.486000000000001</c:v>
                      </c:pt>
                      <c:pt idx="5825">
                        <c:v>10.833</c:v>
                      </c:pt>
                      <c:pt idx="5826">
                        <c:v>10.833</c:v>
                      </c:pt>
                      <c:pt idx="5827">
                        <c:v>10.833</c:v>
                      </c:pt>
                      <c:pt idx="5828">
                        <c:v>10.833</c:v>
                      </c:pt>
                      <c:pt idx="5829">
                        <c:v>10.833</c:v>
                      </c:pt>
                      <c:pt idx="5830">
                        <c:v>10.492000000000001</c:v>
                      </c:pt>
                      <c:pt idx="5831">
                        <c:v>10.492000000000001</c:v>
                      </c:pt>
                      <c:pt idx="5832">
                        <c:v>10.492000000000001</c:v>
                      </c:pt>
                      <c:pt idx="5833">
                        <c:v>10.492000000000001</c:v>
                      </c:pt>
                      <c:pt idx="5834">
                        <c:v>10.492000000000001</c:v>
                      </c:pt>
                      <c:pt idx="5835">
                        <c:v>10.68</c:v>
                      </c:pt>
                      <c:pt idx="5836">
                        <c:v>10.68</c:v>
                      </c:pt>
                      <c:pt idx="5837">
                        <c:v>10.68</c:v>
                      </c:pt>
                      <c:pt idx="5838">
                        <c:v>10.68</c:v>
                      </c:pt>
                      <c:pt idx="5839">
                        <c:v>10.68</c:v>
                      </c:pt>
                      <c:pt idx="5840">
                        <c:v>10.616</c:v>
                      </c:pt>
                      <c:pt idx="5841">
                        <c:v>10.616</c:v>
                      </c:pt>
                      <c:pt idx="5842">
                        <c:v>10.616</c:v>
                      </c:pt>
                      <c:pt idx="5843">
                        <c:v>10.616</c:v>
                      </c:pt>
                      <c:pt idx="5844">
                        <c:v>10.616</c:v>
                      </c:pt>
                      <c:pt idx="5845">
                        <c:v>10.702999999999999</c:v>
                      </c:pt>
                      <c:pt idx="5846">
                        <c:v>10.702999999999999</c:v>
                      </c:pt>
                      <c:pt idx="5847">
                        <c:v>10.702999999999999</c:v>
                      </c:pt>
                      <c:pt idx="5848">
                        <c:v>10.702999999999999</c:v>
                      </c:pt>
                      <c:pt idx="5849">
                        <c:v>10.702999999999999</c:v>
                      </c:pt>
                      <c:pt idx="5850">
                        <c:v>10.662000000000001</c:v>
                      </c:pt>
                      <c:pt idx="5851">
                        <c:v>10.662000000000001</c:v>
                      </c:pt>
                      <c:pt idx="5852">
                        <c:v>10.662000000000001</c:v>
                      </c:pt>
                      <c:pt idx="5853">
                        <c:v>10.662000000000001</c:v>
                      </c:pt>
                      <c:pt idx="5854">
                        <c:v>10.662000000000001</c:v>
                      </c:pt>
                      <c:pt idx="5855">
                        <c:v>10.6</c:v>
                      </c:pt>
                      <c:pt idx="5856">
                        <c:v>10.6</c:v>
                      </c:pt>
                      <c:pt idx="5857">
                        <c:v>10.6</c:v>
                      </c:pt>
                      <c:pt idx="5858">
                        <c:v>10.6</c:v>
                      </c:pt>
                      <c:pt idx="5859">
                        <c:v>10.6</c:v>
                      </c:pt>
                      <c:pt idx="5860">
                        <c:v>10.741</c:v>
                      </c:pt>
                      <c:pt idx="5861">
                        <c:v>10.741</c:v>
                      </c:pt>
                      <c:pt idx="5862">
                        <c:v>10.741</c:v>
                      </c:pt>
                      <c:pt idx="5863">
                        <c:v>10.741</c:v>
                      </c:pt>
                      <c:pt idx="5864">
                        <c:v>10.741</c:v>
                      </c:pt>
                      <c:pt idx="5865">
                        <c:v>10.71</c:v>
                      </c:pt>
                      <c:pt idx="5866">
                        <c:v>10.71</c:v>
                      </c:pt>
                      <c:pt idx="5867">
                        <c:v>10.71</c:v>
                      </c:pt>
                      <c:pt idx="5868">
                        <c:v>10.71</c:v>
                      </c:pt>
                      <c:pt idx="5869">
                        <c:v>10.71</c:v>
                      </c:pt>
                      <c:pt idx="5870">
                        <c:v>10.866</c:v>
                      </c:pt>
                      <c:pt idx="5871">
                        <c:v>10.866</c:v>
                      </c:pt>
                      <c:pt idx="5872">
                        <c:v>10.866</c:v>
                      </c:pt>
                      <c:pt idx="5873">
                        <c:v>10.866</c:v>
                      </c:pt>
                      <c:pt idx="5874">
                        <c:v>10.866</c:v>
                      </c:pt>
                      <c:pt idx="5875">
                        <c:v>10.881</c:v>
                      </c:pt>
                      <c:pt idx="5876">
                        <c:v>10.881</c:v>
                      </c:pt>
                      <c:pt idx="5877">
                        <c:v>10.881</c:v>
                      </c:pt>
                      <c:pt idx="5878">
                        <c:v>10.881</c:v>
                      </c:pt>
                      <c:pt idx="5879">
                        <c:v>10.881</c:v>
                      </c:pt>
                      <c:pt idx="5880">
                        <c:v>10.997999999999999</c:v>
                      </c:pt>
                      <c:pt idx="5881">
                        <c:v>10.997999999999999</c:v>
                      </c:pt>
                      <c:pt idx="5882">
                        <c:v>10.997999999999999</c:v>
                      </c:pt>
                      <c:pt idx="5883">
                        <c:v>10.997999999999999</c:v>
                      </c:pt>
                      <c:pt idx="5884">
                        <c:v>10.997999999999999</c:v>
                      </c:pt>
                      <c:pt idx="5885">
                        <c:v>11.055</c:v>
                      </c:pt>
                      <c:pt idx="5886">
                        <c:v>11.055</c:v>
                      </c:pt>
                      <c:pt idx="5887">
                        <c:v>11.055</c:v>
                      </c:pt>
                      <c:pt idx="5888">
                        <c:v>11.055</c:v>
                      </c:pt>
                      <c:pt idx="5889">
                        <c:v>11.055</c:v>
                      </c:pt>
                      <c:pt idx="5890">
                        <c:v>11.031000000000001</c:v>
                      </c:pt>
                      <c:pt idx="5891">
                        <c:v>11.031000000000001</c:v>
                      </c:pt>
                      <c:pt idx="5892">
                        <c:v>11.031000000000001</c:v>
                      </c:pt>
                      <c:pt idx="5893">
                        <c:v>11.031000000000001</c:v>
                      </c:pt>
                      <c:pt idx="5894">
                        <c:v>11.031000000000001</c:v>
                      </c:pt>
                      <c:pt idx="5895">
                        <c:v>11.089</c:v>
                      </c:pt>
                      <c:pt idx="5896">
                        <c:v>11.089</c:v>
                      </c:pt>
                      <c:pt idx="5897">
                        <c:v>11.089</c:v>
                      </c:pt>
                      <c:pt idx="5898">
                        <c:v>11.089</c:v>
                      </c:pt>
                      <c:pt idx="5899">
                        <c:v>11.089</c:v>
                      </c:pt>
                      <c:pt idx="5900">
                        <c:v>10.981999999999999</c:v>
                      </c:pt>
                      <c:pt idx="5901">
                        <c:v>10.981999999999999</c:v>
                      </c:pt>
                      <c:pt idx="5902">
                        <c:v>10.981999999999999</c:v>
                      </c:pt>
                      <c:pt idx="5903">
                        <c:v>10.981999999999999</c:v>
                      </c:pt>
                      <c:pt idx="5904">
                        <c:v>10.981999999999999</c:v>
                      </c:pt>
                      <c:pt idx="5905">
                        <c:v>11.125</c:v>
                      </c:pt>
                      <c:pt idx="5906">
                        <c:v>11.125</c:v>
                      </c:pt>
                      <c:pt idx="5907">
                        <c:v>11.125</c:v>
                      </c:pt>
                      <c:pt idx="5908">
                        <c:v>11.125</c:v>
                      </c:pt>
                      <c:pt idx="5909">
                        <c:v>11.125</c:v>
                      </c:pt>
                      <c:pt idx="5910">
                        <c:v>11.157999999999999</c:v>
                      </c:pt>
                      <c:pt idx="5911">
                        <c:v>11.157999999999999</c:v>
                      </c:pt>
                      <c:pt idx="5912">
                        <c:v>11.157999999999999</c:v>
                      </c:pt>
                      <c:pt idx="5913">
                        <c:v>11.157999999999999</c:v>
                      </c:pt>
                      <c:pt idx="5914">
                        <c:v>11.157999999999999</c:v>
                      </c:pt>
                      <c:pt idx="5915">
                        <c:v>11.202</c:v>
                      </c:pt>
                      <c:pt idx="5916">
                        <c:v>11.202</c:v>
                      </c:pt>
                      <c:pt idx="5917">
                        <c:v>11.202</c:v>
                      </c:pt>
                      <c:pt idx="5918">
                        <c:v>11.202</c:v>
                      </c:pt>
                      <c:pt idx="5919">
                        <c:v>11.202</c:v>
                      </c:pt>
                      <c:pt idx="5920">
                        <c:v>11.042999999999999</c:v>
                      </c:pt>
                      <c:pt idx="5921">
                        <c:v>11.042999999999999</c:v>
                      </c:pt>
                      <c:pt idx="5922">
                        <c:v>11.042999999999999</c:v>
                      </c:pt>
                      <c:pt idx="5923">
                        <c:v>11.042999999999999</c:v>
                      </c:pt>
                      <c:pt idx="5924">
                        <c:v>11.042999999999999</c:v>
                      </c:pt>
                      <c:pt idx="5925">
                        <c:v>11.292</c:v>
                      </c:pt>
                      <c:pt idx="5926">
                        <c:v>11.292</c:v>
                      </c:pt>
                      <c:pt idx="5927">
                        <c:v>11.292</c:v>
                      </c:pt>
                      <c:pt idx="5928">
                        <c:v>11.292</c:v>
                      </c:pt>
                      <c:pt idx="5929">
                        <c:v>11.292</c:v>
                      </c:pt>
                      <c:pt idx="5930">
                        <c:v>11.227</c:v>
                      </c:pt>
                      <c:pt idx="5931">
                        <c:v>11.227</c:v>
                      </c:pt>
                      <c:pt idx="5932">
                        <c:v>11.227</c:v>
                      </c:pt>
                      <c:pt idx="5933">
                        <c:v>11.227</c:v>
                      </c:pt>
                      <c:pt idx="5934">
                        <c:v>11.227</c:v>
                      </c:pt>
                      <c:pt idx="5935">
                        <c:v>11.247</c:v>
                      </c:pt>
                      <c:pt idx="5936">
                        <c:v>11.247</c:v>
                      </c:pt>
                      <c:pt idx="5937">
                        <c:v>11.247</c:v>
                      </c:pt>
                      <c:pt idx="5938">
                        <c:v>11.247</c:v>
                      </c:pt>
                      <c:pt idx="5939">
                        <c:v>11.247</c:v>
                      </c:pt>
                      <c:pt idx="5940">
                        <c:v>11.351000000000001</c:v>
                      </c:pt>
                      <c:pt idx="5941">
                        <c:v>11.351000000000001</c:v>
                      </c:pt>
                      <c:pt idx="5942">
                        <c:v>11.351000000000001</c:v>
                      </c:pt>
                      <c:pt idx="5943">
                        <c:v>11.351000000000001</c:v>
                      </c:pt>
                      <c:pt idx="5944">
                        <c:v>11.351000000000001</c:v>
                      </c:pt>
                      <c:pt idx="5945">
                        <c:v>11.627000000000001</c:v>
                      </c:pt>
                      <c:pt idx="5946">
                        <c:v>11.627000000000001</c:v>
                      </c:pt>
                      <c:pt idx="5947">
                        <c:v>11.627000000000001</c:v>
                      </c:pt>
                      <c:pt idx="5948">
                        <c:v>11.627000000000001</c:v>
                      </c:pt>
                      <c:pt idx="5949">
                        <c:v>11.627000000000001</c:v>
                      </c:pt>
                      <c:pt idx="5950">
                        <c:v>11.606999999999999</c:v>
                      </c:pt>
                      <c:pt idx="5951">
                        <c:v>11.606999999999999</c:v>
                      </c:pt>
                      <c:pt idx="5952">
                        <c:v>11.606999999999999</c:v>
                      </c:pt>
                      <c:pt idx="5953">
                        <c:v>11.606999999999999</c:v>
                      </c:pt>
                      <c:pt idx="5954">
                        <c:v>11.606999999999999</c:v>
                      </c:pt>
                      <c:pt idx="5955">
                        <c:v>11.782999999999999</c:v>
                      </c:pt>
                      <c:pt idx="5956">
                        <c:v>11.782999999999999</c:v>
                      </c:pt>
                      <c:pt idx="5957">
                        <c:v>11.782999999999999</c:v>
                      </c:pt>
                      <c:pt idx="5958">
                        <c:v>11.782999999999999</c:v>
                      </c:pt>
                      <c:pt idx="5959">
                        <c:v>11.782999999999999</c:v>
                      </c:pt>
                      <c:pt idx="5960">
                        <c:v>11.721</c:v>
                      </c:pt>
                      <c:pt idx="5961">
                        <c:v>11.721</c:v>
                      </c:pt>
                      <c:pt idx="5962">
                        <c:v>11.721</c:v>
                      </c:pt>
                      <c:pt idx="5963">
                        <c:v>11.721</c:v>
                      </c:pt>
                      <c:pt idx="5964">
                        <c:v>11.721</c:v>
                      </c:pt>
                      <c:pt idx="5965">
                        <c:v>12.004</c:v>
                      </c:pt>
                      <c:pt idx="5966">
                        <c:v>12.004</c:v>
                      </c:pt>
                      <c:pt idx="5967">
                        <c:v>12.004</c:v>
                      </c:pt>
                      <c:pt idx="5968">
                        <c:v>12.004</c:v>
                      </c:pt>
                      <c:pt idx="5969">
                        <c:v>12.004</c:v>
                      </c:pt>
                      <c:pt idx="5970">
                        <c:v>11.688000000000001</c:v>
                      </c:pt>
                      <c:pt idx="5971">
                        <c:v>11.688000000000001</c:v>
                      </c:pt>
                      <c:pt idx="5972">
                        <c:v>11.688000000000001</c:v>
                      </c:pt>
                      <c:pt idx="5973">
                        <c:v>11.688000000000001</c:v>
                      </c:pt>
                      <c:pt idx="5974">
                        <c:v>11.688000000000001</c:v>
                      </c:pt>
                      <c:pt idx="5975">
                        <c:v>11.772</c:v>
                      </c:pt>
                      <c:pt idx="5976">
                        <c:v>11.772</c:v>
                      </c:pt>
                      <c:pt idx="5977">
                        <c:v>11.772</c:v>
                      </c:pt>
                      <c:pt idx="5978">
                        <c:v>11.772</c:v>
                      </c:pt>
                      <c:pt idx="5979">
                        <c:v>11.772</c:v>
                      </c:pt>
                      <c:pt idx="5980">
                        <c:v>11.824</c:v>
                      </c:pt>
                      <c:pt idx="5981">
                        <c:v>11.824</c:v>
                      </c:pt>
                      <c:pt idx="5982">
                        <c:v>11.824</c:v>
                      </c:pt>
                      <c:pt idx="5983">
                        <c:v>11.824</c:v>
                      </c:pt>
                      <c:pt idx="5984">
                        <c:v>11.824</c:v>
                      </c:pt>
                      <c:pt idx="5985">
                        <c:v>11.791</c:v>
                      </c:pt>
                      <c:pt idx="5986">
                        <c:v>11.791</c:v>
                      </c:pt>
                      <c:pt idx="5987">
                        <c:v>11.791</c:v>
                      </c:pt>
                      <c:pt idx="5988">
                        <c:v>11.791</c:v>
                      </c:pt>
                      <c:pt idx="5989">
                        <c:v>11.791</c:v>
                      </c:pt>
                      <c:pt idx="5990">
                        <c:v>11.842000000000001</c:v>
                      </c:pt>
                      <c:pt idx="5991">
                        <c:v>11.842000000000001</c:v>
                      </c:pt>
                      <c:pt idx="5992">
                        <c:v>11.842000000000001</c:v>
                      </c:pt>
                      <c:pt idx="5993">
                        <c:v>11.842000000000001</c:v>
                      </c:pt>
                      <c:pt idx="5994">
                        <c:v>11.842000000000001</c:v>
                      </c:pt>
                      <c:pt idx="5995">
                        <c:v>12.010999999999999</c:v>
                      </c:pt>
                      <c:pt idx="5996">
                        <c:v>12.010999999999999</c:v>
                      </c:pt>
                      <c:pt idx="5997">
                        <c:v>12.010999999999999</c:v>
                      </c:pt>
                      <c:pt idx="5998">
                        <c:v>12.010999999999999</c:v>
                      </c:pt>
                      <c:pt idx="5999">
                        <c:v>12.010999999999999</c:v>
                      </c:pt>
                      <c:pt idx="6000">
                        <c:v>11.798999999999999</c:v>
                      </c:pt>
                      <c:pt idx="6001">
                        <c:v>11.798999999999999</c:v>
                      </c:pt>
                      <c:pt idx="6002">
                        <c:v>11.798999999999999</c:v>
                      </c:pt>
                      <c:pt idx="6003">
                        <c:v>11.798999999999999</c:v>
                      </c:pt>
                      <c:pt idx="6004">
                        <c:v>11.798999999999999</c:v>
                      </c:pt>
                      <c:pt idx="6005">
                        <c:v>12.138999999999999</c:v>
                      </c:pt>
                      <c:pt idx="6006">
                        <c:v>12.138999999999999</c:v>
                      </c:pt>
                      <c:pt idx="6007">
                        <c:v>12.138999999999999</c:v>
                      </c:pt>
                      <c:pt idx="6008">
                        <c:v>12.138999999999999</c:v>
                      </c:pt>
                      <c:pt idx="6009">
                        <c:v>12.138999999999999</c:v>
                      </c:pt>
                      <c:pt idx="6010">
                        <c:v>12.186</c:v>
                      </c:pt>
                      <c:pt idx="6011">
                        <c:v>12.186</c:v>
                      </c:pt>
                      <c:pt idx="6012">
                        <c:v>12.186</c:v>
                      </c:pt>
                      <c:pt idx="6013">
                        <c:v>12.186</c:v>
                      </c:pt>
                      <c:pt idx="6014">
                        <c:v>12.186</c:v>
                      </c:pt>
                      <c:pt idx="6015">
                        <c:v>12.509</c:v>
                      </c:pt>
                      <c:pt idx="6016">
                        <c:v>12.509</c:v>
                      </c:pt>
                      <c:pt idx="6017">
                        <c:v>12.509</c:v>
                      </c:pt>
                      <c:pt idx="6018">
                        <c:v>12.509</c:v>
                      </c:pt>
                      <c:pt idx="6019">
                        <c:v>12.509</c:v>
                      </c:pt>
                      <c:pt idx="6020">
                        <c:v>12.148999999999999</c:v>
                      </c:pt>
                      <c:pt idx="6021">
                        <c:v>12.148999999999999</c:v>
                      </c:pt>
                      <c:pt idx="6022">
                        <c:v>12.148999999999999</c:v>
                      </c:pt>
                      <c:pt idx="6023">
                        <c:v>12.148999999999999</c:v>
                      </c:pt>
                      <c:pt idx="6024">
                        <c:v>12.148999999999999</c:v>
                      </c:pt>
                      <c:pt idx="6025">
                        <c:v>12.456</c:v>
                      </c:pt>
                      <c:pt idx="6026">
                        <c:v>12.456</c:v>
                      </c:pt>
                      <c:pt idx="6027">
                        <c:v>12.456</c:v>
                      </c:pt>
                      <c:pt idx="6028">
                        <c:v>12.456</c:v>
                      </c:pt>
                      <c:pt idx="6029">
                        <c:v>12.456</c:v>
                      </c:pt>
                      <c:pt idx="6030">
                        <c:v>12.673999999999999</c:v>
                      </c:pt>
                      <c:pt idx="6031">
                        <c:v>12.673999999999999</c:v>
                      </c:pt>
                      <c:pt idx="6032">
                        <c:v>12.673999999999999</c:v>
                      </c:pt>
                      <c:pt idx="6033">
                        <c:v>12.673999999999999</c:v>
                      </c:pt>
                      <c:pt idx="6034">
                        <c:v>12.673999999999999</c:v>
                      </c:pt>
                      <c:pt idx="6035">
                        <c:v>12.539</c:v>
                      </c:pt>
                      <c:pt idx="6036">
                        <c:v>12.539</c:v>
                      </c:pt>
                      <c:pt idx="6037">
                        <c:v>12.539</c:v>
                      </c:pt>
                      <c:pt idx="6038">
                        <c:v>12.539</c:v>
                      </c:pt>
                      <c:pt idx="6039">
                        <c:v>12.539</c:v>
                      </c:pt>
                      <c:pt idx="6040">
                        <c:v>12.617000000000001</c:v>
                      </c:pt>
                      <c:pt idx="6041">
                        <c:v>12.617000000000001</c:v>
                      </c:pt>
                      <c:pt idx="6042">
                        <c:v>12.617000000000001</c:v>
                      </c:pt>
                      <c:pt idx="6043">
                        <c:v>12.617000000000001</c:v>
                      </c:pt>
                      <c:pt idx="6044">
                        <c:v>12.617000000000001</c:v>
                      </c:pt>
                      <c:pt idx="6045">
                        <c:v>12.707000000000001</c:v>
                      </c:pt>
                      <c:pt idx="6046">
                        <c:v>12.707000000000001</c:v>
                      </c:pt>
                      <c:pt idx="6047">
                        <c:v>12.707000000000001</c:v>
                      </c:pt>
                      <c:pt idx="6048">
                        <c:v>12.707000000000001</c:v>
                      </c:pt>
                      <c:pt idx="6049">
                        <c:v>12.707000000000001</c:v>
                      </c:pt>
                      <c:pt idx="6050">
                        <c:v>12.771000000000001</c:v>
                      </c:pt>
                      <c:pt idx="6051">
                        <c:v>12.771000000000001</c:v>
                      </c:pt>
                      <c:pt idx="6052">
                        <c:v>12.771000000000001</c:v>
                      </c:pt>
                      <c:pt idx="6053">
                        <c:v>12.771000000000001</c:v>
                      </c:pt>
                      <c:pt idx="6054">
                        <c:v>12.771000000000001</c:v>
                      </c:pt>
                      <c:pt idx="6055">
                        <c:v>12.673</c:v>
                      </c:pt>
                      <c:pt idx="6056">
                        <c:v>12.673</c:v>
                      </c:pt>
                      <c:pt idx="6057">
                        <c:v>12.673</c:v>
                      </c:pt>
                      <c:pt idx="6058">
                        <c:v>12.673</c:v>
                      </c:pt>
                      <c:pt idx="6059">
                        <c:v>12.673</c:v>
                      </c:pt>
                      <c:pt idx="6060">
                        <c:v>12.907</c:v>
                      </c:pt>
                      <c:pt idx="6061">
                        <c:v>12.907</c:v>
                      </c:pt>
                      <c:pt idx="6062">
                        <c:v>12.907</c:v>
                      </c:pt>
                      <c:pt idx="6063">
                        <c:v>12.907</c:v>
                      </c:pt>
                      <c:pt idx="6064">
                        <c:v>12.907</c:v>
                      </c:pt>
                      <c:pt idx="6065">
                        <c:v>12.872999999999999</c:v>
                      </c:pt>
                      <c:pt idx="6066">
                        <c:v>12.872999999999999</c:v>
                      </c:pt>
                      <c:pt idx="6067">
                        <c:v>12.872999999999999</c:v>
                      </c:pt>
                      <c:pt idx="6068">
                        <c:v>12.872999999999999</c:v>
                      </c:pt>
                      <c:pt idx="6069">
                        <c:v>12.872999999999999</c:v>
                      </c:pt>
                      <c:pt idx="6070">
                        <c:v>12.914</c:v>
                      </c:pt>
                      <c:pt idx="6071">
                        <c:v>12.914</c:v>
                      </c:pt>
                      <c:pt idx="6072">
                        <c:v>12.914</c:v>
                      </c:pt>
                      <c:pt idx="6073">
                        <c:v>12.914</c:v>
                      </c:pt>
                      <c:pt idx="6074">
                        <c:v>12.914</c:v>
                      </c:pt>
                      <c:pt idx="6075">
                        <c:v>13.212999999999999</c:v>
                      </c:pt>
                      <c:pt idx="6076">
                        <c:v>13.212999999999999</c:v>
                      </c:pt>
                      <c:pt idx="6077">
                        <c:v>13.212999999999999</c:v>
                      </c:pt>
                      <c:pt idx="6078">
                        <c:v>13.212999999999999</c:v>
                      </c:pt>
                      <c:pt idx="6079">
                        <c:v>13.212999999999999</c:v>
                      </c:pt>
                      <c:pt idx="6080">
                        <c:v>13.04</c:v>
                      </c:pt>
                      <c:pt idx="6081">
                        <c:v>13.04</c:v>
                      </c:pt>
                      <c:pt idx="6082">
                        <c:v>13.04</c:v>
                      </c:pt>
                      <c:pt idx="6083">
                        <c:v>13.04</c:v>
                      </c:pt>
                      <c:pt idx="6084">
                        <c:v>13.04</c:v>
                      </c:pt>
                      <c:pt idx="6085">
                        <c:v>13.18</c:v>
                      </c:pt>
                      <c:pt idx="6086">
                        <c:v>13.18</c:v>
                      </c:pt>
                      <c:pt idx="6087">
                        <c:v>13.18</c:v>
                      </c:pt>
                      <c:pt idx="6088">
                        <c:v>13.18</c:v>
                      </c:pt>
                      <c:pt idx="6089">
                        <c:v>13.18</c:v>
                      </c:pt>
                      <c:pt idx="6090">
                        <c:v>13.141999999999999</c:v>
                      </c:pt>
                      <c:pt idx="6091">
                        <c:v>13.141999999999999</c:v>
                      </c:pt>
                      <c:pt idx="6092">
                        <c:v>13.141999999999999</c:v>
                      </c:pt>
                      <c:pt idx="6093">
                        <c:v>13.141999999999999</c:v>
                      </c:pt>
                      <c:pt idx="6094">
                        <c:v>13.141999999999999</c:v>
                      </c:pt>
                      <c:pt idx="6095">
                        <c:v>13.164</c:v>
                      </c:pt>
                      <c:pt idx="6096">
                        <c:v>13.164</c:v>
                      </c:pt>
                      <c:pt idx="6097">
                        <c:v>13.164</c:v>
                      </c:pt>
                      <c:pt idx="6098">
                        <c:v>13.164</c:v>
                      </c:pt>
                      <c:pt idx="6099">
                        <c:v>13.164</c:v>
                      </c:pt>
                      <c:pt idx="6100">
                        <c:v>13.403</c:v>
                      </c:pt>
                      <c:pt idx="6101">
                        <c:v>13.403</c:v>
                      </c:pt>
                      <c:pt idx="6102">
                        <c:v>13.403</c:v>
                      </c:pt>
                      <c:pt idx="6103">
                        <c:v>13.403</c:v>
                      </c:pt>
                      <c:pt idx="6104">
                        <c:v>13.403</c:v>
                      </c:pt>
                      <c:pt idx="6105">
                        <c:v>13.51</c:v>
                      </c:pt>
                      <c:pt idx="6106">
                        <c:v>13.51</c:v>
                      </c:pt>
                      <c:pt idx="6107">
                        <c:v>13.51</c:v>
                      </c:pt>
                      <c:pt idx="6108">
                        <c:v>13.51</c:v>
                      </c:pt>
                      <c:pt idx="6109">
                        <c:v>13.51</c:v>
                      </c:pt>
                      <c:pt idx="6110">
                        <c:v>13.462</c:v>
                      </c:pt>
                      <c:pt idx="6111">
                        <c:v>13.462</c:v>
                      </c:pt>
                      <c:pt idx="6112">
                        <c:v>13.462</c:v>
                      </c:pt>
                      <c:pt idx="6113">
                        <c:v>13.462</c:v>
                      </c:pt>
                      <c:pt idx="6114">
                        <c:v>13.462</c:v>
                      </c:pt>
                      <c:pt idx="6115">
                        <c:v>13.715</c:v>
                      </c:pt>
                      <c:pt idx="6116">
                        <c:v>13.715</c:v>
                      </c:pt>
                      <c:pt idx="6117">
                        <c:v>13.715</c:v>
                      </c:pt>
                      <c:pt idx="6118">
                        <c:v>13.715</c:v>
                      </c:pt>
                      <c:pt idx="6119">
                        <c:v>13.715</c:v>
                      </c:pt>
                      <c:pt idx="6120">
                        <c:v>13.715999999999999</c:v>
                      </c:pt>
                      <c:pt idx="6121">
                        <c:v>13.715999999999999</c:v>
                      </c:pt>
                      <c:pt idx="6122">
                        <c:v>13.715999999999999</c:v>
                      </c:pt>
                      <c:pt idx="6123">
                        <c:v>13.715999999999999</c:v>
                      </c:pt>
                      <c:pt idx="6124">
                        <c:v>13.715999999999999</c:v>
                      </c:pt>
                      <c:pt idx="6125">
                        <c:v>13.78</c:v>
                      </c:pt>
                      <c:pt idx="6126">
                        <c:v>13.78</c:v>
                      </c:pt>
                      <c:pt idx="6127">
                        <c:v>13.78</c:v>
                      </c:pt>
                      <c:pt idx="6128">
                        <c:v>13.78</c:v>
                      </c:pt>
                      <c:pt idx="6129">
                        <c:v>13.78</c:v>
                      </c:pt>
                      <c:pt idx="6130">
                        <c:v>13.736000000000001</c:v>
                      </c:pt>
                      <c:pt idx="6131">
                        <c:v>13.736000000000001</c:v>
                      </c:pt>
                      <c:pt idx="6132">
                        <c:v>13.736000000000001</c:v>
                      </c:pt>
                      <c:pt idx="6133">
                        <c:v>13.736000000000001</c:v>
                      </c:pt>
                      <c:pt idx="6134">
                        <c:v>13.736000000000001</c:v>
                      </c:pt>
                      <c:pt idx="6135">
                        <c:v>13.484999999999999</c:v>
                      </c:pt>
                      <c:pt idx="6136">
                        <c:v>13.484999999999999</c:v>
                      </c:pt>
                      <c:pt idx="6137">
                        <c:v>13.484999999999999</c:v>
                      </c:pt>
                      <c:pt idx="6138">
                        <c:v>13.484999999999999</c:v>
                      </c:pt>
                      <c:pt idx="6139">
                        <c:v>13.484999999999999</c:v>
                      </c:pt>
                      <c:pt idx="6140">
                        <c:v>13.805999999999999</c:v>
                      </c:pt>
                      <c:pt idx="6141">
                        <c:v>13.805999999999999</c:v>
                      </c:pt>
                      <c:pt idx="6142">
                        <c:v>13.805999999999999</c:v>
                      </c:pt>
                      <c:pt idx="6143">
                        <c:v>13.805999999999999</c:v>
                      </c:pt>
                      <c:pt idx="6144">
                        <c:v>13.805999999999999</c:v>
                      </c:pt>
                      <c:pt idx="6145">
                        <c:v>13.911</c:v>
                      </c:pt>
                      <c:pt idx="6146">
                        <c:v>13.911</c:v>
                      </c:pt>
                      <c:pt idx="6147">
                        <c:v>13.911</c:v>
                      </c:pt>
                      <c:pt idx="6148">
                        <c:v>13.911</c:v>
                      </c:pt>
                      <c:pt idx="6149">
                        <c:v>13.911</c:v>
                      </c:pt>
                      <c:pt idx="6150">
                        <c:v>14.108000000000001</c:v>
                      </c:pt>
                      <c:pt idx="6151">
                        <c:v>14.108000000000001</c:v>
                      </c:pt>
                      <c:pt idx="6152">
                        <c:v>14.108000000000001</c:v>
                      </c:pt>
                      <c:pt idx="6153">
                        <c:v>14.108000000000001</c:v>
                      </c:pt>
                      <c:pt idx="6154">
                        <c:v>14.108000000000001</c:v>
                      </c:pt>
                      <c:pt idx="6155">
                        <c:v>13.888999999999999</c:v>
                      </c:pt>
                      <c:pt idx="6156">
                        <c:v>13.888999999999999</c:v>
                      </c:pt>
                      <c:pt idx="6157">
                        <c:v>13.888999999999999</c:v>
                      </c:pt>
                      <c:pt idx="6158">
                        <c:v>13.888999999999999</c:v>
                      </c:pt>
                      <c:pt idx="6159">
                        <c:v>13.888999999999999</c:v>
                      </c:pt>
                      <c:pt idx="6160">
                        <c:v>13.826000000000001</c:v>
                      </c:pt>
                      <c:pt idx="6161">
                        <c:v>13.826000000000001</c:v>
                      </c:pt>
                      <c:pt idx="6162">
                        <c:v>13.826000000000001</c:v>
                      </c:pt>
                      <c:pt idx="6163">
                        <c:v>13.826000000000001</c:v>
                      </c:pt>
                      <c:pt idx="6164">
                        <c:v>13.826000000000001</c:v>
                      </c:pt>
                      <c:pt idx="6165">
                        <c:v>14.333</c:v>
                      </c:pt>
                      <c:pt idx="6166">
                        <c:v>14.333</c:v>
                      </c:pt>
                      <c:pt idx="6167">
                        <c:v>14.333</c:v>
                      </c:pt>
                      <c:pt idx="6168">
                        <c:v>14.333</c:v>
                      </c:pt>
                      <c:pt idx="6169">
                        <c:v>14.333</c:v>
                      </c:pt>
                      <c:pt idx="6170">
                        <c:v>14.183999999999999</c:v>
                      </c:pt>
                      <c:pt idx="6171">
                        <c:v>14.183999999999999</c:v>
                      </c:pt>
                      <c:pt idx="6172">
                        <c:v>14.183999999999999</c:v>
                      </c:pt>
                      <c:pt idx="6173">
                        <c:v>14.183999999999999</c:v>
                      </c:pt>
                      <c:pt idx="6174">
                        <c:v>14.183999999999999</c:v>
                      </c:pt>
                      <c:pt idx="6175">
                        <c:v>14.169</c:v>
                      </c:pt>
                      <c:pt idx="6176">
                        <c:v>14.169</c:v>
                      </c:pt>
                      <c:pt idx="6177">
                        <c:v>14.169</c:v>
                      </c:pt>
                      <c:pt idx="6178">
                        <c:v>14.169</c:v>
                      </c:pt>
                      <c:pt idx="6179">
                        <c:v>14.169</c:v>
                      </c:pt>
                      <c:pt idx="6180">
                        <c:v>14.175000000000001</c:v>
                      </c:pt>
                      <c:pt idx="6181">
                        <c:v>14.175000000000001</c:v>
                      </c:pt>
                      <c:pt idx="6182">
                        <c:v>14.175000000000001</c:v>
                      </c:pt>
                      <c:pt idx="6183">
                        <c:v>14.175000000000001</c:v>
                      </c:pt>
                      <c:pt idx="6184">
                        <c:v>14.175000000000001</c:v>
                      </c:pt>
                      <c:pt idx="6185">
                        <c:v>14.246</c:v>
                      </c:pt>
                      <c:pt idx="6186">
                        <c:v>14.246</c:v>
                      </c:pt>
                      <c:pt idx="6187">
                        <c:v>14.246</c:v>
                      </c:pt>
                      <c:pt idx="6188">
                        <c:v>14.246</c:v>
                      </c:pt>
                      <c:pt idx="6189">
                        <c:v>14.246</c:v>
                      </c:pt>
                      <c:pt idx="6190">
                        <c:v>14.962999999999999</c:v>
                      </c:pt>
                      <c:pt idx="6191">
                        <c:v>14.962999999999999</c:v>
                      </c:pt>
                      <c:pt idx="6192">
                        <c:v>14.962999999999999</c:v>
                      </c:pt>
                      <c:pt idx="6193">
                        <c:v>14.962999999999999</c:v>
                      </c:pt>
                      <c:pt idx="6194">
                        <c:v>14.962999999999999</c:v>
                      </c:pt>
                      <c:pt idx="6195">
                        <c:v>14.351000000000001</c:v>
                      </c:pt>
                      <c:pt idx="6196">
                        <c:v>14.351000000000001</c:v>
                      </c:pt>
                      <c:pt idx="6197">
                        <c:v>14.351000000000001</c:v>
                      </c:pt>
                      <c:pt idx="6198">
                        <c:v>14.351000000000001</c:v>
                      </c:pt>
                      <c:pt idx="6199">
                        <c:v>14.351000000000001</c:v>
                      </c:pt>
                      <c:pt idx="6200">
                        <c:v>15.005000000000001</c:v>
                      </c:pt>
                      <c:pt idx="6201">
                        <c:v>15.005000000000001</c:v>
                      </c:pt>
                      <c:pt idx="6202">
                        <c:v>15.005000000000001</c:v>
                      </c:pt>
                      <c:pt idx="6203">
                        <c:v>15.005000000000001</c:v>
                      </c:pt>
                      <c:pt idx="6204">
                        <c:v>15.005000000000001</c:v>
                      </c:pt>
                      <c:pt idx="6205">
                        <c:v>14.23</c:v>
                      </c:pt>
                      <c:pt idx="6206">
                        <c:v>14.23</c:v>
                      </c:pt>
                      <c:pt idx="6207">
                        <c:v>14.23</c:v>
                      </c:pt>
                      <c:pt idx="6208">
                        <c:v>14.23</c:v>
                      </c:pt>
                      <c:pt idx="6209">
                        <c:v>14.23</c:v>
                      </c:pt>
                      <c:pt idx="6210">
                        <c:v>14.204000000000001</c:v>
                      </c:pt>
                      <c:pt idx="6211">
                        <c:v>14.204000000000001</c:v>
                      </c:pt>
                      <c:pt idx="6212">
                        <c:v>14.204000000000001</c:v>
                      </c:pt>
                      <c:pt idx="6213">
                        <c:v>14.204000000000001</c:v>
                      </c:pt>
                      <c:pt idx="6214">
                        <c:v>14.204000000000001</c:v>
                      </c:pt>
                      <c:pt idx="6215">
                        <c:v>14.744999999999999</c:v>
                      </c:pt>
                      <c:pt idx="6216">
                        <c:v>14.744999999999999</c:v>
                      </c:pt>
                      <c:pt idx="6217">
                        <c:v>14.744999999999999</c:v>
                      </c:pt>
                      <c:pt idx="6218">
                        <c:v>14.744999999999999</c:v>
                      </c:pt>
                      <c:pt idx="6219">
                        <c:v>14.744999999999999</c:v>
                      </c:pt>
                      <c:pt idx="6220">
                        <c:v>14.483000000000001</c:v>
                      </c:pt>
                      <c:pt idx="6221">
                        <c:v>14.483000000000001</c:v>
                      </c:pt>
                      <c:pt idx="6222">
                        <c:v>14.483000000000001</c:v>
                      </c:pt>
                      <c:pt idx="6223">
                        <c:v>14.483000000000001</c:v>
                      </c:pt>
                      <c:pt idx="6224">
                        <c:v>14.483000000000001</c:v>
                      </c:pt>
                      <c:pt idx="6225">
                        <c:v>14.125999999999999</c:v>
                      </c:pt>
                      <c:pt idx="6226">
                        <c:v>14.125999999999999</c:v>
                      </c:pt>
                      <c:pt idx="6227">
                        <c:v>14.125999999999999</c:v>
                      </c:pt>
                      <c:pt idx="6228">
                        <c:v>14.125999999999999</c:v>
                      </c:pt>
                      <c:pt idx="6229">
                        <c:v>14.125999999999999</c:v>
                      </c:pt>
                      <c:pt idx="6230">
                        <c:v>15.414</c:v>
                      </c:pt>
                      <c:pt idx="6231">
                        <c:v>15.414</c:v>
                      </c:pt>
                      <c:pt idx="6232">
                        <c:v>15.414</c:v>
                      </c:pt>
                      <c:pt idx="6233">
                        <c:v>15.414</c:v>
                      </c:pt>
                      <c:pt idx="6234">
                        <c:v>15.414</c:v>
                      </c:pt>
                      <c:pt idx="6235">
                        <c:v>15.250999999999999</c:v>
                      </c:pt>
                      <c:pt idx="6236">
                        <c:v>15.250999999999999</c:v>
                      </c:pt>
                      <c:pt idx="6237">
                        <c:v>15.250999999999999</c:v>
                      </c:pt>
                      <c:pt idx="6238">
                        <c:v>15.250999999999999</c:v>
                      </c:pt>
                      <c:pt idx="6239">
                        <c:v>15.250999999999999</c:v>
                      </c:pt>
                      <c:pt idx="6240">
                        <c:v>15.635</c:v>
                      </c:pt>
                      <c:pt idx="6241">
                        <c:v>15.635</c:v>
                      </c:pt>
                      <c:pt idx="6242">
                        <c:v>15.635</c:v>
                      </c:pt>
                      <c:pt idx="6243">
                        <c:v>15.635</c:v>
                      </c:pt>
                      <c:pt idx="6244">
                        <c:v>15.635</c:v>
                      </c:pt>
                      <c:pt idx="6245">
                        <c:v>14.476000000000001</c:v>
                      </c:pt>
                      <c:pt idx="6246">
                        <c:v>14.476000000000001</c:v>
                      </c:pt>
                      <c:pt idx="6247">
                        <c:v>14.476000000000001</c:v>
                      </c:pt>
                      <c:pt idx="6248">
                        <c:v>14.476000000000001</c:v>
                      </c:pt>
                      <c:pt idx="6249">
                        <c:v>14.476000000000001</c:v>
                      </c:pt>
                      <c:pt idx="6250">
                        <c:v>15.347</c:v>
                      </c:pt>
                      <c:pt idx="6251">
                        <c:v>15.347</c:v>
                      </c:pt>
                      <c:pt idx="6252">
                        <c:v>15.347</c:v>
                      </c:pt>
                      <c:pt idx="6253">
                        <c:v>15.347</c:v>
                      </c:pt>
                      <c:pt idx="6254">
                        <c:v>15.347</c:v>
                      </c:pt>
                      <c:pt idx="6255">
                        <c:v>15.164</c:v>
                      </c:pt>
                      <c:pt idx="6256">
                        <c:v>15.164</c:v>
                      </c:pt>
                      <c:pt idx="6257">
                        <c:v>15.164</c:v>
                      </c:pt>
                      <c:pt idx="6258">
                        <c:v>15.164</c:v>
                      </c:pt>
                      <c:pt idx="6259">
                        <c:v>15.164</c:v>
                      </c:pt>
                      <c:pt idx="6260">
                        <c:v>15.327999999999999</c:v>
                      </c:pt>
                      <c:pt idx="6261">
                        <c:v>15.327999999999999</c:v>
                      </c:pt>
                      <c:pt idx="6262">
                        <c:v>15.327999999999999</c:v>
                      </c:pt>
                      <c:pt idx="6263">
                        <c:v>15.327999999999999</c:v>
                      </c:pt>
                      <c:pt idx="6264">
                        <c:v>15.327999999999999</c:v>
                      </c:pt>
                      <c:pt idx="6265">
                        <c:v>15.29</c:v>
                      </c:pt>
                      <c:pt idx="6266">
                        <c:v>15.29</c:v>
                      </c:pt>
                      <c:pt idx="6267">
                        <c:v>15.29</c:v>
                      </c:pt>
                      <c:pt idx="6268">
                        <c:v>15.29</c:v>
                      </c:pt>
                      <c:pt idx="6269">
                        <c:v>15.29</c:v>
                      </c:pt>
                      <c:pt idx="6270">
                        <c:v>14.815</c:v>
                      </c:pt>
                      <c:pt idx="6271">
                        <c:v>14.815</c:v>
                      </c:pt>
                      <c:pt idx="6272">
                        <c:v>14.815</c:v>
                      </c:pt>
                      <c:pt idx="6273">
                        <c:v>14.815</c:v>
                      </c:pt>
                      <c:pt idx="6274">
                        <c:v>14.815</c:v>
                      </c:pt>
                      <c:pt idx="6275">
                        <c:v>15.244</c:v>
                      </c:pt>
                      <c:pt idx="6276">
                        <c:v>15.244</c:v>
                      </c:pt>
                      <c:pt idx="6277">
                        <c:v>15.244</c:v>
                      </c:pt>
                      <c:pt idx="6278">
                        <c:v>15.244</c:v>
                      </c:pt>
                      <c:pt idx="6279">
                        <c:v>15.244</c:v>
                      </c:pt>
                      <c:pt idx="6280">
                        <c:v>15.272</c:v>
                      </c:pt>
                      <c:pt idx="6281">
                        <c:v>15.272</c:v>
                      </c:pt>
                      <c:pt idx="6282">
                        <c:v>15.272</c:v>
                      </c:pt>
                      <c:pt idx="6283">
                        <c:v>15.272</c:v>
                      </c:pt>
                      <c:pt idx="6284">
                        <c:v>15.272</c:v>
                      </c:pt>
                      <c:pt idx="6285">
                        <c:v>15.288</c:v>
                      </c:pt>
                      <c:pt idx="6286">
                        <c:v>15.288</c:v>
                      </c:pt>
                      <c:pt idx="6287">
                        <c:v>15.288</c:v>
                      </c:pt>
                      <c:pt idx="6288">
                        <c:v>15.288</c:v>
                      </c:pt>
                      <c:pt idx="6289">
                        <c:v>15.288</c:v>
                      </c:pt>
                      <c:pt idx="6290">
                        <c:v>15.144</c:v>
                      </c:pt>
                      <c:pt idx="6291">
                        <c:v>15.144</c:v>
                      </c:pt>
                      <c:pt idx="6292">
                        <c:v>15.144</c:v>
                      </c:pt>
                      <c:pt idx="6293">
                        <c:v>15.144</c:v>
                      </c:pt>
                      <c:pt idx="6294">
                        <c:v>15.144</c:v>
                      </c:pt>
                      <c:pt idx="6295">
                        <c:v>15.151999999999999</c:v>
                      </c:pt>
                      <c:pt idx="6296">
                        <c:v>15.151999999999999</c:v>
                      </c:pt>
                      <c:pt idx="6297">
                        <c:v>15.151999999999999</c:v>
                      </c:pt>
                      <c:pt idx="6298">
                        <c:v>15.151999999999999</c:v>
                      </c:pt>
                      <c:pt idx="6299">
                        <c:v>15.151999999999999</c:v>
                      </c:pt>
                      <c:pt idx="6300">
                        <c:v>15.097</c:v>
                      </c:pt>
                      <c:pt idx="6301">
                        <c:v>15.097</c:v>
                      </c:pt>
                      <c:pt idx="6302">
                        <c:v>15.097</c:v>
                      </c:pt>
                      <c:pt idx="6303">
                        <c:v>15.097</c:v>
                      </c:pt>
                      <c:pt idx="6304">
                        <c:v>15.097</c:v>
                      </c:pt>
                      <c:pt idx="6305">
                        <c:v>15.215</c:v>
                      </c:pt>
                      <c:pt idx="6306">
                        <c:v>15.215</c:v>
                      </c:pt>
                      <c:pt idx="6307">
                        <c:v>15.215</c:v>
                      </c:pt>
                      <c:pt idx="6308">
                        <c:v>15.215</c:v>
                      </c:pt>
                      <c:pt idx="6309">
                        <c:v>15.215</c:v>
                      </c:pt>
                      <c:pt idx="6310">
                        <c:v>15.260999999999999</c:v>
                      </c:pt>
                      <c:pt idx="6311">
                        <c:v>15.260999999999999</c:v>
                      </c:pt>
                      <c:pt idx="6312">
                        <c:v>15.260999999999999</c:v>
                      </c:pt>
                      <c:pt idx="6313">
                        <c:v>15.260999999999999</c:v>
                      </c:pt>
                      <c:pt idx="6314">
                        <c:v>15.260999999999999</c:v>
                      </c:pt>
                      <c:pt idx="6315">
                        <c:v>15.058999999999999</c:v>
                      </c:pt>
                      <c:pt idx="6316">
                        <c:v>15.058999999999999</c:v>
                      </c:pt>
                      <c:pt idx="6317">
                        <c:v>15.058999999999999</c:v>
                      </c:pt>
                      <c:pt idx="6318">
                        <c:v>15.058999999999999</c:v>
                      </c:pt>
                      <c:pt idx="6319">
                        <c:v>15.058999999999999</c:v>
                      </c:pt>
                      <c:pt idx="6320">
                        <c:v>15.076000000000001</c:v>
                      </c:pt>
                      <c:pt idx="6321">
                        <c:v>15.076000000000001</c:v>
                      </c:pt>
                      <c:pt idx="6322">
                        <c:v>15.076000000000001</c:v>
                      </c:pt>
                      <c:pt idx="6323">
                        <c:v>15.076000000000001</c:v>
                      </c:pt>
                      <c:pt idx="6324">
                        <c:v>15.076000000000001</c:v>
                      </c:pt>
                      <c:pt idx="6325">
                        <c:v>15.113</c:v>
                      </c:pt>
                      <c:pt idx="6326">
                        <c:v>15.113</c:v>
                      </c:pt>
                      <c:pt idx="6327">
                        <c:v>15.113</c:v>
                      </c:pt>
                      <c:pt idx="6328">
                        <c:v>15.113</c:v>
                      </c:pt>
                      <c:pt idx="6329">
                        <c:v>15.113</c:v>
                      </c:pt>
                      <c:pt idx="6330">
                        <c:v>15.234999999999999</c:v>
                      </c:pt>
                      <c:pt idx="6331">
                        <c:v>15.234999999999999</c:v>
                      </c:pt>
                      <c:pt idx="6332">
                        <c:v>15.234999999999999</c:v>
                      </c:pt>
                      <c:pt idx="6333">
                        <c:v>15.234999999999999</c:v>
                      </c:pt>
                      <c:pt idx="6334">
                        <c:v>15.234999999999999</c:v>
                      </c:pt>
                      <c:pt idx="6335">
                        <c:v>15.3</c:v>
                      </c:pt>
                      <c:pt idx="6336">
                        <c:v>15.3</c:v>
                      </c:pt>
                      <c:pt idx="6337">
                        <c:v>15.3</c:v>
                      </c:pt>
                      <c:pt idx="6338">
                        <c:v>15.3</c:v>
                      </c:pt>
                      <c:pt idx="6339">
                        <c:v>15.3</c:v>
                      </c:pt>
                      <c:pt idx="6340">
                        <c:v>15.273999999999999</c:v>
                      </c:pt>
                      <c:pt idx="6341">
                        <c:v>15.273999999999999</c:v>
                      </c:pt>
                      <c:pt idx="6342">
                        <c:v>15.273999999999999</c:v>
                      </c:pt>
                      <c:pt idx="6343">
                        <c:v>15.273999999999999</c:v>
                      </c:pt>
                      <c:pt idx="6344">
                        <c:v>15.273999999999999</c:v>
                      </c:pt>
                      <c:pt idx="6345">
                        <c:v>15.098000000000001</c:v>
                      </c:pt>
                      <c:pt idx="6346">
                        <c:v>15.098000000000001</c:v>
                      </c:pt>
                      <c:pt idx="6347">
                        <c:v>15.098000000000001</c:v>
                      </c:pt>
                      <c:pt idx="6348">
                        <c:v>15.098000000000001</c:v>
                      </c:pt>
                      <c:pt idx="6349">
                        <c:v>15.098000000000001</c:v>
                      </c:pt>
                      <c:pt idx="6350">
                        <c:v>15.321999999999999</c:v>
                      </c:pt>
                      <c:pt idx="6351">
                        <c:v>15.321999999999999</c:v>
                      </c:pt>
                      <c:pt idx="6352">
                        <c:v>15.321999999999999</c:v>
                      </c:pt>
                      <c:pt idx="6353">
                        <c:v>15.321999999999999</c:v>
                      </c:pt>
                      <c:pt idx="6354">
                        <c:v>15.321999999999999</c:v>
                      </c:pt>
                      <c:pt idx="6355">
                        <c:v>15.332000000000001</c:v>
                      </c:pt>
                      <c:pt idx="6356">
                        <c:v>15.332000000000001</c:v>
                      </c:pt>
                      <c:pt idx="6357">
                        <c:v>15.332000000000001</c:v>
                      </c:pt>
                      <c:pt idx="6358">
                        <c:v>15.332000000000001</c:v>
                      </c:pt>
                      <c:pt idx="6359">
                        <c:v>15.332000000000001</c:v>
                      </c:pt>
                      <c:pt idx="6360">
                        <c:v>14.837999999999999</c:v>
                      </c:pt>
                      <c:pt idx="6361">
                        <c:v>14.837999999999999</c:v>
                      </c:pt>
                      <c:pt idx="6362">
                        <c:v>14.837999999999999</c:v>
                      </c:pt>
                      <c:pt idx="6363">
                        <c:v>14.837999999999999</c:v>
                      </c:pt>
                      <c:pt idx="6364">
                        <c:v>14.837999999999999</c:v>
                      </c:pt>
                      <c:pt idx="6365">
                        <c:v>15.106999999999999</c:v>
                      </c:pt>
                      <c:pt idx="6366">
                        <c:v>15.106999999999999</c:v>
                      </c:pt>
                      <c:pt idx="6367">
                        <c:v>15.106999999999999</c:v>
                      </c:pt>
                      <c:pt idx="6368">
                        <c:v>15.106999999999999</c:v>
                      </c:pt>
                      <c:pt idx="6369">
                        <c:v>15.106999999999999</c:v>
                      </c:pt>
                      <c:pt idx="6370">
                        <c:v>14.938000000000001</c:v>
                      </c:pt>
                      <c:pt idx="6371">
                        <c:v>14.938000000000001</c:v>
                      </c:pt>
                      <c:pt idx="6372">
                        <c:v>14.938000000000001</c:v>
                      </c:pt>
                      <c:pt idx="6373">
                        <c:v>14.938000000000001</c:v>
                      </c:pt>
                      <c:pt idx="6374">
                        <c:v>14.938000000000001</c:v>
                      </c:pt>
                      <c:pt idx="6375">
                        <c:v>14.852</c:v>
                      </c:pt>
                      <c:pt idx="6376">
                        <c:v>14.852</c:v>
                      </c:pt>
                      <c:pt idx="6377">
                        <c:v>14.852</c:v>
                      </c:pt>
                      <c:pt idx="6378">
                        <c:v>14.852</c:v>
                      </c:pt>
                      <c:pt idx="6379">
                        <c:v>14.852</c:v>
                      </c:pt>
                      <c:pt idx="6380">
                        <c:v>14.914999999999999</c:v>
                      </c:pt>
                      <c:pt idx="6381">
                        <c:v>14.914999999999999</c:v>
                      </c:pt>
                      <c:pt idx="6382">
                        <c:v>14.914999999999999</c:v>
                      </c:pt>
                      <c:pt idx="6383">
                        <c:v>14.914999999999999</c:v>
                      </c:pt>
                      <c:pt idx="6384">
                        <c:v>14.914999999999999</c:v>
                      </c:pt>
                      <c:pt idx="6385">
                        <c:v>14.952999999999999</c:v>
                      </c:pt>
                      <c:pt idx="6386">
                        <c:v>14.952999999999999</c:v>
                      </c:pt>
                      <c:pt idx="6387">
                        <c:v>14.952999999999999</c:v>
                      </c:pt>
                      <c:pt idx="6388">
                        <c:v>14.952999999999999</c:v>
                      </c:pt>
                      <c:pt idx="6389">
                        <c:v>14.952999999999999</c:v>
                      </c:pt>
                      <c:pt idx="6390">
                        <c:v>15.156000000000001</c:v>
                      </c:pt>
                      <c:pt idx="6391">
                        <c:v>15.156000000000001</c:v>
                      </c:pt>
                      <c:pt idx="6392">
                        <c:v>15.156000000000001</c:v>
                      </c:pt>
                      <c:pt idx="6393">
                        <c:v>15.156000000000001</c:v>
                      </c:pt>
                      <c:pt idx="6394">
                        <c:v>15.156000000000001</c:v>
                      </c:pt>
                      <c:pt idx="6395">
                        <c:v>14.994999999999999</c:v>
                      </c:pt>
                      <c:pt idx="6396">
                        <c:v>14.994999999999999</c:v>
                      </c:pt>
                      <c:pt idx="6397">
                        <c:v>14.994999999999999</c:v>
                      </c:pt>
                      <c:pt idx="6398">
                        <c:v>14.994999999999999</c:v>
                      </c:pt>
                      <c:pt idx="6399">
                        <c:v>14.994999999999999</c:v>
                      </c:pt>
                      <c:pt idx="6400">
                        <c:v>15.417</c:v>
                      </c:pt>
                      <c:pt idx="6401">
                        <c:v>15.417</c:v>
                      </c:pt>
                      <c:pt idx="6402">
                        <c:v>15.417</c:v>
                      </c:pt>
                      <c:pt idx="6403">
                        <c:v>15.417</c:v>
                      </c:pt>
                      <c:pt idx="6404">
                        <c:v>15.417</c:v>
                      </c:pt>
                      <c:pt idx="6405">
                        <c:v>15.045</c:v>
                      </c:pt>
                      <c:pt idx="6406">
                        <c:v>15.045</c:v>
                      </c:pt>
                      <c:pt idx="6407">
                        <c:v>15.045</c:v>
                      </c:pt>
                      <c:pt idx="6408">
                        <c:v>15.045</c:v>
                      </c:pt>
                      <c:pt idx="6409">
                        <c:v>15.045</c:v>
                      </c:pt>
                      <c:pt idx="6410">
                        <c:v>15.617000000000001</c:v>
                      </c:pt>
                      <c:pt idx="6411">
                        <c:v>15.617000000000001</c:v>
                      </c:pt>
                      <c:pt idx="6412">
                        <c:v>15.617000000000001</c:v>
                      </c:pt>
                      <c:pt idx="6413">
                        <c:v>15.617000000000001</c:v>
                      </c:pt>
                      <c:pt idx="6414">
                        <c:v>15.617000000000001</c:v>
                      </c:pt>
                      <c:pt idx="6415">
                        <c:v>14.95</c:v>
                      </c:pt>
                      <c:pt idx="6416">
                        <c:v>14.95</c:v>
                      </c:pt>
                      <c:pt idx="6417">
                        <c:v>14.95</c:v>
                      </c:pt>
                      <c:pt idx="6418">
                        <c:v>14.95</c:v>
                      </c:pt>
                      <c:pt idx="6419">
                        <c:v>14.95</c:v>
                      </c:pt>
                      <c:pt idx="6420">
                        <c:v>15.135</c:v>
                      </c:pt>
                      <c:pt idx="6421">
                        <c:v>15.135</c:v>
                      </c:pt>
                      <c:pt idx="6422">
                        <c:v>15.135</c:v>
                      </c:pt>
                      <c:pt idx="6423">
                        <c:v>15.135</c:v>
                      </c:pt>
                      <c:pt idx="6424">
                        <c:v>15.135</c:v>
                      </c:pt>
                      <c:pt idx="6425">
                        <c:v>14.83</c:v>
                      </c:pt>
                      <c:pt idx="6426">
                        <c:v>14.83</c:v>
                      </c:pt>
                      <c:pt idx="6427">
                        <c:v>14.83</c:v>
                      </c:pt>
                      <c:pt idx="6428">
                        <c:v>14.83</c:v>
                      </c:pt>
                      <c:pt idx="6429">
                        <c:v>14.83</c:v>
                      </c:pt>
                      <c:pt idx="6430">
                        <c:v>14.929</c:v>
                      </c:pt>
                      <c:pt idx="6431">
                        <c:v>14.929</c:v>
                      </c:pt>
                      <c:pt idx="6432">
                        <c:v>14.929</c:v>
                      </c:pt>
                      <c:pt idx="6433">
                        <c:v>14.929</c:v>
                      </c:pt>
                      <c:pt idx="6434">
                        <c:v>14.929</c:v>
                      </c:pt>
                      <c:pt idx="6435">
                        <c:v>15.081</c:v>
                      </c:pt>
                      <c:pt idx="6436">
                        <c:v>15.081</c:v>
                      </c:pt>
                      <c:pt idx="6437">
                        <c:v>15.081</c:v>
                      </c:pt>
                      <c:pt idx="6438">
                        <c:v>15.081</c:v>
                      </c:pt>
                      <c:pt idx="6439">
                        <c:v>15.081</c:v>
                      </c:pt>
                      <c:pt idx="6440">
                        <c:v>14.9</c:v>
                      </c:pt>
                      <c:pt idx="6441">
                        <c:v>14.9</c:v>
                      </c:pt>
                      <c:pt idx="6442">
                        <c:v>14.9</c:v>
                      </c:pt>
                      <c:pt idx="6443">
                        <c:v>14.9</c:v>
                      </c:pt>
                      <c:pt idx="6444">
                        <c:v>14.9</c:v>
                      </c:pt>
                      <c:pt idx="6445">
                        <c:v>15.432</c:v>
                      </c:pt>
                      <c:pt idx="6446">
                        <c:v>15.432</c:v>
                      </c:pt>
                      <c:pt idx="6447">
                        <c:v>15.432</c:v>
                      </c:pt>
                      <c:pt idx="6448">
                        <c:v>15.432</c:v>
                      </c:pt>
                      <c:pt idx="6449">
                        <c:v>15.432</c:v>
                      </c:pt>
                      <c:pt idx="6450">
                        <c:v>14.939</c:v>
                      </c:pt>
                      <c:pt idx="6451">
                        <c:v>14.939</c:v>
                      </c:pt>
                      <c:pt idx="6452">
                        <c:v>14.939</c:v>
                      </c:pt>
                      <c:pt idx="6453">
                        <c:v>14.939</c:v>
                      </c:pt>
                      <c:pt idx="6454">
                        <c:v>14.939</c:v>
                      </c:pt>
                      <c:pt idx="6455">
                        <c:v>15.263</c:v>
                      </c:pt>
                      <c:pt idx="6456">
                        <c:v>15.263</c:v>
                      </c:pt>
                      <c:pt idx="6457">
                        <c:v>15.263</c:v>
                      </c:pt>
                      <c:pt idx="6458">
                        <c:v>15.263</c:v>
                      </c:pt>
                      <c:pt idx="6459">
                        <c:v>15.263</c:v>
                      </c:pt>
                      <c:pt idx="6460">
                        <c:v>15.13</c:v>
                      </c:pt>
                      <c:pt idx="6461">
                        <c:v>15.13</c:v>
                      </c:pt>
                      <c:pt idx="6462">
                        <c:v>15.13</c:v>
                      </c:pt>
                      <c:pt idx="6463">
                        <c:v>15.13</c:v>
                      </c:pt>
                      <c:pt idx="6464">
                        <c:v>15.13</c:v>
                      </c:pt>
                      <c:pt idx="6465">
                        <c:v>15.159000000000001</c:v>
                      </c:pt>
                      <c:pt idx="6466">
                        <c:v>15.159000000000001</c:v>
                      </c:pt>
                      <c:pt idx="6467">
                        <c:v>15.159000000000001</c:v>
                      </c:pt>
                      <c:pt idx="6468">
                        <c:v>15.159000000000001</c:v>
                      </c:pt>
                      <c:pt idx="6469">
                        <c:v>15.159000000000001</c:v>
                      </c:pt>
                      <c:pt idx="6470">
                        <c:v>15.332000000000001</c:v>
                      </c:pt>
                      <c:pt idx="6471">
                        <c:v>15.332000000000001</c:v>
                      </c:pt>
                      <c:pt idx="6472">
                        <c:v>15.332000000000001</c:v>
                      </c:pt>
                      <c:pt idx="6473">
                        <c:v>15.332000000000001</c:v>
                      </c:pt>
                      <c:pt idx="6474">
                        <c:v>15.332000000000001</c:v>
                      </c:pt>
                      <c:pt idx="6475">
                        <c:v>15.247</c:v>
                      </c:pt>
                      <c:pt idx="6476">
                        <c:v>15.247</c:v>
                      </c:pt>
                      <c:pt idx="6477">
                        <c:v>15.247</c:v>
                      </c:pt>
                      <c:pt idx="6478">
                        <c:v>15.247</c:v>
                      </c:pt>
                      <c:pt idx="6479">
                        <c:v>15.247</c:v>
                      </c:pt>
                      <c:pt idx="6480">
                        <c:v>15.394</c:v>
                      </c:pt>
                      <c:pt idx="6481">
                        <c:v>15.394</c:v>
                      </c:pt>
                      <c:pt idx="6482">
                        <c:v>15.394</c:v>
                      </c:pt>
                      <c:pt idx="6483">
                        <c:v>15.394</c:v>
                      </c:pt>
                      <c:pt idx="6484">
                        <c:v>15.394</c:v>
                      </c:pt>
                      <c:pt idx="6485">
                        <c:v>15.214</c:v>
                      </c:pt>
                      <c:pt idx="6486">
                        <c:v>15.214</c:v>
                      </c:pt>
                      <c:pt idx="6487">
                        <c:v>15.214</c:v>
                      </c:pt>
                      <c:pt idx="6488">
                        <c:v>15.214</c:v>
                      </c:pt>
                      <c:pt idx="6489">
                        <c:v>15.214</c:v>
                      </c:pt>
                      <c:pt idx="6490">
                        <c:v>15.214</c:v>
                      </c:pt>
                      <c:pt idx="6491">
                        <c:v>15.214</c:v>
                      </c:pt>
                      <c:pt idx="6492">
                        <c:v>15.214</c:v>
                      </c:pt>
                      <c:pt idx="6493">
                        <c:v>15.214</c:v>
                      </c:pt>
                      <c:pt idx="6494">
                        <c:v>15.214</c:v>
                      </c:pt>
                      <c:pt idx="6495">
                        <c:v>15.163</c:v>
                      </c:pt>
                      <c:pt idx="6496">
                        <c:v>15.163</c:v>
                      </c:pt>
                      <c:pt idx="6497">
                        <c:v>15.163</c:v>
                      </c:pt>
                      <c:pt idx="6498">
                        <c:v>15.163</c:v>
                      </c:pt>
                      <c:pt idx="6499">
                        <c:v>15.163</c:v>
                      </c:pt>
                      <c:pt idx="6500">
                        <c:v>15.272</c:v>
                      </c:pt>
                      <c:pt idx="6501">
                        <c:v>15.272</c:v>
                      </c:pt>
                      <c:pt idx="6502">
                        <c:v>15.272</c:v>
                      </c:pt>
                      <c:pt idx="6503">
                        <c:v>15.272</c:v>
                      </c:pt>
                      <c:pt idx="6504">
                        <c:v>15.272</c:v>
                      </c:pt>
                      <c:pt idx="6505">
                        <c:v>15.265000000000001</c:v>
                      </c:pt>
                      <c:pt idx="6506">
                        <c:v>15.265000000000001</c:v>
                      </c:pt>
                      <c:pt idx="6507">
                        <c:v>15.265000000000001</c:v>
                      </c:pt>
                      <c:pt idx="6508">
                        <c:v>15.265000000000001</c:v>
                      </c:pt>
                      <c:pt idx="6509">
                        <c:v>15.265000000000001</c:v>
                      </c:pt>
                      <c:pt idx="6510">
                        <c:v>15.343999999999999</c:v>
                      </c:pt>
                      <c:pt idx="6511">
                        <c:v>15.343999999999999</c:v>
                      </c:pt>
                      <c:pt idx="6512">
                        <c:v>15.343999999999999</c:v>
                      </c:pt>
                      <c:pt idx="6513">
                        <c:v>15.343999999999999</c:v>
                      </c:pt>
                      <c:pt idx="6514">
                        <c:v>15.343999999999999</c:v>
                      </c:pt>
                      <c:pt idx="6515">
                        <c:v>15.19</c:v>
                      </c:pt>
                      <c:pt idx="6516">
                        <c:v>15.19</c:v>
                      </c:pt>
                      <c:pt idx="6517">
                        <c:v>15.19</c:v>
                      </c:pt>
                      <c:pt idx="6518">
                        <c:v>15.19</c:v>
                      </c:pt>
                      <c:pt idx="6519">
                        <c:v>15.19</c:v>
                      </c:pt>
                      <c:pt idx="6520">
                        <c:v>15.343999999999999</c:v>
                      </c:pt>
                      <c:pt idx="6521">
                        <c:v>15.343999999999999</c:v>
                      </c:pt>
                      <c:pt idx="6522">
                        <c:v>15.343999999999999</c:v>
                      </c:pt>
                      <c:pt idx="6523">
                        <c:v>15.343999999999999</c:v>
                      </c:pt>
                      <c:pt idx="6524">
                        <c:v>15.343999999999999</c:v>
                      </c:pt>
                      <c:pt idx="6525">
                        <c:v>15.366</c:v>
                      </c:pt>
                      <c:pt idx="6526">
                        <c:v>15.366</c:v>
                      </c:pt>
                      <c:pt idx="6527">
                        <c:v>15.366</c:v>
                      </c:pt>
                      <c:pt idx="6528">
                        <c:v>15.366</c:v>
                      </c:pt>
                      <c:pt idx="6529">
                        <c:v>15.366</c:v>
                      </c:pt>
                      <c:pt idx="6530">
                        <c:v>15.539</c:v>
                      </c:pt>
                      <c:pt idx="6531">
                        <c:v>15.539</c:v>
                      </c:pt>
                      <c:pt idx="6532">
                        <c:v>15.539</c:v>
                      </c:pt>
                      <c:pt idx="6533">
                        <c:v>15.539</c:v>
                      </c:pt>
                      <c:pt idx="6534">
                        <c:v>15.539</c:v>
                      </c:pt>
                      <c:pt idx="6535">
                        <c:v>15.641</c:v>
                      </c:pt>
                      <c:pt idx="6536">
                        <c:v>15.641</c:v>
                      </c:pt>
                      <c:pt idx="6537">
                        <c:v>15.641</c:v>
                      </c:pt>
                      <c:pt idx="6538">
                        <c:v>15.641</c:v>
                      </c:pt>
                      <c:pt idx="6539">
                        <c:v>15.641</c:v>
                      </c:pt>
                      <c:pt idx="6540">
                        <c:v>15.58</c:v>
                      </c:pt>
                      <c:pt idx="6541">
                        <c:v>15.58</c:v>
                      </c:pt>
                      <c:pt idx="6542">
                        <c:v>15.58</c:v>
                      </c:pt>
                      <c:pt idx="6543">
                        <c:v>15.58</c:v>
                      </c:pt>
                      <c:pt idx="6544">
                        <c:v>15.58</c:v>
                      </c:pt>
                      <c:pt idx="6545">
                        <c:v>15.702</c:v>
                      </c:pt>
                      <c:pt idx="6546">
                        <c:v>15.702</c:v>
                      </c:pt>
                      <c:pt idx="6547">
                        <c:v>15.702</c:v>
                      </c:pt>
                      <c:pt idx="6548">
                        <c:v>15.702</c:v>
                      </c:pt>
                      <c:pt idx="6549">
                        <c:v>15.702</c:v>
                      </c:pt>
                      <c:pt idx="6550">
                        <c:v>15.662000000000001</c:v>
                      </c:pt>
                      <c:pt idx="6551">
                        <c:v>15.662000000000001</c:v>
                      </c:pt>
                      <c:pt idx="6552">
                        <c:v>15.662000000000001</c:v>
                      </c:pt>
                      <c:pt idx="6553">
                        <c:v>15.662000000000001</c:v>
                      </c:pt>
                      <c:pt idx="6554">
                        <c:v>15.662000000000001</c:v>
                      </c:pt>
                      <c:pt idx="6555">
                        <c:v>15.138999999999999</c:v>
                      </c:pt>
                      <c:pt idx="6556">
                        <c:v>15.138999999999999</c:v>
                      </c:pt>
                      <c:pt idx="6557">
                        <c:v>15.138999999999999</c:v>
                      </c:pt>
                      <c:pt idx="6558">
                        <c:v>15.138999999999999</c:v>
                      </c:pt>
                      <c:pt idx="6559">
                        <c:v>15.138999999999999</c:v>
                      </c:pt>
                      <c:pt idx="6560">
                        <c:v>16.536999999999999</c:v>
                      </c:pt>
                      <c:pt idx="6561">
                        <c:v>16.536999999999999</c:v>
                      </c:pt>
                      <c:pt idx="6562">
                        <c:v>16.536999999999999</c:v>
                      </c:pt>
                      <c:pt idx="6563">
                        <c:v>16.536999999999999</c:v>
                      </c:pt>
                      <c:pt idx="6564">
                        <c:v>16.536999999999999</c:v>
                      </c:pt>
                      <c:pt idx="6565">
                        <c:v>15.664999999999999</c:v>
                      </c:pt>
                      <c:pt idx="6566">
                        <c:v>15.664999999999999</c:v>
                      </c:pt>
                      <c:pt idx="6567">
                        <c:v>15.664999999999999</c:v>
                      </c:pt>
                      <c:pt idx="6568">
                        <c:v>15.664999999999999</c:v>
                      </c:pt>
                      <c:pt idx="6569">
                        <c:v>15.664999999999999</c:v>
                      </c:pt>
                      <c:pt idx="6570">
                        <c:v>15.555999999999999</c:v>
                      </c:pt>
                      <c:pt idx="6571">
                        <c:v>15.555999999999999</c:v>
                      </c:pt>
                      <c:pt idx="6572">
                        <c:v>15.555999999999999</c:v>
                      </c:pt>
                      <c:pt idx="6573">
                        <c:v>15.555999999999999</c:v>
                      </c:pt>
                      <c:pt idx="6574">
                        <c:v>15.555999999999999</c:v>
                      </c:pt>
                      <c:pt idx="6575">
                        <c:v>15.518000000000001</c:v>
                      </c:pt>
                      <c:pt idx="6576">
                        <c:v>15.518000000000001</c:v>
                      </c:pt>
                      <c:pt idx="6577">
                        <c:v>15.518000000000001</c:v>
                      </c:pt>
                      <c:pt idx="6578">
                        <c:v>15.518000000000001</c:v>
                      </c:pt>
                      <c:pt idx="6579">
                        <c:v>15.518000000000001</c:v>
                      </c:pt>
                      <c:pt idx="6580">
                        <c:v>15.451000000000001</c:v>
                      </c:pt>
                      <c:pt idx="6581">
                        <c:v>15.451000000000001</c:v>
                      </c:pt>
                      <c:pt idx="6582">
                        <c:v>15.451000000000001</c:v>
                      </c:pt>
                      <c:pt idx="6583">
                        <c:v>15.451000000000001</c:v>
                      </c:pt>
                      <c:pt idx="6584">
                        <c:v>15.451000000000001</c:v>
                      </c:pt>
                      <c:pt idx="6585">
                        <c:v>15.371</c:v>
                      </c:pt>
                      <c:pt idx="6586">
                        <c:v>15.371</c:v>
                      </c:pt>
                      <c:pt idx="6587">
                        <c:v>15.371</c:v>
                      </c:pt>
                      <c:pt idx="6588">
                        <c:v>15.371</c:v>
                      </c:pt>
                      <c:pt idx="6589">
                        <c:v>15.371</c:v>
                      </c:pt>
                      <c:pt idx="6590">
                        <c:v>15.291</c:v>
                      </c:pt>
                      <c:pt idx="6591">
                        <c:v>15.291</c:v>
                      </c:pt>
                      <c:pt idx="6592">
                        <c:v>15.291</c:v>
                      </c:pt>
                      <c:pt idx="6593">
                        <c:v>15.291</c:v>
                      </c:pt>
                      <c:pt idx="6594">
                        <c:v>15.291</c:v>
                      </c:pt>
                      <c:pt idx="6595">
                        <c:v>15.25</c:v>
                      </c:pt>
                      <c:pt idx="6596">
                        <c:v>15.25</c:v>
                      </c:pt>
                      <c:pt idx="6597">
                        <c:v>15.25</c:v>
                      </c:pt>
                      <c:pt idx="6598">
                        <c:v>15.25</c:v>
                      </c:pt>
                      <c:pt idx="6599">
                        <c:v>15.25</c:v>
                      </c:pt>
                      <c:pt idx="6600">
                        <c:v>15.241</c:v>
                      </c:pt>
                      <c:pt idx="6601">
                        <c:v>15.241</c:v>
                      </c:pt>
                      <c:pt idx="6602">
                        <c:v>15.241</c:v>
                      </c:pt>
                      <c:pt idx="6603">
                        <c:v>15.241</c:v>
                      </c:pt>
                      <c:pt idx="6604">
                        <c:v>15.241</c:v>
                      </c:pt>
                      <c:pt idx="6605">
                        <c:v>15.243</c:v>
                      </c:pt>
                      <c:pt idx="6606">
                        <c:v>15.243</c:v>
                      </c:pt>
                      <c:pt idx="6607">
                        <c:v>15.243</c:v>
                      </c:pt>
                      <c:pt idx="6608">
                        <c:v>15.243</c:v>
                      </c:pt>
                      <c:pt idx="6609">
                        <c:v>15.243</c:v>
                      </c:pt>
                      <c:pt idx="6610">
                        <c:v>15.239000000000001</c:v>
                      </c:pt>
                      <c:pt idx="6611">
                        <c:v>15.239000000000001</c:v>
                      </c:pt>
                      <c:pt idx="6612">
                        <c:v>15.239000000000001</c:v>
                      </c:pt>
                      <c:pt idx="6613">
                        <c:v>15.239000000000001</c:v>
                      </c:pt>
                      <c:pt idx="6614">
                        <c:v>15.239000000000001</c:v>
                      </c:pt>
                      <c:pt idx="6615">
                        <c:v>15.244999999999999</c:v>
                      </c:pt>
                      <c:pt idx="6616">
                        <c:v>15.244999999999999</c:v>
                      </c:pt>
                      <c:pt idx="6617">
                        <c:v>15.244999999999999</c:v>
                      </c:pt>
                      <c:pt idx="6618">
                        <c:v>15.244999999999999</c:v>
                      </c:pt>
                      <c:pt idx="6619">
                        <c:v>15.244999999999999</c:v>
                      </c:pt>
                      <c:pt idx="6620">
                        <c:v>14.926</c:v>
                      </c:pt>
                      <c:pt idx="6621">
                        <c:v>14.926</c:v>
                      </c:pt>
                      <c:pt idx="6622">
                        <c:v>14.926</c:v>
                      </c:pt>
                      <c:pt idx="6623">
                        <c:v>14.926</c:v>
                      </c:pt>
                      <c:pt idx="6624">
                        <c:v>14.926</c:v>
                      </c:pt>
                      <c:pt idx="6625">
                        <c:v>14.925000000000001</c:v>
                      </c:pt>
                      <c:pt idx="6626">
                        <c:v>14.925000000000001</c:v>
                      </c:pt>
                      <c:pt idx="6627">
                        <c:v>14.925000000000001</c:v>
                      </c:pt>
                      <c:pt idx="6628">
                        <c:v>14.925000000000001</c:v>
                      </c:pt>
                      <c:pt idx="6629">
                        <c:v>14.925000000000001</c:v>
                      </c:pt>
                      <c:pt idx="6630">
                        <c:v>14.929</c:v>
                      </c:pt>
                      <c:pt idx="6631">
                        <c:v>14.929</c:v>
                      </c:pt>
                      <c:pt idx="6632">
                        <c:v>14.929</c:v>
                      </c:pt>
                      <c:pt idx="6633">
                        <c:v>14.929</c:v>
                      </c:pt>
                      <c:pt idx="6634">
                        <c:v>14.929</c:v>
                      </c:pt>
                      <c:pt idx="6635">
                        <c:v>14.932</c:v>
                      </c:pt>
                      <c:pt idx="6636">
                        <c:v>14.932</c:v>
                      </c:pt>
                      <c:pt idx="6637">
                        <c:v>14.932</c:v>
                      </c:pt>
                      <c:pt idx="6638">
                        <c:v>14.932</c:v>
                      </c:pt>
                      <c:pt idx="6639">
                        <c:v>14.932</c:v>
                      </c:pt>
                      <c:pt idx="6640">
                        <c:v>14.941000000000001</c:v>
                      </c:pt>
                      <c:pt idx="6641">
                        <c:v>14.941000000000001</c:v>
                      </c:pt>
                      <c:pt idx="6642">
                        <c:v>14.941000000000001</c:v>
                      </c:pt>
                      <c:pt idx="6643">
                        <c:v>14.941000000000001</c:v>
                      </c:pt>
                      <c:pt idx="6644">
                        <c:v>14.941000000000001</c:v>
                      </c:pt>
                      <c:pt idx="6645">
                        <c:v>14.942</c:v>
                      </c:pt>
                      <c:pt idx="6646">
                        <c:v>14.942</c:v>
                      </c:pt>
                      <c:pt idx="6647">
                        <c:v>14.942</c:v>
                      </c:pt>
                      <c:pt idx="6648">
                        <c:v>14.942</c:v>
                      </c:pt>
                      <c:pt idx="6649">
                        <c:v>14.942</c:v>
                      </c:pt>
                      <c:pt idx="6650">
                        <c:v>14.95</c:v>
                      </c:pt>
                      <c:pt idx="6651">
                        <c:v>14.95</c:v>
                      </c:pt>
                      <c:pt idx="6652">
                        <c:v>14.95</c:v>
                      </c:pt>
                      <c:pt idx="6653">
                        <c:v>14.95</c:v>
                      </c:pt>
                      <c:pt idx="6654">
                        <c:v>14.95</c:v>
                      </c:pt>
                      <c:pt idx="6655">
                        <c:v>15.026999999999999</c:v>
                      </c:pt>
                      <c:pt idx="6656">
                        <c:v>15.026999999999999</c:v>
                      </c:pt>
                      <c:pt idx="6657">
                        <c:v>15.026999999999999</c:v>
                      </c:pt>
                      <c:pt idx="6658">
                        <c:v>15.026999999999999</c:v>
                      </c:pt>
                      <c:pt idx="6659">
                        <c:v>15.026999999999999</c:v>
                      </c:pt>
                      <c:pt idx="6660">
                        <c:v>15.090999999999999</c:v>
                      </c:pt>
                      <c:pt idx="6661">
                        <c:v>15.090999999999999</c:v>
                      </c:pt>
                      <c:pt idx="6662">
                        <c:v>15.090999999999999</c:v>
                      </c:pt>
                      <c:pt idx="6663">
                        <c:v>15.090999999999999</c:v>
                      </c:pt>
                      <c:pt idx="6664">
                        <c:v>15.090999999999999</c:v>
                      </c:pt>
                      <c:pt idx="6665">
                        <c:v>15.250999999999999</c:v>
                      </c:pt>
                      <c:pt idx="6666">
                        <c:v>15.250999999999999</c:v>
                      </c:pt>
                      <c:pt idx="6667">
                        <c:v>15.250999999999999</c:v>
                      </c:pt>
                      <c:pt idx="6668">
                        <c:v>15.250999999999999</c:v>
                      </c:pt>
                      <c:pt idx="6669">
                        <c:v>15.250999999999999</c:v>
                      </c:pt>
                      <c:pt idx="6670">
                        <c:v>15.247</c:v>
                      </c:pt>
                      <c:pt idx="6671">
                        <c:v>15.247</c:v>
                      </c:pt>
                      <c:pt idx="6672">
                        <c:v>15.247</c:v>
                      </c:pt>
                      <c:pt idx="6673">
                        <c:v>15.247</c:v>
                      </c:pt>
                      <c:pt idx="6674">
                        <c:v>15.247</c:v>
                      </c:pt>
                      <c:pt idx="6675">
                        <c:v>15.272</c:v>
                      </c:pt>
                      <c:pt idx="6676">
                        <c:v>15.272</c:v>
                      </c:pt>
                      <c:pt idx="6677">
                        <c:v>15.272</c:v>
                      </c:pt>
                      <c:pt idx="6678">
                        <c:v>15.272</c:v>
                      </c:pt>
                      <c:pt idx="6679">
                        <c:v>15.272</c:v>
                      </c:pt>
                      <c:pt idx="6680">
                        <c:v>15.32</c:v>
                      </c:pt>
                      <c:pt idx="6681">
                        <c:v>15.32</c:v>
                      </c:pt>
                      <c:pt idx="6682">
                        <c:v>15.32</c:v>
                      </c:pt>
                      <c:pt idx="6683">
                        <c:v>15.32</c:v>
                      </c:pt>
                      <c:pt idx="6684">
                        <c:v>15.32</c:v>
                      </c:pt>
                      <c:pt idx="6685">
                        <c:v>15.282999999999999</c:v>
                      </c:pt>
                      <c:pt idx="6686">
                        <c:v>15.282999999999999</c:v>
                      </c:pt>
                      <c:pt idx="6687">
                        <c:v>15.282999999999999</c:v>
                      </c:pt>
                      <c:pt idx="6688">
                        <c:v>15.282999999999999</c:v>
                      </c:pt>
                      <c:pt idx="6689">
                        <c:v>15.282999999999999</c:v>
                      </c:pt>
                      <c:pt idx="6690">
                        <c:v>15.295</c:v>
                      </c:pt>
                      <c:pt idx="6691">
                        <c:v>15.295</c:v>
                      </c:pt>
                      <c:pt idx="6692">
                        <c:v>15.295</c:v>
                      </c:pt>
                      <c:pt idx="6693">
                        <c:v>15.295</c:v>
                      </c:pt>
                      <c:pt idx="6694">
                        <c:v>15.295</c:v>
                      </c:pt>
                      <c:pt idx="6695">
                        <c:v>15.308999999999999</c:v>
                      </c:pt>
                      <c:pt idx="6696">
                        <c:v>15.308999999999999</c:v>
                      </c:pt>
                      <c:pt idx="6697">
                        <c:v>15.308999999999999</c:v>
                      </c:pt>
                      <c:pt idx="6698">
                        <c:v>15.308999999999999</c:v>
                      </c:pt>
                      <c:pt idx="6699">
                        <c:v>15.308999999999999</c:v>
                      </c:pt>
                      <c:pt idx="6700">
                        <c:v>15.302</c:v>
                      </c:pt>
                      <c:pt idx="6701">
                        <c:v>15.302</c:v>
                      </c:pt>
                      <c:pt idx="6702">
                        <c:v>15.302</c:v>
                      </c:pt>
                      <c:pt idx="6703">
                        <c:v>15.302</c:v>
                      </c:pt>
                      <c:pt idx="6704">
                        <c:v>15.302</c:v>
                      </c:pt>
                      <c:pt idx="6705">
                        <c:v>15.393000000000001</c:v>
                      </c:pt>
                      <c:pt idx="6706">
                        <c:v>15.393000000000001</c:v>
                      </c:pt>
                      <c:pt idx="6707">
                        <c:v>15.393000000000001</c:v>
                      </c:pt>
                      <c:pt idx="6708">
                        <c:v>15.393000000000001</c:v>
                      </c:pt>
                      <c:pt idx="6709">
                        <c:v>15.393000000000001</c:v>
                      </c:pt>
                      <c:pt idx="6710">
                        <c:v>15.4</c:v>
                      </c:pt>
                      <c:pt idx="6711">
                        <c:v>15.4</c:v>
                      </c:pt>
                      <c:pt idx="6712">
                        <c:v>15.4</c:v>
                      </c:pt>
                      <c:pt idx="6713">
                        <c:v>15.4</c:v>
                      </c:pt>
                      <c:pt idx="6714">
                        <c:v>15.4</c:v>
                      </c:pt>
                      <c:pt idx="6715">
                        <c:v>15.407999999999999</c:v>
                      </c:pt>
                      <c:pt idx="6716">
                        <c:v>15.407999999999999</c:v>
                      </c:pt>
                      <c:pt idx="6717">
                        <c:v>15.407999999999999</c:v>
                      </c:pt>
                      <c:pt idx="6718">
                        <c:v>15.407999999999999</c:v>
                      </c:pt>
                      <c:pt idx="6719">
                        <c:v>15.407999999999999</c:v>
                      </c:pt>
                      <c:pt idx="6720">
                        <c:v>15.329000000000001</c:v>
                      </c:pt>
                      <c:pt idx="6721">
                        <c:v>15.329000000000001</c:v>
                      </c:pt>
                      <c:pt idx="6722">
                        <c:v>15.329000000000001</c:v>
                      </c:pt>
                      <c:pt idx="6723">
                        <c:v>15.329000000000001</c:v>
                      </c:pt>
                      <c:pt idx="6724">
                        <c:v>15.329000000000001</c:v>
                      </c:pt>
                      <c:pt idx="6725">
                        <c:v>15.436999999999999</c:v>
                      </c:pt>
                      <c:pt idx="6726">
                        <c:v>15.436999999999999</c:v>
                      </c:pt>
                      <c:pt idx="6727">
                        <c:v>15.436999999999999</c:v>
                      </c:pt>
                      <c:pt idx="6728">
                        <c:v>15.436999999999999</c:v>
                      </c:pt>
                      <c:pt idx="6729">
                        <c:v>15.436999999999999</c:v>
                      </c:pt>
                      <c:pt idx="6730">
                        <c:v>15.629</c:v>
                      </c:pt>
                      <c:pt idx="6731">
                        <c:v>15.629</c:v>
                      </c:pt>
                      <c:pt idx="6732">
                        <c:v>15.629</c:v>
                      </c:pt>
                      <c:pt idx="6733">
                        <c:v>15.629</c:v>
                      </c:pt>
                      <c:pt idx="6734">
                        <c:v>15.629</c:v>
                      </c:pt>
                      <c:pt idx="6735">
                        <c:v>15.654</c:v>
                      </c:pt>
                      <c:pt idx="6736">
                        <c:v>15.654</c:v>
                      </c:pt>
                      <c:pt idx="6737">
                        <c:v>15.654</c:v>
                      </c:pt>
                      <c:pt idx="6738">
                        <c:v>15.654</c:v>
                      </c:pt>
                      <c:pt idx="6739">
                        <c:v>15.654</c:v>
                      </c:pt>
                      <c:pt idx="6740">
                        <c:v>15.677</c:v>
                      </c:pt>
                      <c:pt idx="6741">
                        <c:v>15.677</c:v>
                      </c:pt>
                      <c:pt idx="6742">
                        <c:v>15.677</c:v>
                      </c:pt>
                      <c:pt idx="6743">
                        <c:v>15.677</c:v>
                      </c:pt>
                      <c:pt idx="6744">
                        <c:v>15.677</c:v>
                      </c:pt>
                      <c:pt idx="6745">
                        <c:v>15.702</c:v>
                      </c:pt>
                      <c:pt idx="6746">
                        <c:v>15.702</c:v>
                      </c:pt>
                      <c:pt idx="6747">
                        <c:v>15.702</c:v>
                      </c:pt>
                      <c:pt idx="6748">
                        <c:v>15.702</c:v>
                      </c:pt>
                      <c:pt idx="6749">
                        <c:v>15.702</c:v>
                      </c:pt>
                      <c:pt idx="6750">
                        <c:v>15.736000000000001</c:v>
                      </c:pt>
                      <c:pt idx="6751">
                        <c:v>15.736000000000001</c:v>
                      </c:pt>
                      <c:pt idx="6752">
                        <c:v>15.736000000000001</c:v>
                      </c:pt>
                      <c:pt idx="6753">
                        <c:v>15.736000000000001</c:v>
                      </c:pt>
                      <c:pt idx="6754">
                        <c:v>15.736000000000001</c:v>
                      </c:pt>
                      <c:pt idx="6755">
                        <c:v>15.744</c:v>
                      </c:pt>
                      <c:pt idx="6756">
                        <c:v>15.744</c:v>
                      </c:pt>
                      <c:pt idx="6757">
                        <c:v>15.744</c:v>
                      </c:pt>
                      <c:pt idx="6758">
                        <c:v>15.744</c:v>
                      </c:pt>
                      <c:pt idx="6759">
                        <c:v>15.744</c:v>
                      </c:pt>
                      <c:pt idx="6760">
                        <c:v>15.757</c:v>
                      </c:pt>
                      <c:pt idx="6761">
                        <c:v>15.757</c:v>
                      </c:pt>
                      <c:pt idx="6762">
                        <c:v>15.757</c:v>
                      </c:pt>
                      <c:pt idx="6763">
                        <c:v>15.757</c:v>
                      </c:pt>
                      <c:pt idx="6764">
                        <c:v>15.757</c:v>
                      </c:pt>
                      <c:pt idx="6765">
                        <c:v>15.762</c:v>
                      </c:pt>
                      <c:pt idx="6766">
                        <c:v>15.762</c:v>
                      </c:pt>
                      <c:pt idx="6767">
                        <c:v>15.762</c:v>
                      </c:pt>
                      <c:pt idx="6768">
                        <c:v>15.762</c:v>
                      </c:pt>
                      <c:pt idx="6769">
                        <c:v>15.762</c:v>
                      </c:pt>
                      <c:pt idx="6770">
                        <c:v>15.766</c:v>
                      </c:pt>
                      <c:pt idx="6771">
                        <c:v>15.766</c:v>
                      </c:pt>
                      <c:pt idx="6772">
                        <c:v>15.766</c:v>
                      </c:pt>
                      <c:pt idx="6773">
                        <c:v>15.766</c:v>
                      </c:pt>
                      <c:pt idx="6774">
                        <c:v>15.766</c:v>
                      </c:pt>
                      <c:pt idx="6775">
                        <c:v>15.992000000000001</c:v>
                      </c:pt>
                      <c:pt idx="6776">
                        <c:v>15.992000000000001</c:v>
                      </c:pt>
                      <c:pt idx="6777">
                        <c:v>15.992000000000001</c:v>
                      </c:pt>
                      <c:pt idx="6778">
                        <c:v>15.992000000000001</c:v>
                      </c:pt>
                      <c:pt idx="6779">
                        <c:v>15.992000000000001</c:v>
                      </c:pt>
                      <c:pt idx="6780">
                        <c:v>16.004999999999999</c:v>
                      </c:pt>
                      <c:pt idx="6781">
                        <c:v>16.004999999999999</c:v>
                      </c:pt>
                      <c:pt idx="6782">
                        <c:v>16.004999999999999</c:v>
                      </c:pt>
                      <c:pt idx="6783">
                        <c:v>16.004999999999999</c:v>
                      </c:pt>
                      <c:pt idx="6784">
                        <c:v>16.004999999999999</c:v>
                      </c:pt>
                      <c:pt idx="6785">
                        <c:v>16.114000000000001</c:v>
                      </c:pt>
                      <c:pt idx="6786">
                        <c:v>16.114000000000001</c:v>
                      </c:pt>
                      <c:pt idx="6787">
                        <c:v>16.114000000000001</c:v>
                      </c:pt>
                      <c:pt idx="6788">
                        <c:v>16.114000000000001</c:v>
                      </c:pt>
                      <c:pt idx="6789">
                        <c:v>16.114000000000001</c:v>
                      </c:pt>
                      <c:pt idx="6790">
                        <c:v>16.402000000000001</c:v>
                      </c:pt>
                      <c:pt idx="6791">
                        <c:v>16.402000000000001</c:v>
                      </c:pt>
                      <c:pt idx="6792">
                        <c:v>16.402000000000001</c:v>
                      </c:pt>
                      <c:pt idx="6793">
                        <c:v>16.402000000000001</c:v>
                      </c:pt>
                      <c:pt idx="6794">
                        <c:v>16.402000000000001</c:v>
                      </c:pt>
                      <c:pt idx="6795">
                        <c:v>16.738</c:v>
                      </c:pt>
                      <c:pt idx="6796">
                        <c:v>16.738</c:v>
                      </c:pt>
                      <c:pt idx="6797">
                        <c:v>16.738</c:v>
                      </c:pt>
                      <c:pt idx="6798">
                        <c:v>16.738</c:v>
                      </c:pt>
                      <c:pt idx="6799">
                        <c:v>16.738</c:v>
                      </c:pt>
                      <c:pt idx="6800">
                        <c:v>16.771999999999998</c:v>
                      </c:pt>
                      <c:pt idx="6801">
                        <c:v>16.771999999999998</c:v>
                      </c:pt>
                      <c:pt idx="6802">
                        <c:v>16.771999999999998</c:v>
                      </c:pt>
                      <c:pt idx="6803">
                        <c:v>16.771999999999998</c:v>
                      </c:pt>
                      <c:pt idx="6804">
                        <c:v>16.771999999999998</c:v>
                      </c:pt>
                      <c:pt idx="6805">
                        <c:v>16.780999999999999</c:v>
                      </c:pt>
                      <c:pt idx="6806">
                        <c:v>16.780999999999999</c:v>
                      </c:pt>
                      <c:pt idx="6807">
                        <c:v>16.780999999999999</c:v>
                      </c:pt>
                      <c:pt idx="6808">
                        <c:v>16.780999999999999</c:v>
                      </c:pt>
                      <c:pt idx="6809">
                        <c:v>16.780999999999999</c:v>
                      </c:pt>
                      <c:pt idx="6810">
                        <c:v>16.84</c:v>
                      </c:pt>
                      <c:pt idx="6811">
                        <c:v>16.84</c:v>
                      </c:pt>
                      <c:pt idx="6812">
                        <c:v>16.84</c:v>
                      </c:pt>
                      <c:pt idx="6813">
                        <c:v>16.84</c:v>
                      </c:pt>
                      <c:pt idx="6814">
                        <c:v>16.84</c:v>
                      </c:pt>
                      <c:pt idx="6815">
                        <c:v>17.033000000000001</c:v>
                      </c:pt>
                      <c:pt idx="6816">
                        <c:v>17.033000000000001</c:v>
                      </c:pt>
                      <c:pt idx="6817">
                        <c:v>17.033000000000001</c:v>
                      </c:pt>
                      <c:pt idx="6818">
                        <c:v>17.033000000000001</c:v>
                      </c:pt>
                      <c:pt idx="6819">
                        <c:v>17.033000000000001</c:v>
                      </c:pt>
                      <c:pt idx="6820">
                        <c:v>17.053999999999998</c:v>
                      </c:pt>
                      <c:pt idx="6821">
                        <c:v>17.053999999999998</c:v>
                      </c:pt>
                      <c:pt idx="6822">
                        <c:v>17.053999999999998</c:v>
                      </c:pt>
                      <c:pt idx="6823">
                        <c:v>17.053999999999998</c:v>
                      </c:pt>
                      <c:pt idx="6824">
                        <c:v>17.053999999999998</c:v>
                      </c:pt>
                      <c:pt idx="6825">
                        <c:v>17.058</c:v>
                      </c:pt>
                      <c:pt idx="6826">
                        <c:v>17.058</c:v>
                      </c:pt>
                      <c:pt idx="6827">
                        <c:v>17.058</c:v>
                      </c:pt>
                      <c:pt idx="6828">
                        <c:v>17.058</c:v>
                      </c:pt>
                      <c:pt idx="6829">
                        <c:v>17.058</c:v>
                      </c:pt>
                      <c:pt idx="6830">
                        <c:v>17.059999999999999</c:v>
                      </c:pt>
                      <c:pt idx="6831">
                        <c:v>17.059999999999999</c:v>
                      </c:pt>
                      <c:pt idx="6832">
                        <c:v>17.059999999999999</c:v>
                      </c:pt>
                      <c:pt idx="6833">
                        <c:v>17.059999999999999</c:v>
                      </c:pt>
                      <c:pt idx="6834">
                        <c:v>17.059999999999999</c:v>
                      </c:pt>
                      <c:pt idx="6835">
                        <c:v>17.373000000000001</c:v>
                      </c:pt>
                      <c:pt idx="6836">
                        <c:v>17.373000000000001</c:v>
                      </c:pt>
                      <c:pt idx="6837">
                        <c:v>17.373000000000001</c:v>
                      </c:pt>
                      <c:pt idx="6838">
                        <c:v>17.373000000000001</c:v>
                      </c:pt>
                      <c:pt idx="6839">
                        <c:v>17.373000000000001</c:v>
                      </c:pt>
                      <c:pt idx="6840">
                        <c:v>17.379000000000001</c:v>
                      </c:pt>
                      <c:pt idx="6841">
                        <c:v>17.379000000000001</c:v>
                      </c:pt>
                      <c:pt idx="6842">
                        <c:v>17.379000000000001</c:v>
                      </c:pt>
                      <c:pt idx="6843">
                        <c:v>17.379000000000001</c:v>
                      </c:pt>
                      <c:pt idx="6844">
                        <c:v>17.379000000000001</c:v>
                      </c:pt>
                      <c:pt idx="6845">
                        <c:v>17.382000000000001</c:v>
                      </c:pt>
                      <c:pt idx="6846">
                        <c:v>17.382000000000001</c:v>
                      </c:pt>
                      <c:pt idx="6847">
                        <c:v>17.382000000000001</c:v>
                      </c:pt>
                      <c:pt idx="6848">
                        <c:v>17.382000000000001</c:v>
                      </c:pt>
                      <c:pt idx="6849">
                        <c:v>17.382000000000001</c:v>
                      </c:pt>
                      <c:pt idx="6850">
                        <c:v>17.390999999999998</c:v>
                      </c:pt>
                      <c:pt idx="6851">
                        <c:v>17.390999999999998</c:v>
                      </c:pt>
                      <c:pt idx="6852">
                        <c:v>17.390999999999998</c:v>
                      </c:pt>
                      <c:pt idx="6853">
                        <c:v>17.390999999999998</c:v>
                      </c:pt>
                      <c:pt idx="6854">
                        <c:v>17.390999999999998</c:v>
                      </c:pt>
                      <c:pt idx="6855">
                        <c:v>17.818999999999999</c:v>
                      </c:pt>
                      <c:pt idx="6856">
                        <c:v>17.818999999999999</c:v>
                      </c:pt>
                      <c:pt idx="6857">
                        <c:v>17.818999999999999</c:v>
                      </c:pt>
                      <c:pt idx="6858">
                        <c:v>17.818999999999999</c:v>
                      </c:pt>
                      <c:pt idx="6859">
                        <c:v>17.818999999999999</c:v>
                      </c:pt>
                      <c:pt idx="6860">
                        <c:v>18.375</c:v>
                      </c:pt>
                      <c:pt idx="6861">
                        <c:v>18.375</c:v>
                      </c:pt>
                      <c:pt idx="6862">
                        <c:v>18.375</c:v>
                      </c:pt>
                      <c:pt idx="6863">
                        <c:v>18.375</c:v>
                      </c:pt>
                      <c:pt idx="6864">
                        <c:v>18.375</c:v>
                      </c:pt>
                      <c:pt idx="6865">
                        <c:v>18.385000000000002</c:v>
                      </c:pt>
                      <c:pt idx="6866">
                        <c:v>18.385000000000002</c:v>
                      </c:pt>
                      <c:pt idx="6867">
                        <c:v>18.385000000000002</c:v>
                      </c:pt>
                      <c:pt idx="6868">
                        <c:v>18.385000000000002</c:v>
                      </c:pt>
                      <c:pt idx="6869">
                        <c:v>18.385000000000002</c:v>
                      </c:pt>
                      <c:pt idx="6870">
                        <c:v>18.39</c:v>
                      </c:pt>
                      <c:pt idx="6871">
                        <c:v>18.39</c:v>
                      </c:pt>
                      <c:pt idx="6872">
                        <c:v>18.39</c:v>
                      </c:pt>
                      <c:pt idx="6873">
                        <c:v>18.39</c:v>
                      </c:pt>
                      <c:pt idx="6874">
                        <c:v>18.39</c:v>
                      </c:pt>
                      <c:pt idx="6875">
                        <c:v>18.431999999999999</c:v>
                      </c:pt>
                      <c:pt idx="6876">
                        <c:v>18.431999999999999</c:v>
                      </c:pt>
                      <c:pt idx="6877">
                        <c:v>18.431999999999999</c:v>
                      </c:pt>
                      <c:pt idx="6878">
                        <c:v>18.431999999999999</c:v>
                      </c:pt>
                      <c:pt idx="6879">
                        <c:v>18.431999999999999</c:v>
                      </c:pt>
                      <c:pt idx="6880">
                        <c:v>18.738</c:v>
                      </c:pt>
                      <c:pt idx="6881">
                        <c:v>18.738</c:v>
                      </c:pt>
                      <c:pt idx="6882">
                        <c:v>18.738</c:v>
                      </c:pt>
                      <c:pt idx="6883">
                        <c:v>18.738</c:v>
                      </c:pt>
                      <c:pt idx="6884">
                        <c:v>18.738</c:v>
                      </c:pt>
                      <c:pt idx="6885">
                        <c:v>18.756</c:v>
                      </c:pt>
                      <c:pt idx="6886">
                        <c:v>18.756</c:v>
                      </c:pt>
                      <c:pt idx="6887">
                        <c:v>18.756</c:v>
                      </c:pt>
                      <c:pt idx="6888">
                        <c:v>18.756</c:v>
                      </c:pt>
                      <c:pt idx="6889">
                        <c:v>18.756</c:v>
                      </c:pt>
                      <c:pt idx="6890">
                        <c:v>18.774999999999999</c:v>
                      </c:pt>
                      <c:pt idx="6891">
                        <c:v>18.774999999999999</c:v>
                      </c:pt>
                      <c:pt idx="6892">
                        <c:v>18.774999999999999</c:v>
                      </c:pt>
                      <c:pt idx="6893">
                        <c:v>18.774999999999999</c:v>
                      </c:pt>
                      <c:pt idx="6894">
                        <c:v>18.774999999999999</c:v>
                      </c:pt>
                      <c:pt idx="6895">
                        <c:v>18.79</c:v>
                      </c:pt>
                      <c:pt idx="6896">
                        <c:v>18.79</c:v>
                      </c:pt>
                      <c:pt idx="6897">
                        <c:v>18.79</c:v>
                      </c:pt>
                      <c:pt idx="6898">
                        <c:v>18.79</c:v>
                      </c:pt>
                      <c:pt idx="6899">
                        <c:v>18.79</c:v>
                      </c:pt>
                      <c:pt idx="6900">
                        <c:v>19.158999999999999</c:v>
                      </c:pt>
                      <c:pt idx="6901">
                        <c:v>19.158999999999999</c:v>
                      </c:pt>
                      <c:pt idx="6902">
                        <c:v>19.158999999999999</c:v>
                      </c:pt>
                      <c:pt idx="6903">
                        <c:v>19.158999999999999</c:v>
                      </c:pt>
                      <c:pt idx="6904">
                        <c:v>19.158999999999999</c:v>
                      </c:pt>
                      <c:pt idx="6905">
                        <c:v>19.148</c:v>
                      </c:pt>
                      <c:pt idx="6906">
                        <c:v>19.148</c:v>
                      </c:pt>
                      <c:pt idx="6907">
                        <c:v>19.148</c:v>
                      </c:pt>
                      <c:pt idx="6908">
                        <c:v>19.148</c:v>
                      </c:pt>
                      <c:pt idx="6909">
                        <c:v>19.148</c:v>
                      </c:pt>
                      <c:pt idx="6910">
                        <c:v>19.155999999999999</c:v>
                      </c:pt>
                      <c:pt idx="6911">
                        <c:v>19.155999999999999</c:v>
                      </c:pt>
                      <c:pt idx="6912">
                        <c:v>19.155999999999999</c:v>
                      </c:pt>
                      <c:pt idx="6913">
                        <c:v>19.155999999999999</c:v>
                      </c:pt>
                      <c:pt idx="6914">
                        <c:v>19.155999999999999</c:v>
                      </c:pt>
                      <c:pt idx="6915">
                        <c:v>19.210999999999999</c:v>
                      </c:pt>
                      <c:pt idx="6916">
                        <c:v>19.210999999999999</c:v>
                      </c:pt>
                      <c:pt idx="6917">
                        <c:v>19.210999999999999</c:v>
                      </c:pt>
                      <c:pt idx="6918">
                        <c:v>19.210999999999999</c:v>
                      </c:pt>
                      <c:pt idx="6919">
                        <c:v>19.210999999999999</c:v>
                      </c:pt>
                      <c:pt idx="6920">
                        <c:v>19.652999999999999</c:v>
                      </c:pt>
                      <c:pt idx="6921">
                        <c:v>19.652999999999999</c:v>
                      </c:pt>
                      <c:pt idx="6922">
                        <c:v>19.652999999999999</c:v>
                      </c:pt>
                      <c:pt idx="6923">
                        <c:v>19.652999999999999</c:v>
                      </c:pt>
                      <c:pt idx="6924">
                        <c:v>19.652999999999999</c:v>
                      </c:pt>
                      <c:pt idx="6925">
                        <c:v>20.173999999999999</c:v>
                      </c:pt>
                      <c:pt idx="6926">
                        <c:v>20.173999999999999</c:v>
                      </c:pt>
                      <c:pt idx="6927">
                        <c:v>20.173999999999999</c:v>
                      </c:pt>
                      <c:pt idx="6928">
                        <c:v>20.173999999999999</c:v>
                      </c:pt>
                      <c:pt idx="6929">
                        <c:v>20.173999999999999</c:v>
                      </c:pt>
                      <c:pt idx="6930">
                        <c:v>20.187999999999999</c:v>
                      </c:pt>
                      <c:pt idx="6931">
                        <c:v>20.187999999999999</c:v>
                      </c:pt>
                      <c:pt idx="6932">
                        <c:v>20.187999999999999</c:v>
                      </c:pt>
                      <c:pt idx="6933">
                        <c:v>20.187999999999999</c:v>
                      </c:pt>
                      <c:pt idx="6934">
                        <c:v>20.187999999999999</c:v>
                      </c:pt>
                      <c:pt idx="6935">
                        <c:v>20.207999999999998</c:v>
                      </c:pt>
                      <c:pt idx="6936">
                        <c:v>20.207999999999998</c:v>
                      </c:pt>
                      <c:pt idx="6937">
                        <c:v>20.207999999999998</c:v>
                      </c:pt>
                      <c:pt idx="6938">
                        <c:v>20.207999999999998</c:v>
                      </c:pt>
                      <c:pt idx="6939">
                        <c:v>20.207999999999998</c:v>
                      </c:pt>
                      <c:pt idx="6940">
                        <c:v>20.245000000000001</c:v>
                      </c:pt>
                      <c:pt idx="6941">
                        <c:v>20.245000000000001</c:v>
                      </c:pt>
                      <c:pt idx="6942">
                        <c:v>20.245000000000001</c:v>
                      </c:pt>
                      <c:pt idx="6943">
                        <c:v>20.245000000000001</c:v>
                      </c:pt>
                      <c:pt idx="6944">
                        <c:v>20.245000000000001</c:v>
                      </c:pt>
                      <c:pt idx="6945">
                        <c:v>20.539000000000001</c:v>
                      </c:pt>
                      <c:pt idx="6946">
                        <c:v>20.539000000000001</c:v>
                      </c:pt>
                      <c:pt idx="6947">
                        <c:v>20.539000000000001</c:v>
                      </c:pt>
                      <c:pt idx="6948">
                        <c:v>20.539000000000001</c:v>
                      </c:pt>
                      <c:pt idx="6949">
                        <c:v>20.539000000000001</c:v>
                      </c:pt>
                      <c:pt idx="6950">
                        <c:v>20.556000000000001</c:v>
                      </c:pt>
                      <c:pt idx="6951">
                        <c:v>20.556000000000001</c:v>
                      </c:pt>
                      <c:pt idx="6952">
                        <c:v>20.556000000000001</c:v>
                      </c:pt>
                      <c:pt idx="6953">
                        <c:v>20.556000000000001</c:v>
                      </c:pt>
                      <c:pt idx="6954">
                        <c:v>20.556000000000001</c:v>
                      </c:pt>
                      <c:pt idx="6955">
                        <c:v>20.57</c:v>
                      </c:pt>
                      <c:pt idx="6956">
                        <c:v>20.57</c:v>
                      </c:pt>
                      <c:pt idx="6957">
                        <c:v>20.57</c:v>
                      </c:pt>
                      <c:pt idx="6958">
                        <c:v>20.57</c:v>
                      </c:pt>
                      <c:pt idx="6959">
                        <c:v>20.57</c:v>
                      </c:pt>
                      <c:pt idx="6960">
                        <c:v>20.568999999999999</c:v>
                      </c:pt>
                      <c:pt idx="6961">
                        <c:v>20.568999999999999</c:v>
                      </c:pt>
                      <c:pt idx="6962">
                        <c:v>20.568999999999999</c:v>
                      </c:pt>
                      <c:pt idx="6963">
                        <c:v>20.568999999999999</c:v>
                      </c:pt>
                      <c:pt idx="6964">
                        <c:v>20.568999999999999</c:v>
                      </c:pt>
                      <c:pt idx="6965">
                        <c:v>20.559000000000001</c:v>
                      </c:pt>
                      <c:pt idx="6966">
                        <c:v>20.559000000000001</c:v>
                      </c:pt>
                      <c:pt idx="6967">
                        <c:v>20.559000000000001</c:v>
                      </c:pt>
                      <c:pt idx="6968">
                        <c:v>20.559000000000001</c:v>
                      </c:pt>
                      <c:pt idx="6969">
                        <c:v>20.559000000000001</c:v>
                      </c:pt>
                      <c:pt idx="6970">
                        <c:v>20.794</c:v>
                      </c:pt>
                      <c:pt idx="6971">
                        <c:v>20.794</c:v>
                      </c:pt>
                      <c:pt idx="6972">
                        <c:v>20.794</c:v>
                      </c:pt>
                      <c:pt idx="6973">
                        <c:v>20.794</c:v>
                      </c:pt>
                      <c:pt idx="6974">
                        <c:v>20.794</c:v>
                      </c:pt>
                      <c:pt idx="6975">
                        <c:v>20.795999999999999</c:v>
                      </c:pt>
                      <c:pt idx="6976">
                        <c:v>20.795999999999999</c:v>
                      </c:pt>
                      <c:pt idx="6977">
                        <c:v>20.795999999999999</c:v>
                      </c:pt>
                      <c:pt idx="6978">
                        <c:v>20.795999999999999</c:v>
                      </c:pt>
                      <c:pt idx="6979">
                        <c:v>20.795999999999999</c:v>
                      </c:pt>
                      <c:pt idx="6980">
                        <c:v>20.785</c:v>
                      </c:pt>
                      <c:pt idx="6981">
                        <c:v>20.785</c:v>
                      </c:pt>
                      <c:pt idx="6982">
                        <c:v>20.785</c:v>
                      </c:pt>
                      <c:pt idx="6983">
                        <c:v>20.785</c:v>
                      </c:pt>
                      <c:pt idx="6984">
                        <c:v>20.785</c:v>
                      </c:pt>
                      <c:pt idx="6985">
                        <c:v>20.951000000000001</c:v>
                      </c:pt>
                      <c:pt idx="6986">
                        <c:v>20.951000000000001</c:v>
                      </c:pt>
                      <c:pt idx="6987">
                        <c:v>20.951000000000001</c:v>
                      </c:pt>
                      <c:pt idx="6988">
                        <c:v>20.951000000000001</c:v>
                      </c:pt>
                      <c:pt idx="6989">
                        <c:v>20.951000000000001</c:v>
                      </c:pt>
                      <c:pt idx="6990">
                        <c:v>21.273</c:v>
                      </c:pt>
                      <c:pt idx="6991">
                        <c:v>21.273</c:v>
                      </c:pt>
                      <c:pt idx="6992">
                        <c:v>21.273</c:v>
                      </c:pt>
                      <c:pt idx="6993">
                        <c:v>21.273</c:v>
                      </c:pt>
                      <c:pt idx="6994">
                        <c:v>21.273</c:v>
                      </c:pt>
                      <c:pt idx="6995">
                        <c:v>21.271999999999998</c:v>
                      </c:pt>
                      <c:pt idx="6996">
                        <c:v>21.271999999999998</c:v>
                      </c:pt>
                      <c:pt idx="6997">
                        <c:v>21.271999999999998</c:v>
                      </c:pt>
                      <c:pt idx="6998">
                        <c:v>21.271999999999998</c:v>
                      </c:pt>
                      <c:pt idx="6999">
                        <c:v>21.271999999999998</c:v>
                      </c:pt>
                      <c:pt idx="7000">
                        <c:v>21.297000000000001</c:v>
                      </c:pt>
                      <c:pt idx="7001">
                        <c:v>21.297000000000001</c:v>
                      </c:pt>
                      <c:pt idx="7002">
                        <c:v>21.297000000000001</c:v>
                      </c:pt>
                      <c:pt idx="7003">
                        <c:v>21.297000000000001</c:v>
                      </c:pt>
                      <c:pt idx="7004">
                        <c:v>21.297000000000001</c:v>
                      </c:pt>
                      <c:pt idx="7005">
                        <c:v>21.321999999999999</c:v>
                      </c:pt>
                      <c:pt idx="7006">
                        <c:v>21.321999999999999</c:v>
                      </c:pt>
                      <c:pt idx="7007">
                        <c:v>21.321999999999999</c:v>
                      </c:pt>
                      <c:pt idx="7008">
                        <c:v>21.321999999999999</c:v>
                      </c:pt>
                      <c:pt idx="7009">
                        <c:v>21.321999999999999</c:v>
                      </c:pt>
                      <c:pt idx="7010">
                        <c:v>21.411999999999999</c:v>
                      </c:pt>
                      <c:pt idx="7011">
                        <c:v>21.411999999999999</c:v>
                      </c:pt>
                      <c:pt idx="7012">
                        <c:v>21.411999999999999</c:v>
                      </c:pt>
                      <c:pt idx="7013">
                        <c:v>21.411999999999999</c:v>
                      </c:pt>
                      <c:pt idx="7014">
                        <c:v>21.411999999999999</c:v>
                      </c:pt>
                      <c:pt idx="7015">
                        <c:v>21.427</c:v>
                      </c:pt>
                      <c:pt idx="7016">
                        <c:v>21.427</c:v>
                      </c:pt>
                      <c:pt idx="7017">
                        <c:v>21.427</c:v>
                      </c:pt>
                      <c:pt idx="7018">
                        <c:v>21.427</c:v>
                      </c:pt>
                      <c:pt idx="7019">
                        <c:v>21.427</c:v>
                      </c:pt>
                      <c:pt idx="7020">
                        <c:v>21.443000000000001</c:v>
                      </c:pt>
                      <c:pt idx="7021">
                        <c:v>21.443000000000001</c:v>
                      </c:pt>
                      <c:pt idx="7022">
                        <c:v>21.443000000000001</c:v>
                      </c:pt>
                      <c:pt idx="7023">
                        <c:v>21.443000000000001</c:v>
                      </c:pt>
                      <c:pt idx="7024">
                        <c:v>21.443000000000001</c:v>
                      </c:pt>
                      <c:pt idx="7025">
                        <c:v>21.448</c:v>
                      </c:pt>
                      <c:pt idx="7026">
                        <c:v>21.448</c:v>
                      </c:pt>
                      <c:pt idx="7027">
                        <c:v>21.448</c:v>
                      </c:pt>
                      <c:pt idx="7028">
                        <c:v>21.448</c:v>
                      </c:pt>
                      <c:pt idx="7029">
                        <c:v>21.448</c:v>
                      </c:pt>
                      <c:pt idx="7030">
                        <c:v>21.448</c:v>
                      </c:pt>
                      <c:pt idx="7031">
                        <c:v>21.448</c:v>
                      </c:pt>
                      <c:pt idx="7032">
                        <c:v>21.448</c:v>
                      </c:pt>
                      <c:pt idx="7033">
                        <c:v>21.448</c:v>
                      </c:pt>
                      <c:pt idx="7034">
                        <c:v>21.448</c:v>
                      </c:pt>
                      <c:pt idx="7035">
                        <c:v>21.641999999999999</c:v>
                      </c:pt>
                      <c:pt idx="7036">
                        <c:v>21.641999999999999</c:v>
                      </c:pt>
                      <c:pt idx="7037">
                        <c:v>21.641999999999999</c:v>
                      </c:pt>
                      <c:pt idx="7038">
                        <c:v>21.641999999999999</c:v>
                      </c:pt>
                      <c:pt idx="7039">
                        <c:v>21.641999999999999</c:v>
                      </c:pt>
                      <c:pt idx="7040">
                        <c:v>21.634</c:v>
                      </c:pt>
                      <c:pt idx="7041">
                        <c:v>21.634</c:v>
                      </c:pt>
                      <c:pt idx="7042">
                        <c:v>21.634</c:v>
                      </c:pt>
                      <c:pt idx="7043">
                        <c:v>21.634</c:v>
                      </c:pt>
                      <c:pt idx="7044">
                        <c:v>21.634</c:v>
                      </c:pt>
                      <c:pt idx="7045">
                        <c:v>21.658000000000001</c:v>
                      </c:pt>
                      <c:pt idx="7046">
                        <c:v>21.658000000000001</c:v>
                      </c:pt>
                      <c:pt idx="7047">
                        <c:v>21.658000000000001</c:v>
                      </c:pt>
                      <c:pt idx="7048">
                        <c:v>21.658000000000001</c:v>
                      </c:pt>
                      <c:pt idx="7049">
                        <c:v>21.658000000000001</c:v>
                      </c:pt>
                      <c:pt idx="7050">
                        <c:v>21.617999999999999</c:v>
                      </c:pt>
                      <c:pt idx="7051">
                        <c:v>21.617999999999999</c:v>
                      </c:pt>
                      <c:pt idx="7052">
                        <c:v>21.617999999999999</c:v>
                      </c:pt>
                      <c:pt idx="7053">
                        <c:v>21.617999999999999</c:v>
                      </c:pt>
                      <c:pt idx="7054">
                        <c:v>21.617999999999999</c:v>
                      </c:pt>
                      <c:pt idx="7055">
                        <c:v>21.984000000000002</c:v>
                      </c:pt>
                      <c:pt idx="7056">
                        <c:v>21.984000000000002</c:v>
                      </c:pt>
                      <c:pt idx="7057">
                        <c:v>21.984000000000002</c:v>
                      </c:pt>
                      <c:pt idx="7058">
                        <c:v>21.984000000000002</c:v>
                      </c:pt>
                      <c:pt idx="7059">
                        <c:v>21.984000000000002</c:v>
                      </c:pt>
                      <c:pt idx="7060">
                        <c:v>22.013999999999999</c:v>
                      </c:pt>
                      <c:pt idx="7061">
                        <c:v>22.013999999999999</c:v>
                      </c:pt>
                      <c:pt idx="7062">
                        <c:v>22.013999999999999</c:v>
                      </c:pt>
                      <c:pt idx="7063">
                        <c:v>22.013999999999999</c:v>
                      </c:pt>
                      <c:pt idx="7064">
                        <c:v>22.013999999999999</c:v>
                      </c:pt>
                      <c:pt idx="7065">
                        <c:v>22.056000000000001</c:v>
                      </c:pt>
                      <c:pt idx="7066">
                        <c:v>22.056000000000001</c:v>
                      </c:pt>
                      <c:pt idx="7067">
                        <c:v>22.056000000000001</c:v>
                      </c:pt>
                      <c:pt idx="7068">
                        <c:v>22.056000000000001</c:v>
                      </c:pt>
                      <c:pt idx="7069">
                        <c:v>22.056000000000001</c:v>
                      </c:pt>
                      <c:pt idx="7070">
                        <c:v>22.056999999999999</c:v>
                      </c:pt>
                      <c:pt idx="7071">
                        <c:v>22.056999999999999</c:v>
                      </c:pt>
                      <c:pt idx="7072">
                        <c:v>22.056999999999999</c:v>
                      </c:pt>
                      <c:pt idx="7073">
                        <c:v>22.056999999999999</c:v>
                      </c:pt>
                      <c:pt idx="7074">
                        <c:v>22.056999999999999</c:v>
                      </c:pt>
                      <c:pt idx="7075">
                        <c:v>22.245000000000001</c:v>
                      </c:pt>
                      <c:pt idx="7076">
                        <c:v>22.245000000000001</c:v>
                      </c:pt>
                      <c:pt idx="7077">
                        <c:v>22.245000000000001</c:v>
                      </c:pt>
                      <c:pt idx="7078">
                        <c:v>22.245000000000001</c:v>
                      </c:pt>
                      <c:pt idx="7079">
                        <c:v>22.245000000000001</c:v>
                      </c:pt>
                      <c:pt idx="7080">
                        <c:v>22.295000000000002</c:v>
                      </c:pt>
                      <c:pt idx="7081">
                        <c:v>22.295000000000002</c:v>
                      </c:pt>
                      <c:pt idx="7082">
                        <c:v>22.295000000000002</c:v>
                      </c:pt>
                      <c:pt idx="7083">
                        <c:v>22.295000000000002</c:v>
                      </c:pt>
                      <c:pt idx="7084">
                        <c:v>22.295000000000002</c:v>
                      </c:pt>
                      <c:pt idx="7085">
                        <c:v>22.294</c:v>
                      </c:pt>
                      <c:pt idx="7086">
                        <c:v>22.294</c:v>
                      </c:pt>
                      <c:pt idx="7087">
                        <c:v>22.294</c:v>
                      </c:pt>
                      <c:pt idx="7088">
                        <c:v>22.294</c:v>
                      </c:pt>
                      <c:pt idx="7089">
                        <c:v>22.294</c:v>
                      </c:pt>
                      <c:pt idx="7090">
                        <c:v>22.294</c:v>
                      </c:pt>
                      <c:pt idx="7091">
                        <c:v>22.294</c:v>
                      </c:pt>
                      <c:pt idx="7092">
                        <c:v>22.294</c:v>
                      </c:pt>
                      <c:pt idx="7093">
                        <c:v>22.294</c:v>
                      </c:pt>
                      <c:pt idx="7094">
                        <c:v>22.294</c:v>
                      </c:pt>
                      <c:pt idx="7095">
                        <c:v>22.308</c:v>
                      </c:pt>
                      <c:pt idx="7096">
                        <c:v>22.308</c:v>
                      </c:pt>
                      <c:pt idx="7097">
                        <c:v>22.308</c:v>
                      </c:pt>
                      <c:pt idx="7098">
                        <c:v>22.308</c:v>
                      </c:pt>
                      <c:pt idx="7099">
                        <c:v>22.308</c:v>
                      </c:pt>
                      <c:pt idx="7100">
                        <c:v>22.533000000000001</c:v>
                      </c:pt>
                      <c:pt idx="7101">
                        <c:v>22.533000000000001</c:v>
                      </c:pt>
                      <c:pt idx="7102">
                        <c:v>22.533000000000001</c:v>
                      </c:pt>
                      <c:pt idx="7103">
                        <c:v>22.533000000000001</c:v>
                      </c:pt>
                      <c:pt idx="7104">
                        <c:v>22.533000000000001</c:v>
                      </c:pt>
                      <c:pt idx="7105">
                        <c:v>22.53</c:v>
                      </c:pt>
                      <c:pt idx="7106">
                        <c:v>22.53</c:v>
                      </c:pt>
                      <c:pt idx="7107">
                        <c:v>22.53</c:v>
                      </c:pt>
                      <c:pt idx="7108">
                        <c:v>22.53</c:v>
                      </c:pt>
                      <c:pt idx="7109">
                        <c:v>22.53</c:v>
                      </c:pt>
                      <c:pt idx="7110">
                        <c:v>22.876999999999999</c:v>
                      </c:pt>
                      <c:pt idx="7111">
                        <c:v>22.876999999999999</c:v>
                      </c:pt>
                      <c:pt idx="7112">
                        <c:v>22.876999999999999</c:v>
                      </c:pt>
                      <c:pt idx="7113">
                        <c:v>22.876999999999999</c:v>
                      </c:pt>
                      <c:pt idx="7114">
                        <c:v>22.876999999999999</c:v>
                      </c:pt>
                      <c:pt idx="7115">
                        <c:v>22.521000000000001</c:v>
                      </c:pt>
                      <c:pt idx="7116">
                        <c:v>22.521000000000001</c:v>
                      </c:pt>
                      <c:pt idx="7117">
                        <c:v>22.521000000000001</c:v>
                      </c:pt>
                      <c:pt idx="7118">
                        <c:v>22.521000000000001</c:v>
                      </c:pt>
                      <c:pt idx="7119">
                        <c:v>22.521000000000001</c:v>
                      </c:pt>
                      <c:pt idx="7120">
                        <c:v>22.748000000000001</c:v>
                      </c:pt>
                      <c:pt idx="7121">
                        <c:v>22.748000000000001</c:v>
                      </c:pt>
                      <c:pt idx="7122">
                        <c:v>22.748000000000001</c:v>
                      </c:pt>
                      <c:pt idx="7123">
                        <c:v>22.748000000000001</c:v>
                      </c:pt>
                      <c:pt idx="7124">
                        <c:v>22.748000000000001</c:v>
                      </c:pt>
                      <c:pt idx="7125">
                        <c:v>22.759</c:v>
                      </c:pt>
                      <c:pt idx="7126">
                        <c:v>22.759</c:v>
                      </c:pt>
                      <c:pt idx="7127">
                        <c:v>22.759</c:v>
                      </c:pt>
                      <c:pt idx="7128">
                        <c:v>22.759</c:v>
                      </c:pt>
                      <c:pt idx="7129">
                        <c:v>22.759</c:v>
                      </c:pt>
                      <c:pt idx="7130">
                        <c:v>22.760999999999999</c:v>
                      </c:pt>
                      <c:pt idx="7131">
                        <c:v>22.760999999999999</c:v>
                      </c:pt>
                      <c:pt idx="7132">
                        <c:v>22.760999999999999</c:v>
                      </c:pt>
                      <c:pt idx="7133">
                        <c:v>22.760999999999999</c:v>
                      </c:pt>
                      <c:pt idx="7134">
                        <c:v>22.760999999999999</c:v>
                      </c:pt>
                      <c:pt idx="7135">
                        <c:v>22.734000000000002</c:v>
                      </c:pt>
                      <c:pt idx="7136">
                        <c:v>22.734000000000002</c:v>
                      </c:pt>
                      <c:pt idx="7137">
                        <c:v>22.734000000000002</c:v>
                      </c:pt>
                      <c:pt idx="7138">
                        <c:v>22.734000000000002</c:v>
                      </c:pt>
                      <c:pt idx="7139">
                        <c:v>22.734000000000002</c:v>
                      </c:pt>
                      <c:pt idx="7140">
                        <c:v>22.919</c:v>
                      </c:pt>
                      <c:pt idx="7141">
                        <c:v>22.919</c:v>
                      </c:pt>
                      <c:pt idx="7142">
                        <c:v>22.919</c:v>
                      </c:pt>
                      <c:pt idx="7143">
                        <c:v>22.919</c:v>
                      </c:pt>
                      <c:pt idx="7144">
                        <c:v>22.919</c:v>
                      </c:pt>
                      <c:pt idx="7145">
                        <c:v>22.905999999999999</c:v>
                      </c:pt>
                      <c:pt idx="7146">
                        <c:v>22.905999999999999</c:v>
                      </c:pt>
                      <c:pt idx="7147">
                        <c:v>22.905999999999999</c:v>
                      </c:pt>
                      <c:pt idx="7148">
                        <c:v>22.905999999999999</c:v>
                      </c:pt>
                      <c:pt idx="7149">
                        <c:v>22.905999999999999</c:v>
                      </c:pt>
                      <c:pt idx="7150">
                        <c:v>22.916</c:v>
                      </c:pt>
                      <c:pt idx="7151">
                        <c:v>22.916</c:v>
                      </c:pt>
                      <c:pt idx="7152">
                        <c:v>22.916</c:v>
                      </c:pt>
                      <c:pt idx="7153">
                        <c:v>22.916</c:v>
                      </c:pt>
                      <c:pt idx="7154">
                        <c:v>22.916</c:v>
                      </c:pt>
                      <c:pt idx="7155">
                        <c:v>22.905000000000001</c:v>
                      </c:pt>
                      <c:pt idx="7156">
                        <c:v>22.905000000000001</c:v>
                      </c:pt>
                      <c:pt idx="7157">
                        <c:v>22.905000000000001</c:v>
                      </c:pt>
                      <c:pt idx="7158">
                        <c:v>22.905000000000001</c:v>
                      </c:pt>
                      <c:pt idx="7159">
                        <c:v>22.905000000000001</c:v>
                      </c:pt>
                      <c:pt idx="7160">
                        <c:v>22.893999999999998</c:v>
                      </c:pt>
                      <c:pt idx="7161">
                        <c:v>22.893999999999998</c:v>
                      </c:pt>
                      <c:pt idx="7162">
                        <c:v>22.893999999999998</c:v>
                      </c:pt>
                      <c:pt idx="7163">
                        <c:v>22.893999999999998</c:v>
                      </c:pt>
                      <c:pt idx="7164">
                        <c:v>22.893999999999998</c:v>
                      </c:pt>
                      <c:pt idx="7165">
                        <c:v>23.084</c:v>
                      </c:pt>
                      <c:pt idx="7166">
                        <c:v>23.084</c:v>
                      </c:pt>
                      <c:pt idx="7167">
                        <c:v>23.084</c:v>
                      </c:pt>
                      <c:pt idx="7168">
                        <c:v>23.084</c:v>
                      </c:pt>
                      <c:pt idx="7169">
                        <c:v>23.084</c:v>
                      </c:pt>
                      <c:pt idx="7170">
                        <c:v>23.050999999999998</c:v>
                      </c:pt>
                      <c:pt idx="7171">
                        <c:v>23.050999999999998</c:v>
                      </c:pt>
                      <c:pt idx="7172">
                        <c:v>23.050999999999998</c:v>
                      </c:pt>
                      <c:pt idx="7173">
                        <c:v>23.050999999999998</c:v>
                      </c:pt>
                      <c:pt idx="7174">
                        <c:v>23.050999999999998</c:v>
                      </c:pt>
                      <c:pt idx="7175">
                        <c:v>23.030999999999999</c:v>
                      </c:pt>
                      <c:pt idx="7176">
                        <c:v>23.030999999999999</c:v>
                      </c:pt>
                      <c:pt idx="7177">
                        <c:v>23.030999999999999</c:v>
                      </c:pt>
                      <c:pt idx="7178">
                        <c:v>23.030999999999999</c:v>
                      </c:pt>
                      <c:pt idx="7179">
                        <c:v>23.030999999999999</c:v>
                      </c:pt>
                      <c:pt idx="7180">
                        <c:v>23.024000000000001</c:v>
                      </c:pt>
                      <c:pt idx="7181">
                        <c:v>23.024000000000001</c:v>
                      </c:pt>
                      <c:pt idx="7182">
                        <c:v>23.024000000000001</c:v>
                      </c:pt>
                      <c:pt idx="7183">
                        <c:v>23.024000000000001</c:v>
                      </c:pt>
                      <c:pt idx="7184">
                        <c:v>23.024000000000001</c:v>
                      </c:pt>
                      <c:pt idx="7185">
                        <c:v>23.038</c:v>
                      </c:pt>
                      <c:pt idx="7186">
                        <c:v>23.038</c:v>
                      </c:pt>
                      <c:pt idx="7187">
                        <c:v>23.038</c:v>
                      </c:pt>
                      <c:pt idx="7188">
                        <c:v>23.038</c:v>
                      </c:pt>
                      <c:pt idx="7189">
                        <c:v>23.038</c:v>
                      </c:pt>
                      <c:pt idx="7190">
                        <c:v>22.927</c:v>
                      </c:pt>
                      <c:pt idx="7191">
                        <c:v>22.927</c:v>
                      </c:pt>
                      <c:pt idx="7192">
                        <c:v>22.927</c:v>
                      </c:pt>
                      <c:pt idx="7193">
                        <c:v>22.927</c:v>
                      </c:pt>
                      <c:pt idx="7194">
                        <c:v>22.927</c:v>
                      </c:pt>
                      <c:pt idx="7195">
                        <c:v>22.917000000000002</c:v>
                      </c:pt>
                      <c:pt idx="7196">
                        <c:v>22.917000000000002</c:v>
                      </c:pt>
                      <c:pt idx="7197">
                        <c:v>22.917000000000002</c:v>
                      </c:pt>
                      <c:pt idx="7198">
                        <c:v>22.917000000000002</c:v>
                      </c:pt>
                      <c:pt idx="7199">
                        <c:v>22.917000000000002</c:v>
                      </c:pt>
                      <c:pt idx="7200">
                        <c:v>22.864999999999998</c:v>
                      </c:pt>
                      <c:pt idx="7201">
                        <c:v>22.864999999999998</c:v>
                      </c:pt>
                      <c:pt idx="7202">
                        <c:v>22.864999999999998</c:v>
                      </c:pt>
                      <c:pt idx="7203">
                        <c:v>22.864999999999998</c:v>
                      </c:pt>
                      <c:pt idx="7204">
                        <c:v>22.864999999999998</c:v>
                      </c:pt>
                      <c:pt idx="7205">
                        <c:v>22.96</c:v>
                      </c:pt>
                      <c:pt idx="7206">
                        <c:v>22.96</c:v>
                      </c:pt>
                      <c:pt idx="7207">
                        <c:v>22.96</c:v>
                      </c:pt>
                      <c:pt idx="7208">
                        <c:v>22.96</c:v>
                      </c:pt>
                      <c:pt idx="7209">
                        <c:v>22.96</c:v>
                      </c:pt>
                      <c:pt idx="7210">
                        <c:v>22.937000000000001</c:v>
                      </c:pt>
                      <c:pt idx="7211">
                        <c:v>22.937000000000001</c:v>
                      </c:pt>
                      <c:pt idx="7212">
                        <c:v>22.937000000000001</c:v>
                      </c:pt>
                      <c:pt idx="7213">
                        <c:v>22.937000000000001</c:v>
                      </c:pt>
                      <c:pt idx="7214">
                        <c:v>22.937000000000001</c:v>
                      </c:pt>
                      <c:pt idx="7215">
                        <c:v>22.927</c:v>
                      </c:pt>
                      <c:pt idx="7216">
                        <c:v>22.927</c:v>
                      </c:pt>
                      <c:pt idx="7217">
                        <c:v>22.927</c:v>
                      </c:pt>
                      <c:pt idx="7218">
                        <c:v>22.927</c:v>
                      </c:pt>
                      <c:pt idx="7219">
                        <c:v>22.927</c:v>
                      </c:pt>
                      <c:pt idx="7220">
                        <c:v>22.922999999999998</c:v>
                      </c:pt>
                      <c:pt idx="7221">
                        <c:v>22.922999999999998</c:v>
                      </c:pt>
                      <c:pt idx="7222">
                        <c:v>22.922999999999998</c:v>
                      </c:pt>
                      <c:pt idx="7223">
                        <c:v>22.922999999999998</c:v>
                      </c:pt>
                      <c:pt idx="7224">
                        <c:v>22.922999999999998</c:v>
                      </c:pt>
                      <c:pt idx="7225">
                        <c:v>22.927</c:v>
                      </c:pt>
                      <c:pt idx="7226">
                        <c:v>22.927</c:v>
                      </c:pt>
                      <c:pt idx="7227">
                        <c:v>22.927</c:v>
                      </c:pt>
                      <c:pt idx="7228">
                        <c:v>22.927</c:v>
                      </c:pt>
                      <c:pt idx="7229">
                        <c:v>22.927</c:v>
                      </c:pt>
                      <c:pt idx="7230">
                        <c:v>23.07</c:v>
                      </c:pt>
                      <c:pt idx="7231">
                        <c:v>23.07</c:v>
                      </c:pt>
                      <c:pt idx="7232">
                        <c:v>23.07</c:v>
                      </c:pt>
                      <c:pt idx="7233">
                        <c:v>23.07</c:v>
                      </c:pt>
                      <c:pt idx="7234">
                        <c:v>23.07</c:v>
                      </c:pt>
                      <c:pt idx="7235">
                        <c:v>22.917000000000002</c:v>
                      </c:pt>
                      <c:pt idx="7236">
                        <c:v>22.917000000000002</c:v>
                      </c:pt>
                      <c:pt idx="7237">
                        <c:v>22.917000000000002</c:v>
                      </c:pt>
                      <c:pt idx="7238">
                        <c:v>22.917000000000002</c:v>
                      </c:pt>
                      <c:pt idx="7239">
                        <c:v>22.917000000000002</c:v>
                      </c:pt>
                      <c:pt idx="7240">
                        <c:v>22.905999999999999</c:v>
                      </c:pt>
                      <c:pt idx="7241">
                        <c:v>22.905999999999999</c:v>
                      </c:pt>
                      <c:pt idx="7242">
                        <c:v>22.905999999999999</c:v>
                      </c:pt>
                      <c:pt idx="7243">
                        <c:v>22.905999999999999</c:v>
                      </c:pt>
                      <c:pt idx="7244">
                        <c:v>22.905999999999999</c:v>
                      </c:pt>
                      <c:pt idx="7245">
                        <c:v>22.852</c:v>
                      </c:pt>
                      <c:pt idx="7246">
                        <c:v>22.852</c:v>
                      </c:pt>
                      <c:pt idx="7247">
                        <c:v>22.852</c:v>
                      </c:pt>
                      <c:pt idx="7248">
                        <c:v>22.852</c:v>
                      </c:pt>
                      <c:pt idx="7249">
                        <c:v>22.852</c:v>
                      </c:pt>
                      <c:pt idx="7250">
                        <c:v>22.725999999999999</c:v>
                      </c:pt>
                      <c:pt idx="7251">
                        <c:v>22.725999999999999</c:v>
                      </c:pt>
                      <c:pt idx="7252">
                        <c:v>22.725999999999999</c:v>
                      </c:pt>
                      <c:pt idx="7253">
                        <c:v>22.725999999999999</c:v>
                      </c:pt>
                      <c:pt idx="7254">
                        <c:v>22.725999999999999</c:v>
                      </c:pt>
                      <c:pt idx="7255">
                        <c:v>22.722000000000001</c:v>
                      </c:pt>
                      <c:pt idx="7256">
                        <c:v>22.722000000000001</c:v>
                      </c:pt>
                      <c:pt idx="7257">
                        <c:v>22.722000000000001</c:v>
                      </c:pt>
                      <c:pt idx="7258">
                        <c:v>22.722000000000001</c:v>
                      </c:pt>
                      <c:pt idx="7259">
                        <c:v>22.722000000000001</c:v>
                      </c:pt>
                      <c:pt idx="7260">
                        <c:v>22.721</c:v>
                      </c:pt>
                      <c:pt idx="7261">
                        <c:v>22.721</c:v>
                      </c:pt>
                      <c:pt idx="7262">
                        <c:v>22.721</c:v>
                      </c:pt>
                      <c:pt idx="7263">
                        <c:v>22.721</c:v>
                      </c:pt>
                      <c:pt idx="7264">
                        <c:v>22.721</c:v>
                      </c:pt>
                      <c:pt idx="7265">
                        <c:v>22.753</c:v>
                      </c:pt>
                      <c:pt idx="7266">
                        <c:v>22.753</c:v>
                      </c:pt>
                      <c:pt idx="7267">
                        <c:v>22.753</c:v>
                      </c:pt>
                      <c:pt idx="7268">
                        <c:v>22.753</c:v>
                      </c:pt>
                      <c:pt idx="7269">
                        <c:v>22.753</c:v>
                      </c:pt>
                      <c:pt idx="7270">
                        <c:v>22.716000000000001</c:v>
                      </c:pt>
                      <c:pt idx="7271">
                        <c:v>22.716000000000001</c:v>
                      </c:pt>
                      <c:pt idx="7272">
                        <c:v>22.716000000000001</c:v>
                      </c:pt>
                      <c:pt idx="7273">
                        <c:v>22.716000000000001</c:v>
                      </c:pt>
                      <c:pt idx="7274">
                        <c:v>22.716000000000001</c:v>
                      </c:pt>
                      <c:pt idx="7275">
                        <c:v>22.626999999999999</c:v>
                      </c:pt>
                      <c:pt idx="7276">
                        <c:v>22.626999999999999</c:v>
                      </c:pt>
                      <c:pt idx="7277">
                        <c:v>22.626999999999999</c:v>
                      </c:pt>
                      <c:pt idx="7278">
                        <c:v>22.626999999999999</c:v>
                      </c:pt>
                      <c:pt idx="7279">
                        <c:v>22.626999999999999</c:v>
                      </c:pt>
                      <c:pt idx="7280">
                        <c:v>22.617999999999999</c:v>
                      </c:pt>
                      <c:pt idx="7281">
                        <c:v>22.617999999999999</c:v>
                      </c:pt>
                      <c:pt idx="7282">
                        <c:v>22.617999999999999</c:v>
                      </c:pt>
                      <c:pt idx="7283">
                        <c:v>22.617999999999999</c:v>
                      </c:pt>
                      <c:pt idx="7284">
                        <c:v>22.617999999999999</c:v>
                      </c:pt>
                      <c:pt idx="7285">
                        <c:v>22.588999999999999</c:v>
                      </c:pt>
                      <c:pt idx="7286">
                        <c:v>22.588999999999999</c:v>
                      </c:pt>
                      <c:pt idx="7287">
                        <c:v>22.588999999999999</c:v>
                      </c:pt>
                      <c:pt idx="7288">
                        <c:v>22.588999999999999</c:v>
                      </c:pt>
                      <c:pt idx="7289">
                        <c:v>22.588999999999999</c:v>
                      </c:pt>
                      <c:pt idx="7290">
                        <c:v>22.581</c:v>
                      </c:pt>
                      <c:pt idx="7291">
                        <c:v>22.581</c:v>
                      </c:pt>
                      <c:pt idx="7292">
                        <c:v>22.581</c:v>
                      </c:pt>
                      <c:pt idx="7293">
                        <c:v>22.581</c:v>
                      </c:pt>
                      <c:pt idx="7294">
                        <c:v>22.581</c:v>
                      </c:pt>
                      <c:pt idx="7295">
                        <c:v>22.556999999999999</c:v>
                      </c:pt>
                      <c:pt idx="7296">
                        <c:v>22.556999999999999</c:v>
                      </c:pt>
                      <c:pt idx="7297">
                        <c:v>22.556999999999999</c:v>
                      </c:pt>
                      <c:pt idx="7298">
                        <c:v>22.556999999999999</c:v>
                      </c:pt>
                      <c:pt idx="7299">
                        <c:v>22.556999999999999</c:v>
                      </c:pt>
                      <c:pt idx="7300">
                        <c:v>22.553000000000001</c:v>
                      </c:pt>
                      <c:pt idx="7301">
                        <c:v>22.553000000000001</c:v>
                      </c:pt>
                      <c:pt idx="7302">
                        <c:v>22.553000000000001</c:v>
                      </c:pt>
                      <c:pt idx="7303">
                        <c:v>22.553000000000001</c:v>
                      </c:pt>
                      <c:pt idx="7304">
                        <c:v>22.553000000000001</c:v>
                      </c:pt>
                      <c:pt idx="7305">
                        <c:v>22.55</c:v>
                      </c:pt>
                      <c:pt idx="7306">
                        <c:v>22.55</c:v>
                      </c:pt>
                      <c:pt idx="7307">
                        <c:v>22.55</c:v>
                      </c:pt>
                      <c:pt idx="7308">
                        <c:v>22.55</c:v>
                      </c:pt>
                      <c:pt idx="7309">
                        <c:v>22.55</c:v>
                      </c:pt>
                      <c:pt idx="7310">
                        <c:v>22.494</c:v>
                      </c:pt>
                      <c:pt idx="7311">
                        <c:v>22.494</c:v>
                      </c:pt>
                      <c:pt idx="7312">
                        <c:v>22.494</c:v>
                      </c:pt>
                      <c:pt idx="7313">
                        <c:v>22.494</c:v>
                      </c:pt>
                      <c:pt idx="7314">
                        <c:v>22.494</c:v>
                      </c:pt>
                      <c:pt idx="7315">
                        <c:v>22.373000000000001</c:v>
                      </c:pt>
                      <c:pt idx="7316">
                        <c:v>22.373000000000001</c:v>
                      </c:pt>
                      <c:pt idx="7317">
                        <c:v>22.373000000000001</c:v>
                      </c:pt>
                      <c:pt idx="7318">
                        <c:v>22.373000000000001</c:v>
                      </c:pt>
                      <c:pt idx="7319">
                        <c:v>22.373000000000001</c:v>
                      </c:pt>
                      <c:pt idx="7320">
                        <c:v>22.303999999999998</c:v>
                      </c:pt>
                      <c:pt idx="7321">
                        <c:v>22.303999999999998</c:v>
                      </c:pt>
                      <c:pt idx="7322">
                        <c:v>22.303999999999998</c:v>
                      </c:pt>
                      <c:pt idx="7323">
                        <c:v>22.303999999999998</c:v>
                      </c:pt>
                      <c:pt idx="7324">
                        <c:v>22.303999999999998</c:v>
                      </c:pt>
                      <c:pt idx="7325">
                        <c:v>22.344000000000001</c:v>
                      </c:pt>
                      <c:pt idx="7326">
                        <c:v>22.344000000000001</c:v>
                      </c:pt>
                      <c:pt idx="7327">
                        <c:v>22.344000000000001</c:v>
                      </c:pt>
                      <c:pt idx="7328">
                        <c:v>22.344000000000001</c:v>
                      </c:pt>
                      <c:pt idx="7329">
                        <c:v>22.344000000000001</c:v>
                      </c:pt>
                      <c:pt idx="7330">
                        <c:v>22.369</c:v>
                      </c:pt>
                      <c:pt idx="7331">
                        <c:v>22.369</c:v>
                      </c:pt>
                      <c:pt idx="7332">
                        <c:v>22.369</c:v>
                      </c:pt>
                      <c:pt idx="7333">
                        <c:v>22.369</c:v>
                      </c:pt>
                      <c:pt idx="7334">
                        <c:v>22.369</c:v>
                      </c:pt>
                      <c:pt idx="7335">
                        <c:v>22.324999999999999</c:v>
                      </c:pt>
                      <c:pt idx="7336">
                        <c:v>22.324999999999999</c:v>
                      </c:pt>
                      <c:pt idx="7337">
                        <c:v>22.324999999999999</c:v>
                      </c:pt>
                      <c:pt idx="7338">
                        <c:v>22.324999999999999</c:v>
                      </c:pt>
                      <c:pt idx="7339">
                        <c:v>22.324999999999999</c:v>
                      </c:pt>
                      <c:pt idx="7340">
                        <c:v>22.337</c:v>
                      </c:pt>
                      <c:pt idx="7341">
                        <c:v>22.337</c:v>
                      </c:pt>
                      <c:pt idx="7342">
                        <c:v>22.337</c:v>
                      </c:pt>
                      <c:pt idx="7343">
                        <c:v>22.337</c:v>
                      </c:pt>
                      <c:pt idx="7344">
                        <c:v>22.337</c:v>
                      </c:pt>
                      <c:pt idx="7345">
                        <c:v>22.34</c:v>
                      </c:pt>
                      <c:pt idx="7346">
                        <c:v>22.34</c:v>
                      </c:pt>
                      <c:pt idx="7347">
                        <c:v>22.34</c:v>
                      </c:pt>
                      <c:pt idx="7348">
                        <c:v>22.34</c:v>
                      </c:pt>
                      <c:pt idx="7349">
                        <c:v>22.34</c:v>
                      </c:pt>
                      <c:pt idx="7350">
                        <c:v>22.337</c:v>
                      </c:pt>
                      <c:pt idx="7351">
                        <c:v>22.337</c:v>
                      </c:pt>
                      <c:pt idx="7352">
                        <c:v>22.337</c:v>
                      </c:pt>
                      <c:pt idx="7353">
                        <c:v>22.337</c:v>
                      </c:pt>
                      <c:pt idx="7354">
                        <c:v>22.337</c:v>
                      </c:pt>
                      <c:pt idx="7355">
                        <c:v>22.271999999999998</c:v>
                      </c:pt>
                      <c:pt idx="7356">
                        <c:v>22.271999999999998</c:v>
                      </c:pt>
                      <c:pt idx="7357">
                        <c:v>22.271999999999998</c:v>
                      </c:pt>
                      <c:pt idx="7358">
                        <c:v>22.271999999999998</c:v>
                      </c:pt>
                      <c:pt idx="7359">
                        <c:v>22.271999999999998</c:v>
                      </c:pt>
                      <c:pt idx="7360">
                        <c:v>22.207999999999998</c:v>
                      </c:pt>
                      <c:pt idx="7361">
                        <c:v>22.207999999999998</c:v>
                      </c:pt>
                      <c:pt idx="7362">
                        <c:v>22.207999999999998</c:v>
                      </c:pt>
                      <c:pt idx="7363">
                        <c:v>22.207999999999998</c:v>
                      </c:pt>
                      <c:pt idx="7364">
                        <c:v>22.207999999999998</c:v>
                      </c:pt>
                      <c:pt idx="7365">
                        <c:v>22.202000000000002</c:v>
                      </c:pt>
                      <c:pt idx="7366">
                        <c:v>22.202000000000002</c:v>
                      </c:pt>
                      <c:pt idx="7367">
                        <c:v>22.202000000000002</c:v>
                      </c:pt>
                      <c:pt idx="7368">
                        <c:v>22.202000000000002</c:v>
                      </c:pt>
                      <c:pt idx="7369">
                        <c:v>22.202000000000002</c:v>
                      </c:pt>
                      <c:pt idx="7370">
                        <c:v>22.186</c:v>
                      </c:pt>
                      <c:pt idx="7371">
                        <c:v>22.186</c:v>
                      </c:pt>
                      <c:pt idx="7372">
                        <c:v>22.186</c:v>
                      </c:pt>
                      <c:pt idx="7373">
                        <c:v>22.186</c:v>
                      </c:pt>
                      <c:pt idx="7374">
                        <c:v>22.186</c:v>
                      </c:pt>
                      <c:pt idx="7375">
                        <c:v>22.263000000000002</c:v>
                      </c:pt>
                      <c:pt idx="7376">
                        <c:v>22.263000000000002</c:v>
                      </c:pt>
                      <c:pt idx="7377">
                        <c:v>22.263000000000002</c:v>
                      </c:pt>
                      <c:pt idx="7378">
                        <c:v>22.263000000000002</c:v>
                      </c:pt>
                      <c:pt idx="7379">
                        <c:v>22.263000000000002</c:v>
                      </c:pt>
                      <c:pt idx="7380">
                        <c:v>22.19</c:v>
                      </c:pt>
                      <c:pt idx="7381">
                        <c:v>22.19</c:v>
                      </c:pt>
                      <c:pt idx="7382">
                        <c:v>22.19</c:v>
                      </c:pt>
                      <c:pt idx="7383">
                        <c:v>22.19</c:v>
                      </c:pt>
                      <c:pt idx="7384">
                        <c:v>22.19</c:v>
                      </c:pt>
                      <c:pt idx="7385">
                        <c:v>22.184999999999999</c:v>
                      </c:pt>
                      <c:pt idx="7386">
                        <c:v>22.184999999999999</c:v>
                      </c:pt>
                      <c:pt idx="7387">
                        <c:v>22.184999999999999</c:v>
                      </c:pt>
                      <c:pt idx="7388">
                        <c:v>22.184999999999999</c:v>
                      </c:pt>
                      <c:pt idx="7389">
                        <c:v>22.184999999999999</c:v>
                      </c:pt>
                      <c:pt idx="7390">
                        <c:v>22.198</c:v>
                      </c:pt>
                      <c:pt idx="7391">
                        <c:v>22.198</c:v>
                      </c:pt>
                      <c:pt idx="7392">
                        <c:v>22.198</c:v>
                      </c:pt>
                      <c:pt idx="7393">
                        <c:v>22.198</c:v>
                      </c:pt>
                      <c:pt idx="7394">
                        <c:v>22.198</c:v>
                      </c:pt>
                      <c:pt idx="7395">
                        <c:v>22.331</c:v>
                      </c:pt>
                      <c:pt idx="7396">
                        <c:v>22.331</c:v>
                      </c:pt>
                      <c:pt idx="7397">
                        <c:v>22.331</c:v>
                      </c:pt>
                      <c:pt idx="7398">
                        <c:v>22.331</c:v>
                      </c:pt>
                      <c:pt idx="7399">
                        <c:v>22.331</c:v>
                      </c:pt>
                      <c:pt idx="7400">
                        <c:v>22.349</c:v>
                      </c:pt>
                      <c:pt idx="7401">
                        <c:v>22.349</c:v>
                      </c:pt>
                      <c:pt idx="7402">
                        <c:v>22.349</c:v>
                      </c:pt>
                      <c:pt idx="7403">
                        <c:v>22.349</c:v>
                      </c:pt>
                      <c:pt idx="7404">
                        <c:v>22.349</c:v>
                      </c:pt>
                      <c:pt idx="7405">
                        <c:v>21.733000000000001</c:v>
                      </c:pt>
                      <c:pt idx="7406">
                        <c:v>21.733000000000001</c:v>
                      </c:pt>
                      <c:pt idx="7407">
                        <c:v>21.733000000000001</c:v>
                      </c:pt>
                      <c:pt idx="7408">
                        <c:v>21.733000000000001</c:v>
                      </c:pt>
                      <c:pt idx="7409">
                        <c:v>21.733000000000001</c:v>
                      </c:pt>
                      <c:pt idx="7410">
                        <c:v>21.736999999999998</c:v>
                      </c:pt>
                      <c:pt idx="7411">
                        <c:v>21.736999999999998</c:v>
                      </c:pt>
                      <c:pt idx="7412">
                        <c:v>21.736999999999998</c:v>
                      </c:pt>
                      <c:pt idx="7413">
                        <c:v>21.736999999999998</c:v>
                      </c:pt>
                      <c:pt idx="7414">
                        <c:v>21.736999999999998</c:v>
                      </c:pt>
                      <c:pt idx="7415">
                        <c:v>21.747</c:v>
                      </c:pt>
                      <c:pt idx="7416">
                        <c:v>21.747</c:v>
                      </c:pt>
                      <c:pt idx="7417">
                        <c:v>21.747</c:v>
                      </c:pt>
                      <c:pt idx="7418">
                        <c:v>21.747</c:v>
                      </c:pt>
                      <c:pt idx="7419">
                        <c:v>21.747</c:v>
                      </c:pt>
                      <c:pt idx="7420">
                        <c:v>21.751999999999999</c:v>
                      </c:pt>
                      <c:pt idx="7421">
                        <c:v>21.751999999999999</c:v>
                      </c:pt>
                      <c:pt idx="7422">
                        <c:v>21.751999999999999</c:v>
                      </c:pt>
                      <c:pt idx="7423">
                        <c:v>21.751999999999999</c:v>
                      </c:pt>
                      <c:pt idx="7424">
                        <c:v>21.751999999999999</c:v>
                      </c:pt>
                      <c:pt idx="7425">
                        <c:v>21.760999999999999</c:v>
                      </c:pt>
                      <c:pt idx="7426">
                        <c:v>21.760999999999999</c:v>
                      </c:pt>
                      <c:pt idx="7427">
                        <c:v>21.760999999999999</c:v>
                      </c:pt>
                      <c:pt idx="7428">
                        <c:v>21.760999999999999</c:v>
                      </c:pt>
                      <c:pt idx="7429">
                        <c:v>21.760999999999999</c:v>
                      </c:pt>
                      <c:pt idx="7430">
                        <c:v>21.763999999999999</c:v>
                      </c:pt>
                      <c:pt idx="7431">
                        <c:v>21.763999999999999</c:v>
                      </c:pt>
                      <c:pt idx="7432">
                        <c:v>21.763999999999999</c:v>
                      </c:pt>
                      <c:pt idx="7433">
                        <c:v>21.763999999999999</c:v>
                      </c:pt>
                      <c:pt idx="7434">
                        <c:v>21.763999999999999</c:v>
                      </c:pt>
                      <c:pt idx="7435">
                        <c:v>21.783000000000001</c:v>
                      </c:pt>
                      <c:pt idx="7436">
                        <c:v>21.783000000000001</c:v>
                      </c:pt>
                      <c:pt idx="7437">
                        <c:v>21.783000000000001</c:v>
                      </c:pt>
                      <c:pt idx="7438">
                        <c:v>21.783000000000001</c:v>
                      </c:pt>
                      <c:pt idx="7439">
                        <c:v>21.783000000000001</c:v>
                      </c:pt>
                      <c:pt idx="7440">
                        <c:v>21.856000000000002</c:v>
                      </c:pt>
                      <c:pt idx="7441">
                        <c:v>21.856000000000002</c:v>
                      </c:pt>
                      <c:pt idx="7442">
                        <c:v>21.856000000000002</c:v>
                      </c:pt>
                      <c:pt idx="7443">
                        <c:v>21.856000000000002</c:v>
                      </c:pt>
                      <c:pt idx="7444">
                        <c:v>21.856000000000002</c:v>
                      </c:pt>
                      <c:pt idx="7445">
                        <c:v>21.891999999999999</c:v>
                      </c:pt>
                      <c:pt idx="7446">
                        <c:v>21.891999999999999</c:v>
                      </c:pt>
                      <c:pt idx="7447">
                        <c:v>21.891999999999999</c:v>
                      </c:pt>
                      <c:pt idx="7448">
                        <c:v>21.891999999999999</c:v>
                      </c:pt>
                      <c:pt idx="7449">
                        <c:v>21.891999999999999</c:v>
                      </c:pt>
                      <c:pt idx="7450">
                        <c:v>21.96</c:v>
                      </c:pt>
                      <c:pt idx="7451">
                        <c:v>21.96</c:v>
                      </c:pt>
                      <c:pt idx="7452">
                        <c:v>21.96</c:v>
                      </c:pt>
                      <c:pt idx="7453">
                        <c:v>21.96</c:v>
                      </c:pt>
                      <c:pt idx="7454">
                        <c:v>21.96</c:v>
                      </c:pt>
                      <c:pt idx="7455">
                        <c:v>21.991</c:v>
                      </c:pt>
                      <c:pt idx="7456">
                        <c:v>21.991</c:v>
                      </c:pt>
                      <c:pt idx="7457">
                        <c:v>21.991</c:v>
                      </c:pt>
                      <c:pt idx="7458">
                        <c:v>21.991</c:v>
                      </c:pt>
                      <c:pt idx="7459">
                        <c:v>21.991</c:v>
                      </c:pt>
                      <c:pt idx="7460">
                        <c:v>22.218</c:v>
                      </c:pt>
                      <c:pt idx="7461">
                        <c:v>22.218</c:v>
                      </c:pt>
                      <c:pt idx="7462">
                        <c:v>22.218</c:v>
                      </c:pt>
                      <c:pt idx="7463">
                        <c:v>22.218</c:v>
                      </c:pt>
                      <c:pt idx="7464">
                        <c:v>22.218</c:v>
                      </c:pt>
                      <c:pt idx="7465">
                        <c:v>22.271999999999998</c:v>
                      </c:pt>
                      <c:pt idx="7466">
                        <c:v>22.271999999999998</c:v>
                      </c:pt>
                      <c:pt idx="7467">
                        <c:v>22.271999999999998</c:v>
                      </c:pt>
                      <c:pt idx="7468">
                        <c:v>22.271999999999998</c:v>
                      </c:pt>
                      <c:pt idx="7469">
                        <c:v>22.271999999999998</c:v>
                      </c:pt>
                      <c:pt idx="7470">
                        <c:v>22.442</c:v>
                      </c:pt>
                      <c:pt idx="7471">
                        <c:v>22.442</c:v>
                      </c:pt>
                      <c:pt idx="7472">
                        <c:v>22.442</c:v>
                      </c:pt>
                      <c:pt idx="7473">
                        <c:v>22.442</c:v>
                      </c:pt>
                      <c:pt idx="7474">
                        <c:v>22.442</c:v>
                      </c:pt>
                      <c:pt idx="7475">
                        <c:v>22.446000000000002</c:v>
                      </c:pt>
                      <c:pt idx="7476">
                        <c:v>22.446000000000002</c:v>
                      </c:pt>
                      <c:pt idx="7477">
                        <c:v>22.446000000000002</c:v>
                      </c:pt>
                      <c:pt idx="7478">
                        <c:v>22.446000000000002</c:v>
                      </c:pt>
                      <c:pt idx="7479">
                        <c:v>22.446000000000002</c:v>
                      </c:pt>
                      <c:pt idx="7480">
                        <c:v>22.451000000000001</c:v>
                      </c:pt>
                      <c:pt idx="7481">
                        <c:v>22.451000000000001</c:v>
                      </c:pt>
                      <c:pt idx="7482">
                        <c:v>22.451000000000001</c:v>
                      </c:pt>
                      <c:pt idx="7483">
                        <c:v>22.451000000000001</c:v>
                      </c:pt>
                      <c:pt idx="7484">
                        <c:v>22.451000000000001</c:v>
                      </c:pt>
                      <c:pt idx="7485">
                        <c:v>22.457999999999998</c:v>
                      </c:pt>
                      <c:pt idx="7486">
                        <c:v>22.457999999999998</c:v>
                      </c:pt>
                      <c:pt idx="7487">
                        <c:v>22.457999999999998</c:v>
                      </c:pt>
                      <c:pt idx="7488">
                        <c:v>22.457999999999998</c:v>
                      </c:pt>
                      <c:pt idx="7489">
                        <c:v>22.457999999999998</c:v>
                      </c:pt>
                      <c:pt idx="7490">
                        <c:v>22.675999999999998</c:v>
                      </c:pt>
                      <c:pt idx="7491">
                        <c:v>22.675999999999998</c:v>
                      </c:pt>
                      <c:pt idx="7492">
                        <c:v>22.675999999999998</c:v>
                      </c:pt>
                      <c:pt idx="7493">
                        <c:v>22.675999999999998</c:v>
                      </c:pt>
                      <c:pt idx="7494">
                        <c:v>22.675999999999998</c:v>
                      </c:pt>
                      <c:pt idx="7495">
                        <c:v>22.669</c:v>
                      </c:pt>
                      <c:pt idx="7496">
                        <c:v>22.669</c:v>
                      </c:pt>
                      <c:pt idx="7497">
                        <c:v>22.669</c:v>
                      </c:pt>
                      <c:pt idx="7498">
                        <c:v>22.669</c:v>
                      </c:pt>
                      <c:pt idx="7499">
                        <c:v>22.669</c:v>
                      </c:pt>
                      <c:pt idx="7500">
                        <c:v>22.666</c:v>
                      </c:pt>
                      <c:pt idx="7501">
                        <c:v>22.666</c:v>
                      </c:pt>
                      <c:pt idx="7502">
                        <c:v>22.666</c:v>
                      </c:pt>
                      <c:pt idx="7503">
                        <c:v>22.666</c:v>
                      </c:pt>
                      <c:pt idx="7504">
                        <c:v>22.666</c:v>
                      </c:pt>
                      <c:pt idx="7505">
                        <c:v>22.69</c:v>
                      </c:pt>
                      <c:pt idx="7506">
                        <c:v>22.69</c:v>
                      </c:pt>
                      <c:pt idx="7507">
                        <c:v>22.69</c:v>
                      </c:pt>
                      <c:pt idx="7508">
                        <c:v>22.69</c:v>
                      </c:pt>
                      <c:pt idx="7509">
                        <c:v>22.69</c:v>
                      </c:pt>
                      <c:pt idx="7510">
                        <c:v>23.050999999999998</c:v>
                      </c:pt>
                      <c:pt idx="7511">
                        <c:v>23.050999999999998</c:v>
                      </c:pt>
                      <c:pt idx="7512">
                        <c:v>23.050999999999998</c:v>
                      </c:pt>
                      <c:pt idx="7513">
                        <c:v>23.050999999999998</c:v>
                      </c:pt>
                      <c:pt idx="7514">
                        <c:v>23.050999999999998</c:v>
                      </c:pt>
                      <c:pt idx="7515">
                        <c:v>23.053999999999998</c:v>
                      </c:pt>
                      <c:pt idx="7516">
                        <c:v>23.053999999999998</c:v>
                      </c:pt>
                      <c:pt idx="7517">
                        <c:v>23.053999999999998</c:v>
                      </c:pt>
                      <c:pt idx="7518">
                        <c:v>23.053999999999998</c:v>
                      </c:pt>
                      <c:pt idx="7519">
                        <c:v>23.053999999999998</c:v>
                      </c:pt>
                      <c:pt idx="7520">
                        <c:v>23.056000000000001</c:v>
                      </c:pt>
                      <c:pt idx="7521">
                        <c:v>23.056000000000001</c:v>
                      </c:pt>
                      <c:pt idx="7522">
                        <c:v>23.056000000000001</c:v>
                      </c:pt>
                      <c:pt idx="7523">
                        <c:v>23.056000000000001</c:v>
                      </c:pt>
                      <c:pt idx="7524">
                        <c:v>23.056000000000001</c:v>
                      </c:pt>
                      <c:pt idx="7525">
                        <c:v>23.167999999999999</c:v>
                      </c:pt>
                      <c:pt idx="7526">
                        <c:v>23.167999999999999</c:v>
                      </c:pt>
                      <c:pt idx="7527">
                        <c:v>23.167999999999999</c:v>
                      </c:pt>
                      <c:pt idx="7528">
                        <c:v>23.167999999999999</c:v>
                      </c:pt>
                      <c:pt idx="7529">
                        <c:v>23.167999999999999</c:v>
                      </c:pt>
                      <c:pt idx="7530">
                        <c:v>23.204000000000001</c:v>
                      </c:pt>
                      <c:pt idx="7531">
                        <c:v>23.204000000000001</c:v>
                      </c:pt>
                      <c:pt idx="7532">
                        <c:v>23.204000000000001</c:v>
                      </c:pt>
                      <c:pt idx="7533">
                        <c:v>23.204000000000001</c:v>
                      </c:pt>
                      <c:pt idx="7534">
                        <c:v>23.204000000000001</c:v>
                      </c:pt>
                      <c:pt idx="7535">
                        <c:v>23.4</c:v>
                      </c:pt>
                      <c:pt idx="7536">
                        <c:v>23.4</c:v>
                      </c:pt>
                      <c:pt idx="7537">
                        <c:v>23.4</c:v>
                      </c:pt>
                      <c:pt idx="7538">
                        <c:v>23.4</c:v>
                      </c:pt>
                      <c:pt idx="7539">
                        <c:v>23.4</c:v>
                      </c:pt>
                      <c:pt idx="7540">
                        <c:v>23.414000000000001</c:v>
                      </c:pt>
                      <c:pt idx="7541">
                        <c:v>23.414000000000001</c:v>
                      </c:pt>
                      <c:pt idx="7542">
                        <c:v>23.414000000000001</c:v>
                      </c:pt>
                      <c:pt idx="7543">
                        <c:v>23.414000000000001</c:v>
                      </c:pt>
                      <c:pt idx="7544">
                        <c:v>23.414000000000001</c:v>
                      </c:pt>
                      <c:pt idx="7545">
                        <c:v>23.428999999999998</c:v>
                      </c:pt>
                      <c:pt idx="7546">
                        <c:v>23.428999999999998</c:v>
                      </c:pt>
                      <c:pt idx="7547">
                        <c:v>23.428999999999998</c:v>
                      </c:pt>
                      <c:pt idx="7548">
                        <c:v>23.428999999999998</c:v>
                      </c:pt>
                      <c:pt idx="7549">
                        <c:v>23.428999999999998</c:v>
                      </c:pt>
                      <c:pt idx="7550">
                        <c:v>23.43</c:v>
                      </c:pt>
                      <c:pt idx="7551">
                        <c:v>23.43</c:v>
                      </c:pt>
                      <c:pt idx="7552">
                        <c:v>23.43</c:v>
                      </c:pt>
                      <c:pt idx="7553">
                        <c:v>23.43</c:v>
                      </c:pt>
                      <c:pt idx="7554">
                        <c:v>23.43</c:v>
                      </c:pt>
                      <c:pt idx="7555">
                        <c:v>23.744</c:v>
                      </c:pt>
                      <c:pt idx="7556">
                        <c:v>23.744</c:v>
                      </c:pt>
                      <c:pt idx="7557">
                        <c:v>23.744</c:v>
                      </c:pt>
                      <c:pt idx="7558">
                        <c:v>23.744</c:v>
                      </c:pt>
                      <c:pt idx="7559">
                        <c:v>23.744</c:v>
                      </c:pt>
                      <c:pt idx="7560">
                        <c:v>23.74</c:v>
                      </c:pt>
                      <c:pt idx="7561">
                        <c:v>23.74</c:v>
                      </c:pt>
                      <c:pt idx="7562">
                        <c:v>23.74</c:v>
                      </c:pt>
                      <c:pt idx="7563">
                        <c:v>23.74</c:v>
                      </c:pt>
                      <c:pt idx="7564">
                        <c:v>23.74</c:v>
                      </c:pt>
                      <c:pt idx="7565">
                        <c:v>23.745000000000001</c:v>
                      </c:pt>
                      <c:pt idx="7566">
                        <c:v>23.745000000000001</c:v>
                      </c:pt>
                      <c:pt idx="7567">
                        <c:v>23.745000000000001</c:v>
                      </c:pt>
                      <c:pt idx="7568">
                        <c:v>23.745000000000001</c:v>
                      </c:pt>
                      <c:pt idx="7569">
                        <c:v>23.745000000000001</c:v>
                      </c:pt>
                      <c:pt idx="7570">
                        <c:v>23.791</c:v>
                      </c:pt>
                      <c:pt idx="7571">
                        <c:v>23.791</c:v>
                      </c:pt>
                      <c:pt idx="7572">
                        <c:v>23.791</c:v>
                      </c:pt>
                      <c:pt idx="7573">
                        <c:v>23.791</c:v>
                      </c:pt>
                      <c:pt idx="7574">
                        <c:v>23.791</c:v>
                      </c:pt>
                      <c:pt idx="7575">
                        <c:v>24.186</c:v>
                      </c:pt>
                      <c:pt idx="7576">
                        <c:v>24.186</c:v>
                      </c:pt>
                      <c:pt idx="7577">
                        <c:v>24.186</c:v>
                      </c:pt>
                      <c:pt idx="7578">
                        <c:v>24.186</c:v>
                      </c:pt>
                      <c:pt idx="7579">
                        <c:v>24.186</c:v>
                      </c:pt>
                      <c:pt idx="7580">
                        <c:v>24.2</c:v>
                      </c:pt>
                      <c:pt idx="7581">
                        <c:v>24.2</c:v>
                      </c:pt>
                      <c:pt idx="7582">
                        <c:v>24.2</c:v>
                      </c:pt>
                      <c:pt idx="7583">
                        <c:v>24.2</c:v>
                      </c:pt>
                      <c:pt idx="7584">
                        <c:v>24.2</c:v>
                      </c:pt>
                      <c:pt idx="7585">
                        <c:v>24.248999999999999</c:v>
                      </c:pt>
                      <c:pt idx="7586">
                        <c:v>24.248999999999999</c:v>
                      </c:pt>
                      <c:pt idx="7587">
                        <c:v>24.248999999999999</c:v>
                      </c:pt>
                      <c:pt idx="7588">
                        <c:v>24.248999999999999</c:v>
                      </c:pt>
                      <c:pt idx="7589">
                        <c:v>24.248999999999999</c:v>
                      </c:pt>
                      <c:pt idx="7590">
                        <c:v>24.356000000000002</c:v>
                      </c:pt>
                      <c:pt idx="7591">
                        <c:v>24.356000000000002</c:v>
                      </c:pt>
                      <c:pt idx="7592">
                        <c:v>24.356000000000002</c:v>
                      </c:pt>
                      <c:pt idx="7593">
                        <c:v>24.356000000000002</c:v>
                      </c:pt>
                      <c:pt idx="7594">
                        <c:v>24.356000000000002</c:v>
                      </c:pt>
                      <c:pt idx="7595">
                        <c:v>24.27</c:v>
                      </c:pt>
                      <c:pt idx="7596">
                        <c:v>24.27</c:v>
                      </c:pt>
                      <c:pt idx="7597">
                        <c:v>24.27</c:v>
                      </c:pt>
                      <c:pt idx="7598">
                        <c:v>24.27</c:v>
                      </c:pt>
                      <c:pt idx="7599">
                        <c:v>24.27</c:v>
                      </c:pt>
                      <c:pt idx="7600">
                        <c:v>24.637</c:v>
                      </c:pt>
                      <c:pt idx="7601">
                        <c:v>24.637</c:v>
                      </c:pt>
                      <c:pt idx="7602">
                        <c:v>24.637</c:v>
                      </c:pt>
                      <c:pt idx="7603">
                        <c:v>24.637</c:v>
                      </c:pt>
                      <c:pt idx="7604">
                        <c:v>24.637</c:v>
                      </c:pt>
                      <c:pt idx="7605">
                        <c:v>24.640999999999998</c:v>
                      </c:pt>
                      <c:pt idx="7606">
                        <c:v>24.640999999999998</c:v>
                      </c:pt>
                      <c:pt idx="7607">
                        <c:v>24.640999999999998</c:v>
                      </c:pt>
                      <c:pt idx="7608">
                        <c:v>24.640999999999998</c:v>
                      </c:pt>
                      <c:pt idx="7609">
                        <c:v>24.640999999999998</c:v>
                      </c:pt>
                      <c:pt idx="7610">
                        <c:v>24.661999999999999</c:v>
                      </c:pt>
                      <c:pt idx="7611">
                        <c:v>24.661999999999999</c:v>
                      </c:pt>
                      <c:pt idx="7612">
                        <c:v>24.661999999999999</c:v>
                      </c:pt>
                      <c:pt idx="7613">
                        <c:v>24.661999999999999</c:v>
                      </c:pt>
                      <c:pt idx="7614">
                        <c:v>24.661999999999999</c:v>
                      </c:pt>
                      <c:pt idx="7615">
                        <c:v>24.661000000000001</c:v>
                      </c:pt>
                      <c:pt idx="7616">
                        <c:v>24.661000000000001</c:v>
                      </c:pt>
                      <c:pt idx="7617">
                        <c:v>24.661000000000001</c:v>
                      </c:pt>
                      <c:pt idx="7618">
                        <c:v>24.661000000000001</c:v>
                      </c:pt>
                      <c:pt idx="7619">
                        <c:v>24.661000000000001</c:v>
                      </c:pt>
                      <c:pt idx="7620">
                        <c:v>24.978999999999999</c:v>
                      </c:pt>
                      <c:pt idx="7621">
                        <c:v>24.978999999999999</c:v>
                      </c:pt>
                      <c:pt idx="7622">
                        <c:v>24.978999999999999</c:v>
                      </c:pt>
                      <c:pt idx="7623">
                        <c:v>24.978999999999999</c:v>
                      </c:pt>
                      <c:pt idx="7624">
                        <c:v>24.978999999999999</c:v>
                      </c:pt>
                      <c:pt idx="7625">
                        <c:v>24.978000000000002</c:v>
                      </c:pt>
                      <c:pt idx="7626">
                        <c:v>24.978000000000002</c:v>
                      </c:pt>
                      <c:pt idx="7627">
                        <c:v>24.978000000000002</c:v>
                      </c:pt>
                      <c:pt idx="7628">
                        <c:v>24.978000000000002</c:v>
                      </c:pt>
                      <c:pt idx="7629">
                        <c:v>24.978000000000002</c:v>
                      </c:pt>
                      <c:pt idx="7630">
                        <c:v>24.975000000000001</c:v>
                      </c:pt>
                      <c:pt idx="7631">
                        <c:v>24.975000000000001</c:v>
                      </c:pt>
                      <c:pt idx="7632">
                        <c:v>24.975000000000001</c:v>
                      </c:pt>
                      <c:pt idx="7633">
                        <c:v>24.975000000000001</c:v>
                      </c:pt>
                      <c:pt idx="7634">
                        <c:v>24.975000000000001</c:v>
                      </c:pt>
                      <c:pt idx="7635">
                        <c:v>24.981999999999999</c:v>
                      </c:pt>
                      <c:pt idx="7636">
                        <c:v>24.981999999999999</c:v>
                      </c:pt>
                      <c:pt idx="7637">
                        <c:v>24.981999999999999</c:v>
                      </c:pt>
                      <c:pt idx="7638">
                        <c:v>24.981999999999999</c:v>
                      </c:pt>
                      <c:pt idx="7639">
                        <c:v>24.981999999999999</c:v>
                      </c:pt>
                      <c:pt idx="7640">
                        <c:v>25.361000000000001</c:v>
                      </c:pt>
                      <c:pt idx="7641">
                        <c:v>25.361000000000001</c:v>
                      </c:pt>
                      <c:pt idx="7642">
                        <c:v>25.361000000000001</c:v>
                      </c:pt>
                      <c:pt idx="7643">
                        <c:v>25.361000000000001</c:v>
                      </c:pt>
                      <c:pt idx="7644">
                        <c:v>25.361000000000001</c:v>
                      </c:pt>
                      <c:pt idx="7645">
                        <c:v>25.405000000000001</c:v>
                      </c:pt>
                      <c:pt idx="7646">
                        <c:v>25.405000000000001</c:v>
                      </c:pt>
                      <c:pt idx="7647">
                        <c:v>25.405000000000001</c:v>
                      </c:pt>
                      <c:pt idx="7648">
                        <c:v>25.405000000000001</c:v>
                      </c:pt>
                      <c:pt idx="7649">
                        <c:v>25.405000000000001</c:v>
                      </c:pt>
                      <c:pt idx="7650">
                        <c:v>25.422000000000001</c:v>
                      </c:pt>
                      <c:pt idx="7651">
                        <c:v>25.422000000000001</c:v>
                      </c:pt>
                      <c:pt idx="7652">
                        <c:v>25.422000000000001</c:v>
                      </c:pt>
                      <c:pt idx="7653">
                        <c:v>25.422000000000001</c:v>
                      </c:pt>
                      <c:pt idx="7654">
                        <c:v>25.422000000000001</c:v>
                      </c:pt>
                      <c:pt idx="7655">
                        <c:v>25.51</c:v>
                      </c:pt>
                      <c:pt idx="7656">
                        <c:v>25.51</c:v>
                      </c:pt>
                      <c:pt idx="7657">
                        <c:v>25.51</c:v>
                      </c:pt>
                      <c:pt idx="7658">
                        <c:v>25.51</c:v>
                      </c:pt>
                      <c:pt idx="7659">
                        <c:v>25.51</c:v>
                      </c:pt>
                      <c:pt idx="7660">
                        <c:v>25.536999999999999</c:v>
                      </c:pt>
                      <c:pt idx="7661">
                        <c:v>25.536999999999999</c:v>
                      </c:pt>
                      <c:pt idx="7662">
                        <c:v>25.536999999999999</c:v>
                      </c:pt>
                      <c:pt idx="7663">
                        <c:v>25.536999999999999</c:v>
                      </c:pt>
                      <c:pt idx="7664">
                        <c:v>25.536999999999999</c:v>
                      </c:pt>
                      <c:pt idx="7665">
                        <c:v>25.806000000000001</c:v>
                      </c:pt>
                      <c:pt idx="7666">
                        <c:v>25.806000000000001</c:v>
                      </c:pt>
                      <c:pt idx="7667">
                        <c:v>25.806000000000001</c:v>
                      </c:pt>
                      <c:pt idx="7668">
                        <c:v>25.806000000000001</c:v>
                      </c:pt>
                      <c:pt idx="7669">
                        <c:v>25.806000000000001</c:v>
                      </c:pt>
                      <c:pt idx="7670">
                        <c:v>25.814</c:v>
                      </c:pt>
                      <c:pt idx="7671">
                        <c:v>25.814</c:v>
                      </c:pt>
                      <c:pt idx="7672">
                        <c:v>25.814</c:v>
                      </c:pt>
                      <c:pt idx="7673">
                        <c:v>25.814</c:v>
                      </c:pt>
                      <c:pt idx="7674">
                        <c:v>25.814</c:v>
                      </c:pt>
                      <c:pt idx="7675">
                        <c:v>25.824999999999999</c:v>
                      </c:pt>
                      <c:pt idx="7676">
                        <c:v>25.824999999999999</c:v>
                      </c:pt>
                      <c:pt idx="7677">
                        <c:v>25.824999999999999</c:v>
                      </c:pt>
                      <c:pt idx="7678">
                        <c:v>25.824999999999999</c:v>
                      </c:pt>
                      <c:pt idx="7679">
                        <c:v>25.824999999999999</c:v>
                      </c:pt>
                      <c:pt idx="7680">
                        <c:v>25.835999999999999</c:v>
                      </c:pt>
                      <c:pt idx="7681">
                        <c:v>25.835999999999999</c:v>
                      </c:pt>
                      <c:pt idx="7682">
                        <c:v>25.835999999999999</c:v>
                      </c:pt>
                      <c:pt idx="7683">
                        <c:v>25.835999999999999</c:v>
                      </c:pt>
                      <c:pt idx="7684">
                        <c:v>25.835999999999999</c:v>
                      </c:pt>
                      <c:pt idx="7685">
                        <c:v>26.210999999999999</c:v>
                      </c:pt>
                      <c:pt idx="7686">
                        <c:v>26.210999999999999</c:v>
                      </c:pt>
                      <c:pt idx="7687">
                        <c:v>26.210999999999999</c:v>
                      </c:pt>
                      <c:pt idx="7688">
                        <c:v>26.210999999999999</c:v>
                      </c:pt>
                      <c:pt idx="7689">
                        <c:v>26.210999999999999</c:v>
                      </c:pt>
                      <c:pt idx="7690">
                        <c:v>26.215</c:v>
                      </c:pt>
                      <c:pt idx="7691">
                        <c:v>26.215</c:v>
                      </c:pt>
                      <c:pt idx="7692">
                        <c:v>26.215</c:v>
                      </c:pt>
                      <c:pt idx="7693">
                        <c:v>26.215</c:v>
                      </c:pt>
                      <c:pt idx="7694">
                        <c:v>26.215</c:v>
                      </c:pt>
                      <c:pt idx="7695">
                        <c:v>26.227</c:v>
                      </c:pt>
                      <c:pt idx="7696">
                        <c:v>26.227</c:v>
                      </c:pt>
                      <c:pt idx="7697">
                        <c:v>26.227</c:v>
                      </c:pt>
                      <c:pt idx="7698">
                        <c:v>26.227</c:v>
                      </c:pt>
                      <c:pt idx="7699">
                        <c:v>26.227</c:v>
                      </c:pt>
                      <c:pt idx="7700">
                        <c:v>26.248999999999999</c:v>
                      </c:pt>
                      <c:pt idx="7701">
                        <c:v>26.248999999999999</c:v>
                      </c:pt>
                      <c:pt idx="7702">
                        <c:v>26.248999999999999</c:v>
                      </c:pt>
                      <c:pt idx="7703">
                        <c:v>26.248999999999999</c:v>
                      </c:pt>
                      <c:pt idx="7704">
                        <c:v>26.248999999999999</c:v>
                      </c:pt>
                      <c:pt idx="7705">
                        <c:v>26.175999999999998</c:v>
                      </c:pt>
                      <c:pt idx="7706">
                        <c:v>26.175999999999998</c:v>
                      </c:pt>
                      <c:pt idx="7707">
                        <c:v>26.175999999999998</c:v>
                      </c:pt>
                      <c:pt idx="7708">
                        <c:v>26.175999999999998</c:v>
                      </c:pt>
                      <c:pt idx="7709">
                        <c:v>26.175999999999998</c:v>
                      </c:pt>
                      <c:pt idx="7710">
                        <c:v>26.594000000000001</c:v>
                      </c:pt>
                      <c:pt idx="7711">
                        <c:v>26.594000000000001</c:v>
                      </c:pt>
                      <c:pt idx="7712">
                        <c:v>26.594000000000001</c:v>
                      </c:pt>
                      <c:pt idx="7713">
                        <c:v>26.594000000000001</c:v>
                      </c:pt>
                      <c:pt idx="7714">
                        <c:v>26.594000000000001</c:v>
                      </c:pt>
                      <c:pt idx="7715">
                        <c:v>26.577000000000002</c:v>
                      </c:pt>
                      <c:pt idx="7716">
                        <c:v>26.577000000000002</c:v>
                      </c:pt>
                      <c:pt idx="7717">
                        <c:v>26.577000000000002</c:v>
                      </c:pt>
                      <c:pt idx="7718">
                        <c:v>26.577000000000002</c:v>
                      </c:pt>
                      <c:pt idx="7719">
                        <c:v>26.577000000000002</c:v>
                      </c:pt>
                      <c:pt idx="7720">
                        <c:v>26.605</c:v>
                      </c:pt>
                      <c:pt idx="7721">
                        <c:v>26.605</c:v>
                      </c:pt>
                      <c:pt idx="7722">
                        <c:v>26.605</c:v>
                      </c:pt>
                      <c:pt idx="7723">
                        <c:v>26.605</c:v>
                      </c:pt>
                      <c:pt idx="7724">
                        <c:v>26.605</c:v>
                      </c:pt>
                      <c:pt idx="7725">
                        <c:v>26.684000000000001</c:v>
                      </c:pt>
                      <c:pt idx="7726">
                        <c:v>26.684000000000001</c:v>
                      </c:pt>
                      <c:pt idx="7727">
                        <c:v>26.684000000000001</c:v>
                      </c:pt>
                      <c:pt idx="7728">
                        <c:v>26.684000000000001</c:v>
                      </c:pt>
                      <c:pt idx="7729">
                        <c:v>26.684000000000001</c:v>
                      </c:pt>
                      <c:pt idx="7730">
                        <c:v>27.161000000000001</c:v>
                      </c:pt>
                      <c:pt idx="7731">
                        <c:v>27.161000000000001</c:v>
                      </c:pt>
                      <c:pt idx="7732">
                        <c:v>27.161000000000001</c:v>
                      </c:pt>
                      <c:pt idx="7733">
                        <c:v>27.161000000000001</c:v>
                      </c:pt>
                      <c:pt idx="7734">
                        <c:v>27.161000000000001</c:v>
                      </c:pt>
                      <c:pt idx="7735">
                        <c:v>27.173999999999999</c:v>
                      </c:pt>
                      <c:pt idx="7736">
                        <c:v>27.173999999999999</c:v>
                      </c:pt>
                      <c:pt idx="7737">
                        <c:v>27.173999999999999</c:v>
                      </c:pt>
                      <c:pt idx="7738">
                        <c:v>27.173999999999999</c:v>
                      </c:pt>
                      <c:pt idx="7739">
                        <c:v>27.173999999999999</c:v>
                      </c:pt>
                      <c:pt idx="7740">
                        <c:v>27.175000000000001</c:v>
                      </c:pt>
                      <c:pt idx="7741">
                        <c:v>27.175000000000001</c:v>
                      </c:pt>
                      <c:pt idx="7742">
                        <c:v>27.175000000000001</c:v>
                      </c:pt>
                      <c:pt idx="7743">
                        <c:v>27.175000000000001</c:v>
                      </c:pt>
                      <c:pt idx="7744">
                        <c:v>27.175000000000001</c:v>
                      </c:pt>
                      <c:pt idx="7745">
                        <c:v>27.178999999999998</c:v>
                      </c:pt>
                      <c:pt idx="7746">
                        <c:v>27.178999999999998</c:v>
                      </c:pt>
                      <c:pt idx="7747">
                        <c:v>27.178999999999998</c:v>
                      </c:pt>
                      <c:pt idx="7748">
                        <c:v>27.178999999999998</c:v>
                      </c:pt>
                      <c:pt idx="7749">
                        <c:v>27.178999999999998</c:v>
                      </c:pt>
                      <c:pt idx="7750">
                        <c:v>27.402999999999999</c:v>
                      </c:pt>
                      <c:pt idx="7751">
                        <c:v>27.402999999999999</c:v>
                      </c:pt>
                      <c:pt idx="7752">
                        <c:v>27.402999999999999</c:v>
                      </c:pt>
                      <c:pt idx="7753">
                        <c:v>27.402999999999999</c:v>
                      </c:pt>
                      <c:pt idx="7754">
                        <c:v>27.402999999999999</c:v>
                      </c:pt>
                      <c:pt idx="7755">
                        <c:v>27.555</c:v>
                      </c:pt>
                      <c:pt idx="7756">
                        <c:v>27.555</c:v>
                      </c:pt>
                      <c:pt idx="7757">
                        <c:v>27.555</c:v>
                      </c:pt>
                      <c:pt idx="7758">
                        <c:v>27.555</c:v>
                      </c:pt>
                      <c:pt idx="7759">
                        <c:v>27.555</c:v>
                      </c:pt>
                      <c:pt idx="7760">
                        <c:v>27.559000000000001</c:v>
                      </c:pt>
                      <c:pt idx="7761">
                        <c:v>27.559000000000001</c:v>
                      </c:pt>
                      <c:pt idx="7762">
                        <c:v>27.559000000000001</c:v>
                      </c:pt>
                      <c:pt idx="7763">
                        <c:v>27.559000000000001</c:v>
                      </c:pt>
                      <c:pt idx="7764">
                        <c:v>27.559000000000001</c:v>
                      </c:pt>
                      <c:pt idx="7765">
                        <c:v>27.564</c:v>
                      </c:pt>
                      <c:pt idx="7766">
                        <c:v>27.564</c:v>
                      </c:pt>
                      <c:pt idx="7767">
                        <c:v>27.564</c:v>
                      </c:pt>
                      <c:pt idx="7768">
                        <c:v>27.564</c:v>
                      </c:pt>
                      <c:pt idx="7769">
                        <c:v>27.564</c:v>
                      </c:pt>
                      <c:pt idx="7770">
                        <c:v>27.619</c:v>
                      </c:pt>
                      <c:pt idx="7771">
                        <c:v>27.619</c:v>
                      </c:pt>
                      <c:pt idx="7772">
                        <c:v>27.619</c:v>
                      </c:pt>
                      <c:pt idx="7773">
                        <c:v>27.619</c:v>
                      </c:pt>
                      <c:pt idx="7774">
                        <c:v>27.619</c:v>
                      </c:pt>
                      <c:pt idx="7775">
                        <c:v>27.956</c:v>
                      </c:pt>
                      <c:pt idx="7776">
                        <c:v>27.956</c:v>
                      </c:pt>
                      <c:pt idx="7777">
                        <c:v>27.956</c:v>
                      </c:pt>
                      <c:pt idx="7778">
                        <c:v>27.956</c:v>
                      </c:pt>
                      <c:pt idx="7779">
                        <c:v>27.956</c:v>
                      </c:pt>
                      <c:pt idx="7780">
                        <c:v>28.001999999999999</c:v>
                      </c:pt>
                      <c:pt idx="7781">
                        <c:v>28.001999999999999</c:v>
                      </c:pt>
                      <c:pt idx="7782">
                        <c:v>28.001999999999999</c:v>
                      </c:pt>
                      <c:pt idx="7783">
                        <c:v>28.001999999999999</c:v>
                      </c:pt>
                      <c:pt idx="7784">
                        <c:v>28.001999999999999</c:v>
                      </c:pt>
                      <c:pt idx="7785">
                        <c:v>28.001999999999999</c:v>
                      </c:pt>
                    </c:numCache>
                  </c:numRef>
                </c:val>
                <c:smooth val="0"/>
                <c:extLst>
                  <c:ext xmlns:c16="http://schemas.microsoft.com/office/drawing/2014/chart" uri="{C3380CC4-5D6E-409C-BE32-E72D297353CC}">
                    <c16:uniqueId val="{00000002-9494-468B-B1D8-CDEAEEA677E5}"/>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Sheet1!$F$2</c15:sqref>
                        </c15:formulaRef>
                      </c:ext>
                    </c:extLst>
                    <c:strCache>
                      <c:ptCount val="1"/>
                      <c:pt idx="0">
                        <c:v>MSCI WxUS IT - 12MTH TRAILING EPS</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Sheet1!$D$3:$D$7790</c15:sqref>
                        </c15:formulaRef>
                      </c:ext>
                    </c:extLst>
                    <c:numCache>
                      <c:formatCode>m/d/yyyy</c:formatCode>
                      <c:ptCount val="7788"/>
                      <c:pt idx="0">
                        <c:v>34718</c:v>
                      </c:pt>
                      <c:pt idx="1">
                        <c:v>34719</c:v>
                      </c:pt>
                      <c:pt idx="2">
                        <c:v>34722</c:v>
                      </c:pt>
                      <c:pt idx="3">
                        <c:v>34723</c:v>
                      </c:pt>
                      <c:pt idx="4">
                        <c:v>34724</c:v>
                      </c:pt>
                      <c:pt idx="5">
                        <c:v>34725</c:v>
                      </c:pt>
                      <c:pt idx="6">
                        <c:v>34726</c:v>
                      </c:pt>
                      <c:pt idx="7">
                        <c:v>34729</c:v>
                      </c:pt>
                      <c:pt idx="8">
                        <c:v>34730</c:v>
                      </c:pt>
                      <c:pt idx="9">
                        <c:v>34731</c:v>
                      </c:pt>
                      <c:pt idx="10">
                        <c:v>34732</c:v>
                      </c:pt>
                      <c:pt idx="11">
                        <c:v>34733</c:v>
                      </c:pt>
                      <c:pt idx="12">
                        <c:v>34736</c:v>
                      </c:pt>
                      <c:pt idx="13">
                        <c:v>34737</c:v>
                      </c:pt>
                      <c:pt idx="14">
                        <c:v>34738</c:v>
                      </c:pt>
                      <c:pt idx="15">
                        <c:v>34739</c:v>
                      </c:pt>
                      <c:pt idx="16">
                        <c:v>34740</c:v>
                      </c:pt>
                      <c:pt idx="17">
                        <c:v>34743</c:v>
                      </c:pt>
                      <c:pt idx="18">
                        <c:v>34744</c:v>
                      </c:pt>
                      <c:pt idx="19">
                        <c:v>34745</c:v>
                      </c:pt>
                      <c:pt idx="20">
                        <c:v>34746</c:v>
                      </c:pt>
                      <c:pt idx="21">
                        <c:v>34747</c:v>
                      </c:pt>
                      <c:pt idx="22">
                        <c:v>34750</c:v>
                      </c:pt>
                      <c:pt idx="23">
                        <c:v>34751</c:v>
                      </c:pt>
                      <c:pt idx="24">
                        <c:v>34752</c:v>
                      </c:pt>
                      <c:pt idx="25">
                        <c:v>34753</c:v>
                      </c:pt>
                      <c:pt idx="26">
                        <c:v>34754</c:v>
                      </c:pt>
                      <c:pt idx="27">
                        <c:v>34757</c:v>
                      </c:pt>
                      <c:pt idx="28">
                        <c:v>34758</c:v>
                      </c:pt>
                      <c:pt idx="29">
                        <c:v>34759</c:v>
                      </c:pt>
                      <c:pt idx="30">
                        <c:v>34760</c:v>
                      </c:pt>
                      <c:pt idx="31">
                        <c:v>34761</c:v>
                      </c:pt>
                      <c:pt idx="32">
                        <c:v>34764</c:v>
                      </c:pt>
                      <c:pt idx="33">
                        <c:v>34765</c:v>
                      </c:pt>
                      <c:pt idx="34">
                        <c:v>34766</c:v>
                      </c:pt>
                      <c:pt idx="35">
                        <c:v>34767</c:v>
                      </c:pt>
                      <c:pt idx="36">
                        <c:v>34768</c:v>
                      </c:pt>
                      <c:pt idx="37">
                        <c:v>34771</c:v>
                      </c:pt>
                      <c:pt idx="38">
                        <c:v>34772</c:v>
                      </c:pt>
                      <c:pt idx="39">
                        <c:v>34773</c:v>
                      </c:pt>
                      <c:pt idx="40">
                        <c:v>34774</c:v>
                      </c:pt>
                      <c:pt idx="41">
                        <c:v>34775</c:v>
                      </c:pt>
                      <c:pt idx="42">
                        <c:v>34778</c:v>
                      </c:pt>
                      <c:pt idx="43">
                        <c:v>34779</c:v>
                      </c:pt>
                      <c:pt idx="44">
                        <c:v>34780</c:v>
                      </c:pt>
                      <c:pt idx="45">
                        <c:v>34781</c:v>
                      </c:pt>
                      <c:pt idx="46">
                        <c:v>34782</c:v>
                      </c:pt>
                      <c:pt idx="47">
                        <c:v>34785</c:v>
                      </c:pt>
                      <c:pt idx="48">
                        <c:v>34786</c:v>
                      </c:pt>
                      <c:pt idx="49">
                        <c:v>34787</c:v>
                      </c:pt>
                      <c:pt idx="50">
                        <c:v>34788</c:v>
                      </c:pt>
                      <c:pt idx="51">
                        <c:v>34789</c:v>
                      </c:pt>
                      <c:pt idx="52">
                        <c:v>34792</c:v>
                      </c:pt>
                      <c:pt idx="53">
                        <c:v>34793</c:v>
                      </c:pt>
                      <c:pt idx="54">
                        <c:v>34794</c:v>
                      </c:pt>
                      <c:pt idx="55">
                        <c:v>34795</c:v>
                      </c:pt>
                      <c:pt idx="56">
                        <c:v>34796</c:v>
                      </c:pt>
                      <c:pt idx="57">
                        <c:v>34799</c:v>
                      </c:pt>
                      <c:pt idx="58">
                        <c:v>34800</c:v>
                      </c:pt>
                      <c:pt idx="59">
                        <c:v>34801</c:v>
                      </c:pt>
                      <c:pt idx="60">
                        <c:v>34802</c:v>
                      </c:pt>
                      <c:pt idx="61">
                        <c:v>34803</c:v>
                      </c:pt>
                      <c:pt idx="62">
                        <c:v>34806</c:v>
                      </c:pt>
                      <c:pt idx="63">
                        <c:v>34807</c:v>
                      </c:pt>
                      <c:pt idx="64">
                        <c:v>34808</c:v>
                      </c:pt>
                      <c:pt idx="65">
                        <c:v>34809</c:v>
                      </c:pt>
                      <c:pt idx="66">
                        <c:v>34810</c:v>
                      </c:pt>
                      <c:pt idx="67">
                        <c:v>34813</c:v>
                      </c:pt>
                      <c:pt idx="68">
                        <c:v>34814</c:v>
                      </c:pt>
                      <c:pt idx="69">
                        <c:v>34815</c:v>
                      </c:pt>
                      <c:pt idx="70">
                        <c:v>34816</c:v>
                      </c:pt>
                      <c:pt idx="71">
                        <c:v>34817</c:v>
                      </c:pt>
                      <c:pt idx="72">
                        <c:v>34820</c:v>
                      </c:pt>
                      <c:pt idx="73">
                        <c:v>34821</c:v>
                      </c:pt>
                      <c:pt idx="74">
                        <c:v>34822</c:v>
                      </c:pt>
                      <c:pt idx="75">
                        <c:v>34823</c:v>
                      </c:pt>
                      <c:pt idx="76">
                        <c:v>34824</c:v>
                      </c:pt>
                      <c:pt idx="77">
                        <c:v>34827</c:v>
                      </c:pt>
                      <c:pt idx="78">
                        <c:v>34828</c:v>
                      </c:pt>
                      <c:pt idx="79">
                        <c:v>34829</c:v>
                      </c:pt>
                      <c:pt idx="80">
                        <c:v>34830</c:v>
                      </c:pt>
                      <c:pt idx="81">
                        <c:v>34831</c:v>
                      </c:pt>
                      <c:pt idx="82">
                        <c:v>34834</c:v>
                      </c:pt>
                      <c:pt idx="83">
                        <c:v>34835</c:v>
                      </c:pt>
                      <c:pt idx="84">
                        <c:v>34836</c:v>
                      </c:pt>
                      <c:pt idx="85">
                        <c:v>34837</c:v>
                      </c:pt>
                      <c:pt idx="86">
                        <c:v>34838</c:v>
                      </c:pt>
                      <c:pt idx="87">
                        <c:v>34841</c:v>
                      </c:pt>
                      <c:pt idx="88">
                        <c:v>34842</c:v>
                      </c:pt>
                      <c:pt idx="89">
                        <c:v>34843</c:v>
                      </c:pt>
                      <c:pt idx="90">
                        <c:v>34844</c:v>
                      </c:pt>
                      <c:pt idx="91">
                        <c:v>34845</c:v>
                      </c:pt>
                      <c:pt idx="92">
                        <c:v>34848</c:v>
                      </c:pt>
                      <c:pt idx="93">
                        <c:v>34849</c:v>
                      </c:pt>
                      <c:pt idx="94">
                        <c:v>34850</c:v>
                      </c:pt>
                      <c:pt idx="95">
                        <c:v>34851</c:v>
                      </c:pt>
                      <c:pt idx="96">
                        <c:v>34852</c:v>
                      </c:pt>
                      <c:pt idx="97">
                        <c:v>34855</c:v>
                      </c:pt>
                      <c:pt idx="98">
                        <c:v>34856</c:v>
                      </c:pt>
                      <c:pt idx="99">
                        <c:v>34857</c:v>
                      </c:pt>
                      <c:pt idx="100">
                        <c:v>34858</c:v>
                      </c:pt>
                      <c:pt idx="101">
                        <c:v>34859</c:v>
                      </c:pt>
                      <c:pt idx="102">
                        <c:v>34862</c:v>
                      </c:pt>
                      <c:pt idx="103">
                        <c:v>34863</c:v>
                      </c:pt>
                      <c:pt idx="104">
                        <c:v>34864</c:v>
                      </c:pt>
                      <c:pt idx="105">
                        <c:v>34865</c:v>
                      </c:pt>
                      <c:pt idx="106">
                        <c:v>34866</c:v>
                      </c:pt>
                      <c:pt idx="107">
                        <c:v>34869</c:v>
                      </c:pt>
                      <c:pt idx="108">
                        <c:v>34870</c:v>
                      </c:pt>
                      <c:pt idx="109">
                        <c:v>34871</c:v>
                      </c:pt>
                      <c:pt idx="110">
                        <c:v>34872</c:v>
                      </c:pt>
                      <c:pt idx="111">
                        <c:v>34873</c:v>
                      </c:pt>
                      <c:pt idx="112">
                        <c:v>34876</c:v>
                      </c:pt>
                      <c:pt idx="113">
                        <c:v>34877</c:v>
                      </c:pt>
                      <c:pt idx="114">
                        <c:v>34878</c:v>
                      </c:pt>
                      <c:pt idx="115">
                        <c:v>34879</c:v>
                      </c:pt>
                      <c:pt idx="116">
                        <c:v>34880</c:v>
                      </c:pt>
                      <c:pt idx="117">
                        <c:v>34883</c:v>
                      </c:pt>
                      <c:pt idx="118">
                        <c:v>34884</c:v>
                      </c:pt>
                      <c:pt idx="119">
                        <c:v>34885</c:v>
                      </c:pt>
                      <c:pt idx="120">
                        <c:v>34886</c:v>
                      </c:pt>
                      <c:pt idx="121">
                        <c:v>34887</c:v>
                      </c:pt>
                      <c:pt idx="122">
                        <c:v>34890</c:v>
                      </c:pt>
                      <c:pt idx="123">
                        <c:v>34891</c:v>
                      </c:pt>
                      <c:pt idx="124">
                        <c:v>34892</c:v>
                      </c:pt>
                      <c:pt idx="125">
                        <c:v>34893</c:v>
                      </c:pt>
                      <c:pt idx="126">
                        <c:v>34894</c:v>
                      </c:pt>
                      <c:pt idx="127">
                        <c:v>34897</c:v>
                      </c:pt>
                      <c:pt idx="128">
                        <c:v>34898</c:v>
                      </c:pt>
                      <c:pt idx="129">
                        <c:v>34899</c:v>
                      </c:pt>
                      <c:pt idx="130">
                        <c:v>34900</c:v>
                      </c:pt>
                      <c:pt idx="131">
                        <c:v>34901</c:v>
                      </c:pt>
                      <c:pt idx="132">
                        <c:v>34904</c:v>
                      </c:pt>
                      <c:pt idx="133">
                        <c:v>34905</c:v>
                      </c:pt>
                      <c:pt idx="134">
                        <c:v>34906</c:v>
                      </c:pt>
                      <c:pt idx="135">
                        <c:v>34907</c:v>
                      </c:pt>
                      <c:pt idx="136">
                        <c:v>34908</c:v>
                      </c:pt>
                      <c:pt idx="137">
                        <c:v>34911</c:v>
                      </c:pt>
                      <c:pt idx="138">
                        <c:v>34912</c:v>
                      </c:pt>
                      <c:pt idx="139">
                        <c:v>34913</c:v>
                      </c:pt>
                      <c:pt idx="140">
                        <c:v>34914</c:v>
                      </c:pt>
                      <c:pt idx="141">
                        <c:v>34915</c:v>
                      </c:pt>
                      <c:pt idx="142">
                        <c:v>34918</c:v>
                      </c:pt>
                      <c:pt idx="143">
                        <c:v>34919</c:v>
                      </c:pt>
                      <c:pt idx="144">
                        <c:v>34920</c:v>
                      </c:pt>
                      <c:pt idx="145">
                        <c:v>34921</c:v>
                      </c:pt>
                      <c:pt idx="146">
                        <c:v>34922</c:v>
                      </c:pt>
                      <c:pt idx="147">
                        <c:v>34925</c:v>
                      </c:pt>
                      <c:pt idx="148">
                        <c:v>34926</c:v>
                      </c:pt>
                      <c:pt idx="149">
                        <c:v>34927</c:v>
                      </c:pt>
                      <c:pt idx="150">
                        <c:v>34928</c:v>
                      </c:pt>
                      <c:pt idx="151">
                        <c:v>34929</c:v>
                      </c:pt>
                      <c:pt idx="152">
                        <c:v>34932</c:v>
                      </c:pt>
                      <c:pt idx="153">
                        <c:v>34933</c:v>
                      </c:pt>
                      <c:pt idx="154">
                        <c:v>34934</c:v>
                      </c:pt>
                      <c:pt idx="155">
                        <c:v>34935</c:v>
                      </c:pt>
                      <c:pt idx="156">
                        <c:v>34936</c:v>
                      </c:pt>
                      <c:pt idx="157">
                        <c:v>34939</c:v>
                      </c:pt>
                      <c:pt idx="158">
                        <c:v>34940</c:v>
                      </c:pt>
                      <c:pt idx="159">
                        <c:v>34941</c:v>
                      </c:pt>
                      <c:pt idx="160">
                        <c:v>34942</c:v>
                      </c:pt>
                      <c:pt idx="161">
                        <c:v>34943</c:v>
                      </c:pt>
                      <c:pt idx="162">
                        <c:v>34946</c:v>
                      </c:pt>
                      <c:pt idx="163">
                        <c:v>34947</c:v>
                      </c:pt>
                      <c:pt idx="164">
                        <c:v>34948</c:v>
                      </c:pt>
                      <c:pt idx="165">
                        <c:v>34949</c:v>
                      </c:pt>
                      <c:pt idx="166">
                        <c:v>34950</c:v>
                      </c:pt>
                      <c:pt idx="167">
                        <c:v>34953</c:v>
                      </c:pt>
                      <c:pt idx="168">
                        <c:v>34954</c:v>
                      </c:pt>
                      <c:pt idx="169">
                        <c:v>34955</c:v>
                      </c:pt>
                      <c:pt idx="170">
                        <c:v>34956</c:v>
                      </c:pt>
                      <c:pt idx="171">
                        <c:v>34957</c:v>
                      </c:pt>
                      <c:pt idx="172">
                        <c:v>34960</c:v>
                      </c:pt>
                      <c:pt idx="173">
                        <c:v>34961</c:v>
                      </c:pt>
                      <c:pt idx="174">
                        <c:v>34962</c:v>
                      </c:pt>
                      <c:pt idx="175">
                        <c:v>34963</c:v>
                      </c:pt>
                      <c:pt idx="176">
                        <c:v>34964</c:v>
                      </c:pt>
                      <c:pt idx="177">
                        <c:v>34967</c:v>
                      </c:pt>
                      <c:pt idx="178">
                        <c:v>34968</c:v>
                      </c:pt>
                      <c:pt idx="179">
                        <c:v>34969</c:v>
                      </c:pt>
                      <c:pt idx="180">
                        <c:v>34970</c:v>
                      </c:pt>
                      <c:pt idx="181">
                        <c:v>34971</c:v>
                      </c:pt>
                      <c:pt idx="182">
                        <c:v>34974</c:v>
                      </c:pt>
                      <c:pt idx="183">
                        <c:v>34975</c:v>
                      </c:pt>
                      <c:pt idx="184">
                        <c:v>34976</c:v>
                      </c:pt>
                      <c:pt idx="185">
                        <c:v>34977</c:v>
                      </c:pt>
                      <c:pt idx="186">
                        <c:v>34978</c:v>
                      </c:pt>
                      <c:pt idx="187">
                        <c:v>34981</c:v>
                      </c:pt>
                      <c:pt idx="188">
                        <c:v>34982</c:v>
                      </c:pt>
                      <c:pt idx="189">
                        <c:v>34983</c:v>
                      </c:pt>
                      <c:pt idx="190">
                        <c:v>34984</c:v>
                      </c:pt>
                      <c:pt idx="191">
                        <c:v>34985</c:v>
                      </c:pt>
                      <c:pt idx="192">
                        <c:v>34988</c:v>
                      </c:pt>
                      <c:pt idx="193">
                        <c:v>34989</c:v>
                      </c:pt>
                      <c:pt idx="194">
                        <c:v>34990</c:v>
                      </c:pt>
                      <c:pt idx="195">
                        <c:v>34991</c:v>
                      </c:pt>
                      <c:pt idx="196">
                        <c:v>34992</c:v>
                      </c:pt>
                      <c:pt idx="197">
                        <c:v>34995</c:v>
                      </c:pt>
                      <c:pt idx="198">
                        <c:v>34996</c:v>
                      </c:pt>
                      <c:pt idx="199">
                        <c:v>34997</c:v>
                      </c:pt>
                      <c:pt idx="200">
                        <c:v>34998</c:v>
                      </c:pt>
                      <c:pt idx="201">
                        <c:v>34999</c:v>
                      </c:pt>
                      <c:pt idx="202">
                        <c:v>35002</c:v>
                      </c:pt>
                      <c:pt idx="203">
                        <c:v>35003</c:v>
                      </c:pt>
                      <c:pt idx="204">
                        <c:v>35004</c:v>
                      </c:pt>
                      <c:pt idx="205">
                        <c:v>35005</c:v>
                      </c:pt>
                      <c:pt idx="206">
                        <c:v>35006</c:v>
                      </c:pt>
                      <c:pt idx="207">
                        <c:v>35009</c:v>
                      </c:pt>
                      <c:pt idx="208">
                        <c:v>35010</c:v>
                      </c:pt>
                      <c:pt idx="209">
                        <c:v>35011</c:v>
                      </c:pt>
                      <c:pt idx="210">
                        <c:v>35012</c:v>
                      </c:pt>
                      <c:pt idx="211">
                        <c:v>35013</c:v>
                      </c:pt>
                      <c:pt idx="212">
                        <c:v>35016</c:v>
                      </c:pt>
                      <c:pt idx="213">
                        <c:v>35017</c:v>
                      </c:pt>
                      <c:pt idx="214">
                        <c:v>35018</c:v>
                      </c:pt>
                      <c:pt idx="215">
                        <c:v>35019</c:v>
                      </c:pt>
                      <c:pt idx="216">
                        <c:v>35020</c:v>
                      </c:pt>
                      <c:pt idx="217">
                        <c:v>35023</c:v>
                      </c:pt>
                      <c:pt idx="218">
                        <c:v>35024</c:v>
                      </c:pt>
                      <c:pt idx="219">
                        <c:v>35025</c:v>
                      </c:pt>
                      <c:pt idx="220">
                        <c:v>35026</c:v>
                      </c:pt>
                      <c:pt idx="221">
                        <c:v>35027</c:v>
                      </c:pt>
                      <c:pt idx="222">
                        <c:v>35030</c:v>
                      </c:pt>
                      <c:pt idx="223">
                        <c:v>35031</c:v>
                      </c:pt>
                      <c:pt idx="224">
                        <c:v>35032</c:v>
                      </c:pt>
                      <c:pt idx="225">
                        <c:v>35033</c:v>
                      </c:pt>
                      <c:pt idx="226">
                        <c:v>35034</c:v>
                      </c:pt>
                      <c:pt idx="227">
                        <c:v>35037</c:v>
                      </c:pt>
                      <c:pt idx="228">
                        <c:v>35038</c:v>
                      </c:pt>
                      <c:pt idx="229">
                        <c:v>35039</c:v>
                      </c:pt>
                      <c:pt idx="230">
                        <c:v>35040</c:v>
                      </c:pt>
                      <c:pt idx="231">
                        <c:v>35041</c:v>
                      </c:pt>
                      <c:pt idx="232">
                        <c:v>35044</c:v>
                      </c:pt>
                      <c:pt idx="233">
                        <c:v>35045</c:v>
                      </c:pt>
                      <c:pt idx="234">
                        <c:v>35046</c:v>
                      </c:pt>
                      <c:pt idx="235">
                        <c:v>35047</c:v>
                      </c:pt>
                      <c:pt idx="236">
                        <c:v>35048</c:v>
                      </c:pt>
                      <c:pt idx="237">
                        <c:v>35051</c:v>
                      </c:pt>
                      <c:pt idx="238">
                        <c:v>35052</c:v>
                      </c:pt>
                      <c:pt idx="239">
                        <c:v>35053</c:v>
                      </c:pt>
                      <c:pt idx="240">
                        <c:v>35054</c:v>
                      </c:pt>
                      <c:pt idx="241">
                        <c:v>35055</c:v>
                      </c:pt>
                      <c:pt idx="242">
                        <c:v>35058</c:v>
                      </c:pt>
                      <c:pt idx="243">
                        <c:v>35059</c:v>
                      </c:pt>
                      <c:pt idx="244">
                        <c:v>35060</c:v>
                      </c:pt>
                      <c:pt idx="245">
                        <c:v>35061</c:v>
                      </c:pt>
                      <c:pt idx="246">
                        <c:v>35062</c:v>
                      </c:pt>
                      <c:pt idx="247">
                        <c:v>35065</c:v>
                      </c:pt>
                      <c:pt idx="248">
                        <c:v>35066</c:v>
                      </c:pt>
                      <c:pt idx="249">
                        <c:v>35067</c:v>
                      </c:pt>
                      <c:pt idx="250">
                        <c:v>35068</c:v>
                      </c:pt>
                      <c:pt idx="251">
                        <c:v>35069</c:v>
                      </c:pt>
                      <c:pt idx="252">
                        <c:v>35072</c:v>
                      </c:pt>
                      <c:pt idx="253">
                        <c:v>35073</c:v>
                      </c:pt>
                      <c:pt idx="254">
                        <c:v>35074</c:v>
                      </c:pt>
                      <c:pt idx="255">
                        <c:v>35075</c:v>
                      </c:pt>
                      <c:pt idx="256">
                        <c:v>35076</c:v>
                      </c:pt>
                      <c:pt idx="257">
                        <c:v>35079</c:v>
                      </c:pt>
                      <c:pt idx="258">
                        <c:v>35080</c:v>
                      </c:pt>
                      <c:pt idx="259">
                        <c:v>35081</c:v>
                      </c:pt>
                      <c:pt idx="260">
                        <c:v>35082</c:v>
                      </c:pt>
                      <c:pt idx="261">
                        <c:v>35083</c:v>
                      </c:pt>
                      <c:pt idx="262">
                        <c:v>35086</c:v>
                      </c:pt>
                      <c:pt idx="263">
                        <c:v>35087</c:v>
                      </c:pt>
                      <c:pt idx="264">
                        <c:v>35088</c:v>
                      </c:pt>
                      <c:pt idx="265">
                        <c:v>35089</c:v>
                      </c:pt>
                      <c:pt idx="266">
                        <c:v>35090</c:v>
                      </c:pt>
                      <c:pt idx="267">
                        <c:v>35093</c:v>
                      </c:pt>
                      <c:pt idx="268">
                        <c:v>35094</c:v>
                      </c:pt>
                      <c:pt idx="269">
                        <c:v>35095</c:v>
                      </c:pt>
                      <c:pt idx="270">
                        <c:v>35096</c:v>
                      </c:pt>
                      <c:pt idx="271">
                        <c:v>35097</c:v>
                      </c:pt>
                      <c:pt idx="272">
                        <c:v>35100</c:v>
                      </c:pt>
                      <c:pt idx="273">
                        <c:v>35101</c:v>
                      </c:pt>
                      <c:pt idx="274">
                        <c:v>35102</c:v>
                      </c:pt>
                      <c:pt idx="275">
                        <c:v>35103</c:v>
                      </c:pt>
                      <c:pt idx="276">
                        <c:v>35104</c:v>
                      </c:pt>
                      <c:pt idx="277">
                        <c:v>35107</c:v>
                      </c:pt>
                      <c:pt idx="278">
                        <c:v>35108</c:v>
                      </c:pt>
                      <c:pt idx="279">
                        <c:v>35109</c:v>
                      </c:pt>
                      <c:pt idx="280">
                        <c:v>35110</c:v>
                      </c:pt>
                      <c:pt idx="281">
                        <c:v>35111</c:v>
                      </c:pt>
                      <c:pt idx="282">
                        <c:v>35114</c:v>
                      </c:pt>
                      <c:pt idx="283">
                        <c:v>35115</c:v>
                      </c:pt>
                      <c:pt idx="284">
                        <c:v>35116</c:v>
                      </c:pt>
                      <c:pt idx="285">
                        <c:v>35117</c:v>
                      </c:pt>
                      <c:pt idx="286">
                        <c:v>35118</c:v>
                      </c:pt>
                      <c:pt idx="287">
                        <c:v>35121</c:v>
                      </c:pt>
                      <c:pt idx="288">
                        <c:v>35122</c:v>
                      </c:pt>
                      <c:pt idx="289">
                        <c:v>35123</c:v>
                      </c:pt>
                      <c:pt idx="290">
                        <c:v>35124</c:v>
                      </c:pt>
                      <c:pt idx="291">
                        <c:v>35125</c:v>
                      </c:pt>
                      <c:pt idx="292">
                        <c:v>35128</c:v>
                      </c:pt>
                      <c:pt idx="293">
                        <c:v>35129</c:v>
                      </c:pt>
                      <c:pt idx="294">
                        <c:v>35130</c:v>
                      </c:pt>
                      <c:pt idx="295">
                        <c:v>35131</c:v>
                      </c:pt>
                      <c:pt idx="296">
                        <c:v>35132</c:v>
                      </c:pt>
                      <c:pt idx="297">
                        <c:v>35135</c:v>
                      </c:pt>
                      <c:pt idx="298">
                        <c:v>35136</c:v>
                      </c:pt>
                      <c:pt idx="299">
                        <c:v>35137</c:v>
                      </c:pt>
                      <c:pt idx="300">
                        <c:v>35138</c:v>
                      </c:pt>
                      <c:pt idx="301">
                        <c:v>35139</c:v>
                      </c:pt>
                      <c:pt idx="302">
                        <c:v>35142</c:v>
                      </c:pt>
                      <c:pt idx="303">
                        <c:v>35143</c:v>
                      </c:pt>
                      <c:pt idx="304">
                        <c:v>35144</c:v>
                      </c:pt>
                      <c:pt idx="305">
                        <c:v>35145</c:v>
                      </c:pt>
                      <c:pt idx="306">
                        <c:v>35146</c:v>
                      </c:pt>
                      <c:pt idx="307">
                        <c:v>35149</c:v>
                      </c:pt>
                      <c:pt idx="308">
                        <c:v>35150</c:v>
                      </c:pt>
                      <c:pt idx="309">
                        <c:v>35151</c:v>
                      </c:pt>
                      <c:pt idx="310">
                        <c:v>35152</c:v>
                      </c:pt>
                      <c:pt idx="311">
                        <c:v>35153</c:v>
                      </c:pt>
                      <c:pt idx="312">
                        <c:v>35156</c:v>
                      </c:pt>
                      <c:pt idx="313">
                        <c:v>35157</c:v>
                      </c:pt>
                      <c:pt idx="314">
                        <c:v>35158</c:v>
                      </c:pt>
                      <c:pt idx="315">
                        <c:v>35159</c:v>
                      </c:pt>
                      <c:pt idx="316">
                        <c:v>35160</c:v>
                      </c:pt>
                      <c:pt idx="317">
                        <c:v>35163</c:v>
                      </c:pt>
                      <c:pt idx="318">
                        <c:v>35164</c:v>
                      </c:pt>
                      <c:pt idx="319">
                        <c:v>35165</c:v>
                      </c:pt>
                      <c:pt idx="320">
                        <c:v>35166</c:v>
                      </c:pt>
                      <c:pt idx="321">
                        <c:v>35167</c:v>
                      </c:pt>
                      <c:pt idx="322">
                        <c:v>35170</c:v>
                      </c:pt>
                      <c:pt idx="323">
                        <c:v>35171</c:v>
                      </c:pt>
                      <c:pt idx="324">
                        <c:v>35172</c:v>
                      </c:pt>
                      <c:pt idx="325">
                        <c:v>35173</c:v>
                      </c:pt>
                      <c:pt idx="326">
                        <c:v>35174</c:v>
                      </c:pt>
                      <c:pt idx="327">
                        <c:v>35177</c:v>
                      </c:pt>
                      <c:pt idx="328">
                        <c:v>35178</c:v>
                      </c:pt>
                      <c:pt idx="329">
                        <c:v>35179</c:v>
                      </c:pt>
                      <c:pt idx="330">
                        <c:v>35180</c:v>
                      </c:pt>
                      <c:pt idx="331">
                        <c:v>35181</c:v>
                      </c:pt>
                      <c:pt idx="332">
                        <c:v>35184</c:v>
                      </c:pt>
                      <c:pt idx="333">
                        <c:v>35185</c:v>
                      </c:pt>
                      <c:pt idx="334">
                        <c:v>35186</c:v>
                      </c:pt>
                      <c:pt idx="335">
                        <c:v>35187</c:v>
                      </c:pt>
                      <c:pt idx="336">
                        <c:v>35188</c:v>
                      </c:pt>
                      <c:pt idx="337">
                        <c:v>35191</c:v>
                      </c:pt>
                      <c:pt idx="338">
                        <c:v>35192</c:v>
                      </c:pt>
                      <c:pt idx="339">
                        <c:v>35193</c:v>
                      </c:pt>
                      <c:pt idx="340">
                        <c:v>35194</c:v>
                      </c:pt>
                      <c:pt idx="341">
                        <c:v>35195</c:v>
                      </c:pt>
                      <c:pt idx="342">
                        <c:v>35198</c:v>
                      </c:pt>
                      <c:pt idx="343">
                        <c:v>35199</c:v>
                      </c:pt>
                      <c:pt idx="344">
                        <c:v>35200</c:v>
                      </c:pt>
                      <c:pt idx="345">
                        <c:v>35201</c:v>
                      </c:pt>
                      <c:pt idx="346">
                        <c:v>35202</c:v>
                      </c:pt>
                      <c:pt idx="347">
                        <c:v>35205</c:v>
                      </c:pt>
                      <c:pt idx="348">
                        <c:v>35206</c:v>
                      </c:pt>
                      <c:pt idx="349">
                        <c:v>35207</c:v>
                      </c:pt>
                      <c:pt idx="350">
                        <c:v>35208</c:v>
                      </c:pt>
                      <c:pt idx="351">
                        <c:v>35209</c:v>
                      </c:pt>
                      <c:pt idx="352">
                        <c:v>35212</c:v>
                      </c:pt>
                      <c:pt idx="353">
                        <c:v>35213</c:v>
                      </c:pt>
                      <c:pt idx="354">
                        <c:v>35214</c:v>
                      </c:pt>
                      <c:pt idx="355">
                        <c:v>35215</c:v>
                      </c:pt>
                      <c:pt idx="356">
                        <c:v>35216</c:v>
                      </c:pt>
                      <c:pt idx="357">
                        <c:v>35219</c:v>
                      </c:pt>
                      <c:pt idx="358">
                        <c:v>35220</c:v>
                      </c:pt>
                      <c:pt idx="359">
                        <c:v>35221</c:v>
                      </c:pt>
                      <c:pt idx="360">
                        <c:v>35222</c:v>
                      </c:pt>
                      <c:pt idx="361">
                        <c:v>35223</c:v>
                      </c:pt>
                      <c:pt idx="362">
                        <c:v>35226</c:v>
                      </c:pt>
                      <c:pt idx="363">
                        <c:v>35227</c:v>
                      </c:pt>
                      <c:pt idx="364">
                        <c:v>35228</c:v>
                      </c:pt>
                      <c:pt idx="365">
                        <c:v>35229</c:v>
                      </c:pt>
                      <c:pt idx="366">
                        <c:v>35230</c:v>
                      </c:pt>
                      <c:pt idx="367">
                        <c:v>35233</c:v>
                      </c:pt>
                      <c:pt idx="368">
                        <c:v>35234</c:v>
                      </c:pt>
                      <c:pt idx="369">
                        <c:v>35235</c:v>
                      </c:pt>
                      <c:pt idx="370">
                        <c:v>35236</c:v>
                      </c:pt>
                      <c:pt idx="371">
                        <c:v>35237</c:v>
                      </c:pt>
                      <c:pt idx="372">
                        <c:v>35240</c:v>
                      </c:pt>
                      <c:pt idx="373">
                        <c:v>35241</c:v>
                      </c:pt>
                      <c:pt idx="374">
                        <c:v>35242</c:v>
                      </c:pt>
                      <c:pt idx="375">
                        <c:v>35243</c:v>
                      </c:pt>
                      <c:pt idx="376">
                        <c:v>35244</c:v>
                      </c:pt>
                      <c:pt idx="377">
                        <c:v>35247</c:v>
                      </c:pt>
                      <c:pt idx="378">
                        <c:v>35248</c:v>
                      </c:pt>
                      <c:pt idx="379">
                        <c:v>35249</c:v>
                      </c:pt>
                      <c:pt idx="380">
                        <c:v>35250</c:v>
                      </c:pt>
                      <c:pt idx="381">
                        <c:v>35251</c:v>
                      </c:pt>
                      <c:pt idx="382">
                        <c:v>35254</c:v>
                      </c:pt>
                      <c:pt idx="383">
                        <c:v>35255</c:v>
                      </c:pt>
                      <c:pt idx="384">
                        <c:v>35256</c:v>
                      </c:pt>
                      <c:pt idx="385">
                        <c:v>35257</c:v>
                      </c:pt>
                      <c:pt idx="386">
                        <c:v>35258</c:v>
                      </c:pt>
                      <c:pt idx="387">
                        <c:v>35261</c:v>
                      </c:pt>
                      <c:pt idx="388">
                        <c:v>35262</c:v>
                      </c:pt>
                      <c:pt idx="389">
                        <c:v>35263</c:v>
                      </c:pt>
                      <c:pt idx="390">
                        <c:v>35264</c:v>
                      </c:pt>
                      <c:pt idx="391">
                        <c:v>35265</c:v>
                      </c:pt>
                      <c:pt idx="392">
                        <c:v>35268</c:v>
                      </c:pt>
                      <c:pt idx="393">
                        <c:v>35269</c:v>
                      </c:pt>
                      <c:pt idx="394">
                        <c:v>35270</c:v>
                      </c:pt>
                      <c:pt idx="395">
                        <c:v>35271</c:v>
                      </c:pt>
                      <c:pt idx="396">
                        <c:v>35272</c:v>
                      </c:pt>
                      <c:pt idx="397">
                        <c:v>35275</c:v>
                      </c:pt>
                      <c:pt idx="398">
                        <c:v>35276</c:v>
                      </c:pt>
                      <c:pt idx="399">
                        <c:v>35277</c:v>
                      </c:pt>
                      <c:pt idx="400">
                        <c:v>35278</c:v>
                      </c:pt>
                      <c:pt idx="401">
                        <c:v>35279</c:v>
                      </c:pt>
                      <c:pt idx="402">
                        <c:v>35282</c:v>
                      </c:pt>
                      <c:pt idx="403">
                        <c:v>35283</c:v>
                      </c:pt>
                      <c:pt idx="404">
                        <c:v>35284</c:v>
                      </c:pt>
                      <c:pt idx="405">
                        <c:v>35285</c:v>
                      </c:pt>
                      <c:pt idx="406">
                        <c:v>35286</c:v>
                      </c:pt>
                      <c:pt idx="407">
                        <c:v>35289</c:v>
                      </c:pt>
                      <c:pt idx="408">
                        <c:v>35290</c:v>
                      </c:pt>
                      <c:pt idx="409">
                        <c:v>35291</c:v>
                      </c:pt>
                      <c:pt idx="410">
                        <c:v>35292</c:v>
                      </c:pt>
                      <c:pt idx="411">
                        <c:v>35293</c:v>
                      </c:pt>
                      <c:pt idx="412">
                        <c:v>35296</c:v>
                      </c:pt>
                      <c:pt idx="413">
                        <c:v>35297</c:v>
                      </c:pt>
                      <c:pt idx="414">
                        <c:v>35298</c:v>
                      </c:pt>
                      <c:pt idx="415">
                        <c:v>35299</c:v>
                      </c:pt>
                      <c:pt idx="416">
                        <c:v>35300</c:v>
                      </c:pt>
                      <c:pt idx="417">
                        <c:v>35303</c:v>
                      </c:pt>
                      <c:pt idx="418">
                        <c:v>35304</c:v>
                      </c:pt>
                      <c:pt idx="419">
                        <c:v>35305</c:v>
                      </c:pt>
                      <c:pt idx="420">
                        <c:v>35306</c:v>
                      </c:pt>
                      <c:pt idx="421">
                        <c:v>35307</c:v>
                      </c:pt>
                      <c:pt idx="422">
                        <c:v>35310</c:v>
                      </c:pt>
                      <c:pt idx="423">
                        <c:v>35311</c:v>
                      </c:pt>
                      <c:pt idx="424">
                        <c:v>35312</c:v>
                      </c:pt>
                      <c:pt idx="425">
                        <c:v>35313</c:v>
                      </c:pt>
                      <c:pt idx="426">
                        <c:v>35314</c:v>
                      </c:pt>
                      <c:pt idx="427">
                        <c:v>35317</c:v>
                      </c:pt>
                      <c:pt idx="428">
                        <c:v>35318</c:v>
                      </c:pt>
                      <c:pt idx="429">
                        <c:v>35319</c:v>
                      </c:pt>
                      <c:pt idx="430">
                        <c:v>35320</c:v>
                      </c:pt>
                      <c:pt idx="431">
                        <c:v>35321</c:v>
                      </c:pt>
                      <c:pt idx="432">
                        <c:v>35324</c:v>
                      </c:pt>
                      <c:pt idx="433">
                        <c:v>35325</c:v>
                      </c:pt>
                      <c:pt idx="434">
                        <c:v>35326</c:v>
                      </c:pt>
                      <c:pt idx="435">
                        <c:v>35327</c:v>
                      </c:pt>
                      <c:pt idx="436">
                        <c:v>35328</c:v>
                      </c:pt>
                      <c:pt idx="437">
                        <c:v>35331</c:v>
                      </c:pt>
                      <c:pt idx="438">
                        <c:v>35332</c:v>
                      </c:pt>
                      <c:pt idx="439">
                        <c:v>35333</c:v>
                      </c:pt>
                      <c:pt idx="440">
                        <c:v>35334</c:v>
                      </c:pt>
                      <c:pt idx="441">
                        <c:v>35335</c:v>
                      </c:pt>
                      <c:pt idx="442">
                        <c:v>35338</c:v>
                      </c:pt>
                      <c:pt idx="443">
                        <c:v>35339</c:v>
                      </c:pt>
                      <c:pt idx="444">
                        <c:v>35340</c:v>
                      </c:pt>
                      <c:pt idx="445">
                        <c:v>35341</c:v>
                      </c:pt>
                      <c:pt idx="446">
                        <c:v>35342</c:v>
                      </c:pt>
                      <c:pt idx="447">
                        <c:v>35345</c:v>
                      </c:pt>
                      <c:pt idx="448">
                        <c:v>35346</c:v>
                      </c:pt>
                      <c:pt idx="449">
                        <c:v>35347</c:v>
                      </c:pt>
                      <c:pt idx="450">
                        <c:v>35348</c:v>
                      </c:pt>
                      <c:pt idx="451">
                        <c:v>35349</c:v>
                      </c:pt>
                      <c:pt idx="452">
                        <c:v>35352</c:v>
                      </c:pt>
                      <c:pt idx="453">
                        <c:v>35353</c:v>
                      </c:pt>
                      <c:pt idx="454">
                        <c:v>35354</c:v>
                      </c:pt>
                      <c:pt idx="455">
                        <c:v>35355</c:v>
                      </c:pt>
                      <c:pt idx="456">
                        <c:v>35356</c:v>
                      </c:pt>
                      <c:pt idx="457">
                        <c:v>35359</c:v>
                      </c:pt>
                      <c:pt idx="458">
                        <c:v>35360</c:v>
                      </c:pt>
                      <c:pt idx="459">
                        <c:v>35361</c:v>
                      </c:pt>
                      <c:pt idx="460">
                        <c:v>35362</c:v>
                      </c:pt>
                      <c:pt idx="461">
                        <c:v>35363</c:v>
                      </c:pt>
                      <c:pt idx="462">
                        <c:v>35366</c:v>
                      </c:pt>
                      <c:pt idx="463">
                        <c:v>35367</c:v>
                      </c:pt>
                      <c:pt idx="464">
                        <c:v>35368</c:v>
                      </c:pt>
                      <c:pt idx="465">
                        <c:v>35369</c:v>
                      </c:pt>
                      <c:pt idx="466">
                        <c:v>35370</c:v>
                      </c:pt>
                      <c:pt idx="467">
                        <c:v>35373</c:v>
                      </c:pt>
                      <c:pt idx="468">
                        <c:v>35374</c:v>
                      </c:pt>
                      <c:pt idx="469">
                        <c:v>35375</c:v>
                      </c:pt>
                      <c:pt idx="470">
                        <c:v>35376</c:v>
                      </c:pt>
                      <c:pt idx="471">
                        <c:v>35377</c:v>
                      </c:pt>
                      <c:pt idx="472">
                        <c:v>35380</c:v>
                      </c:pt>
                      <c:pt idx="473">
                        <c:v>35381</c:v>
                      </c:pt>
                      <c:pt idx="474">
                        <c:v>35382</c:v>
                      </c:pt>
                      <c:pt idx="475">
                        <c:v>35383</c:v>
                      </c:pt>
                      <c:pt idx="476">
                        <c:v>35384</c:v>
                      </c:pt>
                      <c:pt idx="477">
                        <c:v>35387</c:v>
                      </c:pt>
                      <c:pt idx="478">
                        <c:v>35388</c:v>
                      </c:pt>
                      <c:pt idx="479">
                        <c:v>35389</c:v>
                      </c:pt>
                      <c:pt idx="480">
                        <c:v>35390</c:v>
                      </c:pt>
                      <c:pt idx="481">
                        <c:v>35391</c:v>
                      </c:pt>
                      <c:pt idx="482">
                        <c:v>35394</c:v>
                      </c:pt>
                      <c:pt idx="483">
                        <c:v>35395</c:v>
                      </c:pt>
                      <c:pt idx="484">
                        <c:v>35396</c:v>
                      </c:pt>
                      <c:pt idx="485">
                        <c:v>35397</c:v>
                      </c:pt>
                      <c:pt idx="486">
                        <c:v>35398</c:v>
                      </c:pt>
                      <c:pt idx="487">
                        <c:v>35401</c:v>
                      </c:pt>
                      <c:pt idx="488">
                        <c:v>35402</c:v>
                      </c:pt>
                      <c:pt idx="489">
                        <c:v>35403</c:v>
                      </c:pt>
                      <c:pt idx="490">
                        <c:v>35404</c:v>
                      </c:pt>
                      <c:pt idx="491">
                        <c:v>35405</c:v>
                      </c:pt>
                      <c:pt idx="492">
                        <c:v>35408</c:v>
                      </c:pt>
                      <c:pt idx="493">
                        <c:v>35409</c:v>
                      </c:pt>
                      <c:pt idx="494">
                        <c:v>35410</c:v>
                      </c:pt>
                      <c:pt idx="495">
                        <c:v>35411</c:v>
                      </c:pt>
                      <c:pt idx="496">
                        <c:v>35412</c:v>
                      </c:pt>
                      <c:pt idx="497">
                        <c:v>35415</c:v>
                      </c:pt>
                      <c:pt idx="498">
                        <c:v>35416</c:v>
                      </c:pt>
                      <c:pt idx="499">
                        <c:v>35417</c:v>
                      </c:pt>
                      <c:pt idx="500">
                        <c:v>35418</c:v>
                      </c:pt>
                      <c:pt idx="501">
                        <c:v>35419</c:v>
                      </c:pt>
                      <c:pt idx="502">
                        <c:v>35422</c:v>
                      </c:pt>
                      <c:pt idx="503">
                        <c:v>35423</c:v>
                      </c:pt>
                      <c:pt idx="504">
                        <c:v>35424</c:v>
                      </c:pt>
                      <c:pt idx="505">
                        <c:v>35425</c:v>
                      </c:pt>
                      <c:pt idx="506">
                        <c:v>35426</c:v>
                      </c:pt>
                      <c:pt idx="507">
                        <c:v>35429</c:v>
                      </c:pt>
                      <c:pt idx="508">
                        <c:v>35430</c:v>
                      </c:pt>
                      <c:pt idx="509">
                        <c:v>35431</c:v>
                      </c:pt>
                      <c:pt idx="510">
                        <c:v>35432</c:v>
                      </c:pt>
                      <c:pt idx="511">
                        <c:v>35433</c:v>
                      </c:pt>
                      <c:pt idx="512">
                        <c:v>35436</c:v>
                      </c:pt>
                      <c:pt idx="513">
                        <c:v>35437</c:v>
                      </c:pt>
                      <c:pt idx="514">
                        <c:v>35438</c:v>
                      </c:pt>
                      <c:pt idx="515">
                        <c:v>35439</c:v>
                      </c:pt>
                      <c:pt idx="516">
                        <c:v>35440</c:v>
                      </c:pt>
                      <c:pt idx="517">
                        <c:v>35443</c:v>
                      </c:pt>
                      <c:pt idx="518">
                        <c:v>35444</c:v>
                      </c:pt>
                      <c:pt idx="519">
                        <c:v>35445</c:v>
                      </c:pt>
                      <c:pt idx="520">
                        <c:v>35446</c:v>
                      </c:pt>
                      <c:pt idx="521">
                        <c:v>35447</c:v>
                      </c:pt>
                      <c:pt idx="522">
                        <c:v>35450</c:v>
                      </c:pt>
                      <c:pt idx="523">
                        <c:v>35451</c:v>
                      </c:pt>
                      <c:pt idx="524">
                        <c:v>35452</c:v>
                      </c:pt>
                      <c:pt idx="525">
                        <c:v>35453</c:v>
                      </c:pt>
                      <c:pt idx="526">
                        <c:v>35454</c:v>
                      </c:pt>
                      <c:pt idx="527">
                        <c:v>35457</c:v>
                      </c:pt>
                      <c:pt idx="528">
                        <c:v>35458</c:v>
                      </c:pt>
                      <c:pt idx="529">
                        <c:v>35459</c:v>
                      </c:pt>
                      <c:pt idx="530">
                        <c:v>35460</c:v>
                      </c:pt>
                      <c:pt idx="531">
                        <c:v>35461</c:v>
                      </c:pt>
                      <c:pt idx="532">
                        <c:v>35464</c:v>
                      </c:pt>
                      <c:pt idx="533">
                        <c:v>35465</c:v>
                      </c:pt>
                      <c:pt idx="534">
                        <c:v>35466</c:v>
                      </c:pt>
                      <c:pt idx="535">
                        <c:v>35467</c:v>
                      </c:pt>
                      <c:pt idx="536">
                        <c:v>35468</c:v>
                      </c:pt>
                      <c:pt idx="537">
                        <c:v>35471</c:v>
                      </c:pt>
                      <c:pt idx="538">
                        <c:v>35472</c:v>
                      </c:pt>
                      <c:pt idx="539">
                        <c:v>35473</c:v>
                      </c:pt>
                      <c:pt idx="540">
                        <c:v>35474</c:v>
                      </c:pt>
                      <c:pt idx="541">
                        <c:v>35475</c:v>
                      </c:pt>
                      <c:pt idx="542">
                        <c:v>35478</c:v>
                      </c:pt>
                      <c:pt idx="543">
                        <c:v>35479</c:v>
                      </c:pt>
                      <c:pt idx="544">
                        <c:v>35480</c:v>
                      </c:pt>
                      <c:pt idx="545">
                        <c:v>35481</c:v>
                      </c:pt>
                      <c:pt idx="546">
                        <c:v>35482</c:v>
                      </c:pt>
                      <c:pt idx="547">
                        <c:v>35485</c:v>
                      </c:pt>
                      <c:pt idx="548">
                        <c:v>35486</c:v>
                      </c:pt>
                      <c:pt idx="549">
                        <c:v>35487</c:v>
                      </c:pt>
                      <c:pt idx="550">
                        <c:v>35488</c:v>
                      </c:pt>
                      <c:pt idx="551">
                        <c:v>35489</c:v>
                      </c:pt>
                      <c:pt idx="552">
                        <c:v>35492</c:v>
                      </c:pt>
                      <c:pt idx="553">
                        <c:v>35493</c:v>
                      </c:pt>
                      <c:pt idx="554">
                        <c:v>35494</c:v>
                      </c:pt>
                      <c:pt idx="555">
                        <c:v>35495</c:v>
                      </c:pt>
                      <c:pt idx="556">
                        <c:v>35496</c:v>
                      </c:pt>
                      <c:pt idx="557">
                        <c:v>35499</c:v>
                      </c:pt>
                      <c:pt idx="558">
                        <c:v>35500</c:v>
                      </c:pt>
                      <c:pt idx="559">
                        <c:v>35501</c:v>
                      </c:pt>
                      <c:pt idx="560">
                        <c:v>35502</c:v>
                      </c:pt>
                      <c:pt idx="561">
                        <c:v>35503</c:v>
                      </c:pt>
                      <c:pt idx="562">
                        <c:v>35506</c:v>
                      </c:pt>
                      <c:pt idx="563">
                        <c:v>35507</c:v>
                      </c:pt>
                      <c:pt idx="564">
                        <c:v>35508</c:v>
                      </c:pt>
                      <c:pt idx="565">
                        <c:v>35509</c:v>
                      </c:pt>
                      <c:pt idx="566">
                        <c:v>35510</c:v>
                      </c:pt>
                      <c:pt idx="567">
                        <c:v>35513</c:v>
                      </c:pt>
                      <c:pt idx="568">
                        <c:v>35514</c:v>
                      </c:pt>
                      <c:pt idx="569">
                        <c:v>35515</c:v>
                      </c:pt>
                      <c:pt idx="570">
                        <c:v>35516</c:v>
                      </c:pt>
                      <c:pt idx="571">
                        <c:v>35517</c:v>
                      </c:pt>
                      <c:pt idx="572">
                        <c:v>35520</c:v>
                      </c:pt>
                      <c:pt idx="573">
                        <c:v>35521</c:v>
                      </c:pt>
                      <c:pt idx="574">
                        <c:v>35522</c:v>
                      </c:pt>
                      <c:pt idx="575">
                        <c:v>35523</c:v>
                      </c:pt>
                      <c:pt idx="576">
                        <c:v>35524</c:v>
                      </c:pt>
                      <c:pt idx="577">
                        <c:v>35527</c:v>
                      </c:pt>
                      <c:pt idx="578">
                        <c:v>35528</c:v>
                      </c:pt>
                      <c:pt idx="579">
                        <c:v>35529</c:v>
                      </c:pt>
                      <c:pt idx="580">
                        <c:v>35530</c:v>
                      </c:pt>
                      <c:pt idx="581">
                        <c:v>35531</c:v>
                      </c:pt>
                      <c:pt idx="582">
                        <c:v>35534</c:v>
                      </c:pt>
                      <c:pt idx="583">
                        <c:v>35535</c:v>
                      </c:pt>
                      <c:pt idx="584">
                        <c:v>35536</c:v>
                      </c:pt>
                      <c:pt idx="585">
                        <c:v>35537</c:v>
                      </c:pt>
                      <c:pt idx="586">
                        <c:v>35538</c:v>
                      </c:pt>
                      <c:pt idx="587">
                        <c:v>35541</c:v>
                      </c:pt>
                      <c:pt idx="588">
                        <c:v>35542</c:v>
                      </c:pt>
                      <c:pt idx="589">
                        <c:v>35543</c:v>
                      </c:pt>
                      <c:pt idx="590">
                        <c:v>35544</c:v>
                      </c:pt>
                      <c:pt idx="591">
                        <c:v>35545</c:v>
                      </c:pt>
                      <c:pt idx="592">
                        <c:v>35548</c:v>
                      </c:pt>
                      <c:pt idx="593">
                        <c:v>35549</c:v>
                      </c:pt>
                      <c:pt idx="594">
                        <c:v>35550</c:v>
                      </c:pt>
                      <c:pt idx="595">
                        <c:v>35551</c:v>
                      </c:pt>
                      <c:pt idx="596">
                        <c:v>35552</c:v>
                      </c:pt>
                      <c:pt idx="597">
                        <c:v>35555</c:v>
                      </c:pt>
                      <c:pt idx="598">
                        <c:v>35556</c:v>
                      </c:pt>
                      <c:pt idx="599">
                        <c:v>35557</c:v>
                      </c:pt>
                      <c:pt idx="600">
                        <c:v>35558</c:v>
                      </c:pt>
                      <c:pt idx="601">
                        <c:v>35559</c:v>
                      </c:pt>
                      <c:pt idx="602">
                        <c:v>35562</c:v>
                      </c:pt>
                      <c:pt idx="603">
                        <c:v>35563</c:v>
                      </c:pt>
                      <c:pt idx="604">
                        <c:v>35564</c:v>
                      </c:pt>
                      <c:pt idx="605">
                        <c:v>35565</c:v>
                      </c:pt>
                      <c:pt idx="606">
                        <c:v>35566</c:v>
                      </c:pt>
                      <c:pt idx="607">
                        <c:v>35569</c:v>
                      </c:pt>
                      <c:pt idx="608">
                        <c:v>35570</c:v>
                      </c:pt>
                      <c:pt idx="609">
                        <c:v>35571</c:v>
                      </c:pt>
                      <c:pt idx="610">
                        <c:v>35572</c:v>
                      </c:pt>
                      <c:pt idx="611">
                        <c:v>35573</c:v>
                      </c:pt>
                      <c:pt idx="612">
                        <c:v>35576</c:v>
                      </c:pt>
                      <c:pt idx="613">
                        <c:v>35577</c:v>
                      </c:pt>
                      <c:pt idx="614">
                        <c:v>35578</c:v>
                      </c:pt>
                      <c:pt idx="615">
                        <c:v>35579</c:v>
                      </c:pt>
                      <c:pt idx="616">
                        <c:v>35580</c:v>
                      </c:pt>
                      <c:pt idx="617">
                        <c:v>35583</c:v>
                      </c:pt>
                      <c:pt idx="618">
                        <c:v>35584</c:v>
                      </c:pt>
                      <c:pt idx="619">
                        <c:v>35585</c:v>
                      </c:pt>
                      <c:pt idx="620">
                        <c:v>35586</c:v>
                      </c:pt>
                      <c:pt idx="621">
                        <c:v>35587</c:v>
                      </c:pt>
                      <c:pt idx="622">
                        <c:v>35590</c:v>
                      </c:pt>
                      <c:pt idx="623">
                        <c:v>35591</c:v>
                      </c:pt>
                      <c:pt idx="624">
                        <c:v>35592</c:v>
                      </c:pt>
                      <c:pt idx="625">
                        <c:v>35593</c:v>
                      </c:pt>
                      <c:pt idx="626">
                        <c:v>35594</c:v>
                      </c:pt>
                      <c:pt idx="627">
                        <c:v>35597</c:v>
                      </c:pt>
                      <c:pt idx="628">
                        <c:v>35598</c:v>
                      </c:pt>
                      <c:pt idx="629">
                        <c:v>35599</c:v>
                      </c:pt>
                      <c:pt idx="630">
                        <c:v>35600</c:v>
                      </c:pt>
                      <c:pt idx="631">
                        <c:v>35601</c:v>
                      </c:pt>
                      <c:pt idx="632">
                        <c:v>35604</c:v>
                      </c:pt>
                      <c:pt idx="633">
                        <c:v>35605</c:v>
                      </c:pt>
                      <c:pt idx="634">
                        <c:v>35606</c:v>
                      </c:pt>
                      <c:pt idx="635">
                        <c:v>35607</c:v>
                      </c:pt>
                      <c:pt idx="636">
                        <c:v>35608</c:v>
                      </c:pt>
                      <c:pt idx="637">
                        <c:v>35611</c:v>
                      </c:pt>
                      <c:pt idx="638">
                        <c:v>35612</c:v>
                      </c:pt>
                      <c:pt idx="639">
                        <c:v>35613</c:v>
                      </c:pt>
                      <c:pt idx="640">
                        <c:v>35614</c:v>
                      </c:pt>
                      <c:pt idx="641">
                        <c:v>35615</c:v>
                      </c:pt>
                      <c:pt idx="642">
                        <c:v>35618</c:v>
                      </c:pt>
                      <c:pt idx="643">
                        <c:v>35619</c:v>
                      </c:pt>
                      <c:pt idx="644">
                        <c:v>35620</c:v>
                      </c:pt>
                      <c:pt idx="645">
                        <c:v>35621</c:v>
                      </c:pt>
                      <c:pt idx="646">
                        <c:v>35622</c:v>
                      </c:pt>
                      <c:pt idx="647">
                        <c:v>35625</c:v>
                      </c:pt>
                      <c:pt idx="648">
                        <c:v>35626</c:v>
                      </c:pt>
                      <c:pt idx="649">
                        <c:v>35627</c:v>
                      </c:pt>
                      <c:pt idx="650">
                        <c:v>35628</c:v>
                      </c:pt>
                      <c:pt idx="651">
                        <c:v>35629</c:v>
                      </c:pt>
                      <c:pt idx="652">
                        <c:v>35632</c:v>
                      </c:pt>
                      <c:pt idx="653">
                        <c:v>35633</c:v>
                      </c:pt>
                      <c:pt idx="654">
                        <c:v>35634</c:v>
                      </c:pt>
                      <c:pt idx="655">
                        <c:v>35635</c:v>
                      </c:pt>
                      <c:pt idx="656">
                        <c:v>35636</c:v>
                      </c:pt>
                      <c:pt idx="657">
                        <c:v>35639</c:v>
                      </c:pt>
                      <c:pt idx="658">
                        <c:v>35640</c:v>
                      </c:pt>
                      <c:pt idx="659">
                        <c:v>35641</c:v>
                      </c:pt>
                      <c:pt idx="660">
                        <c:v>35642</c:v>
                      </c:pt>
                      <c:pt idx="661">
                        <c:v>35643</c:v>
                      </c:pt>
                      <c:pt idx="662">
                        <c:v>35646</c:v>
                      </c:pt>
                      <c:pt idx="663">
                        <c:v>35647</c:v>
                      </c:pt>
                      <c:pt idx="664">
                        <c:v>35648</c:v>
                      </c:pt>
                      <c:pt idx="665">
                        <c:v>35649</c:v>
                      </c:pt>
                      <c:pt idx="666">
                        <c:v>35650</c:v>
                      </c:pt>
                      <c:pt idx="667">
                        <c:v>35653</c:v>
                      </c:pt>
                      <c:pt idx="668">
                        <c:v>35654</c:v>
                      </c:pt>
                      <c:pt idx="669">
                        <c:v>35655</c:v>
                      </c:pt>
                      <c:pt idx="670">
                        <c:v>35656</c:v>
                      </c:pt>
                      <c:pt idx="671">
                        <c:v>35657</c:v>
                      </c:pt>
                      <c:pt idx="672">
                        <c:v>35660</c:v>
                      </c:pt>
                      <c:pt idx="673">
                        <c:v>35661</c:v>
                      </c:pt>
                      <c:pt idx="674">
                        <c:v>35662</c:v>
                      </c:pt>
                      <c:pt idx="675">
                        <c:v>35663</c:v>
                      </c:pt>
                      <c:pt idx="676">
                        <c:v>35664</c:v>
                      </c:pt>
                      <c:pt idx="677">
                        <c:v>35667</c:v>
                      </c:pt>
                      <c:pt idx="678">
                        <c:v>35668</c:v>
                      </c:pt>
                      <c:pt idx="679">
                        <c:v>35669</c:v>
                      </c:pt>
                      <c:pt idx="680">
                        <c:v>35670</c:v>
                      </c:pt>
                      <c:pt idx="681">
                        <c:v>35671</c:v>
                      </c:pt>
                      <c:pt idx="682">
                        <c:v>35674</c:v>
                      </c:pt>
                      <c:pt idx="683">
                        <c:v>35675</c:v>
                      </c:pt>
                      <c:pt idx="684">
                        <c:v>35676</c:v>
                      </c:pt>
                      <c:pt idx="685">
                        <c:v>35677</c:v>
                      </c:pt>
                      <c:pt idx="686">
                        <c:v>35678</c:v>
                      </c:pt>
                      <c:pt idx="687">
                        <c:v>35681</c:v>
                      </c:pt>
                      <c:pt idx="688">
                        <c:v>35682</c:v>
                      </c:pt>
                      <c:pt idx="689">
                        <c:v>35683</c:v>
                      </c:pt>
                      <c:pt idx="690">
                        <c:v>35684</c:v>
                      </c:pt>
                      <c:pt idx="691">
                        <c:v>35685</c:v>
                      </c:pt>
                      <c:pt idx="692">
                        <c:v>35688</c:v>
                      </c:pt>
                      <c:pt idx="693">
                        <c:v>35689</c:v>
                      </c:pt>
                      <c:pt idx="694">
                        <c:v>35690</c:v>
                      </c:pt>
                      <c:pt idx="695">
                        <c:v>35691</c:v>
                      </c:pt>
                      <c:pt idx="696">
                        <c:v>35692</c:v>
                      </c:pt>
                      <c:pt idx="697">
                        <c:v>35695</c:v>
                      </c:pt>
                      <c:pt idx="698">
                        <c:v>35696</c:v>
                      </c:pt>
                      <c:pt idx="699">
                        <c:v>35697</c:v>
                      </c:pt>
                      <c:pt idx="700">
                        <c:v>35698</c:v>
                      </c:pt>
                      <c:pt idx="701">
                        <c:v>35699</c:v>
                      </c:pt>
                      <c:pt idx="702">
                        <c:v>35702</c:v>
                      </c:pt>
                      <c:pt idx="703">
                        <c:v>35703</c:v>
                      </c:pt>
                      <c:pt idx="704">
                        <c:v>35704</c:v>
                      </c:pt>
                      <c:pt idx="705">
                        <c:v>35705</c:v>
                      </c:pt>
                      <c:pt idx="706">
                        <c:v>35706</c:v>
                      </c:pt>
                      <c:pt idx="707">
                        <c:v>35709</c:v>
                      </c:pt>
                      <c:pt idx="708">
                        <c:v>35710</c:v>
                      </c:pt>
                      <c:pt idx="709">
                        <c:v>35711</c:v>
                      </c:pt>
                      <c:pt idx="710">
                        <c:v>35712</c:v>
                      </c:pt>
                      <c:pt idx="711">
                        <c:v>35713</c:v>
                      </c:pt>
                      <c:pt idx="712">
                        <c:v>35716</c:v>
                      </c:pt>
                      <c:pt idx="713">
                        <c:v>35717</c:v>
                      </c:pt>
                      <c:pt idx="714">
                        <c:v>35718</c:v>
                      </c:pt>
                      <c:pt idx="715">
                        <c:v>35719</c:v>
                      </c:pt>
                      <c:pt idx="716">
                        <c:v>35720</c:v>
                      </c:pt>
                      <c:pt idx="717">
                        <c:v>35723</c:v>
                      </c:pt>
                      <c:pt idx="718">
                        <c:v>35724</c:v>
                      </c:pt>
                      <c:pt idx="719">
                        <c:v>35725</c:v>
                      </c:pt>
                      <c:pt idx="720">
                        <c:v>35726</c:v>
                      </c:pt>
                      <c:pt idx="721">
                        <c:v>35727</c:v>
                      </c:pt>
                      <c:pt idx="722">
                        <c:v>35730</c:v>
                      </c:pt>
                      <c:pt idx="723">
                        <c:v>35731</c:v>
                      </c:pt>
                      <c:pt idx="724">
                        <c:v>35732</c:v>
                      </c:pt>
                      <c:pt idx="725">
                        <c:v>35733</c:v>
                      </c:pt>
                      <c:pt idx="726">
                        <c:v>35734</c:v>
                      </c:pt>
                      <c:pt idx="727">
                        <c:v>35737</c:v>
                      </c:pt>
                      <c:pt idx="728">
                        <c:v>35738</c:v>
                      </c:pt>
                      <c:pt idx="729">
                        <c:v>35739</c:v>
                      </c:pt>
                      <c:pt idx="730">
                        <c:v>35740</c:v>
                      </c:pt>
                      <c:pt idx="731">
                        <c:v>35741</c:v>
                      </c:pt>
                      <c:pt idx="732">
                        <c:v>35744</c:v>
                      </c:pt>
                      <c:pt idx="733">
                        <c:v>35745</c:v>
                      </c:pt>
                      <c:pt idx="734">
                        <c:v>35746</c:v>
                      </c:pt>
                      <c:pt idx="735">
                        <c:v>35747</c:v>
                      </c:pt>
                      <c:pt idx="736">
                        <c:v>35748</c:v>
                      </c:pt>
                      <c:pt idx="737">
                        <c:v>35751</c:v>
                      </c:pt>
                      <c:pt idx="738">
                        <c:v>35752</c:v>
                      </c:pt>
                      <c:pt idx="739">
                        <c:v>35753</c:v>
                      </c:pt>
                      <c:pt idx="740">
                        <c:v>35754</c:v>
                      </c:pt>
                      <c:pt idx="741">
                        <c:v>35755</c:v>
                      </c:pt>
                      <c:pt idx="742">
                        <c:v>35758</c:v>
                      </c:pt>
                      <c:pt idx="743">
                        <c:v>35759</c:v>
                      </c:pt>
                      <c:pt idx="744">
                        <c:v>35760</c:v>
                      </c:pt>
                      <c:pt idx="745">
                        <c:v>35761</c:v>
                      </c:pt>
                      <c:pt idx="746">
                        <c:v>35762</c:v>
                      </c:pt>
                      <c:pt idx="747">
                        <c:v>35765</c:v>
                      </c:pt>
                      <c:pt idx="748">
                        <c:v>35766</c:v>
                      </c:pt>
                      <c:pt idx="749">
                        <c:v>35767</c:v>
                      </c:pt>
                      <c:pt idx="750">
                        <c:v>35768</c:v>
                      </c:pt>
                      <c:pt idx="751">
                        <c:v>35769</c:v>
                      </c:pt>
                      <c:pt idx="752">
                        <c:v>35772</c:v>
                      </c:pt>
                      <c:pt idx="753">
                        <c:v>35773</c:v>
                      </c:pt>
                      <c:pt idx="754">
                        <c:v>35774</c:v>
                      </c:pt>
                      <c:pt idx="755">
                        <c:v>35775</c:v>
                      </c:pt>
                      <c:pt idx="756">
                        <c:v>35776</c:v>
                      </c:pt>
                      <c:pt idx="757">
                        <c:v>35779</c:v>
                      </c:pt>
                      <c:pt idx="758">
                        <c:v>35780</c:v>
                      </c:pt>
                      <c:pt idx="759">
                        <c:v>35781</c:v>
                      </c:pt>
                      <c:pt idx="760">
                        <c:v>35782</c:v>
                      </c:pt>
                      <c:pt idx="761">
                        <c:v>35783</c:v>
                      </c:pt>
                      <c:pt idx="762">
                        <c:v>35786</c:v>
                      </c:pt>
                      <c:pt idx="763">
                        <c:v>35787</c:v>
                      </c:pt>
                      <c:pt idx="764">
                        <c:v>35788</c:v>
                      </c:pt>
                      <c:pt idx="765">
                        <c:v>35789</c:v>
                      </c:pt>
                      <c:pt idx="766">
                        <c:v>35790</c:v>
                      </c:pt>
                      <c:pt idx="767">
                        <c:v>35793</c:v>
                      </c:pt>
                      <c:pt idx="768">
                        <c:v>35794</c:v>
                      </c:pt>
                      <c:pt idx="769">
                        <c:v>35795</c:v>
                      </c:pt>
                      <c:pt idx="770">
                        <c:v>35796</c:v>
                      </c:pt>
                      <c:pt idx="771">
                        <c:v>35797</c:v>
                      </c:pt>
                      <c:pt idx="772">
                        <c:v>35800</c:v>
                      </c:pt>
                      <c:pt idx="773">
                        <c:v>35801</c:v>
                      </c:pt>
                      <c:pt idx="774">
                        <c:v>35802</c:v>
                      </c:pt>
                      <c:pt idx="775">
                        <c:v>35803</c:v>
                      </c:pt>
                      <c:pt idx="776">
                        <c:v>35804</c:v>
                      </c:pt>
                      <c:pt idx="777">
                        <c:v>35807</c:v>
                      </c:pt>
                      <c:pt idx="778">
                        <c:v>35808</c:v>
                      </c:pt>
                      <c:pt idx="779">
                        <c:v>35809</c:v>
                      </c:pt>
                      <c:pt idx="780">
                        <c:v>35810</c:v>
                      </c:pt>
                      <c:pt idx="781">
                        <c:v>35811</c:v>
                      </c:pt>
                      <c:pt idx="782">
                        <c:v>35814</c:v>
                      </c:pt>
                      <c:pt idx="783">
                        <c:v>35815</c:v>
                      </c:pt>
                      <c:pt idx="784">
                        <c:v>35816</c:v>
                      </c:pt>
                      <c:pt idx="785">
                        <c:v>35817</c:v>
                      </c:pt>
                      <c:pt idx="786">
                        <c:v>35818</c:v>
                      </c:pt>
                      <c:pt idx="787">
                        <c:v>35821</c:v>
                      </c:pt>
                      <c:pt idx="788">
                        <c:v>35822</c:v>
                      </c:pt>
                      <c:pt idx="789">
                        <c:v>35823</c:v>
                      </c:pt>
                      <c:pt idx="790">
                        <c:v>35824</c:v>
                      </c:pt>
                      <c:pt idx="791">
                        <c:v>35825</c:v>
                      </c:pt>
                      <c:pt idx="792">
                        <c:v>35828</c:v>
                      </c:pt>
                      <c:pt idx="793">
                        <c:v>35829</c:v>
                      </c:pt>
                      <c:pt idx="794">
                        <c:v>35830</c:v>
                      </c:pt>
                      <c:pt idx="795">
                        <c:v>35831</c:v>
                      </c:pt>
                      <c:pt idx="796">
                        <c:v>35832</c:v>
                      </c:pt>
                      <c:pt idx="797">
                        <c:v>35835</c:v>
                      </c:pt>
                      <c:pt idx="798">
                        <c:v>35836</c:v>
                      </c:pt>
                      <c:pt idx="799">
                        <c:v>35837</c:v>
                      </c:pt>
                      <c:pt idx="800">
                        <c:v>35838</c:v>
                      </c:pt>
                      <c:pt idx="801">
                        <c:v>35839</c:v>
                      </c:pt>
                      <c:pt idx="802">
                        <c:v>35842</c:v>
                      </c:pt>
                      <c:pt idx="803">
                        <c:v>35843</c:v>
                      </c:pt>
                      <c:pt idx="804">
                        <c:v>35844</c:v>
                      </c:pt>
                      <c:pt idx="805">
                        <c:v>35845</c:v>
                      </c:pt>
                      <c:pt idx="806">
                        <c:v>35846</c:v>
                      </c:pt>
                      <c:pt idx="807">
                        <c:v>35849</c:v>
                      </c:pt>
                      <c:pt idx="808">
                        <c:v>35850</c:v>
                      </c:pt>
                      <c:pt idx="809">
                        <c:v>35851</c:v>
                      </c:pt>
                      <c:pt idx="810">
                        <c:v>35852</c:v>
                      </c:pt>
                      <c:pt idx="811">
                        <c:v>35853</c:v>
                      </c:pt>
                      <c:pt idx="812">
                        <c:v>35856</c:v>
                      </c:pt>
                      <c:pt idx="813">
                        <c:v>35857</c:v>
                      </c:pt>
                      <c:pt idx="814">
                        <c:v>35858</c:v>
                      </c:pt>
                      <c:pt idx="815">
                        <c:v>35859</c:v>
                      </c:pt>
                      <c:pt idx="816">
                        <c:v>35860</c:v>
                      </c:pt>
                      <c:pt idx="817">
                        <c:v>35863</c:v>
                      </c:pt>
                      <c:pt idx="818">
                        <c:v>35864</c:v>
                      </c:pt>
                      <c:pt idx="819">
                        <c:v>35865</c:v>
                      </c:pt>
                      <c:pt idx="820">
                        <c:v>35866</c:v>
                      </c:pt>
                      <c:pt idx="821">
                        <c:v>35867</c:v>
                      </c:pt>
                      <c:pt idx="822">
                        <c:v>35870</c:v>
                      </c:pt>
                      <c:pt idx="823">
                        <c:v>35871</c:v>
                      </c:pt>
                      <c:pt idx="824">
                        <c:v>35872</c:v>
                      </c:pt>
                      <c:pt idx="825">
                        <c:v>35873</c:v>
                      </c:pt>
                      <c:pt idx="826">
                        <c:v>35874</c:v>
                      </c:pt>
                      <c:pt idx="827">
                        <c:v>35877</c:v>
                      </c:pt>
                      <c:pt idx="828">
                        <c:v>35878</c:v>
                      </c:pt>
                      <c:pt idx="829">
                        <c:v>35879</c:v>
                      </c:pt>
                      <c:pt idx="830">
                        <c:v>35880</c:v>
                      </c:pt>
                      <c:pt idx="831">
                        <c:v>35881</c:v>
                      </c:pt>
                      <c:pt idx="832">
                        <c:v>35884</c:v>
                      </c:pt>
                      <c:pt idx="833">
                        <c:v>35885</c:v>
                      </c:pt>
                      <c:pt idx="834">
                        <c:v>35886</c:v>
                      </c:pt>
                      <c:pt idx="835">
                        <c:v>35887</c:v>
                      </c:pt>
                      <c:pt idx="836">
                        <c:v>35888</c:v>
                      </c:pt>
                      <c:pt idx="837">
                        <c:v>35891</c:v>
                      </c:pt>
                      <c:pt idx="838">
                        <c:v>35892</c:v>
                      </c:pt>
                      <c:pt idx="839">
                        <c:v>35893</c:v>
                      </c:pt>
                      <c:pt idx="840">
                        <c:v>35894</c:v>
                      </c:pt>
                      <c:pt idx="841">
                        <c:v>35895</c:v>
                      </c:pt>
                      <c:pt idx="842">
                        <c:v>35898</c:v>
                      </c:pt>
                      <c:pt idx="843">
                        <c:v>35899</c:v>
                      </c:pt>
                      <c:pt idx="844">
                        <c:v>35900</c:v>
                      </c:pt>
                      <c:pt idx="845">
                        <c:v>35901</c:v>
                      </c:pt>
                      <c:pt idx="846">
                        <c:v>35902</c:v>
                      </c:pt>
                      <c:pt idx="847">
                        <c:v>35905</c:v>
                      </c:pt>
                      <c:pt idx="848">
                        <c:v>35906</c:v>
                      </c:pt>
                      <c:pt idx="849">
                        <c:v>35907</c:v>
                      </c:pt>
                      <c:pt idx="850">
                        <c:v>35908</c:v>
                      </c:pt>
                      <c:pt idx="851">
                        <c:v>35909</c:v>
                      </c:pt>
                      <c:pt idx="852">
                        <c:v>35912</c:v>
                      </c:pt>
                      <c:pt idx="853">
                        <c:v>35913</c:v>
                      </c:pt>
                      <c:pt idx="854">
                        <c:v>35914</c:v>
                      </c:pt>
                      <c:pt idx="855">
                        <c:v>35915</c:v>
                      </c:pt>
                      <c:pt idx="856">
                        <c:v>35916</c:v>
                      </c:pt>
                      <c:pt idx="857">
                        <c:v>35919</c:v>
                      </c:pt>
                      <c:pt idx="858">
                        <c:v>35920</c:v>
                      </c:pt>
                      <c:pt idx="859">
                        <c:v>35921</c:v>
                      </c:pt>
                      <c:pt idx="860">
                        <c:v>35922</c:v>
                      </c:pt>
                      <c:pt idx="861">
                        <c:v>35923</c:v>
                      </c:pt>
                      <c:pt idx="862">
                        <c:v>35926</c:v>
                      </c:pt>
                      <c:pt idx="863">
                        <c:v>35927</c:v>
                      </c:pt>
                      <c:pt idx="864">
                        <c:v>35928</c:v>
                      </c:pt>
                      <c:pt idx="865">
                        <c:v>35929</c:v>
                      </c:pt>
                      <c:pt idx="866">
                        <c:v>35930</c:v>
                      </c:pt>
                      <c:pt idx="867">
                        <c:v>35933</c:v>
                      </c:pt>
                      <c:pt idx="868">
                        <c:v>35934</c:v>
                      </c:pt>
                      <c:pt idx="869">
                        <c:v>35935</c:v>
                      </c:pt>
                      <c:pt idx="870">
                        <c:v>35936</c:v>
                      </c:pt>
                      <c:pt idx="871">
                        <c:v>35937</c:v>
                      </c:pt>
                      <c:pt idx="872">
                        <c:v>35940</c:v>
                      </c:pt>
                      <c:pt idx="873">
                        <c:v>35941</c:v>
                      </c:pt>
                      <c:pt idx="874">
                        <c:v>35942</c:v>
                      </c:pt>
                      <c:pt idx="875">
                        <c:v>35943</c:v>
                      </c:pt>
                      <c:pt idx="876">
                        <c:v>35944</c:v>
                      </c:pt>
                      <c:pt idx="877">
                        <c:v>35947</c:v>
                      </c:pt>
                      <c:pt idx="878">
                        <c:v>35948</c:v>
                      </c:pt>
                      <c:pt idx="879">
                        <c:v>35949</c:v>
                      </c:pt>
                      <c:pt idx="880">
                        <c:v>35950</c:v>
                      </c:pt>
                      <c:pt idx="881">
                        <c:v>35951</c:v>
                      </c:pt>
                      <c:pt idx="882">
                        <c:v>35954</c:v>
                      </c:pt>
                      <c:pt idx="883">
                        <c:v>35955</c:v>
                      </c:pt>
                      <c:pt idx="884">
                        <c:v>35956</c:v>
                      </c:pt>
                      <c:pt idx="885">
                        <c:v>35957</c:v>
                      </c:pt>
                      <c:pt idx="886">
                        <c:v>35958</c:v>
                      </c:pt>
                      <c:pt idx="887">
                        <c:v>35961</c:v>
                      </c:pt>
                      <c:pt idx="888">
                        <c:v>35962</c:v>
                      </c:pt>
                      <c:pt idx="889">
                        <c:v>35963</c:v>
                      </c:pt>
                      <c:pt idx="890">
                        <c:v>35964</c:v>
                      </c:pt>
                      <c:pt idx="891">
                        <c:v>35965</c:v>
                      </c:pt>
                      <c:pt idx="892">
                        <c:v>35968</c:v>
                      </c:pt>
                      <c:pt idx="893">
                        <c:v>35969</c:v>
                      </c:pt>
                      <c:pt idx="894">
                        <c:v>35970</c:v>
                      </c:pt>
                      <c:pt idx="895">
                        <c:v>35971</c:v>
                      </c:pt>
                      <c:pt idx="896">
                        <c:v>35972</c:v>
                      </c:pt>
                      <c:pt idx="897">
                        <c:v>35975</c:v>
                      </c:pt>
                      <c:pt idx="898">
                        <c:v>35976</c:v>
                      </c:pt>
                      <c:pt idx="899">
                        <c:v>35977</c:v>
                      </c:pt>
                      <c:pt idx="900">
                        <c:v>35978</c:v>
                      </c:pt>
                      <c:pt idx="901">
                        <c:v>35979</c:v>
                      </c:pt>
                      <c:pt idx="902">
                        <c:v>35982</c:v>
                      </c:pt>
                      <c:pt idx="903">
                        <c:v>35983</c:v>
                      </c:pt>
                      <c:pt idx="904">
                        <c:v>35984</c:v>
                      </c:pt>
                      <c:pt idx="905">
                        <c:v>35985</c:v>
                      </c:pt>
                      <c:pt idx="906">
                        <c:v>35986</c:v>
                      </c:pt>
                      <c:pt idx="907">
                        <c:v>35989</c:v>
                      </c:pt>
                      <c:pt idx="908">
                        <c:v>35990</c:v>
                      </c:pt>
                      <c:pt idx="909">
                        <c:v>35991</c:v>
                      </c:pt>
                      <c:pt idx="910">
                        <c:v>35992</c:v>
                      </c:pt>
                      <c:pt idx="911">
                        <c:v>35993</c:v>
                      </c:pt>
                      <c:pt idx="912">
                        <c:v>35996</c:v>
                      </c:pt>
                      <c:pt idx="913">
                        <c:v>35997</c:v>
                      </c:pt>
                      <c:pt idx="914">
                        <c:v>35998</c:v>
                      </c:pt>
                      <c:pt idx="915">
                        <c:v>35999</c:v>
                      </c:pt>
                      <c:pt idx="916">
                        <c:v>36000</c:v>
                      </c:pt>
                      <c:pt idx="917">
                        <c:v>36003</c:v>
                      </c:pt>
                      <c:pt idx="918">
                        <c:v>36004</c:v>
                      </c:pt>
                      <c:pt idx="919">
                        <c:v>36005</c:v>
                      </c:pt>
                      <c:pt idx="920">
                        <c:v>36006</c:v>
                      </c:pt>
                      <c:pt idx="921">
                        <c:v>36007</c:v>
                      </c:pt>
                      <c:pt idx="922">
                        <c:v>36010</c:v>
                      </c:pt>
                      <c:pt idx="923">
                        <c:v>36011</c:v>
                      </c:pt>
                      <c:pt idx="924">
                        <c:v>36012</c:v>
                      </c:pt>
                      <c:pt idx="925">
                        <c:v>36013</c:v>
                      </c:pt>
                      <c:pt idx="926">
                        <c:v>36014</c:v>
                      </c:pt>
                      <c:pt idx="927">
                        <c:v>36017</c:v>
                      </c:pt>
                      <c:pt idx="928">
                        <c:v>36018</c:v>
                      </c:pt>
                      <c:pt idx="929">
                        <c:v>36019</c:v>
                      </c:pt>
                      <c:pt idx="930">
                        <c:v>36020</c:v>
                      </c:pt>
                      <c:pt idx="931">
                        <c:v>36021</c:v>
                      </c:pt>
                      <c:pt idx="932">
                        <c:v>36024</c:v>
                      </c:pt>
                      <c:pt idx="933">
                        <c:v>36025</c:v>
                      </c:pt>
                      <c:pt idx="934">
                        <c:v>36026</c:v>
                      </c:pt>
                      <c:pt idx="935">
                        <c:v>36027</c:v>
                      </c:pt>
                      <c:pt idx="936">
                        <c:v>36028</c:v>
                      </c:pt>
                      <c:pt idx="937">
                        <c:v>36031</c:v>
                      </c:pt>
                      <c:pt idx="938">
                        <c:v>36032</c:v>
                      </c:pt>
                      <c:pt idx="939">
                        <c:v>36033</c:v>
                      </c:pt>
                      <c:pt idx="940">
                        <c:v>36034</c:v>
                      </c:pt>
                      <c:pt idx="941">
                        <c:v>36035</c:v>
                      </c:pt>
                      <c:pt idx="942">
                        <c:v>36038</c:v>
                      </c:pt>
                      <c:pt idx="943">
                        <c:v>36039</c:v>
                      </c:pt>
                      <c:pt idx="944">
                        <c:v>36040</c:v>
                      </c:pt>
                      <c:pt idx="945">
                        <c:v>36041</c:v>
                      </c:pt>
                      <c:pt idx="946">
                        <c:v>36042</c:v>
                      </c:pt>
                      <c:pt idx="947">
                        <c:v>36045</c:v>
                      </c:pt>
                      <c:pt idx="948">
                        <c:v>36046</c:v>
                      </c:pt>
                      <c:pt idx="949">
                        <c:v>36047</c:v>
                      </c:pt>
                      <c:pt idx="950">
                        <c:v>36048</c:v>
                      </c:pt>
                      <c:pt idx="951">
                        <c:v>36049</c:v>
                      </c:pt>
                      <c:pt idx="952">
                        <c:v>36052</c:v>
                      </c:pt>
                      <c:pt idx="953">
                        <c:v>36053</c:v>
                      </c:pt>
                      <c:pt idx="954">
                        <c:v>36054</c:v>
                      </c:pt>
                      <c:pt idx="955">
                        <c:v>36055</c:v>
                      </c:pt>
                      <c:pt idx="956">
                        <c:v>36056</c:v>
                      </c:pt>
                      <c:pt idx="957">
                        <c:v>36059</c:v>
                      </c:pt>
                      <c:pt idx="958">
                        <c:v>36060</c:v>
                      </c:pt>
                      <c:pt idx="959">
                        <c:v>36061</c:v>
                      </c:pt>
                      <c:pt idx="960">
                        <c:v>36062</c:v>
                      </c:pt>
                      <c:pt idx="961">
                        <c:v>36063</c:v>
                      </c:pt>
                      <c:pt idx="962">
                        <c:v>36066</c:v>
                      </c:pt>
                      <c:pt idx="963">
                        <c:v>36067</c:v>
                      </c:pt>
                      <c:pt idx="964">
                        <c:v>36068</c:v>
                      </c:pt>
                      <c:pt idx="965">
                        <c:v>36069</c:v>
                      </c:pt>
                      <c:pt idx="966">
                        <c:v>36070</c:v>
                      </c:pt>
                      <c:pt idx="967">
                        <c:v>36073</c:v>
                      </c:pt>
                      <c:pt idx="968">
                        <c:v>36074</c:v>
                      </c:pt>
                      <c:pt idx="969">
                        <c:v>36075</c:v>
                      </c:pt>
                      <c:pt idx="970">
                        <c:v>36076</c:v>
                      </c:pt>
                      <c:pt idx="971">
                        <c:v>36077</c:v>
                      </c:pt>
                      <c:pt idx="972">
                        <c:v>36080</c:v>
                      </c:pt>
                      <c:pt idx="973">
                        <c:v>36081</c:v>
                      </c:pt>
                      <c:pt idx="974">
                        <c:v>36082</c:v>
                      </c:pt>
                      <c:pt idx="975">
                        <c:v>36083</c:v>
                      </c:pt>
                      <c:pt idx="976">
                        <c:v>36084</c:v>
                      </c:pt>
                      <c:pt idx="977">
                        <c:v>36087</c:v>
                      </c:pt>
                      <c:pt idx="978">
                        <c:v>36088</c:v>
                      </c:pt>
                      <c:pt idx="979">
                        <c:v>36089</c:v>
                      </c:pt>
                      <c:pt idx="980">
                        <c:v>36090</c:v>
                      </c:pt>
                      <c:pt idx="981">
                        <c:v>36091</c:v>
                      </c:pt>
                      <c:pt idx="982">
                        <c:v>36094</c:v>
                      </c:pt>
                      <c:pt idx="983">
                        <c:v>36095</c:v>
                      </c:pt>
                      <c:pt idx="984">
                        <c:v>36096</c:v>
                      </c:pt>
                      <c:pt idx="985">
                        <c:v>36097</c:v>
                      </c:pt>
                      <c:pt idx="986">
                        <c:v>36098</c:v>
                      </c:pt>
                      <c:pt idx="987">
                        <c:v>36101</c:v>
                      </c:pt>
                      <c:pt idx="988">
                        <c:v>36102</c:v>
                      </c:pt>
                      <c:pt idx="989">
                        <c:v>36103</c:v>
                      </c:pt>
                      <c:pt idx="990">
                        <c:v>36104</c:v>
                      </c:pt>
                      <c:pt idx="991">
                        <c:v>36105</c:v>
                      </c:pt>
                      <c:pt idx="992">
                        <c:v>36108</c:v>
                      </c:pt>
                      <c:pt idx="993">
                        <c:v>36109</c:v>
                      </c:pt>
                      <c:pt idx="994">
                        <c:v>36110</c:v>
                      </c:pt>
                      <c:pt idx="995">
                        <c:v>36111</c:v>
                      </c:pt>
                      <c:pt idx="996">
                        <c:v>36112</c:v>
                      </c:pt>
                      <c:pt idx="997">
                        <c:v>36115</c:v>
                      </c:pt>
                      <c:pt idx="998">
                        <c:v>36116</c:v>
                      </c:pt>
                      <c:pt idx="999">
                        <c:v>36117</c:v>
                      </c:pt>
                      <c:pt idx="1000">
                        <c:v>36118</c:v>
                      </c:pt>
                      <c:pt idx="1001">
                        <c:v>36119</c:v>
                      </c:pt>
                      <c:pt idx="1002">
                        <c:v>36122</c:v>
                      </c:pt>
                      <c:pt idx="1003">
                        <c:v>36123</c:v>
                      </c:pt>
                      <c:pt idx="1004">
                        <c:v>36124</c:v>
                      </c:pt>
                      <c:pt idx="1005">
                        <c:v>36125</c:v>
                      </c:pt>
                      <c:pt idx="1006">
                        <c:v>36126</c:v>
                      </c:pt>
                      <c:pt idx="1007">
                        <c:v>36129</c:v>
                      </c:pt>
                      <c:pt idx="1008">
                        <c:v>36130</c:v>
                      </c:pt>
                      <c:pt idx="1009">
                        <c:v>36131</c:v>
                      </c:pt>
                      <c:pt idx="1010">
                        <c:v>36132</c:v>
                      </c:pt>
                      <c:pt idx="1011">
                        <c:v>36133</c:v>
                      </c:pt>
                      <c:pt idx="1012">
                        <c:v>36136</c:v>
                      </c:pt>
                      <c:pt idx="1013">
                        <c:v>36137</c:v>
                      </c:pt>
                      <c:pt idx="1014">
                        <c:v>36138</c:v>
                      </c:pt>
                      <c:pt idx="1015">
                        <c:v>36139</c:v>
                      </c:pt>
                      <c:pt idx="1016">
                        <c:v>36140</c:v>
                      </c:pt>
                      <c:pt idx="1017">
                        <c:v>36143</c:v>
                      </c:pt>
                      <c:pt idx="1018">
                        <c:v>36144</c:v>
                      </c:pt>
                      <c:pt idx="1019">
                        <c:v>36145</c:v>
                      </c:pt>
                      <c:pt idx="1020">
                        <c:v>36146</c:v>
                      </c:pt>
                      <c:pt idx="1021">
                        <c:v>36147</c:v>
                      </c:pt>
                      <c:pt idx="1022">
                        <c:v>36150</c:v>
                      </c:pt>
                      <c:pt idx="1023">
                        <c:v>36151</c:v>
                      </c:pt>
                      <c:pt idx="1024">
                        <c:v>36152</c:v>
                      </c:pt>
                      <c:pt idx="1025">
                        <c:v>36153</c:v>
                      </c:pt>
                      <c:pt idx="1026">
                        <c:v>36154</c:v>
                      </c:pt>
                      <c:pt idx="1027">
                        <c:v>36157</c:v>
                      </c:pt>
                      <c:pt idx="1028">
                        <c:v>36158</c:v>
                      </c:pt>
                      <c:pt idx="1029">
                        <c:v>36159</c:v>
                      </c:pt>
                      <c:pt idx="1030">
                        <c:v>36160</c:v>
                      </c:pt>
                      <c:pt idx="1031">
                        <c:v>36161</c:v>
                      </c:pt>
                      <c:pt idx="1032">
                        <c:v>36164</c:v>
                      </c:pt>
                      <c:pt idx="1033">
                        <c:v>36165</c:v>
                      </c:pt>
                      <c:pt idx="1034">
                        <c:v>36166</c:v>
                      </c:pt>
                      <c:pt idx="1035">
                        <c:v>36167</c:v>
                      </c:pt>
                      <c:pt idx="1036">
                        <c:v>36168</c:v>
                      </c:pt>
                      <c:pt idx="1037">
                        <c:v>36171</c:v>
                      </c:pt>
                      <c:pt idx="1038">
                        <c:v>36172</c:v>
                      </c:pt>
                      <c:pt idx="1039">
                        <c:v>36173</c:v>
                      </c:pt>
                      <c:pt idx="1040">
                        <c:v>36174</c:v>
                      </c:pt>
                      <c:pt idx="1041">
                        <c:v>36175</c:v>
                      </c:pt>
                      <c:pt idx="1042">
                        <c:v>36178</c:v>
                      </c:pt>
                      <c:pt idx="1043">
                        <c:v>36179</c:v>
                      </c:pt>
                      <c:pt idx="1044">
                        <c:v>36180</c:v>
                      </c:pt>
                      <c:pt idx="1045">
                        <c:v>36181</c:v>
                      </c:pt>
                      <c:pt idx="1046">
                        <c:v>36182</c:v>
                      </c:pt>
                      <c:pt idx="1047">
                        <c:v>36185</c:v>
                      </c:pt>
                      <c:pt idx="1048">
                        <c:v>36186</c:v>
                      </c:pt>
                      <c:pt idx="1049">
                        <c:v>36187</c:v>
                      </c:pt>
                      <c:pt idx="1050">
                        <c:v>36188</c:v>
                      </c:pt>
                      <c:pt idx="1051">
                        <c:v>36189</c:v>
                      </c:pt>
                      <c:pt idx="1052">
                        <c:v>36192</c:v>
                      </c:pt>
                      <c:pt idx="1053">
                        <c:v>36193</c:v>
                      </c:pt>
                      <c:pt idx="1054">
                        <c:v>36194</c:v>
                      </c:pt>
                      <c:pt idx="1055">
                        <c:v>36195</c:v>
                      </c:pt>
                      <c:pt idx="1056">
                        <c:v>36196</c:v>
                      </c:pt>
                      <c:pt idx="1057">
                        <c:v>36199</c:v>
                      </c:pt>
                      <c:pt idx="1058">
                        <c:v>36200</c:v>
                      </c:pt>
                      <c:pt idx="1059">
                        <c:v>36201</c:v>
                      </c:pt>
                      <c:pt idx="1060">
                        <c:v>36202</c:v>
                      </c:pt>
                      <c:pt idx="1061">
                        <c:v>36203</c:v>
                      </c:pt>
                      <c:pt idx="1062">
                        <c:v>36206</c:v>
                      </c:pt>
                      <c:pt idx="1063">
                        <c:v>36207</c:v>
                      </c:pt>
                      <c:pt idx="1064">
                        <c:v>36208</c:v>
                      </c:pt>
                      <c:pt idx="1065">
                        <c:v>36209</c:v>
                      </c:pt>
                      <c:pt idx="1066">
                        <c:v>36210</c:v>
                      </c:pt>
                      <c:pt idx="1067">
                        <c:v>36213</c:v>
                      </c:pt>
                      <c:pt idx="1068">
                        <c:v>36214</c:v>
                      </c:pt>
                      <c:pt idx="1069">
                        <c:v>36215</c:v>
                      </c:pt>
                      <c:pt idx="1070">
                        <c:v>36216</c:v>
                      </c:pt>
                      <c:pt idx="1071">
                        <c:v>36217</c:v>
                      </c:pt>
                      <c:pt idx="1072">
                        <c:v>36220</c:v>
                      </c:pt>
                      <c:pt idx="1073">
                        <c:v>36221</c:v>
                      </c:pt>
                      <c:pt idx="1074">
                        <c:v>36222</c:v>
                      </c:pt>
                      <c:pt idx="1075">
                        <c:v>36223</c:v>
                      </c:pt>
                      <c:pt idx="1076">
                        <c:v>36224</c:v>
                      </c:pt>
                      <c:pt idx="1077">
                        <c:v>36227</c:v>
                      </c:pt>
                      <c:pt idx="1078">
                        <c:v>36228</c:v>
                      </c:pt>
                      <c:pt idx="1079">
                        <c:v>36229</c:v>
                      </c:pt>
                      <c:pt idx="1080">
                        <c:v>36230</c:v>
                      </c:pt>
                      <c:pt idx="1081">
                        <c:v>36231</c:v>
                      </c:pt>
                      <c:pt idx="1082">
                        <c:v>36234</c:v>
                      </c:pt>
                      <c:pt idx="1083">
                        <c:v>36235</c:v>
                      </c:pt>
                      <c:pt idx="1084">
                        <c:v>36236</c:v>
                      </c:pt>
                      <c:pt idx="1085">
                        <c:v>36237</c:v>
                      </c:pt>
                      <c:pt idx="1086">
                        <c:v>36238</c:v>
                      </c:pt>
                      <c:pt idx="1087">
                        <c:v>36241</c:v>
                      </c:pt>
                      <c:pt idx="1088">
                        <c:v>36242</c:v>
                      </c:pt>
                      <c:pt idx="1089">
                        <c:v>36243</c:v>
                      </c:pt>
                      <c:pt idx="1090">
                        <c:v>36244</c:v>
                      </c:pt>
                      <c:pt idx="1091">
                        <c:v>36245</c:v>
                      </c:pt>
                      <c:pt idx="1092">
                        <c:v>36248</c:v>
                      </c:pt>
                      <c:pt idx="1093">
                        <c:v>36249</c:v>
                      </c:pt>
                      <c:pt idx="1094">
                        <c:v>36250</c:v>
                      </c:pt>
                      <c:pt idx="1095">
                        <c:v>36251</c:v>
                      </c:pt>
                      <c:pt idx="1096">
                        <c:v>36252</c:v>
                      </c:pt>
                      <c:pt idx="1097">
                        <c:v>36255</c:v>
                      </c:pt>
                      <c:pt idx="1098">
                        <c:v>36256</c:v>
                      </c:pt>
                      <c:pt idx="1099">
                        <c:v>36257</c:v>
                      </c:pt>
                      <c:pt idx="1100">
                        <c:v>36258</c:v>
                      </c:pt>
                      <c:pt idx="1101">
                        <c:v>36259</c:v>
                      </c:pt>
                      <c:pt idx="1102">
                        <c:v>36262</c:v>
                      </c:pt>
                      <c:pt idx="1103">
                        <c:v>36263</c:v>
                      </c:pt>
                      <c:pt idx="1104">
                        <c:v>36264</c:v>
                      </c:pt>
                      <c:pt idx="1105">
                        <c:v>36265</c:v>
                      </c:pt>
                      <c:pt idx="1106">
                        <c:v>36266</c:v>
                      </c:pt>
                      <c:pt idx="1107">
                        <c:v>36269</c:v>
                      </c:pt>
                      <c:pt idx="1108">
                        <c:v>36270</c:v>
                      </c:pt>
                      <c:pt idx="1109">
                        <c:v>36271</c:v>
                      </c:pt>
                      <c:pt idx="1110">
                        <c:v>36272</c:v>
                      </c:pt>
                      <c:pt idx="1111">
                        <c:v>36273</c:v>
                      </c:pt>
                      <c:pt idx="1112">
                        <c:v>36276</c:v>
                      </c:pt>
                      <c:pt idx="1113">
                        <c:v>36277</c:v>
                      </c:pt>
                      <c:pt idx="1114">
                        <c:v>36278</c:v>
                      </c:pt>
                      <c:pt idx="1115">
                        <c:v>36279</c:v>
                      </c:pt>
                      <c:pt idx="1116">
                        <c:v>36280</c:v>
                      </c:pt>
                      <c:pt idx="1117">
                        <c:v>36283</c:v>
                      </c:pt>
                      <c:pt idx="1118">
                        <c:v>36284</c:v>
                      </c:pt>
                      <c:pt idx="1119">
                        <c:v>36285</c:v>
                      </c:pt>
                      <c:pt idx="1120">
                        <c:v>36286</c:v>
                      </c:pt>
                      <c:pt idx="1121">
                        <c:v>36287</c:v>
                      </c:pt>
                      <c:pt idx="1122">
                        <c:v>36290</c:v>
                      </c:pt>
                      <c:pt idx="1123">
                        <c:v>36291</c:v>
                      </c:pt>
                      <c:pt idx="1124">
                        <c:v>36292</c:v>
                      </c:pt>
                      <c:pt idx="1125">
                        <c:v>36293</c:v>
                      </c:pt>
                      <c:pt idx="1126">
                        <c:v>36294</c:v>
                      </c:pt>
                      <c:pt idx="1127">
                        <c:v>36297</c:v>
                      </c:pt>
                      <c:pt idx="1128">
                        <c:v>36298</c:v>
                      </c:pt>
                      <c:pt idx="1129">
                        <c:v>36299</c:v>
                      </c:pt>
                      <c:pt idx="1130">
                        <c:v>36300</c:v>
                      </c:pt>
                      <c:pt idx="1131">
                        <c:v>36301</c:v>
                      </c:pt>
                      <c:pt idx="1132">
                        <c:v>36304</c:v>
                      </c:pt>
                      <c:pt idx="1133">
                        <c:v>36305</c:v>
                      </c:pt>
                      <c:pt idx="1134">
                        <c:v>36306</c:v>
                      </c:pt>
                      <c:pt idx="1135">
                        <c:v>36307</c:v>
                      </c:pt>
                      <c:pt idx="1136">
                        <c:v>36308</c:v>
                      </c:pt>
                      <c:pt idx="1137">
                        <c:v>36311</c:v>
                      </c:pt>
                      <c:pt idx="1138">
                        <c:v>36312</c:v>
                      </c:pt>
                      <c:pt idx="1139">
                        <c:v>36313</c:v>
                      </c:pt>
                      <c:pt idx="1140">
                        <c:v>36314</c:v>
                      </c:pt>
                      <c:pt idx="1141">
                        <c:v>36315</c:v>
                      </c:pt>
                      <c:pt idx="1142">
                        <c:v>36318</c:v>
                      </c:pt>
                      <c:pt idx="1143">
                        <c:v>36319</c:v>
                      </c:pt>
                      <c:pt idx="1144">
                        <c:v>36320</c:v>
                      </c:pt>
                      <c:pt idx="1145">
                        <c:v>36321</c:v>
                      </c:pt>
                      <c:pt idx="1146">
                        <c:v>36322</c:v>
                      </c:pt>
                      <c:pt idx="1147">
                        <c:v>36325</c:v>
                      </c:pt>
                      <c:pt idx="1148">
                        <c:v>36326</c:v>
                      </c:pt>
                      <c:pt idx="1149">
                        <c:v>36327</c:v>
                      </c:pt>
                      <c:pt idx="1150">
                        <c:v>36328</c:v>
                      </c:pt>
                      <c:pt idx="1151">
                        <c:v>36329</c:v>
                      </c:pt>
                      <c:pt idx="1152">
                        <c:v>36332</c:v>
                      </c:pt>
                      <c:pt idx="1153">
                        <c:v>36333</c:v>
                      </c:pt>
                      <c:pt idx="1154">
                        <c:v>36334</c:v>
                      </c:pt>
                      <c:pt idx="1155">
                        <c:v>36335</c:v>
                      </c:pt>
                      <c:pt idx="1156">
                        <c:v>36336</c:v>
                      </c:pt>
                      <c:pt idx="1157">
                        <c:v>36339</c:v>
                      </c:pt>
                      <c:pt idx="1158">
                        <c:v>36340</c:v>
                      </c:pt>
                      <c:pt idx="1159">
                        <c:v>36341</c:v>
                      </c:pt>
                      <c:pt idx="1160">
                        <c:v>36342</c:v>
                      </c:pt>
                      <c:pt idx="1161">
                        <c:v>36343</c:v>
                      </c:pt>
                      <c:pt idx="1162">
                        <c:v>36346</c:v>
                      </c:pt>
                      <c:pt idx="1163">
                        <c:v>36347</c:v>
                      </c:pt>
                      <c:pt idx="1164">
                        <c:v>36348</c:v>
                      </c:pt>
                      <c:pt idx="1165">
                        <c:v>36349</c:v>
                      </c:pt>
                      <c:pt idx="1166">
                        <c:v>36350</c:v>
                      </c:pt>
                      <c:pt idx="1167">
                        <c:v>36353</c:v>
                      </c:pt>
                      <c:pt idx="1168">
                        <c:v>36354</c:v>
                      </c:pt>
                      <c:pt idx="1169">
                        <c:v>36355</c:v>
                      </c:pt>
                      <c:pt idx="1170">
                        <c:v>36356</c:v>
                      </c:pt>
                      <c:pt idx="1171">
                        <c:v>36357</c:v>
                      </c:pt>
                      <c:pt idx="1172">
                        <c:v>36360</c:v>
                      </c:pt>
                      <c:pt idx="1173">
                        <c:v>36361</c:v>
                      </c:pt>
                      <c:pt idx="1174">
                        <c:v>36362</c:v>
                      </c:pt>
                      <c:pt idx="1175">
                        <c:v>36363</c:v>
                      </c:pt>
                      <c:pt idx="1176">
                        <c:v>36364</c:v>
                      </c:pt>
                      <c:pt idx="1177">
                        <c:v>36367</c:v>
                      </c:pt>
                      <c:pt idx="1178">
                        <c:v>36368</c:v>
                      </c:pt>
                      <c:pt idx="1179">
                        <c:v>36369</c:v>
                      </c:pt>
                      <c:pt idx="1180">
                        <c:v>36370</c:v>
                      </c:pt>
                      <c:pt idx="1181">
                        <c:v>36371</c:v>
                      </c:pt>
                      <c:pt idx="1182">
                        <c:v>36374</c:v>
                      </c:pt>
                      <c:pt idx="1183">
                        <c:v>36375</c:v>
                      </c:pt>
                      <c:pt idx="1184">
                        <c:v>36376</c:v>
                      </c:pt>
                      <c:pt idx="1185">
                        <c:v>36377</c:v>
                      </c:pt>
                      <c:pt idx="1186">
                        <c:v>36378</c:v>
                      </c:pt>
                      <c:pt idx="1187">
                        <c:v>36381</c:v>
                      </c:pt>
                      <c:pt idx="1188">
                        <c:v>36382</c:v>
                      </c:pt>
                      <c:pt idx="1189">
                        <c:v>36383</c:v>
                      </c:pt>
                      <c:pt idx="1190">
                        <c:v>36384</c:v>
                      </c:pt>
                      <c:pt idx="1191">
                        <c:v>36385</c:v>
                      </c:pt>
                      <c:pt idx="1192">
                        <c:v>36388</c:v>
                      </c:pt>
                      <c:pt idx="1193">
                        <c:v>36389</c:v>
                      </c:pt>
                      <c:pt idx="1194">
                        <c:v>36390</c:v>
                      </c:pt>
                      <c:pt idx="1195">
                        <c:v>36391</c:v>
                      </c:pt>
                      <c:pt idx="1196">
                        <c:v>36392</c:v>
                      </c:pt>
                      <c:pt idx="1197">
                        <c:v>36395</c:v>
                      </c:pt>
                      <c:pt idx="1198">
                        <c:v>36396</c:v>
                      </c:pt>
                      <c:pt idx="1199">
                        <c:v>36397</c:v>
                      </c:pt>
                      <c:pt idx="1200">
                        <c:v>36398</c:v>
                      </c:pt>
                      <c:pt idx="1201">
                        <c:v>36399</c:v>
                      </c:pt>
                      <c:pt idx="1202">
                        <c:v>36402</c:v>
                      </c:pt>
                      <c:pt idx="1203">
                        <c:v>36403</c:v>
                      </c:pt>
                      <c:pt idx="1204">
                        <c:v>36404</c:v>
                      </c:pt>
                      <c:pt idx="1205">
                        <c:v>36405</c:v>
                      </c:pt>
                      <c:pt idx="1206">
                        <c:v>36406</c:v>
                      </c:pt>
                      <c:pt idx="1207">
                        <c:v>36409</c:v>
                      </c:pt>
                      <c:pt idx="1208">
                        <c:v>36410</c:v>
                      </c:pt>
                      <c:pt idx="1209">
                        <c:v>36411</c:v>
                      </c:pt>
                      <c:pt idx="1210">
                        <c:v>36412</c:v>
                      </c:pt>
                      <c:pt idx="1211">
                        <c:v>36413</c:v>
                      </c:pt>
                      <c:pt idx="1212">
                        <c:v>36416</c:v>
                      </c:pt>
                      <c:pt idx="1213">
                        <c:v>36417</c:v>
                      </c:pt>
                      <c:pt idx="1214">
                        <c:v>36418</c:v>
                      </c:pt>
                      <c:pt idx="1215">
                        <c:v>36419</c:v>
                      </c:pt>
                      <c:pt idx="1216">
                        <c:v>36420</c:v>
                      </c:pt>
                      <c:pt idx="1217">
                        <c:v>36423</c:v>
                      </c:pt>
                      <c:pt idx="1218">
                        <c:v>36424</c:v>
                      </c:pt>
                      <c:pt idx="1219">
                        <c:v>36425</c:v>
                      </c:pt>
                      <c:pt idx="1220">
                        <c:v>36426</c:v>
                      </c:pt>
                      <c:pt idx="1221">
                        <c:v>36427</c:v>
                      </c:pt>
                      <c:pt idx="1222">
                        <c:v>36430</c:v>
                      </c:pt>
                      <c:pt idx="1223">
                        <c:v>36431</c:v>
                      </c:pt>
                      <c:pt idx="1224">
                        <c:v>36432</c:v>
                      </c:pt>
                      <c:pt idx="1225">
                        <c:v>36433</c:v>
                      </c:pt>
                      <c:pt idx="1226">
                        <c:v>36434</c:v>
                      </c:pt>
                      <c:pt idx="1227">
                        <c:v>36437</c:v>
                      </c:pt>
                      <c:pt idx="1228">
                        <c:v>36438</c:v>
                      </c:pt>
                      <c:pt idx="1229">
                        <c:v>36439</c:v>
                      </c:pt>
                      <c:pt idx="1230">
                        <c:v>36440</c:v>
                      </c:pt>
                      <c:pt idx="1231">
                        <c:v>36441</c:v>
                      </c:pt>
                      <c:pt idx="1232">
                        <c:v>36444</c:v>
                      </c:pt>
                      <c:pt idx="1233">
                        <c:v>36445</c:v>
                      </c:pt>
                      <c:pt idx="1234">
                        <c:v>36446</c:v>
                      </c:pt>
                      <c:pt idx="1235">
                        <c:v>36447</c:v>
                      </c:pt>
                      <c:pt idx="1236">
                        <c:v>36448</c:v>
                      </c:pt>
                      <c:pt idx="1237">
                        <c:v>36451</c:v>
                      </c:pt>
                      <c:pt idx="1238">
                        <c:v>36452</c:v>
                      </c:pt>
                      <c:pt idx="1239">
                        <c:v>36453</c:v>
                      </c:pt>
                      <c:pt idx="1240">
                        <c:v>36454</c:v>
                      </c:pt>
                      <c:pt idx="1241">
                        <c:v>36455</c:v>
                      </c:pt>
                      <c:pt idx="1242">
                        <c:v>36458</c:v>
                      </c:pt>
                      <c:pt idx="1243">
                        <c:v>36459</c:v>
                      </c:pt>
                      <c:pt idx="1244">
                        <c:v>36460</c:v>
                      </c:pt>
                      <c:pt idx="1245">
                        <c:v>36461</c:v>
                      </c:pt>
                      <c:pt idx="1246">
                        <c:v>36462</c:v>
                      </c:pt>
                      <c:pt idx="1247">
                        <c:v>36465</c:v>
                      </c:pt>
                      <c:pt idx="1248">
                        <c:v>36466</c:v>
                      </c:pt>
                      <c:pt idx="1249">
                        <c:v>36467</c:v>
                      </c:pt>
                      <c:pt idx="1250">
                        <c:v>36468</c:v>
                      </c:pt>
                      <c:pt idx="1251">
                        <c:v>36469</c:v>
                      </c:pt>
                      <c:pt idx="1252">
                        <c:v>36472</c:v>
                      </c:pt>
                      <c:pt idx="1253">
                        <c:v>36473</c:v>
                      </c:pt>
                      <c:pt idx="1254">
                        <c:v>36474</c:v>
                      </c:pt>
                      <c:pt idx="1255">
                        <c:v>36475</c:v>
                      </c:pt>
                      <c:pt idx="1256">
                        <c:v>36476</c:v>
                      </c:pt>
                      <c:pt idx="1257">
                        <c:v>36479</c:v>
                      </c:pt>
                      <c:pt idx="1258">
                        <c:v>36480</c:v>
                      </c:pt>
                      <c:pt idx="1259">
                        <c:v>36481</c:v>
                      </c:pt>
                      <c:pt idx="1260">
                        <c:v>36482</c:v>
                      </c:pt>
                      <c:pt idx="1261">
                        <c:v>36483</c:v>
                      </c:pt>
                      <c:pt idx="1262">
                        <c:v>36486</c:v>
                      </c:pt>
                      <c:pt idx="1263">
                        <c:v>36487</c:v>
                      </c:pt>
                      <c:pt idx="1264">
                        <c:v>36488</c:v>
                      </c:pt>
                      <c:pt idx="1265">
                        <c:v>36489</c:v>
                      </c:pt>
                      <c:pt idx="1266">
                        <c:v>36490</c:v>
                      </c:pt>
                      <c:pt idx="1267">
                        <c:v>36493</c:v>
                      </c:pt>
                      <c:pt idx="1268">
                        <c:v>36494</c:v>
                      </c:pt>
                      <c:pt idx="1269">
                        <c:v>36495</c:v>
                      </c:pt>
                      <c:pt idx="1270">
                        <c:v>36496</c:v>
                      </c:pt>
                      <c:pt idx="1271">
                        <c:v>36497</c:v>
                      </c:pt>
                      <c:pt idx="1272">
                        <c:v>36500</c:v>
                      </c:pt>
                      <c:pt idx="1273">
                        <c:v>36501</c:v>
                      </c:pt>
                      <c:pt idx="1274">
                        <c:v>36502</c:v>
                      </c:pt>
                      <c:pt idx="1275">
                        <c:v>36503</c:v>
                      </c:pt>
                      <c:pt idx="1276">
                        <c:v>36504</c:v>
                      </c:pt>
                      <c:pt idx="1277">
                        <c:v>36507</c:v>
                      </c:pt>
                      <c:pt idx="1278">
                        <c:v>36508</c:v>
                      </c:pt>
                      <c:pt idx="1279">
                        <c:v>36509</c:v>
                      </c:pt>
                      <c:pt idx="1280">
                        <c:v>36510</c:v>
                      </c:pt>
                      <c:pt idx="1281">
                        <c:v>36511</c:v>
                      </c:pt>
                      <c:pt idx="1282">
                        <c:v>36514</c:v>
                      </c:pt>
                      <c:pt idx="1283">
                        <c:v>36515</c:v>
                      </c:pt>
                      <c:pt idx="1284">
                        <c:v>36516</c:v>
                      </c:pt>
                      <c:pt idx="1285">
                        <c:v>36517</c:v>
                      </c:pt>
                      <c:pt idx="1286">
                        <c:v>36518</c:v>
                      </c:pt>
                      <c:pt idx="1287">
                        <c:v>36521</c:v>
                      </c:pt>
                      <c:pt idx="1288">
                        <c:v>36522</c:v>
                      </c:pt>
                      <c:pt idx="1289">
                        <c:v>36523</c:v>
                      </c:pt>
                      <c:pt idx="1290">
                        <c:v>36524</c:v>
                      </c:pt>
                      <c:pt idx="1291">
                        <c:v>36525</c:v>
                      </c:pt>
                      <c:pt idx="1292">
                        <c:v>36528</c:v>
                      </c:pt>
                      <c:pt idx="1293">
                        <c:v>36529</c:v>
                      </c:pt>
                      <c:pt idx="1294">
                        <c:v>36530</c:v>
                      </c:pt>
                      <c:pt idx="1295">
                        <c:v>36531</c:v>
                      </c:pt>
                      <c:pt idx="1296">
                        <c:v>36532</c:v>
                      </c:pt>
                      <c:pt idx="1297">
                        <c:v>36535</c:v>
                      </c:pt>
                      <c:pt idx="1298">
                        <c:v>36536</c:v>
                      </c:pt>
                      <c:pt idx="1299">
                        <c:v>36537</c:v>
                      </c:pt>
                      <c:pt idx="1300">
                        <c:v>36538</c:v>
                      </c:pt>
                      <c:pt idx="1301">
                        <c:v>36539</c:v>
                      </c:pt>
                      <c:pt idx="1302">
                        <c:v>36542</c:v>
                      </c:pt>
                      <c:pt idx="1303">
                        <c:v>36543</c:v>
                      </c:pt>
                      <c:pt idx="1304">
                        <c:v>36544</c:v>
                      </c:pt>
                      <c:pt idx="1305">
                        <c:v>36545</c:v>
                      </c:pt>
                      <c:pt idx="1306">
                        <c:v>36546</c:v>
                      </c:pt>
                      <c:pt idx="1307">
                        <c:v>36549</c:v>
                      </c:pt>
                      <c:pt idx="1308">
                        <c:v>36550</c:v>
                      </c:pt>
                      <c:pt idx="1309">
                        <c:v>36551</c:v>
                      </c:pt>
                      <c:pt idx="1310">
                        <c:v>36552</c:v>
                      </c:pt>
                      <c:pt idx="1311">
                        <c:v>36553</c:v>
                      </c:pt>
                      <c:pt idx="1312">
                        <c:v>36556</c:v>
                      </c:pt>
                      <c:pt idx="1313">
                        <c:v>36557</c:v>
                      </c:pt>
                      <c:pt idx="1314">
                        <c:v>36558</c:v>
                      </c:pt>
                      <c:pt idx="1315">
                        <c:v>36559</c:v>
                      </c:pt>
                      <c:pt idx="1316">
                        <c:v>36560</c:v>
                      </c:pt>
                      <c:pt idx="1317">
                        <c:v>36563</c:v>
                      </c:pt>
                      <c:pt idx="1318">
                        <c:v>36564</c:v>
                      </c:pt>
                      <c:pt idx="1319">
                        <c:v>36565</c:v>
                      </c:pt>
                      <c:pt idx="1320">
                        <c:v>36566</c:v>
                      </c:pt>
                      <c:pt idx="1321">
                        <c:v>36567</c:v>
                      </c:pt>
                      <c:pt idx="1322">
                        <c:v>36570</c:v>
                      </c:pt>
                      <c:pt idx="1323">
                        <c:v>36571</c:v>
                      </c:pt>
                      <c:pt idx="1324">
                        <c:v>36572</c:v>
                      </c:pt>
                      <c:pt idx="1325">
                        <c:v>36573</c:v>
                      </c:pt>
                      <c:pt idx="1326">
                        <c:v>36574</c:v>
                      </c:pt>
                      <c:pt idx="1327">
                        <c:v>36577</c:v>
                      </c:pt>
                      <c:pt idx="1328">
                        <c:v>36578</c:v>
                      </c:pt>
                      <c:pt idx="1329">
                        <c:v>36579</c:v>
                      </c:pt>
                      <c:pt idx="1330">
                        <c:v>36580</c:v>
                      </c:pt>
                      <c:pt idx="1331">
                        <c:v>36581</c:v>
                      </c:pt>
                      <c:pt idx="1332">
                        <c:v>36584</c:v>
                      </c:pt>
                      <c:pt idx="1333">
                        <c:v>36585</c:v>
                      </c:pt>
                      <c:pt idx="1334">
                        <c:v>36586</c:v>
                      </c:pt>
                      <c:pt idx="1335">
                        <c:v>36587</c:v>
                      </c:pt>
                      <c:pt idx="1336">
                        <c:v>36588</c:v>
                      </c:pt>
                      <c:pt idx="1337">
                        <c:v>36591</c:v>
                      </c:pt>
                      <c:pt idx="1338">
                        <c:v>36592</c:v>
                      </c:pt>
                      <c:pt idx="1339">
                        <c:v>36593</c:v>
                      </c:pt>
                      <c:pt idx="1340">
                        <c:v>36594</c:v>
                      </c:pt>
                      <c:pt idx="1341">
                        <c:v>36595</c:v>
                      </c:pt>
                      <c:pt idx="1342">
                        <c:v>36598</c:v>
                      </c:pt>
                      <c:pt idx="1343">
                        <c:v>36599</c:v>
                      </c:pt>
                      <c:pt idx="1344">
                        <c:v>36600</c:v>
                      </c:pt>
                      <c:pt idx="1345">
                        <c:v>36601</c:v>
                      </c:pt>
                      <c:pt idx="1346">
                        <c:v>36602</c:v>
                      </c:pt>
                      <c:pt idx="1347">
                        <c:v>36605</c:v>
                      </c:pt>
                      <c:pt idx="1348">
                        <c:v>36606</c:v>
                      </c:pt>
                      <c:pt idx="1349">
                        <c:v>36607</c:v>
                      </c:pt>
                      <c:pt idx="1350">
                        <c:v>36608</c:v>
                      </c:pt>
                      <c:pt idx="1351">
                        <c:v>36609</c:v>
                      </c:pt>
                      <c:pt idx="1352">
                        <c:v>36612</c:v>
                      </c:pt>
                      <c:pt idx="1353">
                        <c:v>36613</c:v>
                      </c:pt>
                      <c:pt idx="1354">
                        <c:v>36614</c:v>
                      </c:pt>
                      <c:pt idx="1355">
                        <c:v>36615</c:v>
                      </c:pt>
                      <c:pt idx="1356">
                        <c:v>36616</c:v>
                      </c:pt>
                      <c:pt idx="1357">
                        <c:v>36619</c:v>
                      </c:pt>
                      <c:pt idx="1358">
                        <c:v>36620</c:v>
                      </c:pt>
                      <c:pt idx="1359">
                        <c:v>36621</c:v>
                      </c:pt>
                      <c:pt idx="1360">
                        <c:v>36622</c:v>
                      </c:pt>
                      <c:pt idx="1361">
                        <c:v>36623</c:v>
                      </c:pt>
                      <c:pt idx="1362">
                        <c:v>36626</c:v>
                      </c:pt>
                      <c:pt idx="1363">
                        <c:v>36627</c:v>
                      </c:pt>
                      <c:pt idx="1364">
                        <c:v>36628</c:v>
                      </c:pt>
                      <c:pt idx="1365">
                        <c:v>36629</c:v>
                      </c:pt>
                      <c:pt idx="1366">
                        <c:v>36630</c:v>
                      </c:pt>
                      <c:pt idx="1367">
                        <c:v>36633</c:v>
                      </c:pt>
                      <c:pt idx="1368">
                        <c:v>36634</c:v>
                      </c:pt>
                      <c:pt idx="1369">
                        <c:v>36635</c:v>
                      </c:pt>
                      <c:pt idx="1370">
                        <c:v>36636</c:v>
                      </c:pt>
                      <c:pt idx="1371">
                        <c:v>36637</c:v>
                      </c:pt>
                      <c:pt idx="1372">
                        <c:v>36640</c:v>
                      </c:pt>
                      <c:pt idx="1373">
                        <c:v>36641</c:v>
                      </c:pt>
                      <c:pt idx="1374">
                        <c:v>36642</c:v>
                      </c:pt>
                      <c:pt idx="1375">
                        <c:v>36643</c:v>
                      </c:pt>
                      <c:pt idx="1376">
                        <c:v>36644</c:v>
                      </c:pt>
                      <c:pt idx="1377">
                        <c:v>36647</c:v>
                      </c:pt>
                      <c:pt idx="1378">
                        <c:v>36648</c:v>
                      </c:pt>
                      <c:pt idx="1379">
                        <c:v>36649</c:v>
                      </c:pt>
                      <c:pt idx="1380">
                        <c:v>36650</c:v>
                      </c:pt>
                      <c:pt idx="1381">
                        <c:v>36651</c:v>
                      </c:pt>
                      <c:pt idx="1382">
                        <c:v>36654</c:v>
                      </c:pt>
                      <c:pt idx="1383">
                        <c:v>36655</c:v>
                      </c:pt>
                      <c:pt idx="1384">
                        <c:v>36656</c:v>
                      </c:pt>
                      <c:pt idx="1385">
                        <c:v>36657</c:v>
                      </c:pt>
                      <c:pt idx="1386">
                        <c:v>36658</c:v>
                      </c:pt>
                      <c:pt idx="1387">
                        <c:v>36661</c:v>
                      </c:pt>
                      <c:pt idx="1388">
                        <c:v>36662</c:v>
                      </c:pt>
                      <c:pt idx="1389">
                        <c:v>36663</c:v>
                      </c:pt>
                      <c:pt idx="1390">
                        <c:v>36664</c:v>
                      </c:pt>
                      <c:pt idx="1391">
                        <c:v>36665</c:v>
                      </c:pt>
                      <c:pt idx="1392">
                        <c:v>36668</c:v>
                      </c:pt>
                      <c:pt idx="1393">
                        <c:v>36669</c:v>
                      </c:pt>
                      <c:pt idx="1394">
                        <c:v>36670</c:v>
                      </c:pt>
                      <c:pt idx="1395">
                        <c:v>36671</c:v>
                      </c:pt>
                      <c:pt idx="1396">
                        <c:v>36672</c:v>
                      </c:pt>
                      <c:pt idx="1397">
                        <c:v>36675</c:v>
                      </c:pt>
                      <c:pt idx="1398">
                        <c:v>36676</c:v>
                      </c:pt>
                      <c:pt idx="1399">
                        <c:v>36677</c:v>
                      </c:pt>
                      <c:pt idx="1400">
                        <c:v>36678</c:v>
                      </c:pt>
                      <c:pt idx="1401">
                        <c:v>36679</c:v>
                      </c:pt>
                      <c:pt idx="1402">
                        <c:v>36682</c:v>
                      </c:pt>
                      <c:pt idx="1403">
                        <c:v>36683</c:v>
                      </c:pt>
                      <c:pt idx="1404">
                        <c:v>36684</c:v>
                      </c:pt>
                      <c:pt idx="1405">
                        <c:v>36685</c:v>
                      </c:pt>
                      <c:pt idx="1406">
                        <c:v>36686</c:v>
                      </c:pt>
                      <c:pt idx="1407">
                        <c:v>36689</c:v>
                      </c:pt>
                      <c:pt idx="1408">
                        <c:v>36690</c:v>
                      </c:pt>
                      <c:pt idx="1409">
                        <c:v>36691</c:v>
                      </c:pt>
                      <c:pt idx="1410">
                        <c:v>36692</c:v>
                      </c:pt>
                      <c:pt idx="1411">
                        <c:v>36693</c:v>
                      </c:pt>
                      <c:pt idx="1412">
                        <c:v>36696</c:v>
                      </c:pt>
                      <c:pt idx="1413">
                        <c:v>36697</c:v>
                      </c:pt>
                      <c:pt idx="1414">
                        <c:v>36698</c:v>
                      </c:pt>
                      <c:pt idx="1415">
                        <c:v>36699</c:v>
                      </c:pt>
                      <c:pt idx="1416">
                        <c:v>36700</c:v>
                      </c:pt>
                      <c:pt idx="1417">
                        <c:v>36703</c:v>
                      </c:pt>
                      <c:pt idx="1418">
                        <c:v>36704</c:v>
                      </c:pt>
                      <c:pt idx="1419">
                        <c:v>36705</c:v>
                      </c:pt>
                      <c:pt idx="1420">
                        <c:v>36706</c:v>
                      </c:pt>
                      <c:pt idx="1421">
                        <c:v>36707</c:v>
                      </c:pt>
                      <c:pt idx="1422">
                        <c:v>36710</c:v>
                      </c:pt>
                      <c:pt idx="1423">
                        <c:v>36711</c:v>
                      </c:pt>
                      <c:pt idx="1424">
                        <c:v>36712</c:v>
                      </c:pt>
                      <c:pt idx="1425">
                        <c:v>36713</c:v>
                      </c:pt>
                      <c:pt idx="1426">
                        <c:v>36714</c:v>
                      </c:pt>
                      <c:pt idx="1427">
                        <c:v>36717</c:v>
                      </c:pt>
                      <c:pt idx="1428">
                        <c:v>36718</c:v>
                      </c:pt>
                      <c:pt idx="1429">
                        <c:v>36719</c:v>
                      </c:pt>
                      <c:pt idx="1430">
                        <c:v>36720</c:v>
                      </c:pt>
                      <c:pt idx="1431">
                        <c:v>36721</c:v>
                      </c:pt>
                      <c:pt idx="1432">
                        <c:v>36724</c:v>
                      </c:pt>
                      <c:pt idx="1433">
                        <c:v>36725</c:v>
                      </c:pt>
                      <c:pt idx="1434">
                        <c:v>36726</c:v>
                      </c:pt>
                      <c:pt idx="1435">
                        <c:v>36727</c:v>
                      </c:pt>
                      <c:pt idx="1436">
                        <c:v>36728</c:v>
                      </c:pt>
                      <c:pt idx="1437">
                        <c:v>36731</c:v>
                      </c:pt>
                      <c:pt idx="1438">
                        <c:v>36732</c:v>
                      </c:pt>
                      <c:pt idx="1439">
                        <c:v>36733</c:v>
                      </c:pt>
                      <c:pt idx="1440">
                        <c:v>36734</c:v>
                      </c:pt>
                      <c:pt idx="1441">
                        <c:v>36735</c:v>
                      </c:pt>
                      <c:pt idx="1442">
                        <c:v>36738</c:v>
                      </c:pt>
                      <c:pt idx="1443">
                        <c:v>36739</c:v>
                      </c:pt>
                      <c:pt idx="1444">
                        <c:v>36740</c:v>
                      </c:pt>
                      <c:pt idx="1445">
                        <c:v>36741</c:v>
                      </c:pt>
                      <c:pt idx="1446">
                        <c:v>36742</c:v>
                      </c:pt>
                      <c:pt idx="1447">
                        <c:v>36745</c:v>
                      </c:pt>
                      <c:pt idx="1448">
                        <c:v>36746</c:v>
                      </c:pt>
                      <c:pt idx="1449">
                        <c:v>36747</c:v>
                      </c:pt>
                      <c:pt idx="1450">
                        <c:v>36748</c:v>
                      </c:pt>
                      <c:pt idx="1451">
                        <c:v>36749</c:v>
                      </c:pt>
                      <c:pt idx="1452">
                        <c:v>36752</c:v>
                      </c:pt>
                      <c:pt idx="1453">
                        <c:v>36753</c:v>
                      </c:pt>
                      <c:pt idx="1454">
                        <c:v>36754</c:v>
                      </c:pt>
                      <c:pt idx="1455">
                        <c:v>36755</c:v>
                      </c:pt>
                      <c:pt idx="1456">
                        <c:v>36756</c:v>
                      </c:pt>
                      <c:pt idx="1457">
                        <c:v>36759</c:v>
                      </c:pt>
                      <c:pt idx="1458">
                        <c:v>36760</c:v>
                      </c:pt>
                      <c:pt idx="1459">
                        <c:v>36761</c:v>
                      </c:pt>
                      <c:pt idx="1460">
                        <c:v>36762</c:v>
                      </c:pt>
                      <c:pt idx="1461">
                        <c:v>36763</c:v>
                      </c:pt>
                      <c:pt idx="1462">
                        <c:v>36766</c:v>
                      </c:pt>
                      <c:pt idx="1463">
                        <c:v>36767</c:v>
                      </c:pt>
                      <c:pt idx="1464">
                        <c:v>36768</c:v>
                      </c:pt>
                      <c:pt idx="1465">
                        <c:v>36769</c:v>
                      </c:pt>
                      <c:pt idx="1466">
                        <c:v>36770</c:v>
                      </c:pt>
                      <c:pt idx="1467">
                        <c:v>36773</c:v>
                      </c:pt>
                      <c:pt idx="1468">
                        <c:v>36774</c:v>
                      </c:pt>
                      <c:pt idx="1469">
                        <c:v>36775</c:v>
                      </c:pt>
                      <c:pt idx="1470">
                        <c:v>36776</c:v>
                      </c:pt>
                      <c:pt idx="1471">
                        <c:v>36777</c:v>
                      </c:pt>
                      <c:pt idx="1472">
                        <c:v>36780</c:v>
                      </c:pt>
                      <c:pt idx="1473">
                        <c:v>36781</c:v>
                      </c:pt>
                      <c:pt idx="1474">
                        <c:v>36782</c:v>
                      </c:pt>
                      <c:pt idx="1475">
                        <c:v>36783</c:v>
                      </c:pt>
                      <c:pt idx="1476">
                        <c:v>36784</c:v>
                      </c:pt>
                      <c:pt idx="1477">
                        <c:v>36787</c:v>
                      </c:pt>
                      <c:pt idx="1478">
                        <c:v>36788</c:v>
                      </c:pt>
                      <c:pt idx="1479">
                        <c:v>36789</c:v>
                      </c:pt>
                      <c:pt idx="1480">
                        <c:v>36790</c:v>
                      </c:pt>
                      <c:pt idx="1481">
                        <c:v>36791</c:v>
                      </c:pt>
                      <c:pt idx="1482">
                        <c:v>36794</c:v>
                      </c:pt>
                      <c:pt idx="1483">
                        <c:v>36795</c:v>
                      </c:pt>
                      <c:pt idx="1484">
                        <c:v>36796</c:v>
                      </c:pt>
                      <c:pt idx="1485">
                        <c:v>36797</c:v>
                      </c:pt>
                      <c:pt idx="1486">
                        <c:v>36798</c:v>
                      </c:pt>
                      <c:pt idx="1487">
                        <c:v>36801</c:v>
                      </c:pt>
                      <c:pt idx="1488">
                        <c:v>36802</c:v>
                      </c:pt>
                      <c:pt idx="1489">
                        <c:v>36803</c:v>
                      </c:pt>
                      <c:pt idx="1490">
                        <c:v>36804</c:v>
                      </c:pt>
                      <c:pt idx="1491">
                        <c:v>36805</c:v>
                      </c:pt>
                      <c:pt idx="1492">
                        <c:v>36808</c:v>
                      </c:pt>
                      <c:pt idx="1493">
                        <c:v>36809</c:v>
                      </c:pt>
                      <c:pt idx="1494">
                        <c:v>36810</c:v>
                      </c:pt>
                      <c:pt idx="1495">
                        <c:v>36811</c:v>
                      </c:pt>
                      <c:pt idx="1496">
                        <c:v>36812</c:v>
                      </c:pt>
                      <c:pt idx="1497">
                        <c:v>36815</c:v>
                      </c:pt>
                      <c:pt idx="1498">
                        <c:v>36816</c:v>
                      </c:pt>
                      <c:pt idx="1499">
                        <c:v>36817</c:v>
                      </c:pt>
                      <c:pt idx="1500">
                        <c:v>36818</c:v>
                      </c:pt>
                      <c:pt idx="1501">
                        <c:v>36819</c:v>
                      </c:pt>
                      <c:pt idx="1502">
                        <c:v>36822</c:v>
                      </c:pt>
                      <c:pt idx="1503">
                        <c:v>36823</c:v>
                      </c:pt>
                      <c:pt idx="1504">
                        <c:v>36824</c:v>
                      </c:pt>
                      <c:pt idx="1505">
                        <c:v>36825</c:v>
                      </c:pt>
                      <c:pt idx="1506">
                        <c:v>36826</c:v>
                      </c:pt>
                      <c:pt idx="1507">
                        <c:v>36829</c:v>
                      </c:pt>
                      <c:pt idx="1508">
                        <c:v>36830</c:v>
                      </c:pt>
                      <c:pt idx="1509">
                        <c:v>36831</c:v>
                      </c:pt>
                      <c:pt idx="1510">
                        <c:v>36832</c:v>
                      </c:pt>
                      <c:pt idx="1511">
                        <c:v>36833</c:v>
                      </c:pt>
                      <c:pt idx="1512">
                        <c:v>36836</c:v>
                      </c:pt>
                      <c:pt idx="1513">
                        <c:v>36837</c:v>
                      </c:pt>
                      <c:pt idx="1514">
                        <c:v>36838</c:v>
                      </c:pt>
                      <c:pt idx="1515">
                        <c:v>36839</c:v>
                      </c:pt>
                      <c:pt idx="1516">
                        <c:v>36840</c:v>
                      </c:pt>
                      <c:pt idx="1517">
                        <c:v>36843</c:v>
                      </c:pt>
                      <c:pt idx="1518">
                        <c:v>36844</c:v>
                      </c:pt>
                      <c:pt idx="1519">
                        <c:v>36845</c:v>
                      </c:pt>
                      <c:pt idx="1520">
                        <c:v>36846</c:v>
                      </c:pt>
                      <c:pt idx="1521">
                        <c:v>36847</c:v>
                      </c:pt>
                      <c:pt idx="1522">
                        <c:v>36850</c:v>
                      </c:pt>
                      <c:pt idx="1523">
                        <c:v>36851</c:v>
                      </c:pt>
                      <c:pt idx="1524">
                        <c:v>36852</c:v>
                      </c:pt>
                      <c:pt idx="1525">
                        <c:v>36853</c:v>
                      </c:pt>
                      <c:pt idx="1526">
                        <c:v>36854</c:v>
                      </c:pt>
                      <c:pt idx="1527">
                        <c:v>36857</c:v>
                      </c:pt>
                      <c:pt idx="1528">
                        <c:v>36858</c:v>
                      </c:pt>
                      <c:pt idx="1529">
                        <c:v>36859</c:v>
                      </c:pt>
                      <c:pt idx="1530">
                        <c:v>36860</c:v>
                      </c:pt>
                      <c:pt idx="1531">
                        <c:v>36861</c:v>
                      </c:pt>
                      <c:pt idx="1532">
                        <c:v>36864</c:v>
                      </c:pt>
                      <c:pt idx="1533">
                        <c:v>36865</c:v>
                      </c:pt>
                      <c:pt idx="1534">
                        <c:v>36866</c:v>
                      </c:pt>
                      <c:pt idx="1535">
                        <c:v>36867</c:v>
                      </c:pt>
                      <c:pt idx="1536">
                        <c:v>36868</c:v>
                      </c:pt>
                      <c:pt idx="1537">
                        <c:v>36871</c:v>
                      </c:pt>
                      <c:pt idx="1538">
                        <c:v>36872</c:v>
                      </c:pt>
                      <c:pt idx="1539">
                        <c:v>36873</c:v>
                      </c:pt>
                      <c:pt idx="1540">
                        <c:v>36874</c:v>
                      </c:pt>
                      <c:pt idx="1541">
                        <c:v>36875</c:v>
                      </c:pt>
                      <c:pt idx="1542">
                        <c:v>36878</c:v>
                      </c:pt>
                      <c:pt idx="1543">
                        <c:v>36879</c:v>
                      </c:pt>
                      <c:pt idx="1544">
                        <c:v>36880</c:v>
                      </c:pt>
                      <c:pt idx="1545">
                        <c:v>36881</c:v>
                      </c:pt>
                      <c:pt idx="1546">
                        <c:v>36882</c:v>
                      </c:pt>
                      <c:pt idx="1547">
                        <c:v>36885</c:v>
                      </c:pt>
                      <c:pt idx="1548">
                        <c:v>36886</c:v>
                      </c:pt>
                      <c:pt idx="1549">
                        <c:v>36887</c:v>
                      </c:pt>
                      <c:pt idx="1550">
                        <c:v>36888</c:v>
                      </c:pt>
                      <c:pt idx="1551">
                        <c:v>36889</c:v>
                      </c:pt>
                      <c:pt idx="1552">
                        <c:v>36892</c:v>
                      </c:pt>
                      <c:pt idx="1553">
                        <c:v>36893</c:v>
                      </c:pt>
                      <c:pt idx="1554">
                        <c:v>36894</c:v>
                      </c:pt>
                      <c:pt idx="1555">
                        <c:v>36895</c:v>
                      </c:pt>
                      <c:pt idx="1556">
                        <c:v>36896</c:v>
                      </c:pt>
                      <c:pt idx="1557">
                        <c:v>36899</c:v>
                      </c:pt>
                      <c:pt idx="1558">
                        <c:v>36900</c:v>
                      </c:pt>
                      <c:pt idx="1559">
                        <c:v>36901</c:v>
                      </c:pt>
                      <c:pt idx="1560">
                        <c:v>36902</c:v>
                      </c:pt>
                      <c:pt idx="1561">
                        <c:v>36903</c:v>
                      </c:pt>
                      <c:pt idx="1562">
                        <c:v>36906</c:v>
                      </c:pt>
                      <c:pt idx="1563">
                        <c:v>36907</c:v>
                      </c:pt>
                      <c:pt idx="1564">
                        <c:v>36908</c:v>
                      </c:pt>
                      <c:pt idx="1565">
                        <c:v>36909</c:v>
                      </c:pt>
                      <c:pt idx="1566">
                        <c:v>36910</c:v>
                      </c:pt>
                      <c:pt idx="1567">
                        <c:v>36913</c:v>
                      </c:pt>
                      <c:pt idx="1568">
                        <c:v>36914</c:v>
                      </c:pt>
                      <c:pt idx="1569">
                        <c:v>36915</c:v>
                      </c:pt>
                      <c:pt idx="1570">
                        <c:v>36916</c:v>
                      </c:pt>
                      <c:pt idx="1571">
                        <c:v>36917</c:v>
                      </c:pt>
                      <c:pt idx="1572">
                        <c:v>36920</c:v>
                      </c:pt>
                      <c:pt idx="1573">
                        <c:v>36921</c:v>
                      </c:pt>
                      <c:pt idx="1574">
                        <c:v>36922</c:v>
                      </c:pt>
                      <c:pt idx="1575">
                        <c:v>36923</c:v>
                      </c:pt>
                      <c:pt idx="1576">
                        <c:v>36924</c:v>
                      </c:pt>
                      <c:pt idx="1577">
                        <c:v>36927</c:v>
                      </c:pt>
                      <c:pt idx="1578">
                        <c:v>36928</c:v>
                      </c:pt>
                      <c:pt idx="1579">
                        <c:v>36929</c:v>
                      </c:pt>
                      <c:pt idx="1580">
                        <c:v>36930</c:v>
                      </c:pt>
                      <c:pt idx="1581">
                        <c:v>36931</c:v>
                      </c:pt>
                      <c:pt idx="1582">
                        <c:v>36934</c:v>
                      </c:pt>
                      <c:pt idx="1583">
                        <c:v>36935</c:v>
                      </c:pt>
                      <c:pt idx="1584">
                        <c:v>36936</c:v>
                      </c:pt>
                      <c:pt idx="1585">
                        <c:v>36937</c:v>
                      </c:pt>
                      <c:pt idx="1586">
                        <c:v>36938</c:v>
                      </c:pt>
                      <c:pt idx="1587">
                        <c:v>36941</c:v>
                      </c:pt>
                      <c:pt idx="1588">
                        <c:v>36942</c:v>
                      </c:pt>
                      <c:pt idx="1589">
                        <c:v>36943</c:v>
                      </c:pt>
                      <c:pt idx="1590">
                        <c:v>36944</c:v>
                      </c:pt>
                      <c:pt idx="1591">
                        <c:v>36945</c:v>
                      </c:pt>
                      <c:pt idx="1592">
                        <c:v>36948</c:v>
                      </c:pt>
                      <c:pt idx="1593">
                        <c:v>36949</c:v>
                      </c:pt>
                      <c:pt idx="1594">
                        <c:v>36950</c:v>
                      </c:pt>
                      <c:pt idx="1595">
                        <c:v>36951</c:v>
                      </c:pt>
                      <c:pt idx="1596">
                        <c:v>36952</c:v>
                      </c:pt>
                      <c:pt idx="1597">
                        <c:v>36955</c:v>
                      </c:pt>
                      <c:pt idx="1598">
                        <c:v>36956</c:v>
                      </c:pt>
                      <c:pt idx="1599">
                        <c:v>36957</c:v>
                      </c:pt>
                      <c:pt idx="1600">
                        <c:v>36958</c:v>
                      </c:pt>
                      <c:pt idx="1601">
                        <c:v>36959</c:v>
                      </c:pt>
                      <c:pt idx="1602">
                        <c:v>36962</c:v>
                      </c:pt>
                      <c:pt idx="1603">
                        <c:v>36963</c:v>
                      </c:pt>
                      <c:pt idx="1604">
                        <c:v>36964</c:v>
                      </c:pt>
                      <c:pt idx="1605">
                        <c:v>36965</c:v>
                      </c:pt>
                      <c:pt idx="1606">
                        <c:v>36966</c:v>
                      </c:pt>
                      <c:pt idx="1607">
                        <c:v>36969</c:v>
                      </c:pt>
                      <c:pt idx="1608">
                        <c:v>36970</c:v>
                      </c:pt>
                      <c:pt idx="1609">
                        <c:v>36971</c:v>
                      </c:pt>
                      <c:pt idx="1610">
                        <c:v>36972</c:v>
                      </c:pt>
                      <c:pt idx="1611">
                        <c:v>36973</c:v>
                      </c:pt>
                      <c:pt idx="1612">
                        <c:v>36976</c:v>
                      </c:pt>
                      <c:pt idx="1613">
                        <c:v>36977</c:v>
                      </c:pt>
                      <c:pt idx="1614">
                        <c:v>36978</c:v>
                      </c:pt>
                      <c:pt idx="1615">
                        <c:v>36979</c:v>
                      </c:pt>
                      <c:pt idx="1616">
                        <c:v>36980</c:v>
                      </c:pt>
                      <c:pt idx="1617">
                        <c:v>36983</c:v>
                      </c:pt>
                      <c:pt idx="1618">
                        <c:v>36984</c:v>
                      </c:pt>
                      <c:pt idx="1619">
                        <c:v>36985</c:v>
                      </c:pt>
                      <c:pt idx="1620">
                        <c:v>36986</c:v>
                      </c:pt>
                      <c:pt idx="1621">
                        <c:v>36987</c:v>
                      </c:pt>
                      <c:pt idx="1622">
                        <c:v>36990</c:v>
                      </c:pt>
                      <c:pt idx="1623">
                        <c:v>36991</c:v>
                      </c:pt>
                      <c:pt idx="1624">
                        <c:v>36992</c:v>
                      </c:pt>
                      <c:pt idx="1625">
                        <c:v>36993</c:v>
                      </c:pt>
                      <c:pt idx="1626">
                        <c:v>36994</c:v>
                      </c:pt>
                      <c:pt idx="1627">
                        <c:v>36997</c:v>
                      </c:pt>
                      <c:pt idx="1628">
                        <c:v>36998</c:v>
                      </c:pt>
                      <c:pt idx="1629">
                        <c:v>36999</c:v>
                      </c:pt>
                      <c:pt idx="1630">
                        <c:v>37000</c:v>
                      </c:pt>
                      <c:pt idx="1631">
                        <c:v>37001</c:v>
                      </c:pt>
                      <c:pt idx="1632">
                        <c:v>37004</c:v>
                      </c:pt>
                      <c:pt idx="1633">
                        <c:v>37005</c:v>
                      </c:pt>
                      <c:pt idx="1634">
                        <c:v>37006</c:v>
                      </c:pt>
                      <c:pt idx="1635">
                        <c:v>37007</c:v>
                      </c:pt>
                      <c:pt idx="1636">
                        <c:v>37008</c:v>
                      </c:pt>
                      <c:pt idx="1637">
                        <c:v>37011</c:v>
                      </c:pt>
                      <c:pt idx="1638">
                        <c:v>37012</c:v>
                      </c:pt>
                      <c:pt idx="1639">
                        <c:v>37013</c:v>
                      </c:pt>
                      <c:pt idx="1640">
                        <c:v>37014</c:v>
                      </c:pt>
                      <c:pt idx="1641">
                        <c:v>37015</c:v>
                      </c:pt>
                      <c:pt idx="1642">
                        <c:v>37018</c:v>
                      </c:pt>
                      <c:pt idx="1643">
                        <c:v>37019</c:v>
                      </c:pt>
                      <c:pt idx="1644">
                        <c:v>37020</c:v>
                      </c:pt>
                      <c:pt idx="1645">
                        <c:v>37021</c:v>
                      </c:pt>
                      <c:pt idx="1646">
                        <c:v>37022</c:v>
                      </c:pt>
                      <c:pt idx="1647">
                        <c:v>37025</c:v>
                      </c:pt>
                      <c:pt idx="1648">
                        <c:v>37026</c:v>
                      </c:pt>
                      <c:pt idx="1649">
                        <c:v>37027</c:v>
                      </c:pt>
                      <c:pt idx="1650">
                        <c:v>37028</c:v>
                      </c:pt>
                      <c:pt idx="1651">
                        <c:v>37029</c:v>
                      </c:pt>
                      <c:pt idx="1652">
                        <c:v>37032</c:v>
                      </c:pt>
                      <c:pt idx="1653">
                        <c:v>37033</c:v>
                      </c:pt>
                      <c:pt idx="1654">
                        <c:v>37034</c:v>
                      </c:pt>
                      <c:pt idx="1655">
                        <c:v>37035</c:v>
                      </c:pt>
                      <c:pt idx="1656">
                        <c:v>37036</c:v>
                      </c:pt>
                      <c:pt idx="1657">
                        <c:v>37039</c:v>
                      </c:pt>
                      <c:pt idx="1658">
                        <c:v>37040</c:v>
                      </c:pt>
                      <c:pt idx="1659">
                        <c:v>37041</c:v>
                      </c:pt>
                      <c:pt idx="1660">
                        <c:v>37042</c:v>
                      </c:pt>
                      <c:pt idx="1661">
                        <c:v>37043</c:v>
                      </c:pt>
                      <c:pt idx="1662">
                        <c:v>37046</c:v>
                      </c:pt>
                      <c:pt idx="1663">
                        <c:v>37047</c:v>
                      </c:pt>
                      <c:pt idx="1664">
                        <c:v>37048</c:v>
                      </c:pt>
                      <c:pt idx="1665">
                        <c:v>37049</c:v>
                      </c:pt>
                      <c:pt idx="1666">
                        <c:v>37050</c:v>
                      </c:pt>
                      <c:pt idx="1667">
                        <c:v>37053</c:v>
                      </c:pt>
                      <c:pt idx="1668">
                        <c:v>37054</c:v>
                      </c:pt>
                      <c:pt idx="1669">
                        <c:v>37055</c:v>
                      </c:pt>
                      <c:pt idx="1670">
                        <c:v>37056</c:v>
                      </c:pt>
                      <c:pt idx="1671">
                        <c:v>37057</c:v>
                      </c:pt>
                      <c:pt idx="1672">
                        <c:v>37060</c:v>
                      </c:pt>
                      <c:pt idx="1673">
                        <c:v>37061</c:v>
                      </c:pt>
                      <c:pt idx="1674">
                        <c:v>37062</c:v>
                      </c:pt>
                      <c:pt idx="1675">
                        <c:v>37063</c:v>
                      </c:pt>
                      <c:pt idx="1676">
                        <c:v>37064</c:v>
                      </c:pt>
                      <c:pt idx="1677">
                        <c:v>37067</c:v>
                      </c:pt>
                      <c:pt idx="1678">
                        <c:v>37068</c:v>
                      </c:pt>
                      <c:pt idx="1679">
                        <c:v>37069</c:v>
                      </c:pt>
                      <c:pt idx="1680">
                        <c:v>37070</c:v>
                      </c:pt>
                      <c:pt idx="1681">
                        <c:v>37071</c:v>
                      </c:pt>
                      <c:pt idx="1682">
                        <c:v>37074</c:v>
                      </c:pt>
                      <c:pt idx="1683">
                        <c:v>37075</c:v>
                      </c:pt>
                      <c:pt idx="1684">
                        <c:v>37076</c:v>
                      </c:pt>
                      <c:pt idx="1685">
                        <c:v>37077</c:v>
                      </c:pt>
                      <c:pt idx="1686">
                        <c:v>37078</c:v>
                      </c:pt>
                      <c:pt idx="1687">
                        <c:v>37081</c:v>
                      </c:pt>
                      <c:pt idx="1688">
                        <c:v>37082</c:v>
                      </c:pt>
                      <c:pt idx="1689">
                        <c:v>37083</c:v>
                      </c:pt>
                      <c:pt idx="1690">
                        <c:v>37084</c:v>
                      </c:pt>
                      <c:pt idx="1691">
                        <c:v>37085</c:v>
                      </c:pt>
                      <c:pt idx="1692">
                        <c:v>37088</c:v>
                      </c:pt>
                      <c:pt idx="1693">
                        <c:v>37089</c:v>
                      </c:pt>
                      <c:pt idx="1694">
                        <c:v>37090</c:v>
                      </c:pt>
                      <c:pt idx="1695">
                        <c:v>37091</c:v>
                      </c:pt>
                      <c:pt idx="1696">
                        <c:v>37092</c:v>
                      </c:pt>
                      <c:pt idx="1697">
                        <c:v>37095</c:v>
                      </c:pt>
                      <c:pt idx="1698">
                        <c:v>37096</c:v>
                      </c:pt>
                      <c:pt idx="1699">
                        <c:v>37097</c:v>
                      </c:pt>
                      <c:pt idx="1700">
                        <c:v>37098</c:v>
                      </c:pt>
                      <c:pt idx="1701">
                        <c:v>37099</c:v>
                      </c:pt>
                      <c:pt idx="1702">
                        <c:v>37102</c:v>
                      </c:pt>
                      <c:pt idx="1703">
                        <c:v>37103</c:v>
                      </c:pt>
                      <c:pt idx="1704">
                        <c:v>37104</c:v>
                      </c:pt>
                      <c:pt idx="1705">
                        <c:v>37105</c:v>
                      </c:pt>
                      <c:pt idx="1706">
                        <c:v>37106</c:v>
                      </c:pt>
                      <c:pt idx="1707">
                        <c:v>37109</c:v>
                      </c:pt>
                      <c:pt idx="1708">
                        <c:v>37110</c:v>
                      </c:pt>
                      <c:pt idx="1709">
                        <c:v>37111</c:v>
                      </c:pt>
                      <c:pt idx="1710">
                        <c:v>37112</c:v>
                      </c:pt>
                      <c:pt idx="1711">
                        <c:v>37113</c:v>
                      </c:pt>
                      <c:pt idx="1712">
                        <c:v>37116</c:v>
                      </c:pt>
                      <c:pt idx="1713">
                        <c:v>37117</c:v>
                      </c:pt>
                      <c:pt idx="1714">
                        <c:v>37118</c:v>
                      </c:pt>
                      <c:pt idx="1715">
                        <c:v>37119</c:v>
                      </c:pt>
                      <c:pt idx="1716">
                        <c:v>37120</c:v>
                      </c:pt>
                      <c:pt idx="1717">
                        <c:v>37123</c:v>
                      </c:pt>
                      <c:pt idx="1718">
                        <c:v>37124</c:v>
                      </c:pt>
                      <c:pt idx="1719">
                        <c:v>37125</c:v>
                      </c:pt>
                      <c:pt idx="1720">
                        <c:v>37126</c:v>
                      </c:pt>
                      <c:pt idx="1721">
                        <c:v>37127</c:v>
                      </c:pt>
                      <c:pt idx="1722">
                        <c:v>37130</c:v>
                      </c:pt>
                      <c:pt idx="1723">
                        <c:v>37131</c:v>
                      </c:pt>
                      <c:pt idx="1724">
                        <c:v>37132</c:v>
                      </c:pt>
                      <c:pt idx="1725">
                        <c:v>37133</c:v>
                      </c:pt>
                      <c:pt idx="1726">
                        <c:v>37134</c:v>
                      </c:pt>
                      <c:pt idx="1727">
                        <c:v>37137</c:v>
                      </c:pt>
                      <c:pt idx="1728">
                        <c:v>37138</c:v>
                      </c:pt>
                      <c:pt idx="1729">
                        <c:v>37139</c:v>
                      </c:pt>
                      <c:pt idx="1730">
                        <c:v>37140</c:v>
                      </c:pt>
                      <c:pt idx="1731">
                        <c:v>37141</c:v>
                      </c:pt>
                      <c:pt idx="1732">
                        <c:v>37144</c:v>
                      </c:pt>
                      <c:pt idx="1733">
                        <c:v>37145</c:v>
                      </c:pt>
                      <c:pt idx="1734">
                        <c:v>37146</c:v>
                      </c:pt>
                      <c:pt idx="1735">
                        <c:v>37147</c:v>
                      </c:pt>
                      <c:pt idx="1736">
                        <c:v>37148</c:v>
                      </c:pt>
                      <c:pt idx="1737">
                        <c:v>37151</c:v>
                      </c:pt>
                      <c:pt idx="1738">
                        <c:v>37152</c:v>
                      </c:pt>
                      <c:pt idx="1739">
                        <c:v>37153</c:v>
                      </c:pt>
                      <c:pt idx="1740">
                        <c:v>37154</c:v>
                      </c:pt>
                      <c:pt idx="1741">
                        <c:v>37155</c:v>
                      </c:pt>
                      <c:pt idx="1742">
                        <c:v>37158</c:v>
                      </c:pt>
                      <c:pt idx="1743">
                        <c:v>37159</c:v>
                      </c:pt>
                      <c:pt idx="1744">
                        <c:v>37160</c:v>
                      </c:pt>
                      <c:pt idx="1745">
                        <c:v>37161</c:v>
                      </c:pt>
                      <c:pt idx="1746">
                        <c:v>37162</c:v>
                      </c:pt>
                      <c:pt idx="1747">
                        <c:v>37165</c:v>
                      </c:pt>
                      <c:pt idx="1748">
                        <c:v>37166</c:v>
                      </c:pt>
                      <c:pt idx="1749">
                        <c:v>37167</c:v>
                      </c:pt>
                      <c:pt idx="1750">
                        <c:v>37168</c:v>
                      </c:pt>
                      <c:pt idx="1751">
                        <c:v>37169</c:v>
                      </c:pt>
                      <c:pt idx="1752">
                        <c:v>37172</c:v>
                      </c:pt>
                      <c:pt idx="1753">
                        <c:v>37173</c:v>
                      </c:pt>
                      <c:pt idx="1754">
                        <c:v>37174</c:v>
                      </c:pt>
                      <c:pt idx="1755">
                        <c:v>37175</c:v>
                      </c:pt>
                      <c:pt idx="1756">
                        <c:v>37176</c:v>
                      </c:pt>
                      <c:pt idx="1757">
                        <c:v>37179</c:v>
                      </c:pt>
                      <c:pt idx="1758">
                        <c:v>37180</c:v>
                      </c:pt>
                      <c:pt idx="1759">
                        <c:v>37181</c:v>
                      </c:pt>
                      <c:pt idx="1760">
                        <c:v>37182</c:v>
                      </c:pt>
                      <c:pt idx="1761">
                        <c:v>37183</c:v>
                      </c:pt>
                      <c:pt idx="1762">
                        <c:v>37186</c:v>
                      </c:pt>
                      <c:pt idx="1763">
                        <c:v>37187</c:v>
                      </c:pt>
                      <c:pt idx="1764">
                        <c:v>37188</c:v>
                      </c:pt>
                      <c:pt idx="1765">
                        <c:v>37189</c:v>
                      </c:pt>
                      <c:pt idx="1766">
                        <c:v>37190</c:v>
                      </c:pt>
                      <c:pt idx="1767">
                        <c:v>37193</c:v>
                      </c:pt>
                      <c:pt idx="1768">
                        <c:v>37194</c:v>
                      </c:pt>
                      <c:pt idx="1769">
                        <c:v>37195</c:v>
                      </c:pt>
                      <c:pt idx="1770">
                        <c:v>37196</c:v>
                      </c:pt>
                      <c:pt idx="1771">
                        <c:v>37197</c:v>
                      </c:pt>
                      <c:pt idx="1772">
                        <c:v>37200</c:v>
                      </c:pt>
                      <c:pt idx="1773">
                        <c:v>37201</c:v>
                      </c:pt>
                      <c:pt idx="1774">
                        <c:v>37202</c:v>
                      </c:pt>
                      <c:pt idx="1775">
                        <c:v>37203</c:v>
                      </c:pt>
                      <c:pt idx="1776">
                        <c:v>37204</c:v>
                      </c:pt>
                      <c:pt idx="1777">
                        <c:v>37207</c:v>
                      </c:pt>
                      <c:pt idx="1778">
                        <c:v>37208</c:v>
                      </c:pt>
                      <c:pt idx="1779">
                        <c:v>37209</c:v>
                      </c:pt>
                      <c:pt idx="1780">
                        <c:v>37210</c:v>
                      </c:pt>
                      <c:pt idx="1781">
                        <c:v>37211</c:v>
                      </c:pt>
                      <c:pt idx="1782">
                        <c:v>37214</c:v>
                      </c:pt>
                      <c:pt idx="1783">
                        <c:v>37215</c:v>
                      </c:pt>
                      <c:pt idx="1784">
                        <c:v>37216</c:v>
                      </c:pt>
                      <c:pt idx="1785">
                        <c:v>37217</c:v>
                      </c:pt>
                      <c:pt idx="1786">
                        <c:v>37218</c:v>
                      </c:pt>
                      <c:pt idx="1787">
                        <c:v>37221</c:v>
                      </c:pt>
                      <c:pt idx="1788">
                        <c:v>37222</c:v>
                      </c:pt>
                      <c:pt idx="1789">
                        <c:v>37223</c:v>
                      </c:pt>
                      <c:pt idx="1790">
                        <c:v>37224</c:v>
                      </c:pt>
                      <c:pt idx="1791">
                        <c:v>37225</c:v>
                      </c:pt>
                      <c:pt idx="1792">
                        <c:v>37228</c:v>
                      </c:pt>
                      <c:pt idx="1793">
                        <c:v>37229</c:v>
                      </c:pt>
                      <c:pt idx="1794">
                        <c:v>37230</c:v>
                      </c:pt>
                      <c:pt idx="1795">
                        <c:v>37231</c:v>
                      </c:pt>
                      <c:pt idx="1796">
                        <c:v>37232</c:v>
                      </c:pt>
                      <c:pt idx="1797">
                        <c:v>37235</c:v>
                      </c:pt>
                      <c:pt idx="1798">
                        <c:v>37236</c:v>
                      </c:pt>
                      <c:pt idx="1799">
                        <c:v>37237</c:v>
                      </c:pt>
                      <c:pt idx="1800">
                        <c:v>37238</c:v>
                      </c:pt>
                      <c:pt idx="1801">
                        <c:v>37239</c:v>
                      </c:pt>
                      <c:pt idx="1802">
                        <c:v>37242</c:v>
                      </c:pt>
                      <c:pt idx="1803">
                        <c:v>37243</c:v>
                      </c:pt>
                      <c:pt idx="1804">
                        <c:v>37244</c:v>
                      </c:pt>
                      <c:pt idx="1805">
                        <c:v>37245</c:v>
                      </c:pt>
                      <c:pt idx="1806">
                        <c:v>37246</c:v>
                      </c:pt>
                      <c:pt idx="1807">
                        <c:v>37249</c:v>
                      </c:pt>
                      <c:pt idx="1808">
                        <c:v>37250</c:v>
                      </c:pt>
                      <c:pt idx="1809">
                        <c:v>37251</c:v>
                      </c:pt>
                      <c:pt idx="1810">
                        <c:v>37252</c:v>
                      </c:pt>
                      <c:pt idx="1811">
                        <c:v>37253</c:v>
                      </c:pt>
                      <c:pt idx="1812">
                        <c:v>37256</c:v>
                      </c:pt>
                      <c:pt idx="1813">
                        <c:v>37257</c:v>
                      </c:pt>
                      <c:pt idx="1814">
                        <c:v>37258</c:v>
                      </c:pt>
                      <c:pt idx="1815">
                        <c:v>37259</c:v>
                      </c:pt>
                      <c:pt idx="1816">
                        <c:v>37260</c:v>
                      </c:pt>
                      <c:pt idx="1817">
                        <c:v>37263</c:v>
                      </c:pt>
                      <c:pt idx="1818">
                        <c:v>37264</c:v>
                      </c:pt>
                      <c:pt idx="1819">
                        <c:v>37265</c:v>
                      </c:pt>
                      <c:pt idx="1820">
                        <c:v>37266</c:v>
                      </c:pt>
                      <c:pt idx="1821">
                        <c:v>37267</c:v>
                      </c:pt>
                      <c:pt idx="1822">
                        <c:v>37270</c:v>
                      </c:pt>
                      <c:pt idx="1823">
                        <c:v>37271</c:v>
                      </c:pt>
                      <c:pt idx="1824">
                        <c:v>37272</c:v>
                      </c:pt>
                      <c:pt idx="1825">
                        <c:v>37273</c:v>
                      </c:pt>
                      <c:pt idx="1826">
                        <c:v>37274</c:v>
                      </c:pt>
                      <c:pt idx="1827">
                        <c:v>37277</c:v>
                      </c:pt>
                      <c:pt idx="1828">
                        <c:v>37278</c:v>
                      </c:pt>
                      <c:pt idx="1829">
                        <c:v>37279</c:v>
                      </c:pt>
                      <c:pt idx="1830">
                        <c:v>37280</c:v>
                      </c:pt>
                      <c:pt idx="1831">
                        <c:v>37281</c:v>
                      </c:pt>
                      <c:pt idx="1832">
                        <c:v>37284</c:v>
                      </c:pt>
                      <c:pt idx="1833">
                        <c:v>37285</c:v>
                      </c:pt>
                      <c:pt idx="1834">
                        <c:v>37286</c:v>
                      </c:pt>
                      <c:pt idx="1835">
                        <c:v>37287</c:v>
                      </c:pt>
                      <c:pt idx="1836">
                        <c:v>37288</c:v>
                      </c:pt>
                      <c:pt idx="1837">
                        <c:v>37291</c:v>
                      </c:pt>
                      <c:pt idx="1838">
                        <c:v>37292</c:v>
                      </c:pt>
                      <c:pt idx="1839">
                        <c:v>37293</c:v>
                      </c:pt>
                      <c:pt idx="1840">
                        <c:v>37294</c:v>
                      </c:pt>
                      <c:pt idx="1841">
                        <c:v>37295</c:v>
                      </c:pt>
                      <c:pt idx="1842">
                        <c:v>37298</c:v>
                      </c:pt>
                      <c:pt idx="1843">
                        <c:v>37299</c:v>
                      </c:pt>
                      <c:pt idx="1844">
                        <c:v>37300</c:v>
                      </c:pt>
                      <c:pt idx="1845">
                        <c:v>37301</c:v>
                      </c:pt>
                      <c:pt idx="1846">
                        <c:v>37302</c:v>
                      </c:pt>
                      <c:pt idx="1847">
                        <c:v>37305</c:v>
                      </c:pt>
                      <c:pt idx="1848">
                        <c:v>37306</c:v>
                      </c:pt>
                      <c:pt idx="1849">
                        <c:v>37307</c:v>
                      </c:pt>
                      <c:pt idx="1850">
                        <c:v>37308</c:v>
                      </c:pt>
                      <c:pt idx="1851">
                        <c:v>37309</c:v>
                      </c:pt>
                      <c:pt idx="1852">
                        <c:v>37312</c:v>
                      </c:pt>
                      <c:pt idx="1853">
                        <c:v>37313</c:v>
                      </c:pt>
                      <c:pt idx="1854">
                        <c:v>37314</c:v>
                      </c:pt>
                      <c:pt idx="1855">
                        <c:v>37315</c:v>
                      </c:pt>
                      <c:pt idx="1856">
                        <c:v>37316</c:v>
                      </c:pt>
                      <c:pt idx="1857">
                        <c:v>37319</c:v>
                      </c:pt>
                      <c:pt idx="1858">
                        <c:v>37320</c:v>
                      </c:pt>
                      <c:pt idx="1859">
                        <c:v>37321</c:v>
                      </c:pt>
                      <c:pt idx="1860">
                        <c:v>37322</c:v>
                      </c:pt>
                      <c:pt idx="1861">
                        <c:v>37323</c:v>
                      </c:pt>
                      <c:pt idx="1862">
                        <c:v>37326</c:v>
                      </c:pt>
                      <c:pt idx="1863">
                        <c:v>37327</c:v>
                      </c:pt>
                      <c:pt idx="1864">
                        <c:v>37328</c:v>
                      </c:pt>
                      <c:pt idx="1865">
                        <c:v>37329</c:v>
                      </c:pt>
                      <c:pt idx="1866">
                        <c:v>37330</c:v>
                      </c:pt>
                      <c:pt idx="1867">
                        <c:v>37333</c:v>
                      </c:pt>
                      <c:pt idx="1868">
                        <c:v>37334</c:v>
                      </c:pt>
                      <c:pt idx="1869">
                        <c:v>37335</c:v>
                      </c:pt>
                      <c:pt idx="1870">
                        <c:v>37336</c:v>
                      </c:pt>
                      <c:pt idx="1871">
                        <c:v>37337</c:v>
                      </c:pt>
                      <c:pt idx="1872">
                        <c:v>37340</c:v>
                      </c:pt>
                      <c:pt idx="1873">
                        <c:v>37341</c:v>
                      </c:pt>
                      <c:pt idx="1874">
                        <c:v>37342</c:v>
                      </c:pt>
                      <c:pt idx="1875">
                        <c:v>37343</c:v>
                      </c:pt>
                      <c:pt idx="1876">
                        <c:v>37344</c:v>
                      </c:pt>
                      <c:pt idx="1877">
                        <c:v>37347</c:v>
                      </c:pt>
                      <c:pt idx="1878">
                        <c:v>37348</c:v>
                      </c:pt>
                      <c:pt idx="1879">
                        <c:v>37349</c:v>
                      </c:pt>
                      <c:pt idx="1880">
                        <c:v>37350</c:v>
                      </c:pt>
                      <c:pt idx="1881">
                        <c:v>37351</c:v>
                      </c:pt>
                      <c:pt idx="1882">
                        <c:v>37354</c:v>
                      </c:pt>
                      <c:pt idx="1883">
                        <c:v>37355</c:v>
                      </c:pt>
                      <c:pt idx="1884">
                        <c:v>37356</c:v>
                      </c:pt>
                      <c:pt idx="1885">
                        <c:v>37357</c:v>
                      </c:pt>
                      <c:pt idx="1886">
                        <c:v>37358</c:v>
                      </c:pt>
                      <c:pt idx="1887">
                        <c:v>37361</c:v>
                      </c:pt>
                      <c:pt idx="1888">
                        <c:v>37362</c:v>
                      </c:pt>
                      <c:pt idx="1889">
                        <c:v>37363</c:v>
                      </c:pt>
                      <c:pt idx="1890">
                        <c:v>37364</c:v>
                      </c:pt>
                      <c:pt idx="1891">
                        <c:v>37365</c:v>
                      </c:pt>
                      <c:pt idx="1892">
                        <c:v>37368</c:v>
                      </c:pt>
                      <c:pt idx="1893">
                        <c:v>37369</c:v>
                      </c:pt>
                      <c:pt idx="1894">
                        <c:v>37370</c:v>
                      </c:pt>
                      <c:pt idx="1895">
                        <c:v>37371</c:v>
                      </c:pt>
                      <c:pt idx="1896">
                        <c:v>37372</c:v>
                      </c:pt>
                      <c:pt idx="1897">
                        <c:v>37375</c:v>
                      </c:pt>
                      <c:pt idx="1898">
                        <c:v>37376</c:v>
                      </c:pt>
                      <c:pt idx="1899">
                        <c:v>37377</c:v>
                      </c:pt>
                      <c:pt idx="1900">
                        <c:v>37378</c:v>
                      </c:pt>
                      <c:pt idx="1901">
                        <c:v>37379</c:v>
                      </c:pt>
                      <c:pt idx="1902">
                        <c:v>37382</c:v>
                      </c:pt>
                      <c:pt idx="1903">
                        <c:v>37383</c:v>
                      </c:pt>
                      <c:pt idx="1904">
                        <c:v>37384</c:v>
                      </c:pt>
                      <c:pt idx="1905">
                        <c:v>37385</c:v>
                      </c:pt>
                      <c:pt idx="1906">
                        <c:v>37386</c:v>
                      </c:pt>
                      <c:pt idx="1907">
                        <c:v>37389</c:v>
                      </c:pt>
                      <c:pt idx="1908">
                        <c:v>37390</c:v>
                      </c:pt>
                      <c:pt idx="1909">
                        <c:v>37391</c:v>
                      </c:pt>
                      <c:pt idx="1910">
                        <c:v>37392</c:v>
                      </c:pt>
                      <c:pt idx="1911">
                        <c:v>37393</c:v>
                      </c:pt>
                      <c:pt idx="1912">
                        <c:v>37396</c:v>
                      </c:pt>
                      <c:pt idx="1913">
                        <c:v>37397</c:v>
                      </c:pt>
                      <c:pt idx="1914">
                        <c:v>37398</c:v>
                      </c:pt>
                      <c:pt idx="1915">
                        <c:v>37399</c:v>
                      </c:pt>
                      <c:pt idx="1916">
                        <c:v>37400</c:v>
                      </c:pt>
                      <c:pt idx="1917">
                        <c:v>37403</c:v>
                      </c:pt>
                      <c:pt idx="1918">
                        <c:v>37404</c:v>
                      </c:pt>
                      <c:pt idx="1919">
                        <c:v>37405</c:v>
                      </c:pt>
                      <c:pt idx="1920">
                        <c:v>37406</c:v>
                      </c:pt>
                      <c:pt idx="1921">
                        <c:v>37407</c:v>
                      </c:pt>
                      <c:pt idx="1922">
                        <c:v>37410</c:v>
                      </c:pt>
                      <c:pt idx="1923">
                        <c:v>37411</c:v>
                      </c:pt>
                      <c:pt idx="1924">
                        <c:v>37412</c:v>
                      </c:pt>
                      <c:pt idx="1925">
                        <c:v>37413</c:v>
                      </c:pt>
                      <c:pt idx="1926">
                        <c:v>37414</c:v>
                      </c:pt>
                      <c:pt idx="1927">
                        <c:v>37417</c:v>
                      </c:pt>
                      <c:pt idx="1928">
                        <c:v>37418</c:v>
                      </c:pt>
                      <c:pt idx="1929">
                        <c:v>37419</c:v>
                      </c:pt>
                      <c:pt idx="1930">
                        <c:v>37420</c:v>
                      </c:pt>
                      <c:pt idx="1931">
                        <c:v>37421</c:v>
                      </c:pt>
                      <c:pt idx="1932">
                        <c:v>37424</c:v>
                      </c:pt>
                      <c:pt idx="1933">
                        <c:v>37425</c:v>
                      </c:pt>
                      <c:pt idx="1934">
                        <c:v>37426</c:v>
                      </c:pt>
                      <c:pt idx="1935">
                        <c:v>37427</c:v>
                      </c:pt>
                      <c:pt idx="1936">
                        <c:v>37428</c:v>
                      </c:pt>
                      <c:pt idx="1937">
                        <c:v>37431</c:v>
                      </c:pt>
                      <c:pt idx="1938">
                        <c:v>37432</c:v>
                      </c:pt>
                      <c:pt idx="1939">
                        <c:v>37433</c:v>
                      </c:pt>
                      <c:pt idx="1940">
                        <c:v>37434</c:v>
                      </c:pt>
                      <c:pt idx="1941">
                        <c:v>37435</c:v>
                      </c:pt>
                      <c:pt idx="1942">
                        <c:v>37438</c:v>
                      </c:pt>
                      <c:pt idx="1943">
                        <c:v>37439</c:v>
                      </c:pt>
                      <c:pt idx="1944">
                        <c:v>37440</c:v>
                      </c:pt>
                      <c:pt idx="1945">
                        <c:v>37441</c:v>
                      </c:pt>
                      <c:pt idx="1946">
                        <c:v>37442</c:v>
                      </c:pt>
                      <c:pt idx="1947">
                        <c:v>37445</c:v>
                      </c:pt>
                      <c:pt idx="1948">
                        <c:v>37446</c:v>
                      </c:pt>
                      <c:pt idx="1949">
                        <c:v>37447</c:v>
                      </c:pt>
                      <c:pt idx="1950">
                        <c:v>37448</c:v>
                      </c:pt>
                      <c:pt idx="1951">
                        <c:v>37449</c:v>
                      </c:pt>
                      <c:pt idx="1952">
                        <c:v>37452</c:v>
                      </c:pt>
                      <c:pt idx="1953">
                        <c:v>37453</c:v>
                      </c:pt>
                      <c:pt idx="1954">
                        <c:v>37454</c:v>
                      </c:pt>
                      <c:pt idx="1955">
                        <c:v>37455</c:v>
                      </c:pt>
                      <c:pt idx="1956">
                        <c:v>37456</c:v>
                      </c:pt>
                      <c:pt idx="1957">
                        <c:v>37459</c:v>
                      </c:pt>
                      <c:pt idx="1958">
                        <c:v>37460</c:v>
                      </c:pt>
                      <c:pt idx="1959">
                        <c:v>37461</c:v>
                      </c:pt>
                      <c:pt idx="1960">
                        <c:v>37462</c:v>
                      </c:pt>
                      <c:pt idx="1961">
                        <c:v>37463</c:v>
                      </c:pt>
                      <c:pt idx="1962">
                        <c:v>37466</c:v>
                      </c:pt>
                      <c:pt idx="1963">
                        <c:v>37467</c:v>
                      </c:pt>
                      <c:pt idx="1964">
                        <c:v>37468</c:v>
                      </c:pt>
                      <c:pt idx="1965">
                        <c:v>37469</c:v>
                      </c:pt>
                      <c:pt idx="1966">
                        <c:v>37470</c:v>
                      </c:pt>
                      <c:pt idx="1967">
                        <c:v>37473</c:v>
                      </c:pt>
                      <c:pt idx="1968">
                        <c:v>37474</c:v>
                      </c:pt>
                      <c:pt idx="1969">
                        <c:v>37475</c:v>
                      </c:pt>
                      <c:pt idx="1970">
                        <c:v>37476</c:v>
                      </c:pt>
                      <c:pt idx="1971">
                        <c:v>37477</c:v>
                      </c:pt>
                      <c:pt idx="1972">
                        <c:v>37480</c:v>
                      </c:pt>
                      <c:pt idx="1973">
                        <c:v>37481</c:v>
                      </c:pt>
                      <c:pt idx="1974">
                        <c:v>37482</c:v>
                      </c:pt>
                      <c:pt idx="1975">
                        <c:v>37483</c:v>
                      </c:pt>
                      <c:pt idx="1976">
                        <c:v>37484</c:v>
                      </c:pt>
                      <c:pt idx="1977">
                        <c:v>37487</c:v>
                      </c:pt>
                      <c:pt idx="1978">
                        <c:v>37488</c:v>
                      </c:pt>
                      <c:pt idx="1979">
                        <c:v>37489</c:v>
                      </c:pt>
                      <c:pt idx="1980">
                        <c:v>37490</c:v>
                      </c:pt>
                      <c:pt idx="1981">
                        <c:v>37491</c:v>
                      </c:pt>
                      <c:pt idx="1982">
                        <c:v>37494</c:v>
                      </c:pt>
                      <c:pt idx="1983">
                        <c:v>37495</c:v>
                      </c:pt>
                      <c:pt idx="1984">
                        <c:v>37496</c:v>
                      </c:pt>
                      <c:pt idx="1985">
                        <c:v>37497</c:v>
                      </c:pt>
                      <c:pt idx="1986">
                        <c:v>37498</c:v>
                      </c:pt>
                      <c:pt idx="1987">
                        <c:v>37501</c:v>
                      </c:pt>
                      <c:pt idx="1988">
                        <c:v>37502</c:v>
                      </c:pt>
                      <c:pt idx="1989">
                        <c:v>37503</c:v>
                      </c:pt>
                      <c:pt idx="1990">
                        <c:v>37504</c:v>
                      </c:pt>
                      <c:pt idx="1991">
                        <c:v>37505</c:v>
                      </c:pt>
                      <c:pt idx="1992">
                        <c:v>37508</c:v>
                      </c:pt>
                      <c:pt idx="1993">
                        <c:v>37509</c:v>
                      </c:pt>
                      <c:pt idx="1994">
                        <c:v>37510</c:v>
                      </c:pt>
                      <c:pt idx="1995">
                        <c:v>37511</c:v>
                      </c:pt>
                      <c:pt idx="1996">
                        <c:v>37512</c:v>
                      </c:pt>
                      <c:pt idx="1997">
                        <c:v>37515</c:v>
                      </c:pt>
                      <c:pt idx="1998">
                        <c:v>37516</c:v>
                      </c:pt>
                      <c:pt idx="1999">
                        <c:v>37517</c:v>
                      </c:pt>
                      <c:pt idx="2000">
                        <c:v>37518</c:v>
                      </c:pt>
                      <c:pt idx="2001">
                        <c:v>37519</c:v>
                      </c:pt>
                      <c:pt idx="2002">
                        <c:v>37522</c:v>
                      </c:pt>
                      <c:pt idx="2003">
                        <c:v>37523</c:v>
                      </c:pt>
                      <c:pt idx="2004">
                        <c:v>37524</c:v>
                      </c:pt>
                      <c:pt idx="2005">
                        <c:v>37525</c:v>
                      </c:pt>
                      <c:pt idx="2006">
                        <c:v>37526</c:v>
                      </c:pt>
                      <c:pt idx="2007">
                        <c:v>37529</c:v>
                      </c:pt>
                      <c:pt idx="2008">
                        <c:v>37530</c:v>
                      </c:pt>
                      <c:pt idx="2009">
                        <c:v>37531</c:v>
                      </c:pt>
                      <c:pt idx="2010">
                        <c:v>37532</c:v>
                      </c:pt>
                      <c:pt idx="2011">
                        <c:v>37533</c:v>
                      </c:pt>
                      <c:pt idx="2012">
                        <c:v>37536</c:v>
                      </c:pt>
                      <c:pt idx="2013">
                        <c:v>37537</c:v>
                      </c:pt>
                      <c:pt idx="2014">
                        <c:v>37538</c:v>
                      </c:pt>
                      <c:pt idx="2015">
                        <c:v>37539</c:v>
                      </c:pt>
                      <c:pt idx="2016">
                        <c:v>37540</c:v>
                      </c:pt>
                      <c:pt idx="2017">
                        <c:v>37543</c:v>
                      </c:pt>
                      <c:pt idx="2018">
                        <c:v>37544</c:v>
                      </c:pt>
                      <c:pt idx="2019">
                        <c:v>37545</c:v>
                      </c:pt>
                      <c:pt idx="2020">
                        <c:v>37546</c:v>
                      </c:pt>
                      <c:pt idx="2021">
                        <c:v>37547</c:v>
                      </c:pt>
                      <c:pt idx="2022">
                        <c:v>37550</c:v>
                      </c:pt>
                      <c:pt idx="2023">
                        <c:v>37551</c:v>
                      </c:pt>
                      <c:pt idx="2024">
                        <c:v>37552</c:v>
                      </c:pt>
                      <c:pt idx="2025">
                        <c:v>37553</c:v>
                      </c:pt>
                      <c:pt idx="2026">
                        <c:v>37554</c:v>
                      </c:pt>
                      <c:pt idx="2027">
                        <c:v>37557</c:v>
                      </c:pt>
                      <c:pt idx="2028">
                        <c:v>37558</c:v>
                      </c:pt>
                      <c:pt idx="2029">
                        <c:v>37559</c:v>
                      </c:pt>
                      <c:pt idx="2030">
                        <c:v>37560</c:v>
                      </c:pt>
                      <c:pt idx="2031">
                        <c:v>37561</c:v>
                      </c:pt>
                      <c:pt idx="2032">
                        <c:v>37564</c:v>
                      </c:pt>
                      <c:pt idx="2033">
                        <c:v>37565</c:v>
                      </c:pt>
                      <c:pt idx="2034">
                        <c:v>37566</c:v>
                      </c:pt>
                      <c:pt idx="2035">
                        <c:v>37567</c:v>
                      </c:pt>
                      <c:pt idx="2036">
                        <c:v>37568</c:v>
                      </c:pt>
                      <c:pt idx="2037">
                        <c:v>37571</c:v>
                      </c:pt>
                      <c:pt idx="2038">
                        <c:v>37572</c:v>
                      </c:pt>
                      <c:pt idx="2039">
                        <c:v>37573</c:v>
                      </c:pt>
                      <c:pt idx="2040">
                        <c:v>37574</c:v>
                      </c:pt>
                      <c:pt idx="2041">
                        <c:v>37575</c:v>
                      </c:pt>
                      <c:pt idx="2042">
                        <c:v>37578</c:v>
                      </c:pt>
                      <c:pt idx="2043">
                        <c:v>37579</c:v>
                      </c:pt>
                      <c:pt idx="2044">
                        <c:v>37580</c:v>
                      </c:pt>
                      <c:pt idx="2045">
                        <c:v>37581</c:v>
                      </c:pt>
                      <c:pt idx="2046">
                        <c:v>37582</c:v>
                      </c:pt>
                      <c:pt idx="2047">
                        <c:v>37585</c:v>
                      </c:pt>
                      <c:pt idx="2048">
                        <c:v>37586</c:v>
                      </c:pt>
                      <c:pt idx="2049">
                        <c:v>37587</c:v>
                      </c:pt>
                      <c:pt idx="2050">
                        <c:v>37588</c:v>
                      </c:pt>
                      <c:pt idx="2051">
                        <c:v>37589</c:v>
                      </c:pt>
                      <c:pt idx="2052">
                        <c:v>37592</c:v>
                      </c:pt>
                      <c:pt idx="2053">
                        <c:v>37593</c:v>
                      </c:pt>
                      <c:pt idx="2054">
                        <c:v>37594</c:v>
                      </c:pt>
                      <c:pt idx="2055">
                        <c:v>37595</c:v>
                      </c:pt>
                      <c:pt idx="2056">
                        <c:v>37596</c:v>
                      </c:pt>
                      <c:pt idx="2057">
                        <c:v>37599</c:v>
                      </c:pt>
                      <c:pt idx="2058">
                        <c:v>37600</c:v>
                      </c:pt>
                      <c:pt idx="2059">
                        <c:v>37601</c:v>
                      </c:pt>
                      <c:pt idx="2060">
                        <c:v>37602</c:v>
                      </c:pt>
                      <c:pt idx="2061">
                        <c:v>37603</c:v>
                      </c:pt>
                      <c:pt idx="2062">
                        <c:v>37606</c:v>
                      </c:pt>
                      <c:pt idx="2063">
                        <c:v>37607</c:v>
                      </c:pt>
                      <c:pt idx="2064">
                        <c:v>37608</c:v>
                      </c:pt>
                      <c:pt idx="2065">
                        <c:v>37609</c:v>
                      </c:pt>
                      <c:pt idx="2066">
                        <c:v>37610</c:v>
                      </c:pt>
                      <c:pt idx="2067">
                        <c:v>37613</c:v>
                      </c:pt>
                      <c:pt idx="2068">
                        <c:v>37614</c:v>
                      </c:pt>
                      <c:pt idx="2069">
                        <c:v>37615</c:v>
                      </c:pt>
                      <c:pt idx="2070">
                        <c:v>37616</c:v>
                      </c:pt>
                      <c:pt idx="2071">
                        <c:v>37617</c:v>
                      </c:pt>
                      <c:pt idx="2072">
                        <c:v>37620</c:v>
                      </c:pt>
                      <c:pt idx="2073">
                        <c:v>37621</c:v>
                      </c:pt>
                      <c:pt idx="2074">
                        <c:v>37622</c:v>
                      </c:pt>
                      <c:pt idx="2075">
                        <c:v>37623</c:v>
                      </c:pt>
                      <c:pt idx="2076">
                        <c:v>37624</c:v>
                      </c:pt>
                      <c:pt idx="2077">
                        <c:v>37627</c:v>
                      </c:pt>
                      <c:pt idx="2078">
                        <c:v>37628</c:v>
                      </c:pt>
                      <c:pt idx="2079">
                        <c:v>37629</c:v>
                      </c:pt>
                      <c:pt idx="2080">
                        <c:v>37630</c:v>
                      </c:pt>
                      <c:pt idx="2081">
                        <c:v>37631</c:v>
                      </c:pt>
                      <c:pt idx="2082">
                        <c:v>37634</c:v>
                      </c:pt>
                      <c:pt idx="2083">
                        <c:v>37635</c:v>
                      </c:pt>
                      <c:pt idx="2084">
                        <c:v>37636</c:v>
                      </c:pt>
                      <c:pt idx="2085">
                        <c:v>37637</c:v>
                      </c:pt>
                      <c:pt idx="2086">
                        <c:v>37638</c:v>
                      </c:pt>
                      <c:pt idx="2087">
                        <c:v>37641</c:v>
                      </c:pt>
                      <c:pt idx="2088">
                        <c:v>37642</c:v>
                      </c:pt>
                      <c:pt idx="2089">
                        <c:v>37643</c:v>
                      </c:pt>
                      <c:pt idx="2090">
                        <c:v>37644</c:v>
                      </c:pt>
                      <c:pt idx="2091">
                        <c:v>37645</c:v>
                      </c:pt>
                      <c:pt idx="2092">
                        <c:v>37648</c:v>
                      </c:pt>
                      <c:pt idx="2093">
                        <c:v>37649</c:v>
                      </c:pt>
                      <c:pt idx="2094">
                        <c:v>37650</c:v>
                      </c:pt>
                      <c:pt idx="2095">
                        <c:v>37651</c:v>
                      </c:pt>
                      <c:pt idx="2096">
                        <c:v>37652</c:v>
                      </c:pt>
                      <c:pt idx="2097">
                        <c:v>37655</c:v>
                      </c:pt>
                      <c:pt idx="2098">
                        <c:v>37656</c:v>
                      </c:pt>
                      <c:pt idx="2099">
                        <c:v>37657</c:v>
                      </c:pt>
                      <c:pt idx="2100">
                        <c:v>37658</c:v>
                      </c:pt>
                      <c:pt idx="2101">
                        <c:v>37659</c:v>
                      </c:pt>
                      <c:pt idx="2102">
                        <c:v>37662</c:v>
                      </c:pt>
                      <c:pt idx="2103">
                        <c:v>37663</c:v>
                      </c:pt>
                      <c:pt idx="2104">
                        <c:v>37664</c:v>
                      </c:pt>
                      <c:pt idx="2105">
                        <c:v>37665</c:v>
                      </c:pt>
                      <c:pt idx="2106">
                        <c:v>37666</c:v>
                      </c:pt>
                      <c:pt idx="2107">
                        <c:v>37669</c:v>
                      </c:pt>
                      <c:pt idx="2108">
                        <c:v>37670</c:v>
                      </c:pt>
                      <c:pt idx="2109">
                        <c:v>37671</c:v>
                      </c:pt>
                      <c:pt idx="2110">
                        <c:v>37672</c:v>
                      </c:pt>
                      <c:pt idx="2111">
                        <c:v>37673</c:v>
                      </c:pt>
                      <c:pt idx="2112">
                        <c:v>37676</c:v>
                      </c:pt>
                      <c:pt idx="2113">
                        <c:v>37677</c:v>
                      </c:pt>
                      <c:pt idx="2114">
                        <c:v>37678</c:v>
                      </c:pt>
                      <c:pt idx="2115">
                        <c:v>37679</c:v>
                      </c:pt>
                      <c:pt idx="2116">
                        <c:v>37680</c:v>
                      </c:pt>
                      <c:pt idx="2117">
                        <c:v>37683</c:v>
                      </c:pt>
                      <c:pt idx="2118">
                        <c:v>37684</c:v>
                      </c:pt>
                      <c:pt idx="2119">
                        <c:v>37685</c:v>
                      </c:pt>
                      <c:pt idx="2120">
                        <c:v>37686</c:v>
                      </c:pt>
                      <c:pt idx="2121">
                        <c:v>37687</c:v>
                      </c:pt>
                      <c:pt idx="2122">
                        <c:v>37690</c:v>
                      </c:pt>
                      <c:pt idx="2123">
                        <c:v>37691</c:v>
                      </c:pt>
                      <c:pt idx="2124">
                        <c:v>37692</c:v>
                      </c:pt>
                      <c:pt idx="2125">
                        <c:v>37693</c:v>
                      </c:pt>
                      <c:pt idx="2126">
                        <c:v>37694</c:v>
                      </c:pt>
                      <c:pt idx="2127">
                        <c:v>37697</c:v>
                      </c:pt>
                      <c:pt idx="2128">
                        <c:v>37698</c:v>
                      </c:pt>
                      <c:pt idx="2129">
                        <c:v>37699</c:v>
                      </c:pt>
                      <c:pt idx="2130">
                        <c:v>37700</c:v>
                      </c:pt>
                      <c:pt idx="2131">
                        <c:v>37701</c:v>
                      </c:pt>
                      <c:pt idx="2132">
                        <c:v>37704</c:v>
                      </c:pt>
                      <c:pt idx="2133">
                        <c:v>37705</c:v>
                      </c:pt>
                      <c:pt idx="2134">
                        <c:v>37706</c:v>
                      </c:pt>
                      <c:pt idx="2135">
                        <c:v>37707</c:v>
                      </c:pt>
                      <c:pt idx="2136">
                        <c:v>37708</c:v>
                      </c:pt>
                      <c:pt idx="2137">
                        <c:v>37711</c:v>
                      </c:pt>
                      <c:pt idx="2138">
                        <c:v>37712</c:v>
                      </c:pt>
                      <c:pt idx="2139">
                        <c:v>37713</c:v>
                      </c:pt>
                      <c:pt idx="2140">
                        <c:v>37714</c:v>
                      </c:pt>
                      <c:pt idx="2141">
                        <c:v>37715</c:v>
                      </c:pt>
                      <c:pt idx="2142">
                        <c:v>37718</c:v>
                      </c:pt>
                      <c:pt idx="2143">
                        <c:v>37719</c:v>
                      </c:pt>
                      <c:pt idx="2144">
                        <c:v>37720</c:v>
                      </c:pt>
                      <c:pt idx="2145">
                        <c:v>37721</c:v>
                      </c:pt>
                      <c:pt idx="2146">
                        <c:v>37722</c:v>
                      </c:pt>
                      <c:pt idx="2147">
                        <c:v>37725</c:v>
                      </c:pt>
                      <c:pt idx="2148">
                        <c:v>37726</c:v>
                      </c:pt>
                      <c:pt idx="2149">
                        <c:v>37727</c:v>
                      </c:pt>
                      <c:pt idx="2150">
                        <c:v>37728</c:v>
                      </c:pt>
                      <c:pt idx="2151">
                        <c:v>37729</c:v>
                      </c:pt>
                      <c:pt idx="2152">
                        <c:v>37732</c:v>
                      </c:pt>
                      <c:pt idx="2153">
                        <c:v>37733</c:v>
                      </c:pt>
                      <c:pt idx="2154">
                        <c:v>37734</c:v>
                      </c:pt>
                      <c:pt idx="2155">
                        <c:v>37735</c:v>
                      </c:pt>
                      <c:pt idx="2156">
                        <c:v>37736</c:v>
                      </c:pt>
                      <c:pt idx="2157">
                        <c:v>37739</c:v>
                      </c:pt>
                      <c:pt idx="2158">
                        <c:v>37740</c:v>
                      </c:pt>
                      <c:pt idx="2159">
                        <c:v>37741</c:v>
                      </c:pt>
                      <c:pt idx="2160">
                        <c:v>37742</c:v>
                      </c:pt>
                      <c:pt idx="2161">
                        <c:v>37743</c:v>
                      </c:pt>
                      <c:pt idx="2162">
                        <c:v>37746</c:v>
                      </c:pt>
                      <c:pt idx="2163">
                        <c:v>37747</c:v>
                      </c:pt>
                      <c:pt idx="2164">
                        <c:v>37748</c:v>
                      </c:pt>
                      <c:pt idx="2165">
                        <c:v>37749</c:v>
                      </c:pt>
                      <c:pt idx="2166">
                        <c:v>37750</c:v>
                      </c:pt>
                      <c:pt idx="2167">
                        <c:v>37753</c:v>
                      </c:pt>
                      <c:pt idx="2168">
                        <c:v>37754</c:v>
                      </c:pt>
                      <c:pt idx="2169">
                        <c:v>37755</c:v>
                      </c:pt>
                      <c:pt idx="2170">
                        <c:v>37756</c:v>
                      </c:pt>
                      <c:pt idx="2171">
                        <c:v>37757</c:v>
                      </c:pt>
                      <c:pt idx="2172">
                        <c:v>37760</c:v>
                      </c:pt>
                      <c:pt idx="2173">
                        <c:v>37761</c:v>
                      </c:pt>
                      <c:pt idx="2174">
                        <c:v>37762</c:v>
                      </c:pt>
                      <c:pt idx="2175">
                        <c:v>37763</c:v>
                      </c:pt>
                      <c:pt idx="2176">
                        <c:v>37764</c:v>
                      </c:pt>
                      <c:pt idx="2177">
                        <c:v>37767</c:v>
                      </c:pt>
                      <c:pt idx="2178">
                        <c:v>37768</c:v>
                      </c:pt>
                      <c:pt idx="2179">
                        <c:v>37769</c:v>
                      </c:pt>
                      <c:pt idx="2180">
                        <c:v>37770</c:v>
                      </c:pt>
                      <c:pt idx="2181">
                        <c:v>37771</c:v>
                      </c:pt>
                      <c:pt idx="2182">
                        <c:v>37774</c:v>
                      </c:pt>
                      <c:pt idx="2183">
                        <c:v>37775</c:v>
                      </c:pt>
                      <c:pt idx="2184">
                        <c:v>37776</c:v>
                      </c:pt>
                      <c:pt idx="2185">
                        <c:v>37777</c:v>
                      </c:pt>
                      <c:pt idx="2186">
                        <c:v>37778</c:v>
                      </c:pt>
                      <c:pt idx="2187">
                        <c:v>37781</c:v>
                      </c:pt>
                      <c:pt idx="2188">
                        <c:v>37782</c:v>
                      </c:pt>
                      <c:pt idx="2189">
                        <c:v>37783</c:v>
                      </c:pt>
                      <c:pt idx="2190">
                        <c:v>37784</c:v>
                      </c:pt>
                      <c:pt idx="2191">
                        <c:v>37785</c:v>
                      </c:pt>
                      <c:pt idx="2192">
                        <c:v>37788</c:v>
                      </c:pt>
                      <c:pt idx="2193">
                        <c:v>37789</c:v>
                      </c:pt>
                      <c:pt idx="2194">
                        <c:v>37790</c:v>
                      </c:pt>
                      <c:pt idx="2195">
                        <c:v>37791</c:v>
                      </c:pt>
                      <c:pt idx="2196">
                        <c:v>37792</c:v>
                      </c:pt>
                      <c:pt idx="2197">
                        <c:v>37795</c:v>
                      </c:pt>
                      <c:pt idx="2198">
                        <c:v>37796</c:v>
                      </c:pt>
                      <c:pt idx="2199">
                        <c:v>37797</c:v>
                      </c:pt>
                      <c:pt idx="2200">
                        <c:v>37798</c:v>
                      </c:pt>
                      <c:pt idx="2201">
                        <c:v>37799</c:v>
                      </c:pt>
                      <c:pt idx="2202">
                        <c:v>37802</c:v>
                      </c:pt>
                      <c:pt idx="2203">
                        <c:v>37803</c:v>
                      </c:pt>
                      <c:pt idx="2204">
                        <c:v>37804</c:v>
                      </c:pt>
                      <c:pt idx="2205">
                        <c:v>37805</c:v>
                      </c:pt>
                      <c:pt idx="2206">
                        <c:v>37806</c:v>
                      </c:pt>
                      <c:pt idx="2207">
                        <c:v>37809</c:v>
                      </c:pt>
                      <c:pt idx="2208">
                        <c:v>37810</c:v>
                      </c:pt>
                      <c:pt idx="2209">
                        <c:v>37811</c:v>
                      </c:pt>
                      <c:pt idx="2210">
                        <c:v>37812</c:v>
                      </c:pt>
                      <c:pt idx="2211">
                        <c:v>37813</c:v>
                      </c:pt>
                      <c:pt idx="2212">
                        <c:v>37816</c:v>
                      </c:pt>
                      <c:pt idx="2213">
                        <c:v>37817</c:v>
                      </c:pt>
                      <c:pt idx="2214">
                        <c:v>37818</c:v>
                      </c:pt>
                      <c:pt idx="2215">
                        <c:v>37819</c:v>
                      </c:pt>
                      <c:pt idx="2216">
                        <c:v>37820</c:v>
                      </c:pt>
                      <c:pt idx="2217">
                        <c:v>37823</c:v>
                      </c:pt>
                      <c:pt idx="2218">
                        <c:v>37824</c:v>
                      </c:pt>
                      <c:pt idx="2219">
                        <c:v>37825</c:v>
                      </c:pt>
                      <c:pt idx="2220">
                        <c:v>37826</c:v>
                      </c:pt>
                      <c:pt idx="2221">
                        <c:v>37827</c:v>
                      </c:pt>
                      <c:pt idx="2222">
                        <c:v>37830</c:v>
                      </c:pt>
                      <c:pt idx="2223">
                        <c:v>37831</c:v>
                      </c:pt>
                      <c:pt idx="2224">
                        <c:v>37832</c:v>
                      </c:pt>
                      <c:pt idx="2225">
                        <c:v>37833</c:v>
                      </c:pt>
                      <c:pt idx="2226">
                        <c:v>37834</c:v>
                      </c:pt>
                      <c:pt idx="2227">
                        <c:v>37837</c:v>
                      </c:pt>
                      <c:pt idx="2228">
                        <c:v>37838</c:v>
                      </c:pt>
                      <c:pt idx="2229">
                        <c:v>37839</c:v>
                      </c:pt>
                      <c:pt idx="2230">
                        <c:v>37840</c:v>
                      </c:pt>
                      <c:pt idx="2231">
                        <c:v>37841</c:v>
                      </c:pt>
                      <c:pt idx="2232">
                        <c:v>37844</c:v>
                      </c:pt>
                      <c:pt idx="2233">
                        <c:v>37845</c:v>
                      </c:pt>
                      <c:pt idx="2234">
                        <c:v>37846</c:v>
                      </c:pt>
                      <c:pt idx="2235">
                        <c:v>37847</c:v>
                      </c:pt>
                      <c:pt idx="2236">
                        <c:v>37848</c:v>
                      </c:pt>
                      <c:pt idx="2237">
                        <c:v>37851</c:v>
                      </c:pt>
                      <c:pt idx="2238">
                        <c:v>37852</c:v>
                      </c:pt>
                      <c:pt idx="2239">
                        <c:v>37853</c:v>
                      </c:pt>
                      <c:pt idx="2240">
                        <c:v>37854</c:v>
                      </c:pt>
                      <c:pt idx="2241">
                        <c:v>37855</c:v>
                      </c:pt>
                      <c:pt idx="2242">
                        <c:v>37858</c:v>
                      </c:pt>
                      <c:pt idx="2243">
                        <c:v>37859</c:v>
                      </c:pt>
                      <c:pt idx="2244">
                        <c:v>37860</c:v>
                      </c:pt>
                      <c:pt idx="2245">
                        <c:v>37861</c:v>
                      </c:pt>
                      <c:pt idx="2246">
                        <c:v>37862</c:v>
                      </c:pt>
                      <c:pt idx="2247">
                        <c:v>37865</c:v>
                      </c:pt>
                      <c:pt idx="2248">
                        <c:v>37866</c:v>
                      </c:pt>
                      <c:pt idx="2249">
                        <c:v>37867</c:v>
                      </c:pt>
                      <c:pt idx="2250">
                        <c:v>37868</c:v>
                      </c:pt>
                      <c:pt idx="2251">
                        <c:v>37869</c:v>
                      </c:pt>
                      <c:pt idx="2252">
                        <c:v>37872</c:v>
                      </c:pt>
                      <c:pt idx="2253">
                        <c:v>37873</c:v>
                      </c:pt>
                      <c:pt idx="2254">
                        <c:v>37874</c:v>
                      </c:pt>
                      <c:pt idx="2255">
                        <c:v>37875</c:v>
                      </c:pt>
                      <c:pt idx="2256">
                        <c:v>37876</c:v>
                      </c:pt>
                      <c:pt idx="2257">
                        <c:v>37879</c:v>
                      </c:pt>
                      <c:pt idx="2258">
                        <c:v>37880</c:v>
                      </c:pt>
                      <c:pt idx="2259">
                        <c:v>37881</c:v>
                      </c:pt>
                      <c:pt idx="2260">
                        <c:v>37882</c:v>
                      </c:pt>
                      <c:pt idx="2261">
                        <c:v>37883</c:v>
                      </c:pt>
                      <c:pt idx="2262">
                        <c:v>37886</c:v>
                      </c:pt>
                      <c:pt idx="2263">
                        <c:v>37887</c:v>
                      </c:pt>
                      <c:pt idx="2264">
                        <c:v>37888</c:v>
                      </c:pt>
                      <c:pt idx="2265">
                        <c:v>37889</c:v>
                      </c:pt>
                      <c:pt idx="2266">
                        <c:v>37890</c:v>
                      </c:pt>
                      <c:pt idx="2267">
                        <c:v>37893</c:v>
                      </c:pt>
                      <c:pt idx="2268">
                        <c:v>37894</c:v>
                      </c:pt>
                      <c:pt idx="2269">
                        <c:v>37895</c:v>
                      </c:pt>
                      <c:pt idx="2270">
                        <c:v>37896</c:v>
                      </c:pt>
                      <c:pt idx="2271">
                        <c:v>37897</c:v>
                      </c:pt>
                      <c:pt idx="2272">
                        <c:v>37900</c:v>
                      </c:pt>
                      <c:pt idx="2273">
                        <c:v>37901</c:v>
                      </c:pt>
                      <c:pt idx="2274">
                        <c:v>37902</c:v>
                      </c:pt>
                      <c:pt idx="2275">
                        <c:v>37903</c:v>
                      </c:pt>
                      <c:pt idx="2276">
                        <c:v>37904</c:v>
                      </c:pt>
                      <c:pt idx="2277">
                        <c:v>37907</c:v>
                      </c:pt>
                      <c:pt idx="2278">
                        <c:v>37908</c:v>
                      </c:pt>
                      <c:pt idx="2279">
                        <c:v>37909</c:v>
                      </c:pt>
                      <c:pt idx="2280">
                        <c:v>37910</c:v>
                      </c:pt>
                      <c:pt idx="2281">
                        <c:v>37911</c:v>
                      </c:pt>
                      <c:pt idx="2282">
                        <c:v>37914</c:v>
                      </c:pt>
                      <c:pt idx="2283">
                        <c:v>37915</c:v>
                      </c:pt>
                      <c:pt idx="2284">
                        <c:v>37916</c:v>
                      </c:pt>
                      <c:pt idx="2285">
                        <c:v>37917</c:v>
                      </c:pt>
                      <c:pt idx="2286">
                        <c:v>37918</c:v>
                      </c:pt>
                      <c:pt idx="2287">
                        <c:v>37921</c:v>
                      </c:pt>
                      <c:pt idx="2288">
                        <c:v>37922</c:v>
                      </c:pt>
                      <c:pt idx="2289">
                        <c:v>37923</c:v>
                      </c:pt>
                      <c:pt idx="2290">
                        <c:v>37924</c:v>
                      </c:pt>
                      <c:pt idx="2291">
                        <c:v>37925</c:v>
                      </c:pt>
                      <c:pt idx="2292">
                        <c:v>37928</c:v>
                      </c:pt>
                      <c:pt idx="2293">
                        <c:v>37929</c:v>
                      </c:pt>
                      <c:pt idx="2294">
                        <c:v>37930</c:v>
                      </c:pt>
                      <c:pt idx="2295">
                        <c:v>37931</c:v>
                      </c:pt>
                      <c:pt idx="2296">
                        <c:v>37932</c:v>
                      </c:pt>
                      <c:pt idx="2297">
                        <c:v>37935</c:v>
                      </c:pt>
                      <c:pt idx="2298">
                        <c:v>37936</c:v>
                      </c:pt>
                      <c:pt idx="2299">
                        <c:v>37937</c:v>
                      </c:pt>
                      <c:pt idx="2300">
                        <c:v>37938</c:v>
                      </c:pt>
                      <c:pt idx="2301">
                        <c:v>37939</c:v>
                      </c:pt>
                      <c:pt idx="2302">
                        <c:v>37942</c:v>
                      </c:pt>
                      <c:pt idx="2303">
                        <c:v>37943</c:v>
                      </c:pt>
                      <c:pt idx="2304">
                        <c:v>37944</c:v>
                      </c:pt>
                      <c:pt idx="2305">
                        <c:v>37945</c:v>
                      </c:pt>
                      <c:pt idx="2306">
                        <c:v>37946</c:v>
                      </c:pt>
                      <c:pt idx="2307">
                        <c:v>37949</c:v>
                      </c:pt>
                      <c:pt idx="2308">
                        <c:v>37950</c:v>
                      </c:pt>
                      <c:pt idx="2309">
                        <c:v>37951</c:v>
                      </c:pt>
                      <c:pt idx="2310">
                        <c:v>37952</c:v>
                      </c:pt>
                      <c:pt idx="2311">
                        <c:v>37953</c:v>
                      </c:pt>
                      <c:pt idx="2312">
                        <c:v>37956</c:v>
                      </c:pt>
                      <c:pt idx="2313">
                        <c:v>37957</c:v>
                      </c:pt>
                      <c:pt idx="2314">
                        <c:v>37958</c:v>
                      </c:pt>
                      <c:pt idx="2315">
                        <c:v>37959</c:v>
                      </c:pt>
                      <c:pt idx="2316">
                        <c:v>37960</c:v>
                      </c:pt>
                      <c:pt idx="2317">
                        <c:v>37963</c:v>
                      </c:pt>
                      <c:pt idx="2318">
                        <c:v>37964</c:v>
                      </c:pt>
                      <c:pt idx="2319">
                        <c:v>37965</c:v>
                      </c:pt>
                      <c:pt idx="2320">
                        <c:v>37966</c:v>
                      </c:pt>
                      <c:pt idx="2321">
                        <c:v>37967</c:v>
                      </c:pt>
                      <c:pt idx="2322">
                        <c:v>37970</c:v>
                      </c:pt>
                      <c:pt idx="2323">
                        <c:v>37971</c:v>
                      </c:pt>
                      <c:pt idx="2324">
                        <c:v>37972</c:v>
                      </c:pt>
                      <c:pt idx="2325">
                        <c:v>37973</c:v>
                      </c:pt>
                      <c:pt idx="2326">
                        <c:v>37974</c:v>
                      </c:pt>
                      <c:pt idx="2327">
                        <c:v>37977</c:v>
                      </c:pt>
                      <c:pt idx="2328">
                        <c:v>37978</c:v>
                      </c:pt>
                      <c:pt idx="2329">
                        <c:v>37979</c:v>
                      </c:pt>
                      <c:pt idx="2330">
                        <c:v>37980</c:v>
                      </c:pt>
                      <c:pt idx="2331">
                        <c:v>37981</c:v>
                      </c:pt>
                      <c:pt idx="2332">
                        <c:v>37984</c:v>
                      </c:pt>
                      <c:pt idx="2333">
                        <c:v>37985</c:v>
                      </c:pt>
                      <c:pt idx="2334">
                        <c:v>37986</c:v>
                      </c:pt>
                      <c:pt idx="2335">
                        <c:v>37987</c:v>
                      </c:pt>
                      <c:pt idx="2336">
                        <c:v>37988</c:v>
                      </c:pt>
                      <c:pt idx="2337">
                        <c:v>37991</c:v>
                      </c:pt>
                      <c:pt idx="2338">
                        <c:v>37992</c:v>
                      </c:pt>
                      <c:pt idx="2339">
                        <c:v>37993</c:v>
                      </c:pt>
                      <c:pt idx="2340">
                        <c:v>37994</c:v>
                      </c:pt>
                      <c:pt idx="2341">
                        <c:v>37995</c:v>
                      </c:pt>
                      <c:pt idx="2342">
                        <c:v>37998</c:v>
                      </c:pt>
                      <c:pt idx="2343">
                        <c:v>37999</c:v>
                      </c:pt>
                      <c:pt idx="2344">
                        <c:v>38000</c:v>
                      </c:pt>
                      <c:pt idx="2345">
                        <c:v>38001</c:v>
                      </c:pt>
                      <c:pt idx="2346">
                        <c:v>38002</c:v>
                      </c:pt>
                      <c:pt idx="2347">
                        <c:v>38005</c:v>
                      </c:pt>
                      <c:pt idx="2348">
                        <c:v>38006</c:v>
                      </c:pt>
                      <c:pt idx="2349">
                        <c:v>38007</c:v>
                      </c:pt>
                      <c:pt idx="2350">
                        <c:v>38008</c:v>
                      </c:pt>
                      <c:pt idx="2351">
                        <c:v>38009</c:v>
                      </c:pt>
                      <c:pt idx="2352">
                        <c:v>38012</c:v>
                      </c:pt>
                      <c:pt idx="2353">
                        <c:v>38013</c:v>
                      </c:pt>
                      <c:pt idx="2354">
                        <c:v>38014</c:v>
                      </c:pt>
                      <c:pt idx="2355">
                        <c:v>38015</c:v>
                      </c:pt>
                      <c:pt idx="2356">
                        <c:v>38016</c:v>
                      </c:pt>
                      <c:pt idx="2357">
                        <c:v>38019</c:v>
                      </c:pt>
                      <c:pt idx="2358">
                        <c:v>38020</c:v>
                      </c:pt>
                      <c:pt idx="2359">
                        <c:v>38021</c:v>
                      </c:pt>
                      <c:pt idx="2360">
                        <c:v>38022</c:v>
                      </c:pt>
                      <c:pt idx="2361">
                        <c:v>38023</c:v>
                      </c:pt>
                      <c:pt idx="2362">
                        <c:v>38026</c:v>
                      </c:pt>
                      <c:pt idx="2363">
                        <c:v>38027</c:v>
                      </c:pt>
                      <c:pt idx="2364">
                        <c:v>38028</c:v>
                      </c:pt>
                      <c:pt idx="2365">
                        <c:v>38029</c:v>
                      </c:pt>
                      <c:pt idx="2366">
                        <c:v>38030</c:v>
                      </c:pt>
                      <c:pt idx="2367">
                        <c:v>38033</c:v>
                      </c:pt>
                      <c:pt idx="2368">
                        <c:v>38034</c:v>
                      </c:pt>
                      <c:pt idx="2369">
                        <c:v>38035</c:v>
                      </c:pt>
                      <c:pt idx="2370">
                        <c:v>38036</c:v>
                      </c:pt>
                      <c:pt idx="2371">
                        <c:v>38037</c:v>
                      </c:pt>
                      <c:pt idx="2372">
                        <c:v>38040</c:v>
                      </c:pt>
                      <c:pt idx="2373">
                        <c:v>38041</c:v>
                      </c:pt>
                      <c:pt idx="2374">
                        <c:v>38042</c:v>
                      </c:pt>
                      <c:pt idx="2375">
                        <c:v>38043</c:v>
                      </c:pt>
                      <c:pt idx="2376">
                        <c:v>38044</c:v>
                      </c:pt>
                      <c:pt idx="2377">
                        <c:v>38047</c:v>
                      </c:pt>
                      <c:pt idx="2378">
                        <c:v>38048</c:v>
                      </c:pt>
                      <c:pt idx="2379">
                        <c:v>38049</c:v>
                      </c:pt>
                      <c:pt idx="2380">
                        <c:v>38050</c:v>
                      </c:pt>
                      <c:pt idx="2381">
                        <c:v>38051</c:v>
                      </c:pt>
                      <c:pt idx="2382">
                        <c:v>38054</c:v>
                      </c:pt>
                      <c:pt idx="2383">
                        <c:v>38055</c:v>
                      </c:pt>
                      <c:pt idx="2384">
                        <c:v>38056</c:v>
                      </c:pt>
                      <c:pt idx="2385">
                        <c:v>38057</c:v>
                      </c:pt>
                      <c:pt idx="2386">
                        <c:v>38058</c:v>
                      </c:pt>
                      <c:pt idx="2387">
                        <c:v>38061</c:v>
                      </c:pt>
                      <c:pt idx="2388">
                        <c:v>38062</c:v>
                      </c:pt>
                      <c:pt idx="2389">
                        <c:v>38063</c:v>
                      </c:pt>
                      <c:pt idx="2390">
                        <c:v>38064</c:v>
                      </c:pt>
                      <c:pt idx="2391">
                        <c:v>38065</c:v>
                      </c:pt>
                      <c:pt idx="2392">
                        <c:v>38068</c:v>
                      </c:pt>
                      <c:pt idx="2393">
                        <c:v>38069</c:v>
                      </c:pt>
                      <c:pt idx="2394">
                        <c:v>38070</c:v>
                      </c:pt>
                      <c:pt idx="2395">
                        <c:v>38071</c:v>
                      </c:pt>
                      <c:pt idx="2396">
                        <c:v>38072</c:v>
                      </c:pt>
                      <c:pt idx="2397">
                        <c:v>38075</c:v>
                      </c:pt>
                      <c:pt idx="2398">
                        <c:v>38076</c:v>
                      </c:pt>
                      <c:pt idx="2399">
                        <c:v>38077</c:v>
                      </c:pt>
                      <c:pt idx="2400">
                        <c:v>38078</c:v>
                      </c:pt>
                      <c:pt idx="2401">
                        <c:v>38079</c:v>
                      </c:pt>
                      <c:pt idx="2402">
                        <c:v>38082</c:v>
                      </c:pt>
                      <c:pt idx="2403">
                        <c:v>38083</c:v>
                      </c:pt>
                      <c:pt idx="2404">
                        <c:v>38084</c:v>
                      </c:pt>
                      <c:pt idx="2405">
                        <c:v>38085</c:v>
                      </c:pt>
                      <c:pt idx="2406">
                        <c:v>38086</c:v>
                      </c:pt>
                      <c:pt idx="2407">
                        <c:v>38089</c:v>
                      </c:pt>
                      <c:pt idx="2408">
                        <c:v>38090</c:v>
                      </c:pt>
                      <c:pt idx="2409">
                        <c:v>38091</c:v>
                      </c:pt>
                      <c:pt idx="2410">
                        <c:v>38092</c:v>
                      </c:pt>
                      <c:pt idx="2411">
                        <c:v>38093</c:v>
                      </c:pt>
                      <c:pt idx="2412">
                        <c:v>38096</c:v>
                      </c:pt>
                      <c:pt idx="2413">
                        <c:v>38097</c:v>
                      </c:pt>
                      <c:pt idx="2414">
                        <c:v>38098</c:v>
                      </c:pt>
                      <c:pt idx="2415">
                        <c:v>38099</c:v>
                      </c:pt>
                      <c:pt idx="2416">
                        <c:v>38100</c:v>
                      </c:pt>
                      <c:pt idx="2417">
                        <c:v>38103</c:v>
                      </c:pt>
                      <c:pt idx="2418">
                        <c:v>38104</c:v>
                      </c:pt>
                      <c:pt idx="2419">
                        <c:v>38105</c:v>
                      </c:pt>
                      <c:pt idx="2420">
                        <c:v>38106</c:v>
                      </c:pt>
                      <c:pt idx="2421">
                        <c:v>38107</c:v>
                      </c:pt>
                      <c:pt idx="2422">
                        <c:v>38110</c:v>
                      </c:pt>
                      <c:pt idx="2423">
                        <c:v>38111</c:v>
                      </c:pt>
                      <c:pt idx="2424">
                        <c:v>38112</c:v>
                      </c:pt>
                      <c:pt idx="2425">
                        <c:v>38113</c:v>
                      </c:pt>
                      <c:pt idx="2426">
                        <c:v>38114</c:v>
                      </c:pt>
                      <c:pt idx="2427">
                        <c:v>38117</c:v>
                      </c:pt>
                      <c:pt idx="2428">
                        <c:v>38118</c:v>
                      </c:pt>
                      <c:pt idx="2429">
                        <c:v>38119</c:v>
                      </c:pt>
                      <c:pt idx="2430">
                        <c:v>38120</c:v>
                      </c:pt>
                      <c:pt idx="2431">
                        <c:v>38121</c:v>
                      </c:pt>
                      <c:pt idx="2432">
                        <c:v>38124</c:v>
                      </c:pt>
                      <c:pt idx="2433">
                        <c:v>38125</c:v>
                      </c:pt>
                      <c:pt idx="2434">
                        <c:v>38126</c:v>
                      </c:pt>
                      <c:pt idx="2435">
                        <c:v>38127</c:v>
                      </c:pt>
                      <c:pt idx="2436">
                        <c:v>38128</c:v>
                      </c:pt>
                      <c:pt idx="2437">
                        <c:v>38131</c:v>
                      </c:pt>
                      <c:pt idx="2438">
                        <c:v>38132</c:v>
                      </c:pt>
                      <c:pt idx="2439">
                        <c:v>38133</c:v>
                      </c:pt>
                      <c:pt idx="2440">
                        <c:v>38134</c:v>
                      </c:pt>
                      <c:pt idx="2441">
                        <c:v>38135</c:v>
                      </c:pt>
                      <c:pt idx="2442">
                        <c:v>38138</c:v>
                      </c:pt>
                      <c:pt idx="2443">
                        <c:v>38139</c:v>
                      </c:pt>
                      <c:pt idx="2444">
                        <c:v>38140</c:v>
                      </c:pt>
                      <c:pt idx="2445">
                        <c:v>38141</c:v>
                      </c:pt>
                      <c:pt idx="2446">
                        <c:v>38142</c:v>
                      </c:pt>
                      <c:pt idx="2447">
                        <c:v>38145</c:v>
                      </c:pt>
                      <c:pt idx="2448">
                        <c:v>38146</c:v>
                      </c:pt>
                      <c:pt idx="2449">
                        <c:v>38147</c:v>
                      </c:pt>
                      <c:pt idx="2450">
                        <c:v>38148</c:v>
                      </c:pt>
                      <c:pt idx="2451">
                        <c:v>38149</c:v>
                      </c:pt>
                      <c:pt idx="2452">
                        <c:v>38152</c:v>
                      </c:pt>
                      <c:pt idx="2453">
                        <c:v>38153</c:v>
                      </c:pt>
                      <c:pt idx="2454">
                        <c:v>38154</c:v>
                      </c:pt>
                      <c:pt idx="2455">
                        <c:v>38155</c:v>
                      </c:pt>
                      <c:pt idx="2456">
                        <c:v>38156</c:v>
                      </c:pt>
                      <c:pt idx="2457">
                        <c:v>38159</c:v>
                      </c:pt>
                      <c:pt idx="2458">
                        <c:v>38160</c:v>
                      </c:pt>
                      <c:pt idx="2459">
                        <c:v>38161</c:v>
                      </c:pt>
                      <c:pt idx="2460">
                        <c:v>38162</c:v>
                      </c:pt>
                      <c:pt idx="2461">
                        <c:v>38163</c:v>
                      </c:pt>
                      <c:pt idx="2462">
                        <c:v>38166</c:v>
                      </c:pt>
                      <c:pt idx="2463">
                        <c:v>38167</c:v>
                      </c:pt>
                      <c:pt idx="2464">
                        <c:v>38168</c:v>
                      </c:pt>
                      <c:pt idx="2465">
                        <c:v>38169</c:v>
                      </c:pt>
                      <c:pt idx="2466">
                        <c:v>38170</c:v>
                      </c:pt>
                      <c:pt idx="2467">
                        <c:v>38173</c:v>
                      </c:pt>
                      <c:pt idx="2468">
                        <c:v>38174</c:v>
                      </c:pt>
                      <c:pt idx="2469">
                        <c:v>38175</c:v>
                      </c:pt>
                      <c:pt idx="2470">
                        <c:v>38176</c:v>
                      </c:pt>
                      <c:pt idx="2471">
                        <c:v>38177</c:v>
                      </c:pt>
                      <c:pt idx="2472">
                        <c:v>38180</c:v>
                      </c:pt>
                      <c:pt idx="2473">
                        <c:v>38181</c:v>
                      </c:pt>
                      <c:pt idx="2474">
                        <c:v>38182</c:v>
                      </c:pt>
                      <c:pt idx="2475">
                        <c:v>38183</c:v>
                      </c:pt>
                      <c:pt idx="2476">
                        <c:v>38184</c:v>
                      </c:pt>
                      <c:pt idx="2477">
                        <c:v>38187</c:v>
                      </c:pt>
                      <c:pt idx="2478">
                        <c:v>38188</c:v>
                      </c:pt>
                      <c:pt idx="2479">
                        <c:v>38189</c:v>
                      </c:pt>
                      <c:pt idx="2480">
                        <c:v>38190</c:v>
                      </c:pt>
                      <c:pt idx="2481">
                        <c:v>38191</c:v>
                      </c:pt>
                      <c:pt idx="2482">
                        <c:v>38194</c:v>
                      </c:pt>
                      <c:pt idx="2483">
                        <c:v>38195</c:v>
                      </c:pt>
                      <c:pt idx="2484">
                        <c:v>38196</c:v>
                      </c:pt>
                      <c:pt idx="2485">
                        <c:v>38197</c:v>
                      </c:pt>
                      <c:pt idx="2486">
                        <c:v>38198</c:v>
                      </c:pt>
                      <c:pt idx="2487">
                        <c:v>38201</c:v>
                      </c:pt>
                      <c:pt idx="2488">
                        <c:v>38202</c:v>
                      </c:pt>
                      <c:pt idx="2489">
                        <c:v>38203</c:v>
                      </c:pt>
                      <c:pt idx="2490">
                        <c:v>38204</c:v>
                      </c:pt>
                      <c:pt idx="2491">
                        <c:v>38205</c:v>
                      </c:pt>
                      <c:pt idx="2492">
                        <c:v>38208</c:v>
                      </c:pt>
                      <c:pt idx="2493">
                        <c:v>38209</c:v>
                      </c:pt>
                      <c:pt idx="2494">
                        <c:v>38210</c:v>
                      </c:pt>
                      <c:pt idx="2495">
                        <c:v>38211</c:v>
                      </c:pt>
                      <c:pt idx="2496">
                        <c:v>38212</c:v>
                      </c:pt>
                      <c:pt idx="2497">
                        <c:v>38215</c:v>
                      </c:pt>
                      <c:pt idx="2498">
                        <c:v>38216</c:v>
                      </c:pt>
                      <c:pt idx="2499">
                        <c:v>38217</c:v>
                      </c:pt>
                      <c:pt idx="2500">
                        <c:v>38218</c:v>
                      </c:pt>
                      <c:pt idx="2501">
                        <c:v>38219</c:v>
                      </c:pt>
                      <c:pt idx="2502">
                        <c:v>38222</c:v>
                      </c:pt>
                      <c:pt idx="2503">
                        <c:v>38223</c:v>
                      </c:pt>
                      <c:pt idx="2504">
                        <c:v>38224</c:v>
                      </c:pt>
                      <c:pt idx="2505">
                        <c:v>38225</c:v>
                      </c:pt>
                      <c:pt idx="2506">
                        <c:v>38226</c:v>
                      </c:pt>
                      <c:pt idx="2507">
                        <c:v>38229</c:v>
                      </c:pt>
                      <c:pt idx="2508">
                        <c:v>38230</c:v>
                      </c:pt>
                      <c:pt idx="2509">
                        <c:v>38231</c:v>
                      </c:pt>
                      <c:pt idx="2510">
                        <c:v>38232</c:v>
                      </c:pt>
                      <c:pt idx="2511">
                        <c:v>38233</c:v>
                      </c:pt>
                      <c:pt idx="2512">
                        <c:v>38236</c:v>
                      </c:pt>
                      <c:pt idx="2513">
                        <c:v>38237</c:v>
                      </c:pt>
                      <c:pt idx="2514">
                        <c:v>38238</c:v>
                      </c:pt>
                      <c:pt idx="2515">
                        <c:v>38239</c:v>
                      </c:pt>
                      <c:pt idx="2516">
                        <c:v>38240</c:v>
                      </c:pt>
                      <c:pt idx="2517">
                        <c:v>38243</c:v>
                      </c:pt>
                      <c:pt idx="2518">
                        <c:v>38244</c:v>
                      </c:pt>
                      <c:pt idx="2519">
                        <c:v>38245</c:v>
                      </c:pt>
                      <c:pt idx="2520">
                        <c:v>38246</c:v>
                      </c:pt>
                      <c:pt idx="2521">
                        <c:v>38247</c:v>
                      </c:pt>
                      <c:pt idx="2522">
                        <c:v>38250</c:v>
                      </c:pt>
                      <c:pt idx="2523">
                        <c:v>38251</c:v>
                      </c:pt>
                      <c:pt idx="2524">
                        <c:v>38252</c:v>
                      </c:pt>
                      <c:pt idx="2525">
                        <c:v>38253</c:v>
                      </c:pt>
                      <c:pt idx="2526">
                        <c:v>38254</c:v>
                      </c:pt>
                      <c:pt idx="2527">
                        <c:v>38257</c:v>
                      </c:pt>
                      <c:pt idx="2528">
                        <c:v>38258</c:v>
                      </c:pt>
                      <c:pt idx="2529">
                        <c:v>38259</c:v>
                      </c:pt>
                      <c:pt idx="2530">
                        <c:v>38260</c:v>
                      </c:pt>
                      <c:pt idx="2531">
                        <c:v>38261</c:v>
                      </c:pt>
                      <c:pt idx="2532">
                        <c:v>38264</c:v>
                      </c:pt>
                      <c:pt idx="2533">
                        <c:v>38265</c:v>
                      </c:pt>
                      <c:pt idx="2534">
                        <c:v>38266</c:v>
                      </c:pt>
                      <c:pt idx="2535">
                        <c:v>38267</c:v>
                      </c:pt>
                      <c:pt idx="2536">
                        <c:v>38268</c:v>
                      </c:pt>
                      <c:pt idx="2537">
                        <c:v>38271</c:v>
                      </c:pt>
                      <c:pt idx="2538">
                        <c:v>38272</c:v>
                      </c:pt>
                      <c:pt idx="2539">
                        <c:v>38273</c:v>
                      </c:pt>
                      <c:pt idx="2540">
                        <c:v>38274</c:v>
                      </c:pt>
                      <c:pt idx="2541">
                        <c:v>38275</c:v>
                      </c:pt>
                      <c:pt idx="2542">
                        <c:v>38278</c:v>
                      </c:pt>
                      <c:pt idx="2543">
                        <c:v>38279</c:v>
                      </c:pt>
                      <c:pt idx="2544">
                        <c:v>38280</c:v>
                      </c:pt>
                      <c:pt idx="2545">
                        <c:v>38281</c:v>
                      </c:pt>
                      <c:pt idx="2546">
                        <c:v>38282</c:v>
                      </c:pt>
                      <c:pt idx="2547">
                        <c:v>38285</c:v>
                      </c:pt>
                      <c:pt idx="2548">
                        <c:v>38286</c:v>
                      </c:pt>
                      <c:pt idx="2549">
                        <c:v>38287</c:v>
                      </c:pt>
                      <c:pt idx="2550">
                        <c:v>38288</c:v>
                      </c:pt>
                      <c:pt idx="2551">
                        <c:v>38289</c:v>
                      </c:pt>
                      <c:pt idx="2552">
                        <c:v>38292</c:v>
                      </c:pt>
                      <c:pt idx="2553">
                        <c:v>38293</c:v>
                      </c:pt>
                      <c:pt idx="2554">
                        <c:v>38294</c:v>
                      </c:pt>
                      <c:pt idx="2555">
                        <c:v>38295</c:v>
                      </c:pt>
                      <c:pt idx="2556">
                        <c:v>38296</c:v>
                      </c:pt>
                      <c:pt idx="2557">
                        <c:v>38299</c:v>
                      </c:pt>
                      <c:pt idx="2558">
                        <c:v>38300</c:v>
                      </c:pt>
                      <c:pt idx="2559">
                        <c:v>38301</c:v>
                      </c:pt>
                      <c:pt idx="2560">
                        <c:v>38302</c:v>
                      </c:pt>
                      <c:pt idx="2561">
                        <c:v>38303</c:v>
                      </c:pt>
                      <c:pt idx="2562">
                        <c:v>38306</c:v>
                      </c:pt>
                      <c:pt idx="2563">
                        <c:v>38307</c:v>
                      </c:pt>
                      <c:pt idx="2564">
                        <c:v>38308</c:v>
                      </c:pt>
                      <c:pt idx="2565">
                        <c:v>38309</c:v>
                      </c:pt>
                      <c:pt idx="2566">
                        <c:v>38310</c:v>
                      </c:pt>
                      <c:pt idx="2567">
                        <c:v>38313</c:v>
                      </c:pt>
                      <c:pt idx="2568">
                        <c:v>38314</c:v>
                      </c:pt>
                      <c:pt idx="2569">
                        <c:v>38315</c:v>
                      </c:pt>
                      <c:pt idx="2570">
                        <c:v>38316</c:v>
                      </c:pt>
                      <c:pt idx="2571">
                        <c:v>38317</c:v>
                      </c:pt>
                      <c:pt idx="2572">
                        <c:v>38320</c:v>
                      </c:pt>
                      <c:pt idx="2573">
                        <c:v>38321</c:v>
                      </c:pt>
                      <c:pt idx="2574">
                        <c:v>38322</c:v>
                      </c:pt>
                      <c:pt idx="2575">
                        <c:v>38323</c:v>
                      </c:pt>
                      <c:pt idx="2576">
                        <c:v>38324</c:v>
                      </c:pt>
                      <c:pt idx="2577">
                        <c:v>38327</c:v>
                      </c:pt>
                      <c:pt idx="2578">
                        <c:v>38328</c:v>
                      </c:pt>
                      <c:pt idx="2579">
                        <c:v>38329</c:v>
                      </c:pt>
                      <c:pt idx="2580">
                        <c:v>38330</c:v>
                      </c:pt>
                      <c:pt idx="2581">
                        <c:v>38331</c:v>
                      </c:pt>
                      <c:pt idx="2582">
                        <c:v>38334</c:v>
                      </c:pt>
                      <c:pt idx="2583">
                        <c:v>38335</c:v>
                      </c:pt>
                      <c:pt idx="2584">
                        <c:v>38336</c:v>
                      </c:pt>
                      <c:pt idx="2585">
                        <c:v>38337</c:v>
                      </c:pt>
                      <c:pt idx="2586">
                        <c:v>38338</c:v>
                      </c:pt>
                      <c:pt idx="2587">
                        <c:v>38341</c:v>
                      </c:pt>
                      <c:pt idx="2588">
                        <c:v>38342</c:v>
                      </c:pt>
                      <c:pt idx="2589">
                        <c:v>38343</c:v>
                      </c:pt>
                      <c:pt idx="2590">
                        <c:v>38344</c:v>
                      </c:pt>
                      <c:pt idx="2591">
                        <c:v>38345</c:v>
                      </c:pt>
                      <c:pt idx="2592">
                        <c:v>38348</c:v>
                      </c:pt>
                      <c:pt idx="2593">
                        <c:v>38349</c:v>
                      </c:pt>
                      <c:pt idx="2594">
                        <c:v>38350</c:v>
                      </c:pt>
                      <c:pt idx="2595">
                        <c:v>38351</c:v>
                      </c:pt>
                      <c:pt idx="2596">
                        <c:v>38352</c:v>
                      </c:pt>
                      <c:pt idx="2597">
                        <c:v>38355</c:v>
                      </c:pt>
                      <c:pt idx="2598">
                        <c:v>38356</c:v>
                      </c:pt>
                      <c:pt idx="2599">
                        <c:v>38357</c:v>
                      </c:pt>
                      <c:pt idx="2600">
                        <c:v>38358</c:v>
                      </c:pt>
                      <c:pt idx="2601">
                        <c:v>38359</c:v>
                      </c:pt>
                      <c:pt idx="2602">
                        <c:v>38362</c:v>
                      </c:pt>
                      <c:pt idx="2603">
                        <c:v>38363</c:v>
                      </c:pt>
                      <c:pt idx="2604">
                        <c:v>38364</c:v>
                      </c:pt>
                      <c:pt idx="2605">
                        <c:v>38365</c:v>
                      </c:pt>
                      <c:pt idx="2606">
                        <c:v>38366</c:v>
                      </c:pt>
                      <c:pt idx="2607">
                        <c:v>38369</c:v>
                      </c:pt>
                      <c:pt idx="2608">
                        <c:v>38370</c:v>
                      </c:pt>
                      <c:pt idx="2609">
                        <c:v>38371</c:v>
                      </c:pt>
                      <c:pt idx="2610">
                        <c:v>38372</c:v>
                      </c:pt>
                      <c:pt idx="2611">
                        <c:v>38373</c:v>
                      </c:pt>
                      <c:pt idx="2612">
                        <c:v>38376</c:v>
                      </c:pt>
                      <c:pt idx="2613">
                        <c:v>38377</c:v>
                      </c:pt>
                      <c:pt idx="2614">
                        <c:v>38378</c:v>
                      </c:pt>
                      <c:pt idx="2615">
                        <c:v>38379</c:v>
                      </c:pt>
                      <c:pt idx="2616">
                        <c:v>38380</c:v>
                      </c:pt>
                      <c:pt idx="2617">
                        <c:v>38383</c:v>
                      </c:pt>
                      <c:pt idx="2618">
                        <c:v>38384</c:v>
                      </c:pt>
                      <c:pt idx="2619">
                        <c:v>38385</c:v>
                      </c:pt>
                      <c:pt idx="2620">
                        <c:v>38386</c:v>
                      </c:pt>
                      <c:pt idx="2621">
                        <c:v>38387</c:v>
                      </c:pt>
                      <c:pt idx="2622">
                        <c:v>38390</c:v>
                      </c:pt>
                      <c:pt idx="2623">
                        <c:v>38391</c:v>
                      </c:pt>
                      <c:pt idx="2624">
                        <c:v>38392</c:v>
                      </c:pt>
                      <c:pt idx="2625">
                        <c:v>38393</c:v>
                      </c:pt>
                      <c:pt idx="2626">
                        <c:v>38394</c:v>
                      </c:pt>
                      <c:pt idx="2627">
                        <c:v>38397</c:v>
                      </c:pt>
                      <c:pt idx="2628">
                        <c:v>38398</c:v>
                      </c:pt>
                      <c:pt idx="2629">
                        <c:v>38399</c:v>
                      </c:pt>
                      <c:pt idx="2630">
                        <c:v>38400</c:v>
                      </c:pt>
                      <c:pt idx="2631">
                        <c:v>38401</c:v>
                      </c:pt>
                      <c:pt idx="2632">
                        <c:v>38404</c:v>
                      </c:pt>
                      <c:pt idx="2633">
                        <c:v>38405</c:v>
                      </c:pt>
                      <c:pt idx="2634">
                        <c:v>38406</c:v>
                      </c:pt>
                      <c:pt idx="2635">
                        <c:v>38407</c:v>
                      </c:pt>
                      <c:pt idx="2636">
                        <c:v>38408</c:v>
                      </c:pt>
                      <c:pt idx="2637">
                        <c:v>38411</c:v>
                      </c:pt>
                      <c:pt idx="2638">
                        <c:v>38412</c:v>
                      </c:pt>
                      <c:pt idx="2639">
                        <c:v>38413</c:v>
                      </c:pt>
                      <c:pt idx="2640">
                        <c:v>38414</c:v>
                      </c:pt>
                      <c:pt idx="2641">
                        <c:v>38415</c:v>
                      </c:pt>
                      <c:pt idx="2642">
                        <c:v>38418</c:v>
                      </c:pt>
                      <c:pt idx="2643">
                        <c:v>38419</c:v>
                      </c:pt>
                      <c:pt idx="2644">
                        <c:v>38420</c:v>
                      </c:pt>
                      <c:pt idx="2645">
                        <c:v>38421</c:v>
                      </c:pt>
                      <c:pt idx="2646">
                        <c:v>38422</c:v>
                      </c:pt>
                      <c:pt idx="2647">
                        <c:v>38425</c:v>
                      </c:pt>
                      <c:pt idx="2648">
                        <c:v>38426</c:v>
                      </c:pt>
                      <c:pt idx="2649">
                        <c:v>38427</c:v>
                      </c:pt>
                      <c:pt idx="2650">
                        <c:v>38428</c:v>
                      </c:pt>
                      <c:pt idx="2651">
                        <c:v>38429</c:v>
                      </c:pt>
                      <c:pt idx="2652">
                        <c:v>38432</c:v>
                      </c:pt>
                      <c:pt idx="2653">
                        <c:v>38433</c:v>
                      </c:pt>
                      <c:pt idx="2654">
                        <c:v>38434</c:v>
                      </c:pt>
                      <c:pt idx="2655">
                        <c:v>38435</c:v>
                      </c:pt>
                      <c:pt idx="2656">
                        <c:v>38436</c:v>
                      </c:pt>
                      <c:pt idx="2657">
                        <c:v>38439</c:v>
                      </c:pt>
                      <c:pt idx="2658">
                        <c:v>38440</c:v>
                      </c:pt>
                      <c:pt idx="2659">
                        <c:v>38441</c:v>
                      </c:pt>
                      <c:pt idx="2660">
                        <c:v>38442</c:v>
                      </c:pt>
                      <c:pt idx="2661">
                        <c:v>38443</c:v>
                      </c:pt>
                      <c:pt idx="2662">
                        <c:v>38446</c:v>
                      </c:pt>
                      <c:pt idx="2663">
                        <c:v>38447</c:v>
                      </c:pt>
                      <c:pt idx="2664">
                        <c:v>38448</c:v>
                      </c:pt>
                      <c:pt idx="2665">
                        <c:v>38449</c:v>
                      </c:pt>
                      <c:pt idx="2666">
                        <c:v>38450</c:v>
                      </c:pt>
                      <c:pt idx="2667">
                        <c:v>38453</c:v>
                      </c:pt>
                      <c:pt idx="2668">
                        <c:v>38454</c:v>
                      </c:pt>
                      <c:pt idx="2669">
                        <c:v>38455</c:v>
                      </c:pt>
                      <c:pt idx="2670">
                        <c:v>38456</c:v>
                      </c:pt>
                      <c:pt idx="2671">
                        <c:v>38457</c:v>
                      </c:pt>
                      <c:pt idx="2672">
                        <c:v>38460</c:v>
                      </c:pt>
                      <c:pt idx="2673">
                        <c:v>38461</c:v>
                      </c:pt>
                      <c:pt idx="2674">
                        <c:v>38462</c:v>
                      </c:pt>
                      <c:pt idx="2675">
                        <c:v>38463</c:v>
                      </c:pt>
                      <c:pt idx="2676">
                        <c:v>38464</c:v>
                      </c:pt>
                      <c:pt idx="2677">
                        <c:v>38467</c:v>
                      </c:pt>
                      <c:pt idx="2678">
                        <c:v>38468</c:v>
                      </c:pt>
                      <c:pt idx="2679">
                        <c:v>38469</c:v>
                      </c:pt>
                      <c:pt idx="2680">
                        <c:v>38470</c:v>
                      </c:pt>
                      <c:pt idx="2681">
                        <c:v>38471</c:v>
                      </c:pt>
                      <c:pt idx="2682">
                        <c:v>38474</c:v>
                      </c:pt>
                      <c:pt idx="2683">
                        <c:v>38475</c:v>
                      </c:pt>
                      <c:pt idx="2684">
                        <c:v>38476</c:v>
                      </c:pt>
                      <c:pt idx="2685">
                        <c:v>38477</c:v>
                      </c:pt>
                      <c:pt idx="2686">
                        <c:v>38478</c:v>
                      </c:pt>
                      <c:pt idx="2687">
                        <c:v>38481</c:v>
                      </c:pt>
                      <c:pt idx="2688">
                        <c:v>38482</c:v>
                      </c:pt>
                      <c:pt idx="2689">
                        <c:v>38483</c:v>
                      </c:pt>
                      <c:pt idx="2690">
                        <c:v>38484</c:v>
                      </c:pt>
                      <c:pt idx="2691">
                        <c:v>38485</c:v>
                      </c:pt>
                      <c:pt idx="2692">
                        <c:v>38488</c:v>
                      </c:pt>
                      <c:pt idx="2693">
                        <c:v>38489</c:v>
                      </c:pt>
                      <c:pt idx="2694">
                        <c:v>38490</c:v>
                      </c:pt>
                      <c:pt idx="2695">
                        <c:v>38491</c:v>
                      </c:pt>
                      <c:pt idx="2696">
                        <c:v>38492</c:v>
                      </c:pt>
                      <c:pt idx="2697">
                        <c:v>38495</c:v>
                      </c:pt>
                      <c:pt idx="2698">
                        <c:v>38496</c:v>
                      </c:pt>
                      <c:pt idx="2699">
                        <c:v>38497</c:v>
                      </c:pt>
                      <c:pt idx="2700">
                        <c:v>38498</c:v>
                      </c:pt>
                      <c:pt idx="2701">
                        <c:v>38499</c:v>
                      </c:pt>
                      <c:pt idx="2702">
                        <c:v>38502</c:v>
                      </c:pt>
                      <c:pt idx="2703">
                        <c:v>38503</c:v>
                      </c:pt>
                      <c:pt idx="2704">
                        <c:v>38504</c:v>
                      </c:pt>
                      <c:pt idx="2705">
                        <c:v>38505</c:v>
                      </c:pt>
                      <c:pt idx="2706">
                        <c:v>38506</c:v>
                      </c:pt>
                      <c:pt idx="2707">
                        <c:v>38509</c:v>
                      </c:pt>
                      <c:pt idx="2708">
                        <c:v>38510</c:v>
                      </c:pt>
                      <c:pt idx="2709">
                        <c:v>38511</c:v>
                      </c:pt>
                      <c:pt idx="2710">
                        <c:v>38512</c:v>
                      </c:pt>
                      <c:pt idx="2711">
                        <c:v>38513</c:v>
                      </c:pt>
                      <c:pt idx="2712">
                        <c:v>38516</c:v>
                      </c:pt>
                      <c:pt idx="2713">
                        <c:v>38517</c:v>
                      </c:pt>
                      <c:pt idx="2714">
                        <c:v>38518</c:v>
                      </c:pt>
                      <c:pt idx="2715">
                        <c:v>38519</c:v>
                      </c:pt>
                      <c:pt idx="2716">
                        <c:v>38520</c:v>
                      </c:pt>
                      <c:pt idx="2717">
                        <c:v>38523</c:v>
                      </c:pt>
                      <c:pt idx="2718">
                        <c:v>38524</c:v>
                      </c:pt>
                      <c:pt idx="2719">
                        <c:v>38525</c:v>
                      </c:pt>
                      <c:pt idx="2720">
                        <c:v>38526</c:v>
                      </c:pt>
                      <c:pt idx="2721">
                        <c:v>38527</c:v>
                      </c:pt>
                      <c:pt idx="2722">
                        <c:v>38530</c:v>
                      </c:pt>
                      <c:pt idx="2723">
                        <c:v>38531</c:v>
                      </c:pt>
                      <c:pt idx="2724">
                        <c:v>38532</c:v>
                      </c:pt>
                      <c:pt idx="2725">
                        <c:v>38533</c:v>
                      </c:pt>
                      <c:pt idx="2726">
                        <c:v>38534</c:v>
                      </c:pt>
                      <c:pt idx="2727">
                        <c:v>38537</c:v>
                      </c:pt>
                      <c:pt idx="2728">
                        <c:v>38538</c:v>
                      </c:pt>
                      <c:pt idx="2729">
                        <c:v>38539</c:v>
                      </c:pt>
                      <c:pt idx="2730">
                        <c:v>38540</c:v>
                      </c:pt>
                      <c:pt idx="2731">
                        <c:v>38541</c:v>
                      </c:pt>
                      <c:pt idx="2732">
                        <c:v>38544</c:v>
                      </c:pt>
                      <c:pt idx="2733">
                        <c:v>38545</c:v>
                      </c:pt>
                      <c:pt idx="2734">
                        <c:v>38546</c:v>
                      </c:pt>
                      <c:pt idx="2735">
                        <c:v>38547</c:v>
                      </c:pt>
                      <c:pt idx="2736">
                        <c:v>38548</c:v>
                      </c:pt>
                      <c:pt idx="2737">
                        <c:v>38551</c:v>
                      </c:pt>
                      <c:pt idx="2738">
                        <c:v>38552</c:v>
                      </c:pt>
                      <c:pt idx="2739">
                        <c:v>38553</c:v>
                      </c:pt>
                      <c:pt idx="2740">
                        <c:v>38554</c:v>
                      </c:pt>
                      <c:pt idx="2741">
                        <c:v>38555</c:v>
                      </c:pt>
                      <c:pt idx="2742">
                        <c:v>38558</c:v>
                      </c:pt>
                      <c:pt idx="2743">
                        <c:v>38559</c:v>
                      </c:pt>
                      <c:pt idx="2744">
                        <c:v>38560</c:v>
                      </c:pt>
                      <c:pt idx="2745">
                        <c:v>38561</c:v>
                      </c:pt>
                      <c:pt idx="2746">
                        <c:v>38562</c:v>
                      </c:pt>
                      <c:pt idx="2747">
                        <c:v>38565</c:v>
                      </c:pt>
                      <c:pt idx="2748">
                        <c:v>38566</c:v>
                      </c:pt>
                      <c:pt idx="2749">
                        <c:v>38567</c:v>
                      </c:pt>
                      <c:pt idx="2750">
                        <c:v>38568</c:v>
                      </c:pt>
                      <c:pt idx="2751">
                        <c:v>38569</c:v>
                      </c:pt>
                      <c:pt idx="2752">
                        <c:v>38572</c:v>
                      </c:pt>
                      <c:pt idx="2753">
                        <c:v>38573</c:v>
                      </c:pt>
                      <c:pt idx="2754">
                        <c:v>38574</c:v>
                      </c:pt>
                      <c:pt idx="2755">
                        <c:v>38575</c:v>
                      </c:pt>
                      <c:pt idx="2756">
                        <c:v>38576</c:v>
                      </c:pt>
                      <c:pt idx="2757">
                        <c:v>38579</c:v>
                      </c:pt>
                      <c:pt idx="2758">
                        <c:v>38580</c:v>
                      </c:pt>
                      <c:pt idx="2759">
                        <c:v>38581</c:v>
                      </c:pt>
                      <c:pt idx="2760">
                        <c:v>38582</c:v>
                      </c:pt>
                      <c:pt idx="2761">
                        <c:v>38583</c:v>
                      </c:pt>
                      <c:pt idx="2762">
                        <c:v>38586</c:v>
                      </c:pt>
                      <c:pt idx="2763">
                        <c:v>38587</c:v>
                      </c:pt>
                      <c:pt idx="2764">
                        <c:v>38588</c:v>
                      </c:pt>
                      <c:pt idx="2765">
                        <c:v>38589</c:v>
                      </c:pt>
                      <c:pt idx="2766">
                        <c:v>38590</c:v>
                      </c:pt>
                      <c:pt idx="2767">
                        <c:v>38593</c:v>
                      </c:pt>
                      <c:pt idx="2768">
                        <c:v>38594</c:v>
                      </c:pt>
                      <c:pt idx="2769">
                        <c:v>38595</c:v>
                      </c:pt>
                      <c:pt idx="2770">
                        <c:v>38596</c:v>
                      </c:pt>
                      <c:pt idx="2771">
                        <c:v>38597</c:v>
                      </c:pt>
                      <c:pt idx="2772">
                        <c:v>38600</c:v>
                      </c:pt>
                      <c:pt idx="2773">
                        <c:v>38601</c:v>
                      </c:pt>
                      <c:pt idx="2774">
                        <c:v>38602</c:v>
                      </c:pt>
                      <c:pt idx="2775">
                        <c:v>38603</c:v>
                      </c:pt>
                      <c:pt idx="2776">
                        <c:v>38604</c:v>
                      </c:pt>
                      <c:pt idx="2777">
                        <c:v>38607</c:v>
                      </c:pt>
                      <c:pt idx="2778">
                        <c:v>38608</c:v>
                      </c:pt>
                      <c:pt idx="2779">
                        <c:v>38609</c:v>
                      </c:pt>
                      <c:pt idx="2780">
                        <c:v>38610</c:v>
                      </c:pt>
                      <c:pt idx="2781">
                        <c:v>38611</c:v>
                      </c:pt>
                      <c:pt idx="2782">
                        <c:v>38614</c:v>
                      </c:pt>
                      <c:pt idx="2783">
                        <c:v>38615</c:v>
                      </c:pt>
                      <c:pt idx="2784">
                        <c:v>38616</c:v>
                      </c:pt>
                      <c:pt idx="2785">
                        <c:v>38617</c:v>
                      </c:pt>
                      <c:pt idx="2786">
                        <c:v>38618</c:v>
                      </c:pt>
                      <c:pt idx="2787">
                        <c:v>38621</c:v>
                      </c:pt>
                      <c:pt idx="2788">
                        <c:v>38622</c:v>
                      </c:pt>
                      <c:pt idx="2789">
                        <c:v>38623</c:v>
                      </c:pt>
                      <c:pt idx="2790">
                        <c:v>38624</c:v>
                      </c:pt>
                      <c:pt idx="2791">
                        <c:v>38625</c:v>
                      </c:pt>
                      <c:pt idx="2792">
                        <c:v>38628</c:v>
                      </c:pt>
                      <c:pt idx="2793">
                        <c:v>38629</c:v>
                      </c:pt>
                      <c:pt idx="2794">
                        <c:v>38630</c:v>
                      </c:pt>
                      <c:pt idx="2795">
                        <c:v>38631</c:v>
                      </c:pt>
                      <c:pt idx="2796">
                        <c:v>38632</c:v>
                      </c:pt>
                      <c:pt idx="2797">
                        <c:v>38635</c:v>
                      </c:pt>
                      <c:pt idx="2798">
                        <c:v>38636</c:v>
                      </c:pt>
                      <c:pt idx="2799">
                        <c:v>38637</c:v>
                      </c:pt>
                      <c:pt idx="2800">
                        <c:v>38638</c:v>
                      </c:pt>
                      <c:pt idx="2801">
                        <c:v>38639</c:v>
                      </c:pt>
                      <c:pt idx="2802">
                        <c:v>38642</c:v>
                      </c:pt>
                      <c:pt idx="2803">
                        <c:v>38643</c:v>
                      </c:pt>
                      <c:pt idx="2804">
                        <c:v>38644</c:v>
                      </c:pt>
                      <c:pt idx="2805">
                        <c:v>38645</c:v>
                      </c:pt>
                      <c:pt idx="2806">
                        <c:v>38646</c:v>
                      </c:pt>
                      <c:pt idx="2807">
                        <c:v>38649</c:v>
                      </c:pt>
                      <c:pt idx="2808">
                        <c:v>38650</c:v>
                      </c:pt>
                      <c:pt idx="2809">
                        <c:v>38651</c:v>
                      </c:pt>
                      <c:pt idx="2810">
                        <c:v>38652</c:v>
                      </c:pt>
                      <c:pt idx="2811">
                        <c:v>38653</c:v>
                      </c:pt>
                      <c:pt idx="2812">
                        <c:v>38656</c:v>
                      </c:pt>
                      <c:pt idx="2813">
                        <c:v>38657</c:v>
                      </c:pt>
                      <c:pt idx="2814">
                        <c:v>38658</c:v>
                      </c:pt>
                      <c:pt idx="2815">
                        <c:v>38659</c:v>
                      </c:pt>
                      <c:pt idx="2816">
                        <c:v>38660</c:v>
                      </c:pt>
                      <c:pt idx="2817">
                        <c:v>38663</c:v>
                      </c:pt>
                      <c:pt idx="2818">
                        <c:v>38664</c:v>
                      </c:pt>
                      <c:pt idx="2819">
                        <c:v>38665</c:v>
                      </c:pt>
                      <c:pt idx="2820">
                        <c:v>38666</c:v>
                      </c:pt>
                      <c:pt idx="2821">
                        <c:v>38667</c:v>
                      </c:pt>
                      <c:pt idx="2822">
                        <c:v>38670</c:v>
                      </c:pt>
                      <c:pt idx="2823">
                        <c:v>38671</c:v>
                      </c:pt>
                      <c:pt idx="2824">
                        <c:v>38672</c:v>
                      </c:pt>
                      <c:pt idx="2825">
                        <c:v>38673</c:v>
                      </c:pt>
                      <c:pt idx="2826">
                        <c:v>38674</c:v>
                      </c:pt>
                      <c:pt idx="2827">
                        <c:v>38677</c:v>
                      </c:pt>
                      <c:pt idx="2828">
                        <c:v>38678</c:v>
                      </c:pt>
                      <c:pt idx="2829">
                        <c:v>38679</c:v>
                      </c:pt>
                      <c:pt idx="2830">
                        <c:v>38680</c:v>
                      </c:pt>
                      <c:pt idx="2831">
                        <c:v>38681</c:v>
                      </c:pt>
                      <c:pt idx="2832">
                        <c:v>38684</c:v>
                      </c:pt>
                      <c:pt idx="2833">
                        <c:v>38685</c:v>
                      </c:pt>
                      <c:pt idx="2834">
                        <c:v>38686</c:v>
                      </c:pt>
                      <c:pt idx="2835">
                        <c:v>38687</c:v>
                      </c:pt>
                      <c:pt idx="2836">
                        <c:v>38688</c:v>
                      </c:pt>
                      <c:pt idx="2837">
                        <c:v>38691</c:v>
                      </c:pt>
                      <c:pt idx="2838">
                        <c:v>38692</c:v>
                      </c:pt>
                      <c:pt idx="2839">
                        <c:v>38693</c:v>
                      </c:pt>
                      <c:pt idx="2840">
                        <c:v>38694</c:v>
                      </c:pt>
                      <c:pt idx="2841">
                        <c:v>38695</c:v>
                      </c:pt>
                      <c:pt idx="2842">
                        <c:v>38698</c:v>
                      </c:pt>
                      <c:pt idx="2843">
                        <c:v>38699</c:v>
                      </c:pt>
                      <c:pt idx="2844">
                        <c:v>38700</c:v>
                      </c:pt>
                      <c:pt idx="2845">
                        <c:v>38701</c:v>
                      </c:pt>
                      <c:pt idx="2846">
                        <c:v>38702</c:v>
                      </c:pt>
                      <c:pt idx="2847">
                        <c:v>38705</c:v>
                      </c:pt>
                      <c:pt idx="2848">
                        <c:v>38706</c:v>
                      </c:pt>
                      <c:pt idx="2849">
                        <c:v>38707</c:v>
                      </c:pt>
                      <c:pt idx="2850">
                        <c:v>38708</c:v>
                      </c:pt>
                      <c:pt idx="2851">
                        <c:v>38709</c:v>
                      </c:pt>
                      <c:pt idx="2852">
                        <c:v>38712</c:v>
                      </c:pt>
                      <c:pt idx="2853">
                        <c:v>38713</c:v>
                      </c:pt>
                      <c:pt idx="2854">
                        <c:v>38714</c:v>
                      </c:pt>
                      <c:pt idx="2855">
                        <c:v>38715</c:v>
                      </c:pt>
                      <c:pt idx="2856">
                        <c:v>38716</c:v>
                      </c:pt>
                      <c:pt idx="2857">
                        <c:v>38719</c:v>
                      </c:pt>
                      <c:pt idx="2858">
                        <c:v>38720</c:v>
                      </c:pt>
                      <c:pt idx="2859">
                        <c:v>38721</c:v>
                      </c:pt>
                      <c:pt idx="2860">
                        <c:v>38722</c:v>
                      </c:pt>
                      <c:pt idx="2861">
                        <c:v>38723</c:v>
                      </c:pt>
                      <c:pt idx="2862">
                        <c:v>38726</c:v>
                      </c:pt>
                      <c:pt idx="2863">
                        <c:v>38727</c:v>
                      </c:pt>
                      <c:pt idx="2864">
                        <c:v>38728</c:v>
                      </c:pt>
                      <c:pt idx="2865">
                        <c:v>38729</c:v>
                      </c:pt>
                      <c:pt idx="2866">
                        <c:v>38730</c:v>
                      </c:pt>
                      <c:pt idx="2867">
                        <c:v>38733</c:v>
                      </c:pt>
                      <c:pt idx="2868">
                        <c:v>38734</c:v>
                      </c:pt>
                      <c:pt idx="2869">
                        <c:v>38735</c:v>
                      </c:pt>
                      <c:pt idx="2870">
                        <c:v>38736</c:v>
                      </c:pt>
                      <c:pt idx="2871">
                        <c:v>38737</c:v>
                      </c:pt>
                      <c:pt idx="2872">
                        <c:v>38740</c:v>
                      </c:pt>
                      <c:pt idx="2873">
                        <c:v>38741</c:v>
                      </c:pt>
                      <c:pt idx="2874">
                        <c:v>38742</c:v>
                      </c:pt>
                      <c:pt idx="2875">
                        <c:v>38743</c:v>
                      </c:pt>
                      <c:pt idx="2876">
                        <c:v>38744</c:v>
                      </c:pt>
                      <c:pt idx="2877">
                        <c:v>38747</c:v>
                      </c:pt>
                      <c:pt idx="2878">
                        <c:v>38748</c:v>
                      </c:pt>
                      <c:pt idx="2879">
                        <c:v>38749</c:v>
                      </c:pt>
                      <c:pt idx="2880">
                        <c:v>38750</c:v>
                      </c:pt>
                      <c:pt idx="2881">
                        <c:v>38751</c:v>
                      </c:pt>
                      <c:pt idx="2882">
                        <c:v>38754</c:v>
                      </c:pt>
                      <c:pt idx="2883">
                        <c:v>38755</c:v>
                      </c:pt>
                      <c:pt idx="2884">
                        <c:v>38756</c:v>
                      </c:pt>
                      <c:pt idx="2885">
                        <c:v>38757</c:v>
                      </c:pt>
                      <c:pt idx="2886">
                        <c:v>38758</c:v>
                      </c:pt>
                      <c:pt idx="2887">
                        <c:v>38761</c:v>
                      </c:pt>
                      <c:pt idx="2888">
                        <c:v>38762</c:v>
                      </c:pt>
                      <c:pt idx="2889">
                        <c:v>38763</c:v>
                      </c:pt>
                      <c:pt idx="2890">
                        <c:v>38764</c:v>
                      </c:pt>
                      <c:pt idx="2891">
                        <c:v>38765</c:v>
                      </c:pt>
                      <c:pt idx="2892">
                        <c:v>38768</c:v>
                      </c:pt>
                      <c:pt idx="2893">
                        <c:v>38769</c:v>
                      </c:pt>
                      <c:pt idx="2894">
                        <c:v>38770</c:v>
                      </c:pt>
                      <c:pt idx="2895">
                        <c:v>38771</c:v>
                      </c:pt>
                      <c:pt idx="2896">
                        <c:v>38772</c:v>
                      </c:pt>
                      <c:pt idx="2897">
                        <c:v>38775</c:v>
                      </c:pt>
                      <c:pt idx="2898">
                        <c:v>38776</c:v>
                      </c:pt>
                      <c:pt idx="2899">
                        <c:v>38777</c:v>
                      </c:pt>
                      <c:pt idx="2900">
                        <c:v>38778</c:v>
                      </c:pt>
                      <c:pt idx="2901">
                        <c:v>38779</c:v>
                      </c:pt>
                      <c:pt idx="2902">
                        <c:v>38782</c:v>
                      </c:pt>
                      <c:pt idx="2903">
                        <c:v>38783</c:v>
                      </c:pt>
                      <c:pt idx="2904">
                        <c:v>38784</c:v>
                      </c:pt>
                      <c:pt idx="2905">
                        <c:v>38785</c:v>
                      </c:pt>
                      <c:pt idx="2906">
                        <c:v>38786</c:v>
                      </c:pt>
                      <c:pt idx="2907">
                        <c:v>38789</c:v>
                      </c:pt>
                      <c:pt idx="2908">
                        <c:v>38790</c:v>
                      </c:pt>
                      <c:pt idx="2909">
                        <c:v>38791</c:v>
                      </c:pt>
                      <c:pt idx="2910">
                        <c:v>38792</c:v>
                      </c:pt>
                      <c:pt idx="2911">
                        <c:v>38793</c:v>
                      </c:pt>
                      <c:pt idx="2912">
                        <c:v>38796</c:v>
                      </c:pt>
                      <c:pt idx="2913">
                        <c:v>38797</c:v>
                      </c:pt>
                      <c:pt idx="2914">
                        <c:v>38798</c:v>
                      </c:pt>
                      <c:pt idx="2915">
                        <c:v>38799</c:v>
                      </c:pt>
                      <c:pt idx="2916">
                        <c:v>38800</c:v>
                      </c:pt>
                      <c:pt idx="2917">
                        <c:v>38803</c:v>
                      </c:pt>
                      <c:pt idx="2918">
                        <c:v>38804</c:v>
                      </c:pt>
                      <c:pt idx="2919">
                        <c:v>38805</c:v>
                      </c:pt>
                      <c:pt idx="2920">
                        <c:v>38806</c:v>
                      </c:pt>
                      <c:pt idx="2921">
                        <c:v>38807</c:v>
                      </c:pt>
                      <c:pt idx="2922">
                        <c:v>38810</c:v>
                      </c:pt>
                      <c:pt idx="2923">
                        <c:v>38811</c:v>
                      </c:pt>
                      <c:pt idx="2924">
                        <c:v>38812</c:v>
                      </c:pt>
                      <c:pt idx="2925">
                        <c:v>38813</c:v>
                      </c:pt>
                      <c:pt idx="2926">
                        <c:v>38814</c:v>
                      </c:pt>
                      <c:pt idx="2927">
                        <c:v>38817</c:v>
                      </c:pt>
                      <c:pt idx="2928">
                        <c:v>38818</c:v>
                      </c:pt>
                      <c:pt idx="2929">
                        <c:v>38819</c:v>
                      </c:pt>
                      <c:pt idx="2930">
                        <c:v>38820</c:v>
                      </c:pt>
                      <c:pt idx="2931">
                        <c:v>38821</c:v>
                      </c:pt>
                      <c:pt idx="2932">
                        <c:v>38824</c:v>
                      </c:pt>
                      <c:pt idx="2933">
                        <c:v>38825</c:v>
                      </c:pt>
                      <c:pt idx="2934">
                        <c:v>38826</c:v>
                      </c:pt>
                      <c:pt idx="2935">
                        <c:v>38827</c:v>
                      </c:pt>
                      <c:pt idx="2936">
                        <c:v>38828</c:v>
                      </c:pt>
                      <c:pt idx="2937">
                        <c:v>38831</c:v>
                      </c:pt>
                      <c:pt idx="2938">
                        <c:v>38832</c:v>
                      </c:pt>
                      <c:pt idx="2939">
                        <c:v>38833</c:v>
                      </c:pt>
                      <c:pt idx="2940">
                        <c:v>38834</c:v>
                      </c:pt>
                      <c:pt idx="2941">
                        <c:v>38835</c:v>
                      </c:pt>
                      <c:pt idx="2942">
                        <c:v>38838</c:v>
                      </c:pt>
                      <c:pt idx="2943">
                        <c:v>38839</c:v>
                      </c:pt>
                      <c:pt idx="2944">
                        <c:v>38840</c:v>
                      </c:pt>
                      <c:pt idx="2945">
                        <c:v>38841</c:v>
                      </c:pt>
                      <c:pt idx="2946">
                        <c:v>38842</c:v>
                      </c:pt>
                      <c:pt idx="2947">
                        <c:v>38845</c:v>
                      </c:pt>
                      <c:pt idx="2948">
                        <c:v>38846</c:v>
                      </c:pt>
                      <c:pt idx="2949">
                        <c:v>38847</c:v>
                      </c:pt>
                      <c:pt idx="2950">
                        <c:v>38848</c:v>
                      </c:pt>
                      <c:pt idx="2951">
                        <c:v>38849</c:v>
                      </c:pt>
                      <c:pt idx="2952">
                        <c:v>38852</c:v>
                      </c:pt>
                      <c:pt idx="2953">
                        <c:v>38853</c:v>
                      </c:pt>
                      <c:pt idx="2954">
                        <c:v>38854</c:v>
                      </c:pt>
                      <c:pt idx="2955">
                        <c:v>38855</c:v>
                      </c:pt>
                      <c:pt idx="2956">
                        <c:v>38856</c:v>
                      </c:pt>
                      <c:pt idx="2957">
                        <c:v>38859</c:v>
                      </c:pt>
                      <c:pt idx="2958">
                        <c:v>38860</c:v>
                      </c:pt>
                      <c:pt idx="2959">
                        <c:v>38861</c:v>
                      </c:pt>
                      <c:pt idx="2960">
                        <c:v>38862</c:v>
                      </c:pt>
                      <c:pt idx="2961">
                        <c:v>38863</c:v>
                      </c:pt>
                      <c:pt idx="2962">
                        <c:v>38866</c:v>
                      </c:pt>
                      <c:pt idx="2963">
                        <c:v>38867</c:v>
                      </c:pt>
                      <c:pt idx="2964">
                        <c:v>38868</c:v>
                      </c:pt>
                      <c:pt idx="2965">
                        <c:v>38869</c:v>
                      </c:pt>
                      <c:pt idx="2966">
                        <c:v>38870</c:v>
                      </c:pt>
                      <c:pt idx="2967">
                        <c:v>38873</c:v>
                      </c:pt>
                      <c:pt idx="2968">
                        <c:v>38874</c:v>
                      </c:pt>
                      <c:pt idx="2969">
                        <c:v>38875</c:v>
                      </c:pt>
                      <c:pt idx="2970">
                        <c:v>38876</c:v>
                      </c:pt>
                      <c:pt idx="2971">
                        <c:v>38877</c:v>
                      </c:pt>
                      <c:pt idx="2972">
                        <c:v>38880</c:v>
                      </c:pt>
                      <c:pt idx="2973">
                        <c:v>38881</c:v>
                      </c:pt>
                      <c:pt idx="2974">
                        <c:v>38882</c:v>
                      </c:pt>
                      <c:pt idx="2975">
                        <c:v>38883</c:v>
                      </c:pt>
                      <c:pt idx="2976">
                        <c:v>38884</c:v>
                      </c:pt>
                      <c:pt idx="2977">
                        <c:v>38887</c:v>
                      </c:pt>
                      <c:pt idx="2978">
                        <c:v>38888</c:v>
                      </c:pt>
                      <c:pt idx="2979">
                        <c:v>38889</c:v>
                      </c:pt>
                      <c:pt idx="2980">
                        <c:v>38890</c:v>
                      </c:pt>
                      <c:pt idx="2981">
                        <c:v>38891</c:v>
                      </c:pt>
                      <c:pt idx="2982">
                        <c:v>38894</c:v>
                      </c:pt>
                      <c:pt idx="2983">
                        <c:v>38895</c:v>
                      </c:pt>
                      <c:pt idx="2984">
                        <c:v>38896</c:v>
                      </c:pt>
                      <c:pt idx="2985">
                        <c:v>38897</c:v>
                      </c:pt>
                      <c:pt idx="2986">
                        <c:v>38898</c:v>
                      </c:pt>
                      <c:pt idx="2987">
                        <c:v>38901</c:v>
                      </c:pt>
                      <c:pt idx="2988">
                        <c:v>38902</c:v>
                      </c:pt>
                      <c:pt idx="2989">
                        <c:v>38903</c:v>
                      </c:pt>
                      <c:pt idx="2990">
                        <c:v>38904</c:v>
                      </c:pt>
                      <c:pt idx="2991">
                        <c:v>38905</c:v>
                      </c:pt>
                      <c:pt idx="2992">
                        <c:v>38908</c:v>
                      </c:pt>
                      <c:pt idx="2993">
                        <c:v>38909</c:v>
                      </c:pt>
                      <c:pt idx="2994">
                        <c:v>38910</c:v>
                      </c:pt>
                      <c:pt idx="2995">
                        <c:v>38911</c:v>
                      </c:pt>
                      <c:pt idx="2996">
                        <c:v>38912</c:v>
                      </c:pt>
                      <c:pt idx="2997">
                        <c:v>38915</c:v>
                      </c:pt>
                      <c:pt idx="2998">
                        <c:v>38916</c:v>
                      </c:pt>
                      <c:pt idx="2999">
                        <c:v>38917</c:v>
                      </c:pt>
                      <c:pt idx="3000">
                        <c:v>38918</c:v>
                      </c:pt>
                      <c:pt idx="3001">
                        <c:v>38919</c:v>
                      </c:pt>
                      <c:pt idx="3002">
                        <c:v>38922</c:v>
                      </c:pt>
                      <c:pt idx="3003">
                        <c:v>38923</c:v>
                      </c:pt>
                      <c:pt idx="3004">
                        <c:v>38924</c:v>
                      </c:pt>
                      <c:pt idx="3005">
                        <c:v>38925</c:v>
                      </c:pt>
                      <c:pt idx="3006">
                        <c:v>38926</c:v>
                      </c:pt>
                      <c:pt idx="3007">
                        <c:v>38929</c:v>
                      </c:pt>
                      <c:pt idx="3008">
                        <c:v>38930</c:v>
                      </c:pt>
                      <c:pt idx="3009">
                        <c:v>38931</c:v>
                      </c:pt>
                      <c:pt idx="3010">
                        <c:v>38932</c:v>
                      </c:pt>
                      <c:pt idx="3011">
                        <c:v>38933</c:v>
                      </c:pt>
                      <c:pt idx="3012">
                        <c:v>38936</c:v>
                      </c:pt>
                      <c:pt idx="3013">
                        <c:v>38937</c:v>
                      </c:pt>
                      <c:pt idx="3014">
                        <c:v>38938</c:v>
                      </c:pt>
                      <c:pt idx="3015">
                        <c:v>38939</c:v>
                      </c:pt>
                      <c:pt idx="3016">
                        <c:v>38940</c:v>
                      </c:pt>
                      <c:pt idx="3017">
                        <c:v>38943</c:v>
                      </c:pt>
                      <c:pt idx="3018">
                        <c:v>38944</c:v>
                      </c:pt>
                      <c:pt idx="3019">
                        <c:v>38945</c:v>
                      </c:pt>
                      <c:pt idx="3020">
                        <c:v>38946</c:v>
                      </c:pt>
                      <c:pt idx="3021">
                        <c:v>38947</c:v>
                      </c:pt>
                      <c:pt idx="3022">
                        <c:v>38950</c:v>
                      </c:pt>
                      <c:pt idx="3023">
                        <c:v>38951</c:v>
                      </c:pt>
                      <c:pt idx="3024">
                        <c:v>38952</c:v>
                      </c:pt>
                      <c:pt idx="3025">
                        <c:v>38953</c:v>
                      </c:pt>
                      <c:pt idx="3026">
                        <c:v>38954</c:v>
                      </c:pt>
                      <c:pt idx="3027">
                        <c:v>38957</c:v>
                      </c:pt>
                      <c:pt idx="3028">
                        <c:v>38958</c:v>
                      </c:pt>
                      <c:pt idx="3029">
                        <c:v>38959</c:v>
                      </c:pt>
                      <c:pt idx="3030">
                        <c:v>38960</c:v>
                      </c:pt>
                      <c:pt idx="3031">
                        <c:v>38961</c:v>
                      </c:pt>
                      <c:pt idx="3032">
                        <c:v>38964</c:v>
                      </c:pt>
                      <c:pt idx="3033">
                        <c:v>38965</c:v>
                      </c:pt>
                      <c:pt idx="3034">
                        <c:v>38966</c:v>
                      </c:pt>
                      <c:pt idx="3035">
                        <c:v>38967</c:v>
                      </c:pt>
                      <c:pt idx="3036">
                        <c:v>38968</c:v>
                      </c:pt>
                      <c:pt idx="3037">
                        <c:v>38971</c:v>
                      </c:pt>
                      <c:pt idx="3038">
                        <c:v>38972</c:v>
                      </c:pt>
                      <c:pt idx="3039">
                        <c:v>38973</c:v>
                      </c:pt>
                      <c:pt idx="3040">
                        <c:v>38974</c:v>
                      </c:pt>
                      <c:pt idx="3041">
                        <c:v>38975</c:v>
                      </c:pt>
                      <c:pt idx="3042">
                        <c:v>38978</c:v>
                      </c:pt>
                      <c:pt idx="3043">
                        <c:v>38979</c:v>
                      </c:pt>
                      <c:pt idx="3044">
                        <c:v>38980</c:v>
                      </c:pt>
                      <c:pt idx="3045">
                        <c:v>38981</c:v>
                      </c:pt>
                      <c:pt idx="3046">
                        <c:v>38982</c:v>
                      </c:pt>
                      <c:pt idx="3047">
                        <c:v>38985</c:v>
                      </c:pt>
                      <c:pt idx="3048">
                        <c:v>38986</c:v>
                      </c:pt>
                      <c:pt idx="3049">
                        <c:v>38987</c:v>
                      </c:pt>
                      <c:pt idx="3050">
                        <c:v>38988</c:v>
                      </c:pt>
                      <c:pt idx="3051">
                        <c:v>38989</c:v>
                      </c:pt>
                      <c:pt idx="3052">
                        <c:v>38992</c:v>
                      </c:pt>
                      <c:pt idx="3053">
                        <c:v>38993</c:v>
                      </c:pt>
                      <c:pt idx="3054">
                        <c:v>38994</c:v>
                      </c:pt>
                      <c:pt idx="3055">
                        <c:v>38995</c:v>
                      </c:pt>
                      <c:pt idx="3056">
                        <c:v>38996</c:v>
                      </c:pt>
                      <c:pt idx="3057">
                        <c:v>38999</c:v>
                      </c:pt>
                      <c:pt idx="3058">
                        <c:v>39000</c:v>
                      </c:pt>
                      <c:pt idx="3059">
                        <c:v>39001</c:v>
                      </c:pt>
                      <c:pt idx="3060">
                        <c:v>39002</c:v>
                      </c:pt>
                      <c:pt idx="3061">
                        <c:v>39003</c:v>
                      </c:pt>
                      <c:pt idx="3062">
                        <c:v>39006</c:v>
                      </c:pt>
                      <c:pt idx="3063">
                        <c:v>39007</c:v>
                      </c:pt>
                      <c:pt idx="3064">
                        <c:v>39008</c:v>
                      </c:pt>
                      <c:pt idx="3065">
                        <c:v>39009</c:v>
                      </c:pt>
                      <c:pt idx="3066">
                        <c:v>39010</c:v>
                      </c:pt>
                      <c:pt idx="3067">
                        <c:v>39013</c:v>
                      </c:pt>
                      <c:pt idx="3068">
                        <c:v>39014</c:v>
                      </c:pt>
                      <c:pt idx="3069">
                        <c:v>39015</c:v>
                      </c:pt>
                      <c:pt idx="3070">
                        <c:v>39016</c:v>
                      </c:pt>
                      <c:pt idx="3071">
                        <c:v>39017</c:v>
                      </c:pt>
                      <c:pt idx="3072">
                        <c:v>39020</c:v>
                      </c:pt>
                      <c:pt idx="3073">
                        <c:v>39021</c:v>
                      </c:pt>
                      <c:pt idx="3074">
                        <c:v>39022</c:v>
                      </c:pt>
                      <c:pt idx="3075">
                        <c:v>39023</c:v>
                      </c:pt>
                      <c:pt idx="3076">
                        <c:v>39024</c:v>
                      </c:pt>
                      <c:pt idx="3077">
                        <c:v>39027</c:v>
                      </c:pt>
                      <c:pt idx="3078">
                        <c:v>39028</c:v>
                      </c:pt>
                      <c:pt idx="3079">
                        <c:v>39029</c:v>
                      </c:pt>
                      <c:pt idx="3080">
                        <c:v>39030</c:v>
                      </c:pt>
                      <c:pt idx="3081">
                        <c:v>39031</c:v>
                      </c:pt>
                      <c:pt idx="3082">
                        <c:v>39034</c:v>
                      </c:pt>
                      <c:pt idx="3083">
                        <c:v>39035</c:v>
                      </c:pt>
                      <c:pt idx="3084">
                        <c:v>39036</c:v>
                      </c:pt>
                      <c:pt idx="3085">
                        <c:v>39037</c:v>
                      </c:pt>
                      <c:pt idx="3086">
                        <c:v>39038</c:v>
                      </c:pt>
                      <c:pt idx="3087">
                        <c:v>39041</c:v>
                      </c:pt>
                      <c:pt idx="3088">
                        <c:v>39042</c:v>
                      </c:pt>
                      <c:pt idx="3089">
                        <c:v>39043</c:v>
                      </c:pt>
                      <c:pt idx="3090">
                        <c:v>39044</c:v>
                      </c:pt>
                      <c:pt idx="3091">
                        <c:v>39045</c:v>
                      </c:pt>
                      <c:pt idx="3092">
                        <c:v>39048</c:v>
                      </c:pt>
                      <c:pt idx="3093">
                        <c:v>39049</c:v>
                      </c:pt>
                      <c:pt idx="3094">
                        <c:v>39050</c:v>
                      </c:pt>
                      <c:pt idx="3095">
                        <c:v>39051</c:v>
                      </c:pt>
                      <c:pt idx="3096">
                        <c:v>39052</c:v>
                      </c:pt>
                      <c:pt idx="3097">
                        <c:v>39055</c:v>
                      </c:pt>
                      <c:pt idx="3098">
                        <c:v>39056</c:v>
                      </c:pt>
                      <c:pt idx="3099">
                        <c:v>39057</c:v>
                      </c:pt>
                      <c:pt idx="3100">
                        <c:v>39058</c:v>
                      </c:pt>
                      <c:pt idx="3101">
                        <c:v>39059</c:v>
                      </c:pt>
                      <c:pt idx="3102">
                        <c:v>39062</c:v>
                      </c:pt>
                      <c:pt idx="3103">
                        <c:v>39063</c:v>
                      </c:pt>
                      <c:pt idx="3104">
                        <c:v>39064</c:v>
                      </c:pt>
                      <c:pt idx="3105">
                        <c:v>39065</c:v>
                      </c:pt>
                      <c:pt idx="3106">
                        <c:v>39066</c:v>
                      </c:pt>
                      <c:pt idx="3107">
                        <c:v>39069</c:v>
                      </c:pt>
                      <c:pt idx="3108">
                        <c:v>39070</c:v>
                      </c:pt>
                      <c:pt idx="3109">
                        <c:v>39071</c:v>
                      </c:pt>
                      <c:pt idx="3110">
                        <c:v>39072</c:v>
                      </c:pt>
                      <c:pt idx="3111">
                        <c:v>39073</c:v>
                      </c:pt>
                      <c:pt idx="3112">
                        <c:v>39076</c:v>
                      </c:pt>
                      <c:pt idx="3113">
                        <c:v>39077</c:v>
                      </c:pt>
                      <c:pt idx="3114">
                        <c:v>39078</c:v>
                      </c:pt>
                      <c:pt idx="3115">
                        <c:v>39079</c:v>
                      </c:pt>
                      <c:pt idx="3116">
                        <c:v>39080</c:v>
                      </c:pt>
                      <c:pt idx="3117">
                        <c:v>39083</c:v>
                      </c:pt>
                      <c:pt idx="3118">
                        <c:v>39084</c:v>
                      </c:pt>
                      <c:pt idx="3119">
                        <c:v>39085</c:v>
                      </c:pt>
                      <c:pt idx="3120">
                        <c:v>39086</c:v>
                      </c:pt>
                      <c:pt idx="3121">
                        <c:v>39087</c:v>
                      </c:pt>
                      <c:pt idx="3122">
                        <c:v>39090</c:v>
                      </c:pt>
                      <c:pt idx="3123">
                        <c:v>39091</c:v>
                      </c:pt>
                      <c:pt idx="3124">
                        <c:v>39092</c:v>
                      </c:pt>
                      <c:pt idx="3125">
                        <c:v>39093</c:v>
                      </c:pt>
                      <c:pt idx="3126">
                        <c:v>39094</c:v>
                      </c:pt>
                      <c:pt idx="3127">
                        <c:v>39097</c:v>
                      </c:pt>
                      <c:pt idx="3128">
                        <c:v>39098</c:v>
                      </c:pt>
                      <c:pt idx="3129">
                        <c:v>39099</c:v>
                      </c:pt>
                      <c:pt idx="3130">
                        <c:v>39100</c:v>
                      </c:pt>
                      <c:pt idx="3131">
                        <c:v>39101</c:v>
                      </c:pt>
                      <c:pt idx="3132">
                        <c:v>39104</c:v>
                      </c:pt>
                      <c:pt idx="3133">
                        <c:v>39105</c:v>
                      </c:pt>
                      <c:pt idx="3134">
                        <c:v>39106</c:v>
                      </c:pt>
                      <c:pt idx="3135">
                        <c:v>39107</c:v>
                      </c:pt>
                      <c:pt idx="3136">
                        <c:v>39108</c:v>
                      </c:pt>
                      <c:pt idx="3137">
                        <c:v>39111</c:v>
                      </c:pt>
                      <c:pt idx="3138">
                        <c:v>39112</c:v>
                      </c:pt>
                      <c:pt idx="3139">
                        <c:v>39113</c:v>
                      </c:pt>
                      <c:pt idx="3140">
                        <c:v>39114</c:v>
                      </c:pt>
                      <c:pt idx="3141">
                        <c:v>39115</c:v>
                      </c:pt>
                      <c:pt idx="3142">
                        <c:v>39118</c:v>
                      </c:pt>
                      <c:pt idx="3143">
                        <c:v>39119</c:v>
                      </c:pt>
                      <c:pt idx="3144">
                        <c:v>39120</c:v>
                      </c:pt>
                      <c:pt idx="3145">
                        <c:v>39121</c:v>
                      </c:pt>
                      <c:pt idx="3146">
                        <c:v>39122</c:v>
                      </c:pt>
                      <c:pt idx="3147">
                        <c:v>39125</c:v>
                      </c:pt>
                      <c:pt idx="3148">
                        <c:v>39126</c:v>
                      </c:pt>
                      <c:pt idx="3149">
                        <c:v>39127</c:v>
                      </c:pt>
                      <c:pt idx="3150">
                        <c:v>39128</c:v>
                      </c:pt>
                      <c:pt idx="3151">
                        <c:v>39129</c:v>
                      </c:pt>
                      <c:pt idx="3152">
                        <c:v>39132</c:v>
                      </c:pt>
                      <c:pt idx="3153">
                        <c:v>39133</c:v>
                      </c:pt>
                      <c:pt idx="3154">
                        <c:v>39134</c:v>
                      </c:pt>
                      <c:pt idx="3155">
                        <c:v>39135</c:v>
                      </c:pt>
                      <c:pt idx="3156">
                        <c:v>39136</c:v>
                      </c:pt>
                      <c:pt idx="3157">
                        <c:v>39139</c:v>
                      </c:pt>
                      <c:pt idx="3158">
                        <c:v>39140</c:v>
                      </c:pt>
                      <c:pt idx="3159">
                        <c:v>39141</c:v>
                      </c:pt>
                      <c:pt idx="3160">
                        <c:v>39142</c:v>
                      </c:pt>
                      <c:pt idx="3161">
                        <c:v>39143</c:v>
                      </c:pt>
                      <c:pt idx="3162">
                        <c:v>39146</c:v>
                      </c:pt>
                      <c:pt idx="3163">
                        <c:v>39147</c:v>
                      </c:pt>
                      <c:pt idx="3164">
                        <c:v>39148</c:v>
                      </c:pt>
                      <c:pt idx="3165">
                        <c:v>39149</c:v>
                      </c:pt>
                      <c:pt idx="3166">
                        <c:v>39150</c:v>
                      </c:pt>
                      <c:pt idx="3167">
                        <c:v>39153</c:v>
                      </c:pt>
                      <c:pt idx="3168">
                        <c:v>39154</c:v>
                      </c:pt>
                      <c:pt idx="3169">
                        <c:v>39155</c:v>
                      </c:pt>
                      <c:pt idx="3170">
                        <c:v>39156</c:v>
                      </c:pt>
                      <c:pt idx="3171">
                        <c:v>39157</c:v>
                      </c:pt>
                      <c:pt idx="3172">
                        <c:v>39160</c:v>
                      </c:pt>
                      <c:pt idx="3173">
                        <c:v>39161</c:v>
                      </c:pt>
                      <c:pt idx="3174">
                        <c:v>39162</c:v>
                      </c:pt>
                      <c:pt idx="3175">
                        <c:v>39163</c:v>
                      </c:pt>
                      <c:pt idx="3176">
                        <c:v>39164</c:v>
                      </c:pt>
                      <c:pt idx="3177">
                        <c:v>39167</c:v>
                      </c:pt>
                      <c:pt idx="3178">
                        <c:v>39168</c:v>
                      </c:pt>
                      <c:pt idx="3179">
                        <c:v>39169</c:v>
                      </c:pt>
                      <c:pt idx="3180">
                        <c:v>39170</c:v>
                      </c:pt>
                      <c:pt idx="3181">
                        <c:v>39171</c:v>
                      </c:pt>
                      <c:pt idx="3182">
                        <c:v>39174</c:v>
                      </c:pt>
                      <c:pt idx="3183">
                        <c:v>39175</c:v>
                      </c:pt>
                      <c:pt idx="3184">
                        <c:v>39176</c:v>
                      </c:pt>
                      <c:pt idx="3185">
                        <c:v>39177</c:v>
                      </c:pt>
                      <c:pt idx="3186">
                        <c:v>39178</c:v>
                      </c:pt>
                      <c:pt idx="3187">
                        <c:v>39181</c:v>
                      </c:pt>
                      <c:pt idx="3188">
                        <c:v>39182</c:v>
                      </c:pt>
                      <c:pt idx="3189">
                        <c:v>39183</c:v>
                      </c:pt>
                      <c:pt idx="3190">
                        <c:v>39184</c:v>
                      </c:pt>
                      <c:pt idx="3191">
                        <c:v>39185</c:v>
                      </c:pt>
                      <c:pt idx="3192">
                        <c:v>39188</c:v>
                      </c:pt>
                      <c:pt idx="3193">
                        <c:v>39189</c:v>
                      </c:pt>
                      <c:pt idx="3194">
                        <c:v>39190</c:v>
                      </c:pt>
                      <c:pt idx="3195">
                        <c:v>39191</c:v>
                      </c:pt>
                      <c:pt idx="3196">
                        <c:v>39192</c:v>
                      </c:pt>
                      <c:pt idx="3197">
                        <c:v>39195</c:v>
                      </c:pt>
                      <c:pt idx="3198">
                        <c:v>39196</c:v>
                      </c:pt>
                      <c:pt idx="3199">
                        <c:v>39197</c:v>
                      </c:pt>
                      <c:pt idx="3200">
                        <c:v>39198</c:v>
                      </c:pt>
                      <c:pt idx="3201">
                        <c:v>39199</c:v>
                      </c:pt>
                      <c:pt idx="3202">
                        <c:v>39202</c:v>
                      </c:pt>
                      <c:pt idx="3203">
                        <c:v>39203</c:v>
                      </c:pt>
                      <c:pt idx="3204">
                        <c:v>39204</c:v>
                      </c:pt>
                      <c:pt idx="3205">
                        <c:v>39205</c:v>
                      </c:pt>
                      <c:pt idx="3206">
                        <c:v>39206</c:v>
                      </c:pt>
                      <c:pt idx="3207">
                        <c:v>39209</c:v>
                      </c:pt>
                      <c:pt idx="3208">
                        <c:v>39210</c:v>
                      </c:pt>
                      <c:pt idx="3209">
                        <c:v>39211</c:v>
                      </c:pt>
                      <c:pt idx="3210">
                        <c:v>39212</c:v>
                      </c:pt>
                      <c:pt idx="3211">
                        <c:v>39213</c:v>
                      </c:pt>
                      <c:pt idx="3212">
                        <c:v>39216</c:v>
                      </c:pt>
                      <c:pt idx="3213">
                        <c:v>39217</c:v>
                      </c:pt>
                      <c:pt idx="3214">
                        <c:v>39218</c:v>
                      </c:pt>
                      <c:pt idx="3215">
                        <c:v>39219</c:v>
                      </c:pt>
                      <c:pt idx="3216">
                        <c:v>39220</c:v>
                      </c:pt>
                      <c:pt idx="3217">
                        <c:v>39223</c:v>
                      </c:pt>
                      <c:pt idx="3218">
                        <c:v>39224</c:v>
                      </c:pt>
                      <c:pt idx="3219">
                        <c:v>39225</c:v>
                      </c:pt>
                      <c:pt idx="3220">
                        <c:v>39226</c:v>
                      </c:pt>
                      <c:pt idx="3221">
                        <c:v>39227</c:v>
                      </c:pt>
                      <c:pt idx="3222">
                        <c:v>39230</c:v>
                      </c:pt>
                      <c:pt idx="3223">
                        <c:v>39231</c:v>
                      </c:pt>
                      <c:pt idx="3224">
                        <c:v>39232</c:v>
                      </c:pt>
                      <c:pt idx="3225">
                        <c:v>39233</c:v>
                      </c:pt>
                      <c:pt idx="3226">
                        <c:v>39234</c:v>
                      </c:pt>
                      <c:pt idx="3227">
                        <c:v>39237</c:v>
                      </c:pt>
                      <c:pt idx="3228">
                        <c:v>39238</c:v>
                      </c:pt>
                      <c:pt idx="3229">
                        <c:v>39239</c:v>
                      </c:pt>
                      <c:pt idx="3230">
                        <c:v>39240</c:v>
                      </c:pt>
                      <c:pt idx="3231">
                        <c:v>39241</c:v>
                      </c:pt>
                      <c:pt idx="3232">
                        <c:v>39244</c:v>
                      </c:pt>
                      <c:pt idx="3233">
                        <c:v>39245</c:v>
                      </c:pt>
                      <c:pt idx="3234">
                        <c:v>39246</c:v>
                      </c:pt>
                      <c:pt idx="3235">
                        <c:v>39247</c:v>
                      </c:pt>
                      <c:pt idx="3236">
                        <c:v>39248</c:v>
                      </c:pt>
                      <c:pt idx="3237">
                        <c:v>39251</c:v>
                      </c:pt>
                      <c:pt idx="3238">
                        <c:v>39252</c:v>
                      </c:pt>
                      <c:pt idx="3239">
                        <c:v>39253</c:v>
                      </c:pt>
                      <c:pt idx="3240">
                        <c:v>39254</c:v>
                      </c:pt>
                      <c:pt idx="3241">
                        <c:v>39255</c:v>
                      </c:pt>
                      <c:pt idx="3242">
                        <c:v>39258</c:v>
                      </c:pt>
                      <c:pt idx="3243">
                        <c:v>39259</c:v>
                      </c:pt>
                      <c:pt idx="3244">
                        <c:v>39260</c:v>
                      </c:pt>
                      <c:pt idx="3245">
                        <c:v>39261</c:v>
                      </c:pt>
                      <c:pt idx="3246">
                        <c:v>39262</c:v>
                      </c:pt>
                      <c:pt idx="3247">
                        <c:v>39265</c:v>
                      </c:pt>
                      <c:pt idx="3248">
                        <c:v>39266</c:v>
                      </c:pt>
                      <c:pt idx="3249">
                        <c:v>39267</c:v>
                      </c:pt>
                      <c:pt idx="3250">
                        <c:v>39268</c:v>
                      </c:pt>
                      <c:pt idx="3251">
                        <c:v>39269</c:v>
                      </c:pt>
                      <c:pt idx="3252">
                        <c:v>39272</c:v>
                      </c:pt>
                      <c:pt idx="3253">
                        <c:v>39273</c:v>
                      </c:pt>
                      <c:pt idx="3254">
                        <c:v>39274</c:v>
                      </c:pt>
                      <c:pt idx="3255">
                        <c:v>39275</c:v>
                      </c:pt>
                      <c:pt idx="3256">
                        <c:v>39276</c:v>
                      </c:pt>
                      <c:pt idx="3257">
                        <c:v>39279</c:v>
                      </c:pt>
                      <c:pt idx="3258">
                        <c:v>39280</c:v>
                      </c:pt>
                      <c:pt idx="3259">
                        <c:v>39281</c:v>
                      </c:pt>
                      <c:pt idx="3260">
                        <c:v>39282</c:v>
                      </c:pt>
                      <c:pt idx="3261">
                        <c:v>39283</c:v>
                      </c:pt>
                      <c:pt idx="3262">
                        <c:v>39286</c:v>
                      </c:pt>
                      <c:pt idx="3263">
                        <c:v>39287</c:v>
                      </c:pt>
                      <c:pt idx="3264">
                        <c:v>39288</c:v>
                      </c:pt>
                      <c:pt idx="3265">
                        <c:v>39289</c:v>
                      </c:pt>
                      <c:pt idx="3266">
                        <c:v>39290</c:v>
                      </c:pt>
                      <c:pt idx="3267">
                        <c:v>39293</c:v>
                      </c:pt>
                      <c:pt idx="3268">
                        <c:v>39294</c:v>
                      </c:pt>
                      <c:pt idx="3269">
                        <c:v>39295</c:v>
                      </c:pt>
                      <c:pt idx="3270">
                        <c:v>39296</c:v>
                      </c:pt>
                      <c:pt idx="3271">
                        <c:v>39297</c:v>
                      </c:pt>
                      <c:pt idx="3272">
                        <c:v>39300</c:v>
                      </c:pt>
                      <c:pt idx="3273">
                        <c:v>39301</c:v>
                      </c:pt>
                      <c:pt idx="3274">
                        <c:v>39302</c:v>
                      </c:pt>
                      <c:pt idx="3275">
                        <c:v>39303</c:v>
                      </c:pt>
                      <c:pt idx="3276">
                        <c:v>39304</c:v>
                      </c:pt>
                      <c:pt idx="3277">
                        <c:v>39307</c:v>
                      </c:pt>
                      <c:pt idx="3278">
                        <c:v>39308</c:v>
                      </c:pt>
                      <c:pt idx="3279">
                        <c:v>39309</c:v>
                      </c:pt>
                      <c:pt idx="3280">
                        <c:v>39310</c:v>
                      </c:pt>
                      <c:pt idx="3281">
                        <c:v>39311</c:v>
                      </c:pt>
                      <c:pt idx="3282">
                        <c:v>39314</c:v>
                      </c:pt>
                      <c:pt idx="3283">
                        <c:v>39315</c:v>
                      </c:pt>
                      <c:pt idx="3284">
                        <c:v>39316</c:v>
                      </c:pt>
                      <c:pt idx="3285">
                        <c:v>39317</c:v>
                      </c:pt>
                      <c:pt idx="3286">
                        <c:v>39318</c:v>
                      </c:pt>
                      <c:pt idx="3287">
                        <c:v>39321</c:v>
                      </c:pt>
                      <c:pt idx="3288">
                        <c:v>39322</c:v>
                      </c:pt>
                      <c:pt idx="3289">
                        <c:v>39323</c:v>
                      </c:pt>
                      <c:pt idx="3290">
                        <c:v>39324</c:v>
                      </c:pt>
                      <c:pt idx="3291">
                        <c:v>39325</c:v>
                      </c:pt>
                      <c:pt idx="3292">
                        <c:v>39328</c:v>
                      </c:pt>
                      <c:pt idx="3293">
                        <c:v>39329</c:v>
                      </c:pt>
                      <c:pt idx="3294">
                        <c:v>39330</c:v>
                      </c:pt>
                      <c:pt idx="3295">
                        <c:v>39331</c:v>
                      </c:pt>
                      <c:pt idx="3296">
                        <c:v>39332</c:v>
                      </c:pt>
                      <c:pt idx="3297">
                        <c:v>39335</c:v>
                      </c:pt>
                      <c:pt idx="3298">
                        <c:v>39336</c:v>
                      </c:pt>
                      <c:pt idx="3299">
                        <c:v>39337</c:v>
                      </c:pt>
                      <c:pt idx="3300">
                        <c:v>39338</c:v>
                      </c:pt>
                      <c:pt idx="3301">
                        <c:v>39339</c:v>
                      </c:pt>
                      <c:pt idx="3302">
                        <c:v>39342</c:v>
                      </c:pt>
                      <c:pt idx="3303">
                        <c:v>39343</c:v>
                      </c:pt>
                      <c:pt idx="3304">
                        <c:v>39344</c:v>
                      </c:pt>
                      <c:pt idx="3305">
                        <c:v>39345</c:v>
                      </c:pt>
                      <c:pt idx="3306">
                        <c:v>39346</c:v>
                      </c:pt>
                      <c:pt idx="3307">
                        <c:v>39349</c:v>
                      </c:pt>
                      <c:pt idx="3308">
                        <c:v>39350</c:v>
                      </c:pt>
                      <c:pt idx="3309">
                        <c:v>39351</c:v>
                      </c:pt>
                      <c:pt idx="3310">
                        <c:v>39352</c:v>
                      </c:pt>
                      <c:pt idx="3311">
                        <c:v>39353</c:v>
                      </c:pt>
                      <c:pt idx="3312">
                        <c:v>39356</c:v>
                      </c:pt>
                      <c:pt idx="3313">
                        <c:v>39357</c:v>
                      </c:pt>
                      <c:pt idx="3314">
                        <c:v>39358</c:v>
                      </c:pt>
                      <c:pt idx="3315">
                        <c:v>39359</c:v>
                      </c:pt>
                      <c:pt idx="3316">
                        <c:v>39360</c:v>
                      </c:pt>
                      <c:pt idx="3317">
                        <c:v>39363</c:v>
                      </c:pt>
                      <c:pt idx="3318">
                        <c:v>39364</c:v>
                      </c:pt>
                      <c:pt idx="3319">
                        <c:v>39365</c:v>
                      </c:pt>
                      <c:pt idx="3320">
                        <c:v>39366</c:v>
                      </c:pt>
                      <c:pt idx="3321">
                        <c:v>39367</c:v>
                      </c:pt>
                      <c:pt idx="3322">
                        <c:v>39370</c:v>
                      </c:pt>
                      <c:pt idx="3323">
                        <c:v>39371</c:v>
                      </c:pt>
                      <c:pt idx="3324">
                        <c:v>39372</c:v>
                      </c:pt>
                      <c:pt idx="3325">
                        <c:v>39373</c:v>
                      </c:pt>
                      <c:pt idx="3326">
                        <c:v>39374</c:v>
                      </c:pt>
                      <c:pt idx="3327">
                        <c:v>39377</c:v>
                      </c:pt>
                      <c:pt idx="3328">
                        <c:v>39378</c:v>
                      </c:pt>
                      <c:pt idx="3329">
                        <c:v>39379</c:v>
                      </c:pt>
                      <c:pt idx="3330">
                        <c:v>39380</c:v>
                      </c:pt>
                      <c:pt idx="3331">
                        <c:v>39381</c:v>
                      </c:pt>
                      <c:pt idx="3332">
                        <c:v>39384</c:v>
                      </c:pt>
                      <c:pt idx="3333">
                        <c:v>39385</c:v>
                      </c:pt>
                      <c:pt idx="3334">
                        <c:v>39386</c:v>
                      </c:pt>
                      <c:pt idx="3335">
                        <c:v>39387</c:v>
                      </c:pt>
                      <c:pt idx="3336">
                        <c:v>39388</c:v>
                      </c:pt>
                      <c:pt idx="3337">
                        <c:v>39391</c:v>
                      </c:pt>
                      <c:pt idx="3338">
                        <c:v>39392</c:v>
                      </c:pt>
                      <c:pt idx="3339">
                        <c:v>39393</c:v>
                      </c:pt>
                      <c:pt idx="3340">
                        <c:v>39394</c:v>
                      </c:pt>
                      <c:pt idx="3341">
                        <c:v>39395</c:v>
                      </c:pt>
                      <c:pt idx="3342">
                        <c:v>39398</c:v>
                      </c:pt>
                      <c:pt idx="3343">
                        <c:v>39399</c:v>
                      </c:pt>
                      <c:pt idx="3344">
                        <c:v>39400</c:v>
                      </c:pt>
                      <c:pt idx="3345">
                        <c:v>39401</c:v>
                      </c:pt>
                      <c:pt idx="3346">
                        <c:v>39402</c:v>
                      </c:pt>
                      <c:pt idx="3347">
                        <c:v>39405</c:v>
                      </c:pt>
                      <c:pt idx="3348">
                        <c:v>39406</c:v>
                      </c:pt>
                      <c:pt idx="3349">
                        <c:v>39407</c:v>
                      </c:pt>
                      <c:pt idx="3350">
                        <c:v>39408</c:v>
                      </c:pt>
                      <c:pt idx="3351">
                        <c:v>39409</c:v>
                      </c:pt>
                      <c:pt idx="3352">
                        <c:v>39412</c:v>
                      </c:pt>
                      <c:pt idx="3353">
                        <c:v>39413</c:v>
                      </c:pt>
                      <c:pt idx="3354">
                        <c:v>39414</c:v>
                      </c:pt>
                      <c:pt idx="3355">
                        <c:v>39415</c:v>
                      </c:pt>
                      <c:pt idx="3356">
                        <c:v>39416</c:v>
                      </c:pt>
                      <c:pt idx="3357">
                        <c:v>39419</c:v>
                      </c:pt>
                      <c:pt idx="3358">
                        <c:v>39420</c:v>
                      </c:pt>
                      <c:pt idx="3359">
                        <c:v>39421</c:v>
                      </c:pt>
                      <c:pt idx="3360">
                        <c:v>39422</c:v>
                      </c:pt>
                      <c:pt idx="3361">
                        <c:v>39423</c:v>
                      </c:pt>
                      <c:pt idx="3362">
                        <c:v>39426</c:v>
                      </c:pt>
                      <c:pt idx="3363">
                        <c:v>39427</c:v>
                      </c:pt>
                      <c:pt idx="3364">
                        <c:v>39428</c:v>
                      </c:pt>
                      <c:pt idx="3365">
                        <c:v>39429</c:v>
                      </c:pt>
                      <c:pt idx="3366">
                        <c:v>39430</c:v>
                      </c:pt>
                      <c:pt idx="3367">
                        <c:v>39433</c:v>
                      </c:pt>
                      <c:pt idx="3368">
                        <c:v>39434</c:v>
                      </c:pt>
                      <c:pt idx="3369">
                        <c:v>39435</c:v>
                      </c:pt>
                      <c:pt idx="3370">
                        <c:v>39436</c:v>
                      </c:pt>
                      <c:pt idx="3371">
                        <c:v>39437</c:v>
                      </c:pt>
                      <c:pt idx="3372">
                        <c:v>39440</c:v>
                      </c:pt>
                      <c:pt idx="3373">
                        <c:v>39441</c:v>
                      </c:pt>
                      <c:pt idx="3374">
                        <c:v>39442</c:v>
                      </c:pt>
                      <c:pt idx="3375">
                        <c:v>39443</c:v>
                      </c:pt>
                      <c:pt idx="3376">
                        <c:v>39444</c:v>
                      </c:pt>
                      <c:pt idx="3377">
                        <c:v>39447</c:v>
                      </c:pt>
                      <c:pt idx="3378">
                        <c:v>39448</c:v>
                      </c:pt>
                      <c:pt idx="3379">
                        <c:v>39449</c:v>
                      </c:pt>
                      <c:pt idx="3380">
                        <c:v>39450</c:v>
                      </c:pt>
                      <c:pt idx="3381">
                        <c:v>39451</c:v>
                      </c:pt>
                      <c:pt idx="3382">
                        <c:v>39454</c:v>
                      </c:pt>
                      <c:pt idx="3383">
                        <c:v>39455</c:v>
                      </c:pt>
                      <c:pt idx="3384">
                        <c:v>39456</c:v>
                      </c:pt>
                      <c:pt idx="3385">
                        <c:v>39457</c:v>
                      </c:pt>
                      <c:pt idx="3386">
                        <c:v>39458</c:v>
                      </c:pt>
                      <c:pt idx="3387">
                        <c:v>39461</c:v>
                      </c:pt>
                      <c:pt idx="3388">
                        <c:v>39462</c:v>
                      </c:pt>
                      <c:pt idx="3389">
                        <c:v>39463</c:v>
                      </c:pt>
                      <c:pt idx="3390">
                        <c:v>39464</c:v>
                      </c:pt>
                      <c:pt idx="3391">
                        <c:v>39465</c:v>
                      </c:pt>
                      <c:pt idx="3392">
                        <c:v>39468</c:v>
                      </c:pt>
                      <c:pt idx="3393">
                        <c:v>39469</c:v>
                      </c:pt>
                      <c:pt idx="3394">
                        <c:v>39470</c:v>
                      </c:pt>
                      <c:pt idx="3395">
                        <c:v>39471</c:v>
                      </c:pt>
                      <c:pt idx="3396">
                        <c:v>39472</c:v>
                      </c:pt>
                      <c:pt idx="3397">
                        <c:v>39475</c:v>
                      </c:pt>
                      <c:pt idx="3398">
                        <c:v>39476</c:v>
                      </c:pt>
                      <c:pt idx="3399">
                        <c:v>39477</c:v>
                      </c:pt>
                      <c:pt idx="3400">
                        <c:v>39478</c:v>
                      </c:pt>
                      <c:pt idx="3401">
                        <c:v>39479</c:v>
                      </c:pt>
                      <c:pt idx="3402">
                        <c:v>39482</c:v>
                      </c:pt>
                      <c:pt idx="3403">
                        <c:v>39483</c:v>
                      </c:pt>
                      <c:pt idx="3404">
                        <c:v>39484</c:v>
                      </c:pt>
                      <c:pt idx="3405">
                        <c:v>39485</c:v>
                      </c:pt>
                      <c:pt idx="3406">
                        <c:v>39486</c:v>
                      </c:pt>
                      <c:pt idx="3407">
                        <c:v>39489</c:v>
                      </c:pt>
                      <c:pt idx="3408">
                        <c:v>39490</c:v>
                      </c:pt>
                      <c:pt idx="3409">
                        <c:v>39491</c:v>
                      </c:pt>
                      <c:pt idx="3410">
                        <c:v>39492</c:v>
                      </c:pt>
                      <c:pt idx="3411">
                        <c:v>39493</c:v>
                      </c:pt>
                      <c:pt idx="3412">
                        <c:v>39496</c:v>
                      </c:pt>
                      <c:pt idx="3413">
                        <c:v>39497</c:v>
                      </c:pt>
                      <c:pt idx="3414">
                        <c:v>39498</c:v>
                      </c:pt>
                      <c:pt idx="3415">
                        <c:v>39499</c:v>
                      </c:pt>
                      <c:pt idx="3416">
                        <c:v>39500</c:v>
                      </c:pt>
                      <c:pt idx="3417">
                        <c:v>39503</c:v>
                      </c:pt>
                      <c:pt idx="3418">
                        <c:v>39504</c:v>
                      </c:pt>
                      <c:pt idx="3419">
                        <c:v>39505</c:v>
                      </c:pt>
                      <c:pt idx="3420">
                        <c:v>39506</c:v>
                      </c:pt>
                      <c:pt idx="3421">
                        <c:v>39507</c:v>
                      </c:pt>
                      <c:pt idx="3422">
                        <c:v>39510</c:v>
                      </c:pt>
                      <c:pt idx="3423">
                        <c:v>39511</c:v>
                      </c:pt>
                      <c:pt idx="3424">
                        <c:v>39512</c:v>
                      </c:pt>
                      <c:pt idx="3425">
                        <c:v>39513</c:v>
                      </c:pt>
                      <c:pt idx="3426">
                        <c:v>39514</c:v>
                      </c:pt>
                      <c:pt idx="3427">
                        <c:v>39517</c:v>
                      </c:pt>
                      <c:pt idx="3428">
                        <c:v>39518</c:v>
                      </c:pt>
                      <c:pt idx="3429">
                        <c:v>39519</c:v>
                      </c:pt>
                      <c:pt idx="3430">
                        <c:v>39520</c:v>
                      </c:pt>
                      <c:pt idx="3431">
                        <c:v>39521</c:v>
                      </c:pt>
                      <c:pt idx="3432">
                        <c:v>39524</c:v>
                      </c:pt>
                      <c:pt idx="3433">
                        <c:v>39525</c:v>
                      </c:pt>
                      <c:pt idx="3434">
                        <c:v>39526</c:v>
                      </c:pt>
                      <c:pt idx="3435">
                        <c:v>39527</c:v>
                      </c:pt>
                      <c:pt idx="3436">
                        <c:v>39528</c:v>
                      </c:pt>
                      <c:pt idx="3437">
                        <c:v>39531</c:v>
                      </c:pt>
                      <c:pt idx="3438">
                        <c:v>39532</c:v>
                      </c:pt>
                      <c:pt idx="3439">
                        <c:v>39533</c:v>
                      </c:pt>
                      <c:pt idx="3440">
                        <c:v>39534</c:v>
                      </c:pt>
                      <c:pt idx="3441">
                        <c:v>39535</c:v>
                      </c:pt>
                      <c:pt idx="3442">
                        <c:v>39538</c:v>
                      </c:pt>
                      <c:pt idx="3443">
                        <c:v>39539</c:v>
                      </c:pt>
                      <c:pt idx="3444">
                        <c:v>39540</c:v>
                      </c:pt>
                      <c:pt idx="3445">
                        <c:v>39541</c:v>
                      </c:pt>
                      <c:pt idx="3446">
                        <c:v>39542</c:v>
                      </c:pt>
                      <c:pt idx="3447">
                        <c:v>39545</c:v>
                      </c:pt>
                      <c:pt idx="3448">
                        <c:v>39546</c:v>
                      </c:pt>
                      <c:pt idx="3449">
                        <c:v>39547</c:v>
                      </c:pt>
                      <c:pt idx="3450">
                        <c:v>39548</c:v>
                      </c:pt>
                      <c:pt idx="3451">
                        <c:v>39549</c:v>
                      </c:pt>
                      <c:pt idx="3452">
                        <c:v>39552</c:v>
                      </c:pt>
                      <c:pt idx="3453">
                        <c:v>39553</c:v>
                      </c:pt>
                      <c:pt idx="3454">
                        <c:v>39554</c:v>
                      </c:pt>
                      <c:pt idx="3455">
                        <c:v>39555</c:v>
                      </c:pt>
                      <c:pt idx="3456">
                        <c:v>39556</c:v>
                      </c:pt>
                      <c:pt idx="3457">
                        <c:v>39559</c:v>
                      </c:pt>
                      <c:pt idx="3458">
                        <c:v>39560</c:v>
                      </c:pt>
                      <c:pt idx="3459">
                        <c:v>39561</c:v>
                      </c:pt>
                      <c:pt idx="3460">
                        <c:v>39562</c:v>
                      </c:pt>
                      <c:pt idx="3461">
                        <c:v>39563</c:v>
                      </c:pt>
                      <c:pt idx="3462">
                        <c:v>39566</c:v>
                      </c:pt>
                      <c:pt idx="3463">
                        <c:v>39567</c:v>
                      </c:pt>
                      <c:pt idx="3464">
                        <c:v>39568</c:v>
                      </c:pt>
                      <c:pt idx="3465">
                        <c:v>39569</c:v>
                      </c:pt>
                      <c:pt idx="3466">
                        <c:v>39570</c:v>
                      </c:pt>
                      <c:pt idx="3467">
                        <c:v>39573</c:v>
                      </c:pt>
                      <c:pt idx="3468">
                        <c:v>39574</c:v>
                      </c:pt>
                      <c:pt idx="3469">
                        <c:v>39575</c:v>
                      </c:pt>
                      <c:pt idx="3470">
                        <c:v>39576</c:v>
                      </c:pt>
                      <c:pt idx="3471">
                        <c:v>39577</c:v>
                      </c:pt>
                      <c:pt idx="3472">
                        <c:v>39580</c:v>
                      </c:pt>
                      <c:pt idx="3473">
                        <c:v>39581</c:v>
                      </c:pt>
                      <c:pt idx="3474">
                        <c:v>39582</c:v>
                      </c:pt>
                      <c:pt idx="3475">
                        <c:v>39583</c:v>
                      </c:pt>
                      <c:pt idx="3476">
                        <c:v>39584</c:v>
                      </c:pt>
                      <c:pt idx="3477">
                        <c:v>39587</c:v>
                      </c:pt>
                      <c:pt idx="3478">
                        <c:v>39588</c:v>
                      </c:pt>
                      <c:pt idx="3479">
                        <c:v>39589</c:v>
                      </c:pt>
                      <c:pt idx="3480">
                        <c:v>39590</c:v>
                      </c:pt>
                      <c:pt idx="3481">
                        <c:v>39591</c:v>
                      </c:pt>
                      <c:pt idx="3482">
                        <c:v>39594</c:v>
                      </c:pt>
                      <c:pt idx="3483">
                        <c:v>39595</c:v>
                      </c:pt>
                      <c:pt idx="3484">
                        <c:v>39596</c:v>
                      </c:pt>
                      <c:pt idx="3485">
                        <c:v>39597</c:v>
                      </c:pt>
                      <c:pt idx="3486">
                        <c:v>39598</c:v>
                      </c:pt>
                      <c:pt idx="3487">
                        <c:v>39601</c:v>
                      </c:pt>
                      <c:pt idx="3488">
                        <c:v>39602</c:v>
                      </c:pt>
                      <c:pt idx="3489">
                        <c:v>39603</c:v>
                      </c:pt>
                      <c:pt idx="3490">
                        <c:v>39604</c:v>
                      </c:pt>
                      <c:pt idx="3491">
                        <c:v>39605</c:v>
                      </c:pt>
                      <c:pt idx="3492">
                        <c:v>39608</c:v>
                      </c:pt>
                      <c:pt idx="3493">
                        <c:v>39609</c:v>
                      </c:pt>
                      <c:pt idx="3494">
                        <c:v>39610</c:v>
                      </c:pt>
                      <c:pt idx="3495">
                        <c:v>39611</c:v>
                      </c:pt>
                      <c:pt idx="3496">
                        <c:v>39612</c:v>
                      </c:pt>
                      <c:pt idx="3497">
                        <c:v>39615</c:v>
                      </c:pt>
                      <c:pt idx="3498">
                        <c:v>39616</c:v>
                      </c:pt>
                      <c:pt idx="3499">
                        <c:v>39617</c:v>
                      </c:pt>
                      <c:pt idx="3500">
                        <c:v>39618</c:v>
                      </c:pt>
                      <c:pt idx="3501">
                        <c:v>39619</c:v>
                      </c:pt>
                      <c:pt idx="3502">
                        <c:v>39622</c:v>
                      </c:pt>
                      <c:pt idx="3503">
                        <c:v>39623</c:v>
                      </c:pt>
                      <c:pt idx="3504">
                        <c:v>39624</c:v>
                      </c:pt>
                      <c:pt idx="3505">
                        <c:v>39625</c:v>
                      </c:pt>
                      <c:pt idx="3506">
                        <c:v>39626</c:v>
                      </c:pt>
                      <c:pt idx="3507">
                        <c:v>39629</c:v>
                      </c:pt>
                      <c:pt idx="3508">
                        <c:v>39630</c:v>
                      </c:pt>
                      <c:pt idx="3509">
                        <c:v>39631</c:v>
                      </c:pt>
                      <c:pt idx="3510">
                        <c:v>39632</c:v>
                      </c:pt>
                      <c:pt idx="3511">
                        <c:v>39633</c:v>
                      </c:pt>
                      <c:pt idx="3512">
                        <c:v>39636</c:v>
                      </c:pt>
                      <c:pt idx="3513">
                        <c:v>39637</c:v>
                      </c:pt>
                      <c:pt idx="3514">
                        <c:v>39638</c:v>
                      </c:pt>
                      <c:pt idx="3515">
                        <c:v>39639</c:v>
                      </c:pt>
                      <c:pt idx="3516">
                        <c:v>39640</c:v>
                      </c:pt>
                      <c:pt idx="3517">
                        <c:v>39643</c:v>
                      </c:pt>
                      <c:pt idx="3518">
                        <c:v>39644</c:v>
                      </c:pt>
                      <c:pt idx="3519">
                        <c:v>39645</c:v>
                      </c:pt>
                      <c:pt idx="3520">
                        <c:v>39646</c:v>
                      </c:pt>
                      <c:pt idx="3521">
                        <c:v>39647</c:v>
                      </c:pt>
                      <c:pt idx="3522">
                        <c:v>39650</c:v>
                      </c:pt>
                      <c:pt idx="3523">
                        <c:v>39651</c:v>
                      </c:pt>
                      <c:pt idx="3524">
                        <c:v>39652</c:v>
                      </c:pt>
                      <c:pt idx="3525">
                        <c:v>39653</c:v>
                      </c:pt>
                      <c:pt idx="3526">
                        <c:v>39654</c:v>
                      </c:pt>
                      <c:pt idx="3527">
                        <c:v>39657</c:v>
                      </c:pt>
                      <c:pt idx="3528">
                        <c:v>39658</c:v>
                      </c:pt>
                      <c:pt idx="3529">
                        <c:v>39659</c:v>
                      </c:pt>
                      <c:pt idx="3530">
                        <c:v>39660</c:v>
                      </c:pt>
                      <c:pt idx="3531">
                        <c:v>39661</c:v>
                      </c:pt>
                      <c:pt idx="3532">
                        <c:v>39664</c:v>
                      </c:pt>
                      <c:pt idx="3533">
                        <c:v>39665</c:v>
                      </c:pt>
                      <c:pt idx="3534">
                        <c:v>39666</c:v>
                      </c:pt>
                      <c:pt idx="3535">
                        <c:v>39667</c:v>
                      </c:pt>
                      <c:pt idx="3536">
                        <c:v>39668</c:v>
                      </c:pt>
                      <c:pt idx="3537">
                        <c:v>39671</c:v>
                      </c:pt>
                      <c:pt idx="3538">
                        <c:v>39672</c:v>
                      </c:pt>
                      <c:pt idx="3539">
                        <c:v>39673</c:v>
                      </c:pt>
                      <c:pt idx="3540">
                        <c:v>39674</c:v>
                      </c:pt>
                      <c:pt idx="3541">
                        <c:v>39675</c:v>
                      </c:pt>
                      <c:pt idx="3542">
                        <c:v>39678</c:v>
                      </c:pt>
                      <c:pt idx="3543">
                        <c:v>39679</c:v>
                      </c:pt>
                      <c:pt idx="3544">
                        <c:v>39680</c:v>
                      </c:pt>
                      <c:pt idx="3545">
                        <c:v>39681</c:v>
                      </c:pt>
                      <c:pt idx="3546">
                        <c:v>39682</c:v>
                      </c:pt>
                      <c:pt idx="3547">
                        <c:v>39685</c:v>
                      </c:pt>
                      <c:pt idx="3548">
                        <c:v>39686</c:v>
                      </c:pt>
                      <c:pt idx="3549">
                        <c:v>39687</c:v>
                      </c:pt>
                      <c:pt idx="3550">
                        <c:v>39688</c:v>
                      </c:pt>
                      <c:pt idx="3551">
                        <c:v>39689</c:v>
                      </c:pt>
                      <c:pt idx="3552">
                        <c:v>39692</c:v>
                      </c:pt>
                      <c:pt idx="3553">
                        <c:v>39693</c:v>
                      </c:pt>
                      <c:pt idx="3554">
                        <c:v>39694</c:v>
                      </c:pt>
                      <c:pt idx="3555">
                        <c:v>39695</c:v>
                      </c:pt>
                      <c:pt idx="3556">
                        <c:v>39696</c:v>
                      </c:pt>
                      <c:pt idx="3557">
                        <c:v>39699</c:v>
                      </c:pt>
                      <c:pt idx="3558">
                        <c:v>39700</c:v>
                      </c:pt>
                      <c:pt idx="3559">
                        <c:v>39701</c:v>
                      </c:pt>
                      <c:pt idx="3560">
                        <c:v>39702</c:v>
                      </c:pt>
                      <c:pt idx="3561">
                        <c:v>39703</c:v>
                      </c:pt>
                      <c:pt idx="3562">
                        <c:v>39706</c:v>
                      </c:pt>
                      <c:pt idx="3563">
                        <c:v>39707</c:v>
                      </c:pt>
                      <c:pt idx="3564">
                        <c:v>39708</c:v>
                      </c:pt>
                      <c:pt idx="3565">
                        <c:v>39709</c:v>
                      </c:pt>
                      <c:pt idx="3566">
                        <c:v>39710</c:v>
                      </c:pt>
                      <c:pt idx="3567">
                        <c:v>39713</c:v>
                      </c:pt>
                      <c:pt idx="3568">
                        <c:v>39714</c:v>
                      </c:pt>
                      <c:pt idx="3569">
                        <c:v>39715</c:v>
                      </c:pt>
                      <c:pt idx="3570">
                        <c:v>39716</c:v>
                      </c:pt>
                      <c:pt idx="3571">
                        <c:v>39717</c:v>
                      </c:pt>
                      <c:pt idx="3572">
                        <c:v>39720</c:v>
                      </c:pt>
                      <c:pt idx="3573">
                        <c:v>39721</c:v>
                      </c:pt>
                      <c:pt idx="3574">
                        <c:v>39722</c:v>
                      </c:pt>
                      <c:pt idx="3575">
                        <c:v>39723</c:v>
                      </c:pt>
                      <c:pt idx="3576">
                        <c:v>39724</c:v>
                      </c:pt>
                      <c:pt idx="3577">
                        <c:v>39727</c:v>
                      </c:pt>
                      <c:pt idx="3578">
                        <c:v>39728</c:v>
                      </c:pt>
                      <c:pt idx="3579">
                        <c:v>39729</c:v>
                      </c:pt>
                      <c:pt idx="3580">
                        <c:v>39730</c:v>
                      </c:pt>
                      <c:pt idx="3581">
                        <c:v>39731</c:v>
                      </c:pt>
                      <c:pt idx="3582">
                        <c:v>39734</c:v>
                      </c:pt>
                      <c:pt idx="3583">
                        <c:v>39735</c:v>
                      </c:pt>
                      <c:pt idx="3584">
                        <c:v>39736</c:v>
                      </c:pt>
                      <c:pt idx="3585">
                        <c:v>39737</c:v>
                      </c:pt>
                      <c:pt idx="3586">
                        <c:v>39738</c:v>
                      </c:pt>
                      <c:pt idx="3587">
                        <c:v>39741</c:v>
                      </c:pt>
                      <c:pt idx="3588">
                        <c:v>39742</c:v>
                      </c:pt>
                      <c:pt idx="3589">
                        <c:v>39743</c:v>
                      </c:pt>
                      <c:pt idx="3590">
                        <c:v>39744</c:v>
                      </c:pt>
                      <c:pt idx="3591">
                        <c:v>39745</c:v>
                      </c:pt>
                      <c:pt idx="3592">
                        <c:v>39748</c:v>
                      </c:pt>
                      <c:pt idx="3593">
                        <c:v>39749</c:v>
                      </c:pt>
                      <c:pt idx="3594">
                        <c:v>39750</c:v>
                      </c:pt>
                      <c:pt idx="3595">
                        <c:v>39751</c:v>
                      </c:pt>
                      <c:pt idx="3596">
                        <c:v>39752</c:v>
                      </c:pt>
                      <c:pt idx="3597">
                        <c:v>39755</c:v>
                      </c:pt>
                      <c:pt idx="3598">
                        <c:v>39756</c:v>
                      </c:pt>
                      <c:pt idx="3599">
                        <c:v>39757</c:v>
                      </c:pt>
                      <c:pt idx="3600">
                        <c:v>39758</c:v>
                      </c:pt>
                      <c:pt idx="3601">
                        <c:v>39759</c:v>
                      </c:pt>
                      <c:pt idx="3602">
                        <c:v>39762</c:v>
                      </c:pt>
                      <c:pt idx="3603">
                        <c:v>39763</c:v>
                      </c:pt>
                      <c:pt idx="3604">
                        <c:v>39764</c:v>
                      </c:pt>
                      <c:pt idx="3605">
                        <c:v>39765</c:v>
                      </c:pt>
                      <c:pt idx="3606">
                        <c:v>39766</c:v>
                      </c:pt>
                      <c:pt idx="3607">
                        <c:v>39769</c:v>
                      </c:pt>
                      <c:pt idx="3608">
                        <c:v>39770</c:v>
                      </c:pt>
                      <c:pt idx="3609">
                        <c:v>39771</c:v>
                      </c:pt>
                      <c:pt idx="3610">
                        <c:v>39772</c:v>
                      </c:pt>
                      <c:pt idx="3611">
                        <c:v>39773</c:v>
                      </c:pt>
                      <c:pt idx="3612">
                        <c:v>39776</c:v>
                      </c:pt>
                      <c:pt idx="3613">
                        <c:v>39777</c:v>
                      </c:pt>
                      <c:pt idx="3614">
                        <c:v>39778</c:v>
                      </c:pt>
                      <c:pt idx="3615">
                        <c:v>39779</c:v>
                      </c:pt>
                      <c:pt idx="3616">
                        <c:v>39780</c:v>
                      </c:pt>
                      <c:pt idx="3617">
                        <c:v>39783</c:v>
                      </c:pt>
                      <c:pt idx="3618">
                        <c:v>39784</c:v>
                      </c:pt>
                      <c:pt idx="3619">
                        <c:v>39785</c:v>
                      </c:pt>
                      <c:pt idx="3620">
                        <c:v>39786</c:v>
                      </c:pt>
                      <c:pt idx="3621">
                        <c:v>39787</c:v>
                      </c:pt>
                      <c:pt idx="3622">
                        <c:v>39790</c:v>
                      </c:pt>
                      <c:pt idx="3623">
                        <c:v>39791</c:v>
                      </c:pt>
                      <c:pt idx="3624">
                        <c:v>39792</c:v>
                      </c:pt>
                      <c:pt idx="3625">
                        <c:v>39793</c:v>
                      </c:pt>
                      <c:pt idx="3626">
                        <c:v>39794</c:v>
                      </c:pt>
                      <c:pt idx="3627">
                        <c:v>39797</c:v>
                      </c:pt>
                      <c:pt idx="3628">
                        <c:v>39798</c:v>
                      </c:pt>
                      <c:pt idx="3629">
                        <c:v>39799</c:v>
                      </c:pt>
                      <c:pt idx="3630">
                        <c:v>39800</c:v>
                      </c:pt>
                      <c:pt idx="3631">
                        <c:v>39801</c:v>
                      </c:pt>
                      <c:pt idx="3632">
                        <c:v>39804</c:v>
                      </c:pt>
                      <c:pt idx="3633">
                        <c:v>39805</c:v>
                      </c:pt>
                      <c:pt idx="3634">
                        <c:v>39806</c:v>
                      </c:pt>
                      <c:pt idx="3635">
                        <c:v>39807</c:v>
                      </c:pt>
                      <c:pt idx="3636">
                        <c:v>39808</c:v>
                      </c:pt>
                      <c:pt idx="3637">
                        <c:v>39811</c:v>
                      </c:pt>
                      <c:pt idx="3638">
                        <c:v>39812</c:v>
                      </c:pt>
                      <c:pt idx="3639">
                        <c:v>39813</c:v>
                      </c:pt>
                      <c:pt idx="3640">
                        <c:v>39814</c:v>
                      </c:pt>
                      <c:pt idx="3641">
                        <c:v>39815</c:v>
                      </c:pt>
                      <c:pt idx="3642">
                        <c:v>39818</c:v>
                      </c:pt>
                      <c:pt idx="3643">
                        <c:v>39819</c:v>
                      </c:pt>
                      <c:pt idx="3644">
                        <c:v>39820</c:v>
                      </c:pt>
                      <c:pt idx="3645">
                        <c:v>39821</c:v>
                      </c:pt>
                      <c:pt idx="3646">
                        <c:v>39822</c:v>
                      </c:pt>
                      <c:pt idx="3647">
                        <c:v>39825</c:v>
                      </c:pt>
                      <c:pt idx="3648">
                        <c:v>39826</c:v>
                      </c:pt>
                      <c:pt idx="3649">
                        <c:v>39827</c:v>
                      </c:pt>
                      <c:pt idx="3650">
                        <c:v>39828</c:v>
                      </c:pt>
                      <c:pt idx="3651">
                        <c:v>39829</c:v>
                      </c:pt>
                      <c:pt idx="3652">
                        <c:v>39832</c:v>
                      </c:pt>
                      <c:pt idx="3653">
                        <c:v>39833</c:v>
                      </c:pt>
                      <c:pt idx="3654">
                        <c:v>39834</c:v>
                      </c:pt>
                      <c:pt idx="3655">
                        <c:v>39835</c:v>
                      </c:pt>
                      <c:pt idx="3656">
                        <c:v>39836</c:v>
                      </c:pt>
                      <c:pt idx="3657">
                        <c:v>39839</c:v>
                      </c:pt>
                      <c:pt idx="3658">
                        <c:v>39840</c:v>
                      </c:pt>
                      <c:pt idx="3659">
                        <c:v>39841</c:v>
                      </c:pt>
                      <c:pt idx="3660">
                        <c:v>39842</c:v>
                      </c:pt>
                      <c:pt idx="3661">
                        <c:v>39843</c:v>
                      </c:pt>
                      <c:pt idx="3662">
                        <c:v>39846</c:v>
                      </c:pt>
                      <c:pt idx="3663">
                        <c:v>39847</c:v>
                      </c:pt>
                      <c:pt idx="3664">
                        <c:v>39848</c:v>
                      </c:pt>
                      <c:pt idx="3665">
                        <c:v>39849</c:v>
                      </c:pt>
                      <c:pt idx="3666">
                        <c:v>39850</c:v>
                      </c:pt>
                      <c:pt idx="3667">
                        <c:v>39853</c:v>
                      </c:pt>
                      <c:pt idx="3668">
                        <c:v>39854</c:v>
                      </c:pt>
                      <c:pt idx="3669">
                        <c:v>39855</c:v>
                      </c:pt>
                      <c:pt idx="3670">
                        <c:v>39856</c:v>
                      </c:pt>
                      <c:pt idx="3671">
                        <c:v>39857</c:v>
                      </c:pt>
                      <c:pt idx="3672">
                        <c:v>39860</c:v>
                      </c:pt>
                      <c:pt idx="3673">
                        <c:v>39861</c:v>
                      </c:pt>
                      <c:pt idx="3674">
                        <c:v>39862</c:v>
                      </c:pt>
                      <c:pt idx="3675">
                        <c:v>39863</c:v>
                      </c:pt>
                      <c:pt idx="3676">
                        <c:v>39864</c:v>
                      </c:pt>
                      <c:pt idx="3677">
                        <c:v>39867</c:v>
                      </c:pt>
                      <c:pt idx="3678">
                        <c:v>39868</c:v>
                      </c:pt>
                      <c:pt idx="3679">
                        <c:v>39869</c:v>
                      </c:pt>
                      <c:pt idx="3680">
                        <c:v>39870</c:v>
                      </c:pt>
                      <c:pt idx="3681">
                        <c:v>39871</c:v>
                      </c:pt>
                      <c:pt idx="3682">
                        <c:v>39874</c:v>
                      </c:pt>
                      <c:pt idx="3683">
                        <c:v>39875</c:v>
                      </c:pt>
                      <c:pt idx="3684">
                        <c:v>39876</c:v>
                      </c:pt>
                      <c:pt idx="3685">
                        <c:v>39877</c:v>
                      </c:pt>
                      <c:pt idx="3686">
                        <c:v>39878</c:v>
                      </c:pt>
                      <c:pt idx="3687">
                        <c:v>39881</c:v>
                      </c:pt>
                      <c:pt idx="3688">
                        <c:v>39882</c:v>
                      </c:pt>
                      <c:pt idx="3689">
                        <c:v>39883</c:v>
                      </c:pt>
                      <c:pt idx="3690">
                        <c:v>39884</c:v>
                      </c:pt>
                      <c:pt idx="3691">
                        <c:v>39885</c:v>
                      </c:pt>
                      <c:pt idx="3692">
                        <c:v>39888</c:v>
                      </c:pt>
                      <c:pt idx="3693">
                        <c:v>39889</c:v>
                      </c:pt>
                      <c:pt idx="3694">
                        <c:v>39890</c:v>
                      </c:pt>
                      <c:pt idx="3695">
                        <c:v>39891</c:v>
                      </c:pt>
                      <c:pt idx="3696">
                        <c:v>39892</c:v>
                      </c:pt>
                      <c:pt idx="3697">
                        <c:v>39895</c:v>
                      </c:pt>
                      <c:pt idx="3698">
                        <c:v>39896</c:v>
                      </c:pt>
                      <c:pt idx="3699">
                        <c:v>39897</c:v>
                      </c:pt>
                      <c:pt idx="3700">
                        <c:v>39898</c:v>
                      </c:pt>
                      <c:pt idx="3701">
                        <c:v>39899</c:v>
                      </c:pt>
                      <c:pt idx="3702">
                        <c:v>39902</c:v>
                      </c:pt>
                      <c:pt idx="3703">
                        <c:v>39903</c:v>
                      </c:pt>
                      <c:pt idx="3704">
                        <c:v>39904</c:v>
                      </c:pt>
                      <c:pt idx="3705">
                        <c:v>39905</c:v>
                      </c:pt>
                      <c:pt idx="3706">
                        <c:v>39906</c:v>
                      </c:pt>
                      <c:pt idx="3707">
                        <c:v>39909</c:v>
                      </c:pt>
                      <c:pt idx="3708">
                        <c:v>39910</c:v>
                      </c:pt>
                      <c:pt idx="3709">
                        <c:v>39911</c:v>
                      </c:pt>
                      <c:pt idx="3710">
                        <c:v>39912</c:v>
                      </c:pt>
                      <c:pt idx="3711">
                        <c:v>39913</c:v>
                      </c:pt>
                      <c:pt idx="3712">
                        <c:v>39916</c:v>
                      </c:pt>
                      <c:pt idx="3713">
                        <c:v>39917</c:v>
                      </c:pt>
                      <c:pt idx="3714">
                        <c:v>39918</c:v>
                      </c:pt>
                      <c:pt idx="3715">
                        <c:v>39919</c:v>
                      </c:pt>
                      <c:pt idx="3716">
                        <c:v>39920</c:v>
                      </c:pt>
                      <c:pt idx="3717">
                        <c:v>39923</c:v>
                      </c:pt>
                      <c:pt idx="3718">
                        <c:v>39924</c:v>
                      </c:pt>
                      <c:pt idx="3719">
                        <c:v>39925</c:v>
                      </c:pt>
                      <c:pt idx="3720">
                        <c:v>39926</c:v>
                      </c:pt>
                      <c:pt idx="3721">
                        <c:v>39927</c:v>
                      </c:pt>
                      <c:pt idx="3722">
                        <c:v>39930</c:v>
                      </c:pt>
                      <c:pt idx="3723">
                        <c:v>39931</c:v>
                      </c:pt>
                      <c:pt idx="3724">
                        <c:v>39932</c:v>
                      </c:pt>
                      <c:pt idx="3725">
                        <c:v>39933</c:v>
                      </c:pt>
                      <c:pt idx="3726">
                        <c:v>39934</c:v>
                      </c:pt>
                      <c:pt idx="3727">
                        <c:v>39937</c:v>
                      </c:pt>
                      <c:pt idx="3728">
                        <c:v>39938</c:v>
                      </c:pt>
                      <c:pt idx="3729">
                        <c:v>39939</c:v>
                      </c:pt>
                      <c:pt idx="3730">
                        <c:v>39940</c:v>
                      </c:pt>
                      <c:pt idx="3731">
                        <c:v>39941</c:v>
                      </c:pt>
                      <c:pt idx="3732">
                        <c:v>39944</c:v>
                      </c:pt>
                      <c:pt idx="3733">
                        <c:v>39945</c:v>
                      </c:pt>
                      <c:pt idx="3734">
                        <c:v>39946</c:v>
                      </c:pt>
                      <c:pt idx="3735">
                        <c:v>39947</c:v>
                      </c:pt>
                      <c:pt idx="3736">
                        <c:v>39948</c:v>
                      </c:pt>
                      <c:pt idx="3737">
                        <c:v>39951</c:v>
                      </c:pt>
                      <c:pt idx="3738">
                        <c:v>39952</c:v>
                      </c:pt>
                      <c:pt idx="3739">
                        <c:v>39953</c:v>
                      </c:pt>
                      <c:pt idx="3740">
                        <c:v>39954</c:v>
                      </c:pt>
                      <c:pt idx="3741">
                        <c:v>39955</c:v>
                      </c:pt>
                      <c:pt idx="3742">
                        <c:v>39958</c:v>
                      </c:pt>
                      <c:pt idx="3743">
                        <c:v>39959</c:v>
                      </c:pt>
                      <c:pt idx="3744">
                        <c:v>39960</c:v>
                      </c:pt>
                      <c:pt idx="3745">
                        <c:v>39961</c:v>
                      </c:pt>
                      <c:pt idx="3746">
                        <c:v>39962</c:v>
                      </c:pt>
                      <c:pt idx="3747">
                        <c:v>39965</c:v>
                      </c:pt>
                      <c:pt idx="3748">
                        <c:v>39966</c:v>
                      </c:pt>
                      <c:pt idx="3749">
                        <c:v>39967</c:v>
                      </c:pt>
                      <c:pt idx="3750">
                        <c:v>39968</c:v>
                      </c:pt>
                      <c:pt idx="3751">
                        <c:v>39969</c:v>
                      </c:pt>
                      <c:pt idx="3752">
                        <c:v>39972</c:v>
                      </c:pt>
                      <c:pt idx="3753">
                        <c:v>39973</c:v>
                      </c:pt>
                      <c:pt idx="3754">
                        <c:v>39974</c:v>
                      </c:pt>
                      <c:pt idx="3755">
                        <c:v>39975</c:v>
                      </c:pt>
                      <c:pt idx="3756">
                        <c:v>39976</c:v>
                      </c:pt>
                      <c:pt idx="3757">
                        <c:v>39979</c:v>
                      </c:pt>
                      <c:pt idx="3758">
                        <c:v>39980</c:v>
                      </c:pt>
                      <c:pt idx="3759">
                        <c:v>39981</c:v>
                      </c:pt>
                      <c:pt idx="3760">
                        <c:v>39982</c:v>
                      </c:pt>
                      <c:pt idx="3761">
                        <c:v>39983</c:v>
                      </c:pt>
                      <c:pt idx="3762">
                        <c:v>39986</c:v>
                      </c:pt>
                      <c:pt idx="3763">
                        <c:v>39987</c:v>
                      </c:pt>
                      <c:pt idx="3764">
                        <c:v>39988</c:v>
                      </c:pt>
                      <c:pt idx="3765">
                        <c:v>39989</c:v>
                      </c:pt>
                      <c:pt idx="3766">
                        <c:v>39990</c:v>
                      </c:pt>
                      <c:pt idx="3767">
                        <c:v>39993</c:v>
                      </c:pt>
                      <c:pt idx="3768">
                        <c:v>39994</c:v>
                      </c:pt>
                      <c:pt idx="3769">
                        <c:v>39995</c:v>
                      </c:pt>
                      <c:pt idx="3770">
                        <c:v>39996</c:v>
                      </c:pt>
                      <c:pt idx="3771">
                        <c:v>39997</c:v>
                      </c:pt>
                      <c:pt idx="3772">
                        <c:v>40000</c:v>
                      </c:pt>
                      <c:pt idx="3773">
                        <c:v>40001</c:v>
                      </c:pt>
                      <c:pt idx="3774">
                        <c:v>40002</c:v>
                      </c:pt>
                      <c:pt idx="3775">
                        <c:v>40003</c:v>
                      </c:pt>
                      <c:pt idx="3776">
                        <c:v>40004</c:v>
                      </c:pt>
                      <c:pt idx="3777">
                        <c:v>40007</c:v>
                      </c:pt>
                      <c:pt idx="3778">
                        <c:v>40008</c:v>
                      </c:pt>
                      <c:pt idx="3779">
                        <c:v>40009</c:v>
                      </c:pt>
                      <c:pt idx="3780">
                        <c:v>40010</c:v>
                      </c:pt>
                      <c:pt idx="3781">
                        <c:v>40011</c:v>
                      </c:pt>
                      <c:pt idx="3782">
                        <c:v>40014</c:v>
                      </c:pt>
                      <c:pt idx="3783">
                        <c:v>40015</c:v>
                      </c:pt>
                      <c:pt idx="3784">
                        <c:v>40016</c:v>
                      </c:pt>
                      <c:pt idx="3785">
                        <c:v>40017</c:v>
                      </c:pt>
                      <c:pt idx="3786">
                        <c:v>40018</c:v>
                      </c:pt>
                      <c:pt idx="3787">
                        <c:v>40021</c:v>
                      </c:pt>
                      <c:pt idx="3788">
                        <c:v>40022</c:v>
                      </c:pt>
                      <c:pt idx="3789">
                        <c:v>40023</c:v>
                      </c:pt>
                      <c:pt idx="3790">
                        <c:v>40024</c:v>
                      </c:pt>
                      <c:pt idx="3791">
                        <c:v>40025</c:v>
                      </c:pt>
                      <c:pt idx="3792">
                        <c:v>40028</c:v>
                      </c:pt>
                      <c:pt idx="3793">
                        <c:v>40029</c:v>
                      </c:pt>
                      <c:pt idx="3794">
                        <c:v>40030</c:v>
                      </c:pt>
                      <c:pt idx="3795">
                        <c:v>40031</c:v>
                      </c:pt>
                      <c:pt idx="3796">
                        <c:v>40032</c:v>
                      </c:pt>
                      <c:pt idx="3797">
                        <c:v>40035</c:v>
                      </c:pt>
                      <c:pt idx="3798">
                        <c:v>40036</c:v>
                      </c:pt>
                      <c:pt idx="3799">
                        <c:v>40037</c:v>
                      </c:pt>
                      <c:pt idx="3800">
                        <c:v>40038</c:v>
                      </c:pt>
                      <c:pt idx="3801">
                        <c:v>40039</c:v>
                      </c:pt>
                      <c:pt idx="3802">
                        <c:v>40042</c:v>
                      </c:pt>
                      <c:pt idx="3803">
                        <c:v>40043</c:v>
                      </c:pt>
                      <c:pt idx="3804">
                        <c:v>40044</c:v>
                      </c:pt>
                      <c:pt idx="3805">
                        <c:v>40045</c:v>
                      </c:pt>
                      <c:pt idx="3806">
                        <c:v>40046</c:v>
                      </c:pt>
                      <c:pt idx="3807">
                        <c:v>40049</c:v>
                      </c:pt>
                      <c:pt idx="3808">
                        <c:v>40050</c:v>
                      </c:pt>
                      <c:pt idx="3809">
                        <c:v>40051</c:v>
                      </c:pt>
                      <c:pt idx="3810">
                        <c:v>40052</c:v>
                      </c:pt>
                      <c:pt idx="3811">
                        <c:v>40053</c:v>
                      </c:pt>
                      <c:pt idx="3812">
                        <c:v>40056</c:v>
                      </c:pt>
                      <c:pt idx="3813">
                        <c:v>40057</c:v>
                      </c:pt>
                      <c:pt idx="3814">
                        <c:v>40058</c:v>
                      </c:pt>
                      <c:pt idx="3815">
                        <c:v>40059</c:v>
                      </c:pt>
                      <c:pt idx="3816">
                        <c:v>40060</c:v>
                      </c:pt>
                      <c:pt idx="3817">
                        <c:v>40063</c:v>
                      </c:pt>
                      <c:pt idx="3818">
                        <c:v>40064</c:v>
                      </c:pt>
                      <c:pt idx="3819">
                        <c:v>40065</c:v>
                      </c:pt>
                      <c:pt idx="3820">
                        <c:v>40066</c:v>
                      </c:pt>
                      <c:pt idx="3821">
                        <c:v>40067</c:v>
                      </c:pt>
                      <c:pt idx="3822">
                        <c:v>40070</c:v>
                      </c:pt>
                      <c:pt idx="3823">
                        <c:v>40071</c:v>
                      </c:pt>
                      <c:pt idx="3824">
                        <c:v>40072</c:v>
                      </c:pt>
                      <c:pt idx="3825">
                        <c:v>40073</c:v>
                      </c:pt>
                      <c:pt idx="3826">
                        <c:v>40074</c:v>
                      </c:pt>
                      <c:pt idx="3827">
                        <c:v>40077</c:v>
                      </c:pt>
                      <c:pt idx="3828">
                        <c:v>40078</c:v>
                      </c:pt>
                      <c:pt idx="3829">
                        <c:v>40079</c:v>
                      </c:pt>
                      <c:pt idx="3830">
                        <c:v>40080</c:v>
                      </c:pt>
                      <c:pt idx="3831">
                        <c:v>40081</c:v>
                      </c:pt>
                      <c:pt idx="3832">
                        <c:v>40084</c:v>
                      </c:pt>
                      <c:pt idx="3833">
                        <c:v>40085</c:v>
                      </c:pt>
                      <c:pt idx="3834">
                        <c:v>40086</c:v>
                      </c:pt>
                      <c:pt idx="3835">
                        <c:v>40087</c:v>
                      </c:pt>
                      <c:pt idx="3836">
                        <c:v>40088</c:v>
                      </c:pt>
                      <c:pt idx="3837">
                        <c:v>40091</c:v>
                      </c:pt>
                      <c:pt idx="3838">
                        <c:v>40092</c:v>
                      </c:pt>
                      <c:pt idx="3839">
                        <c:v>40093</c:v>
                      </c:pt>
                      <c:pt idx="3840">
                        <c:v>40094</c:v>
                      </c:pt>
                      <c:pt idx="3841">
                        <c:v>40095</c:v>
                      </c:pt>
                      <c:pt idx="3842">
                        <c:v>40098</c:v>
                      </c:pt>
                      <c:pt idx="3843">
                        <c:v>40099</c:v>
                      </c:pt>
                      <c:pt idx="3844">
                        <c:v>40100</c:v>
                      </c:pt>
                      <c:pt idx="3845">
                        <c:v>40101</c:v>
                      </c:pt>
                      <c:pt idx="3846">
                        <c:v>40102</c:v>
                      </c:pt>
                      <c:pt idx="3847">
                        <c:v>40105</c:v>
                      </c:pt>
                      <c:pt idx="3848">
                        <c:v>40106</c:v>
                      </c:pt>
                      <c:pt idx="3849">
                        <c:v>40107</c:v>
                      </c:pt>
                      <c:pt idx="3850">
                        <c:v>40108</c:v>
                      </c:pt>
                      <c:pt idx="3851">
                        <c:v>40109</c:v>
                      </c:pt>
                      <c:pt idx="3852">
                        <c:v>40112</c:v>
                      </c:pt>
                      <c:pt idx="3853">
                        <c:v>40113</c:v>
                      </c:pt>
                      <c:pt idx="3854">
                        <c:v>40114</c:v>
                      </c:pt>
                      <c:pt idx="3855">
                        <c:v>40115</c:v>
                      </c:pt>
                      <c:pt idx="3856">
                        <c:v>40116</c:v>
                      </c:pt>
                      <c:pt idx="3857">
                        <c:v>40119</c:v>
                      </c:pt>
                      <c:pt idx="3858">
                        <c:v>40120</c:v>
                      </c:pt>
                      <c:pt idx="3859">
                        <c:v>40121</c:v>
                      </c:pt>
                      <c:pt idx="3860">
                        <c:v>40122</c:v>
                      </c:pt>
                      <c:pt idx="3861">
                        <c:v>40123</c:v>
                      </c:pt>
                      <c:pt idx="3862">
                        <c:v>40126</c:v>
                      </c:pt>
                      <c:pt idx="3863">
                        <c:v>40127</c:v>
                      </c:pt>
                      <c:pt idx="3864">
                        <c:v>40128</c:v>
                      </c:pt>
                      <c:pt idx="3865">
                        <c:v>40129</c:v>
                      </c:pt>
                      <c:pt idx="3866">
                        <c:v>40130</c:v>
                      </c:pt>
                      <c:pt idx="3867">
                        <c:v>40133</c:v>
                      </c:pt>
                      <c:pt idx="3868">
                        <c:v>40134</c:v>
                      </c:pt>
                      <c:pt idx="3869">
                        <c:v>40135</c:v>
                      </c:pt>
                      <c:pt idx="3870">
                        <c:v>40136</c:v>
                      </c:pt>
                      <c:pt idx="3871">
                        <c:v>40137</c:v>
                      </c:pt>
                      <c:pt idx="3872">
                        <c:v>40140</c:v>
                      </c:pt>
                      <c:pt idx="3873">
                        <c:v>40141</c:v>
                      </c:pt>
                      <c:pt idx="3874">
                        <c:v>40142</c:v>
                      </c:pt>
                      <c:pt idx="3875">
                        <c:v>40143</c:v>
                      </c:pt>
                      <c:pt idx="3876">
                        <c:v>40144</c:v>
                      </c:pt>
                      <c:pt idx="3877">
                        <c:v>40147</c:v>
                      </c:pt>
                      <c:pt idx="3878">
                        <c:v>40148</c:v>
                      </c:pt>
                      <c:pt idx="3879">
                        <c:v>40149</c:v>
                      </c:pt>
                      <c:pt idx="3880">
                        <c:v>40150</c:v>
                      </c:pt>
                      <c:pt idx="3881">
                        <c:v>40151</c:v>
                      </c:pt>
                      <c:pt idx="3882">
                        <c:v>40154</c:v>
                      </c:pt>
                      <c:pt idx="3883">
                        <c:v>40155</c:v>
                      </c:pt>
                      <c:pt idx="3884">
                        <c:v>40156</c:v>
                      </c:pt>
                      <c:pt idx="3885">
                        <c:v>40157</c:v>
                      </c:pt>
                      <c:pt idx="3886">
                        <c:v>40158</c:v>
                      </c:pt>
                      <c:pt idx="3887">
                        <c:v>40161</c:v>
                      </c:pt>
                      <c:pt idx="3888">
                        <c:v>40162</c:v>
                      </c:pt>
                      <c:pt idx="3889">
                        <c:v>40163</c:v>
                      </c:pt>
                      <c:pt idx="3890">
                        <c:v>40164</c:v>
                      </c:pt>
                      <c:pt idx="3891">
                        <c:v>40165</c:v>
                      </c:pt>
                      <c:pt idx="3892">
                        <c:v>40168</c:v>
                      </c:pt>
                      <c:pt idx="3893">
                        <c:v>40169</c:v>
                      </c:pt>
                      <c:pt idx="3894">
                        <c:v>40170</c:v>
                      </c:pt>
                      <c:pt idx="3895">
                        <c:v>40171</c:v>
                      </c:pt>
                      <c:pt idx="3896">
                        <c:v>40172</c:v>
                      </c:pt>
                      <c:pt idx="3897">
                        <c:v>40175</c:v>
                      </c:pt>
                      <c:pt idx="3898">
                        <c:v>40176</c:v>
                      </c:pt>
                      <c:pt idx="3899">
                        <c:v>40177</c:v>
                      </c:pt>
                      <c:pt idx="3900">
                        <c:v>40178</c:v>
                      </c:pt>
                      <c:pt idx="3901">
                        <c:v>40179</c:v>
                      </c:pt>
                      <c:pt idx="3902">
                        <c:v>40182</c:v>
                      </c:pt>
                      <c:pt idx="3903">
                        <c:v>40183</c:v>
                      </c:pt>
                      <c:pt idx="3904">
                        <c:v>40184</c:v>
                      </c:pt>
                      <c:pt idx="3905">
                        <c:v>40185</c:v>
                      </c:pt>
                      <c:pt idx="3906">
                        <c:v>40186</c:v>
                      </c:pt>
                      <c:pt idx="3907">
                        <c:v>40189</c:v>
                      </c:pt>
                      <c:pt idx="3908">
                        <c:v>40190</c:v>
                      </c:pt>
                      <c:pt idx="3909">
                        <c:v>40191</c:v>
                      </c:pt>
                      <c:pt idx="3910">
                        <c:v>40192</c:v>
                      </c:pt>
                      <c:pt idx="3911">
                        <c:v>40193</c:v>
                      </c:pt>
                      <c:pt idx="3912">
                        <c:v>40196</c:v>
                      </c:pt>
                      <c:pt idx="3913">
                        <c:v>40197</c:v>
                      </c:pt>
                      <c:pt idx="3914">
                        <c:v>40198</c:v>
                      </c:pt>
                      <c:pt idx="3915">
                        <c:v>40199</c:v>
                      </c:pt>
                      <c:pt idx="3916">
                        <c:v>40200</c:v>
                      </c:pt>
                      <c:pt idx="3917">
                        <c:v>40203</c:v>
                      </c:pt>
                      <c:pt idx="3918">
                        <c:v>40204</c:v>
                      </c:pt>
                      <c:pt idx="3919">
                        <c:v>40205</c:v>
                      </c:pt>
                      <c:pt idx="3920">
                        <c:v>40206</c:v>
                      </c:pt>
                      <c:pt idx="3921">
                        <c:v>40207</c:v>
                      </c:pt>
                      <c:pt idx="3922">
                        <c:v>40210</c:v>
                      </c:pt>
                      <c:pt idx="3923">
                        <c:v>40211</c:v>
                      </c:pt>
                      <c:pt idx="3924">
                        <c:v>40212</c:v>
                      </c:pt>
                      <c:pt idx="3925">
                        <c:v>40213</c:v>
                      </c:pt>
                      <c:pt idx="3926">
                        <c:v>40214</c:v>
                      </c:pt>
                      <c:pt idx="3927">
                        <c:v>40217</c:v>
                      </c:pt>
                      <c:pt idx="3928">
                        <c:v>40218</c:v>
                      </c:pt>
                      <c:pt idx="3929">
                        <c:v>40219</c:v>
                      </c:pt>
                      <c:pt idx="3930">
                        <c:v>40220</c:v>
                      </c:pt>
                      <c:pt idx="3931">
                        <c:v>40221</c:v>
                      </c:pt>
                      <c:pt idx="3932">
                        <c:v>40224</c:v>
                      </c:pt>
                      <c:pt idx="3933">
                        <c:v>40225</c:v>
                      </c:pt>
                      <c:pt idx="3934">
                        <c:v>40226</c:v>
                      </c:pt>
                      <c:pt idx="3935">
                        <c:v>40227</c:v>
                      </c:pt>
                      <c:pt idx="3936">
                        <c:v>40228</c:v>
                      </c:pt>
                      <c:pt idx="3937">
                        <c:v>40231</c:v>
                      </c:pt>
                      <c:pt idx="3938">
                        <c:v>40232</c:v>
                      </c:pt>
                      <c:pt idx="3939">
                        <c:v>40233</c:v>
                      </c:pt>
                      <c:pt idx="3940">
                        <c:v>40234</c:v>
                      </c:pt>
                      <c:pt idx="3941">
                        <c:v>40235</c:v>
                      </c:pt>
                      <c:pt idx="3942">
                        <c:v>40238</c:v>
                      </c:pt>
                      <c:pt idx="3943">
                        <c:v>40239</c:v>
                      </c:pt>
                      <c:pt idx="3944">
                        <c:v>40240</c:v>
                      </c:pt>
                      <c:pt idx="3945">
                        <c:v>40241</c:v>
                      </c:pt>
                      <c:pt idx="3946">
                        <c:v>40242</c:v>
                      </c:pt>
                      <c:pt idx="3947">
                        <c:v>40245</c:v>
                      </c:pt>
                      <c:pt idx="3948">
                        <c:v>40246</c:v>
                      </c:pt>
                      <c:pt idx="3949">
                        <c:v>40247</c:v>
                      </c:pt>
                      <c:pt idx="3950">
                        <c:v>40248</c:v>
                      </c:pt>
                      <c:pt idx="3951">
                        <c:v>40249</c:v>
                      </c:pt>
                      <c:pt idx="3952">
                        <c:v>40252</c:v>
                      </c:pt>
                      <c:pt idx="3953">
                        <c:v>40253</c:v>
                      </c:pt>
                      <c:pt idx="3954">
                        <c:v>40254</c:v>
                      </c:pt>
                      <c:pt idx="3955">
                        <c:v>40255</c:v>
                      </c:pt>
                      <c:pt idx="3956">
                        <c:v>40256</c:v>
                      </c:pt>
                      <c:pt idx="3957">
                        <c:v>40259</c:v>
                      </c:pt>
                      <c:pt idx="3958">
                        <c:v>40260</c:v>
                      </c:pt>
                      <c:pt idx="3959">
                        <c:v>40261</c:v>
                      </c:pt>
                      <c:pt idx="3960">
                        <c:v>40262</c:v>
                      </c:pt>
                      <c:pt idx="3961">
                        <c:v>40263</c:v>
                      </c:pt>
                      <c:pt idx="3962">
                        <c:v>40266</c:v>
                      </c:pt>
                      <c:pt idx="3963">
                        <c:v>40267</c:v>
                      </c:pt>
                      <c:pt idx="3964">
                        <c:v>40268</c:v>
                      </c:pt>
                      <c:pt idx="3965">
                        <c:v>40269</c:v>
                      </c:pt>
                      <c:pt idx="3966">
                        <c:v>40270</c:v>
                      </c:pt>
                      <c:pt idx="3967">
                        <c:v>40273</c:v>
                      </c:pt>
                      <c:pt idx="3968">
                        <c:v>40274</c:v>
                      </c:pt>
                      <c:pt idx="3969">
                        <c:v>40275</c:v>
                      </c:pt>
                      <c:pt idx="3970">
                        <c:v>40276</c:v>
                      </c:pt>
                      <c:pt idx="3971">
                        <c:v>40277</c:v>
                      </c:pt>
                      <c:pt idx="3972">
                        <c:v>40280</c:v>
                      </c:pt>
                      <c:pt idx="3973">
                        <c:v>40281</c:v>
                      </c:pt>
                      <c:pt idx="3974">
                        <c:v>40282</c:v>
                      </c:pt>
                      <c:pt idx="3975">
                        <c:v>40283</c:v>
                      </c:pt>
                      <c:pt idx="3976">
                        <c:v>40284</c:v>
                      </c:pt>
                      <c:pt idx="3977">
                        <c:v>40287</c:v>
                      </c:pt>
                      <c:pt idx="3978">
                        <c:v>40288</c:v>
                      </c:pt>
                      <c:pt idx="3979">
                        <c:v>40289</c:v>
                      </c:pt>
                      <c:pt idx="3980">
                        <c:v>40290</c:v>
                      </c:pt>
                      <c:pt idx="3981">
                        <c:v>40291</c:v>
                      </c:pt>
                      <c:pt idx="3982">
                        <c:v>40294</c:v>
                      </c:pt>
                      <c:pt idx="3983">
                        <c:v>40295</c:v>
                      </c:pt>
                      <c:pt idx="3984">
                        <c:v>40296</c:v>
                      </c:pt>
                      <c:pt idx="3985">
                        <c:v>40297</c:v>
                      </c:pt>
                      <c:pt idx="3986">
                        <c:v>40298</c:v>
                      </c:pt>
                      <c:pt idx="3987">
                        <c:v>40301</c:v>
                      </c:pt>
                      <c:pt idx="3988">
                        <c:v>40302</c:v>
                      </c:pt>
                      <c:pt idx="3989">
                        <c:v>40303</c:v>
                      </c:pt>
                      <c:pt idx="3990">
                        <c:v>40304</c:v>
                      </c:pt>
                      <c:pt idx="3991">
                        <c:v>40305</c:v>
                      </c:pt>
                      <c:pt idx="3992">
                        <c:v>40308</c:v>
                      </c:pt>
                      <c:pt idx="3993">
                        <c:v>40309</c:v>
                      </c:pt>
                      <c:pt idx="3994">
                        <c:v>40310</c:v>
                      </c:pt>
                      <c:pt idx="3995">
                        <c:v>40311</c:v>
                      </c:pt>
                      <c:pt idx="3996">
                        <c:v>40312</c:v>
                      </c:pt>
                      <c:pt idx="3997">
                        <c:v>40315</c:v>
                      </c:pt>
                      <c:pt idx="3998">
                        <c:v>40316</c:v>
                      </c:pt>
                      <c:pt idx="3999">
                        <c:v>40317</c:v>
                      </c:pt>
                      <c:pt idx="4000">
                        <c:v>40318</c:v>
                      </c:pt>
                      <c:pt idx="4001">
                        <c:v>40319</c:v>
                      </c:pt>
                      <c:pt idx="4002">
                        <c:v>40322</c:v>
                      </c:pt>
                      <c:pt idx="4003">
                        <c:v>40323</c:v>
                      </c:pt>
                      <c:pt idx="4004">
                        <c:v>40324</c:v>
                      </c:pt>
                      <c:pt idx="4005">
                        <c:v>40325</c:v>
                      </c:pt>
                      <c:pt idx="4006">
                        <c:v>40326</c:v>
                      </c:pt>
                      <c:pt idx="4007">
                        <c:v>40329</c:v>
                      </c:pt>
                      <c:pt idx="4008">
                        <c:v>40330</c:v>
                      </c:pt>
                      <c:pt idx="4009">
                        <c:v>40331</c:v>
                      </c:pt>
                      <c:pt idx="4010">
                        <c:v>40332</c:v>
                      </c:pt>
                      <c:pt idx="4011">
                        <c:v>40333</c:v>
                      </c:pt>
                      <c:pt idx="4012">
                        <c:v>40336</c:v>
                      </c:pt>
                      <c:pt idx="4013">
                        <c:v>40337</c:v>
                      </c:pt>
                      <c:pt idx="4014">
                        <c:v>40338</c:v>
                      </c:pt>
                      <c:pt idx="4015">
                        <c:v>40339</c:v>
                      </c:pt>
                      <c:pt idx="4016">
                        <c:v>40340</c:v>
                      </c:pt>
                      <c:pt idx="4017">
                        <c:v>40343</c:v>
                      </c:pt>
                      <c:pt idx="4018">
                        <c:v>40344</c:v>
                      </c:pt>
                      <c:pt idx="4019">
                        <c:v>40345</c:v>
                      </c:pt>
                      <c:pt idx="4020">
                        <c:v>40346</c:v>
                      </c:pt>
                      <c:pt idx="4021">
                        <c:v>40347</c:v>
                      </c:pt>
                      <c:pt idx="4022">
                        <c:v>40350</c:v>
                      </c:pt>
                      <c:pt idx="4023">
                        <c:v>40351</c:v>
                      </c:pt>
                      <c:pt idx="4024">
                        <c:v>40352</c:v>
                      </c:pt>
                      <c:pt idx="4025">
                        <c:v>40353</c:v>
                      </c:pt>
                      <c:pt idx="4026">
                        <c:v>40354</c:v>
                      </c:pt>
                      <c:pt idx="4027">
                        <c:v>40357</c:v>
                      </c:pt>
                      <c:pt idx="4028">
                        <c:v>40358</c:v>
                      </c:pt>
                      <c:pt idx="4029">
                        <c:v>40359</c:v>
                      </c:pt>
                      <c:pt idx="4030">
                        <c:v>40360</c:v>
                      </c:pt>
                      <c:pt idx="4031">
                        <c:v>40361</c:v>
                      </c:pt>
                      <c:pt idx="4032">
                        <c:v>40364</c:v>
                      </c:pt>
                      <c:pt idx="4033">
                        <c:v>40365</c:v>
                      </c:pt>
                      <c:pt idx="4034">
                        <c:v>40366</c:v>
                      </c:pt>
                      <c:pt idx="4035">
                        <c:v>40367</c:v>
                      </c:pt>
                      <c:pt idx="4036">
                        <c:v>40368</c:v>
                      </c:pt>
                      <c:pt idx="4037">
                        <c:v>40371</c:v>
                      </c:pt>
                      <c:pt idx="4038">
                        <c:v>40372</c:v>
                      </c:pt>
                      <c:pt idx="4039">
                        <c:v>40373</c:v>
                      </c:pt>
                      <c:pt idx="4040">
                        <c:v>40374</c:v>
                      </c:pt>
                      <c:pt idx="4041">
                        <c:v>40375</c:v>
                      </c:pt>
                      <c:pt idx="4042">
                        <c:v>40378</c:v>
                      </c:pt>
                      <c:pt idx="4043">
                        <c:v>40379</c:v>
                      </c:pt>
                      <c:pt idx="4044">
                        <c:v>40380</c:v>
                      </c:pt>
                      <c:pt idx="4045">
                        <c:v>40381</c:v>
                      </c:pt>
                      <c:pt idx="4046">
                        <c:v>40382</c:v>
                      </c:pt>
                      <c:pt idx="4047">
                        <c:v>40385</c:v>
                      </c:pt>
                      <c:pt idx="4048">
                        <c:v>40386</c:v>
                      </c:pt>
                      <c:pt idx="4049">
                        <c:v>40387</c:v>
                      </c:pt>
                      <c:pt idx="4050">
                        <c:v>40388</c:v>
                      </c:pt>
                      <c:pt idx="4051">
                        <c:v>40389</c:v>
                      </c:pt>
                      <c:pt idx="4052">
                        <c:v>40392</c:v>
                      </c:pt>
                      <c:pt idx="4053">
                        <c:v>40393</c:v>
                      </c:pt>
                      <c:pt idx="4054">
                        <c:v>40394</c:v>
                      </c:pt>
                      <c:pt idx="4055">
                        <c:v>40395</c:v>
                      </c:pt>
                      <c:pt idx="4056">
                        <c:v>40396</c:v>
                      </c:pt>
                      <c:pt idx="4057">
                        <c:v>40399</c:v>
                      </c:pt>
                      <c:pt idx="4058">
                        <c:v>40400</c:v>
                      </c:pt>
                      <c:pt idx="4059">
                        <c:v>40401</c:v>
                      </c:pt>
                      <c:pt idx="4060">
                        <c:v>40402</c:v>
                      </c:pt>
                      <c:pt idx="4061">
                        <c:v>40403</c:v>
                      </c:pt>
                      <c:pt idx="4062">
                        <c:v>40406</c:v>
                      </c:pt>
                      <c:pt idx="4063">
                        <c:v>40407</c:v>
                      </c:pt>
                      <c:pt idx="4064">
                        <c:v>40408</c:v>
                      </c:pt>
                      <c:pt idx="4065">
                        <c:v>40409</c:v>
                      </c:pt>
                      <c:pt idx="4066">
                        <c:v>40410</c:v>
                      </c:pt>
                      <c:pt idx="4067">
                        <c:v>40413</c:v>
                      </c:pt>
                      <c:pt idx="4068">
                        <c:v>40414</c:v>
                      </c:pt>
                      <c:pt idx="4069">
                        <c:v>40415</c:v>
                      </c:pt>
                      <c:pt idx="4070">
                        <c:v>40416</c:v>
                      </c:pt>
                      <c:pt idx="4071">
                        <c:v>40417</c:v>
                      </c:pt>
                      <c:pt idx="4072">
                        <c:v>40420</c:v>
                      </c:pt>
                      <c:pt idx="4073">
                        <c:v>40421</c:v>
                      </c:pt>
                      <c:pt idx="4074">
                        <c:v>40422</c:v>
                      </c:pt>
                      <c:pt idx="4075">
                        <c:v>40423</c:v>
                      </c:pt>
                      <c:pt idx="4076">
                        <c:v>40424</c:v>
                      </c:pt>
                      <c:pt idx="4077">
                        <c:v>40427</c:v>
                      </c:pt>
                      <c:pt idx="4078">
                        <c:v>40428</c:v>
                      </c:pt>
                      <c:pt idx="4079">
                        <c:v>40429</c:v>
                      </c:pt>
                      <c:pt idx="4080">
                        <c:v>40430</c:v>
                      </c:pt>
                      <c:pt idx="4081">
                        <c:v>40431</c:v>
                      </c:pt>
                      <c:pt idx="4082">
                        <c:v>40434</c:v>
                      </c:pt>
                      <c:pt idx="4083">
                        <c:v>40435</c:v>
                      </c:pt>
                      <c:pt idx="4084">
                        <c:v>40436</c:v>
                      </c:pt>
                      <c:pt idx="4085">
                        <c:v>40437</c:v>
                      </c:pt>
                      <c:pt idx="4086">
                        <c:v>40438</c:v>
                      </c:pt>
                      <c:pt idx="4087">
                        <c:v>40441</c:v>
                      </c:pt>
                      <c:pt idx="4088">
                        <c:v>40442</c:v>
                      </c:pt>
                      <c:pt idx="4089">
                        <c:v>40443</c:v>
                      </c:pt>
                      <c:pt idx="4090">
                        <c:v>40444</c:v>
                      </c:pt>
                      <c:pt idx="4091">
                        <c:v>40445</c:v>
                      </c:pt>
                      <c:pt idx="4092">
                        <c:v>40448</c:v>
                      </c:pt>
                      <c:pt idx="4093">
                        <c:v>40449</c:v>
                      </c:pt>
                      <c:pt idx="4094">
                        <c:v>40450</c:v>
                      </c:pt>
                      <c:pt idx="4095">
                        <c:v>40451</c:v>
                      </c:pt>
                      <c:pt idx="4096">
                        <c:v>40452</c:v>
                      </c:pt>
                      <c:pt idx="4097">
                        <c:v>40455</c:v>
                      </c:pt>
                      <c:pt idx="4098">
                        <c:v>40456</c:v>
                      </c:pt>
                      <c:pt idx="4099">
                        <c:v>40457</c:v>
                      </c:pt>
                      <c:pt idx="4100">
                        <c:v>40458</c:v>
                      </c:pt>
                      <c:pt idx="4101">
                        <c:v>40459</c:v>
                      </c:pt>
                      <c:pt idx="4102">
                        <c:v>40462</c:v>
                      </c:pt>
                      <c:pt idx="4103">
                        <c:v>40463</c:v>
                      </c:pt>
                      <c:pt idx="4104">
                        <c:v>40464</c:v>
                      </c:pt>
                      <c:pt idx="4105">
                        <c:v>40465</c:v>
                      </c:pt>
                      <c:pt idx="4106">
                        <c:v>40466</c:v>
                      </c:pt>
                      <c:pt idx="4107">
                        <c:v>40469</c:v>
                      </c:pt>
                      <c:pt idx="4108">
                        <c:v>40470</c:v>
                      </c:pt>
                      <c:pt idx="4109">
                        <c:v>40471</c:v>
                      </c:pt>
                      <c:pt idx="4110">
                        <c:v>40472</c:v>
                      </c:pt>
                      <c:pt idx="4111">
                        <c:v>40473</c:v>
                      </c:pt>
                      <c:pt idx="4112">
                        <c:v>40476</c:v>
                      </c:pt>
                      <c:pt idx="4113">
                        <c:v>40477</c:v>
                      </c:pt>
                      <c:pt idx="4114">
                        <c:v>40478</c:v>
                      </c:pt>
                      <c:pt idx="4115">
                        <c:v>40479</c:v>
                      </c:pt>
                      <c:pt idx="4116">
                        <c:v>40480</c:v>
                      </c:pt>
                      <c:pt idx="4117">
                        <c:v>40483</c:v>
                      </c:pt>
                      <c:pt idx="4118">
                        <c:v>40484</c:v>
                      </c:pt>
                      <c:pt idx="4119">
                        <c:v>40485</c:v>
                      </c:pt>
                      <c:pt idx="4120">
                        <c:v>40486</c:v>
                      </c:pt>
                      <c:pt idx="4121">
                        <c:v>40487</c:v>
                      </c:pt>
                      <c:pt idx="4122">
                        <c:v>40490</c:v>
                      </c:pt>
                      <c:pt idx="4123">
                        <c:v>40491</c:v>
                      </c:pt>
                      <c:pt idx="4124">
                        <c:v>40492</c:v>
                      </c:pt>
                      <c:pt idx="4125">
                        <c:v>40493</c:v>
                      </c:pt>
                      <c:pt idx="4126">
                        <c:v>40494</c:v>
                      </c:pt>
                      <c:pt idx="4127">
                        <c:v>40497</c:v>
                      </c:pt>
                      <c:pt idx="4128">
                        <c:v>40498</c:v>
                      </c:pt>
                      <c:pt idx="4129">
                        <c:v>40499</c:v>
                      </c:pt>
                      <c:pt idx="4130">
                        <c:v>40500</c:v>
                      </c:pt>
                      <c:pt idx="4131">
                        <c:v>40501</c:v>
                      </c:pt>
                      <c:pt idx="4132">
                        <c:v>40504</c:v>
                      </c:pt>
                      <c:pt idx="4133">
                        <c:v>40505</c:v>
                      </c:pt>
                      <c:pt idx="4134">
                        <c:v>40506</c:v>
                      </c:pt>
                      <c:pt idx="4135">
                        <c:v>40507</c:v>
                      </c:pt>
                      <c:pt idx="4136">
                        <c:v>40508</c:v>
                      </c:pt>
                      <c:pt idx="4137">
                        <c:v>40511</c:v>
                      </c:pt>
                      <c:pt idx="4138">
                        <c:v>40512</c:v>
                      </c:pt>
                      <c:pt idx="4139">
                        <c:v>40513</c:v>
                      </c:pt>
                      <c:pt idx="4140">
                        <c:v>40514</c:v>
                      </c:pt>
                      <c:pt idx="4141">
                        <c:v>40515</c:v>
                      </c:pt>
                      <c:pt idx="4142">
                        <c:v>40518</c:v>
                      </c:pt>
                      <c:pt idx="4143">
                        <c:v>40519</c:v>
                      </c:pt>
                      <c:pt idx="4144">
                        <c:v>40520</c:v>
                      </c:pt>
                      <c:pt idx="4145">
                        <c:v>40521</c:v>
                      </c:pt>
                      <c:pt idx="4146">
                        <c:v>40522</c:v>
                      </c:pt>
                      <c:pt idx="4147">
                        <c:v>40525</c:v>
                      </c:pt>
                      <c:pt idx="4148">
                        <c:v>40526</c:v>
                      </c:pt>
                      <c:pt idx="4149">
                        <c:v>40527</c:v>
                      </c:pt>
                      <c:pt idx="4150">
                        <c:v>40528</c:v>
                      </c:pt>
                      <c:pt idx="4151">
                        <c:v>40529</c:v>
                      </c:pt>
                      <c:pt idx="4152">
                        <c:v>40532</c:v>
                      </c:pt>
                      <c:pt idx="4153">
                        <c:v>40533</c:v>
                      </c:pt>
                      <c:pt idx="4154">
                        <c:v>40534</c:v>
                      </c:pt>
                      <c:pt idx="4155">
                        <c:v>40535</c:v>
                      </c:pt>
                      <c:pt idx="4156">
                        <c:v>40536</c:v>
                      </c:pt>
                      <c:pt idx="4157">
                        <c:v>40539</c:v>
                      </c:pt>
                      <c:pt idx="4158">
                        <c:v>40540</c:v>
                      </c:pt>
                      <c:pt idx="4159">
                        <c:v>40541</c:v>
                      </c:pt>
                      <c:pt idx="4160">
                        <c:v>40542</c:v>
                      </c:pt>
                      <c:pt idx="4161">
                        <c:v>40543</c:v>
                      </c:pt>
                      <c:pt idx="4162">
                        <c:v>40546</c:v>
                      </c:pt>
                      <c:pt idx="4163">
                        <c:v>40547</c:v>
                      </c:pt>
                      <c:pt idx="4164">
                        <c:v>40548</c:v>
                      </c:pt>
                      <c:pt idx="4165">
                        <c:v>40549</c:v>
                      </c:pt>
                      <c:pt idx="4166">
                        <c:v>40550</c:v>
                      </c:pt>
                      <c:pt idx="4167">
                        <c:v>40553</c:v>
                      </c:pt>
                      <c:pt idx="4168">
                        <c:v>40554</c:v>
                      </c:pt>
                      <c:pt idx="4169">
                        <c:v>40555</c:v>
                      </c:pt>
                      <c:pt idx="4170">
                        <c:v>40556</c:v>
                      </c:pt>
                      <c:pt idx="4171">
                        <c:v>40557</c:v>
                      </c:pt>
                      <c:pt idx="4172">
                        <c:v>40560</c:v>
                      </c:pt>
                      <c:pt idx="4173">
                        <c:v>40561</c:v>
                      </c:pt>
                      <c:pt idx="4174">
                        <c:v>40562</c:v>
                      </c:pt>
                      <c:pt idx="4175">
                        <c:v>40563</c:v>
                      </c:pt>
                      <c:pt idx="4176">
                        <c:v>40564</c:v>
                      </c:pt>
                      <c:pt idx="4177">
                        <c:v>40567</c:v>
                      </c:pt>
                      <c:pt idx="4178">
                        <c:v>40568</c:v>
                      </c:pt>
                      <c:pt idx="4179">
                        <c:v>40569</c:v>
                      </c:pt>
                      <c:pt idx="4180">
                        <c:v>40570</c:v>
                      </c:pt>
                      <c:pt idx="4181">
                        <c:v>40571</c:v>
                      </c:pt>
                      <c:pt idx="4182">
                        <c:v>40574</c:v>
                      </c:pt>
                      <c:pt idx="4183">
                        <c:v>40575</c:v>
                      </c:pt>
                      <c:pt idx="4184">
                        <c:v>40576</c:v>
                      </c:pt>
                      <c:pt idx="4185">
                        <c:v>40577</c:v>
                      </c:pt>
                      <c:pt idx="4186">
                        <c:v>40578</c:v>
                      </c:pt>
                      <c:pt idx="4187">
                        <c:v>40581</c:v>
                      </c:pt>
                      <c:pt idx="4188">
                        <c:v>40582</c:v>
                      </c:pt>
                      <c:pt idx="4189">
                        <c:v>40583</c:v>
                      </c:pt>
                      <c:pt idx="4190">
                        <c:v>40584</c:v>
                      </c:pt>
                      <c:pt idx="4191">
                        <c:v>40585</c:v>
                      </c:pt>
                      <c:pt idx="4192">
                        <c:v>40588</c:v>
                      </c:pt>
                      <c:pt idx="4193">
                        <c:v>40589</c:v>
                      </c:pt>
                      <c:pt idx="4194">
                        <c:v>40590</c:v>
                      </c:pt>
                      <c:pt idx="4195">
                        <c:v>40591</c:v>
                      </c:pt>
                      <c:pt idx="4196">
                        <c:v>40592</c:v>
                      </c:pt>
                      <c:pt idx="4197">
                        <c:v>40595</c:v>
                      </c:pt>
                      <c:pt idx="4198">
                        <c:v>40596</c:v>
                      </c:pt>
                      <c:pt idx="4199">
                        <c:v>40597</c:v>
                      </c:pt>
                      <c:pt idx="4200">
                        <c:v>40598</c:v>
                      </c:pt>
                      <c:pt idx="4201">
                        <c:v>40599</c:v>
                      </c:pt>
                      <c:pt idx="4202">
                        <c:v>40602</c:v>
                      </c:pt>
                      <c:pt idx="4203">
                        <c:v>40603</c:v>
                      </c:pt>
                      <c:pt idx="4204">
                        <c:v>40604</c:v>
                      </c:pt>
                      <c:pt idx="4205">
                        <c:v>40605</c:v>
                      </c:pt>
                      <c:pt idx="4206">
                        <c:v>40606</c:v>
                      </c:pt>
                      <c:pt idx="4207">
                        <c:v>40609</c:v>
                      </c:pt>
                      <c:pt idx="4208">
                        <c:v>40610</c:v>
                      </c:pt>
                      <c:pt idx="4209">
                        <c:v>40611</c:v>
                      </c:pt>
                      <c:pt idx="4210">
                        <c:v>40612</c:v>
                      </c:pt>
                      <c:pt idx="4211">
                        <c:v>40613</c:v>
                      </c:pt>
                      <c:pt idx="4212">
                        <c:v>40616</c:v>
                      </c:pt>
                      <c:pt idx="4213">
                        <c:v>40617</c:v>
                      </c:pt>
                      <c:pt idx="4214">
                        <c:v>40618</c:v>
                      </c:pt>
                      <c:pt idx="4215">
                        <c:v>40619</c:v>
                      </c:pt>
                      <c:pt idx="4216">
                        <c:v>40620</c:v>
                      </c:pt>
                      <c:pt idx="4217">
                        <c:v>40623</c:v>
                      </c:pt>
                      <c:pt idx="4218">
                        <c:v>40624</c:v>
                      </c:pt>
                      <c:pt idx="4219">
                        <c:v>40625</c:v>
                      </c:pt>
                      <c:pt idx="4220">
                        <c:v>40626</c:v>
                      </c:pt>
                      <c:pt idx="4221">
                        <c:v>40627</c:v>
                      </c:pt>
                      <c:pt idx="4222">
                        <c:v>40630</c:v>
                      </c:pt>
                      <c:pt idx="4223">
                        <c:v>40631</c:v>
                      </c:pt>
                      <c:pt idx="4224">
                        <c:v>40632</c:v>
                      </c:pt>
                      <c:pt idx="4225">
                        <c:v>40633</c:v>
                      </c:pt>
                      <c:pt idx="4226">
                        <c:v>40634</c:v>
                      </c:pt>
                      <c:pt idx="4227">
                        <c:v>40637</c:v>
                      </c:pt>
                      <c:pt idx="4228">
                        <c:v>40638</c:v>
                      </c:pt>
                      <c:pt idx="4229">
                        <c:v>40639</c:v>
                      </c:pt>
                      <c:pt idx="4230">
                        <c:v>40640</c:v>
                      </c:pt>
                      <c:pt idx="4231">
                        <c:v>40641</c:v>
                      </c:pt>
                      <c:pt idx="4232">
                        <c:v>40644</c:v>
                      </c:pt>
                      <c:pt idx="4233">
                        <c:v>40645</c:v>
                      </c:pt>
                      <c:pt idx="4234">
                        <c:v>40646</c:v>
                      </c:pt>
                      <c:pt idx="4235">
                        <c:v>40647</c:v>
                      </c:pt>
                      <c:pt idx="4236">
                        <c:v>40648</c:v>
                      </c:pt>
                      <c:pt idx="4237">
                        <c:v>40651</c:v>
                      </c:pt>
                      <c:pt idx="4238">
                        <c:v>40652</c:v>
                      </c:pt>
                      <c:pt idx="4239">
                        <c:v>40653</c:v>
                      </c:pt>
                      <c:pt idx="4240">
                        <c:v>40654</c:v>
                      </c:pt>
                      <c:pt idx="4241">
                        <c:v>40655</c:v>
                      </c:pt>
                      <c:pt idx="4242">
                        <c:v>40658</c:v>
                      </c:pt>
                      <c:pt idx="4243">
                        <c:v>40659</c:v>
                      </c:pt>
                      <c:pt idx="4244">
                        <c:v>40660</c:v>
                      </c:pt>
                      <c:pt idx="4245">
                        <c:v>40661</c:v>
                      </c:pt>
                      <c:pt idx="4246">
                        <c:v>40662</c:v>
                      </c:pt>
                      <c:pt idx="4247">
                        <c:v>40665</c:v>
                      </c:pt>
                      <c:pt idx="4248">
                        <c:v>40666</c:v>
                      </c:pt>
                      <c:pt idx="4249">
                        <c:v>40667</c:v>
                      </c:pt>
                      <c:pt idx="4250">
                        <c:v>40668</c:v>
                      </c:pt>
                      <c:pt idx="4251">
                        <c:v>40669</c:v>
                      </c:pt>
                      <c:pt idx="4252">
                        <c:v>40672</c:v>
                      </c:pt>
                      <c:pt idx="4253">
                        <c:v>40673</c:v>
                      </c:pt>
                      <c:pt idx="4254">
                        <c:v>40674</c:v>
                      </c:pt>
                      <c:pt idx="4255">
                        <c:v>40675</c:v>
                      </c:pt>
                      <c:pt idx="4256">
                        <c:v>40676</c:v>
                      </c:pt>
                      <c:pt idx="4257">
                        <c:v>40679</c:v>
                      </c:pt>
                      <c:pt idx="4258">
                        <c:v>40680</c:v>
                      </c:pt>
                      <c:pt idx="4259">
                        <c:v>40681</c:v>
                      </c:pt>
                      <c:pt idx="4260">
                        <c:v>40682</c:v>
                      </c:pt>
                      <c:pt idx="4261">
                        <c:v>40683</c:v>
                      </c:pt>
                      <c:pt idx="4262">
                        <c:v>40686</c:v>
                      </c:pt>
                      <c:pt idx="4263">
                        <c:v>40687</c:v>
                      </c:pt>
                      <c:pt idx="4264">
                        <c:v>40688</c:v>
                      </c:pt>
                      <c:pt idx="4265">
                        <c:v>40689</c:v>
                      </c:pt>
                      <c:pt idx="4266">
                        <c:v>40690</c:v>
                      </c:pt>
                      <c:pt idx="4267">
                        <c:v>40693</c:v>
                      </c:pt>
                      <c:pt idx="4268">
                        <c:v>40694</c:v>
                      </c:pt>
                      <c:pt idx="4269">
                        <c:v>40695</c:v>
                      </c:pt>
                      <c:pt idx="4270">
                        <c:v>40696</c:v>
                      </c:pt>
                      <c:pt idx="4271">
                        <c:v>40697</c:v>
                      </c:pt>
                      <c:pt idx="4272">
                        <c:v>40700</c:v>
                      </c:pt>
                      <c:pt idx="4273">
                        <c:v>40701</c:v>
                      </c:pt>
                      <c:pt idx="4274">
                        <c:v>40702</c:v>
                      </c:pt>
                      <c:pt idx="4275">
                        <c:v>40703</c:v>
                      </c:pt>
                      <c:pt idx="4276">
                        <c:v>40704</c:v>
                      </c:pt>
                      <c:pt idx="4277">
                        <c:v>40707</c:v>
                      </c:pt>
                      <c:pt idx="4278">
                        <c:v>40708</c:v>
                      </c:pt>
                      <c:pt idx="4279">
                        <c:v>40709</c:v>
                      </c:pt>
                      <c:pt idx="4280">
                        <c:v>40710</c:v>
                      </c:pt>
                      <c:pt idx="4281">
                        <c:v>40711</c:v>
                      </c:pt>
                      <c:pt idx="4282">
                        <c:v>40714</c:v>
                      </c:pt>
                      <c:pt idx="4283">
                        <c:v>40715</c:v>
                      </c:pt>
                      <c:pt idx="4284">
                        <c:v>40716</c:v>
                      </c:pt>
                      <c:pt idx="4285">
                        <c:v>40717</c:v>
                      </c:pt>
                      <c:pt idx="4286">
                        <c:v>40718</c:v>
                      </c:pt>
                      <c:pt idx="4287">
                        <c:v>40721</c:v>
                      </c:pt>
                      <c:pt idx="4288">
                        <c:v>40722</c:v>
                      </c:pt>
                      <c:pt idx="4289">
                        <c:v>40723</c:v>
                      </c:pt>
                      <c:pt idx="4290">
                        <c:v>40724</c:v>
                      </c:pt>
                      <c:pt idx="4291">
                        <c:v>40725</c:v>
                      </c:pt>
                      <c:pt idx="4292">
                        <c:v>40728</c:v>
                      </c:pt>
                      <c:pt idx="4293">
                        <c:v>40729</c:v>
                      </c:pt>
                      <c:pt idx="4294">
                        <c:v>40730</c:v>
                      </c:pt>
                      <c:pt idx="4295">
                        <c:v>40731</c:v>
                      </c:pt>
                      <c:pt idx="4296">
                        <c:v>40732</c:v>
                      </c:pt>
                      <c:pt idx="4297">
                        <c:v>40735</c:v>
                      </c:pt>
                      <c:pt idx="4298">
                        <c:v>40736</c:v>
                      </c:pt>
                      <c:pt idx="4299">
                        <c:v>40737</c:v>
                      </c:pt>
                      <c:pt idx="4300">
                        <c:v>40738</c:v>
                      </c:pt>
                      <c:pt idx="4301">
                        <c:v>40739</c:v>
                      </c:pt>
                      <c:pt idx="4302">
                        <c:v>40742</c:v>
                      </c:pt>
                      <c:pt idx="4303">
                        <c:v>40743</c:v>
                      </c:pt>
                      <c:pt idx="4304">
                        <c:v>40744</c:v>
                      </c:pt>
                      <c:pt idx="4305">
                        <c:v>40745</c:v>
                      </c:pt>
                      <c:pt idx="4306">
                        <c:v>40746</c:v>
                      </c:pt>
                      <c:pt idx="4307">
                        <c:v>40749</c:v>
                      </c:pt>
                      <c:pt idx="4308">
                        <c:v>40750</c:v>
                      </c:pt>
                      <c:pt idx="4309">
                        <c:v>40751</c:v>
                      </c:pt>
                      <c:pt idx="4310">
                        <c:v>40752</c:v>
                      </c:pt>
                      <c:pt idx="4311">
                        <c:v>40753</c:v>
                      </c:pt>
                      <c:pt idx="4312">
                        <c:v>40756</c:v>
                      </c:pt>
                      <c:pt idx="4313">
                        <c:v>40757</c:v>
                      </c:pt>
                      <c:pt idx="4314">
                        <c:v>40758</c:v>
                      </c:pt>
                      <c:pt idx="4315">
                        <c:v>40759</c:v>
                      </c:pt>
                      <c:pt idx="4316">
                        <c:v>40760</c:v>
                      </c:pt>
                      <c:pt idx="4317">
                        <c:v>40763</c:v>
                      </c:pt>
                      <c:pt idx="4318">
                        <c:v>40764</c:v>
                      </c:pt>
                      <c:pt idx="4319">
                        <c:v>40765</c:v>
                      </c:pt>
                      <c:pt idx="4320">
                        <c:v>40766</c:v>
                      </c:pt>
                      <c:pt idx="4321">
                        <c:v>40767</c:v>
                      </c:pt>
                      <c:pt idx="4322">
                        <c:v>40770</c:v>
                      </c:pt>
                      <c:pt idx="4323">
                        <c:v>40771</c:v>
                      </c:pt>
                      <c:pt idx="4324">
                        <c:v>40772</c:v>
                      </c:pt>
                      <c:pt idx="4325">
                        <c:v>40773</c:v>
                      </c:pt>
                      <c:pt idx="4326">
                        <c:v>40774</c:v>
                      </c:pt>
                      <c:pt idx="4327">
                        <c:v>40777</c:v>
                      </c:pt>
                      <c:pt idx="4328">
                        <c:v>40778</c:v>
                      </c:pt>
                      <c:pt idx="4329">
                        <c:v>40779</c:v>
                      </c:pt>
                      <c:pt idx="4330">
                        <c:v>40780</c:v>
                      </c:pt>
                      <c:pt idx="4331">
                        <c:v>40781</c:v>
                      </c:pt>
                      <c:pt idx="4332">
                        <c:v>40784</c:v>
                      </c:pt>
                      <c:pt idx="4333">
                        <c:v>40785</c:v>
                      </c:pt>
                      <c:pt idx="4334">
                        <c:v>40786</c:v>
                      </c:pt>
                      <c:pt idx="4335">
                        <c:v>40787</c:v>
                      </c:pt>
                      <c:pt idx="4336">
                        <c:v>40788</c:v>
                      </c:pt>
                      <c:pt idx="4337">
                        <c:v>40791</c:v>
                      </c:pt>
                      <c:pt idx="4338">
                        <c:v>40792</c:v>
                      </c:pt>
                      <c:pt idx="4339">
                        <c:v>40793</c:v>
                      </c:pt>
                      <c:pt idx="4340">
                        <c:v>40794</c:v>
                      </c:pt>
                      <c:pt idx="4341">
                        <c:v>40795</c:v>
                      </c:pt>
                      <c:pt idx="4342">
                        <c:v>40798</c:v>
                      </c:pt>
                      <c:pt idx="4343">
                        <c:v>40799</c:v>
                      </c:pt>
                      <c:pt idx="4344">
                        <c:v>40800</c:v>
                      </c:pt>
                      <c:pt idx="4345">
                        <c:v>40801</c:v>
                      </c:pt>
                      <c:pt idx="4346">
                        <c:v>40802</c:v>
                      </c:pt>
                      <c:pt idx="4347">
                        <c:v>40805</c:v>
                      </c:pt>
                      <c:pt idx="4348">
                        <c:v>40806</c:v>
                      </c:pt>
                      <c:pt idx="4349">
                        <c:v>40807</c:v>
                      </c:pt>
                      <c:pt idx="4350">
                        <c:v>40808</c:v>
                      </c:pt>
                      <c:pt idx="4351">
                        <c:v>40809</c:v>
                      </c:pt>
                      <c:pt idx="4352">
                        <c:v>40812</c:v>
                      </c:pt>
                      <c:pt idx="4353">
                        <c:v>40813</c:v>
                      </c:pt>
                      <c:pt idx="4354">
                        <c:v>40814</c:v>
                      </c:pt>
                      <c:pt idx="4355">
                        <c:v>40815</c:v>
                      </c:pt>
                      <c:pt idx="4356">
                        <c:v>40816</c:v>
                      </c:pt>
                      <c:pt idx="4357">
                        <c:v>40819</c:v>
                      </c:pt>
                      <c:pt idx="4358">
                        <c:v>40820</c:v>
                      </c:pt>
                      <c:pt idx="4359">
                        <c:v>40821</c:v>
                      </c:pt>
                      <c:pt idx="4360">
                        <c:v>40822</c:v>
                      </c:pt>
                      <c:pt idx="4361">
                        <c:v>40823</c:v>
                      </c:pt>
                      <c:pt idx="4362">
                        <c:v>40826</c:v>
                      </c:pt>
                      <c:pt idx="4363">
                        <c:v>40827</c:v>
                      </c:pt>
                      <c:pt idx="4364">
                        <c:v>40828</c:v>
                      </c:pt>
                      <c:pt idx="4365">
                        <c:v>40829</c:v>
                      </c:pt>
                      <c:pt idx="4366">
                        <c:v>40830</c:v>
                      </c:pt>
                      <c:pt idx="4367">
                        <c:v>40833</c:v>
                      </c:pt>
                      <c:pt idx="4368">
                        <c:v>40834</c:v>
                      </c:pt>
                      <c:pt idx="4369">
                        <c:v>40835</c:v>
                      </c:pt>
                      <c:pt idx="4370">
                        <c:v>40836</c:v>
                      </c:pt>
                      <c:pt idx="4371">
                        <c:v>40837</c:v>
                      </c:pt>
                      <c:pt idx="4372">
                        <c:v>40840</c:v>
                      </c:pt>
                      <c:pt idx="4373">
                        <c:v>40841</c:v>
                      </c:pt>
                      <c:pt idx="4374">
                        <c:v>40842</c:v>
                      </c:pt>
                      <c:pt idx="4375">
                        <c:v>40843</c:v>
                      </c:pt>
                      <c:pt idx="4376">
                        <c:v>40844</c:v>
                      </c:pt>
                      <c:pt idx="4377">
                        <c:v>40847</c:v>
                      </c:pt>
                      <c:pt idx="4378">
                        <c:v>40848</c:v>
                      </c:pt>
                      <c:pt idx="4379">
                        <c:v>40849</c:v>
                      </c:pt>
                      <c:pt idx="4380">
                        <c:v>40850</c:v>
                      </c:pt>
                      <c:pt idx="4381">
                        <c:v>40851</c:v>
                      </c:pt>
                      <c:pt idx="4382">
                        <c:v>40854</c:v>
                      </c:pt>
                      <c:pt idx="4383">
                        <c:v>40855</c:v>
                      </c:pt>
                      <c:pt idx="4384">
                        <c:v>40856</c:v>
                      </c:pt>
                      <c:pt idx="4385">
                        <c:v>40857</c:v>
                      </c:pt>
                      <c:pt idx="4386">
                        <c:v>40858</c:v>
                      </c:pt>
                      <c:pt idx="4387">
                        <c:v>40861</c:v>
                      </c:pt>
                      <c:pt idx="4388">
                        <c:v>40862</c:v>
                      </c:pt>
                      <c:pt idx="4389">
                        <c:v>40863</c:v>
                      </c:pt>
                      <c:pt idx="4390">
                        <c:v>40864</c:v>
                      </c:pt>
                      <c:pt idx="4391">
                        <c:v>40865</c:v>
                      </c:pt>
                      <c:pt idx="4392">
                        <c:v>40868</c:v>
                      </c:pt>
                      <c:pt idx="4393">
                        <c:v>40869</c:v>
                      </c:pt>
                      <c:pt idx="4394">
                        <c:v>40870</c:v>
                      </c:pt>
                      <c:pt idx="4395">
                        <c:v>40871</c:v>
                      </c:pt>
                      <c:pt idx="4396">
                        <c:v>40872</c:v>
                      </c:pt>
                      <c:pt idx="4397">
                        <c:v>40875</c:v>
                      </c:pt>
                      <c:pt idx="4398">
                        <c:v>40876</c:v>
                      </c:pt>
                      <c:pt idx="4399">
                        <c:v>40877</c:v>
                      </c:pt>
                      <c:pt idx="4400">
                        <c:v>40878</c:v>
                      </c:pt>
                      <c:pt idx="4401">
                        <c:v>40879</c:v>
                      </c:pt>
                      <c:pt idx="4402">
                        <c:v>40882</c:v>
                      </c:pt>
                      <c:pt idx="4403">
                        <c:v>40883</c:v>
                      </c:pt>
                      <c:pt idx="4404">
                        <c:v>40884</c:v>
                      </c:pt>
                      <c:pt idx="4405">
                        <c:v>40885</c:v>
                      </c:pt>
                      <c:pt idx="4406">
                        <c:v>40886</c:v>
                      </c:pt>
                      <c:pt idx="4407">
                        <c:v>40889</c:v>
                      </c:pt>
                      <c:pt idx="4408">
                        <c:v>40890</c:v>
                      </c:pt>
                      <c:pt idx="4409">
                        <c:v>40891</c:v>
                      </c:pt>
                      <c:pt idx="4410">
                        <c:v>40892</c:v>
                      </c:pt>
                      <c:pt idx="4411">
                        <c:v>40893</c:v>
                      </c:pt>
                      <c:pt idx="4412">
                        <c:v>40896</c:v>
                      </c:pt>
                      <c:pt idx="4413">
                        <c:v>40897</c:v>
                      </c:pt>
                      <c:pt idx="4414">
                        <c:v>40898</c:v>
                      </c:pt>
                      <c:pt idx="4415">
                        <c:v>40899</c:v>
                      </c:pt>
                      <c:pt idx="4416">
                        <c:v>40900</c:v>
                      </c:pt>
                      <c:pt idx="4417">
                        <c:v>40903</c:v>
                      </c:pt>
                      <c:pt idx="4418">
                        <c:v>40904</c:v>
                      </c:pt>
                      <c:pt idx="4419">
                        <c:v>40905</c:v>
                      </c:pt>
                      <c:pt idx="4420">
                        <c:v>40906</c:v>
                      </c:pt>
                      <c:pt idx="4421">
                        <c:v>40907</c:v>
                      </c:pt>
                      <c:pt idx="4422">
                        <c:v>40910</c:v>
                      </c:pt>
                      <c:pt idx="4423">
                        <c:v>40911</c:v>
                      </c:pt>
                      <c:pt idx="4424">
                        <c:v>40912</c:v>
                      </c:pt>
                      <c:pt idx="4425">
                        <c:v>40913</c:v>
                      </c:pt>
                      <c:pt idx="4426">
                        <c:v>40914</c:v>
                      </c:pt>
                      <c:pt idx="4427">
                        <c:v>40917</c:v>
                      </c:pt>
                      <c:pt idx="4428">
                        <c:v>40918</c:v>
                      </c:pt>
                      <c:pt idx="4429">
                        <c:v>40919</c:v>
                      </c:pt>
                      <c:pt idx="4430">
                        <c:v>40920</c:v>
                      </c:pt>
                      <c:pt idx="4431">
                        <c:v>40921</c:v>
                      </c:pt>
                      <c:pt idx="4432">
                        <c:v>40924</c:v>
                      </c:pt>
                      <c:pt idx="4433">
                        <c:v>40925</c:v>
                      </c:pt>
                      <c:pt idx="4434">
                        <c:v>40926</c:v>
                      </c:pt>
                      <c:pt idx="4435">
                        <c:v>40927</c:v>
                      </c:pt>
                      <c:pt idx="4436">
                        <c:v>40928</c:v>
                      </c:pt>
                      <c:pt idx="4437">
                        <c:v>40931</c:v>
                      </c:pt>
                      <c:pt idx="4438">
                        <c:v>40932</c:v>
                      </c:pt>
                      <c:pt idx="4439">
                        <c:v>40933</c:v>
                      </c:pt>
                      <c:pt idx="4440">
                        <c:v>40934</c:v>
                      </c:pt>
                      <c:pt idx="4441">
                        <c:v>40935</c:v>
                      </c:pt>
                      <c:pt idx="4442">
                        <c:v>40938</c:v>
                      </c:pt>
                      <c:pt idx="4443">
                        <c:v>40939</c:v>
                      </c:pt>
                      <c:pt idx="4444">
                        <c:v>40940</c:v>
                      </c:pt>
                      <c:pt idx="4445">
                        <c:v>40941</c:v>
                      </c:pt>
                      <c:pt idx="4446">
                        <c:v>40942</c:v>
                      </c:pt>
                      <c:pt idx="4447">
                        <c:v>40945</c:v>
                      </c:pt>
                      <c:pt idx="4448">
                        <c:v>40946</c:v>
                      </c:pt>
                      <c:pt idx="4449">
                        <c:v>40947</c:v>
                      </c:pt>
                      <c:pt idx="4450">
                        <c:v>40948</c:v>
                      </c:pt>
                      <c:pt idx="4451">
                        <c:v>40949</c:v>
                      </c:pt>
                      <c:pt idx="4452">
                        <c:v>40952</c:v>
                      </c:pt>
                      <c:pt idx="4453">
                        <c:v>40953</c:v>
                      </c:pt>
                      <c:pt idx="4454">
                        <c:v>40954</c:v>
                      </c:pt>
                      <c:pt idx="4455">
                        <c:v>40955</c:v>
                      </c:pt>
                      <c:pt idx="4456">
                        <c:v>40956</c:v>
                      </c:pt>
                      <c:pt idx="4457">
                        <c:v>40959</c:v>
                      </c:pt>
                      <c:pt idx="4458">
                        <c:v>40960</c:v>
                      </c:pt>
                      <c:pt idx="4459">
                        <c:v>40961</c:v>
                      </c:pt>
                      <c:pt idx="4460">
                        <c:v>40962</c:v>
                      </c:pt>
                      <c:pt idx="4461">
                        <c:v>40963</c:v>
                      </c:pt>
                      <c:pt idx="4462">
                        <c:v>40966</c:v>
                      </c:pt>
                      <c:pt idx="4463">
                        <c:v>40967</c:v>
                      </c:pt>
                      <c:pt idx="4464">
                        <c:v>40968</c:v>
                      </c:pt>
                      <c:pt idx="4465">
                        <c:v>40969</c:v>
                      </c:pt>
                      <c:pt idx="4466">
                        <c:v>40970</c:v>
                      </c:pt>
                      <c:pt idx="4467">
                        <c:v>40973</c:v>
                      </c:pt>
                      <c:pt idx="4468">
                        <c:v>40974</c:v>
                      </c:pt>
                      <c:pt idx="4469">
                        <c:v>40975</c:v>
                      </c:pt>
                      <c:pt idx="4470">
                        <c:v>40976</c:v>
                      </c:pt>
                      <c:pt idx="4471">
                        <c:v>40977</c:v>
                      </c:pt>
                      <c:pt idx="4472">
                        <c:v>40980</c:v>
                      </c:pt>
                      <c:pt idx="4473">
                        <c:v>40981</c:v>
                      </c:pt>
                      <c:pt idx="4474">
                        <c:v>40982</c:v>
                      </c:pt>
                      <c:pt idx="4475">
                        <c:v>40983</c:v>
                      </c:pt>
                      <c:pt idx="4476">
                        <c:v>40984</c:v>
                      </c:pt>
                      <c:pt idx="4477">
                        <c:v>40987</c:v>
                      </c:pt>
                      <c:pt idx="4478">
                        <c:v>40988</c:v>
                      </c:pt>
                      <c:pt idx="4479">
                        <c:v>40989</c:v>
                      </c:pt>
                      <c:pt idx="4480">
                        <c:v>40990</c:v>
                      </c:pt>
                      <c:pt idx="4481">
                        <c:v>40991</c:v>
                      </c:pt>
                      <c:pt idx="4482">
                        <c:v>40994</c:v>
                      </c:pt>
                      <c:pt idx="4483">
                        <c:v>40995</c:v>
                      </c:pt>
                      <c:pt idx="4484">
                        <c:v>40996</c:v>
                      </c:pt>
                      <c:pt idx="4485">
                        <c:v>40997</c:v>
                      </c:pt>
                      <c:pt idx="4486">
                        <c:v>40998</c:v>
                      </c:pt>
                      <c:pt idx="4487">
                        <c:v>41001</c:v>
                      </c:pt>
                      <c:pt idx="4488">
                        <c:v>41002</c:v>
                      </c:pt>
                      <c:pt idx="4489">
                        <c:v>41003</c:v>
                      </c:pt>
                      <c:pt idx="4490">
                        <c:v>41004</c:v>
                      </c:pt>
                      <c:pt idx="4491">
                        <c:v>41005</c:v>
                      </c:pt>
                      <c:pt idx="4492">
                        <c:v>41008</c:v>
                      </c:pt>
                      <c:pt idx="4493">
                        <c:v>41009</c:v>
                      </c:pt>
                      <c:pt idx="4494">
                        <c:v>41010</c:v>
                      </c:pt>
                      <c:pt idx="4495">
                        <c:v>41011</c:v>
                      </c:pt>
                      <c:pt idx="4496">
                        <c:v>41012</c:v>
                      </c:pt>
                      <c:pt idx="4497">
                        <c:v>41015</c:v>
                      </c:pt>
                      <c:pt idx="4498">
                        <c:v>41016</c:v>
                      </c:pt>
                      <c:pt idx="4499">
                        <c:v>41017</c:v>
                      </c:pt>
                      <c:pt idx="4500">
                        <c:v>41018</c:v>
                      </c:pt>
                      <c:pt idx="4501">
                        <c:v>41019</c:v>
                      </c:pt>
                      <c:pt idx="4502">
                        <c:v>41022</c:v>
                      </c:pt>
                      <c:pt idx="4503">
                        <c:v>41023</c:v>
                      </c:pt>
                      <c:pt idx="4504">
                        <c:v>41024</c:v>
                      </c:pt>
                      <c:pt idx="4505">
                        <c:v>41025</c:v>
                      </c:pt>
                      <c:pt idx="4506">
                        <c:v>41026</c:v>
                      </c:pt>
                      <c:pt idx="4507">
                        <c:v>41029</c:v>
                      </c:pt>
                      <c:pt idx="4508">
                        <c:v>41030</c:v>
                      </c:pt>
                      <c:pt idx="4509">
                        <c:v>41031</c:v>
                      </c:pt>
                      <c:pt idx="4510">
                        <c:v>41032</c:v>
                      </c:pt>
                      <c:pt idx="4511">
                        <c:v>41033</c:v>
                      </c:pt>
                      <c:pt idx="4512">
                        <c:v>41036</c:v>
                      </c:pt>
                      <c:pt idx="4513">
                        <c:v>41037</c:v>
                      </c:pt>
                      <c:pt idx="4514">
                        <c:v>41038</c:v>
                      </c:pt>
                      <c:pt idx="4515">
                        <c:v>41039</c:v>
                      </c:pt>
                      <c:pt idx="4516">
                        <c:v>41040</c:v>
                      </c:pt>
                      <c:pt idx="4517">
                        <c:v>41043</c:v>
                      </c:pt>
                      <c:pt idx="4518">
                        <c:v>41044</c:v>
                      </c:pt>
                      <c:pt idx="4519">
                        <c:v>41045</c:v>
                      </c:pt>
                      <c:pt idx="4520">
                        <c:v>41046</c:v>
                      </c:pt>
                      <c:pt idx="4521">
                        <c:v>41047</c:v>
                      </c:pt>
                      <c:pt idx="4522">
                        <c:v>41050</c:v>
                      </c:pt>
                      <c:pt idx="4523">
                        <c:v>41051</c:v>
                      </c:pt>
                      <c:pt idx="4524">
                        <c:v>41052</c:v>
                      </c:pt>
                      <c:pt idx="4525">
                        <c:v>41053</c:v>
                      </c:pt>
                      <c:pt idx="4526">
                        <c:v>41054</c:v>
                      </c:pt>
                      <c:pt idx="4527">
                        <c:v>41057</c:v>
                      </c:pt>
                      <c:pt idx="4528">
                        <c:v>41058</c:v>
                      </c:pt>
                      <c:pt idx="4529">
                        <c:v>41059</c:v>
                      </c:pt>
                      <c:pt idx="4530">
                        <c:v>41060</c:v>
                      </c:pt>
                      <c:pt idx="4531">
                        <c:v>41061</c:v>
                      </c:pt>
                      <c:pt idx="4532">
                        <c:v>41064</c:v>
                      </c:pt>
                      <c:pt idx="4533">
                        <c:v>41065</c:v>
                      </c:pt>
                      <c:pt idx="4534">
                        <c:v>41066</c:v>
                      </c:pt>
                      <c:pt idx="4535">
                        <c:v>41067</c:v>
                      </c:pt>
                      <c:pt idx="4536">
                        <c:v>41068</c:v>
                      </c:pt>
                      <c:pt idx="4537">
                        <c:v>41071</c:v>
                      </c:pt>
                      <c:pt idx="4538">
                        <c:v>41072</c:v>
                      </c:pt>
                      <c:pt idx="4539">
                        <c:v>41073</c:v>
                      </c:pt>
                      <c:pt idx="4540">
                        <c:v>41074</c:v>
                      </c:pt>
                      <c:pt idx="4541">
                        <c:v>41075</c:v>
                      </c:pt>
                      <c:pt idx="4542">
                        <c:v>41078</c:v>
                      </c:pt>
                      <c:pt idx="4543">
                        <c:v>41079</c:v>
                      </c:pt>
                      <c:pt idx="4544">
                        <c:v>41080</c:v>
                      </c:pt>
                      <c:pt idx="4545">
                        <c:v>41081</c:v>
                      </c:pt>
                      <c:pt idx="4546">
                        <c:v>41082</c:v>
                      </c:pt>
                      <c:pt idx="4547">
                        <c:v>41085</c:v>
                      </c:pt>
                      <c:pt idx="4548">
                        <c:v>41086</c:v>
                      </c:pt>
                      <c:pt idx="4549">
                        <c:v>41087</c:v>
                      </c:pt>
                      <c:pt idx="4550">
                        <c:v>41088</c:v>
                      </c:pt>
                      <c:pt idx="4551">
                        <c:v>41089</c:v>
                      </c:pt>
                      <c:pt idx="4552">
                        <c:v>41092</c:v>
                      </c:pt>
                      <c:pt idx="4553">
                        <c:v>41093</c:v>
                      </c:pt>
                      <c:pt idx="4554">
                        <c:v>41094</c:v>
                      </c:pt>
                      <c:pt idx="4555">
                        <c:v>41095</c:v>
                      </c:pt>
                      <c:pt idx="4556">
                        <c:v>41096</c:v>
                      </c:pt>
                      <c:pt idx="4557">
                        <c:v>41099</c:v>
                      </c:pt>
                      <c:pt idx="4558">
                        <c:v>41100</c:v>
                      </c:pt>
                      <c:pt idx="4559">
                        <c:v>41101</c:v>
                      </c:pt>
                      <c:pt idx="4560">
                        <c:v>41102</c:v>
                      </c:pt>
                      <c:pt idx="4561">
                        <c:v>41103</c:v>
                      </c:pt>
                      <c:pt idx="4562">
                        <c:v>41106</c:v>
                      </c:pt>
                      <c:pt idx="4563">
                        <c:v>41107</c:v>
                      </c:pt>
                      <c:pt idx="4564">
                        <c:v>41108</c:v>
                      </c:pt>
                      <c:pt idx="4565">
                        <c:v>41109</c:v>
                      </c:pt>
                      <c:pt idx="4566">
                        <c:v>41110</c:v>
                      </c:pt>
                      <c:pt idx="4567">
                        <c:v>41113</c:v>
                      </c:pt>
                      <c:pt idx="4568">
                        <c:v>41114</c:v>
                      </c:pt>
                      <c:pt idx="4569">
                        <c:v>41115</c:v>
                      </c:pt>
                      <c:pt idx="4570">
                        <c:v>41116</c:v>
                      </c:pt>
                      <c:pt idx="4571">
                        <c:v>41117</c:v>
                      </c:pt>
                      <c:pt idx="4572">
                        <c:v>41120</c:v>
                      </c:pt>
                      <c:pt idx="4573">
                        <c:v>41121</c:v>
                      </c:pt>
                      <c:pt idx="4574">
                        <c:v>41122</c:v>
                      </c:pt>
                      <c:pt idx="4575">
                        <c:v>41123</c:v>
                      </c:pt>
                      <c:pt idx="4576">
                        <c:v>41124</c:v>
                      </c:pt>
                      <c:pt idx="4577">
                        <c:v>41127</c:v>
                      </c:pt>
                      <c:pt idx="4578">
                        <c:v>41128</c:v>
                      </c:pt>
                      <c:pt idx="4579">
                        <c:v>41129</c:v>
                      </c:pt>
                      <c:pt idx="4580">
                        <c:v>41130</c:v>
                      </c:pt>
                      <c:pt idx="4581">
                        <c:v>41131</c:v>
                      </c:pt>
                      <c:pt idx="4582">
                        <c:v>41134</c:v>
                      </c:pt>
                      <c:pt idx="4583">
                        <c:v>41135</c:v>
                      </c:pt>
                      <c:pt idx="4584">
                        <c:v>41136</c:v>
                      </c:pt>
                      <c:pt idx="4585">
                        <c:v>41137</c:v>
                      </c:pt>
                      <c:pt idx="4586">
                        <c:v>41138</c:v>
                      </c:pt>
                      <c:pt idx="4587">
                        <c:v>41141</c:v>
                      </c:pt>
                      <c:pt idx="4588">
                        <c:v>41142</c:v>
                      </c:pt>
                      <c:pt idx="4589">
                        <c:v>41143</c:v>
                      </c:pt>
                      <c:pt idx="4590">
                        <c:v>41144</c:v>
                      </c:pt>
                      <c:pt idx="4591">
                        <c:v>41145</c:v>
                      </c:pt>
                      <c:pt idx="4592">
                        <c:v>41148</c:v>
                      </c:pt>
                      <c:pt idx="4593">
                        <c:v>41149</c:v>
                      </c:pt>
                      <c:pt idx="4594">
                        <c:v>41150</c:v>
                      </c:pt>
                      <c:pt idx="4595">
                        <c:v>41151</c:v>
                      </c:pt>
                      <c:pt idx="4596">
                        <c:v>41152</c:v>
                      </c:pt>
                      <c:pt idx="4597">
                        <c:v>41155</c:v>
                      </c:pt>
                      <c:pt idx="4598">
                        <c:v>41156</c:v>
                      </c:pt>
                      <c:pt idx="4599">
                        <c:v>41157</c:v>
                      </c:pt>
                      <c:pt idx="4600">
                        <c:v>41158</c:v>
                      </c:pt>
                      <c:pt idx="4601">
                        <c:v>41159</c:v>
                      </c:pt>
                      <c:pt idx="4602">
                        <c:v>41162</c:v>
                      </c:pt>
                      <c:pt idx="4603">
                        <c:v>41163</c:v>
                      </c:pt>
                      <c:pt idx="4604">
                        <c:v>41164</c:v>
                      </c:pt>
                      <c:pt idx="4605">
                        <c:v>41165</c:v>
                      </c:pt>
                      <c:pt idx="4606">
                        <c:v>41166</c:v>
                      </c:pt>
                      <c:pt idx="4607">
                        <c:v>41169</c:v>
                      </c:pt>
                      <c:pt idx="4608">
                        <c:v>41170</c:v>
                      </c:pt>
                      <c:pt idx="4609">
                        <c:v>41171</c:v>
                      </c:pt>
                      <c:pt idx="4610">
                        <c:v>41172</c:v>
                      </c:pt>
                      <c:pt idx="4611">
                        <c:v>41173</c:v>
                      </c:pt>
                      <c:pt idx="4612">
                        <c:v>41176</c:v>
                      </c:pt>
                      <c:pt idx="4613">
                        <c:v>41177</c:v>
                      </c:pt>
                      <c:pt idx="4614">
                        <c:v>41178</c:v>
                      </c:pt>
                      <c:pt idx="4615">
                        <c:v>41179</c:v>
                      </c:pt>
                      <c:pt idx="4616">
                        <c:v>41180</c:v>
                      </c:pt>
                      <c:pt idx="4617">
                        <c:v>41183</c:v>
                      </c:pt>
                      <c:pt idx="4618">
                        <c:v>41184</c:v>
                      </c:pt>
                      <c:pt idx="4619">
                        <c:v>41185</c:v>
                      </c:pt>
                      <c:pt idx="4620">
                        <c:v>41186</c:v>
                      </c:pt>
                      <c:pt idx="4621">
                        <c:v>41187</c:v>
                      </c:pt>
                      <c:pt idx="4622">
                        <c:v>41190</c:v>
                      </c:pt>
                      <c:pt idx="4623">
                        <c:v>41191</c:v>
                      </c:pt>
                      <c:pt idx="4624">
                        <c:v>41192</c:v>
                      </c:pt>
                      <c:pt idx="4625">
                        <c:v>41193</c:v>
                      </c:pt>
                      <c:pt idx="4626">
                        <c:v>41194</c:v>
                      </c:pt>
                      <c:pt idx="4627">
                        <c:v>41197</c:v>
                      </c:pt>
                      <c:pt idx="4628">
                        <c:v>41198</c:v>
                      </c:pt>
                      <c:pt idx="4629">
                        <c:v>41199</c:v>
                      </c:pt>
                      <c:pt idx="4630">
                        <c:v>41200</c:v>
                      </c:pt>
                      <c:pt idx="4631">
                        <c:v>41201</c:v>
                      </c:pt>
                      <c:pt idx="4632">
                        <c:v>41204</c:v>
                      </c:pt>
                      <c:pt idx="4633">
                        <c:v>41205</c:v>
                      </c:pt>
                      <c:pt idx="4634">
                        <c:v>41206</c:v>
                      </c:pt>
                      <c:pt idx="4635">
                        <c:v>41207</c:v>
                      </c:pt>
                      <c:pt idx="4636">
                        <c:v>41208</c:v>
                      </c:pt>
                      <c:pt idx="4637">
                        <c:v>41211</c:v>
                      </c:pt>
                      <c:pt idx="4638">
                        <c:v>41212</c:v>
                      </c:pt>
                      <c:pt idx="4639">
                        <c:v>41213</c:v>
                      </c:pt>
                      <c:pt idx="4640">
                        <c:v>41214</c:v>
                      </c:pt>
                      <c:pt idx="4641">
                        <c:v>41215</c:v>
                      </c:pt>
                      <c:pt idx="4642">
                        <c:v>41218</c:v>
                      </c:pt>
                      <c:pt idx="4643">
                        <c:v>41219</c:v>
                      </c:pt>
                      <c:pt idx="4644">
                        <c:v>41220</c:v>
                      </c:pt>
                      <c:pt idx="4645">
                        <c:v>41221</c:v>
                      </c:pt>
                      <c:pt idx="4646">
                        <c:v>41222</c:v>
                      </c:pt>
                      <c:pt idx="4647">
                        <c:v>41225</c:v>
                      </c:pt>
                      <c:pt idx="4648">
                        <c:v>41226</c:v>
                      </c:pt>
                      <c:pt idx="4649">
                        <c:v>41227</c:v>
                      </c:pt>
                      <c:pt idx="4650">
                        <c:v>41228</c:v>
                      </c:pt>
                      <c:pt idx="4651">
                        <c:v>41229</c:v>
                      </c:pt>
                      <c:pt idx="4652">
                        <c:v>41232</c:v>
                      </c:pt>
                      <c:pt idx="4653">
                        <c:v>41233</c:v>
                      </c:pt>
                      <c:pt idx="4654">
                        <c:v>41234</c:v>
                      </c:pt>
                      <c:pt idx="4655">
                        <c:v>41235</c:v>
                      </c:pt>
                      <c:pt idx="4656">
                        <c:v>41236</c:v>
                      </c:pt>
                      <c:pt idx="4657">
                        <c:v>41239</c:v>
                      </c:pt>
                      <c:pt idx="4658">
                        <c:v>41240</c:v>
                      </c:pt>
                      <c:pt idx="4659">
                        <c:v>41241</c:v>
                      </c:pt>
                      <c:pt idx="4660">
                        <c:v>41242</c:v>
                      </c:pt>
                      <c:pt idx="4661">
                        <c:v>41243</c:v>
                      </c:pt>
                      <c:pt idx="4662">
                        <c:v>41246</c:v>
                      </c:pt>
                      <c:pt idx="4663">
                        <c:v>41247</c:v>
                      </c:pt>
                      <c:pt idx="4664">
                        <c:v>41248</c:v>
                      </c:pt>
                      <c:pt idx="4665">
                        <c:v>41249</c:v>
                      </c:pt>
                      <c:pt idx="4666">
                        <c:v>41250</c:v>
                      </c:pt>
                      <c:pt idx="4667">
                        <c:v>41253</c:v>
                      </c:pt>
                      <c:pt idx="4668">
                        <c:v>41254</c:v>
                      </c:pt>
                      <c:pt idx="4669">
                        <c:v>41255</c:v>
                      </c:pt>
                      <c:pt idx="4670">
                        <c:v>41256</c:v>
                      </c:pt>
                      <c:pt idx="4671">
                        <c:v>41257</c:v>
                      </c:pt>
                      <c:pt idx="4672">
                        <c:v>41260</c:v>
                      </c:pt>
                      <c:pt idx="4673">
                        <c:v>41261</c:v>
                      </c:pt>
                      <c:pt idx="4674">
                        <c:v>41262</c:v>
                      </c:pt>
                      <c:pt idx="4675">
                        <c:v>41263</c:v>
                      </c:pt>
                      <c:pt idx="4676">
                        <c:v>41264</c:v>
                      </c:pt>
                      <c:pt idx="4677">
                        <c:v>41267</c:v>
                      </c:pt>
                      <c:pt idx="4678">
                        <c:v>41268</c:v>
                      </c:pt>
                      <c:pt idx="4679">
                        <c:v>41269</c:v>
                      </c:pt>
                      <c:pt idx="4680">
                        <c:v>41270</c:v>
                      </c:pt>
                      <c:pt idx="4681">
                        <c:v>41271</c:v>
                      </c:pt>
                      <c:pt idx="4682">
                        <c:v>41274</c:v>
                      </c:pt>
                      <c:pt idx="4683">
                        <c:v>41275</c:v>
                      </c:pt>
                      <c:pt idx="4684">
                        <c:v>41276</c:v>
                      </c:pt>
                      <c:pt idx="4685">
                        <c:v>41277</c:v>
                      </c:pt>
                      <c:pt idx="4686">
                        <c:v>41278</c:v>
                      </c:pt>
                      <c:pt idx="4687">
                        <c:v>41281</c:v>
                      </c:pt>
                      <c:pt idx="4688">
                        <c:v>41282</c:v>
                      </c:pt>
                      <c:pt idx="4689">
                        <c:v>41283</c:v>
                      </c:pt>
                      <c:pt idx="4690">
                        <c:v>41284</c:v>
                      </c:pt>
                      <c:pt idx="4691">
                        <c:v>41285</c:v>
                      </c:pt>
                      <c:pt idx="4692">
                        <c:v>41288</c:v>
                      </c:pt>
                      <c:pt idx="4693">
                        <c:v>41289</c:v>
                      </c:pt>
                      <c:pt idx="4694">
                        <c:v>41290</c:v>
                      </c:pt>
                      <c:pt idx="4695">
                        <c:v>41291</c:v>
                      </c:pt>
                      <c:pt idx="4696">
                        <c:v>41292</c:v>
                      </c:pt>
                      <c:pt idx="4697">
                        <c:v>41295</c:v>
                      </c:pt>
                      <c:pt idx="4698">
                        <c:v>41296</c:v>
                      </c:pt>
                      <c:pt idx="4699">
                        <c:v>41297</c:v>
                      </c:pt>
                      <c:pt idx="4700">
                        <c:v>41298</c:v>
                      </c:pt>
                      <c:pt idx="4701">
                        <c:v>41299</c:v>
                      </c:pt>
                      <c:pt idx="4702">
                        <c:v>41302</c:v>
                      </c:pt>
                      <c:pt idx="4703">
                        <c:v>41303</c:v>
                      </c:pt>
                      <c:pt idx="4704">
                        <c:v>41304</c:v>
                      </c:pt>
                      <c:pt idx="4705">
                        <c:v>41305</c:v>
                      </c:pt>
                      <c:pt idx="4706">
                        <c:v>41306</c:v>
                      </c:pt>
                      <c:pt idx="4707">
                        <c:v>41309</c:v>
                      </c:pt>
                      <c:pt idx="4708">
                        <c:v>41310</c:v>
                      </c:pt>
                      <c:pt idx="4709">
                        <c:v>41311</c:v>
                      </c:pt>
                      <c:pt idx="4710">
                        <c:v>41312</c:v>
                      </c:pt>
                      <c:pt idx="4711">
                        <c:v>41313</c:v>
                      </c:pt>
                      <c:pt idx="4712">
                        <c:v>41316</c:v>
                      </c:pt>
                      <c:pt idx="4713">
                        <c:v>41317</c:v>
                      </c:pt>
                      <c:pt idx="4714">
                        <c:v>41318</c:v>
                      </c:pt>
                      <c:pt idx="4715">
                        <c:v>41319</c:v>
                      </c:pt>
                      <c:pt idx="4716">
                        <c:v>41320</c:v>
                      </c:pt>
                      <c:pt idx="4717">
                        <c:v>41323</c:v>
                      </c:pt>
                      <c:pt idx="4718">
                        <c:v>41324</c:v>
                      </c:pt>
                      <c:pt idx="4719">
                        <c:v>41325</c:v>
                      </c:pt>
                      <c:pt idx="4720">
                        <c:v>41326</c:v>
                      </c:pt>
                      <c:pt idx="4721">
                        <c:v>41327</c:v>
                      </c:pt>
                      <c:pt idx="4722">
                        <c:v>41330</c:v>
                      </c:pt>
                      <c:pt idx="4723">
                        <c:v>41331</c:v>
                      </c:pt>
                      <c:pt idx="4724">
                        <c:v>41332</c:v>
                      </c:pt>
                      <c:pt idx="4725">
                        <c:v>41333</c:v>
                      </c:pt>
                      <c:pt idx="4726">
                        <c:v>41334</c:v>
                      </c:pt>
                      <c:pt idx="4727">
                        <c:v>41337</c:v>
                      </c:pt>
                      <c:pt idx="4728">
                        <c:v>41338</c:v>
                      </c:pt>
                      <c:pt idx="4729">
                        <c:v>41339</c:v>
                      </c:pt>
                      <c:pt idx="4730">
                        <c:v>41340</c:v>
                      </c:pt>
                      <c:pt idx="4731">
                        <c:v>41341</c:v>
                      </c:pt>
                      <c:pt idx="4732">
                        <c:v>41344</c:v>
                      </c:pt>
                      <c:pt idx="4733">
                        <c:v>41345</c:v>
                      </c:pt>
                      <c:pt idx="4734">
                        <c:v>41346</c:v>
                      </c:pt>
                      <c:pt idx="4735">
                        <c:v>41347</c:v>
                      </c:pt>
                      <c:pt idx="4736">
                        <c:v>41348</c:v>
                      </c:pt>
                      <c:pt idx="4737">
                        <c:v>41351</c:v>
                      </c:pt>
                      <c:pt idx="4738">
                        <c:v>41352</c:v>
                      </c:pt>
                      <c:pt idx="4739">
                        <c:v>41353</c:v>
                      </c:pt>
                      <c:pt idx="4740">
                        <c:v>41354</c:v>
                      </c:pt>
                      <c:pt idx="4741">
                        <c:v>41355</c:v>
                      </c:pt>
                      <c:pt idx="4742">
                        <c:v>41358</c:v>
                      </c:pt>
                      <c:pt idx="4743">
                        <c:v>41359</c:v>
                      </c:pt>
                      <c:pt idx="4744">
                        <c:v>41360</c:v>
                      </c:pt>
                      <c:pt idx="4745">
                        <c:v>41361</c:v>
                      </c:pt>
                      <c:pt idx="4746">
                        <c:v>41362</c:v>
                      </c:pt>
                      <c:pt idx="4747">
                        <c:v>41365</c:v>
                      </c:pt>
                      <c:pt idx="4748">
                        <c:v>41366</c:v>
                      </c:pt>
                      <c:pt idx="4749">
                        <c:v>41367</c:v>
                      </c:pt>
                      <c:pt idx="4750">
                        <c:v>41368</c:v>
                      </c:pt>
                      <c:pt idx="4751">
                        <c:v>41369</c:v>
                      </c:pt>
                      <c:pt idx="4752">
                        <c:v>41372</c:v>
                      </c:pt>
                      <c:pt idx="4753">
                        <c:v>41373</c:v>
                      </c:pt>
                      <c:pt idx="4754">
                        <c:v>41374</c:v>
                      </c:pt>
                      <c:pt idx="4755">
                        <c:v>41375</c:v>
                      </c:pt>
                      <c:pt idx="4756">
                        <c:v>41376</c:v>
                      </c:pt>
                      <c:pt idx="4757">
                        <c:v>41379</c:v>
                      </c:pt>
                      <c:pt idx="4758">
                        <c:v>41380</c:v>
                      </c:pt>
                      <c:pt idx="4759">
                        <c:v>41381</c:v>
                      </c:pt>
                      <c:pt idx="4760">
                        <c:v>41382</c:v>
                      </c:pt>
                      <c:pt idx="4761">
                        <c:v>41383</c:v>
                      </c:pt>
                      <c:pt idx="4762">
                        <c:v>41386</c:v>
                      </c:pt>
                      <c:pt idx="4763">
                        <c:v>41387</c:v>
                      </c:pt>
                      <c:pt idx="4764">
                        <c:v>41388</c:v>
                      </c:pt>
                      <c:pt idx="4765">
                        <c:v>41389</c:v>
                      </c:pt>
                      <c:pt idx="4766">
                        <c:v>41390</c:v>
                      </c:pt>
                      <c:pt idx="4767">
                        <c:v>41393</c:v>
                      </c:pt>
                      <c:pt idx="4768">
                        <c:v>41394</c:v>
                      </c:pt>
                      <c:pt idx="4769">
                        <c:v>41395</c:v>
                      </c:pt>
                      <c:pt idx="4770">
                        <c:v>41396</c:v>
                      </c:pt>
                      <c:pt idx="4771">
                        <c:v>41397</c:v>
                      </c:pt>
                      <c:pt idx="4772">
                        <c:v>41400</c:v>
                      </c:pt>
                      <c:pt idx="4773">
                        <c:v>41401</c:v>
                      </c:pt>
                      <c:pt idx="4774">
                        <c:v>41402</c:v>
                      </c:pt>
                      <c:pt idx="4775">
                        <c:v>41403</c:v>
                      </c:pt>
                      <c:pt idx="4776">
                        <c:v>41404</c:v>
                      </c:pt>
                      <c:pt idx="4777">
                        <c:v>41407</c:v>
                      </c:pt>
                      <c:pt idx="4778">
                        <c:v>41408</c:v>
                      </c:pt>
                      <c:pt idx="4779">
                        <c:v>41409</c:v>
                      </c:pt>
                      <c:pt idx="4780">
                        <c:v>41410</c:v>
                      </c:pt>
                      <c:pt idx="4781">
                        <c:v>41411</c:v>
                      </c:pt>
                      <c:pt idx="4782">
                        <c:v>41414</c:v>
                      </c:pt>
                      <c:pt idx="4783">
                        <c:v>41415</c:v>
                      </c:pt>
                      <c:pt idx="4784">
                        <c:v>41416</c:v>
                      </c:pt>
                      <c:pt idx="4785">
                        <c:v>41417</c:v>
                      </c:pt>
                      <c:pt idx="4786">
                        <c:v>41418</c:v>
                      </c:pt>
                      <c:pt idx="4787">
                        <c:v>41421</c:v>
                      </c:pt>
                      <c:pt idx="4788">
                        <c:v>41422</c:v>
                      </c:pt>
                      <c:pt idx="4789">
                        <c:v>41423</c:v>
                      </c:pt>
                      <c:pt idx="4790">
                        <c:v>41424</c:v>
                      </c:pt>
                      <c:pt idx="4791">
                        <c:v>41425</c:v>
                      </c:pt>
                      <c:pt idx="4792">
                        <c:v>41428</c:v>
                      </c:pt>
                      <c:pt idx="4793">
                        <c:v>41429</c:v>
                      </c:pt>
                      <c:pt idx="4794">
                        <c:v>41430</c:v>
                      </c:pt>
                      <c:pt idx="4795">
                        <c:v>41431</c:v>
                      </c:pt>
                      <c:pt idx="4796">
                        <c:v>41432</c:v>
                      </c:pt>
                      <c:pt idx="4797">
                        <c:v>41435</c:v>
                      </c:pt>
                      <c:pt idx="4798">
                        <c:v>41436</c:v>
                      </c:pt>
                      <c:pt idx="4799">
                        <c:v>41437</c:v>
                      </c:pt>
                      <c:pt idx="4800">
                        <c:v>41438</c:v>
                      </c:pt>
                      <c:pt idx="4801">
                        <c:v>41439</c:v>
                      </c:pt>
                      <c:pt idx="4802">
                        <c:v>41442</c:v>
                      </c:pt>
                      <c:pt idx="4803">
                        <c:v>41443</c:v>
                      </c:pt>
                      <c:pt idx="4804">
                        <c:v>41444</c:v>
                      </c:pt>
                      <c:pt idx="4805">
                        <c:v>41445</c:v>
                      </c:pt>
                      <c:pt idx="4806">
                        <c:v>41446</c:v>
                      </c:pt>
                      <c:pt idx="4807">
                        <c:v>41449</c:v>
                      </c:pt>
                      <c:pt idx="4808">
                        <c:v>41450</c:v>
                      </c:pt>
                      <c:pt idx="4809">
                        <c:v>41451</c:v>
                      </c:pt>
                      <c:pt idx="4810">
                        <c:v>41452</c:v>
                      </c:pt>
                      <c:pt idx="4811">
                        <c:v>41453</c:v>
                      </c:pt>
                      <c:pt idx="4812">
                        <c:v>41456</c:v>
                      </c:pt>
                      <c:pt idx="4813">
                        <c:v>41457</c:v>
                      </c:pt>
                      <c:pt idx="4814">
                        <c:v>41458</c:v>
                      </c:pt>
                      <c:pt idx="4815">
                        <c:v>41459</c:v>
                      </c:pt>
                      <c:pt idx="4816">
                        <c:v>41460</c:v>
                      </c:pt>
                      <c:pt idx="4817">
                        <c:v>41463</c:v>
                      </c:pt>
                      <c:pt idx="4818">
                        <c:v>41464</c:v>
                      </c:pt>
                      <c:pt idx="4819">
                        <c:v>41465</c:v>
                      </c:pt>
                      <c:pt idx="4820">
                        <c:v>41466</c:v>
                      </c:pt>
                      <c:pt idx="4821">
                        <c:v>41467</c:v>
                      </c:pt>
                      <c:pt idx="4822">
                        <c:v>41470</c:v>
                      </c:pt>
                      <c:pt idx="4823">
                        <c:v>41471</c:v>
                      </c:pt>
                      <c:pt idx="4824">
                        <c:v>41472</c:v>
                      </c:pt>
                      <c:pt idx="4825">
                        <c:v>41473</c:v>
                      </c:pt>
                      <c:pt idx="4826">
                        <c:v>41474</c:v>
                      </c:pt>
                      <c:pt idx="4827">
                        <c:v>41477</c:v>
                      </c:pt>
                      <c:pt idx="4828">
                        <c:v>41478</c:v>
                      </c:pt>
                      <c:pt idx="4829">
                        <c:v>41479</c:v>
                      </c:pt>
                      <c:pt idx="4830">
                        <c:v>41480</c:v>
                      </c:pt>
                      <c:pt idx="4831">
                        <c:v>41481</c:v>
                      </c:pt>
                      <c:pt idx="4832">
                        <c:v>41484</c:v>
                      </c:pt>
                      <c:pt idx="4833">
                        <c:v>41485</c:v>
                      </c:pt>
                      <c:pt idx="4834">
                        <c:v>41486</c:v>
                      </c:pt>
                      <c:pt idx="4835">
                        <c:v>41487</c:v>
                      </c:pt>
                      <c:pt idx="4836">
                        <c:v>41488</c:v>
                      </c:pt>
                      <c:pt idx="4837">
                        <c:v>41491</c:v>
                      </c:pt>
                      <c:pt idx="4838">
                        <c:v>41492</c:v>
                      </c:pt>
                      <c:pt idx="4839">
                        <c:v>41493</c:v>
                      </c:pt>
                      <c:pt idx="4840">
                        <c:v>41494</c:v>
                      </c:pt>
                      <c:pt idx="4841">
                        <c:v>41495</c:v>
                      </c:pt>
                      <c:pt idx="4842">
                        <c:v>41498</c:v>
                      </c:pt>
                      <c:pt idx="4843">
                        <c:v>41499</c:v>
                      </c:pt>
                      <c:pt idx="4844">
                        <c:v>41500</c:v>
                      </c:pt>
                      <c:pt idx="4845">
                        <c:v>41501</c:v>
                      </c:pt>
                      <c:pt idx="4846">
                        <c:v>41502</c:v>
                      </c:pt>
                      <c:pt idx="4847">
                        <c:v>41505</c:v>
                      </c:pt>
                      <c:pt idx="4848">
                        <c:v>41506</c:v>
                      </c:pt>
                      <c:pt idx="4849">
                        <c:v>41507</c:v>
                      </c:pt>
                      <c:pt idx="4850">
                        <c:v>41508</c:v>
                      </c:pt>
                      <c:pt idx="4851">
                        <c:v>41509</c:v>
                      </c:pt>
                      <c:pt idx="4852">
                        <c:v>41512</c:v>
                      </c:pt>
                      <c:pt idx="4853">
                        <c:v>41513</c:v>
                      </c:pt>
                      <c:pt idx="4854">
                        <c:v>41514</c:v>
                      </c:pt>
                      <c:pt idx="4855">
                        <c:v>41515</c:v>
                      </c:pt>
                      <c:pt idx="4856">
                        <c:v>41516</c:v>
                      </c:pt>
                      <c:pt idx="4857">
                        <c:v>41519</c:v>
                      </c:pt>
                      <c:pt idx="4858">
                        <c:v>41520</c:v>
                      </c:pt>
                      <c:pt idx="4859">
                        <c:v>41521</c:v>
                      </c:pt>
                      <c:pt idx="4860">
                        <c:v>41522</c:v>
                      </c:pt>
                      <c:pt idx="4861">
                        <c:v>41523</c:v>
                      </c:pt>
                      <c:pt idx="4862">
                        <c:v>41526</c:v>
                      </c:pt>
                      <c:pt idx="4863">
                        <c:v>41527</c:v>
                      </c:pt>
                      <c:pt idx="4864">
                        <c:v>41528</c:v>
                      </c:pt>
                      <c:pt idx="4865">
                        <c:v>41529</c:v>
                      </c:pt>
                      <c:pt idx="4866">
                        <c:v>41530</c:v>
                      </c:pt>
                      <c:pt idx="4867">
                        <c:v>41533</c:v>
                      </c:pt>
                      <c:pt idx="4868">
                        <c:v>41534</c:v>
                      </c:pt>
                      <c:pt idx="4869">
                        <c:v>41535</c:v>
                      </c:pt>
                      <c:pt idx="4870">
                        <c:v>41536</c:v>
                      </c:pt>
                      <c:pt idx="4871">
                        <c:v>41537</c:v>
                      </c:pt>
                      <c:pt idx="4872">
                        <c:v>41540</c:v>
                      </c:pt>
                      <c:pt idx="4873">
                        <c:v>41541</c:v>
                      </c:pt>
                      <c:pt idx="4874">
                        <c:v>41542</c:v>
                      </c:pt>
                      <c:pt idx="4875">
                        <c:v>41543</c:v>
                      </c:pt>
                      <c:pt idx="4876">
                        <c:v>41544</c:v>
                      </c:pt>
                      <c:pt idx="4877">
                        <c:v>41547</c:v>
                      </c:pt>
                      <c:pt idx="4878">
                        <c:v>41548</c:v>
                      </c:pt>
                      <c:pt idx="4879">
                        <c:v>41549</c:v>
                      </c:pt>
                      <c:pt idx="4880">
                        <c:v>41550</c:v>
                      </c:pt>
                      <c:pt idx="4881">
                        <c:v>41551</c:v>
                      </c:pt>
                      <c:pt idx="4882">
                        <c:v>41554</c:v>
                      </c:pt>
                      <c:pt idx="4883">
                        <c:v>41555</c:v>
                      </c:pt>
                      <c:pt idx="4884">
                        <c:v>41556</c:v>
                      </c:pt>
                      <c:pt idx="4885">
                        <c:v>41557</c:v>
                      </c:pt>
                      <c:pt idx="4886">
                        <c:v>41558</c:v>
                      </c:pt>
                      <c:pt idx="4887">
                        <c:v>41561</c:v>
                      </c:pt>
                      <c:pt idx="4888">
                        <c:v>41562</c:v>
                      </c:pt>
                      <c:pt idx="4889">
                        <c:v>41563</c:v>
                      </c:pt>
                      <c:pt idx="4890">
                        <c:v>41564</c:v>
                      </c:pt>
                      <c:pt idx="4891">
                        <c:v>41565</c:v>
                      </c:pt>
                      <c:pt idx="4892">
                        <c:v>41568</c:v>
                      </c:pt>
                      <c:pt idx="4893">
                        <c:v>41569</c:v>
                      </c:pt>
                      <c:pt idx="4894">
                        <c:v>41570</c:v>
                      </c:pt>
                      <c:pt idx="4895">
                        <c:v>41571</c:v>
                      </c:pt>
                      <c:pt idx="4896">
                        <c:v>41572</c:v>
                      </c:pt>
                      <c:pt idx="4897">
                        <c:v>41575</c:v>
                      </c:pt>
                      <c:pt idx="4898">
                        <c:v>41576</c:v>
                      </c:pt>
                      <c:pt idx="4899">
                        <c:v>41577</c:v>
                      </c:pt>
                      <c:pt idx="4900">
                        <c:v>41578</c:v>
                      </c:pt>
                      <c:pt idx="4901">
                        <c:v>41579</c:v>
                      </c:pt>
                      <c:pt idx="4902">
                        <c:v>41582</c:v>
                      </c:pt>
                      <c:pt idx="4903">
                        <c:v>41583</c:v>
                      </c:pt>
                      <c:pt idx="4904">
                        <c:v>41584</c:v>
                      </c:pt>
                      <c:pt idx="4905">
                        <c:v>41585</c:v>
                      </c:pt>
                      <c:pt idx="4906">
                        <c:v>41586</c:v>
                      </c:pt>
                      <c:pt idx="4907">
                        <c:v>41589</c:v>
                      </c:pt>
                      <c:pt idx="4908">
                        <c:v>41590</c:v>
                      </c:pt>
                      <c:pt idx="4909">
                        <c:v>41591</c:v>
                      </c:pt>
                      <c:pt idx="4910">
                        <c:v>41592</c:v>
                      </c:pt>
                      <c:pt idx="4911">
                        <c:v>41593</c:v>
                      </c:pt>
                      <c:pt idx="4912">
                        <c:v>41596</c:v>
                      </c:pt>
                      <c:pt idx="4913">
                        <c:v>41597</c:v>
                      </c:pt>
                      <c:pt idx="4914">
                        <c:v>41598</c:v>
                      </c:pt>
                      <c:pt idx="4915">
                        <c:v>41599</c:v>
                      </c:pt>
                      <c:pt idx="4916">
                        <c:v>41600</c:v>
                      </c:pt>
                      <c:pt idx="4917">
                        <c:v>41603</c:v>
                      </c:pt>
                      <c:pt idx="4918">
                        <c:v>41604</c:v>
                      </c:pt>
                      <c:pt idx="4919">
                        <c:v>41605</c:v>
                      </c:pt>
                      <c:pt idx="4920">
                        <c:v>41606</c:v>
                      </c:pt>
                      <c:pt idx="4921">
                        <c:v>41607</c:v>
                      </c:pt>
                      <c:pt idx="4922">
                        <c:v>41610</c:v>
                      </c:pt>
                      <c:pt idx="4923">
                        <c:v>41611</c:v>
                      </c:pt>
                      <c:pt idx="4924">
                        <c:v>41612</c:v>
                      </c:pt>
                      <c:pt idx="4925">
                        <c:v>41613</c:v>
                      </c:pt>
                      <c:pt idx="4926">
                        <c:v>41614</c:v>
                      </c:pt>
                      <c:pt idx="4927">
                        <c:v>41617</c:v>
                      </c:pt>
                      <c:pt idx="4928">
                        <c:v>41618</c:v>
                      </c:pt>
                      <c:pt idx="4929">
                        <c:v>41619</c:v>
                      </c:pt>
                      <c:pt idx="4930">
                        <c:v>41620</c:v>
                      </c:pt>
                      <c:pt idx="4931">
                        <c:v>41621</c:v>
                      </c:pt>
                      <c:pt idx="4932">
                        <c:v>41624</c:v>
                      </c:pt>
                      <c:pt idx="4933">
                        <c:v>41625</c:v>
                      </c:pt>
                      <c:pt idx="4934">
                        <c:v>41626</c:v>
                      </c:pt>
                      <c:pt idx="4935">
                        <c:v>41627</c:v>
                      </c:pt>
                      <c:pt idx="4936">
                        <c:v>41628</c:v>
                      </c:pt>
                      <c:pt idx="4937">
                        <c:v>41631</c:v>
                      </c:pt>
                      <c:pt idx="4938">
                        <c:v>41632</c:v>
                      </c:pt>
                      <c:pt idx="4939">
                        <c:v>41633</c:v>
                      </c:pt>
                      <c:pt idx="4940">
                        <c:v>41634</c:v>
                      </c:pt>
                      <c:pt idx="4941">
                        <c:v>41635</c:v>
                      </c:pt>
                      <c:pt idx="4942">
                        <c:v>41638</c:v>
                      </c:pt>
                      <c:pt idx="4943">
                        <c:v>41639</c:v>
                      </c:pt>
                      <c:pt idx="4944">
                        <c:v>41640</c:v>
                      </c:pt>
                      <c:pt idx="4945">
                        <c:v>41641</c:v>
                      </c:pt>
                      <c:pt idx="4946">
                        <c:v>41642</c:v>
                      </c:pt>
                      <c:pt idx="4947">
                        <c:v>41645</c:v>
                      </c:pt>
                      <c:pt idx="4948">
                        <c:v>41646</c:v>
                      </c:pt>
                      <c:pt idx="4949">
                        <c:v>41647</c:v>
                      </c:pt>
                      <c:pt idx="4950">
                        <c:v>41648</c:v>
                      </c:pt>
                      <c:pt idx="4951">
                        <c:v>41649</c:v>
                      </c:pt>
                      <c:pt idx="4952">
                        <c:v>41652</c:v>
                      </c:pt>
                      <c:pt idx="4953">
                        <c:v>41653</c:v>
                      </c:pt>
                      <c:pt idx="4954">
                        <c:v>41654</c:v>
                      </c:pt>
                      <c:pt idx="4955">
                        <c:v>41655</c:v>
                      </c:pt>
                      <c:pt idx="4956">
                        <c:v>41656</c:v>
                      </c:pt>
                      <c:pt idx="4957">
                        <c:v>41659</c:v>
                      </c:pt>
                      <c:pt idx="4958">
                        <c:v>41660</c:v>
                      </c:pt>
                      <c:pt idx="4959">
                        <c:v>41661</c:v>
                      </c:pt>
                      <c:pt idx="4960">
                        <c:v>41662</c:v>
                      </c:pt>
                      <c:pt idx="4961">
                        <c:v>41663</c:v>
                      </c:pt>
                      <c:pt idx="4962">
                        <c:v>41666</c:v>
                      </c:pt>
                      <c:pt idx="4963">
                        <c:v>41667</c:v>
                      </c:pt>
                      <c:pt idx="4964">
                        <c:v>41668</c:v>
                      </c:pt>
                      <c:pt idx="4965">
                        <c:v>41669</c:v>
                      </c:pt>
                      <c:pt idx="4966">
                        <c:v>41670</c:v>
                      </c:pt>
                      <c:pt idx="4967">
                        <c:v>41673</c:v>
                      </c:pt>
                      <c:pt idx="4968">
                        <c:v>41674</c:v>
                      </c:pt>
                      <c:pt idx="4969">
                        <c:v>41675</c:v>
                      </c:pt>
                      <c:pt idx="4970">
                        <c:v>41676</c:v>
                      </c:pt>
                      <c:pt idx="4971">
                        <c:v>41677</c:v>
                      </c:pt>
                      <c:pt idx="4972">
                        <c:v>41680</c:v>
                      </c:pt>
                      <c:pt idx="4973">
                        <c:v>41681</c:v>
                      </c:pt>
                      <c:pt idx="4974">
                        <c:v>41682</c:v>
                      </c:pt>
                      <c:pt idx="4975">
                        <c:v>41683</c:v>
                      </c:pt>
                      <c:pt idx="4976">
                        <c:v>41684</c:v>
                      </c:pt>
                      <c:pt idx="4977">
                        <c:v>41687</c:v>
                      </c:pt>
                      <c:pt idx="4978">
                        <c:v>41688</c:v>
                      </c:pt>
                      <c:pt idx="4979">
                        <c:v>41689</c:v>
                      </c:pt>
                      <c:pt idx="4980">
                        <c:v>41690</c:v>
                      </c:pt>
                      <c:pt idx="4981">
                        <c:v>41691</c:v>
                      </c:pt>
                      <c:pt idx="4982">
                        <c:v>41694</c:v>
                      </c:pt>
                      <c:pt idx="4983">
                        <c:v>41695</c:v>
                      </c:pt>
                      <c:pt idx="4984">
                        <c:v>41696</c:v>
                      </c:pt>
                      <c:pt idx="4985">
                        <c:v>41697</c:v>
                      </c:pt>
                      <c:pt idx="4986">
                        <c:v>41698</c:v>
                      </c:pt>
                      <c:pt idx="4987">
                        <c:v>41701</c:v>
                      </c:pt>
                      <c:pt idx="4988">
                        <c:v>41702</c:v>
                      </c:pt>
                      <c:pt idx="4989">
                        <c:v>41703</c:v>
                      </c:pt>
                      <c:pt idx="4990">
                        <c:v>41704</c:v>
                      </c:pt>
                      <c:pt idx="4991">
                        <c:v>41705</c:v>
                      </c:pt>
                      <c:pt idx="4992">
                        <c:v>41708</c:v>
                      </c:pt>
                      <c:pt idx="4993">
                        <c:v>41709</c:v>
                      </c:pt>
                      <c:pt idx="4994">
                        <c:v>41710</c:v>
                      </c:pt>
                      <c:pt idx="4995">
                        <c:v>41711</c:v>
                      </c:pt>
                      <c:pt idx="4996">
                        <c:v>41712</c:v>
                      </c:pt>
                      <c:pt idx="4997">
                        <c:v>41715</c:v>
                      </c:pt>
                      <c:pt idx="4998">
                        <c:v>41716</c:v>
                      </c:pt>
                      <c:pt idx="4999">
                        <c:v>41717</c:v>
                      </c:pt>
                      <c:pt idx="5000">
                        <c:v>41718</c:v>
                      </c:pt>
                      <c:pt idx="5001">
                        <c:v>41719</c:v>
                      </c:pt>
                      <c:pt idx="5002">
                        <c:v>41722</c:v>
                      </c:pt>
                      <c:pt idx="5003">
                        <c:v>41723</c:v>
                      </c:pt>
                      <c:pt idx="5004">
                        <c:v>41724</c:v>
                      </c:pt>
                      <c:pt idx="5005">
                        <c:v>41725</c:v>
                      </c:pt>
                      <c:pt idx="5006">
                        <c:v>41726</c:v>
                      </c:pt>
                      <c:pt idx="5007">
                        <c:v>41729</c:v>
                      </c:pt>
                      <c:pt idx="5008">
                        <c:v>41730</c:v>
                      </c:pt>
                      <c:pt idx="5009">
                        <c:v>41731</c:v>
                      </c:pt>
                      <c:pt idx="5010">
                        <c:v>41732</c:v>
                      </c:pt>
                      <c:pt idx="5011">
                        <c:v>41733</c:v>
                      </c:pt>
                      <c:pt idx="5012">
                        <c:v>41736</c:v>
                      </c:pt>
                      <c:pt idx="5013">
                        <c:v>41737</c:v>
                      </c:pt>
                      <c:pt idx="5014">
                        <c:v>41738</c:v>
                      </c:pt>
                      <c:pt idx="5015">
                        <c:v>41739</c:v>
                      </c:pt>
                      <c:pt idx="5016">
                        <c:v>41740</c:v>
                      </c:pt>
                      <c:pt idx="5017">
                        <c:v>41743</c:v>
                      </c:pt>
                      <c:pt idx="5018">
                        <c:v>41744</c:v>
                      </c:pt>
                      <c:pt idx="5019">
                        <c:v>41745</c:v>
                      </c:pt>
                      <c:pt idx="5020">
                        <c:v>41746</c:v>
                      </c:pt>
                      <c:pt idx="5021">
                        <c:v>41747</c:v>
                      </c:pt>
                      <c:pt idx="5022">
                        <c:v>41750</c:v>
                      </c:pt>
                      <c:pt idx="5023">
                        <c:v>41751</c:v>
                      </c:pt>
                      <c:pt idx="5024">
                        <c:v>41752</c:v>
                      </c:pt>
                      <c:pt idx="5025">
                        <c:v>41753</c:v>
                      </c:pt>
                      <c:pt idx="5026">
                        <c:v>41754</c:v>
                      </c:pt>
                      <c:pt idx="5027">
                        <c:v>41757</c:v>
                      </c:pt>
                      <c:pt idx="5028">
                        <c:v>41758</c:v>
                      </c:pt>
                      <c:pt idx="5029">
                        <c:v>41759</c:v>
                      </c:pt>
                      <c:pt idx="5030">
                        <c:v>41760</c:v>
                      </c:pt>
                      <c:pt idx="5031">
                        <c:v>41761</c:v>
                      </c:pt>
                      <c:pt idx="5032">
                        <c:v>41764</c:v>
                      </c:pt>
                      <c:pt idx="5033">
                        <c:v>41765</c:v>
                      </c:pt>
                      <c:pt idx="5034">
                        <c:v>41766</c:v>
                      </c:pt>
                      <c:pt idx="5035">
                        <c:v>41767</c:v>
                      </c:pt>
                      <c:pt idx="5036">
                        <c:v>41768</c:v>
                      </c:pt>
                      <c:pt idx="5037">
                        <c:v>41771</c:v>
                      </c:pt>
                      <c:pt idx="5038">
                        <c:v>41772</c:v>
                      </c:pt>
                      <c:pt idx="5039">
                        <c:v>41773</c:v>
                      </c:pt>
                      <c:pt idx="5040">
                        <c:v>41774</c:v>
                      </c:pt>
                      <c:pt idx="5041">
                        <c:v>41775</c:v>
                      </c:pt>
                      <c:pt idx="5042">
                        <c:v>41778</c:v>
                      </c:pt>
                      <c:pt idx="5043">
                        <c:v>41779</c:v>
                      </c:pt>
                      <c:pt idx="5044">
                        <c:v>41780</c:v>
                      </c:pt>
                      <c:pt idx="5045">
                        <c:v>41781</c:v>
                      </c:pt>
                      <c:pt idx="5046">
                        <c:v>41782</c:v>
                      </c:pt>
                      <c:pt idx="5047">
                        <c:v>41785</c:v>
                      </c:pt>
                      <c:pt idx="5048">
                        <c:v>41786</c:v>
                      </c:pt>
                      <c:pt idx="5049">
                        <c:v>41787</c:v>
                      </c:pt>
                      <c:pt idx="5050">
                        <c:v>41788</c:v>
                      </c:pt>
                      <c:pt idx="5051">
                        <c:v>41789</c:v>
                      </c:pt>
                      <c:pt idx="5052">
                        <c:v>41792</c:v>
                      </c:pt>
                      <c:pt idx="5053">
                        <c:v>41793</c:v>
                      </c:pt>
                      <c:pt idx="5054">
                        <c:v>41794</c:v>
                      </c:pt>
                      <c:pt idx="5055">
                        <c:v>41795</c:v>
                      </c:pt>
                      <c:pt idx="5056">
                        <c:v>41796</c:v>
                      </c:pt>
                      <c:pt idx="5057">
                        <c:v>41799</c:v>
                      </c:pt>
                      <c:pt idx="5058">
                        <c:v>41800</c:v>
                      </c:pt>
                      <c:pt idx="5059">
                        <c:v>41801</c:v>
                      </c:pt>
                      <c:pt idx="5060">
                        <c:v>41802</c:v>
                      </c:pt>
                      <c:pt idx="5061">
                        <c:v>41803</c:v>
                      </c:pt>
                      <c:pt idx="5062">
                        <c:v>41806</c:v>
                      </c:pt>
                      <c:pt idx="5063">
                        <c:v>41807</c:v>
                      </c:pt>
                      <c:pt idx="5064">
                        <c:v>41808</c:v>
                      </c:pt>
                      <c:pt idx="5065">
                        <c:v>41809</c:v>
                      </c:pt>
                      <c:pt idx="5066">
                        <c:v>41810</c:v>
                      </c:pt>
                      <c:pt idx="5067">
                        <c:v>41813</c:v>
                      </c:pt>
                      <c:pt idx="5068">
                        <c:v>41814</c:v>
                      </c:pt>
                      <c:pt idx="5069">
                        <c:v>41815</c:v>
                      </c:pt>
                      <c:pt idx="5070">
                        <c:v>41816</c:v>
                      </c:pt>
                      <c:pt idx="5071">
                        <c:v>41817</c:v>
                      </c:pt>
                      <c:pt idx="5072">
                        <c:v>41820</c:v>
                      </c:pt>
                      <c:pt idx="5073">
                        <c:v>41821</c:v>
                      </c:pt>
                      <c:pt idx="5074">
                        <c:v>41822</c:v>
                      </c:pt>
                      <c:pt idx="5075">
                        <c:v>41823</c:v>
                      </c:pt>
                      <c:pt idx="5076">
                        <c:v>41824</c:v>
                      </c:pt>
                      <c:pt idx="5077">
                        <c:v>41827</c:v>
                      </c:pt>
                      <c:pt idx="5078">
                        <c:v>41828</c:v>
                      </c:pt>
                      <c:pt idx="5079">
                        <c:v>41829</c:v>
                      </c:pt>
                      <c:pt idx="5080">
                        <c:v>41830</c:v>
                      </c:pt>
                      <c:pt idx="5081">
                        <c:v>41831</c:v>
                      </c:pt>
                      <c:pt idx="5082">
                        <c:v>41834</c:v>
                      </c:pt>
                      <c:pt idx="5083">
                        <c:v>41835</c:v>
                      </c:pt>
                      <c:pt idx="5084">
                        <c:v>41836</c:v>
                      </c:pt>
                      <c:pt idx="5085">
                        <c:v>41837</c:v>
                      </c:pt>
                      <c:pt idx="5086">
                        <c:v>41838</c:v>
                      </c:pt>
                      <c:pt idx="5087">
                        <c:v>41841</c:v>
                      </c:pt>
                      <c:pt idx="5088">
                        <c:v>41842</c:v>
                      </c:pt>
                      <c:pt idx="5089">
                        <c:v>41843</c:v>
                      </c:pt>
                      <c:pt idx="5090">
                        <c:v>41844</c:v>
                      </c:pt>
                      <c:pt idx="5091">
                        <c:v>41845</c:v>
                      </c:pt>
                      <c:pt idx="5092">
                        <c:v>41848</c:v>
                      </c:pt>
                      <c:pt idx="5093">
                        <c:v>41849</c:v>
                      </c:pt>
                      <c:pt idx="5094">
                        <c:v>41850</c:v>
                      </c:pt>
                      <c:pt idx="5095">
                        <c:v>41851</c:v>
                      </c:pt>
                      <c:pt idx="5096">
                        <c:v>41852</c:v>
                      </c:pt>
                      <c:pt idx="5097">
                        <c:v>41855</c:v>
                      </c:pt>
                      <c:pt idx="5098">
                        <c:v>41856</c:v>
                      </c:pt>
                      <c:pt idx="5099">
                        <c:v>41857</c:v>
                      </c:pt>
                      <c:pt idx="5100">
                        <c:v>41858</c:v>
                      </c:pt>
                      <c:pt idx="5101">
                        <c:v>41859</c:v>
                      </c:pt>
                      <c:pt idx="5102">
                        <c:v>41862</c:v>
                      </c:pt>
                      <c:pt idx="5103">
                        <c:v>41863</c:v>
                      </c:pt>
                      <c:pt idx="5104">
                        <c:v>41864</c:v>
                      </c:pt>
                      <c:pt idx="5105">
                        <c:v>41865</c:v>
                      </c:pt>
                      <c:pt idx="5106">
                        <c:v>41866</c:v>
                      </c:pt>
                      <c:pt idx="5107">
                        <c:v>41869</c:v>
                      </c:pt>
                      <c:pt idx="5108">
                        <c:v>41870</c:v>
                      </c:pt>
                      <c:pt idx="5109">
                        <c:v>41871</c:v>
                      </c:pt>
                      <c:pt idx="5110">
                        <c:v>41872</c:v>
                      </c:pt>
                      <c:pt idx="5111">
                        <c:v>41873</c:v>
                      </c:pt>
                      <c:pt idx="5112">
                        <c:v>41876</c:v>
                      </c:pt>
                      <c:pt idx="5113">
                        <c:v>41877</c:v>
                      </c:pt>
                      <c:pt idx="5114">
                        <c:v>41878</c:v>
                      </c:pt>
                      <c:pt idx="5115">
                        <c:v>41879</c:v>
                      </c:pt>
                      <c:pt idx="5116">
                        <c:v>41880</c:v>
                      </c:pt>
                      <c:pt idx="5117">
                        <c:v>41883</c:v>
                      </c:pt>
                      <c:pt idx="5118">
                        <c:v>41884</c:v>
                      </c:pt>
                      <c:pt idx="5119">
                        <c:v>41885</c:v>
                      </c:pt>
                      <c:pt idx="5120">
                        <c:v>41886</c:v>
                      </c:pt>
                      <c:pt idx="5121">
                        <c:v>41887</c:v>
                      </c:pt>
                      <c:pt idx="5122">
                        <c:v>41890</c:v>
                      </c:pt>
                      <c:pt idx="5123">
                        <c:v>41891</c:v>
                      </c:pt>
                      <c:pt idx="5124">
                        <c:v>41892</c:v>
                      </c:pt>
                      <c:pt idx="5125">
                        <c:v>41893</c:v>
                      </c:pt>
                      <c:pt idx="5126">
                        <c:v>41894</c:v>
                      </c:pt>
                      <c:pt idx="5127">
                        <c:v>41897</c:v>
                      </c:pt>
                      <c:pt idx="5128">
                        <c:v>41898</c:v>
                      </c:pt>
                      <c:pt idx="5129">
                        <c:v>41899</c:v>
                      </c:pt>
                      <c:pt idx="5130">
                        <c:v>41900</c:v>
                      </c:pt>
                      <c:pt idx="5131">
                        <c:v>41901</c:v>
                      </c:pt>
                      <c:pt idx="5132">
                        <c:v>41904</c:v>
                      </c:pt>
                      <c:pt idx="5133">
                        <c:v>41905</c:v>
                      </c:pt>
                      <c:pt idx="5134">
                        <c:v>41906</c:v>
                      </c:pt>
                      <c:pt idx="5135">
                        <c:v>41907</c:v>
                      </c:pt>
                      <c:pt idx="5136">
                        <c:v>41908</c:v>
                      </c:pt>
                      <c:pt idx="5137">
                        <c:v>41911</c:v>
                      </c:pt>
                      <c:pt idx="5138">
                        <c:v>41912</c:v>
                      </c:pt>
                      <c:pt idx="5139">
                        <c:v>41913</c:v>
                      </c:pt>
                      <c:pt idx="5140">
                        <c:v>41914</c:v>
                      </c:pt>
                      <c:pt idx="5141">
                        <c:v>41915</c:v>
                      </c:pt>
                      <c:pt idx="5142">
                        <c:v>41918</c:v>
                      </c:pt>
                      <c:pt idx="5143">
                        <c:v>41919</c:v>
                      </c:pt>
                      <c:pt idx="5144">
                        <c:v>41920</c:v>
                      </c:pt>
                      <c:pt idx="5145">
                        <c:v>41921</c:v>
                      </c:pt>
                      <c:pt idx="5146">
                        <c:v>41922</c:v>
                      </c:pt>
                      <c:pt idx="5147">
                        <c:v>41925</c:v>
                      </c:pt>
                      <c:pt idx="5148">
                        <c:v>41926</c:v>
                      </c:pt>
                      <c:pt idx="5149">
                        <c:v>41927</c:v>
                      </c:pt>
                      <c:pt idx="5150">
                        <c:v>41928</c:v>
                      </c:pt>
                      <c:pt idx="5151">
                        <c:v>41929</c:v>
                      </c:pt>
                      <c:pt idx="5152">
                        <c:v>41932</c:v>
                      </c:pt>
                      <c:pt idx="5153">
                        <c:v>41933</c:v>
                      </c:pt>
                      <c:pt idx="5154">
                        <c:v>41934</c:v>
                      </c:pt>
                      <c:pt idx="5155">
                        <c:v>41935</c:v>
                      </c:pt>
                      <c:pt idx="5156">
                        <c:v>41936</c:v>
                      </c:pt>
                      <c:pt idx="5157">
                        <c:v>41939</c:v>
                      </c:pt>
                      <c:pt idx="5158">
                        <c:v>41940</c:v>
                      </c:pt>
                      <c:pt idx="5159">
                        <c:v>41941</c:v>
                      </c:pt>
                      <c:pt idx="5160">
                        <c:v>41942</c:v>
                      </c:pt>
                      <c:pt idx="5161">
                        <c:v>41943</c:v>
                      </c:pt>
                      <c:pt idx="5162">
                        <c:v>41946</c:v>
                      </c:pt>
                      <c:pt idx="5163">
                        <c:v>41947</c:v>
                      </c:pt>
                      <c:pt idx="5164">
                        <c:v>41948</c:v>
                      </c:pt>
                      <c:pt idx="5165">
                        <c:v>41949</c:v>
                      </c:pt>
                      <c:pt idx="5166">
                        <c:v>41950</c:v>
                      </c:pt>
                      <c:pt idx="5167">
                        <c:v>41953</c:v>
                      </c:pt>
                      <c:pt idx="5168">
                        <c:v>41954</c:v>
                      </c:pt>
                      <c:pt idx="5169">
                        <c:v>41955</c:v>
                      </c:pt>
                      <c:pt idx="5170">
                        <c:v>41956</c:v>
                      </c:pt>
                      <c:pt idx="5171">
                        <c:v>41957</c:v>
                      </c:pt>
                      <c:pt idx="5172">
                        <c:v>41960</c:v>
                      </c:pt>
                      <c:pt idx="5173">
                        <c:v>41961</c:v>
                      </c:pt>
                      <c:pt idx="5174">
                        <c:v>41962</c:v>
                      </c:pt>
                      <c:pt idx="5175">
                        <c:v>41963</c:v>
                      </c:pt>
                      <c:pt idx="5176">
                        <c:v>41964</c:v>
                      </c:pt>
                      <c:pt idx="5177">
                        <c:v>41967</c:v>
                      </c:pt>
                      <c:pt idx="5178">
                        <c:v>41968</c:v>
                      </c:pt>
                      <c:pt idx="5179">
                        <c:v>41969</c:v>
                      </c:pt>
                      <c:pt idx="5180">
                        <c:v>41970</c:v>
                      </c:pt>
                      <c:pt idx="5181">
                        <c:v>41971</c:v>
                      </c:pt>
                      <c:pt idx="5182">
                        <c:v>41974</c:v>
                      </c:pt>
                      <c:pt idx="5183">
                        <c:v>41975</c:v>
                      </c:pt>
                      <c:pt idx="5184">
                        <c:v>41976</c:v>
                      </c:pt>
                      <c:pt idx="5185">
                        <c:v>41977</c:v>
                      </c:pt>
                      <c:pt idx="5186">
                        <c:v>41978</c:v>
                      </c:pt>
                      <c:pt idx="5187">
                        <c:v>41981</c:v>
                      </c:pt>
                      <c:pt idx="5188">
                        <c:v>41982</c:v>
                      </c:pt>
                      <c:pt idx="5189">
                        <c:v>41983</c:v>
                      </c:pt>
                      <c:pt idx="5190">
                        <c:v>41984</c:v>
                      </c:pt>
                      <c:pt idx="5191">
                        <c:v>41985</c:v>
                      </c:pt>
                      <c:pt idx="5192">
                        <c:v>41988</c:v>
                      </c:pt>
                      <c:pt idx="5193">
                        <c:v>41989</c:v>
                      </c:pt>
                      <c:pt idx="5194">
                        <c:v>41990</c:v>
                      </c:pt>
                      <c:pt idx="5195">
                        <c:v>41991</c:v>
                      </c:pt>
                      <c:pt idx="5196">
                        <c:v>41992</c:v>
                      </c:pt>
                      <c:pt idx="5197">
                        <c:v>41995</c:v>
                      </c:pt>
                      <c:pt idx="5198">
                        <c:v>41996</c:v>
                      </c:pt>
                      <c:pt idx="5199">
                        <c:v>41997</c:v>
                      </c:pt>
                      <c:pt idx="5200">
                        <c:v>41998</c:v>
                      </c:pt>
                      <c:pt idx="5201">
                        <c:v>41999</c:v>
                      </c:pt>
                      <c:pt idx="5202">
                        <c:v>42002</c:v>
                      </c:pt>
                      <c:pt idx="5203">
                        <c:v>42003</c:v>
                      </c:pt>
                      <c:pt idx="5204">
                        <c:v>42004</c:v>
                      </c:pt>
                      <c:pt idx="5205">
                        <c:v>42005</c:v>
                      </c:pt>
                      <c:pt idx="5206">
                        <c:v>42006</c:v>
                      </c:pt>
                      <c:pt idx="5207">
                        <c:v>42009</c:v>
                      </c:pt>
                      <c:pt idx="5208">
                        <c:v>42010</c:v>
                      </c:pt>
                      <c:pt idx="5209">
                        <c:v>42011</c:v>
                      </c:pt>
                      <c:pt idx="5210">
                        <c:v>42012</c:v>
                      </c:pt>
                      <c:pt idx="5211">
                        <c:v>42013</c:v>
                      </c:pt>
                      <c:pt idx="5212">
                        <c:v>42016</c:v>
                      </c:pt>
                      <c:pt idx="5213">
                        <c:v>42017</c:v>
                      </c:pt>
                      <c:pt idx="5214">
                        <c:v>42018</c:v>
                      </c:pt>
                      <c:pt idx="5215">
                        <c:v>42019</c:v>
                      </c:pt>
                      <c:pt idx="5216">
                        <c:v>42020</c:v>
                      </c:pt>
                      <c:pt idx="5217">
                        <c:v>42023</c:v>
                      </c:pt>
                      <c:pt idx="5218">
                        <c:v>42024</c:v>
                      </c:pt>
                      <c:pt idx="5219">
                        <c:v>42025</c:v>
                      </c:pt>
                      <c:pt idx="5220">
                        <c:v>42026</c:v>
                      </c:pt>
                      <c:pt idx="5221">
                        <c:v>42027</c:v>
                      </c:pt>
                      <c:pt idx="5222">
                        <c:v>42030</c:v>
                      </c:pt>
                      <c:pt idx="5223">
                        <c:v>42031</c:v>
                      </c:pt>
                      <c:pt idx="5224">
                        <c:v>42032</c:v>
                      </c:pt>
                      <c:pt idx="5225">
                        <c:v>42033</c:v>
                      </c:pt>
                      <c:pt idx="5226">
                        <c:v>42034</c:v>
                      </c:pt>
                      <c:pt idx="5227">
                        <c:v>42037</c:v>
                      </c:pt>
                      <c:pt idx="5228">
                        <c:v>42038</c:v>
                      </c:pt>
                      <c:pt idx="5229">
                        <c:v>42039</c:v>
                      </c:pt>
                      <c:pt idx="5230">
                        <c:v>42040</c:v>
                      </c:pt>
                      <c:pt idx="5231">
                        <c:v>42041</c:v>
                      </c:pt>
                      <c:pt idx="5232">
                        <c:v>42044</c:v>
                      </c:pt>
                      <c:pt idx="5233">
                        <c:v>42045</c:v>
                      </c:pt>
                      <c:pt idx="5234">
                        <c:v>42046</c:v>
                      </c:pt>
                      <c:pt idx="5235">
                        <c:v>42047</c:v>
                      </c:pt>
                      <c:pt idx="5236">
                        <c:v>42048</c:v>
                      </c:pt>
                      <c:pt idx="5237">
                        <c:v>42051</c:v>
                      </c:pt>
                      <c:pt idx="5238">
                        <c:v>42052</c:v>
                      </c:pt>
                      <c:pt idx="5239">
                        <c:v>42053</c:v>
                      </c:pt>
                      <c:pt idx="5240">
                        <c:v>42054</c:v>
                      </c:pt>
                      <c:pt idx="5241">
                        <c:v>42055</c:v>
                      </c:pt>
                      <c:pt idx="5242">
                        <c:v>42058</c:v>
                      </c:pt>
                      <c:pt idx="5243">
                        <c:v>42059</c:v>
                      </c:pt>
                      <c:pt idx="5244">
                        <c:v>42060</c:v>
                      </c:pt>
                      <c:pt idx="5245">
                        <c:v>42061</c:v>
                      </c:pt>
                      <c:pt idx="5246">
                        <c:v>42062</c:v>
                      </c:pt>
                      <c:pt idx="5247">
                        <c:v>42065</c:v>
                      </c:pt>
                      <c:pt idx="5248">
                        <c:v>42066</c:v>
                      </c:pt>
                      <c:pt idx="5249">
                        <c:v>42067</c:v>
                      </c:pt>
                      <c:pt idx="5250">
                        <c:v>42068</c:v>
                      </c:pt>
                      <c:pt idx="5251">
                        <c:v>42069</c:v>
                      </c:pt>
                      <c:pt idx="5252">
                        <c:v>42072</c:v>
                      </c:pt>
                      <c:pt idx="5253">
                        <c:v>42073</c:v>
                      </c:pt>
                      <c:pt idx="5254">
                        <c:v>42074</c:v>
                      </c:pt>
                      <c:pt idx="5255">
                        <c:v>42075</c:v>
                      </c:pt>
                      <c:pt idx="5256">
                        <c:v>42076</c:v>
                      </c:pt>
                      <c:pt idx="5257">
                        <c:v>42079</c:v>
                      </c:pt>
                      <c:pt idx="5258">
                        <c:v>42080</c:v>
                      </c:pt>
                      <c:pt idx="5259">
                        <c:v>42081</c:v>
                      </c:pt>
                      <c:pt idx="5260">
                        <c:v>42082</c:v>
                      </c:pt>
                      <c:pt idx="5261">
                        <c:v>42083</c:v>
                      </c:pt>
                      <c:pt idx="5262">
                        <c:v>42086</c:v>
                      </c:pt>
                      <c:pt idx="5263">
                        <c:v>42087</c:v>
                      </c:pt>
                      <c:pt idx="5264">
                        <c:v>42088</c:v>
                      </c:pt>
                      <c:pt idx="5265">
                        <c:v>42089</c:v>
                      </c:pt>
                      <c:pt idx="5266">
                        <c:v>42090</c:v>
                      </c:pt>
                      <c:pt idx="5267">
                        <c:v>42093</c:v>
                      </c:pt>
                      <c:pt idx="5268">
                        <c:v>42094</c:v>
                      </c:pt>
                      <c:pt idx="5269">
                        <c:v>42095</c:v>
                      </c:pt>
                      <c:pt idx="5270">
                        <c:v>42096</c:v>
                      </c:pt>
                      <c:pt idx="5271">
                        <c:v>42097</c:v>
                      </c:pt>
                      <c:pt idx="5272">
                        <c:v>42100</c:v>
                      </c:pt>
                      <c:pt idx="5273">
                        <c:v>42101</c:v>
                      </c:pt>
                      <c:pt idx="5274">
                        <c:v>42102</c:v>
                      </c:pt>
                      <c:pt idx="5275">
                        <c:v>42103</c:v>
                      </c:pt>
                      <c:pt idx="5276">
                        <c:v>42104</c:v>
                      </c:pt>
                      <c:pt idx="5277">
                        <c:v>42107</c:v>
                      </c:pt>
                      <c:pt idx="5278">
                        <c:v>42108</c:v>
                      </c:pt>
                      <c:pt idx="5279">
                        <c:v>42109</c:v>
                      </c:pt>
                      <c:pt idx="5280">
                        <c:v>42110</c:v>
                      </c:pt>
                      <c:pt idx="5281">
                        <c:v>42111</c:v>
                      </c:pt>
                      <c:pt idx="5282">
                        <c:v>42114</c:v>
                      </c:pt>
                      <c:pt idx="5283">
                        <c:v>42115</c:v>
                      </c:pt>
                      <c:pt idx="5284">
                        <c:v>42116</c:v>
                      </c:pt>
                      <c:pt idx="5285">
                        <c:v>42117</c:v>
                      </c:pt>
                      <c:pt idx="5286">
                        <c:v>42118</c:v>
                      </c:pt>
                      <c:pt idx="5287">
                        <c:v>42121</c:v>
                      </c:pt>
                      <c:pt idx="5288">
                        <c:v>42122</c:v>
                      </c:pt>
                      <c:pt idx="5289">
                        <c:v>42123</c:v>
                      </c:pt>
                      <c:pt idx="5290">
                        <c:v>42124</c:v>
                      </c:pt>
                      <c:pt idx="5291">
                        <c:v>42125</c:v>
                      </c:pt>
                      <c:pt idx="5292">
                        <c:v>42128</c:v>
                      </c:pt>
                      <c:pt idx="5293">
                        <c:v>42129</c:v>
                      </c:pt>
                      <c:pt idx="5294">
                        <c:v>42130</c:v>
                      </c:pt>
                      <c:pt idx="5295">
                        <c:v>42131</c:v>
                      </c:pt>
                      <c:pt idx="5296">
                        <c:v>42132</c:v>
                      </c:pt>
                      <c:pt idx="5297">
                        <c:v>42135</c:v>
                      </c:pt>
                      <c:pt idx="5298">
                        <c:v>42136</c:v>
                      </c:pt>
                      <c:pt idx="5299">
                        <c:v>42137</c:v>
                      </c:pt>
                      <c:pt idx="5300">
                        <c:v>42138</c:v>
                      </c:pt>
                      <c:pt idx="5301">
                        <c:v>42139</c:v>
                      </c:pt>
                      <c:pt idx="5302">
                        <c:v>42142</c:v>
                      </c:pt>
                      <c:pt idx="5303">
                        <c:v>42143</c:v>
                      </c:pt>
                      <c:pt idx="5304">
                        <c:v>42144</c:v>
                      </c:pt>
                      <c:pt idx="5305">
                        <c:v>42145</c:v>
                      </c:pt>
                      <c:pt idx="5306">
                        <c:v>42146</c:v>
                      </c:pt>
                      <c:pt idx="5307">
                        <c:v>42149</c:v>
                      </c:pt>
                      <c:pt idx="5308">
                        <c:v>42150</c:v>
                      </c:pt>
                      <c:pt idx="5309">
                        <c:v>42151</c:v>
                      </c:pt>
                      <c:pt idx="5310">
                        <c:v>42152</c:v>
                      </c:pt>
                      <c:pt idx="5311">
                        <c:v>42153</c:v>
                      </c:pt>
                      <c:pt idx="5312">
                        <c:v>42156</c:v>
                      </c:pt>
                      <c:pt idx="5313">
                        <c:v>42157</c:v>
                      </c:pt>
                      <c:pt idx="5314">
                        <c:v>42158</c:v>
                      </c:pt>
                      <c:pt idx="5315">
                        <c:v>42159</c:v>
                      </c:pt>
                      <c:pt idx="5316">
                        <c:v>42160</c:v>
                      </c:pt>
                      <c:pt idx="5317">
                        <c:v>42163</c:v>
                      </c:pt>
                      <c:pt idx="5318">
                        <c:v>42164</c:v>
                      </c:pt>
                      <c:pt idx="5319">
                        <c:v>42165</c:v>
                      </c:pt>
                      <c:pt idx="5320">
                        <c:v>42166</c:v>
                      </c:pt>
                      <c:pt idx="5321">
                        <c:v>42167</c:v>
                      </c:pt>
                      <c:pt idx="5322">
                        <c:v>42170</c:v>
                      </c:pt>
                      <c:pt idx="5323">
                        <c:v>42171</c:v>
                      </c:pt>
                      <c:pt idx="5324">
                        <c:v>42172</c:v>
                      </c:pt>
                      <c:pt idx="5325">
                        <c:v>42173</c:v>
                      </c:pt>
                      <c:pt idx="5326">
                        <c:v>42174</c:v>
                      </c:pt>
                      <c:pt idx="5327">
                        <c:v>42177</c:v>
                      </c:pt>
                      <c:pt idx="5328">
                        <c:v>42178</c:v>
                      </c:pt>
                      <c:pt idx="5329">
                        <c:v>42179</c:v>
                      </c:pt>
                      <c:pt idx="5330">
                        <c:v>42180</c:v>
                      </c:pt>
                      <c:pt idx="5331">
                        <c:v>42181</c:v>
                      </c:pt>
                      <c:pt idx="5332">
                        <c:v>42184</c:v>
                      </c:pt>
                      <c:pt idx="5333">
                        <c:v>42185</c:v>
                      </c:pt>
                      <c:pt idx="5334">
                        <c:v>42186</c:v>
                      </c:pt>
                      <c:pt idx="5335">
                        <c:v>42187</c:v>
                      </c:pt>
                      <c:pt idx="5336">
                        <c:v>42188</c:v>
                      </c:pt>
                      <c:pt idx="5337">
                        <c:v>42191</c:v>
                      </c:pt>
                      <c:pt idx="5338">
                        <c:v>42192</c:v>
                      </c:pt>
                      <c:pt idx="5339">
                        <c:v>42193</c:v>
                      </c:pt>
                      <c:pt idx="5340">
                        <c:v>42194</c:v>
                      </c:pt>
                      <c:pt idx="5341">
                        <c:v>42195</c:v>
                      </c:pt>
                      <c:pt idx="5342">
                        <c:v>42198</c:v>
                      </c:pt>
                      <c:pt idx="5343">
                        <c:v>42199</c:v>
                      </c:pt>
                      <c:pt idx="5344">
                        <c:v>42200</c:v>
                      </c:pt>
                      <c:pt idx="5345">
                        <c:v>42201</c:v>
                      </c:pt>
                      <c:pt idx="5346">
                        <c:v>42202</c:v>
                      </c:pt>
                      <c:pt idx="5347">
                        <c:v>42205</c:v>
                      </c:pt>
                      <c:pt idx="5348">
                        <c:v>42206</c:v>
                      </c:pt>
                      <c:pt idx="5349">
                        <c:v>42207</c:v>
                      </c:pt>
                      <c:pt idx="5350">
                        <c:v>42208</c:v>
                      </c:pt>
                      <c:pt idx="5351">
                        <c:v>42209</c:v>
                      </c:pt>
                      <c:pt idx="5352">
                        <c:v>42212</c:v>
                      </c:pt>
                      <c:pt idx="5353">
                        <c:v>42213</c:v>
                      </c:pt>
                      <c:pt idx="5354">
                        <c:v>42214</c:v>
                      </c:pt>
                      <c:pt idx="5355">
                        <c:v>42215</c:v>
                      </c:pt>
                      <c:pt idx="5356">
                        <c:v>42216</c:v>
                      </c:pt>
                      <c:pt idx="5357">
                        <c:v>42219</c:v>
                      </c:pt>
                      <c:pt idx="5358">
                        <c:v>42220</c:v>
                      </c:pt>
                      <c:pt idx="5359">
                        <c:v>42221</c:v>
                      </c:pt>
                      <c:pt idx="5360">
                        <c:v>42222</c:v>
                      </c:pt>
                      <c:pt idx="5361">
                        <c:v>42223</c:v>
                      </c:pt>
                      <c:pt idx="5362">
                        <c:v>42226</c:v>
                      </c:pt>
                      <c:pt idx="5363">
                        <c:v>42227</c:v>
                      </c:pt>
                      <c:pt idx="5364">
                        <c:v>42228</c:v>
                      </c:pt>
                      <c:pt idx="5365">
                        <c:v>42229</c:v>
                      </c:pt>
                      <c:pt idx="5366">
                        <c:v>42230</c:v>
                      </c:pt>
                      <c:pt idx="5367">
                        <c:v>42233</c:v>
                      </c:pt>
                      <c:pt idx="5368">
                        <c:v>42234</c:v>
                      </c:pt>
                      <c:pt idx="5369">
                        <c:v>42235</c:v>
                      </c:pt>
                      <c:pt idx="5370">
                        <c:v>42236</c:v>
                      </c:pt>
                      <c:pt idx="5371">
                        <c:v>42237</c:v>
                      </c:pt>
                      <c:pt idx="5372">
                        <c:v>42240</c:v>
                      </c:pt>
                      <c:pt idx="5373">
                        <c:v>42241</c:v>
                      </c:pt>
                      <c:pt idx="5374">
                        <c:v>42242</c:v>
                      </c:pt>
                      <c:pt idx="5375">
                        <c:v>42243</c:v>
                      </c:pt>
                      <c:pt idx="5376">
                        <c:v>42244</c:v>
                      </c:pt>
                      <c:pt idx="5377">
                        <c:v>42247</c:v>
                      </c:pt>
                      <c:pt idx="5378">
                        <c:v>42248</c:v>
                      </c:pt>
                      <c:pt idx="5379">
                        <c:v>42249</c:v>
                      </c:pt>
                      <c:pt idx="5380">
                        <c:v>42250</c:v>
                      </c:pt>
                      <c:pt idx="5381">
                        <c:v>42251</c:v>
                      </c:pt>
                      <c:pt idx="5382">
                        <c:v>42254</c:v>
                      </c:pt>
                      <c:pt idx="5383">
                        <c:v>42255</c:v>
                      </c:pt>
                      <c:pt idx="5384">
                        <c:v>42256</c:v>
                      </c:pt>
                      <c:pt idx="5385">
                        <c:v>42257</c:v>
                      </c:pt>
                      <c:pt idx="5386">
                        <c:v>42258</c:v>
                      </c:pt>
                      <c:pt idx="5387">
                        <c:v>42261</c:v>
                      </c:pt>
                      <c:pt idx="5388">
                        <c:v>42262</c:v>
                      </c:pt>
                      <c:pt idx="5389">
                        <c:v>42263</c:v>
                      </c:pt>
                      <c:pt idx="5390">
                        <c:v>42264</c:v>
                      </c:pt>
                      <c:pt idx="5391">
                        <c:v>42265</c:v>
                      </c:pt>
                      <c:pt idx="5392">
                        <c:v>42268</c:v>
                      </c:pt>
                      <c:pt idx="5393">
                        <c:v>42269</c:v>
                      </c:pt>
                      <c:pt idx="5394">
                        <c:v>42270</c:v>
                      </c:pt>
                      <c:pt idx="5395">
                        <c:v>42271</c:v>
                      </c:pt>
                      <c:pt idx="5396">
                        <c:v>42272</c:v>
                      </c:pt>
                      <c:pt idx="5397">
                        <c:v>42275</c:v>
                      </c:pt>
                      <c:pt idx="5398">
                        <c:v>42276</c:v>
                      </c:pt>
                      <c:pt idx="5399">
                        <c:v>42277</c:v>
                      </c:pt>
                      <c:pt idx="5400">
                        <c:v>42278</c:v>
                      </c:pt>
                      <c:pt idx="5401">
                        <c:v>42279</c:v>
                      </c:pt>
                      <c:pt idx="5402">
                        <c:v>42282</c:v>
                      </c:pt>
                      <c:pt idx="5403">
                        <c:v>42283</c:v>
                      </c:pt>
                      <c:pt idx="5404">
                        <c:v>42284</c:v>
                      </c:pt>
                      <c:pt idx="5405">
                        <c:v>42285</c:v>
                      </c:pt>
                      <c:pt idx="5406">
                        <c:v>42286</c:v>
                      </c:pt>
                      <c:pt idx="5407">
                        <c:v>42289</c:v>
                      </c:pt>
                      <c:pt idx="5408">
                        <c:v>42290</c:v>
                      </c:pt>
                      <c:pt idx="5409">
                        <c:v>42291</c:v>
                      </c:pt>
                      <c:pt idx="5410">
                        <c:v>42292</c:v>
                      </c:pt>
                      <c:pt idx="5411">
                        <c:v>42293</c:v>
                      </c:pt>
                      <c:pt idx="5412">
                        <c:v>42296</c:v>
                      </c:pt>
                      <c:pt idx="5413">
                        <c:v>42297</c:v>
                      </c:pt>
                      <c:pt idx="5414">
                        <c:v>42298</c:v>
                      </c:pt>
                      <c:pt idx="5415">
                        <c:v>42299</c:v>
                      </c:pt>
                      <c:pt idx="5416">
                        <c:v>42300</c:v>
                      </c:pt>
                      <c:pt idx="5417">
                        <c:v>42303</c:v>
                      </c:pt>
                      <c:pt idx="5418">
                        <c:v>42304</c:v>
                      </c:pt>
                      <c:pt idx="5419">
                        <c:v>42305</c:v>
                      </c:pt>
                      <c:pt idx="5420">
                        <c:v>42306</c:v>
                      </c:pt>
                      <c:pt idx="5421">
                        <c:v>42307</c:v>
                      </c:pt>
                      <c:pt idx="5422">
                        <c:v>42310</c:v>
                      </c:pt>
                      <c:pt idx="5423">
                        <c:v>42311</c:v>
                      </c:pt>
                      <c:pt idx="5424">
                        <c:v>42312</c:v>
                      </c:pt>
                      <c:pt idx="5425">
                        <c:v>42313</c:v>
                      </c:pt>
                      <c:pt idx="5426">
                        <c:v>42314</c:v>
                      </c:pt>
                      <c:pt idx="5427">
                        <c:v>42317</c:v>
                      </c:pt>
                      <c:pt idx="5428">
                        <c:v>42318</c:v>
                      </c:pt>
                      <c:pt idx="5429">
                        <c:v>42319</c:v>
                      </c:pt>
                      <c:pt idx="5430">
                        <c:v>42320</c:v>
                      </c:pt>
                      <c:pt idx="5431">
                        <c:v>42321</c:v>
                      </c:pt>
                      <c:pt idx="5432">
                        <c:v>42324</c:v>
                      </c:pt>
                      <c:pt idx="5433">
                        <c:v>42325</c:v>
                      </c:pt>
                      <c:pt idx="5434">
                        <c:v>42326</c:v>
                      </c:pt>
                      <c:pt idx="5435">
                        <c:v>42327</c:v>
                      </c:pt>
                      <c:pt idx="5436">
                        <c:v>42328</c:v>
                      </c:pt>
                      <c:pt idx="5437">
                        <c:v>42331</c:v>
                      </c:pt>
                      <c:pt idx="5438">
                        <c:v>42332</c:v>
                      </c:pt>
                      <c:pt idx="5439">
                        <c:v>42333</c:v>
                      </c:pt>
                      <c:pt idx="5440">
                        <c:v>42334</c:v>
                      </c:pt>
                      <c:pt idx="5441">
                        <c:v>42335</c:v>
                      </c:pt>
                      <c:pt idx="5442">
                        <c:v>42338</c:v>
                      </c:pt>
                      <c:pt idx="5443">
                        <c:v>42339</c:v>
                      </c:pt>
                      <c:pt idx="5444">
                        <c:v>42340</c:v>
                      </c:pt>
                      <c:pt idx="5445">
                        <c:v>42341</c:v>
                      </c:pt>
                      <c:pt idx="5446">
                        <c:v>42342</c:v>
                      </c:pt>
                      <c:pt idx="5447">
                        <c:v>42345</c:v>
                      </c:pt>
                      <c:pt idx="5448">
                        <c:v>42346</c:v>
                      </c:pt>
                      <c:pt idx="5449">
                        <c:v>42347</c:v>
                      </c:pt>
                      <c:pt idx="5450">
                        <c:v>42348</c:v>
                      </c:pt>
                      <c:pt idx="5451">
                        <c:v>42349</c:v>
                      </c:pt>
                      <c:pt idx="5452">
                        <c:v>42352</c:v>
                      </c:pt>
                      <c:pt idx="5453">
                        <c:v>42353</c:v>
                      </c:pt>
                      <c:pt idx="5454">
                        <c:v>42354</c:v>
                      </c:pt>
                      <c:pt idx="5455">
                        <c:v>42355</c:v>
                      </c:pt>
                      <c:pt idx="5456">
                        <c:v>42356</c:v>
                      </c:pt>
                      <c:pt idx="5457">
                        <c:v>42359</c:v>
                      </c:pt>
                      <c:pt idx="5458">
                        <c:v>42360</c:v>
                      </c:pt>
                      <c:pt idx="5459">
                        <c:v>42361</c:v>
                      </c:pt>
                      <c:pt idx="5460">
                        <c:v>42362</c:v>
                      </c:pt>
                      <c:pt idx="5461">
                        <c:v>42363</c:v>
                      </c:pt>
                      <c:pt idx="5462">
                        <c:v>42366</c:v>
                      </c:pt>
                      <c:pt idx="5463">
                        <c:v>42367</c:v>
                      </c:pt>
                      <c:pt idx="5464">
                        <c:v>42368</c:v>
                      </c:pt>
                      <c:pt idx="5465">
                        <c:v>42369</c:v>
                      </c:pt>
                      <c:pt idx="5466">
                        <c:v>42370</c:v>
                      </c:pt>
                      <c:pt idx="5467">
                        <c:v>42373</c:v>
                      </c:pt>
                      <c:pt idx="5468">
                        <c:v>42374</c:v>
                      </c:pt>
                      <c:pt idx="5469">
                        <c:v>42375</c:v>
                      </c:pt>
                      <c:pt idx="5470">
                        <c:v>42376</c:v>
                      </c:pt>
                      <c:pt idx="5471">
                        <c:v>42377</c:v>
                      </c:pt>
                      <c:pt idx="5472">
                        <c:v>42380</c:v>
                      </c:pt>
                      <c:pt idx="5473">
                        <c:v>42381</c:v>
                      </c:pt>
                      <c:pt idx="5474">
                        <c:v>42382</c:v>
                      </c:pt>
                      <c:pt idx="5475">
                        <c:v>42383</c:v>
                      </c:pt>
                      <c:pt idx="5476">
                        <c:v>42384</c:v>
                      </c:pt>
                      <c:pt idx="5477">
                        <c:v>42387</c:v>
                      </c:pt>
                      <c:pt idx="5478">
                        <c:v>42388</c:v>
                      </c:pt>
                      <c:pt idx="5479">
                        <c:v>42389</c:v>
                      </c:pt>
                      <c:pt idx="5480">
                        <c:v>42390</c:v>
                      </c:pt>
                      <c:pt idx="5481">
                        <c:v>42391</c:v>
                      </c:pt>
                      <c:pt idx="5482">
                        <c:v>42394</c:v>
                      </c:pt>
                      <c:pt idx="5483">
                        <c:v>42395</c:v>
                      </c:pt>
                      <c:pt idx="5484">
                        <c:v>42396</c:v>
                      </c:pt>
                      <c:pt idx="5485">
                        <c:v>42397</c:v>
                      </c:pt>
                      <c:pt idx="5486">
                        <c:v>42398</c:v>
                      </c:pt>
                      <c:pt idx="5487">
                        <c:v>42401</c:v>
                      </c:pt>
                      <c:pt idx="5488">
                        <c:v>42402</c:v>
                      </c:pt>
                      <c:pt idx="5489">
                        <c:v>42403</c:v>
                      </c:pt>
                      <c:pt idx="5490">
                        <c:v>42404</c:v>
                      </c:pt>
                      <c:pt idx="5491">
                        <c:v>42405</c:v>
                      </c:pt>
                      <c:pt idx="5492">
                        <c:v>42408</c:v>
                      </c:pt>
                      <c:pt idx="5493">
                        <c:v>42409</c:v>
                      </c:pt>
                      <c:pt idx="5494">
                        <c:v>42410</c:v>
                      </c:pt>
                      <c:pt idx="5495">
                        <c:v>42411</c:v>
                      </c:pt>
                      <c:pt idx="5496">
                        <c:v>42412</c:v>
                      </c:pt>
                      <c:pt idx="5497">
                        <c:v>42415</c:v>
                      </c:pt>
                      <c:pt idx="5498">
                        <c:v>42416</c:v>
                      </c:pt>
                      <c:pt idx="5499">
                        <c:v>42417</c:v>
                      </c:pt>
                      <c:pt idx="5500">
                        <c:v>42418</c:v>
                      </c:pt>
                      <c:pt idx="5501">
                        <c:v>42419</c:v>
                      </c:pt>
                      <c:pt idx="5502">
                        <c:v>42422</c:v>
                      </c:pt>
                      <c:pt idx="5503">
                        <c:v>42423</c:v>
                      </c:pt>
                      <c:pt idx="5504">
                        <c:v>42424</c:v>
                      </c:pt>
                      <c:pt idx="5505">
                        <c:v>42425</c:v>
                      </c:pt>
                      <c:pt idx="5506">
                        <c:v>42426</c:v>
                      </c:pt>
                      <c:pt idx="5507">
                        <c:v>42429</c:v>
                      </c:pt>
                      <c:pt idx="5508">
                        <c:v>42430</c:v>
                      </c:pt>
                      <c:pt idx="5509">
                        <c:v>42431</c:v>
                      </c:pt>
                      <c:pt idx="5510">
                        <c:v>42432</c:v>
                      </c:pt>
                      <c:pt idx="5511">
                        <c:v>42433</c:v>
                      </c:pt>
                      <c:pt idx="5512">
                        <c:v>42436</c:v>
                      </c:pt>
                      <c:pt idx="5513">
                        <c:v>42437</c:v>
                      </c:pt>
                      <c:pt idx="5514">
                        <c:v>42438</c:v>
                      </c:pt>
                      <c:pt idx="5515">
                        <c:v>42439</c:v>
                      </c:pt>
                      <c:pt idx="5516">
                        <c:v>42440</c:v>
                      </c:pt>
                      <c:pt idx="5517">
                        <c:v>42443</c:v>
                      </c:pt>
                      <c:pt idx="5518">
                        <c:v>42444</c:v>
                      </c:pt>
                      <c:pt idx="5519">
                        <c:v>42445</c:v>
                      </c:pt>
                      <c:pt idx="5520">
                        <c:v>42446</c:v>
                      </c:pt>
                      <c:pt idx="5521">
                        <c:v>42447</c:v>
                      </c:pt>
                      <c:pt idx="5522">
                        <c:v>42450</c:v>
                      </c:pt>
                      <c:pt idx="5523">
                        <c:v>42451</c:v>
                      </c:pt>
                      <c:pt idx="5524">
                        <c:v>42452</c:v>
                      </c:pt>
                      <c:pt idx="5525">
                        <c:v>42453</c:v>
                      </c:pt>
                      <c:pt idx="5526">
                        <c:v>42454</c:v>
                      </c:pt>
                      <c:pt idx="5527">
                        <c:v>42457</c:v>
                      </c:pt>
                      <c:pt idx="5528">
                        <c:v>42458</c:v>
                      </c:pt>
                      <c:pt idx="5529">
                        <c:v>42459</c:v>
                      </c:pt>
                      <c:pt idx="5530">
                        <c:v>42460</c:v>
                      </c:pt>
                      <c:pt idx="5531">
                        <c:v>42461</c:v>
                      </c:pt>
                      <c:pt idx="5532">
                        <c:v>42464</c:v>
                      </c:pt>
                      <c:pt idx="5533">
                        <c:v>42465</c:v>
                      </c:pt>
                      <c:pt idx="5534">
                        <c:v>42466</c:v>
                      </c:pt>
                      <c:pt idx="5535">
                        <c:v>42467</c:v>
                      </c:pt>
                      <c:pt idx="5536">
                        <c:v>42468</c:v>
                      </c:pt>
                      <c:pt idx="5537">
                        <c:v>42471</c:v>
                      </c:pt>
                      <c:pt idx="5538">
                        <c:v>42472</c:v>
                      </c:pt>
                      <c:pt idx="5539">
                        <c:v>42473</c:v>
                      </c:pt>
                      <c:pt idx="5540">
                        <c:v>42474</c:v>
                      </c:pt>
                      <c:pt idx="5541">
                        <c:v>42475</c:v>
                      </c:pt>
                      <c:pt idx="5542">
                        <c:v>42478</c:v>
                      </c:pt>
                      <c:pt idx="5543">
                        <c:v>42479</c:v>
                      </c:pt>
                      <c:pt idx="5544">
                        <c:v>42480</c:v>
                      </c:pt>
                      <c:pt idx="5545">
                        <c:v>42481</c:v>
                      </c:pt>
                      <c:pt idx="5546">
                        <c:v>42482</c:v>
                      </c:pt>
                      <c:pt idx="5547">
                        <c:v>42485</c:v>
                      </c:pt>
                      <c:pt idx="5548">
                        <c:v>42486</c:v>
                      </c:pt>
                      <c:pt idx="5549">
                        <c:v>42487</c:v>
                      </c:pt>
                      <c:pt idx="5550">
                        <c:v>42488</c:v>
                      </c:pt>
                      <c:pt idx="5551">
                        <c:v>42489</c:v>
                      </c:pt>
                      <c:pt idx="5552">
                        <c:v>42492</c:v>
                      </c:pt>
                      <c:pt idx="5553">
                        <c:v>42493</c:v>
                      </c:pt>
                      <c:pt idx="5554">
                        <c:v>42494</c:v>
                      </c:pt>
                      <c:pt idx="5555">
                        <c:v>42495</c:v>
                      </c:pt>
                      <c:pt idx="5556">
                        <c:v>42496</c:v>
                      </c:pt>
                      <c:pt idx="5557">
                        <c:v>42499</c:v>
                      </c:pt>
                      <c:pt idx="5558">
                        <c:v>42500</c:v>
                      </c:pt>
                      <c:pt idx="5559">
                        <c:v>42501</c:v>
                      </c:pt>
                      <c:pt idx="5560">
                        <c:v>42502</c:v>
                      </c:pt>
                      <c:pt idx="5561">
                        <c:v>42503</c:v>
                      </c:pt>
                      <c:pt idx="5562">
                        <c:v>42506</c:v>
                      </c:pt>
                      <c:pt idx="5563">
                        <c:v>42507</c:v>
                      </c:pt>
                      <c:pt idx="5564">
                        <c:v>42508</c:v>
                      </c:pt>
                      <c:pt idx="5565">
                        <c:v>42509</c:v>
                      </c:pt>
                      <c:pt idx="5566">
                        <c:v>42510</c:v>
                      </c:pt>
                      <c:pt idx="5567">
                        <c:v>42513</c:v>
                      </c:pt>
                      <c:pt idx="5568">
                        <c:v>42514</c:v>
                      </c:pt>
                      <c:pt idx="5569">
                        <c:v>42515</c:v>
                      </c:pt>
                      <c:pt idx="5570">
                        <c:v>42516</c:v>
                      </c:pt>
                      <c:pt idx="5571">
                        <c:v>42517</c:v>
                      </c:pt>
                      <c:pt idx="5572">
                        <c:v>42520</c:v>
                      </c:pt>
                      <c:pt idx="5573">
                        <c:v>42521</c:v>
                      </c:pt>
                      <c:pt idx="5574">
                        <c:v>42522</c:v>
                      </c:pt>
                      <c:pt idx="5575">
                        <c:v>42523</c:v>
                      </c:pt>
                      <c:pt idx="5576">
                        <c:v>42524</c:v>
                      </c:pt>
                      <c:pt idx="5577">
                        <c:v>42527</c:v>
                      </c:pt>
                      <c:pt idx="5578">
                        <c:v>42528</c:v>
                      </c:pt>
                      <c:pt idx="5579">
                        <c:v>42529</c:v>
                      </c:pt>
                      <c:pt idx="5580">
                        <c:v>42530</c:v>
                      </c:pt>
                      <c:pt idx="5581">
                        <c:v>42531</c:v>
                      </c:pt>
                      <c:pt idx="5582">
                        <c:v>42534</c:v>
                      </c:pt>
                      <c:pt idx="5583">
                        <c:v>42535</c:v>
                      </c:pt>
                      <c:pt idx="5584">
                        <c:v>42536</c:v>
                      </c:pt>
                      <c:pt idx="5585">
                        <c:v>42537</c:v>
                      </c:pt>
                      <c:pt idx="5586">
                        <c:v>42538</c:v>
                      </c:pt>
                      <c:pt idx="5587">
                        <c:v>42541</c:v>
                      </c:pt>
                      <c:pt idx="5588">
                        <c:v>42542</c:v>
                      </c:pt>
                      <c:pt idx="5589">
                        <c:v>42543</c:v>
                      </c:pt>
                      <c:pt idx="5590">
                        <c:v>42544</c:v>
                      </c:pt>
                      <c:pt idx="5591">
                        <c:v>42545</c:v>
                      </c:pt>
                      <c:pt idx="5592">
                        <c:v>42548</c:v>
                      </c:pt>
                      <c:pt idx="5593">
                        <c:v>42549</c:v>
                      </c:pt>
                      <c:pt idx="5594">
                        <c:v>42550</c:v>
                      </c:pt>
                      <c:pt idx="5595">
                        <c:v>42551</c:v>
                      </c:pt>
                      <c:pt idx="5596">
                        <c:v>42552</c:v>
                      </c:pt>
                      <c:pt idx="5597">
                        <c:v>42555</c:v>
                      </c:pt>
                      <c:pt idx="5598">
                        <c:v>42556</c:v>
                      </c:pt>
                      <c:pt idx="5599">
                        <c:v>42557</c:v>
                      </c:pt>
                      <c:pt idx="5600">
                        <c:v>42558</c:v>
                      </c:pt>
                      <c:pt idx="5601">
                        <c:v>42559</c:v>
                      </c:pt>
                      <c:pt idx="5602">
                        <c:v>42562</c:v>
                      </c:pt>
                      <c:pt idx="5603">
                        <c:v>42563</c:v>
                      </c:pt>
                      <c:pt idx="5604">
                        <c:v>42564</c:v>
                      </c:pt>
                      <c:pt idx="5605">
                        <c:v>42565</c:v>
                      </c:pt>
                      <c:pt idx="5606">
                        <c:v>42566</c:v>
                      </c:pt>
                      <c:pt idx="5607">
                        <c:v>42569</c:v>
                      </c:pt>
                      <c:pt idx="5608">
                        <c:v>42570</c:v>
                      </c:pt>
                      <c:pt idx="5609">
                        <c:v>42571</c:v>
                      </c:pt>
                      <c:pt idx="5610">
                        <c:v>42572</c:v>
                      </c:pt>
                      <c:pt idx="5611">
                        <c:v>42573</c:v>
                      </c:pt>
                      <c:pt idx="5612">
                        <c:v>42576</c:v>
                      </c:pt>
                      <c:pt idx="5613">
                        <c:v>42577</c:v>
                      </c:pt>
                      <c:pt idx="5614">
                        <c:v>42578</c:v>
                      </c:pt>
                      <c:pt idx="5615">
                        <c:v>42579</c:v>
                      </c:pt>
                      <c:pt idx="5616">
                        <c:v>42580</c:v>
                      </c:pt>
                      <c:pt idx="5617">
                        <c:v>42583</c:v>
                      </c:pt>
                      <c:pt idx="5618">
                        <c:v>42584</c:v>
                      </c:pt>
                      <c:pt idx="5619">
                        <c:v>42585</c:v>
                      </c:pt>
                      <c:pt idx="5620">
                        <c:v>42586</c:v>
                      </c:pt>
                      <c:pt idx="5621">
                        <c:v>42587</c:v>
                      </c:pt>
                      <c:pt idx="5622">
                        <c:v>42590</c:v>
                      </c:pt>
                      <c:pt idx="5623">
                        <c:v>42591</c:v>
                      </c:pt>
                      <c:pt idx="5624">
                        <c:v>42592</c:v>
                      </c:pt>
                      <c:pt idx="5625">
                        <c:v>42593</c:v>
                      </c:pt>
                      <c:pt idx="5626">
                        <c:v>42594</c:v>
                      </c:pt>
                      <c:pt idx="5627">
                        <c:v>42597</c:v>
                      </c:pt>
                      <c:pt idx="5628">
                        <c:v>42598</c:v>
                      </c:pt>
                      <c:pt idx="5629">
                        <c:v>42599</c:v>
                      </c:pt>
                      <c:pt idx="5630">
                        <c:v>42600</c:v>
                      </c:pt>
                      <c:pt idx="5631">
                        <c:v>42601</c:v>
                      </c:pt>
                      <c:pt idx="5632">
                        <c:v>42604</c:v>
                      </c:pt>
                      <c:pt idx="5633">
                        <c:v>42605</c:v>
                      </c:pt>
                      <c:pt idx="5634">
                        <c:v>42606</c:v>
                      </c:pt>
                      <c:pt idx="5635">
                        <c:v>42607</c:v>
                      </c:pt>
                      <c:pt idx="5636">
                        <c:v>42608</c:v>
                      </c:pt>
                      <c:pt idx="5637">
                        <c:v>42611</c:v>
                      </c:pt>
                      <c:pt idx="5638">
                        <c:v>42612</c:v>
                      </c:pt>
                      <c:pt idx="5639">
                        <c:v>42613</c:v>
                      </c:pt>
                      <c:pt idx="5640">
                        <c:v>42614</c:v>
                      </c:pt>
                      <c:pt idx="5641">
                        <c:v>42615</c:v>
                      </c:pt>
                      <c:pt idx="5642">
                        <c:v>42618</c:v>
                      </c:pt>
                      <c:pt idx="5643">
                        <c:v>42619</c:v>
                      </c:pt>
                      <c:pt idx="5644">
                        <c:v>42620</c:v>
                      </c:pt>
                      <c:pt idx="5645">
                        <c:v>42621</c:v>
                      </c:pt>
                      <c:pt idx="5646">
                        <c:v>42622</c:v>
                      </c:pt>
                      <c:pt idx="5647">
                        <c:v>42625</c:v>
                      </c:pt>
                      <c:pt idx="5648">
                        <c:v>42626</c:v>
                      </c:pt>
                      <c:pt idx="5649">
                        <c:v>42627</c:v>
                      </c:pt>
                      <c:pt idx="5650">
                        <c:v>42628</c:v>
                      </c:pt>
                      <c:pt idx="5651">
                        <c:v>42629</c:v>
                      </c:pt>
                      <c:pt idx="5652">
                        <c:v>42632</c:v>
                      </c:pt>
                      <c:pt idx="5653">
                        <c:v>42633</c:v>
                      </c:pt>
                      <c:pt idx="5654">
                        <c:v>42634</c:v>
                      </c:pt>
                      <c:pt idx="5655">
                        <c:v>42635</c:v>
                      </c:pt>
                      <c:pt idx="5656">
                        <c:v>42636</c:v>
                      </c:pt>
                      <c:pt idx="5657">
                        <c:v>42639</c:v>
                      </c:pt>
                      <c:pt idx="5658">
                        <c:v>42640</c:v>
                      </c:pt>
                      <c:pt idx="5659">
                        <c:v>42641</c:v>
                      </c:pt>
                      <c:pt idx="5660">
                        <c:v>42642</c:v>
                      </c:pt>
                      <c:pt idx="5661">
                        <c:v>42643</c:v>
                      </c:pt>
                      <c:pt idx="5662">
                        <c:v>42646</c:v>
                      </c:pt>
                      <c:pt idx="5663">
                        <c:v>42647</c:v>
                      </c:pt>
                      <c:pt idx="5664">
                        <c:v>42648</c:v>
                      </c:pt>
                      <c:pt idx="5665">
                        <c:v>42649</c:v>
                      </c:pt>
                      <c:pt idx="5666">
                        <c:v>42650</c:v>
                      </c:pt>
                      <c:pt idx="5667">
                        <c:v>42653</c:v>
                      </c:pt>
                      <c:pt idx="5668">
                        <c:v>42654</c:v>
                      </c:pt>
                      <c:pt idx="5669">
                        <c:v>42655</c:v>
                      </c:pt>
                      <c:pt idx="5670">
                        <c:v>42656</c:v>
                      </c:pt>
                      <c:pt idx="5671">
                        <c:v>42657</c:v>
                      </c:pt>
                      <c:pt idx="5672">
                        <c:v>42660</c:v>
                      </c:pt>
                      <c:pt idx="5673">
                        <c:v>42661</c:v>
                      </c:pt>
                      <c:pt idx="5674">
                        <c:v>42662</c:v>
                      </c:pt>
                      <c:pt idx="5675">
                        <c:v>42663</c:v>
                      </c:pt>
                      <c:pt idx="5676">
                        <c:v>42664</c:v>
                      </c:pt>
                      <c:pt idx="5677">
                        <c:v>42667</c:v>
                      </c:pt>
                      <c:pt idx="5678">
                        <c:v>42668</c:v>
                      </c:pt>
                      <c:pt idx="5679">
                        <c:v>42669</c:v>
                      </c:pt>
                      <c:pt idx="5680">
                        <c:v>42670</c:v>
                      </c:pt>
                      <c:pt idx="5681">
                        <c:v>42671</c:v>
                      </c:pt>
                      <c:pt idx="5682">
                        <c:v>42674</c:v>
                      </c:pt>
                      <c:pt idx="5683">
                        <c:v>42675</c:v>
                      </c:pt>
                      <c:pt idx="5684">
                        <c:v>42676</c:v>
                      </c:pt>
                      <c:pt idx="5685">
                        <c:v>42677</c:v>
                      </c:pt>
                      <c:pt idx="5686">
                        <c:v>42678</c:v>
                      </c:pt>
                      <c:pt idx="5687">
                        <c:v>42681</c:v>
                      </c:pt>
                      <c:pt idx="5688">
                        <c:v>42682</c:v>
                      </c:pt>
                      <c:pt idx="5689">
                        <c:v>42683</c:v>
                      </c:pt>
                      <c:pt idx="5690">
                        <c:v>42684</c:v>
                      </c:pt>
                      <c:pt idx="5691">
                        <c:v>42685</c:v>
                      </c:pt>
                      <c:pt idx="5692">
                        <c:v>42688</c:v>
                      </c:pt>
                      <c:pt idx="5693">
                        <c:v>42689</c:v>
                      </c:pt>
                      <c:pt idx="5694">
                        <c:v>42690</c:v>
                      </c:pt>
                      <c:pt idx="5695">
                        <c:v>42691</c:v>
                      </c:pt>
                      <c:pt idx="5696">
                        <c:v>42692</c:v>
                      </c:pt>
                      <c:pt idx="5697">
                        <c:v>42695</c:v>
                      </c:pt>
                      <c:pt idx="5698">
                        <c:v>42696</c:v>
                      </c:pt>
                      <c:pt idx="5699">
                        <c:v>42697</c:v>
                      </c:pt>
                      <c:pt idx="5700">
                        <c:v>42698</c:v>
                      </c:pt>
                      <c:pt idx="5701">
                        <c:v>42699</c:v>
                      </c:pt>
                      <c:pt idx="5702">
                        <c:v>42702</c:v>
                      </c:pt>
                      <c:pt idx="5703">
                        <c:v>42703</c:v>
                      </c:pt>
                      <c:pt idx="5704">
                        <c:v>42704</c:v>
                      </c:pt>
                      <c:pt idx="5705">
                        <c:v>42705</c:v>
                      </c:pt>
                      <c:pt idx="5706">
                        <c:v>42706</c:v>
                      </c:pt>
                      <c:pt idx="5707">
                        <c:v>42709</c:v>
                      </c:pt>
                      <c:pt idx="5708">
                        <c:v>42710</c:v>
                      </c:pt>
                      <c:pt idx="5709">
                        <c:v>42711</c:v>
                      </c:pt>
                      <c:pt idx="5710">
                        <c:v>42712</c:v>
                      </c:pt>
                      <c:pt idx="5711">
                        <c:v>42713</c:v>
                      </c:pt>
                      <c:pt idx="5712">
                        <c:v>42716</c:v>
                      </c:pt>
                      <c:pt idx="5713">
                        <c:v>42717</c:v>
                      </c:pt>
                      <c:pt idx="5714">
                        <c:v>42718</c:v>
                      </c:pt>
                      <c:pt idx="5715">
                        <c:v>42719</c:v>
                      </c:pt>
                      <c:pt idx="5716">
                        <c:v>42720</c:v>
                      </c:pt>
                      <c:pt idx="5717">
                        <c:v>42723</c:v>
                      </c:pt>
                      <c:pt idx="5718">
                        <c:v>42724</c:v>
                      </c:pt>
                      <c:pt idx="5719">
                        <c:v>42725</c:v>
                      </c:pt>
                      <c:pt idx="5720">
                        <c:v>42726</c:v>
                      </c:pt>
                      <c:pt idx="5721">
                        <c:v>42727</c:v>
                      </c:pt>
                      <c:pt idx="5722">
                        <c:v>42730</c:v>
                      </c:pt>
                      <c:pt idx="5723">
                        <c:v>42731</c:v>
                      </c:pt>
                      <c:pt idx="5724">
                        <c:v>42732</c:v>
                      </c:pt>
                      <c:pt idx="5725">
                        <c:v>42733</c:v>
                      </c:pt>
                      <c:pt idx="5726">
                        <c:v>42734</c:v>
                      </c:pt>
                      <c:pt idx="5727">
                        <c:v>42737</c:v>
                      </c:pt>
                      <c:pt idx="5728">
                        <c:v>42738</c:v>
                      </c:pt>
                      <c:pt idx="5729">
                        <c:v>42739</c:v>
                      </c:pt>
                      <c:pt idx="5730">
                        <c:v>42740</c:v>
                      </c:pt>
                      <c:pt idx="5731">
                        <c:v>42741</c:v>
                      </c:pt>
                      <c:pt idx="5732">
                        <c:v>42744</c:v>
                      </c:pt>
                      <c:pt idx="5733">
                        <c:v>42745</c:v>
                      </c:pt>
                      <c:pt idx="5734">
                        <c:v>42746</c:v>
                      </c:pt>
                      <c:pt idx="5735">
                        <c:v>42747</c:v>
                      </c:pt>
                      <c:pt idx="5736">
                        <c:v>42748</c:v>
                      </c:pt>
                      <c:pt idx="5737">
                        <c:v>42751</c:v>
                      </c:pt>
                      <c:pt idx="5738">
                        <c:v>42752</c:v>
                      </c:pt>
                      <c:pt idx="5739">
                        <c:v>42753</c:v>
                      </c:pt>
                      <c:pt idx="5740">
                        <c:v>42754</c:v>
                      </c:pt>
                      <c:pt idx="5741">
                        <c:v>42755</c:v>
                      </c:pt>
                      <c:pt idx="5742">
                        <c:v>42758</c:v>
                      </c:pt>
                      <c:pt idx="5743">
                        <c:v>42759</c:v>
                      </c:pt>
                      <c:pt idx="5744">
                        <c:v>42760</c:v>
                      </c:pt>
                      <c:pt idx="5745">
                        <c:v>42761</c:v>
                      </c:pt>
                      <c:pt idx="5746">
                        <c:v>42762</c:v>
                      </c:pt>
                      <c:pt idx="5747">
                        <c:v>42765</c:v>
                      </c:pt>
                      <c:pt idx="5748">
                        <c:v>42766</c:v>
                      </c:pt>
                      <c:pt idx="5749">
                        <c:v>42767</c:v>
                      </c:pt>
                      <c:pt idx="5750">
                        <c:v>42768</c:v>
                      </c:pt>
                      <c:pt idx="5751">
                        <c:v>42769</c:v>
                      </c:pt>
                      <c:pt idx="5752">
                        <c:v>42772</c:v>
                      </c:pt>
                      <c:pt idx="5753">
                        <c:v>42773</c:v>
                      </c:pt>
                      <c:pt idx="5754">
                        <c:v>42774</c:v>
                      </c:pt>
                      <c:pt idx="5755">
                        <c:v>42775</c:v>
                      </c:pt>
                      <c:pt idx="5756">
                        <c:v>42776</c:v>
                      </c:pt>
                      <c:pt idx="5757">
                        <c:v>42779</c:v>
                      </c:pt>
                      <c:pt idx="5758">
                        <c:v>42780</c:v>
                      </c:pt>
                      <c:pt idx="5759">
                        <c:v>42781</c:v>
                      </c:pt>
                      <c:pt idx="5760">
                        <c:v>42782</c:v>
                      </c:pt>
                      <c:pt idx="5761">
                        <c:v>42783</c:v>
                      </c:pt>
                      <c:pt idx="5762">
                        <c:v>42786</c:v>
                      </c:pt>
                      <c:pt idx="5763">
                        <c:v>42787</c:v>
                      </c:pt>
                      <c:pt idx="5764">
                        <c:v>42788</c:v>
                      </c:pt>
                      <c:pt idx="5765">
                        <c:v>42789</c:v>
                      </c:pt>
                      <c:pt idx="5766">
                        <c:v>42790</c:v>
                      </c:pt>
                      <c:pt idx="5767">
                        <c:v>42793</c:v>
                      </c:pt>
                      <c:pt idx="5768">
                        <c:v>42794</c:v>
                      </c:pt>
                      <c:pt idx="5769">
                        <c:v>42795</c:v>
                      </c:pt>
                      <c:pt idx="5770">
                        <c:v>42796</c:v>
                      </c:pt>
                      <c:pt idx="5771">
                        <c:v>42797</c:v>
                      </c:pt>
                      <c:pt idx="5772">
                        <c:v>42800</c:v>
                      </c:pt>
                      <c:pt idx="5773">
                        <c:v>42801</c:v>
                      </c:pt>
                      <c:pt idx="5774">
                        <c:v>42802</c:v>
                      </c:pt>
                      <c:pt idx="5775">
                        <c:v>42803</c:v>
                      </c:pt>
                      <c:pt idx="5776">
                        <c:v>42804</c:v>
                      </c:pt>
                      <c:pt idx="5777">
                        <c:v>42807</c:v>
                      </c:pt>
                      <c:pt idx="5778">
                        <c:v>42808</c:v>
                      </c:pt>
                      <c:pt idx="5779">
                        <c:v>42809</c:v>
                      </c:pt>
                      <c:pt idx="5780">
                        <c:v>42810</c:v>
                      </c:pt>
                      <c:pt idx="5781">
                        <c:v>42811</c:v>
                      </c:pt>
                      <c:pt idx="5782">
                        <c:v>42814</c:v>
                      </c:pt>
                      <c:pt idx="5783">
                        <c:v>42815</c:v>
                      </c:pt>
                      <c:pt idx="5784">
                        <c:v>42816</c:v>
                      </c:pt>
                      <c:pt idx="5785">
                        <c:v>42817</c:v>
                      </c:pt>
                      <c:pt idx="5786">
                        <c:v>42818</c:v>
                      </c:pt>
                      <c:pt idx="5787">
                        <c:v>42821</c:v>
                      </c:pt>
                      <c:pt idx="5788">
                        <c:v>42822</c:v>
                      </c:pt>
                      <c:pt idx="5789">
                        <c:v>42823</c:v>
                      </c:pt>
                      <c:pt idx="5790">
                        <c:v>42824</c:v>
                      </c:pt>
                      <c:pt idx="5791">
                        <c:v>42825</c:v>
                      </c:pt>
                      <c:pt idx="5792">
                        <c:v>42828</c:v>
                      </c:pt>
                      <c:pt idx="5793">
                        <c:v>42829</c:v>
                      </c:pt>
                      <c:pt idx="5794">
                        <c:v>42830</c:v>
                      </c:pt>
                      <c:pt idx="5795">
                        <c:v>42831</c:v>
                      </c:pt>
                      <c:pt idx="5796">
                        <c:v>42832</c:v>
                      </c:pt>
                      <c:pt idx="5797">
                        <c:v>42835</c:v>
                      </c:pt>
                      <c:pt idx="5798">
                        <c:v>42836</c:v>
                      </c:pt>
                      <c:pt idx="5799">
                        <c:v>42837</c:v>
                      </c:pt>
                      <c:pt idx="5800">
                        <c:v>42838</c:v>
                      </c:pt>
                      <c:pt idx="5801">
                        <c:v>42839</c:v>
                      </c:pt>
                      <c:pt idx="5802">
                        <c:v>42842</c:v>
                      </c:pt>
                      <c:pt idx="5803">
                        <c:v>42843</c:v>
                      </c:pt>
                      <c:pt idx="5804">
                        <c:v>42844</c:v>
                      </c:pt>
                      <c:pt idx="5805">
                        <c:v>42845</c:v>
                      </c:pt>
                      <c:pt idx="5806">
                        <c:v>42846</c:v>
                      </c:pt>
                      <c:pt idx="5807">
                        <c:v>42849</c:v>
                      </c:pt>
                      <c:pt idx="5808">
                        <c:v>42850</c:v>
                      </c:pt>
                      <c:pt idx="5809">
                        <c:v>42851</c:v>
                      </c:pt>
                      <c:pt idx="5810">
                        <c:v>42852</c:v>
                      </c:pt>
                      <c:pt idx="5811">
                        <c:v>42853</c:v>
                      </c:pt>
                      <c:pt idx="5812">
                        <c:v>42856</c:v>
                      </c:pt>
                      <c:pt idx="5813">
                        <c:v>42857</c:v>
                      </c:pt>
                      <c:pt idx="5814">
                        <c:v>42858</c:v>
                      </c:pt>
                      <c:pt idx="5815">
                        <c:v>42859</c:v>
                      </c:pt>
                      <c:pt idx="5816">
                        <c:v>42860</c:v>
                      </c:pt>
                      <c:pt idx="5817">
                        <c:v>42863</c:v>
                      </c:pt>
                      <c:pt idx="5818">
                        <c:v>42864</c:v>
                      </c:pt>
                      <c:pt idx="5819">
                        <c:v>42865</c:v>
                      </c:pt>
                      <c:pt idx="5820">
                        <c:v>42866</c:v>
                      </c:pt>
                      <c:pt idx="5821">
                        <c:v>42867</c:v>
                      </c:pt>
                      <c:pt idx="5822">
                        <c:v>42870</c:v>
                      </c:pt>
                      <c:pt idx="5823">
                        <c:v>42871</c:v>
                      </c:pt>
                      <c:pt idx="5824">
                        <c:v>42872</c:v>
                      </c:pt>
                      <c:pt idx="5825">
                        <c:v>42873</c:v>
                      </c:pt>
                      <c:pt idx="5826">
                        <c:v>42874</c:v>
                      </c:pt>
                      <c:pt idx="5827">
                        <c:v>42877</c:v>
                      </c:pt>
                      <c:pt idx="5828">
                        <c:v>42878</c:v>
                      </c:pt>
                      <c:pt idx="5829">
                        <c:v>42879</c:v>
                      </c:pt>
                      <c:pt idx="5830">
                        <c:v>42880</c:v>
                      </c:pt>
                      <c:pt idx="5831">
                        <c:v>42881</c:v>
                      </c:pt>
                      <c:pt idx="5832">
                        <c:v>42884</c:v>
                      </c:pt>
                      <c:pt idx="5833">
                        <c:v>42885</c:v>
                      </c:pt>
                      <c:pt idx="5834">
                        <c:v>42886</c:v>
                      </c:pt>
                      <c:pt idx="5835">
                        <c:v>42887</c:v>
                      </c:pt>
                      <c:pt idx="5836">
                        <c:v>42888</c:v>
                      </c:pt>
                      <c:pt idx="5837">
                        <c:v>42891</c:v>
                      </c:pt>
                      <c:pt idx="5838">
                        <c:v>42892</c:v>
                      </c:pt>
                      <c:pt idx="5839">
                        <c:v>42893</c:v>
                      </c:pt>
                      <c:pt idx="5840">
                        <c:v>42894</c:v>
                      </c:pt>
                      <c:pt idx="5841">
                        <c:v>42895</c:v>
                      </c:pt>
                      <c:pt idx="5842">
                        <c:v>42898</c:v>
                      </c:pt>
                      <c:pt idx="5843">
                        <c:v>42899</c:v>
                      </c:pt>
                      <c:pt idx="5844">
                        <c:v>42900</c:v>
                      </c:pt>
                      <c:pt idx="5845">
                        <c:v>42901</c:v>
                      </c:pt>
                      <c:pt idx="5846">
                        <c:v>42902</c:v>
                      </c:pt>
                      <c:pt idx="5847">
                        <c:v>42905</c:v>
                      </c:pt>
                      <c:pt idx="5848">
                        <c:v>42906</c:v>
                      </c:pt>
                      <c:pt idx="5849">
                        <c:v>42907</c:v>
                      </c:pt>
                      <c:pt idx="5850">
                        <c:v>42908</c:v>
                      </c:pt>
                      <c:pt idx="5851">
                        <c:v>42909</c:v>
                      </c:pt>
                      <c:pt idx="5852">
                        <c:v>42912</c:v>
                      </c:pt>
                      <c:pt idx="5853">
                        <c:v>42913</c:v>
                      </c:pt>
                      <c:pt idx="5854">
                        <c:v>42914</c:v>
                      </c:pt>
                      <c:pt idx="5855">
                        <c:v>42915</c:v>
                      </c:pt>
                      <c:pt idx="5856">
                        <c:v>42916</c:v>
                      </c:pt>
                      <c:pt idx="5857">
                        <c:v>42919</c:v>
                      </c:pt>
                      <c:pt idx="5858">
                        <c:v>42920</c:v>
                      </c:pt>
                      <c:pt idx="5859">
                        <c:v>42921</c:v>
                      </c:pt>
                      <c:pt idx="5860">
                        <c:v>42922</c:v>
                      </c:pt>
                      <c:pt idx="5861">
                        <c:v>42923</c:v>
                      </c:pt>
                      <c:pt idx="5862">
                        <c:v>42926</c:v>
                      </c:pt>
                      <c:pt idx="5863">
                        <c:v>42927</c:v>
                      </c:pt>
                      <c:pt idx="5864">
                        <c:v>42928</c:v>
                      </c:pt>
                      <c:pt idx="5865">
                        <c:v>42929</c:v>
                      </c:pt>
                      <c:pt idx="5866">
                        <c:v>42930</c:v>
                      </c:pt>
                      <c:pt idx="5867">
                        <c:v>42933</c:v>
                      </c:pt>
                      <c:pt idx="5868">
                        <c:v>42934</c:v>
                      </c:pt>
                      <c:pt idx="5869">
                        <c:v>42935</c:v>
                      </c:pt>
                      <c:pt idx="5870">
                        <c:v>42936</c:v>
                      </c:pt>
                      <c:pt idx="5871">
                        <c:v>42937</c:v>
                      </c:pt>
                      <c:pt idx="5872">
                        <c:v>42940</c:v>
                      </c:pt>
                      <c:pt idx="5873">
                        <c:v>42941</c:v>
                      </c:pt>
                      <c:pt idx="5874">
                        <c:v>42942</c:v>
                      </c:pt>
                      <c:pt idx="5875">
                        <c:v>42943</c:v>
                      </c:pt>
                      <c:pt idx="5876">
                        <c:v>42944</c:v>
                      </c:pt>
                      <c:pt idx="5877">
                        <c:v>42947</c:v>
                      </c:pt>
                      <c:pt idx="5878">
                        <c:v>42948</c:v>
                      </c:pt>
                      <c:pt idx="5879">
                        <c:v>42949</c:v>
                      </c:pt>
                      <c:pt idx="5880">
                        <c:v>42950</c:v>
                      </c:pt>
                      <c:pt idx="5881">
                        <c:v>42951</c:v>
                      </c:pt>
                      <c:pt idx="5882">
                        <c:v>42954</c:v>
                      </c:pt>
                      <c:pt idx="5883">
                        <c:v>42955</c:v>
                      </c:pt>
                      <c:pt idx="5884">
                        <c:v>42956</c:v>
                      </c:pt>
                      <c:pt idx="5885">
                        <c:v>42957</c:v>
                      </c:pt>
                      <c:pt idx="5886">
                        <c:v>42958</c:v>
                      </c:pt>
                      <c:pt idx="5887">
                        <c:v>42961</c:v>
                      </c:pt>
                      <c:pt idx="5888">
                        <c:v>42962</c:v>
                      </c:pt>
                      <c:pt idx="5889">
                        <c:v>42963</c:v>
                      </c:pt>
                      <c:pt idx="5890">
                        <c:v>42964</c:v>
                      </c:pt>
                      <c:pt idx="5891">
                        <c:v>42965</c:v>
                      </c:pt>
                      <c:pt idx="5892">
                        <c:v>42968</c:v>
                      </c:pt>
                      <c:pt idx="5893">
                        <c:v>42969</c:v>
                      </c:pt>
                      <c:pt idx="5894">
                        <c:v>42970</c:v>
                      </c:pt>
                      <c:pt idx="5895">
                        <c:v>42971</c:v>
                      </c:pt>
                      <c:pt idx="5896">
                        <c:v>42972</c:v>
                      </c:pt>
                      <c:pt idx="5897">
                        <c:v>42975</c:v>
                      </c:pt>
                      <c:pt idx="5898">
                        <c:v>42976</c:v>
                      </c:pt>
                      <c:pt idx="5899">
                        <c:v>42977</c:v>
                      </c:pt>
                      <c:pt idx="5900">
                        <c:v>42978</c:v>
                      </c:pt>
                      <c:pt idx="5901">
                        <c:v>42979</c:v>
                      </c:pt>
                      <c:pt idx="5902">
                        <c:v>42982</c:v>
                      </c:pt>
                      <c:pt idx="5903">
                        <c:v>42983</c:v>
                      </c:pt>
                      <c:pt idx="5904">
                        <c:v>42984</c:v>
                      </c:pt>
                      <c:pt idx="5905">
                        <c:v>42985</c:v>
                      </c:pt>
                      <c:pt idx="5906">
                        <c:v>42986</c:v>
                      </c:pt>
                      <c:pt idx="5907">
                        <c:v>42989</c:v>
                      </c:pt>
                      <c:pt idx="5908">
                        <c:v>42990</c:v>
                      </c:pt>
                      <c:pt idx="5909">
                        <c:v>42991</c:v>
                      </c:pt>
                      <c:pt idx="5910">
                        <c:v>42992</c:v>
                      </c:pt>
                      <c:pt idx="5911">
                        <c:v>42993</c:v>
                      </c:pt>
                      <c:pt idx="5912">
                        <c:v>42996</c:v>
                      </c:pt>
                      <c:pt idx="5913">
                        <c:v>42997</c:v>
                      </c:pt>
                      <c:pt idx="5914">
                        <c:v>42998</c:v>
                      </c:pt>
                      <c:pt idx="5915">
                        <c:v>42999</c:v>
                      </c:pt>
                      <c:pt idx="5916">
                        <c:v>43000</c:v>
                      </c:pt>
                      <c:pt idx="5917">
                        <c:v>43003</c:v>
                      </c:pt>
                      <c:pt idx="5918">
                        <c:v>43004</c:v>
                      </c:pt>
                      <c:pt idx="5919">
                        <c:v>43005</c:v>
                      </c:pt>
                      <c:pt idx="5920">
                        <c:v>43006</c:v>
                      </c:pt>
                      <c:pt idx="5921">
                        <c:v>43007</c:v>
                      </c:pt>
                      <c:pt idx="5922">
                        <c:v>43010</c:v>
                      </c:pt>
                      <c:pt idx="5923">
                        <c:v>43011</c:v>
                      </c:pt>
                      <c:pt idx="5924">
                        <c:v>43012</c:v>
                      </c:pt>
                      <c:pt idx="5925">
                        <c:v>43013</c:v>
                      </c:pt>
                      <c:pt idx="5926">
                        <c:v>43014</c:v>
                      </c:pt>
                      <c:pt idx="5927">
                        <c:v>43017</c:v>
                      </c:pt>
                      <c:pt idx="5928">
                        <c:v>43018</c:v>
                      </c:pt>
                      <c:pt idx="5929">
                        <c:v>43019</c:v>
                      </c:pt>
                      <c:pt idx="5930">
                        <c:v>43020</c:v>
                      </c:pt>
                      <c:pt idx="5931">
                        <c:v>43021</c:v>
                      </c:pt>
                      <c:pt idx="5932">
                        <c:v>43024</c:v>
                      </c:pt>
                      <c:pt idx="5933">
                        <c:v>43025</c:v>
                      </c:pt>
                      <c:pt idx="5934">
                        <c:v>43026</c:v>
                      </c:pt>
                      <c:pt idx="5935">
                        <c:v>43027</c:v>
                      </c:pt>
                      <c:pt idx="5936">
                        <c:v>43028</c:v>
                      </c:pt>
                      <c:pt idx="5937">
                        <c:v>43031</c:v>
                      </c:pt>
                      <c:pt idx="5938">
                        <c:v>43032</c:v>
                      </c:pt>
                      <c:pt idx="5939">
                        <c:v>43033</c:v>
                      </c:pt>
                      <c:pt idx="5940">
                        <c:v>43034</c:v>
                      </c:pt>
                      <c:pt idx="5941">
                        <c:v>43035</c:v>
                      </c:pt>
                      <c:pt idx="5942">
                        <c:v>43038</c:v>
                      </c:pt>
                      <c:pt idx="5943">
                        <c:v>43039</c:v>
                      </c:pt>
                      <c:pt idx="5944">
                        <c:v>43040</c:v>
                      </c:pt>
                      <c:pt idx="5945">
                        <c:v>43041</c:v>
                      </c:pt>
                      <c:pt idx="5946">
                        <c:v>43042</c:v>
                      </c:pt>
                      <c:pt idx="5947">
                        <c:v>43045</c:v>
                      </c:pt>
                      <c:pt idx="5948">
                        <c:v>43046</c:v>
                      </c:pt>
                      <c:pt idx="5949">
                        <c:v>43047</c:v>
                      </c:pt>
                      <c:pt idx="5950">
                        <c:v>43048</c:v>
                      </c:pt>
                      <c:pt idx="5951">
                        <c:v>43049</c:v>
                      </c:pt>
                      <c:pt idx="5952">
                        <c:v>43052</c:v>
                      </c:pt>
                      <c:pt idx="5953">
                        <c:v>43053</c:v>
                      </c:pt>
                      <c:pt idx="5954">
                        <c:v>43054</c:v>
                      </c:pt>
                      <c:pt idx="5955">
                        <c:v>43055</c:v>
                      </c:pt>
                      <c:pt idx="5956">
                        <c:v>43056</c:v>
                      </c:pt>
                      <c:pt idx="5957">
                        <c:v>43059</c:v>
                      </c:pt>
                      <c:pt idx="5958">
                        <c:v>43060</c:v>
                      </c:pt>
                      <c:pt idx="5959">
                        <c:v>43061</c:v>
                      </c:pt>
                      <c:pt idx="5960">
                        <c:v>43062</c:v>
                      </c:pt>
                      <c:pt idx="5961">
                        <c:v>43063</c:v>
                      </c:pt>
                      <c:pt idx="5962">
                        <c:v>43066</c:v>
                      </c:pt>
                      <c:pt idx="5963">
                        <c:v>43067</c:v>
                      </c:pt>
                      <c:pt idx="5964">
                        <c:v>43068</c:v>
                      </c:pt>
                      <c:pt idx="5965">
                        <c:v>43069</c:v>
                      </c:pt>
                      <c:pt idx="5966">
                        <c:v>43070</c:v>
                      </c:pt>
                      <c:pt idx="5967">
                        <c:v>43073</c:v>
                      </c:pt>
                      <c:pt idx="5968">
                        <c:v>43074</c:v>
                      </c:pt>
                      <c:pt idx="5969">
                        <c:v>43075</c:v>
                      </c:pt>
                      <c:pt idx="5970">
                        <c:v>43076</c:v>
                      </c:pt>
                      <c:pt idx="5971">
                        <c:v>43077</c:v>
                      </c:pt>
                      <c:pt idx="5972">
                        <c:v>43080</c:v>
                      </c:pt>
                      <c:pt idx="5973">
                        <c:v>43081</c:v>
                      </c:pt>
                      <c:pt idx="5974">
                        <c:v>43082</c:v>
                      </c:pt>
                      <c:pt idx="5975">
                        <c:v>43083</c:v>
                      </c:pt>
                      <c:pt idx="5976">
                        <c:v>43084</c:v>
                      </c:pt>
                      <c:pt idx="5977">
                        <c:v>43087</c:v>
                      </c:pt>
                      <c:pt idx="5978">
                        <c:v>43088</c:v>
                      </c:pt>
                      <c:pt idx="5979">
                        <c:v>43089</c:v>
                      </c:pt>
                      <c:pt idx="5980">
                        <c:v>43090</c:v>
                      </c:pt>
                      <c:pt idx="5981">
                        <c:v>43091</c:v>
                      </c:pt>
                      <c:pt idx="5982">
                        <c:v>43094</c:v>
                      </c:pt>
                      <c:pt idx="5983">
                        <c:v>43095</c:v>
                      </c:pt>
                      <c:pt idx="5984">
                        <c:v>43096</c:v>
                      </c:pt>
                      <c:pt idx="5985">
                        <c:v>43097</c:v>
                      </c:pt>
                      <c:pt idx="5986">
                        <c:v>43098</c:v>
                      </c:pt>
                      <c:pt idx="5987">
                        <c:v>43101</c:v>
                      </c:pt>
                      <c:pt idx="5988">
                        <c:v>43102</c:v>
                      </c:pt>
                      <c:pt idx="5989">
                        <c:v>43103</c:v>
                      </c:pt>
                      <c:pt idx="5990">
                        <c:v>43104</c:v>
                      </c:pt>
                      <c:pt idx="5991">
                        <c:v>43105</c:v>
                      </c:pt>
                      <c:pt idx="5992">
                        <c:v>43108</c:v>
                      </c:pt>
                      <c:pt idx="5993">
                        <c:v>43109</c:v>
                      </c:pt>
                      <c:pt idx="5994">
                        <c:v>43110</c:v>
                      </c:pt>
                      <c:pt idx="5995">
                        <c:v>43111</c:v>
                      </c:pt>
                      <c:pt idx="5996">
                        <c:v>43112</c:v>
                      </c:pt>
                      <c:pt idx="5997">
                        <c:v>43115</c:v>
                      </c:pt>
                      <c:pt idx="5998">
                        <c:v>43116</c:v>
                      </c:pt>
                      <c:pt idx="5999">
                        <c:v>43117</c:v>
                      </c:pt>
                      <c:pt idx="6000">
                        <c:v>43118</c:v>
                      </c:pt>
                      <c:pt idx="6001">
                        <c:v>43119</c:v>
                      </c:pt>
                      <c:pt idx="6002">
                        <c:v>43122</c:v>
                      </c:pt>
                      <c:pt idx="6003">
                        <c:v>43123</c:v>
                      </c:pt>
                      <c:pt idx="6004">
                        <c:v>43124</c:v>
                      </c:pt>
                      <c:pt idx="6005">
                        <c:v>43125</c:v>
                      </c:pt>
                      <c:pt idx="6006">
                        <c:v>43126</c:v>
                      </c:pt>
                      <c:pt idx="6007">
                        <c:v>43129</c:v>
                      </c:pt>
                      <c:pt idx="6008">
                        <c:v>43130</c:v>
                      </c:pt>
                      <c:pt idx="6009">
                        <c:v>43131</c:v>
                      </c:pt>
                      <c:pt idx="6010">
                        <c:v>43132</c:v>
                      </c:pt>
                      <c:pt idx="6011">
                        <c:v>43133</c:v>
                      </c:pt>
                      <c:pt idx="6012">
                        <c:v>43136</c:v>
                      </c:pt>
                      <c:pt idx="6013">
                        <c:v>43137</c:v>
                      </c:pt>
                      <c:pt idx="6014">
                        <c:v>43138</c:v>
                      </c:pt>
                      <c:pt idx="6015">
                        <c:v>43139</c:v>
                      </c:pt>
                      <c:pt idx="6016">
                        <c:v>43140</c:v>
                      </c:pt>
                      <c:pt idx="6017">
                        <c:v>43143</c:v>
                      </c:pt>
                      <c:pt idx="6018">
                        <c:v>43144</c:v>
                      </c:pt>
                      <c:pt idx="6019">
                        <c:v>43145</c:v>
                      </c:pt>
                      <c:pt idx="6020">
                        <c:v>43146</c:v>
                      </c:pt>
                      <c:pt idx="6021">
                        <c:v>43147</c:v>
                      </c:pt>
                      <c:pt idx="6022">
                        <c:v>43150</c:v>
                      </c:pt>
                      <c:pt idx="6023">
                        <c:v>43151</c:v>
                      </c:pt>
                      <c:pt idx="6024">
                        <c:v>43152</c:v>
                      </c:pt>
                      <c:pt idx="6025">
                        <c:v>43153</c:v>
                      </c:pt>
                      <c:pt idx="6026">
                        <c:v>43154</c:v>
                      </c:pt>
                      <c:pt idx="6027">
                        <c:v>43157</c:v>
                      </c:pt>
                      <c:pt idx="6028">
                        <c:v>43158</c:v>
                      </c:pt>
                      <c:pt idx="6029">
                        <c:v>43159</c:v>
                      </c:pt>
                      <c:pt idx="6030">
                        <c:v>43160</c:v>
                      </c:pt>
                      <c:pt idx="6031">
                        <c:v>43161</c:v>
                      </c:pt>
                      <c:pt idx="6032">
                        <c:v>43164</c:v>
                      </c:pt>
                      <c:pt idx="6033">
                        <c:v>43165</c:v>
                      </c:pt>
                      <c:pt idx="6034">
                        <c:v>43166</c:v>
                      </c:pt>
                      <c:pt idx="6035">
                        <c:v>43167</c:v>
                      </c:pt>
                      <c:pt idx="6036">
                        <c:v>43168</c:v>
                      </c:pt>
                      <c:pt idx="6037">
                        <c:v>43171</c:v>
                      </c:pt>
                      <c:pt idx="6038">
                        <c:v>43172</c:v>
                      </c:pt>
                      <c:pt idx="6039">
                        <c:v>43173</c:v>
                      </c:pt>
                      <c:pt idx="6040">
                        <c:v>43174</c:v>
                      </c:pt>
                      <c:pt idx="6041">
                        <c:v>43175</c:v>
                      </c:pt>
                      <c:pt idx="6042">
                        <c:v>43178</c:v>
                      </c:pt>
                      <c:pt idx="6043">
                        <c:v>43179</c:v>
                      </c:pt>
                      <c:pt idx="6044">
                        <c:v>43180</c:v>
                      </c:pt>
                      <c:pt idx="6045">
                        <c:v>43181</c:v>
                      </c:pt>
                      <c:pt idx="6046">
                        <c:v>43182</c:v>
                      </c:pt>
                      <c:pt idx="6047">
                        <c:v>43185</c:v>
                      </c:pt>
                      <c:pt idx="6048">
                        <c:v>43186</c:v>
                      </c:pt>
                      <c:pt idx="6049">
                        <c:v>43187</c:v>
                      </c:pt>
                      <c:pt idx="6050">
                        <c:v>43188</c:v>
                      </c:pt>
                      <c:pt idx="6051">
                        <c:v>43189</c:v>
                      </c:pt>
                      <c:pt idx="6052">
                        <c:v>43192</c:v>
                      </c:pt>
                      <c:pt idx="6053">
                        <c:v>43193</c:v>
                      </c:pt>
                      <c:pt idx="6054">
                        <c:v>43194</c:v>
                      </c:pt>
                      <c:pt idx="6055">
                        <c:v>43195</c:v>
                      </c:pt>
                      <c:pt idx="6056">
                        <c:v>43196</c:v>
                      </c:pt>
                      <c:pt idx="6057">
                        <c:v>43199</c:v>
                      </c:pt>
                      <c:pt idx="6058">
                        <c:v>43200</c:v>
                      </c:pt>
                      <c:pt idx="6059">
                        <c:v>43201</c:v>
                      </c:pt>
                      <c:pt idx="6060">
                        <c:v>43202</c:v>
                      </c:pt>
                      <c:pt idx="6061">
                        <c:v>43203</c:v>
                      </c:pt>
                      <c:pt idx="6062">
                        <c:v>43206</c:v>
                      </c:pt>
                      <c:pt idx="6063">
                        <c:v>43207</c:v>
                      </c:pt>
                      <c:pt idx="6064">
                        <c:v>43208</c:v>
                      </c:pt>
                      <c:pt idx="6065">
                        <c:v>43209</c:v>
                      </c:pt>
                      <c:pt idx="6066">
                        <c:v>43210</c:v>
                      </c:pt>
                      <c:pt idx="6067">
                        <c:v>43213</c:v>
                      </c:pt>
                      <c:pt idx="6068">
                        <c:v>43214</c:v>
                      </c:pt>
                      <c:pt idx="6069">
                        <c:v>43215</c:v>
                      </c:pt>
                      <c:pt idx="6070">
                        <c:v>43216</c:v>
                      </c:pt>
                      <c:pt idx="6071">
                        <c:v>43217</c:v>
                      </c:pt>
                      <c:pt idx="6072">
                        <c:v>43220</c:v>
                      </c:pt>
                      <c:pt idx="6073">
                        <c:v>43221</c:v>
                      </c:pt>
                      <c:pt idx="6074">
                        <c:v>43222</c:v>
                      </c:pt>
                      <c:pt idx="6075">
                        <c:v>43223</c:v>
                      </c:pt>
                      <c:pt idx="6076">
                        <c:v>43224</c:v>
                      </c:pt>
                      <c:pt idx="6077">
                        <c:v>43227</c:v>
                      </c:pt>
                      <c:pt idx="6078">
                        <c:v>43228</c:v>
                      </c:pt>
                      <c:pt idx="6079">
                        <c:v>43229</c:v>
                      </c:pt>
                      <c:pt idx="6080">
                        <c:v>43230</c:v>
                      </c:pt>
                      <c:pt idx="6081">
                        <c:v>43231</c:v>
                      </c:pt>
                      <c:pt idx="6082">
                        <c:v>43234</c:v>
                      </c:pt>
                      <c:pt idx="6083">
                        <c:v>43235</c:v>
                      </c:pt>
                      <c:pt idx="6084">
                        <c:v>43236</c:v>
                      </c:pt>
                      <c:pt idx="6085">
                        <c:v>43237</c:v>
                      </c:pt>
                      <c:pt idx="6086">
                        <c:v>43238</c:v>
                      </c:pt>
                      <c:pt idx="6087">
                        <c:v>43241</c:v>
                      </c:pt>
                      <c:pt idx="6088">
                        <c:v>43242</c:v>
                      </c:pt>
                      <c:pt idx="6089">
                        <c:v>43243</c:v>
                      </c:pt>
                      <c:pt idx="6090">
                        <c:v>43244</c:v>
                      </c:pt>
                      <c:pt idx="6091">
                        <c:v>43245</c:v>
                      </c:pt>
                      <c:pt idx="6092">
                        <c:v>43248</c:v>
                      </c:pt>
                      <c:pt idx="6093">
                        <c:v>43249</c:v>
                      </c:pt>
                      <c:pt idx="6094">
                        <c:v>43250</c:v>
                      </c:pt>
                      <c:pt idx="6095">
                        <c:v>43251</c:v>
                      </c:pt>
                      <c:pt idx="6096">
                        <c:v>43252</c:v>
                      </c:pt>
                      <c:pt idx="6097">
                        <c:v>43255</c:v>
                      </c:pt>
                      <c:pt idx="6098">
                        <c:v>43256</c:v>
                      </c:pt>
                      <c:pt idx="6099">
                        <c:v>43257</c:v>
                      </c:pt>
                      <c:pt idx="6100">
                        <c:v>43258</c:v>
                      </c:pt>
                      <c:pt idx="6101">
                        <c:v>43259</c:v>
                      </c:pt>
                      <c:pt idx="6102">
                        <c:v>43262</c:v>
                      </c:pt>
                      <c:pt idx="6103">
                        <c:v>43263</c:v>
                      </c:pt>
                      <c:pt idx="6104">
                        <c:v>43264</c:v>
                      </c:pt>
                      <c:pt idx="6105">
                        <c:v>43265</c:v>
                      </c:pt>
                      <c:pt idx="6106">
                        <c:v>43266</c:v>
                      </c:pt>
                      <c:pt idx="6107">
                        <c:v>43269</c:v>
                      </c:pt>
                      <c:pt idx="6108">
                        <c:v>43270</c:v>
                      </c:pt>
                      <c:pt idx="6109">
                        <c:v>43271</c:v>
                      </c:pt>
                      <c:pt idx="6110">
                        <c:v>43272</c:v>
                      </c:pt>
                      <c:pt idx="6111">
                        <c:v>43273</c:v>
                      </c:pt>
                      <c:pt idx="6112">
                        <c:v>43276</c:v>
                      </c:pt>
                      <c:pt idx="6113">
                        <c:v>43277</c:v>
                      </c:pt>
                      <c:pt idx="6114">
                        <c:v>43278</c:v>
                      </c:pt>
                      <c:pt idx="6115">
                        <c:v>43279</c:v>
                      </c:pt>
                      <c:pt idx="6116">
                        <c:v>43280</c:v>
                      </c:pt>
                      <c:pt idx="6117">
                        <c:v>43283</c:v>
                      </c:pt>
                      <c:pt idx="6118">
                        <c:v>43284</c:v>
                      </c:pt>
                      <c:pt idx="6119">
                        <c:v>43285</c:v>
                      </c:pt>
                      <c:pt idx="6120">
                        <c:v>43286</c:v>
                      </c:pt>
                      <c:pt idx="6121">
                        <c:v>43287</c:v>
                      </c:pt>
                      <c:pt idx="6122">
                        <c:v>43290</c:v>
                      </c:pt>
                      <c:pt idx="6123">
                        <c:v>43291</c:v>
                      </c:pt>
                      <c:pt idx="6124">
                        <c:v>43292</c:v>
                      </c:pt>
                      <c:pt idx="6125">
                        <c:v>43293</c:v>
                      </c:pt>
                      <c:pt idx="6126">
                        <c:v>43294</c:v>
                      </c:pt>
                      <c:pt idx="6127">
                        <c:v>43297</c:v>
                      </c:pt>
                      <c:pt idx="6128">
                        <c:v>43298</c:v>
                      </c:pt>
                      <c:pt idx="6129">
                        <c:v>43299</c:v>
                      </c:pt>
                      <c:pt idx="6130">
                        <c:v>43300</c:v>
                      </c:pt>
                      <c:pt idx="6131">
                        <c:v>43301</c:v>
                      </c:pt>
                      <c:pt idx="6132">
                        <c:v>43304</c:v>
                      </c:pt>
                      <c:pt idx="6133">
                        <c:v>43305</c:v>
                      </c:pt>
                      <c:pt idx="6134">
                        <c:v>43306</c:v>
                      </c:pt>
                      <c:pt idx="6135">
                        <c:v>43307</c:v>
                      </c:pt>
                      <c:pt idx="6136">
                        <c:v>43308</c:v>
                      </c:pt>
                      <c:pt idx="6137">
                        <c:v>43311</c:v>
                      </c:pt>
                      <c:pt idx="6138">
                        <c:v>43312</c:v>
                      </c:pt>
                      <c:pt idx="6139">
                        <c:v>43313</c:v>
                      </c:pt>
                      <c:pt idx="6140">
                        <c:v>43314</c:v>
                      </c:pt>
                      <c:pt idx="6141">
                        <c:v>43315</c:v>
                      </c:pt>
                      <c:pt idx="6142">
                        <c:v>43318</c:v>
                      </c:pt>
                      <c:pt idx="6143">
                        <c:v>43319</c:v>
                      </c:pt>
                      <c:pt idx="6144">
                        <c:v>43320</c:v>
                      </c:pt>
                      <c:pt idx="6145">
                        <c:v>43321</c:v>
                      </c:pt>
                      <c:pt idx="6146">
                        <c:v>43322</c:v>
                      </c:pt>
                      <c:pt idx="6147">
                        <c:v>43325</c:v>
                      </c:pt>
                      <c:pt idx="6148">
                        <c:v>43326</c:v>
                      </c:pt>
                      <c:pt idx="6149">
                        <c:v>43327</c:v>
                      </c:pt>
                      <c:pt idx="6150">
                        <c:v>43328</c:v>
                      </c:pt>
                      <c:pt idx="6151">
                        <c:v>43329</c:v>
                      </c:pt>
                      <c:pt idx="6152">
                        <c:v>43332</c:v>
                      </c:pt>
                      <c:pt idx="6153">
                        <c:v>43333</c:v>
                      </c:pt>
                      <c:pt idx="6154">
                        <c:v>43334</c:v>
                      </c:pt>
                      <c:pt idx="6155">
                        <c:v>43335</c:v>
                      </c:pt>
                      <c:pt idx="6156">
                        <c:v>43336</c:v>
                      </c:pt>
                      <c:pt idx="6157">
                        <c:v>43339</c:v>
                      </c:pt>
                      <c:pt idx="6158">
                        <c:v>43340</c:v>
                      </c:pt>
                      <c:pt idx="6159">
                        <c:v>43341</c:v>
                      </c:pt>
                      <c:pt idx="6160">
                        <c:v>43342</c:v>
                      </c:pt>
                      <c:pt idx="6161">
                        <c:v>43343</c:v>
                      </c:pt>
                      <c:pt idx="6162">
                        <c:v>43346</c:v>
                      </c:pt>
                      <c:pt idx="6163">
                        <c:v>43347</c:v>
                      </c:pt>
                      <c:pt idx="6164">
                        <c:v>43348</c:v>
                      </c:pt>
                      <c:pt idx="6165">
                        <c:v>43349</c:v>
                      </c:pt>
                      <c:pt idx="6166">
                        <c:v>43350</c:v>
                      </c:pt>
                      <c:pt idx="6167">
                        <c:v>43353</c:v>
                      </c:pt>
                      <c:pt idx="6168">
                        <c:v>43354</c:v>
                      </c:pt>
                      <c:pt idx="6169">
                        <c:v>43355</c:v>
                      </c:pt>
                      <c:pt idx="6170">
                        <c:v>43356</c:v>
                      </c:pt>
                      <c:pt idx="6171">
                        <c:v>43357</c:v>
                      </c:pt>
                      <c:pt idx="6172">
                        <c:v>43360</c:v>
                      </c:pt>
                      <c:pt idx="6173">
                        <c:v>43361</c:v>
                      </c:pt>
                      <c:pt idx="6174">
                        <c:v>43362</c:v>
                      </c:pt>
                      <c:pt idx="6175">
                        <c:v>43363</c:v>
                      </c:pt>
                      <c:pt idx="6176">
                        <c:v>43364</c:v>
                      </c:pt>
                      <c:pt idx="6177">
                        <c:v>43367</c:v>
                      </c:pt>
                      <c:pt idx="6178">
                        <c:v>43368</c:v>
                      </c:pt>
                      <c:pt idx="6179">
                        <c:v>43369</c:v>
                      </c:pt>
                      <c:pt idx="6180">
                        <c:v>43370</c:v>
                      </c:pt>
                      <c:pt idx="6181">
                        <c:v>43371</c:v>
                      </c:pt>
                      <c:pt idx="6182">
                        <c:v>43374</c:v>
                      </c:pt>
                      <c:pt idx="6183">
                        <c:v>43375</c:v>
                      </c:pt>
                      <c:pt idx="6184">
                        <c:v>43376</c:v>
                      </c:pt>
                      <c:pt idx="6185">
                        <c:v>43377</c:v>
                      </c:pt>
                      <c:pt idx="6186">
                        <c:v>43378</c:v>
                      </c:pt>
                      <c:pt idx="6187">
                        <c:v>43381</c:v>
                      </c:pt>
                      <c:pt idx="6188">
                        <c:v>43382</c:v>
                      </c:pt>
                      <c:pt idx="6189">
                        <c:v>43383</c:v>
                      </c:pt>
                      <c:pt idx="6190">
                        <c:v>43384</c:v>
                      </c:pt>
                      <c:pt idx="6191">
                        <c:v>43385</c:v>
                      </c:pt>
                      <c:pt idx="6192">
                        <c:v>43388</c:v>
                      </c:pt>
                      <c:pt idx="6193">
                        <c:v>43389</c:v>
                      </c:pt>
                      <c:pt idx="6194">
                        <c:v>43390</c:v>
                      </c:pt>
                      <c:pt idx="6195">
                        <c:v>43391</c:v>
                      </c:pt>
                      <c:pt idx="6196">
                        <c:v>43392</c:v>
                      </c:pt>
                      <c:pt idx="6197">
                        <c:v>43395</c:v>
                      </c:pt>
                      <c:pt idx="6198">
                        <c:v>43396</c:v>
                      </c:pt>
                      <c:pt idx="6199">
                        <c:v>43397</c:v>
                      </c:pt>
                      <c:pt idx="6200">
                        <c:v>43398</c:v>
                      </c:pt>
                      <c:pt idx="6201">
                        <c:v>43399</c:v>
                      </c:pt>
                      <c:pt idx="6202">
                        <c:v>43402</c:v>
                      </c:pt>
                      <c:pt idx="6203">
                        <c:v>43403</c:v>
                      </c:pt>
                      <c:pt idx="6204">
                        <c:v>43404</c:v>
                      </c:pt>
                      <c:pt idx="6205">
                        <c:v>43405</c:v>
                      </c:pt>
                      <c:pt idx="6206">
                        <c:v>43406</c:v>
                      </c:pt>
                      <c:pt idx="6207">
                        <c:v>43409</c:v>
                      </c:pt>
                      <c:pt idx="6208">
                        <c:v>43410</c:v>
                      </c:pt>
                      <c:pt idx="6209">
                        <c:v>43411</c:v>
                      </c:pt>
                      <c:pt idx="6210">
                        <c:v>43412</c:v>
                      </c:pt>
                      <c:pt idx="6211">
                        <c:v>43413</c:v>
                      </c:pt>
                      <c:pt idx="6212">
                        <c:v>43416</c:v>
                      </c:pt>
                      <c:pt idx="6213">
                        <c:v>43417</c:v>
                      </c:pt>
                      <c:pt idx="6214">
                        <c:v>43418</c:v>
                      </c:pt>
                      <c:pt idx="6215">
                        <c:v>43419</c:v>
                      </c:pt>
                      <c:pt idx="6216">
                        <c:v>43420</c:v>
                      </c:pt>
                      <c:pt idx="6217">
                        <c:v>43423</c:v>
                      </c:pt>
                      <c:pt idx="6218">
                        <c:v>43424</c:v>
                      </c:pt>
                      <c:pt idx="6219">
                        <c:v>43425</c:v>
                      </c:pt>
                      <c:pt idx="6220">
                        <c:v>43426</c:v>
                      </c:pt>
                      <c:pt idx="6221">
                        <c:v>43427</c:v>
                      </c:pt>
                      <c:pt idx="6222">
                        <c:v>43430</c:v>
                      </c:pt>
                      <c:pt idx="6223">
                        <c:v>43431</c:v>
                      </c:pt>
                      <c:pt idx="6224">
                        <c:v>43432</c:v>
                      </c:pt>
                      <c:pt idx="6225">
                        <c:v>43433</c:v>
                      </c:pt>
                      <c:pt idx="6226">
                        <c:v>43434</c:v>
                      </c:pt>
                      <c:pt idx="6227">
                        <c:v>43437</c:v>
                      </c:pt>
                      <c:pt idx="6228">
                        <c:v>43438</c:v>
                      </c:pt>
                      <c:pt idx="6229">
                        <c:v>43439</c:v>
                      </c:pt>
                      <c:pt idx="6230">
                        <c:v>43440</c:v>
                      </c:pt>
                      <c:pt idx="6231">
                        <c:v>43441</c:v>
                      </c:pt>
                      <c:pt idx="6232">
                        <c:v>43444</c:v>
                      </c:pt>
                      <c:pt idx="6233">
                        <c:v>43445</c:v>
                      </c:pt>
                      <c:pt idx="6234">
                        <c:v>43446</c:v>
                      </c:pt>
                      <c:pt idx="6235">
                        <c:v>43447</c:v>
                      </c:pt>
                      <c:pt idx="6236">
                        <c:v>43448</c:v>
                      </c:pt>
                      <c:pt idx="6237">
                        <c:v>43451</c:v>
                      </c:pt>
                      <c:pt idx="6238">
                        <c:v>43452</c:v>
                      </c:pt>
                      <c:pt idx="6239">
                        <c:v>43453</c:v>
                      </c:pt>
                      <c:pt idx="6240">
                        <c:v>43454</c:v>
                      </c:pt>
                      <c:pt idx="6241">
                        <c:v>43455</c:v>
                      </c:pt>
                      <c:pt idx="6242">
                        <c:v>43458</c:v>
                      </c:pt>
                      <c:pt idx="6243">
                        <c:v>43459</c:v>
                      </c:pt>
                      <c:pt idx="6244">
                        <c:v>43460</c:v>
                      </c:pt>
                      <c:pt idx="6245">
                        <c:v>43461</c:v>
                      </c:pt>
                      <c:pt idx="6246">
                        <c:v>43462</c:v>
                      </c:pt>
                      <c:pt idx="6247">
                        <c:v>43465</c:v>
                      </c:pt>
                      <c:pt idx="6248">
                        <c:v>43466</c:v>
                      </c:pt>
                      <c:pt idx="6249">
                        <c:v>43467</c:v>
                      </c:pt>
                      <c:pt idx="6250">
                        <c:v>43468</c:v>
                      </c:pt>
                      <c:pt idx="6251">
                        <c:v>43469</c:v>
                      </c:pt>
                      <c:pt idx="6252">
                        <c:v>43472</c:v>
                      </c:pt>
                      <c:pt idx="6253">
                        <c:v>43473</c:v>
                      </c:pt>
                      <c:pt idx="6254">
                        <c:v>43474</c:v>
                      </c:pt>
                      <c:pt idx="6255">
                        <c:v>43475</c:v>
                      </c:pt>
                      <c:pt idx="6256">
                        <c:v>43476</c:v>
                      </c:pt>
                      <c:pt idx="6257">
                        <c:v>43479</c:v>
                      </c:pt>
                      <c:pt idx="6258">
                        <c:v>43480</c:v>
                      </c:pt>
                      <c:pt idx="6259">
                        <c:v>43481</c:v>
                      </c:pt>
                      <c:pt idx="6260">
                        <c:v>43482</c:v>
                      </c:pt>
                      <c:pt idx="6261">
                        <c:v>43483</c:v>
                      </c:pt>
                      <c:pt idx="6262">
                        <c:v>43486</c:v>
                      </c:pt>
                      <c:pt idx="6263">
                        <c:v>43487</c:v>
                      </c:pt>
                      <c:pt idx="6264">
                        <c:v>43488</c:v>
                      </c:pt>
                      <c:pt idx="6265">
                        <c:v>43489</c:v>
                      </c:pt>
                      <c:pt idx="6266">
                        <c:v>43490</c:v>
                      </c:pt>
                      <c:pt idx="6267">
                        <c:v>43493</c:v>
                      </c:pt>
                      <c:pt idx="6268">
                        <c:v>43494</c:v>
                      </c:pt>
                      <c:pt idx="6269">
                        <c:v>43495</c:v>
                      </c:pt>
                      <c:pt idx="6270">
                        <c:v>43496</c:v>
                      </c:pt>
                      <c:pt idx="6271">
                        <c:v>43497</c:v>
                      </c:pt>
                      <c:pt idx="6272">
                        <c:v>43500</c:v>
                      </c:pt>
                      <c:pt idx="6273">
                        <c:v>43501</c:v>
                      </c:pt>
                      <c:pt idx="6274">
                        <c:v>43502</c:v>
                      </c:pt>
                      <c:pt idx="6275">
                        <c:v>43503</c:v>
                      </c:pt>
                      <c:pt idx="6276">
                        <c:v>43504</c:v>
                      </c:pt>
                      <c:pt idx="6277">
                        <c:v>43507</c:v>
                      </c:pt>
                      <c:pt idx="6278">
                        <c:v>43508</c:v>
                      </c:pt>
                      <c:pt idx="6279">
                        <c:v>43509</c:v>
                      </c:pt>
                      <c:pt idx="6280">
                        <c:v>43510</c:v>
                      </c:pt>
                      <c:pt idx="6281">
                        <c:v>43511</c:v>
                      </c:pt>
                      <c:pt idx="6282">
                        <c:v>43514</c:v>
                      </c:pt>
                      <c:pt idx="6283">
                        <c:v>43515</c:v>
                      </c:pt>
                      <c:pt idx="6284">
                        <c:v>43516</c:v>
                      </c:pt>
                      <c:pt idx="6285">
                        <c:v>43517</c:v>
                      </c:pt>
                      <c:pt idx="6286">
                        <c:v>43518</c:v>
                      </c:pt>
                      <c:pt idx="6287">
                        <c:v>43521</c:v>
                      </c:pt>
                      <c:pt idx="6288">
                        <c:v>43522</c:v>
                      </c:pt>
                      <c:pt idx="6289">
                        <c:v>43523</c:v>
                      </c:pt>
                      <c:pt idx="6290">
                        <c:v>43524</c:v>
                      </c:pt>
                      <c:pt idx="6291">
                        <c:v>43525</c:v>
                      </c:pt>
                      <c:pt idx="6292">
                        <c:v>43528</c:v>
                      </c:pt>
                      <c:pt idx="6293">
                        <c:v>43529</c:v>
                      </c:pt>
                      <c:pt idx="6294">
                        <c:v>43530</c:v>
                      </c:pt>
                      <c:pt idx="6295">
                        <c:v>43531</c:v>
                      </c:pt>
                      <c:pt idx="6296">
                        <c:v>43532</c:v>
                      </c:pt>
                      <c:pt idx="6297">
                        <c:v>43535</c:v>
                      </c:pt>
                      <c:pt idx="6298">
                        <c:v>43536</c:v>
                      </c:pt>
                      <c:pt idx="6299">
                        <c:v>43537</c:v>
                      </c:pt>
                      <c:pt idx="6300">
                        <c:v>43538</c:v>
                      </c:pt>
                      <c:pt idx="6301">
                        <c:v>43539</c:v>
                      </c:pt>
                      <c:pt idx="6302">
                        <c:v>43542</c:v>
                      </c:pt>
                      <c:pt idx="6303">
                        <c:v>43543</c:v>
                      </c:pt>
                      <c:pt idx="6304">
                        <c:v>43544</c:v>
                      </c:pt>
                      <c:pt idx="6305">
                        <c:v>43545</c:v>
                      </c:pt>
                      <c:pt idx="6306">
                        <c:v>43546</c:v>
                      </c:pt>
                      <c:pt idx="6307">
                        <c:v>43549</c:v>
                      </c:pt>
                      <c:pt idx="6308">
                        <c:v>43550</c:v>
                      </c:pt>
                      <c:pt idx="6309">
                        <c:v>43551</c:v>
                      </c:pt>
                      <c:pt idx="6310">
                        <c:v>43552</c:v>
                      </c:pt>
                      <c:pt idx="6311">
                        <c:v>43553</c:v>
                      </c:pt>
                      <c:pt idx="6312">
                        <c:v>43556</c:v>
                      </c:pt>
                      <c:pt idx="6313">
                        <c:v>43557</c:v>
                      </c:pt>
                      <c:pt idx="6314">
                        <c:v>43558</c:v>
                      </c:pt>
                      <c:pt idx="6315">
                        <c:v>43559</c:v>
                      </c:pt>
                      <c:pt idx="6316">
                        <c:v>43560</c:v>
                      </c:pt>
                      <c:pt idx="6317">
                        <c:v>43563</c:v>
                      </c:pt>
                      <c:pt idx="6318">
                        <c:v>43564</c:v>
                      </c:pt>
                      <c:pt idx="6319">
                        <c:v>43565</c:v>
                      </c:pt>
                      <c:pt idx="6320">
                        <c:v>43566</c:v>
                      </c:pt>
                      <c:pt idx="6321">
                        <c:v>43567</c:v>
                      </c:pt>
                      <c:pt idx="6322">
                        <c:v>43570</c:v>
                      </c:pt>
                      <c:pt idx="6323">
                        <c:v>43571</c:v>
                      </c:pt>
                      <c:pt idx="6324">
                        <c:v>43572</c:v>
                      </c:pt>
                      <c:pt idx="6325">
                        <c:v>43573</c:v>
                      </c:pt>
                      <c:pt idx="6326">
                        <c:v>43574</c:v>
                      </c:pt>
                      <c:pt idx="6327">
                        <c:v>43577</c:v>
                      </c:pt>
                      <c:pt idx="6328">
                        <c:v>43578</c:v>
                      </c:pt>
                      <c:pt idx="6329">
                        <c:v>43579</c:v>
                      </c:pt>
                      <c:pt idx="6330">
                        <c:v>43580</c:v>
                      </c:pt>
                      <c:pt idx="6331">
                        <c:v>43581</c:v>
                      </c:pt>
                      <c:pt idx="6332">
                        <c:v>43584</c:v>
                      </c:pt>
                      <c:pt idx="6333">
                        <c:v>43585</c:v>
                      </c:pt>
                      <c:pt idx="6334">
                        <c:v>43586</c:v>
                      </c:pt>
                      <c:pt idx="6335">
                        <c:v>43587</c:v>
                      </c:pt>
                      <c:pt idx="6336">
                        <c:v>43588</c:v>
                      </c:pt>
                      <c:pt idx="6337">
                        <c:v>43591</c:v>
                      </c:pt>
                      <c:pt idx="6338">
                        <c:v>43592</c:v>
                      </c:pt>
                      <c:pt idx="6339">
                        <c:v>43593</c:v>
                      </c:pt>
                      <c:pt idx="6340">
                        <c:v>43594</c:v>
                      </c:pt>
                      <c:pt idx="6341">
                        <c:v>43595</c:v>
                      </c:pt>
                      <c:pt idx="6342">
                        <c:v>43598</c:v>
                      </c:pt>
                      <c:pt idx="6343">
                        <c:v>43599</c:v>
                      </c:pt>
                      <c:pt idx="6344">
                        <c:v>43600</c:v>
                      </c:pt>
                      <c:pt idx="6345">
                        <c:v>43601</c:v>
                      </c:pt>
                      <c:pt idx="6346">
                        <c:v>43602</c:v>
                      </c:pt>
                      <c:pt idx="6347">
                        <c:v>43605</c:v>
                      </c:pt>
                      <c:pt idx="6348">
                        <c:v>43606</c:v>
                      </c:pt>
                      <c:pt idx="6349">
                        <c:v>43607</c:v>
                      </c:pt>
                      <c:pt idx="6350">
                        <c:v>43608</c:v>
                      </c:pt>
                      <c:pt idx="6351">
                        <c:v>43609</c:v>
                      </c:pt>
                      <c:pt idx="6352">
                        <c:v>43612</c:v>
                      </c:pt>
                      <c:pt idx="6353">
                        <c:v>43613</c:v>
                      </c:pt>
                      <c:pt idx="6354">
                        <c:v>43614</c:v>
                      </c:pt>
                      <c:pt idx="6355">
                        <c:v>43615</c:v>
                      </c:pt>
                      <c:pt idx="6356">
                        <c:v>43616</c:v>
                      </c:pt>
                      <c:pt idx="6357">
                        <c:v>43619</c:v>
                      </c:pt>
                      <c:pt idx="6358">
                        <c:v>43620</c:v>
                      </c:pt>
                      <c:pt idx="6359">
                        <c:v>43621</c:v>
                      </c:pt>
                      <c:pt idx="6360">
                        <c:v>43622</c:v>
                      </c:pt>
                      <c:pt idx="6361">
                        <c:v>43623</c:v>
                      </c:pt>
                      <c:pt idx="6362">
                        <c:v>43626</c:v>
                      </c:pt>
                      <c:pt idx="6363">
                        <c:v>43627</c:v>
                      </c:pt>
                      <c:pt idx="6364">
                        <c:v>43628</c:v>
                      </c:pt>
                      <c:pt idx="6365">
                        <c:v>43629</c:v>
                      </c:pt>
                      <c:pt idx="6366">
                        <c:v>43630</c:v>
                      </c:pt>
                      <c:pt idx="6367">
                        <c:v>43633</c:v>
                      </c:pt>
                      <c:pt idx="6368">
                        <c:v>43634</c:v>
                      </c:pt>
                      <c:pt idx="6369">
                        <c:v>43635</c:v>
                      </c:pt>
                      <c:pt idx="6370">
                        <c:v>43636</c:v>
                      </c:pt>
                      <c:pt idx="6371">
                        <c:v>43637</c:v>
                      </c:pt>
                      <c:pt idx="6372">
                        <c:v>43640</c:v>
                      </c:pt>
                      <c:pt idx="6373">
                        <c:v>43641</c:v>
                      </c:pt>
                      <c:pt idx="6374">
                        <c:v>43642</c:v>
                      </c:pt>
                      <c:pt idx="6375">
                        <c:v>43643</c:v>
                      </c:pt>
                      <c:pt idx="6376">
                        <c:v>43644</c:v>
                      </c:pt>
                      <c:pt idx="6377">
                        <c:v>43647</c:v>
                      </c:pt>
                      <c:pt idx="6378">
                        <c:v>43648</c:v>
                      </c:pt>
                      <c:pt idx="6379">
                        <c:v>43649</c:v>
                      </c:pt>
                      <c:pt idx="6380">
                        <c:v>43650</c:v>
                      </c:pt>
                      <c:pt idx="6381">
                        <c:v>43651</c:v>
                      </c:pt>
                      <c:pt idx="6382">
                        <c:v>43654</c:v>
                      </c:pt>
                      <c:pt idx="6383">
                        <c:v>43655</c:v>
                      </c:pt>
                      <c:pt idx="6384">
                        <c:v>43656</c:v>
                      </c:pt>
                      <c:pt idx="6385">
                        <c:v>43657</c:v>
                      </c:pt>
                      <c:pt idx="6386">
                        <c:v>43658</c:v>
                      </c:pt>
                      <c:pt idx="6387">
                        <c:v>43661</c:v>
                      </c:pt>
                      <c:pt idx="6388">
                        <c:v>43662</c:v>
                      </c:pt>
                      <c:pt idx="6389">
                        <c:v>43663</c:v>
                      </c:pt>
                      <c:pt idx="6390">
                        <c:v>43664</c:v>
                      </c:pt>
                      <c:pt idx="6391">
                        <c:v>43665</c:v>
                      </c:pt>
                      <c:pt idx="6392">
                        <c:v>43668</c:v>
                      </c:pt>
                      <c:pt idx="6393">
                        <c:v>43669</c:v>
                      </c:pt>
                      <c:pt idx="6394">
                        <c:v>43670</c:v>
                      </c:pt>
                      <c:pt idx="6395">
                        <c:v>43671</c:v>
                      </c:pt>
                      <c:pt idx="6396">
                        <c:v>43672</c:v>
                      </c:pt>
                      <c:pt idx="6397">
                        <c:v>43675</c:v>
                      </c:pt>
                      <c:pt idx="6398">
                        <c:v>43676</c:v>
                      </c:pt>
                      <c:pt idx="6399">
                        <c:v>43677</c:v>
                      </c:pt>
                      <c:pt idx="6400">
                        <c:v>43678</c:v>
                      </c:pt>
                      <c:pt idx="6401">
                        <c:v>43679</c:v>
                      </c:pt>
                      <c:pt idx="6402">
                        <c:v>43682</c:v>
                      </c:pt>
                      <c:pt idx="6403">
                        <c:v>43683</c:v>
                      </c:pt>
                      <c:pt idx="6404">
                        <c:v>43684</c:v>
                      </c:pt>
                      <c:pt idx="6405">
                        <c:v>43685</c:v>
                      </c:pt>
                      <c:pt idx="6406">
                        <c:v>43686</c:v>
                      </c:pt>
                      <c:pt idx="6407">
                        <c:v>43689</c:v>
                      </c:pt>
                      <c:pt idx="6408">
                        <c:v>43690</c:v>
                      </c:pt>
                      <c:pt idx="6409">
                        <c:v>43691</c:v>
                      </c:pt>
                      <c:pt idx="6410">
                        <c:v>43692</c:v>
                      </c:pt>
                      <c:pt idx="6411">
                        <c:v>43693</c:v>
                      </c:pt>
                      <c:pt idx="6412">
                        <c:v>43696</c:v>
                      </c:pt>
                      <c:pt idx="6413">
                        <c:v>43697</c:v>
                      </c:pt>
                      <c:pt idx="6414">
                        <c:v>43698</c:v>
                      </c:pt>
                      <c:pt idx="6415">
                        <c:v>43699</c:v>
                      </c:pt>
                      <c:pt idx="6416">
                        <c:v>43700</c:v>
                      </c:pt>
                      <c:pt idx="6417">
                        <c:v>43703</c:v>
                      </c:pt>
                      <c:pt idx="6418">
                        <c:v>43704</c:v>
                      </c:pt>
                      <c:pt idx="6419">
                        <c:v>43705</c:v>
                      </c:pt>
                      <c:pt idx="6420">
                        <c:v>43706</c:v>
                      </c:pt>
                      <c:pt idx="6421">
                        <c:v>43707</c:v>
                      </c:pt>
                      <c:pt idx="6422">
                        <c:v>43710</c:v>
                      </c:pt>
                      <c:pt idx="6423">
                        <c:v>43711</c:v>
                      </c:pt>
                      <c:pt idx="6424">
                        <c:v>43712</c:v>
                      </c:pt>
                      <c:pt idx="6425">
                        <c:v>43713</c:v>
                      </c:pt>
                      <c:pt idx="6426">
                        <c:v>43714</c:v>
                      </c:pt>
                      <c:pt idx="6427">
                        <c:v>43717</c:v>
                      </c:pt>
                      <c:pt idx="6428">
                        <c:v>43718</c:v>
                      </c:pt>
                      <c:pt idx="6429">
                        <c:v>43719</c:v>
                      </c:pt>
                      <c:pt idx="6430">
                        <c:v>43720</c:v>
                      </c:pt>
                      <c:pt idx="6431">
                        <c:v>43721</c:v>
                      </c:pt>
                      <c:pt idx="6432">
                        <c:v>43724</c:v>
                      </c:pt>
                      <c:pt idx="6433">
                        <c:v>43725</c:v>
                      </c:pt>
                      <c:pt idx="6434">
                        <c:v>43726</c:v>
                      </c:pt>
                      <c:pt idx="6435">
                        <c:v>43727</c:v>
                      </c:pt>
                      <c:pt idx="6436">
                        <c:v>43728</c:v>
                      </c:pt>
                      <c:pt idx="6437">
                        <c:v>43731</c:v>
                      </c:pt>
                      <c:pt idx="6438">
                        <c:v>43732</c:v>
                      </c:pt>
                      <c:pt idx="6439">
                        <c:v>43733</c:v>
                      </c:pt>
                      <c:pt idx="6440">
                        <c:v>43734</c:v>
                      </c:pt>
                      <c:pt idx="6441">
                        <c:v>43735</c:v>
                      </c:pt>
                      <c:pt idx="6442">
                        <c:v>43738</c:v>
                      </c:pt>
                      <c:pt idx="6443">
                        <c:v>43739</c:v>
                      </c:pt>
                      <c:pt idx="6444">
                        <c:v>43740</c:v>
                      </c:pt>
                      <c:pt idx="6445">
                        <c:v>43741</c:v>
                      </c:pt>
                      <c:pt idx="6446">
                        <c:v>43742</c:v>
                      </c:pt>
                      <c:pt idx="6447">
                        <c:v>43745</c:v>
                      </c:pt>
                      <c:pt idx="6448">
                        <c:v>43746</c:v>
                      </c:pt>
                      <c:pt idx="6449">
                        <c:v>43747</c:v>
                      </c:pt>
                      <c:pt idx="6450">
                        <c:v>43748</c:v>
                      </c:pt>
                      <c:pt idx="6451">
                        <c:v>43749</c:v>
                      </c:pt>
                      <c:pt idx="6452">
                        <c:v>43752</c:v>
                      </c:pt>
                      <c:pt idx="6453">
                        <c:v>43753</c:v>
                      </c:pt>
                      <c:pt idx="6454">
                        <c:v>43754</c:v>
                      </c:pt>
                      <c:pt idx="6455">
                        <c:v>43755</c:v>
                      </c:pt>
                      <c:pt idx="6456">
                        <c:v>43756</c:v>
                      </c:pt>
                      <c:pt idx="6457">
                        <c:v>43759</c:v>
                      </c:pt>
                      <c:pt idx="6458">
                        <c:v>43760</c:v>
                      </c:pt>
                      <c:pt idx="6459">
                        <c:v>43761</c:v>
                      </c:pt>
                      <c:pt idx="6460">
                        <c:v>43762</c:v>
                      </c:pt>
                      <c:pt idx="6461">
                        <c:v>43763</c:v>
                      </c:pt>
                      <c:pt idx="6462">
                        <c:v>43766</c:v>
                      </c:pt>
                      <c:pt idx="6463">
                        <c:v>43767</c:v>
                      </c:pt>
                      <c:pt idx="6464">
                        <c:v>43768</c:v>
                      </c:pt>
                      <c:pt idx="6465">
                        <c:v>43769</c:v>
                      </c:pt>
                      <c:pt idx="6466">
                        <c:v>43770</c:v>
                      </c:pt>
                      <c:pt idx="6467">
                        <c:v>43773</c:v>
                      </c:pt>
                      <c:pt idx="6468">
                        <c:v>43774</c:v>
                      </c:pt>
                      <c:pt idx="6469">
                        <c:v>43775</c:v>
                      </c:pt>
                      <c:pt idx="6470">
                        <c:v>43776</c:v>
                      </c:pt>
                      <c:pt idx="6471">
                        <c:v>43777</c:v>
                      </c:pt>
                      <c:pt idx="6472">
                        <c:v>43780</c:v>
                      </c:pt>
                      <c:pt idx="6473">
                        <c:v>43781</c:v>
                      </c:pt>
                      <c:pt idx="6474">
                        <c:v>43782</c:v>
                      </c:pt>
                      <c:pt idx="6475">
                        <c:v>43783</c:v>
                      </c:pt>
                      <c:pt idx="6476">
                        <c:v>43784</c:v>
                      </c:pt>
                      <c:pt idx="6477">
                        <c:v>43787</c:v>
                      </c:pt>
                      <c:pt idx="6478">
                        <c:v>43788</c:v>
                      </c:pt>
                      <c:pt idx="6479">
                        <c:v>43789</c:v>
                      </c:pt>
                      <c:pt idx="6480">
                        <c:v>43790</c:v>
                      </c:pt>
                      <c:pt idx="6481">
                        <c:v>43791</c:v>
                      </c:pt>
                      <c:pt idx="6482">
                        <c:v>43794</c:v>
                      </c:pt>
                      <c:pt idx="6483">
                        <c:v>43795</c:v>
                      </c:pt>
                      <c:pt idx="6484">
                        <c:v>43796</c:v>
                      </c:pt>
                      <c:pt idx="6485">
                        <c:v>43797</c:v>
                      </c:pt>
                      <c:pt idx="6486">
                        <c:v>43798</c:v>
                      </c:pt>
                      <c:pt idx="6487">
                        <c:v>43801</c:v>
                      </c:pt>
                      <c:pt idx="6488">
                        <c:v>43802</c:v>
                      </c:pt>
                      <c:pt idx="6489">
                        <c:v>43803</c:v>
                      </c:pt>
                      <c:pt idx="6490">
                        <c:v>43804</c:v>
                      </c:pt>
                      <c:pt idx="6491">
                        <c:v>43805</c:v>
                      </c:pt>
                      <c:pt idx="6492">
                        <c:v>43808</c:v>
                      </c:pt>
                      <c:pt idx="6493">
                        <c:v>43809</c:v>
                      </c:pt>
                      <c:pt idx="6494">
                        <c:v>43810</c:v>
                      </c:pt>
                      <c:pt idx="6495">
                        <c:v>43811</c:v>
                      </c:pt>
                      <c:pt idx="6496">
                        <c:v>43812</c:v>
                      </c:pt>
                      <c:pt idx="6497">
                        <c:v>43815</c:v>
                      </c:pt>
                      <c:pt idx="6498">
                        <c:v>43816</c:v>
                      </c:pt>
                      <c:pt idx="6499">
                        <c:v>43817</c:v>
                      </c:pt>
                      <c:pt idx="6500">
                        <c:v>43818</c:v>
                      </c:pt>
                      <c:pt idx="6501">
                        <c:v>43819</c:v>
                      </c:pt>
                      <c:pt idx="6502">
                        <c:v>43822</c:v>
                      </c:pt>
                      <c:pt idx="6503">
                        <c:v>43823</c:v>
                      </c:pt>
                      <c:pt idx="6504">
                        <c:v>43824</c:v>
                      </c:pt>
                      <c:pt idx="6505">
                        <c:v>43825</c:v>
                      </c:pt>
                      <c:pt idx="6506">
                        <c:v>43826</c:v>
                      </c:pt>
                      <c:pt idx="6507">
                        <c:v>43829</c:v>
                      </c:pt>
                      <c:pt idx="6508">
                        <c:v>43830</c:v>
                      </c:pt>
                      <c:pt idx="6509">
                        <c:v>43831</c:v>
                      </c:pt>
                      <c:pt idx="6510">
                        <c:v>43832</c:v>
                      </c:pt>
                      <c:pt idx="6511">
                        <c:v>43833</c:v>
                      </c:pt>
                      <c:pt idx="6512">
                        <c:v>43836</c:v>
                      </c:pt>
                      <c:pt idx="6513">
                        <c:v>43837</c:v>
                      </c:pt>
                      <c:pt idx="6514">
                        <c:v>43838</c:v>
                      </c:pt>
                      <c:pt idx="6515">
                        <c:v>43839</c:v>
                      </c:pt>
                      <c:pt idx="6516">
                        <c:v>43840</c:v>
                      </c:pt>
                      <c:pt idx="6517">
                        <c:v>43843</c:v>
                      </c:pt>
                      <c:pt idx="6518">
                        <c:v>43844</c:v>
                      </c:pt>
                      <c:pt idx="6519">
                        <c:v>43845</c:v>
                      </c:pt>
                      <c:pt idx="6520">
                        <c:v>43846</c:v>
                      </c:pt>
                      <c:pt idx="6521">
                        <c:v>43847</c:v>
                      </c:pt>
                      <c:pt idx="6522">
                        <c:v>43850</c:v>
                      </c:pt>
                      <c:pt idx="6523">
                        <c:v>43851</c:v>
                      </c:pt>
                      <c:pt idx="6524">
                        <c:v>43852</c:v>
                      </c:pt>
                      <c:pt idx="6525">
                        <c:v>43853</c:v>
                      </c:pt>
                      <c:pt idx="6526">
                        <c:v>43854</c:v>
                      </c:pt>
                      <c:pt idx="6527">
                        <c:v>43857</c:v>
                      </c:pt>
                      <c:pt idx="6528">
                        <c:v>43858</c:v>
                      </c:pt>
                      <c:pt idx="6529">
                        <c:v>43859</c:v>
                      </c:pt>
                      <c:pt idx="6530">
                        <c:v>43860</c:v>
                      </c:pt>
                      <c:pt idx="6531">
                        <c:v>43861</c:v>
                      </c:pt>
                      <c:pt idx="6532">
                        <c:v>43864</c:v>
                      </c:pt>
                      <c:pt idx="6533">
                        <c:v>43865</c:v>
                      </c:pt>
                      <c:pt idx="6534">
                        <c:v>43866</c:v>
                      </c:pt>
                      <c:pt idx="6535">
                        <c:v>43867</c:v>
                      </c:pt>
                      <c:pt idx="6536">
                        <c:v>43868</c:v>
                      </c:pt>
                      <c:pt idx="6537">
                        <c:v>43871</c:v>
                      </c:pt>
                      <c:pt idx="6538">
                        <c:v>43872</c:v>
                      </c:pt>
                      <c:pt idx="6539">
                        <c:v>43873</c:v>
                      </c:pt>
                      <c:pt idx="6540">
                        <c:v>43874</c:v>
                      </c:pt>
                      <c:pt idx="6541">
                        <c:v>43875</c:v>
                      </c:pt>
                      <c:pt idx="6542">
                        <c:v>43878</c:v>
                      </c:pt>
                      <c:pt idx="6543">
                        <c:v>43879</c:v>
                      </c:pt>
                      <c:pt idx="6544">
                        <c:v>43880</c:v>
                      </c:pt>
                      <c:pt idx="6545">
                        <c:v>43881</c:v>
                      </c:pt>
                      <c:pt idx="6546">
                        <c:v>43882</c:v>
                      </c:pt>
                      <c:pt idx="6547">
                        <c:v>43885</c:v>
                      </c:pt>
                      <c:pt idx="6548">
                        <c:v>43886</c:v>
                      </c:pt>
                      <c:pt idx="6549">
                        <c:v>43887</c:v>
                      </c:pt>
                      <c:pt idx="6550">
                        <c:v>43888</c:v>
                      </c:pt>
                      <c:pt idx="6551">
                        <c:v>43889</c:v>
                      </c:pt>
                      <c:pt idx="6552">
                        <c:v>43892</c:v>
                      </c:pt>
                      <c:pt idx="6553">
                        <c:v>43893</c:v>
                      </c:pt>
                      <c:pt idx="6554">
                        <c:v>43894</c:v>
                      </c:pt>
                      <c:pt idx="6555">
                        <c:v>43895</c:v>
                      </c:pt>
                      <c:pt idx="6556">
                        <c:v>43896</c:v>
                      </c:pt>
                      <c:pt idx="6557">
                        <c:v>43899</c:v>
                      </c:pt>
                      <c:pt idx="6558">
                        <c:v>43900</c:v>
                      </c:pt>
                      <c:pt idx="6559">
                        <c:v>43901</c:v>
                      </c:pt>
                      <c:pt idx="6560">
                        <c:v>43902</c:v>
                      </c:pt>
                      <c:pt idx="6561">
                        <c:v>43903</c:v>
                      </c:pt>
                      <c:pt idx="6562">
                        <c:v>43906</c:v>
                      </c:pt>
                      <c:pt idx="6563">
                        <c:v>43907</c:v>
                      </c:pt>
                      <c:pt idx="6564">
                        <c:v>43908</c:v>
                      </c:pt>
                      <c:pt idx="6565">
                        <c:v>43909</c:v>
                      </c:pt>
                      <c:pt idx="6566">
                        <c:v>43910</c:v>
                      </c:pt>
                      <c:pt idx="6567">
                        <c:v>43913</c:v>
                      </c:pt>
                      <c:pt idx="6568">
                        <c:v>43914</c:v>
                      </c:pt>
                      <c:pt idx="6569">
                        <c:v>43915</c:v>
                      </c:pt>
                      <c:pt idx="6570">
                        <c:v>43916</c:v>
                      </c:pt>
                      <c:pt idx="6571">
                        <c:v>43917</c:v>
                      </c:pt>
                      <c:pt idx="6572">
                        <c:v>43920</c:v>
                      </c:pt>
                      <c:pt idx="6573">
                        <c:v>43921</c:v>
                      </c:pt>
                      <c:pt idx="6574">
                        <c:v>43922</c:v>
                      </c:pt>
                      <c:pt idx="6575">
                        <c:v>43923</c:v>
                      </c:pt>
                      <c:pt idx="6576">
                        <c:v>43924</c:v>
                      </c:pt>
                      <c:pt idx="6577">
                        <c:v>43927</c:v>
                      </c:pt>
                      <c:pt idx="6578">
                        <c:v>43928</c:v>
                      </c:pt>
                      <c:pt idx="6579">
                        <c:v>43929</c:v>
                      </c:pt>
                      <c:pt idx="6580">
                        <c:v>43930</c:v>
                      </c:pt>
                      <c:pt idx="6581">
                        <c:v>43931</c:v>
                      </c:pt>
                      <c:pt idx="6582">
                        <c:v>43934</c:v>
                      </c:pt>
                      <c:pt idx="6583">
                        <c:v>43935</c:v>
                      </c:pt>
                      <c:pt idx="6584">
                        <c:v>43936</c:v>
                      </c:pt>
                      <c:pt idx="6585">
                        <c:v>43937</c:v>
                      </c:pt>
                      <c:pt idx="6586">
                        <c:v>43938</c:v>
                      </c:pt>
                      <c:pt idx="6587">
                        <c:v>43941</c:v>
                      </c:pt>
                      <c:pt idx="6588">
                        <c:v>43942</c:v>
                      </c:pt>
                      <c:pt idx="6589">
                        <c:v>43943</c:v>
                      </c:pt>
                      <c:pt idx="6590">
                        <c:v>43944</c:v>
                      </c:pt>
                      <c:pt idx="6591">
                        <c:v>43945</c:v>
                      </c:pt>
                      <c:pt idx="6592">
                        <c:v>43948</c:v>
                      </c:pt>
                      <c:pt idx="6593">
                        <c:v>43949</c:v>
                      </c:pt>
                      <c:pt idx="6594">
                        <c:v>43950</c:v>
                      </c:pt>
                      <c:pt idx="6595">
                        <c:v>43951</c:v>
                      </c:pt>
                      <c:pt idx="6596">
                        <c:v>43952</c:v>
                      </c:pt>
                      <c:pt idx="6597">
                        <c:v>43955</c:v>
                      </c:pt>
                      <c:pt idx="6598">
                        <c:v>43956</c:v>
                      </c:pt>
                      <c:pt idx="6599">
                        <c:v>43957</c:v>
                      </c:pt>
                      <c:pt idx="6600">
                        <c:v>43958</c:v>
                      </c:pt>
                      <c:pt idx="6601">
                        <c:v>43959</c:v>
                      </c:pt>
                      <c:pt idx="6602">
                        <c:v>43962</c:v>
                      </c:pt>
                      <c:pt idx="6603">
                        <c:v>43963</c:v>
                      </c:pt>
                      <c:pt idx="6604">
                        <c:v>43964</c:v>
                      </c:pt>
                      <c:pt idx="6605">
                        <c:v>43965</c:v>
                      </c:pt>
                      <c:pt idx="6606">
                        <c:v>43966</c:v>
                      </c:pt>
                      <c:pt idx="6607">
                        <c:v>43969</c:v>
                      </c:pt>
                      <c:pt idx="6608">
                        <c:v>43970</c:v>
                      </c:pt>
                      <c:pt idx="6609">
                        <c:v>43971</c:v>
                      </c:pt>
                      <c:pt idx="6610">
                        <c:v>43972</c:v>
                      </c:pt>
                      <c:pt idx="6611">
                        <c:v>43973</c:v>
                      </c:pt>
                      <c:pt idx="6612">
                        <c:v>43976</c:v>
                      </c:pt>
                      <c:pt idx="6613">
                        <c:v>43977</c:v>
                      </c:pt>
                      <c:pt idx="6614">
                        <c:v>43978</c:v>
                      </c:pt>
                      <c:pt idx="6615">
                        <c:v>43979</c:v>
                      </c:pt>
                      <c:pt idx="6616">
                        <c:v>43980</c:v>
                      </c:pt>
                      <c:pt idx="6617">
                        <c:v>43983</c:v>
                      </c:pt>
                      <c:pt idx="6618">
                        <c:v>43984</c:v>
                      </c:pt>
                      <c:pt idx="6619">
                        <c:v>43985</c:v>
                      </c:pt>
                      <c:pt idx="6620">
                        <c:v>43986</c:v>
                      </c:pt>
                      <c:pt idx="6621">
                        <c:v>43987</c:v>
                      </c:pt>
                      <c:pt idx="6622">
                        <c:v>43990</c:v>
                      </c:pt>
                      <c:pt idx="6623">
                        <c:v>43991</c:v>
                      </c:pt>
                      <c:pt idx="6624">
                        <c:v>43992</c:v>
                      </c:pt>
                      <c:pt idx="6625">
                        <c:v>43993</c:v>
                      </c:pt>
                      <c:pt idx="6626">
                        <c:v>43994</c:v>
                      </c:pt>
                      <c:pt idx="6627">
                        <c:v>43997</c:v>
                      </c:pt>
                      <c:pt idx="6628">
                        <c:v>43998</c:v>
                      </c:pt>
                      <c:pt idx="6629">
                        <c:v>43999</c:v>
                      </c:pt>
                      <c:pt idx="6630">
                        <c:v>44000</c:v>
                      </c:pt>
                      <c:pt idx="6631">
                        <c:v>44001</c:v>
                      </c:pt>
                      <c:pt idx="6632">
                        <c:v>44004</c:v>
                      </c:pt>
                      <c:pt idx="6633">
                        <c:v>44005</c:v>
                      </c:pt>
                      <c:pt idx="6634">
                        <c:v>44006</c:v>
                      </c:pt>
                      <c:pt idx="6635">
                        <c:v>44007</c:v>
                      </c:pt>
                      <c:pt idx="6636">
                        <c:v>44008</c:v>
                      </c:pt>
                      <c:pt idx="6637">
                        <c:v>44011</c:v>
                      </c:pt>
                      <c:pt idx="6638">
                        <c:v>44012</c:v>
                      </c:pt>
                      <c:pt idx="6639">
                        <c:v>44013</c:v>
                      </c:pt>
                      <c:pt idx="6640">
                        <c:v>44014</c:v>
                      </c:pt>
                      <c:pt idx="6641">
                        <c:v>44015</c:v>
                      </c:pt>
                      <c:pt idx="6642">
                        <c:v>44018</c:v>
                      </c:pt>
                      <c:pt idx="6643">
                        <c:v>44019</c:v>
                      </c:pt>
                      <c:pt idx="6644">
                        <c:v>44020</c:v>
                      </c:pt>
                      <c:pt idx="6645">
                        <c:v>44021</c:v>
                      </c:pt>
                      <c:pt idx="6646">
                        <c:v>44022</c:v>
                      </c:pt>
                      <c:pt idx="6647">
                        <c:v>44025</c:v>
                      </c:pt>
                      <c:pt idx="6648">
                        <c:v>44026</c:v>
                      </c:pt>
                      <c:pt idx="6649">
                        <c:v>44027</c:v>
                      </c:pt>
                      <c:pt idx="6650">
                        <c:v>44028</c:v>
                      </c:pt>
                      <c:pt idx="6651">
                        <c:v>44029</c:v>
                      </c:pt>
                      <c:pt idx="6652">
                        <c:v>44032</c:v>
                      </c:pt>
                      <c:pt idx="6653">
                        <c:v>44033</c:v>
                      </c:pt>
                      <c:pt idx="6654">
                        <c:v>44034</c:v>
                      </c:pt>
                      <c:pt idx="6655">
                        <c:v>44035</c:v>
                      </c:pt>
                      <c:pt idx="6656">
                        <c:v>44036</c:v>
                      </c:pt>
                      <c:pt idx="6657">
                        <c:v>44039</c:v>
                      </c:pt>
                      <c:pt idx="6658">
                        <c:v>44040</c:v>
                      </c:pt>
                      <c:pt idx="6659">
                        <c:v>44041</c:v>
                      </c:pt>
                      <c:pt idx="6660">
                        <c:v>44042</c:v>
                      </c:pt>
                      <c:pt idx="6661">
                        <c:v>44043</c:v>
                      </c:pt>
                      <c:pt idx="6662">
                        <c:v>44046</c:v>
                      </c:pt>
                      <c:pt idx="6663">
                        <c:v>44047</c:v>
                      </c:pt>
                      <c:pt idx="6664">
                        <c:v>44048</c:v>
                      </c:pt>
                      <c:pt idx="6665">
                        <c:v>44049</c:v>
                      </c:pt>
                      <c:pt idx="6666">
                        <c:v>44050</c:v>
                      </c:pt>
                      <c:pt idx="6667">
                        <c:v>44053</c:v>
                      </c:pt>
                      <c:pt idx="6668">
                        <c:v>44054</c:v>
                      </c:pt>
                      <c:pt idx="6669">
                        <c:v>44055</c:v>
                      </c:pt>
                      <c:pt idx="6670">
                        <c:v>44056</c:v>
                      </c:pt>
                      <c:pt idx="6671">
                        <c:v>44057</c:v>
                      </c:pt>
                      <c:pt idx="6672">
                        <c:v>44060</c:v>
                      </c:pt>
                      <c:pt idx="6673">
                        <c:v>44061</c:v>
                      </c:pt>
                      <c:pt idx="6674">
                        <c:v>44062</c:v>
                      </c:pt>
                      <c:pt idx="6675">
                        <c:v>44063</c:v>
                      </c:pt>
                      <c:pt idx="6676">
                        <c:v>44064</c:v>
                      </c:pt>
                      <c:pt idx="6677">
                        <c:v>44067</c:v>
                      </c:pt>
                      <c:pt idx="6678">
                        <c:v>44068</c:v>
                      </c:pt>
                      <c:pt idx="6679">
                        <c:v>44069</c:v>
                      </c:pt>
                      <c:pt idx="6680">
                        <c:v>44070</c:v>
                      </c:pt>
                      <c:pt idx="6681">
                        <c:v>44071</c:v>
                      </c:pt>
                      <c:pt idx="6682">
                        <c:v>44074</c:v>
                      </c:pt>
                      <c:pt idx="6683">
                        <c:v>44075</c:v>
                      </c:pt>
                      <c:pt idx="6684">
                        <c:v>44076</c:v>
                      </c:pt>
                      <c:pt idx="6685">
                        <c:v>44077</c:v>
                      </c:pt>
                      <c:pt idx="6686">
                        <c:v>44078</c:v>
                      </c:pt>
                      <c:pt idx="6687">
                        <c:v>44081</c:v>
                      </c:pt>
                      <c:pt idx="6688">
                        <c:v>44082</c:v>
                      </c:pt>
                      <c:pt idx="6689">
                        <c:v>44083</c:v>
                      </c:pt>
                      <c:pt idx="6690">
                        <c:v>44084</c:v>
                      </c:pt>
                      <c:pt idx="6691">
                        <c:v>44085</c:v>
                      </c:pt>
                      <c:pt idx="6692">
                        <c:v>44088</c:v>
                      </c:pt>
                      <c:pt idx="6693">
                        <c:v>44089</c:v>
                      </c:pt>
                      <c:pt idx="6694">
                        <c:v>44090</c:v>
                      </c:pt>
                      <c:pt idx="6695">
                        <c:v>44091</c:v>
                      </c:pt>
                      <c:pt idx="6696">
                        <c:v>44092</c:v>
                      </c:pt>
                      <c:pt idx="6697">
                        <c:v>44095</c:v>
                      </c:pt>
                      <c:pt idx="6698">
                        <c:v>44096</c:v>
                      </c:pt>
                      <c:pt idx="6699">
                        <c:v>44097</c:v>
                      </c:pt>
                      <c:pt idx="6700">
                        <c:v>44098</c:v>
                      </c:pt>
                      <c:pt idx="6701">
                        <c:v>44099</c:v>
                      </c:pt>
                      <c:pt idx="6702">
                        <c:v>44102</c:v>
                      </c:pt>
                      <c:pt idx="6703">
                        <c:v>44103</c:v>
                      </c:pt>
                      <c:pt idx="6704">
                        <c:v>44104</c:v>
                      </c:pt>
                      <c:pt idx="6705">
                        <c:v>44105</c:v>
                      </c:pt>
                      <c:pt idx="6706">
                        <c:v>44106</c:v>
                      </c:pt>
                      <c:pt idx="6707">
                        <c:v>44109</c:v>
                      </c:pt>
                      <c:pt idx="6708">
                        <c:v>44110</c:v>
                      </c:pt>
                      <c:pt idx="6709">
                        <c:v>44111</c:v>
                      </c:pt>
                      <c:pt idx="6710">
                        <c:v>44112</c:v>
                      </c:pt>
                      <c:pt idx="6711">
                        <c:v>44113</c:v>
                      </c:pt>
                      <c:pt idx="6712">
                        <c:v>44116</c:v>
                      </c:pt>
                      <c:pt idx="6713">
                        <c:v>44117</c:v>
                      </c:pt>
                      <c:pt idx="6714">
                        <c:v>44118</c:v>
                      </c:pt>
                      <c:pt idx="6715">
                        <c:v>44119</c:v>
                      </c:pt>
                      <c:pt idx="6716">
                        <c:v>44120</c:v>
                      </c:pt>
                      <c:pt idx="6717">
                        <c:v>44123</c:v>
                      </c:pt>
                      <c:pt idx="6718">
                        <c:v>44124</c:v>
                      </c:pt>
                      <c:pt idx="6719">
                        <c:v>44125</c:v>
                      </c:pt>
                      <c:pt idx="6720">
                        <c:v>44126</c:v>
                      </c:pt>
                      <c:pt idx="6721">
                        <c:v>44127</c:v>
                      </c:pt>
                      <c:pt idx="6722">
                        <c:v>44130</c:v>
                      </c:pt>
                      <c:pt idx="6723">
                        <c:v>44131</c:v>
                      </c:pt>
                      <c:pt idx="6724">
                        <c:v>44132</c:v>
                      </c:pt>
                      <c:pt idx="6725">
                        <c:v>44133</c:v>
                      </c:pt>
                      <c:pt idx="6726">
                        <c:v>44134</c:v>
                      </c:pt>
                      <c:pt idx="6727">
                        <c:v>44137</c:v>
                      </c:pt>
                      <c:pt idx="6728">
                        <c:v>44138</c:v>
                      </c:pt>
                      <c:pt idx="6729">
                        <c:v>44139</c:v>
                      </c:pt>
                      <c:pt idx="6730">
                        <c:v>44140</c:v>
                      </c:pt>
                      <c:pt idx="6731">
                        <c:v>44141</c:v>
                      </c:pt>
                      <c:pt idx="6732">
                        <c:v>44144</c:v>
                      </c:pt>
                      <c:pt idx="6733">
                        <c:v>44145</c:v>
                      </c:pt>
                      <c:pt idx="6734">
                        <c:v>44146</c:v>
                      </c:pt>
                      <c:pt idx="6735">
                        <c:v>44147</c:v>
                      </c:pt>
                      <c:pt idx="6736">
                        <c:v>44148</c:v>
                      </c:pt>
                      <c:pt idx="6737">
                        <c:v>44151</c:v>
                      </c:pt>
                      <c:pt idx="6738">
                        <c:v>44152</c:v>
                      </c:pt>
                      <c:pt idx="6739">
                        <c:v>44153</c:v>
                      </c:pt>
                      <c:pt idx="6740">
                        <c:v>44154</c:v>
                      </c:pt>
                      <c:pt idx="6741">
                        <c:v>44155</c:v>
                      </c:pt>
                      <c:pt idx="6742">
                        <c:v>44158</c:v>
                      </c:pt>
                      <c:pt idx="6743">
                        <c:v>44159</c:v>
                      </c:pt>
                      <c:pt idx="6744">
                        <c:v>44160</c:v>
                      </c:pt>
                      <c:pt idx="6745">
                        <c:v>44161</c:v>
                      </c:pt>
                      <c:pt idx="6746">
                        <c:v>44162</c:v>
                      </c:pt>
                      <c:pt idx="6747">
                        <c:v>44165</c:v>
                      </c:pt>
                      <c:pt idx="6748">
                        <c:v>44166</c:v>
                      </c:pt>
                      <c:pt idx="6749">
                        <c:v>44167</c:v>
                      </c:pt>
                      <c:pt idx="6750">
                        <c:v>44168</c:v>
                      </c:pt>
                      <c:pt idx="6751">
                        <c:v>44169</c:v>
                      </c:pt>
                      <c:pt idx="6752">
                        <c:v>44172</c:v>
                      </c:pt>
                      <c:pt idx="6753">
                        <c:v>44173</c:v>
                      </c:pt>
                      <c:pt idx="6754">
                        <c:v>44174</c:v>
                      </c:pt>
                      <c:pt idx="6755">
                        <c:v>44175</c:v>
                      </c:pt>
                      <c:pt idx="6756">
                        <c:v>44176</c:v>
                      </c:pt>
                      <c:pt idx="6757">
                        <c:v>44179</c:v>
                      </c:pt>
                      <c:pt idx="6758">
                        <c:v>44180</c:v>
                      </c:pt>
                      <c:pt idx="6759">
                        <c:v>44181</c:v>
                      </c:pt>
                      <c:pt idx="6760">
                        <c:v>44182</c:v>
                      </c:pt>
                      <c:pt idx="6761">
                        <c:v>44183</c:v>
                      </c:pt>
                      <c:pt idx="6762">
                        <c:v>44186</c:v>
                      </c:pt>
                      <c:pt idx="6763">
                        <c:v>44187</c:v>
                      </c:pt>
                      <c:pt idx="6764">
                        <c:v>44188</c:v>
                      </c:pt>
                      <c:pt idx="6765">
                        <c:v>44189</c:v>
                      </c:pt>
                      <c:pt idx="6766">
                        <c:v>44190</c:v>
                      </c:pt>
                      <c:pt idx="6767">
                        <c:v>44193</c:v>
                      </c:pt>
                      <c:pt idx="6768">
                        <c:v>44194</c:v>
                      </c:pt>
                      <c:pt idx="6769">
                        <c:v>44195</c:v>
                      </c:pt>
                      <c:pt idx="6770">
                        <c:v>44196</c:v>
                      </c:pt>
                      <c:pt idx="6771">
                        <c:v>44197</c:v>
                      </c:pt>
                      <c:pt idx="6772">
                        <c:v>44200</c:v>
                      </c:pt>
                      <c:pt idx="6773">
                        <c:v>44201</c:v>
                      </c:pt>
                      <c:pt idx="6774">
                        <c:v>44202</c:v>
                      </c:pt>
                      <c:pt idx="6775">
                        <c:v>44203</c:v>
                      </c:pt>
                      <c:pt idx="6776">
                        <c:v>44204</c:v>
                      </c:pt>
                      <c:pt idx="6777">
                        <c:v>44207</c:v>
                      </c:pt>
                      <c:pt idx="6778">
                        <c:v>44208</c:v>
                      </c:pt>
                      <c:pt idx="6779">
                        <c:v>44209</c:v>
                      </c:pt>
                      <c:pt idx="6780">
                        <c:v>44210</c:v>
                      </c:pt>
                      <c:pt idx="6781">
                        <c:v>44211</c:v>
                      </c:pt>
                      <c:pt idx="6782">
                        <c:v>44214</c:v>
                      </c:pt>
                      <c:pt idx="6783">
                        <c:v>44215</c:v>
                      </c:pt>
                      <c:pt idx="6784">
                        <c:v>44216</c:v>
                      </c:pt>
                      <c:pt idx="6785">
                        <c:v>44217</c:v>
                      </c:pt>
                      <c:pt idx="6786">
                        <c:v>44218</c:v>
                      </c:pt>
                      <c:pt idx="6787">
                        <c:v>44221</c:v>
                      </c:pt>
                      <c:pt idx="6788">
                        <c:v>44222</c:v>
                      </c:pt>
                      <c:pt idx="6789">
                        <c:v>44223</c:v>
                      </c:pt>
                      <c:pt idx="6790">
                        <c:v>44224</c:v>
                      </c:pt>
                      <c:pt idx="6791">
                        <c:v>44225</c:v>
                      </c:pt>
                      <c:pt idx="6792">
                        <c:v>44228</c:v>
                      </c:pt>
                      <c:pt idx="6793">
                        <c:v>44229</c:v>
                      </c:pt>
                      <c:pt idx="6794">
                        <c:v>44230</c:v>
                      </c:pt>
                      <c:pt idx="6795">
                        <c:v>44231</c:v>
                      </c:pt>
                      <c:pt idx="6796">
                        <c:v>44232</c:v>
                      </c:pt>
                      <c:pt idx="6797">
                        <c:v>44235</c:v>
                      </c:pt>
                      <c:pt idx="6798">
                        <c:v>44236</c:v>
                      </c:pt>
                      <c:pt idx="6799">
                        <c:v>44237</c:v>
                      </c:pt>
                      <c:pt idx="6800">
                        <c:v>44238</c:v>
                      </c:pt>
                      <c:pt idx="6801">
                        <c:v>44239</c:v>
                      </c:pt>
                      <c:pt idx="6802">
                        <c:v>44242</c:v>
                      </c:pt>
                      <c:pt idx="6803">
                        <c:v>44243</c:v>
                      </c:pt>
                      <c:pt idx="6804">
                        <c:v>44244</c:v>
                      </c:pt>
                      <c:pt idx="6805">
                        <c:v>44245</c:v>
                      </c:pt>
                      <c:pt idx="6806">
                        <c:v>44246</c:v>
                      </c:pt>
                      <c:pt idx="6807">
                        <c:v>44249</c:v>
                      </c:pt>
                      <c:pt idx="6808">
                        <c:v>44250</c:v>
                      </c:pt>
                      <c:pt idx="6809">
                        <c:v>44251</c:v>
                      </c:pt>
                      <c:pt idx="6810">
                        <c:v>44252</c:v>
                      </c:pt>
                      <c:pt idx="6811">
                        <c:v>44253</c:v>
                      </c:pt>
                      <c:pt idx="6812">
                        <c:v>44256</c:v>
                      </c:pt>
                      <c:pt idx="6813">
                        <c:v>44257</c:v>
                      </c:pt>
                      <c:pt idx="6814">
                        <c:v>44258</c:v>
                      </c:pt>
                      <c:pt idx="6815">
                        <c:v>44259</c:v>
                      </c:pt>
                      <c:pt idx="6816">
                        <c:v>44260</c:v>
                      </c:pt>
                      <c:pt idx="6817">
                        <c:v>44263</c:v>
                      </c:pt>
                      <c:pt idx="6818">
                        <c:v>44264</c:v>
                      </c:pt>
                      <c:pt idx="6819">
                        <c:v>44265</c:v>
                      </c:pt>
                      <c:pt idx="6820">
                        <c:v>44266</c:v>
                      </c:pt>
                      <c:pt idx="6821">
                        <c:v>44267</c:v>
                      </c:pt>
                      <c:pt idx="6822">
                        <c:v>44270</c:v>
                      </c:pt>
                      <c:pt idx="6823">
                        <c:v>44271</c:v>
                      </c:pt>
                      <c:pt idx="6824">
                        <c:v>44272</c:v>
                      </c:pt>
                      <c:pt idx="6825">
                        <c:v>44273</c:v>
                      </c:pt>
                      <c:pt idx="6826">
                        <c:v>44274</c:v>
                      </c:pt>
                      <c:pt idx="6827">
                        <c:v>44277</c:v>
                      </c:pt>
                      <c:pt idx="6828">
                        <c:v>44278</c:v>
                      </c:pt>
                      <c:pt idx="6829">
                        <c:v>44279</c:v>
                      </c:pt>
                      <c:pt idx="6830">
                        <c:v>44280</c:v>
                      </c:pt>
                      <c:pt idx="6831">
                        <c:v>44281</c:v>
                      </c:pt>
                      <c:pt idx="6832">
                        <c:v>44284</c:v>
                      </c:pt>
                      <c:pt idx="6833">
                        <c:v>44285</c:v>
                      </c:pt>
                      <c:pt idx="6834">
                        <c:v>44286</c:v>
                      </c:pt>
                      <c:pt idx="6835">
                        <c:v>44287</c:v>
                      </c:pt>
                      <c:pt idx="6836">
                        <c:v>44288</c:v>
                      </c:pt>
                      <c:pt idx="6837">
                        <c:v>44291</c:v>
                      </c:pt>
                      <c:pt idx="6838">
                        <c:v>44292</c:v>
                      </c:pt>
                      <c:pt idx="6839">
                        <c:v>44293</c:v>
                      </c:pt>
                      <c:pt idx="6840">
                        <c:v>44294</c:v>
                      </c:pt>
                      <c:pt idx="6841">
                        <c:v>44295</c:v>
                      </c:pt>
                      <c:pt idx="6842">
                        <c:v>44298</c:v>
                      </c:pt>
                      <c:pt idx="6843">
                        <c:v>44299</c:v>
                      </c:pt>
                      <c:pt idx="6844">
                        <c:v>44300</c:v>
                      </c:pt>
                      <c:pt idx="6845">
                        <c:v>44301</c:v>
                      </c:pt>
                      <c:pt idx="6846">
                        <c:v>44302</c:v>
                      </c:pt>
                      <c:pt idx="6847">
                        <c:v>44305</c:v>
                      </c:pt>
                      <c:pt idx="6848">
                        <c:v>44306</c:v>
                      </c:pt>
                      <c:pt idx="6849">
                        <c:v>44307</c:v>
                      </c:pt>
                      <c:pt idx="6850">
                        <c:v>44308</c:v>
                      </c:pt>
                      <c:pt idx="6851">
                        <c:v>44309</c:v>
                      </c:pt>
                      <c:pt idx="6852">
                        <c:v>44312</c:v>
                      </c:pt>
                      <c:pt idx="6853">
                        <c:v>44313</c:v>
                      </c:pt>
                      <c:pt idx="6854">
                        <c:v>44314</c:v>
                      </c:pt>
                      <c:pt idx="6855">
                        <c:v>44315</c:v>
                      </c:pt>
                      <c:pt idx="6856">
                        <c:v>44316</c:v>
                      </c:pt>
                      <c:pt idx="6857">
                        <c:v>44319</c:v>
                      </c:pt>
                      <c:pt idx="6858">
                        <c:v>44320</c:v>
                      </c:pt>
                      <c:pt idx="6859">
                        <c:v>44321</c:v>
                      </c:pt>
                      <c:pt idx="6860">
                        <c:v>44322</c:v>
                      </c:pt>
                      <c:pt idx="6861">
                        <c:v>44323</c:v>
                      </c:pt>
                      <c:pt idx="6862">
                        <c:v>44326</c:v>
                      </c:pt>
                      <c:pt idx="6863">
                        <c:v>44327</c:v>
                      </c:pt>
                      <c:pt idx="6864">
                        <c:v>44328</c:v>
                      </c:pt>
                      <c:pt idx="6865">
                        <c:v>44329</c:v>
                      </c:pt>
                      <c:pt idx="6866">
                        <c:v>44330</c:v>
                      </c:pt>
                      <c:pt idx="6867">
                        <c:v>44333</c:v>
                      </c:pt>
                      <c:pt idx="6868">
                        <c:v>44334</c:v>
                      </c:pt>
                      <c:pt idx="6869">
                        <c:v>44335</c:v>
                      </c:pt>
                      <c:pt idx="6870">
                        <c:v>44336</c:v>
                      </c:pt>
                      <c:pt idx="6871">
                        <c:v>44337</c:v>
                      </c:pt>
                      <c:pt idx="6872">
                        <c:v>44340</c:v>
                      </c:pt>
                      <c:pt idx="6873">
                        <c:v>44341</c:v>
                      </c:pt>
                      <c:pt idx="6874">
                        <c:v>44342</c:v>
                      </c:pt>
                      <c:pt idx="6875">
                        <c:v>44343</c:v>
                      </c:pt>
                      <c:pt idx="6876">
                        <c:v>44344</c:v>
                      </c:pt>
                      <c:pt idx="6877">
                        <c:v>44347</c:v>
                      </c:pt>
                      <c:pt idx="6878">
                        <c:v>44348</c:v>
                      </c:pt>
                      <c:pt idx="6879">
                        <c:v>44349</c:v>
                      </c:pt>
                      <c:pt idx="6880">
                        <c:v>44350</c:v>
                      </c:pt>
                      <c:pt idx="6881">
                        <c:v>44351</c:v>
                      </c:pt>
                      <c:pt idx="6882">
                        <c:v>44354</c:v>
                      </c:pt>
                      <c:pt idx="6883">
                        <c:v>44355</c:v>
                      </c:pt>
                      <c:pt idx="6884">
                        <c:v>44356</c:v>
                      </c:pt>
                      <c:pt idx="6885">
                        <c:v>44357</c:v>
                      </c:pt>
                      <c:pt idx="6886">
                        <c:v>44358</c:v>
                      </c:pt>
                      <c:pt idx="6887">
                        <c:v>44361</c:v>
                      </c:pt>
                      <c:pt idx="6888">
                        <c:v>44362</c:v>
                      </c:pt>
                      <c:pt idx="6889">
                        <c:v>44363</c:v>
                      </c:pt>
                      <c:pt idx="6890">
                        <c:v>44364</c:v>
                      </c:pt>
                      <c:pt idx="6891">
                        <c:v>44365</c:v>
                      </c:pt>
                      <c:pt idx="6892">
                        <c:v>44368</c:v>
                      </c:pt>
                      <c:pt idx="6893">
                        <c:v>44369</c:v>
                      </c:pt>
                      <c:pt idx="6894">
                        <c:v>44370</c:v>
                      </c:pt>
                      <c:pt idx="6895">
                        <c:v>44371</c:v>
                      </c:pt>
                      <c:pt idx="6896">
                        <c:v>44372</c:v>
                      </c:pt>
                      <c:pt idx="6897">
                        <c:v>44375</c:v>
                      </c:pt>
                      <c:pt idx="6898">
                        <c:v>44376</c:v>
                      </c:pt>
                      <c:pt idx="6899">
                        <c:v>44377</c:v>
                      </c:pt>
                      <c:pt idx="6900">
                        <c:v>44378</c:v>
                      </c:pt>
                      <c:pt idx="6901">
                        <c:v>44379</c:v>
                      </c:pt>
                      <c:pt idx="6902">
                        <c:v>44382</c:v>
                      </c:pt>
                      <c:pt idx="6903">
                        <c:v>44383</c:v>
                      </c:pt>
                      <c:pt idx="6904">
                        <c:v>44384</c:v>
                      </c:pt>
                      <c:pt idx="6905">
                        <c:v>44385</c:v>
                      </c:pt>
                      <c:pt idx="6906">
                        <c:v>44386</c:v>
                      </c:pt>
                      <c:pt idx="6907">
                        <c:v>44389</c:v>
                      </c:pt>
                      <c:pt idx="6908">
                        <c:v>44390</c:v>
                      </c:pt>
                      <c:pt idx="6909">
                        <c:v>44391</c:v>
                      </c:pt>
                      <c:pt idx="6910">
                        <c:v>44392</c:v>
                      </c:pt>
                      <c:pt idx="6911">
                        <c:v>44393</c:v>
                      </c:pt>
                      <c:pt idx="6912">
                        <c:v>44396</c:v>
                      </c:pt>
                      <c:pt idx="6913">
                        <c:v>44397</c:v>
                      </c:pt>
                      <c:pt idx="6914">
                        <c:v>44398</c:v>
                      </c:pt>
                      <c:pt idx="6915">
                        <c:v>44399</c:v>
                      </c:pt>
                      <c:pt idx="6916">
                        <c:v>44400</c:v>
                      </c:pt>
                      <c:pt idx="6917">
                        <c:v>44403</c:v>
                      </c:pt>
                      <c:pt idx="6918">
                        <c:v>44404</c:v>
                      </c:pt>
                      <c:pt idx="6919">
                        <c:v>44405</c:v>
                      </c:pt>
                      <c:pt idx="6920">
                        <c:v>44406</c:v>
                      </c:pt>
                      <c:pt idx="6921">
                        <c:v>44407</c:v>
                      </c:pt>
                      <c:pt idx="6922">
                        <c:v>44410</c:v>
                      </c:pt>
                      <c:pt idx="6923">
                        <c:v>44411</c:v>
                      </c:pt>
                      <c:pt idx="6924">
                        <c:v>44412</c:v>
                      </c:pt>
                      <c:pt idx="6925">
                        <c:v>44413</c:v>
                      </c:pt>
                      <c:pt idx="6926">
                        <c:v>44414</c:v>
                      </c:pt>
                      <c:pt idx="6927">
                        <c:v>44417</c:v>
                      </c:pt>
                      <c:pt idx="6928">
                        <c:v>44418</c:v>
                      </c:pt>
                      <c:pt idx="6929">
                        <c:v>44419</c:v>
                      </c:pt>
                      <c:pt idx="6930">
                        <c:v>44420</c:v>
                      </c:pt>
                      <c:pt idx="6931">
                        <c:v>44421</c:v>
                      </c:pt>
                      <c:pt idx="6932">
                        <c:v>44424</c:v>
                      </c:pt>
                      <c:pt idx="6933">
                        <c:v>44425</c:v>
                      </c:pt>
                      <c:pt idx="6934">
                        <c:v>44426</c:v>
                      </c:pt>
                      <c:pt idx="6935">
                        <c:v>44427</c:v>
                      </c:pt>
                      <c:pt idx="6936">
                        <c:v>44428</c:v>
                      </c:pt>
                      <c:pt idx="6937">
                        <c:v>44431</c:v>
                      </c:pt>
                      <c:pt idx="6938">
                        <c:v>44432</c:v>
                      </c:pt>
                      <c:pt idx="6939">
                        <c:v>44433</c:v>
                      </c:pt>
                      <c:pt idx="6940">
                        <c:v>44434</c:v>
                      </c:pt>
                      <c:pt idx="6941">
                        <c:v>44435</c:v>
                      </c:pt>
                      <c:pt idx="6942">
                        <c:v>44438</c:v>
                      </c:pt>
                      <c:pt idx="6943">
                        <c:v>44439</c:v>
                      </c:pt>
                      <c:pt idx="6944">
                        <c:v>44440</c:v>
                      </c:pt>
                      <c:pt idx="6945">
                        <c:v>44441</c:v>
                      </c:pt>
                      <c:pt idx="6946">
                        <c:v>44442</c:v>
                      </c:pt>
                      <c:pt idx="6947">
                        <c:v>44445</c:v>
                      </c:pt>
                      <c:pt idx="6948">
                        <c:v>44446</c:v>
                      </c:pt>
                      <c:pt idx="6949">
                        <c:v>44447</c:v>
                      </c:pt>
                      <c:pt idx="6950">
                        <c:v>44448</c:v>
                      </c:pt>
                      <c:pt idx="6951">
                        <c:v>44449</c:v>
                      </c:pt>
                      <c:pt idx="6952">
                        <c:v>44452</c:v>
                      </c:pt>
                      <c:pt idx="6953">
                        <c:v>44453</c:v>
                      </c:pt>
                      <c:pt idx="6954">
                        <c:v>44454</c:v>
                      </c:pt>
                      <c:pt idx="6955">
                        <c:v>44455</c:v>
                      </c:pt>
                      <c:pt idx="6956">
                        <c:v>44456</c:v>
                      </c:pt>
                      <c:pt idx="6957">
                        <c:v>44459</c:v>
                      </c:pt>
                      <c:pt idx="6958">
                        <c:v>44460</c:v>
                      </c:pt>
                      <c:pt idx="6959">
                        <c:v>44461</c:v>
                      </c:pt>
                      <c:pt idx="6960">
                        <c:v>44462</c:v>
                      </c:pt>
                      <c:pt idx="6961">
                        <c:v>44463</c:v>
                      </c:pt>
                      <c:pt idx="6962">
                        <c:v>44466</c:v>
                      </c:pt>
                      <c:pt idx="6963">
                        <c:v>44467</c:v>
                      </c:pt>
                      <c:pt idx="6964">
                        <c:v>44468</c:v>
                      </c:pt>
                      <c:pt idx="6965">
                        <c:v>44469</c:v>
                      </c:pt>
                      <c:pt idx="6966">
                        <c:v>44470</c:v>
                      </c:pt>
                      <c:pt idx="6967">
                        <c:v>44473</c:v>
                      </c:pt>
                      <c:pt idx="6968">
                        <c:v>44474</c:v>
                      </c:pt>
                      <c:pt idx="6969">
                        <c:v>44475</c:v>
                      </c:pt>
                      <c:pt idx="6970">
                        <c:v>44476</c:v>
                      </c:pt>
                      <c:pt idx="6971">
                        <c:v>44477</c:v>
                      </c:pt>
                      <c:pt idx="6972">
                        <c:v>44480</c:v>
                      </c:pt>
                      <c:pt idx="6973">
                        <c:v>44481</c:v>
                      </c:pt>
                      <c:pt idx="6974">
                        <c:v>44482</c:v>
                      </c:pt>
                      <c:pt idx="6975">
                        <c:v>44483</c:v>
                      </c:pt>
                      <c:pt idx="6976">
                        <c:v>44484</c:v>
                      </c:pt>
                      <c:pt idx="6977">
                        <c:v>44487</c:v>
                      </c:pt>
                      <c:pt idx="6978">
                        <c:v>44488</c:v>
                      </c:pt>
                      <c:pt idx="6979">
                        <c:v>44489</c:v>
                      </c:pt>
                      <c:pt idx="6980">
                        <c:v>44490</c:v>
                      </c:pt>
                      <c:pt idx="6981">
                        <c:v>44491</c:v>
                      </c:pt>
                      <c:pt idx="6982">
                        <c:v>44494</c:v>
                      </c:pt>
                      <c:pt idx="6983">
                        <c:v>44495</c:v>
                      </c:pt>
                      <c:pt idx="6984">
                        <c:v>44496</c:v>
                      </c:pt>
                      <c:pt idx="6985">
                        <c:v>44497</c:v>
                      </c:pt>
                      <c:pt idx="6986">
                        <c:v>44498</c:v>
                      </c:pt>
                      <c:pt idx="6987">
                        <c:v>44501</c:v>
                      </c:pt>
                      <c:pt idx="6988">
                        <c:v>44502</c:v>
                      </c:pt>
                      <c:pt idx="6989">
                        <c:v>44503</c:v>
                      </c:pt>
                      <c:pt idx="6990">
                        <c:v>44504</c:v>
                      </c:pt>
                      <c:pt idx="6991">
                        <c:v>44505</c:v>
                      </c:pt>
                      <c:pt idx="6992">
                        <c:v>44508</c:v>
                      </c:pt>
                      <c:pt idx="6993">
                        <c:v>44509</c:v>
                      </c:pt>
                      <c:pt idx="6994">
                        <c:v>44510</c:v>
                      </c:pt>
                      <c:pt idx="6995">
                        <c:v>44511</c:v>
                      </c:pt>
                      <c:pt idx="6996">
                        <c:v>44512</c:v>
                      </c:pt>
                      <c:pt idx="6997">
                        <c:v>44515</c:v>
                      </c:pt>
                      <c:pt idx="6998">
                        <c:v>44516</c:v>
                      </c:pt>
                      <c:pt idx="6999">
                        <c:v>44517</c:v>
                      </c:pt>
                      <c:pt idx="7000">
                        <c:v>44518</c:v>
                      </c:pt>
                      <c:pt idx="7001">
                        <c:v>44519</c:v>
                      </c:pt>
                      <c:pt idx="7002">
                        <c:v>44522</c:v>
                      </c:pt>
                      <c:pt idx="7003">
                        <c:v>44523</c:v>
                      </c:pt>
                      <c:pt idx="7004">
                        <c:v>44524</c:v>
                      </c:pt>
                      <c:pt idx="7005">
                        <c:v>44525</c:v>
                      </c:pt>
                      <c:pt idx="7006">
                        <c:v>44526</c:v>
                      </c:pt>
                      <c:pt idx="7007">
                        <c:v>44529</c:v>
                      </c:pt>
                      <c:pt idx="7008">
                        <c:v>44530</c:v>
                      </c:pt>
                      <c:pt idx="7009">
                        <c:v>44531</c:v>
                      </c:pt>
                      <c:pt idx="7010">
                        <c:v>44532</c:v>
                      </c:pt>
                      <c:pt idx="7011">
                        <c:v>44533</c:v>
                      </c:pt>
                      <c:pt idx="7012">
                        <c:v>44536</c:v>
                      </c:pt>
                      <c:pt idx="7013">
                        <c:v>44537</c:v>
                      </c:pt>
                      <c:pt idx="7014">
                        <c:v>44538</c:v>
                      </c:pt>
                      <c:pt idx="7015">
                        <c:v>44539</c:v>
                      </c:pt>
                      <c:pt idx="7016">
                        <c:v>44540</c:v>
                      </c:pt>
                      <c:pt idx="7017">
                        <c:v>44543</c:v>
                      </c:pt>
                      <c:pt idx="7018">
                        <c:v>44544</c:v>
                      </c:pt>
                      <c:pt idx="7019">
                        <c:v>44545</c:v>
                      </c:pt>
                      <c:pt idx="7020">
                        <c:v>44546</c:v>
                      </c:pt>
                      <c:pt idx="7021">
                        <c:v>44547</c:v>
                      </c:pt>
                      <c:pt idx="7022">
                        <c:v>44550</c:v>
                      </c:pt>
                      <c:pt idx="7023">
                        <c:v>44551</c:v>
                      </c:pt>
                      <c:pt idx="7024">
                        <c:v>44552</c:v>
                      </c:pt>
                      <c:pt idx="7025">
                        <c:v>44553</c:v>
                      </c:pt>
                      <c:pt idx="7026">
                        <c:v>44554</c:v>
                      </c:pt>
                      <c:pt idx="7027">
                        <c:v>44557</c:v>
                      </c:pt>
                      <c:pt idx="7028">
                        <c:v>44558</c:v>
                      </c:pt>
                      <c:pt idx="7029">
                        <c:v>44559</c:v>
                      </c:pt>
                      <c:pt idx="7030">
                        <c:v>44560</c:v>
                      </c:pt>
                      <c:pt idx="7031">
                        <c:v>44561</c:v>
                      </c:pt>
                      <c:pt idx="7032">
                        <c:v>44564</c:v>
                      </c:pt>
                      <c:pt idx="7033">
                        <c:v>44565</c:v>
                      </c:pt>
                      <c:pt idx="7034">
                        <c:v>44566</c:v>
                      </c:pt>
                      <c:pt idx="7035">
                        <c:v>44567</c:v>
                      </c:pt>
                      <c:pt idx="7036">
                        <c:v>44568</c:v>
                      </c:pt>
                      <c:pt idx="7037">
                        <c:v>44571</c:v>
                      </c:pt>
                      <c:pt idx="7038">
                        <c:v>44572</c:v>
                      </c:pt>
                      <c:pt idx="7039">
                        <c:v>44573</c:v>
                      </c:pt>
                      <c:pt idx="7040">
                        <c:v>44574</c:v>
                      </c:pt>
                      <c:pt idx="7041">
                        <c:v>44575</c:v>
                      </c:pt>
                      <c:pt idx="7042">
                        <c:v>44578</c:v>
                      </c:pt>
                      <c:pt idx="7043">
                        <c:v>44579</c:v>
                      </c:pt>
                      <c:pt idx="7044">
                        <c:v>44580</c:v>
                      </c:pt>
                      <c:pt idx="7045">
                        <c:v>44581</c:v>
                      </c:pt>
                      <c:pt idx="7046">
                        <c:v>44582</c:v>
                      </c:pt>
                      <c:pt idx="7047">
                        <c:v>44585</c:v>
                      </c:pt>
                      <c:pt idx="7048">
                        <c:v>44586</c:v>
                      </c:pt>
                      <c:pt idx="7049">
                        <c:v>44587</c:v>
                      </c:pt>
                      <c:pt idx="7050">
                        <c:v>44588</c:v>
                      </c:pt>
                      <c:pt idx="7051">
                        <c:v>44589</c:v>
                      </c:pt>
                      <c:pt idx="7052">
                        <c:v>44592</c:v>
                      </c:pt>
                      <c:pt idx="7053">
                        <c:v>44593</c:v>
                      </c:pt>
                      <c:pt idx="7054">
                        <c:v>44594</c:v>
                      </c:pt>
                      <c:pt idx="7055">
                        <c:v>44595</c:v>
                      </c:pt>
                      <c:pt idx="7056">
                        <c:v>44596</c:v>
                      </c:pt>
                      <c:pt idx="7057">
                        <c:v>44599</c:v>
                      </c:pt>
                      <c:pt idx="7058">
                        <c:v>44600</c:v>
                      </c:pt>
                      <c:pt idx="7059">
                        <c:v>44601</c:v>
                      </c:pt>
                      <c:pt idx="7060">
                        <c:v>44602</c:v>
                      </c:pt>
                      <c:pt idx="7061">
                        <c:v>44603</c:v>
                      </c:pt>
                      <c:pt idx="7062">
                        <c:v>44606</c:v>
                      </c:pt>
                      <c:pt idx="7063">
                        <c:v>44607</c:v>
                      </c:pt>
                      <c:pt idx="7064">
                        <c:v>44608</c:v>
                      </c:pt>
                      <c:pt idx="7065">
                        <c:v>44609</c:v>
                      </c:pt>
                      <c:pt idx="7066">
                        <c:v>44610</c:v>
                      </c:pt>
                      <c:pt idx="7067">
                        <c:v>44613</c:v>
                      </c:pt>
                      <c:pt idx="7068">
                        <c:v>44614</c:v>
                      </c:pt>
                      <c:pt idx="7069">
                        <c:v>44615</c:v>
                      </c:pt>
                      <c:pt idx="7070">
                        <c:v>44616</c:v>
                      </c:pt>
                      <c:pt idx="7071">
                        <c:v>44617</c:v>
                      </c:pt>
                      <c:pt idx="7072">
                        <c:v>44620</c:v>
                      </c:pt>
                      <c:pt idx="7073">
                        <c:v>44621</c:v>
                      </c:pt>
                      <c:pt idx="7074">
                        <c:v>44622</c:v>
                      </c:pt>
                      <c:pt idx="7075">
                        <c:v>44623</c:v>
                      </c:pt>
                      <c:pt idx="7076">
                        <c:v>44624</c:v>
                      </c:pt>
                      <c:pt idx="7077">
                        <c:v>44627</c:v>
                      </c:pt>
                      <c:pt idx="7078">
                        <c:v>44628</c:v>
                      </c:pt>
                      <c:pt idx="7079">
                        <c:v>44629</c:v>
                      </c:pt>
                      <c:pt idx="7080">
                        <c:v>44630</c:v>
                      </c:pt>
                      <c:pt idx="7081">
                        <c:v>44631</c:v>
                      </c:pt>
                      <c:pt idx="7082">
                        <c:v>44634</c:v>
                      </c:pt>
                      <c:pt idx="7083">
                        <c:v>44635</c:v>
                      </c:pt>
                      <c:pt idx="7084">
                        <c:v>44636</c:v>
                      </c:pt>
                      <c:pt idx="7085">
                        <c:v>44637</c:v>
                      </c:pt>
                      <c:pt idx="7086">
                        <c:v>44638</c:v>
                      </c:pt>
                      <c:pt idx="7087">
                        <c:v>44641</c:v>
                      </c:pt>
                      <c:pt idx="7088">
                        <c:v>44642</c:v>
                      </c:pt>
                      <c:pt idx="7089">
                        <c:v>44643</c:v>
                      </c:pt>
                      <c:pt idx="7090">
                        <c:v>44644</c:v>
                      </c:pt>
                      <c:pt idx="7091">
                        <c:v>44645</c:v>
                      </c:pt>
                      <c:pt idx="7092">
                        <c:v>44648</c:v>
                      </c:pt>
                      <c:pt idx="7093">
                        <c:v>44649</c:v>
                      </c:pt>
                      <c:pt idx="7094">
                        <c:v>44650</c:v>
                      </c:pt>
                      <c:pt idx="7095">
                        <c:v>44651</c:v>
                      </c:pt>
                      <c:pt idx="7096">
                        <c:v>44652</c:v>
                      </c:pt>
                      <c:pt idx="7097">
                        <c:v>44655</c:v>
                      </c:pt>
                      <c:pt idx="7098">
                        <c:v>44656</c:v>
                      </c:pt>
                      <c:pt idx="7099">
                        <c:v>44657</c:v>
                      </c:pt>
                      <c:pt idx="7100">
                        <c:v>44658</c:v>
                      </c:pt>
                      <c:pt idx="7101">
                        <c:v>44659</c:v>
                      </c:pt>
                      <c:pt idx="7102">
                        <c:v>44662</c:v>
                      </c:pt>
                      <c:pt idx="7103">
                        <c:v>44663</c:v>
                      </c:pt>
                      <c:pt idx="7104">
                        <c:v>44664</c:v>
                      </c:pt>
                      <c:pt idx="7105">
                        <c:v>44665</c:v>
                      </c:pt>
                      <c:pt idx="7106">
                        <c:v>44666</c:v>
                      </c:pt>
                      <c:pt idx="7107">
                        <c:v>44669</c:v>
                      </c:pt>
                      <c:pt idx="7108">
                        <c:v>44670</c:v>
                      </c:pt>
                      <c:pt idx="7109">
                        <c:v>44671</c:v>
                      </c:pt>
                      <c:pt idx="7110">
                        <c:v>44672</c:v>
                      </c:pt>
                      <c:pt idx="7111">
                        <c:v>44673</c:v>
                      </c:pt>
                      <c:pt idx="7112">
                        <c:v>44676</c:v>
                      </c:pt>
                      <c:pt idx="7113">
                        <c:v>44677</c:v>
                      </c:pt>
                      <c:pt idx="7114">
                        <c:v>44678</c:v>
                      </c:pt>
                      <c:pt idx="7115">
                        <c:v>44679</c:v>
                      </c:pt>
                      <c:pt idx="7116">
                        <c:v>44680</c:v>
                      </c:pt>
                      <c:pt idx="7117">
                        <c:v>44683</c:v>
                      </c:pt>
                      <c:pt idx="7118">
                        <c:v>44684</c:v>
                      </c:pt>
                      <c:pt idx="7119">
                        <c:v>44685</c:v>
                      </c:pt>
                      <c:pt idx="7120">
                        <c:v>44686</c:v>
                      </c:pt>
                      <c:pt idx="7121">
                        <c:v>44687</c:v>
                      </c:pt>
                      <c:pt idx="7122">
                        <c:v>44690</c:v>
                      </c:pt>
                      <c:pt idx="7123">
                        <c:v>44691</c:v>
                      </c:pt>
                      <c:pt idx="7124">
                        <c:v>44692</c:v>
                      </c:pt>
                      <c:pt idx="7125">
                        <c:v>44693</c:v>
                      </c:pt>
                      <c:pt idx="7126">
                        <c:v>44694</c:v>
                      </c:pt>
                      <c:pt idx="7127">
                        <c:v>44697</c:v>
                      </c:pt>
                      <c:pt idx="7128">
                        <c:v>44698</c:v>
                      </c:pt>
                      <c:pt idx="7129">
                        <c:v>44699</c:v>
                      </c:pt>
                      <c:pt idx="7130">
                        <c:v>44700</c:v>
                      </c:pt>
                      <c:pt idx="7131">
                        <c:v>44701</c:v>
                      </c:pt>
                      <c:pt idx="7132">
                        <c:v>44704</c:v>
                      </c:pt>
                      <c:pt idx="7133">
                        <c:v>44705</c:v>
                      </c:pt>
                      <c:pt idx="7134">
                        <c:v>44706</c:v>
                      </c:pt>
                      <c:pt idx="7135">
                        <c:v>44707</c:v>
                      </c:pt>
                      <c:pt idx="7136">
                        <c:v>44708</c:v>
                      </c:pt>
                      <c:pt idx="7137">
                        <c:v>44711</c:v>
                      </c:pt>
                      <c:pt idx="7138">
                        <c:v>44712</c:v>
                      </c:pt>
                      <c:pt idx="7139">
                        <c:v>44713</c:v>
                      </c:pt>
                      <c:pt idx="7140">
                        <c:v>44714</c:v>
                      </c:pt>
                      <c:pt idx="7141">
                        <c:v>44715</c:v>
                      </c:pt>
                      <c:pt idx="7142">
                        <c:v>44718</c:v>
                      </c:pt>
                      <c:pt idx="7143">
                        <c:v>44719</c:v>
                      </c:pt>
                      <c:pt idx="7144">
                        <c:v>44720</c:v>
                      </c:pt>
                      <c:pt idx="7145">
                        <c:v>44721</c:v>
                      </c:pt>
                      <c:pt idx="7146">
                        <c:v>44722</c:v>
                      </c:pt>
                      <c:pt idx="7147">
                        <c:v>44725</c:v>
                      </c:pt>
                      <c:pt idx="7148">
                        <c:v>44726</c:v>
                      </c:pt>
                      <c:pt idx="7149">
                        <c:v>44727</c:v>
                      </c:pt>
                      <c:pt idx="7150">
                        <c:v>44728</c:v>
                      </c:pt>
                      <c:pt idx="7151">
                        <c:v>44729</c:v>
                      </c:pt>
                      <c:pt idx="7152">
                        <c:v>44732</c:v>
                      </c:pt>
                      <c:pt idx="7153">
                        <c:v>44733</c:v>
                      </c:pt>
                      <c:pt idx="7154">
                        <c:v>44734</c:v>
                      </c:pt>
                      <c:pt idx="7155">
                        <c:v>44735</c:v>
                      </c:pt>
                      <c:pt idx="7156">
                        <c:v>44736</c:v>
                      </c:pt>
                      <c:pt idx="7157">
                        <c:v>44739</c:v>
                      </c:pt>
                      <c:pt idx="7158">
                        <c:v>44740</c:v>
                      </c:pt>
                      <c:pt idx="7159">
                        <c:v>44741</c:v>
                      </c:pt>
                      <c:pt idx="7160">
                        <c:v>44742</c:v>
                      </c:pt>
                      <c:pt idx="7161">
                        <c:v>44743</c:v>
                      </c:pt>
                      <c:pt idx="7162">
                        <c:v>44746</c:v>
                      </c:pt>
                      <c:pt idx="7163">
                        <c:v>44747</c:v>
                      </c:pt>
                      <c:pt idx="7164">
                        <c:v>44748</c:v>
                      </c:pt>
                      <c:pt idx="7165">
                        <c:v>44749</c:v>
                      </c:pt>
                      <c:pt idx="7166">
                        <c:v>44750</c:v>
                      </c:pt>
                      <c:pt idx="7167">
                        <c:v>44753</c:v>
                      </c:pt>
                      <c:pt idx="7168">
                        <c:v>44754</c:v>
                      </c:pt>
                      <c:pt idx="7169">
                        <c:v>44755</c:v>
                      </c:pt>
                      <c:pt idx="7170">
                        <c:v>44756</c:v>
                      </c:pt>
                      <c:pt idx="7171">
                        <c:v>44757</c:v>
                      </c:pt>
                      <c:pt idx="7172">
                        <c:v>44760</c:v>
                      </c:pt>
                      <c:pt idx="7173">
                        <c:v>44761</c:v>
                      </c:pt>
                      <c:pt idx="7174">
                        <c:v>44762</c:v>
                      </c:pt>
                      <c:pt idx="7175">
                        <c:v>44763</c:v>
                      </c:pt>
                      <c:pt idx="7176">
                        <c:v>44764</c:v>
                      </c:pt>
                      <c:pt idx="7177">
                        <c:v>44767</c:v>
                      </c:pt>
                      <c:pt idx="7178">
                        <c:v>44768</c:v>
                      </c:pt>
                      <c:pt idx="7179">
                        <c:v>44769</c:v>
                      </c:pt>
                      <c:pt idx="7180">
                        <c:v>44770</c:v>
                      </c:pt>
                      <c:pt idx="7181">
                        <c:v>44771</c:v>
                      </c:pt>
                      <c:pt idx="7182">
                        <c:v>44774</c:v>
                      </c:pt>
                      <c:pt idx="7183">
                        <c:v>44775</c:v>
                      </c:pt>
                      <c:pt idx="7184">
                        <c:v>44776</c:v>
                      </c:pt>
                      <c:pt idx="7185">
                        <c:v>44777</c:v>
                      </c:pt>
                      <c:pt idx="7186">
                        <c:v>44778</c:v>
                      </c:pt>
                      <c:pt idx="7187">
                        <c:v>44781</c:v>
                      </c:pt>
                      <c:pt idx="7188">
                        <c:v>44782</c:v>
                      </c:pt>
                      <c:pt idx="7189">
                        <c:v>44783</c:v>
                      </c:pt>
                      <c:pt idx="7190">
                        <c:v>44784</c:v>
                      </c:pt>
                      <c:pt idx="7191">
                        <c:v>44785</c:v>
                      </c:pt>
                      <c:pt idx="7192">
                        <c:v>44788</c:v>
                      </c:pt>
                      <c:pt idx="7193">
                        <c:v>44789</c:v>
                      </c:pt>
                      <c:pt idx="7194">
                        <c:v>44790</c:v>
                      </c:pt>
                      <c:pt idx="7195">
                        <c:v>44791</c:v>
                      </c:pt>
                      <c:pt idx="7196">
                        <c:v>44792</c:v>
                      </c:pt>
                      <c:pt idx="7197">
                        <c:v>44795</c:v>
                      </c:pt>
                      <c:pt idx="7198">
                        <c:v>44796</c:v>
                      </c:pt>
                      <c:pt idx="7199">
                        <c:v>44797</c:v>
                      </c:pt>
                      <c:pt idx="7200">
                        <c:v>44798</c:v>
                      </c:pt>
                      <c:pt idx="7201">
                        <c:v>44799</c:v>
                      </c:pt>
                      <c:pt idx="7202">
                        <c:v>44802</c:v>
                      </c:pt>
                      <c:pt idx="7203">
                        <c:v>44803</c:v>
                      </c:pt>
                      <c:pt idx="7204">
                        <c:v>44804</c:v>
                      </c:pt>
                      <c:pt idx="7205">
                        <c:v>44805</c:v>
                      </c:pt>
                      <c:pt idx="7206">
                        <c:v>44806</c:v>
                      </c:pt>
                      <c:pt idx="7207">
                        <c:v>44809</c:v>
                      </c:pt>
                      <c:pt idx="7208">
                        <c:v>44810</c:v>
                      </c:pt>
                      <c:pt idx="7209">
                        <c:v>44811</c:v>
                      </c:pt>
                      <c:pt idx="7210">
                        <c:v>44812</c:v>
                      </c:pt>
                      <c:pt idx="7211">
                        <c:v>44813</c:v>
                      </c:pt>
                      <c:pt idx="7212">
                        <c:v>44816</c:v>
                      </c:pt>
                      <c:pt idx="7213">
                        <c:v>44817</c:v>
                      </c:pt>
                      <c:pt idx="7214">
                        <c:v>44818</c:v>
                      </c:pt>
                      <c:pt idx="7215">
                        <c:v>44819</c:v>
                      </c:pt>
                      <c:pt idx="7216">
                        <c:v>44820</c:v>
                      </c:pt>
                      <c:pt idx="7217">
                        <c:v>44823</c:v>
                      </c:pt>
                      <c:pt idx="7218">
                        <c:v>44824</c:v>
                      </c:pt>
                      <c:pt idx="7219">
                        <c:v>44825</c:v>
                      </c:pt>
                      <c:pt idx="7220">
                        <c:v>44826</c:v>
                      </c:pt>
                      <c:pt idx="7221">
                        <c:v>44827</c:v>
                      </c:pt>
                      <c:pt idx="7222">
                        <c:v>44830</c:v>
                      </c:pt>
                      <c:pt idx="7223">
                        <c:v>44831</c:v>
                      </c:pt>
                      <c:pt idx="7224">
                        <c:v>44832</c:v>
                      </c:pt>
                      <c:pt idx="7225">
                        <c:v>44833</c:v>
                      </c:pt>
                      <c:pt idx="7226">
                        <c:v>44834</c:v>
                      </c:pt>
                      <c:pt idx="7227">
                        <c:v>44837</c:v>
                      </c:pt>
                      <c:pt idx="7228">
                        <c:v>44838</c:v>
                      </c:pt>
                      <c:pt idx="7229">
                        <c:v>44839</c:v>
                      </c:pt>
                      <c:pt idx="7230">
                        <c:v>44840</c:v>
                      </c:pt>
                      <c:pt idx="7231">
                        <c:v>44841</c:v>
                      </c:pt>
                      <c:pt idx="7232">
                        <c:v>44844</c:v>
                      </c:pt>
                      <c:pt idx="7233">
                        <c:v>44845</c:v>
                      </c:pt>
                      <c:pt idx="7234">
                        <c:v>44846</c:v>
                      </c:pt>
                      <c:pt idx="7235">
                        <c:v>44847</c:v>
                      </c:pt>
                      <c:pt idx="7236">
                        <c:v>44848</c:v>
                      </c:pt>
                      <c:pt idx="7237">
                        <c:v>44851</c:v>
                      </c:pt>
                      <c:pt idx="7238">
                        <c:v>44852</c:v>
                      </c:pt>
                      <c:pt idx="7239">
                        <c:v>44853</c:v>
                      </c:pt>
                      <c:pt idx="7240">
                        <c:v>44854</c:v>
                      </c:pt>
                      <c:pt idx="7241">
                        <c:v>44855</c:v>
                      </c:pt>
                      <c:pt idx="7242">
                        <c:v>44858</c:v>
                      </c:pt>
                      <c:pt idx="7243">
                        <c:v>44859</c:v>
                      </c:pt>
                      <c:pt idx="7244">
                        <c:v>44860</c:v>
                      </c:pt>
                      <c:pt idx="7245">
                        <c:v>44861</c:v>
                      </c:pt>
                      <c:pt idx="7246">
                        <c:v>44862</c:v>
                      </c:pt>
                      <c:pt idx="7247">
                        <c:v>44865</c:v>
                      </c:pt>
                      <c:pt idx="7248">
                        <c:v>44866</c:v>
                      </c:pt>
                      <c:pt idx="7249">
                        <c:v>44867</c:v>
                      </c:pt>
                      <c:pt idx="7250">
                        <c:v>44868</c:v>
                      </c:pt>
                      <c:pt idx="7251">
                        <c:v>44869</c:v>
                      </c:pt>
                      <c:pt idx="7252">
                        <c:v>44872</c:v>
                      </c:pt>
                      <c:pt idx="7253">
                        <c:v>44873</c:v>
                      </c:pt>
                      <c:pt idx="7254">
                        <c:v>44874</c:v>
                      </c:pt>
                      <c:pt idx="7255">
                        <c:v>44875</c:v>
                      </c:pt>
                      <c:pt idx="7256">
                        <c:v>44876</c:v>
                      </c:pt>
                      <c:pt idx="7257">
                        <c:v>44879</c:v>
                      </c:pt>
                      <c:pt idx="7258">
                        <c:v>44880</c:v>
                      </c:pt>
                      <c:pt idx="7259">
                        <c:v>44881</c:v>
                      </c:pt>
                      <c:pt idx="7260">
                        <c:v>44882</c:v>
                      </c:pt>
                      <c:pt idx="7261">
                        <c:v>44883</c:v>
                      </c:pt>
                      <c:pt idx="7262">
                        <c:v>44886</c:v>
                      </c:pt>
                      <c:pt idx="7263">
                        <c:v>44887</c:v>
                      </c:pt>
                      <c:pt idx="7264">
                        <c:v>44888</c:v>
                      </c:pt>
                      <c:pt idx="7265">
                        <c:v>44889</c:v>
                      </c:pt>
                      <c:pt idx="7266">
                        <c:v>44890</c:v>
                      </c:pt>
                      <c:pt idx="7267">
                        <c:v>44893</c:v>
                      </c:pt>
                      <c:pt idx="7268">
                        <c:v>44894</c:v>
                      </c:pt>
                      <c:pt idx="7269">
                        <c:v>44895</c:v>
                      </c:pt>
                      <c:pt idx="7270">
                        <c:v>44896</c:v>
                      </c:pt>
                      <c:pt idx="7271">
                        <c:v>44897</c:v>
                      </c:pt>
                      <c:pt idx="7272">
                        <c:v>44900</c:v>
                      </c:pt>
                      <c:pt idx="7273">
                        <c:v>44901</c:v>
                      </c:pt>
                      <c:pt idx="7274">
                        <c:v>44902</c:v>
                      </c:pt>
                      <c:pt idx="7275">
                        <c:v>44903</c:v>
                      </c:pt>
                      <c:pt idx="7276">
                        <c:v>44904</c:v>
                      </c:pt>
                      <c:pt idx="7277">
                        <c:v>44907</c:v>
                      </c:pt>
                      <c:pt idx="7278">
                        <c:v>44908</c:v>
                      </c:pt>
                      <c:pt idx="7279">
                        <c:v>44909</c:v>
                      </c:pt>
                      <c:pt idx="7280">
                        <c:v>44910</c:v>
                      </c:pt>
                      <c:pt idx="7281">
                        <c:v>44911</c:v>
                      </c:pt>
                      <c:pt idx="7282">
                        <c:v>44914</c:v>
                      </c:pt>
                      <c:pt idx="7283">
                        <c:v>44915</c:v>
                      </c:pt>
                      <c:pt idx="7284">
                        <c:v>44916</c:v>
                      </c:pt>
                      <c:pt idx="7285">
                        <c:v>44917</c:v>
                      </c:pt>
                      <c:pt idx="7286">
                        <c:v>44918</c:v>
                      </c:pt>
                      <c:pt idx="7287">
                        <c:v>44921</c:v>
                      </c:pt>
                      <c:pt idx="7288">
                        <c:v>44922</c:v>
                      </c:pt>
                      <c:pt idx="7289">
                        <c:v>44923</c:v>
                      </c:pt>
                      <c:pt idx="7290">
                        <c:v>44924</c:v>
                      </c:pt>
                      <c:pt idx="7291">
                        <c:v>44925</c:v>
                      </c:pt>
                      <c:pt idx="7292">
                        <c:v>44928</c:v>
                      </c:pt>
                      <c:pt idx="7293">
                        <c:v>44929</c:v>
                      </c:pt>
                      <c:pt idx="7294">
                        <c:v>44930</c:v>
                      </c:pt>
                      <c:pt idx="7295">
                        <c:v>44931</c:v>
                      </c:pt>
                      <c:pt idx="7296">
                        <c:v>44932</c:v>
                      </c:pt>
                      <c:pt idx="7297">
                        <c:v>44935</c:v>
                      </c:pt>
                      <c:pt idx="7298">
                        <c:v>44936</c:v>
                      </c:pt>
                      <c:pt idx="7299">
                        <c:v>44937</c:v>
                      </c:pt>
                      <c:pt idx="7300">
                        <c:v>44938</c:v>
                      </c:pt>
                      <c:pt idx="7301">
                        <c:v>44939</c:v>
                      </c:pt>
                      <c:pt idx="7302">
                        <c:v>44942</c:v>
                      </c:pt>
                      <c:pt idx="7303">
                        <c:v>44943</c:v>
                      </c:pt>
                      <c:pt idx="7304">
                        <c:v>44944</c:v>
                      </c:pt>
                      <c:pt idx="7305">
                        <c:v>44945</c:v>
                      </c:pt>
                      <c:pt idx="7306">
                        <c:v>44946</c:v>
                      </c:pt>
                      <c:pt idx="7307">
                        <c:v>44949</c:v>
                      </c:pt>
                      <c:pt idx="7308">
                        <c:v>44950</c:v>
                      </c:pt>
                      <c:pt idx="7309">
                        <c:v>44951</c:v>
                      </c:pt>
                      <c:pt idx="7310">
                        <c:v>44952</c:v>
                      </c:pt>
                      <c:pt idx="7311">
                        <c:v>44953</c:v>
                      </c:pt>
                      <c:pt idx="7312">
                        <c:v>44956</c:v>
                      </c:pt>
                      <c:pt idx="7313">
                        <c:v>44957</c:v>
                      </c:pt>
                      <c:pt idx="7314">
                        <c:v>44958</c:v>
                      </c:pt>
                      <c:pt idx="7315">
                        <c:v>44959</c:v>
                      </c:pt>
                      <c:pt idx="7316">
                        <c:v>44960</c:v>
                      </c:pt>
                      <c:pt idx="7317">
                        <c:v>44963</c:v>
                      </c:pt>
                      <c:pt idx="7318">
                        <c:v>44964</c:v>
                      </c:pt>
                      <c:pt idx="7319">
                        <c:v>44965</c:v>
                      </c:pt>
                      <c:pt idx="7320">
                        <c:v>44966</c:v>
                      </c:pt>
                      <c:pt idx="7321">
                        <c:v>44967</c:v>
                      </c:pt>
                      <c:pt idx="7322">
                        <c:v>44970</c:v>
                      </c:pt>
                      <c:pt idx="7323">
                        <c:v>44971</c:v>
                      </c:pt>
                      <c:pt idx="7324">
                        <c:v>44972</c:v>
                      </c:pt>
                      <c:pt idx="7325">
                        <c:v>44973</c:v>
                      </c:pt>
                      <c:pt idx="7326">
                        <c:v>44974</c:v>
                      </c:pt>
                      <c:pt idx="7327">
                        <c:v>44977</c:v>
                      </c:pt>
                      <c:pt idx="7328">
                        <c:v>44978</c:v>
                      </c:pt>
                      <c:pt idx="7329">
                        <c:v>44979</c:v>
                      </c:pt>
                      <c:pt idx="7330">
                        <c:v>44980</c:v>
                      </c:pt>
                      <c:pt idx="7331">
                        <c:v>44981</c:v>
                      </c:pt>
                      <c:pt idx="7332">
                        <c:v>44984</c:v>
                      </c:pt>
                      <c:pt idx="7333">
                        <c:v>44985</c:v>
                      </c:pt>
                      <c:pt idx="7334">
                        <c:v>44986</c:v>
                      </c:pt>
                      <c:pt idx="7335">
                        <c:v>44987</c:v>
                      </c:pt>
                      <c:pt idx="7336">
                        <c:v>44988</c:v>
                      </c:pt>
                      <c:pt idx="7337">
                        <c:v>44991</c:v>
                      </c:pt>
                      <c:pt idx="7338">
                        <c:v>44992</c:v>
                      </c:pt>
                      <c:pt idx="7339">
                        <c:v>44993</c:v>
                      </c:pt>
                      <c:pt idx="7340">
                        <c:v>44994</c:v>
                      </c:pt>
                      <c:pt idx="7341">
                        <c:v>44995</c:v>
                      </c:pt>
                      <c:pt idx="7342">
                        <c:v>44998</c:v>
                      </c:pt>
                      <c:pt idx="7343">
                        <c:v>44999</c:v>
                      </c:pt>
                      <c:pt idx="7344">
                        <c:v>45000</c:v>
                      </c:pt>
                      <c:pt idx="7345">
                        <c:v>45001</c:v>
                      </c:pt>
                      <c:pt idx="7346">
                        <c:v>45002</c:v>
                      </c:pt>
                      <c:pt idx="7347">
                        <c:v>45005</c:v>
                      </c:pt>
                      <c:pt idx="7348">
                        <c:v>45006</c:v>
                      </c:pt>
                      <c:pt idx="7349">
                        <c:v>45007</c:v>
                      </c:pt>
                      <c:pt idx="7350">
                        <c:v>45008</c:v>
                      </c:pt>
                      <c:pt idx="7351">
                        <c:v>45009</c:v>
                      </c:pt>
                      <c:pt idx="7352">
                        <c:v>45012</c:v>
                      </c:pt>
                      <c:pt idx="7353">
                        <c:v>45013</c:v>
                      </c:pt>
                      <c:pt idx="7354">
                        <c:v>45014</c:v>
                      </c:pt>
                      <c:pt idx="7355">
                        <c:v>45015</c:v>
                      </c:pt>
                      <c:pt idx="7356">
                        <c:v>45016</c:v>
                      </c:pt>
                      <c:pt idx="7357">
                        <c:v>45019</c:v>
                      </c:pt>
                      <c:pt idx="7358">
                        <c:v>45020</c:v>
                      </c:pt>
                      <c:pt idx="7359">
                        <c:v>45021</c:v>
                      </c:pt>
                      <c:pt idx="7360">
                        <c:v>45022</c:v>
                      </c:pt>
                      <c:pt idx="7361">
                        <c:v>45023</c:v>
                      </c:pt>
                      <c:pt idx="7362">
                        <c:v>45026</c:v>
                      </c:pt>
                      <c:pt idx="7363">
                        <c:v>45027</c:v>
                      </c:pt>
                      <c:pt idx="7364">
                        <c:v>45028</c:v>
                      </c:pt>
                      <c:pt idx="7365">
                        <c:v>45029</c:v>
                      </c:pt>
                      <c:pt idx="7366">
                        <c:v>45030</c:v>
                      </c:pt>
                      <c:pt idx="7367">
                        <c:v>45033</c:v>
                      </c:pt>
                      <c:pt idx="7368">
                        <c:v>45034</c:v>
                      </c:pt>
                      <c:pt idx="7369">
                        <c:v>45035</c:v>
                      </c:pt>
                      <c:pt idx="7370">
                        <c:v>45036</c:v>
                      </c:pt>
                      <c:pt idx="7371">
                        <c:v>45037</c:v>
                      </c:pt>
                      <c:pt idx="7372">
                        <c:v>45040</c:v>
                      </c:pt>
                      <c:pt idx="7373">
                        <c:v>45041</c:v>
                      </c:pt>
                      <c:pt idx="7374">
                        <c:v>45042</c:v>
                      </c:pt>
                      <c:pt idx="7375">
                        <c:v>45043</c:v>
                      </c:pt>
                      <c:pt idx="7376">
                        <c:v>45044</c:v>
                      </c:pt>
                      <c:pt idx="7377">
                        <c:v>45047</c:v>
                      </c:pt>
                      <c:pt idx="7378">
                        <c:v>45048</c:v>
                      </c:pt>
                      <c:pt idx="7379">
                        <c:v>45049</c:v>
                      </c:pt>
                      <c:pt idx="7380">
                        <c:v>45050</c:v>
                      </c:pt>
                      <c:pt idx="7381">
                        <c:v>45051</c:v>
                      </c:pt>
                      <c:pt idx="7382">
                        <c:v>45054</c:v>
                      </c:pt>
                      <c:pt idx="7383">
                        <c:v>45055</c:v>
                      </c:pt>
                      <c:pt idx="7384">
                        <c:v>45056</c:v>
                      </c:pt>
                      <c:pt idx="7385">
                        <c:v>45057</c:v>
                      </c:pt>
                      <c:pt idx="7386">
                        <c:v>45058</c:v>
                      </c:pt>
                      <c:pt idx="7387">
                        <c:v>45061</c:v>
                      </c:pt>
                      <c:pt idx="7388">
                        <c:v>45062</c:v>
                      </c:pt>
                      <c:pt idx="7389">
                        <c:v>45063</c:v>
                      </c:pt>
                      <c:pt idx="7390">
                        <c:v>45064</c:v>
                      </c:pt>
                      <c:pt idx="7391">
                        <c:v>45065</c:v>
                      </c:pt>
                      <c:pt idx="7392">
                        <c:v>45068</c:v>
                      </c:pt>
                      <c:pt idx="7393">
                        <c:v>45069</c:v>
                      </c:pt>
                      <c:pt idx="7394">
                        <c:v>45070</c:v>
                      </c:pt>
                      <c:pt idx="7395">
                        <c:v>45071</c:v>
                      </c:pt>
                      <c:pt idx="7396">
                        <c:v>45072</c:v>
                      </c:pt>
                      <c:pt idx="7397">
                        <c:v>45075</c:v>
                      </c:pt>
                      <c:pt idx="7398">
                        <c:v>45076</c:v>
                      </c:pt>
                      <c:pt idx="7399">
                        <c:v>45077</c:v>
                      </c:pt>
                      <c:pt idx="7400">
                        <c:v>45078</c:v>
                      </c:pt>
                      <c:pt idx="7401">
                        <c:v>45079</c:v>
                      </c:pt>
                      <c:pt idx="7402">
                        <c:v>45082</c:v>
                      </c:pt>
                      <c:pt idx="7403">
                        <c:v>45083</c:v>
                      </c:pt>
                      <c:pt idx="7404">
                        <c:v>45084</c:v>
                      </c:pt>
                      <c:pt idx="7405">
                        <c:v>45085</c:v>
                      </c:pt>
                      <c:pt idx="7406">
                        <c:v>45086</c:v>
                      </c:pt>
                      <c:pt idx="7407">
                        <c:v>45089</c:v>
                      </c:pt>
                      <c:pt idx="7408">
                        <c:v>45090</c:v>
                      </c:pt>
                      <c:pt idx="7409">
                        <c:v>45091</c:v>
                      </c:pt>
                      <c:pt idx="7410">
                        <c:v>45092</c:v>
                      </c:pt>
                      <c:pt idx="7411">
                        <c:v>45093</c:v>
                      </c:pt>
                      <c:pt idx="7412">
                        <c:v>45096</c:v>
                      </c:pt>
                      <c:pt idx="7413">
                        <c:v>45097</c:v>
                      </c:pt>
                      <c:pt idx="7414">
                        <c:v>45098</c:v>
                      </c:pt>
                      <c:pt idx="7415">
                        <c:v>45099</c:v>
                      </c:pt>
                      <c:pt idx="7416">
                        <c:v>45100</c:v>
                      </c:pt>
                      <c:pt idx="7417">
                        <c:v>45103</c:v>
                      </c:pt>
                      <c:pt idx="7418">
                        <c:v>45104</c:v>
                      </c:pt>
                      <c:pt idx="7419">
                        <c:v>45105</c:v>
                      </c:pt>
                      <c:pt idx="7420">
                        <c:v>45106</c:v>
                      </c:pt>
                      <c:pt idx="7421">
                        <c:v>45107</c:v>
                      </c:pt>
                      <c:pt idx="7422">
                        <c:v>45110</c:v>
                      </c:pt>
                      <c:pt idx="7423">
                        <c:v>45111</c:v>
                      </c:pt>
                      <c:pt idx="7424">
                        <c:v>45112</c:v>
                      </c:pt>
                      <c:pt idx="7425">
                        <c:v>45113</c:v>
                      </c:pt>
                      <c:pt idx="7426">
                        <c:v>45114</c:v>
                      </c:pt>
                      <c:pt idx="7427">
                        <c:v>45117</c:v>
                      </c:pt>
                      <c:pt idx="7428">
                        <c:v>45118</c:v>
                      </c:pt>
                      <c:pt idx="7429">
                        <c:v>45119</c:v>
                      </c:pt>
                      <c:pt idx="7430">
                        <c:v>45120</c:v>
                      </c:pt>
                      <c:pt idx="7431">
                        <c:v>45121</c:v>
                      </c:pt>
                      <c:pt idx="7432">
                        <c:v>45124</c:v>
                      </c:pt>
                      <c:pt idx="7433">
                        <c:v>45125</c:v>
                      </c:pt>
                      <c:pt idx="7434">
                        <c:v>45126</c:v>
                      </c:pt>
                      <c:pt idx="7435">
                        <c:v>45127</c:v>
                      </c:pt>
                      <c:pt idx="7436">
                        <c:v>45128</c:v>
                      </c:pt>
                      <c:pt idx="7437">
                        <c:v>45131</c:v>
                      </c:pt>
                      <c:pt idx="7438">
                        <c:v>45132</c:v>
                      </c:pt>
                      <c:pt idx="7439">
                        <c:v>45133</c:v>
                      </c:pt>
                      <c:pt idx="7440">
                        <c:v>45134</c:v>
                      </c:pt>
                      <c:pt idx="7441">
                        <c:v>45135</c:v>
                      </c:pt>
                      <c:pt idx="7442">
                        <c:v>45138</c:v>
                      </c:pt>
                      <c:pt idx="7443">
                        <c:v>45139</c:v>
                      </c:pt>
                      <c:pt idx="7444">
                        <c:v>45140</c:v>
                      </c:pt>
                      <c:pt idx="7445">
                        <c:v>45141</c:v>
                      </c:pt>
                      <c:pt idx="7446">
                        <c:v>45142</c:v>
                      </c:pt>
                      <c:pt idx="7447">
                        <c:v>45145</c:v>
                      </c:pt>
                      <c:pt idx="7448">
                        <c:v>45146</c:v>
                      </c:pt>
                      <c:pt idx="7449">
                        <c:v>45147</c:v>
                      </c:pt>
                      <c:pt idx="7450">
                        <c:v>45148</c:v>
                      </c:pt>
                      <c:pt idx="7451">
                        <c:v>45149</c:v>
                      </c:pt>
                      <c:pt idx="7452">
                        <c:v>45152</c:v>
                      </c:pt>
                      <c:pt idx="7453">
                        <c:v>45153</c:v>
                      </c:pt>
                      <c:pt idx="7454">
                        <c:v>45154</c:v>
                      </c:pt>
                      <c:pt idx="7455">
                        <c:v>45155</c:v>
                      </c:pt>
                      <c:pt idx="7456">
                        <c:v>45156</c:v>
                      </c:pt>
                      <c:pt idx="7457">
                        <c:v>45159</c:v>
                      </c:pt>
                      <c:pt idx="7458">
                        <c:v>45160</c:v>
                      </c:pt>
                      <c:pt idx="7459">
                        <c:v>45161</c:v>
                      </c:pt>
                      <c:pt idx="7460">
                        <c:v>45162</c:v>
                      </c:pt>
                      <c:pt idx="7461">
                        <c:v>45163</c:v>
                      </c:pt>
                      <c:pt idx="7462">
                        <c:v>45166</c:v>
                      </c:pt>
                      <c:pt idx="7463">
                        <c:v>45167</c:v>
                      </c:pt>
                      <c:pt idx="7464">
                        <c:v>45168</c:v>
                      </c:pt>
                      <c:pt idx="7465">
                        <c:v>45169</c:v>
                      </c:pt>
                      <c:pt idx="7466">
                        <c:v>45170</c:v>
                      </c:pt>
                      <c:pt idx="7467">
                        <c:v>45173</c:v>
                      </c:pt>
                      <c:pt idx="7468">
                        <c:v>45174</c:v>
                      </c:pt>
                      <c:pt idx="7469">
                        <c:v>45175</c:v>
                      </c:pt>
                      <c:pt idx="7470">
                        <c:v>45176</c:v>
                      </c:pt>
                      <c:pt idx="7471">
                        <c:v>45177</c:v>
                      </c:pt>
                      <c:pt idx="7472">
                        <c:v>45180</c:v>
                      </c:pt>
                      <c:pt idx="7473">
                        <c:v>45181</c:v>
                      </c:pt>
                      <c:pt idx="7474">
                        <c:v>45182</c:v>
                      </c:pt>
                      <c:pt idx="7475">
                        <c:v>45183</c:v>
                      </c:pt>
                      <c:pt idx="7476">
                        <c:v>45184</c:v>
                      </c:pt>
                      <c:pt idx="7477">
                        <c:v>45187</c:v>
                      </c:pt>
                      <c:pt idx="7478">
                        <c:v>45188</c:v>
                      </c:pt>
                      <c:pt idx="7479">
                        <c:v>45189</c:v>
                      </c:pt>
                      <c:pt idx="7480">
                        <c:v>45190</c:v>
                      </c:pt>
                      <c:pt idx="7481">
                        <c:v>45191</c:v>
                      </c:pt>
                      <c:pt idx="7482">
                        <c:v>45194</c:v>
                      </c:pt>
                      <c:pt idx="7483">
                        <c:v>45195</c:v>
                      </c:pt>
                      <c:pt idx="7484">
                        <c:v>45196</c:v>
                      </c:pt>
                      <c:pt idx="7485">
                        <c:v>45197</c:v>
                      </c:pt>
                      <c:pt idx="7486">
                        <c:v>45198</c:v>
                      </c:pt>
                      <c:pt idx="7487">
                        <c:v>45201</c:v>
                      </c:pt>
                      <c:pt idx="7488">
                        <c:v>45202</c:v>
                      </c:pt>
                      <c:pt idx="7489">
                        <c:v>45203</c:v>
                      </c:pt>
                      <c:pt idx="7490">
                        <c:v>45204</c:v>
                      </c:pt>
                      <c:pt idx="7491">
                        <c:v>45205</c:v>
                      </c:pt>
                      <c:pt idx="7492">
                        <c:v>45208</c:v>
                      </c:pt>
                      <c:pt idx="7493">
                        <c:v>45209</c:v>
                      </c:pt>
                      <c:pt idx="7494">
                        <c:v>45210</c:v>
                      </c:pt>
                      <c:pt idx="7495">
                        <c:v>45211</c:v>
                      </c:pt>
                      <c:pt idx="7496">
                        <c:v>45212</c:v>
                      </c:pt>
                      <c:pt idx="7497">
                        <c:v>45215</c:v>
                      </c:pt>
                      <c:pt idx="7498">
                        <c:v>45216</c:v>
                      </c:pt>
                      <c:pt idx="7499">
                        <c:v>45217</c:v>
                      </c:pt>
                      <c:pt idx="7500">
                        <c:v>45218</c:v>
                      </c:pt>
                      <c:pt idx="7501">
                        <c:v>45219</c:v>
                      </c:pt>
                      <c:pt idx="7502">
                        <c:v>45222</c:v>
                      </c:pt>
                      <c:pt idx="7503">
                        <c:v>45223</c:v>
                      </c:pt>
                      <c:pt idx="7504">
                        <c:v>45224</c:v>
                      </c:pt>
                      <c:pt idx="7505">
                        <c:v>45225</c:v>
                      </c:pt>
                      <c:pt idx="7506">
                        <c:v>45226</c:v>
                      </c:pt>
                      <c:pt idx="7507">
                        <c:v>45229</c:v>
                      </c:pt>
                      <c:pt idx="7508">
                        <c:v>45230</c:v>
                      </c:pt>
                      <c:pt idx="7509">
                        <c:v>45231</c:v>
                      </c:pt>
                      <c:pt idx="7510">
                        <c:v>45232</c:v>
                      </c:pt>
                      <c:pt idx="7511">
                        <c:v>45233</c:v>
                      </c:pt>
                      <c:pt idx="7512">
                        <c:v>45236</c:v>
                      </c:pt>
                      <c:pt idx="7513">
                        <c:v>45237</c:v>
                      </c:pt>
                      <c:pt idx="7514">
                        <c:v>45238</c:v>
                      </c:pt>
                      <c:pt idx="7515">
                        <c:v>45239</c:v>
                      </c:pt>
                      <c:pt idx="7516">
                        <c:v>45240</c:v>
                      </c:pt>
                      <c:pt idx="7517">
                        <c:v>45243</c:v>
                      </c:pt>
                      <c:pt idx="7518">
                        <c:v>45244</c:v>
                      </c:pt>
                      <c:pt idx="7519">
                        <c:v>45245</c:v>
                      </c:pt>
                      <c:pt idx="7520">
                        <c:v>45246</c:v>
                      </c:pt>
                      <c:pt idx="7521">
                        <c:v>45247</c:v>
                      </c:pt>
                      <c:pt idx="7522">
                        <c:v>45250</c:v>
                      </c:pt>
                      <c:pt idx="7523">
                        <c:v>45251</c:v>
                      </c:pt>
                      <c:pt idx="7524">
                        <c:v>45252</c:v>
                      </c:pt>
                      <c:pt idx="7525">
                        <c:v>45253</c:v>
                      </c:pt>
                      <c:pt idx="7526">
                        <c:v>45254</c:v>
                      </c:pt>
                      <c:pt idx="7527">
                        <c:v>45257</c:v>
                      </c:pt>
                      <c:pt idx="7528">
                        <c:v>45258</c:v>
                      </c:pt>
                      <c:pt idx="7529">
                        <c:v>45259</c:v>
                      </c:pt>
                      <c:pt idx="7530">
                        <c:v>45260</c:v>
                      </c:pt>
                      <c:pt idx="7531">
                        <c:v>45261</c:v>
                      </c:pt>
                      <c:pt idx="7532">
                        <c:v>45264</c:v>
                      </c:pt>
                      <c:pt idx="7533">
                        <c:v>45265</c:v>
                      </c:pt>
                      <c:pt idx="7534">
                        <c:v>45266</c:v>
                      </c:pt>
                      <c:pt idx="7535">
                        <c:v>45267</c:v>
                      </c:pt>
                      <c:pt idx="7536">
                        <c:v>45268</c:v>
                      </c:pt>
                      <c:pt idx="7537">
                        <c:v>45271</c:v>
                      </c:pt>
                      <c:pt idx="7538">
                        <c:v>45272</c:v>
                      </c:pt>
                      <c:pt idx="7539">
                        <c:v>45273</c:v>
                      </c:pt>
                      <c:pt idx="7540">
                        <c:v>45274</c:v>
                      </c:pt>
                      <c:pt idx="7541">
                        <c:v>45275</c:v>
                      </c:pt>
                      <c:pt idx="7542">
                        <c:v>45278</c:v>
                      </c:pt>
                      <c:pt idx="7543">
                        <c:v>45279</c:v>
                      </c:pt>
                      <c:pt idx="7544">
                        <c:v>45280</c:v>
                      </c:pt>
                      <c:pt idx="7545">
                        <c:v>45281</c:v>
                      </c:pt>
                      <c:pt idx="7546">
                        <c:v>45282</c:v>
                      </c:pt>
                      <c:pt idx="7547">
                        <c:v>45285</c:v>
                      </c:pt>
                      <c:pt idx="7548">
                        <c:v>45286</c:v>
                      </c:pt>
                      <c:pt idx="7549">
                        <c:v>45287</c:v>
                      </c:pt>
                      <c:pt idx="7550">
                        <c:v>45288</c:v>
                      </c:pt>
                      <c:pt idx="7551">
                        <c:v>45289</c:v>
                      </c:pt>
                      <c:pt idx="7552">
                        <c:v>45292</c:v>
                      </c:pt>
                      <c:pt idx="7553">
                        <c:v>45293</c:v>
                      </c:pt>
                      <c:pt idx="7554">
                        <c:v>45294</c:v>
                      </c:pt>
                      <c:pt idx="7555">
                        <c:v>45295</c:v>
                      </c:pt>
                      <c:pt idx="7556">
                        <c:v>45296</c:v>
                      </c:pt>
                      <c:pt idx="7557">
                        <c:v>45299</c:v>
                      </c:pt>
                      <c:pt idx="7558">
                        <c:v>45300</c:v>
                      </c:pt>
                      <c:pt idx="7559">
                        <c:v>45301</c:v>
                      </c:pt>
                      <c:pt idx="7560">
                        <c:v>45302</c:v>
                      </c:pt>
                      <c:pt idx="7561">
                        <c:v>45303</c:v>
                      </c:pt>
                      <c:pt idx="7562">
                        <c:v>45306</c:v>
                      </c:pt>
                      <c:pt idx="7563">
                        <c:v>45307</c:v>
                      </c:pt>
                      <c:pt idx="7564">
                        <c:v>45308</c:v>
                      </c:pt>
                      <c:pt idx="7565">
                        <c:v>45309</c:v>
                      </c:pt>
                      <c:pt idx="7566">
                        <c:v>45310</c:v>
                      </c:pt>
                      <c:pt idx="7567">
                        <c:v>45313</c:v>
                      </c:pt>
                      <c:pt idx="7568">
                        <c:v>45314</c:v>
                      </c:pt>
                      <c:pt idx="7569">
                        <c:v>45315</c:v>
                      </c:pt>
                      <c:pt idx="7570">
                        <c:v>45316</c:v>
                      </c:pt>
                      <c:pt idx="7571">
                        <c:v>45317</c:v>
                      </c:pt>
                      <c:pt idx="7572">
                        <c:v>45320</c:v>
                      </c:pt>
                      <c:pt idx="7573">
                        <c:v>45321</c:v>
                      </c:pt>
                      <c:pt idx="7574">
                        <c:v>45322</c:v>
                      </c:pt>
                      <c:pt idx="7575">
                        <c:v>45323</c:v>
                      </c:pt>
                      <c:pt idx="7576">
                        <c:v>45324</c:v>
                      </c:pt>
                      <c:pt idx="7577">
                        <c:v>45327</c:v>
                      </c:pt>
                      <c:pt idx="7578">
                        <c:v>45328</c:v>
                      </c:pt>
                      <c:pt idx="7579">
                        <c:v>45329</c:v>
                      </c:pt>
                      <c:pt idx="7580">
                        <c:v>45330</c:v>
                      </c:pt>
                      <c:pt idx="7581">
                        <c:v>45331</c:v>
                      </c:pt>
                      <c:pt idx="7582">
                        <c:v>45334</c:v>
                      </c:pt>
                      <c:pt idx="7583">
                        <c:v>45335</c:v>
                      </c:pt>
                      <c:pt idx="7584">
                        <c:v>45336</c:v>
                      </c:pt>
                      <c:pt idx="7585">
                        <c:v>45337</c:v>
                      </c:pt>
                      <c:pt idx="7586">
                        <c:v>45338</c:v>
                      </c:pt>
                      <c:pt idx="7587">
                        <c:v>45341</c:v>
                      </c:pt>
                      <c:pt idx="7588">
                        <c:v>45342</c:v>
                      </c:pt>
                      <c:pt idx="7589">
                        <c:v>45343</c:v>
                      </c:pt>
                      <c:pt idx="7590">
                        <c:v>45344</c:v>
                      </c:pt>
                      <c:pt idx="7591">
                        <c:v>45345</c:v>
                      </c:pt>
                      <c:pt idx="7592">
                        <c:v>45348</c:v>
                      </c:pt>
                      <c:pt idx="7593">
                        <c:v>45349</c:v>
                      </c:pt>
                      <c:pt idx="7594">
                        <c:v>45350</c:v>
                      </c:pt>
                      <c:pt idx="7595">
                        <c:v>45351</c:v>
                      </c:pt>
                      <c:pt idx="7596">
                        <c:v>45352</c:v>
                      </c:pt>
                      <c:pt idx="7597">
                        <c:v>45355</c:v>
                      </c:pt>
                      <c:pt idx="7598">
                        <c:v>45356</c:v>
                      </c:pt>
                      <c:pt idx="7599">
                        <c:v>45357</c:v>
                      </c:pt>
                      <c:pt idx="7600">
                        <c:v>45358</c:v>
                      </c:pt>
                      <c:pt idx="7601">
                        <c:v>45359</c:v>
                      </c:pt>
                      <c:pt idx="7602">
                        <c:v>45362</c:v>
                      </c:pt>
                      <c:pt idx="7603">
                        <c:v>45363</c:v>
                      </c:pt>
                      <c:pt idx="7604">
                        <c:v>45364</c:v>
                      </c:pt>
                      <c:pt idx="7605">
                        <c:v>45365</c:v>
                      </c:pt>
                      <c:pt idx="7606">
                        <c:v>45366</c:v>
                      </c:pt>
                      <c:pt idx="7607">
                        <c:v>45369</c:v>
                      </c:pt>
                      <c:pt idx="7608">
                        <c:v>45370</c:v>
                      </c:pt>
                      <c:pt idx="7609">
                        <c:v>45371</c:v>
                      </c:pt>
                      <c:pt idx="7610">
                        <c:v>45372</c:v>
                      </c:pt>
                      <c:pt idx="7611">
                        <c:v>45373</c:v>
                      </c:pt>
                      <c:pt idx="7612">
                        <c:v>45376</c:v>
                      </c:pt>
                      <c:pt idx="7613">
                        <c:v>45377</c:v>
                      </c:pt>
                      <c:pt idx="7614">
                        <c:v>45378</c:v>
                      </c:pt>
                      <c:pt idx="7615">
                        <c:v>45379</c:v>
                      </c:pt>
                      <c:pt idx="7616">
                        <c:v>45380</c:v>
                      </c:pt>
                      <c:pt idx="7617">
                        <c:v>45383</c:v>
                      </c:pt>
                      <c:pt idx="7618">
                        <c:v>45384</c:v>
                      </c:pt>
                      <c:pt idx="7619">
                        <c:v>45385</c:v>
                      </c:pt>
                      <c:pt idx="7620">
                        <c:v>45386</c:v>
                      </c:pt>
                      <c:pt idx="7621">
                        <c:v>45387</c:v>
                      </c:pt>
                      <c:pt idx="7622">
                        <c:v>45390</c:v>
                      </c:pt>
                      <c:pt idx="7623">
                        <c:v>45391</c:v>
                      </c:pt>
                      <c:pt idx="7624">
                        <c:v>45392</c:v>
                      </c:pt>
                      <c:pt idx="7625">
                        <c:v>45393</c:v>
                      </c:pt>
                      <c:pt idx="7626">
                        <c:v>45394</c:v>
                      </c:pt>
                      <c:pt idx="7627">
                        <c:v>45397</c:v>
                      </c:pt>
                      <c:pt idx="7628">
                        <c:v>45398</c:v>
                      </c:pt>
                      <c:pt idx="7629">
                        <c:v>45399</c:v>
                      </c:pt>
                      <c:pt idx="7630">
                        <c:v>45400</c:v>
                      </c:pt>
                      <c:pt idx="7631">
                        <c:v>45401</c:v>
                      </c:pt>
                      <c:pt idx="7632">
                        <c:v>45404</c:v>
                      </c:pt>
                      <c:pt idx="7633">
                        <c:v>45405</c:v>
                      </c:pt>
                      <c:pt idx="7634">
                        <c:v>45406</c:v>
                      </c:pt>
                      <c:pt idx="7635">
                        <c:v>45407</c:v>
                      </c:pt>
                      <c:pt idx="7636">
                        <c:v>45408</c:v>
                      </c:pt>
                      <c:pt idx="7637">
                        <c:v>45411</c:v>
                      </c:pt>
                      <c:pt idx="7638">
                        <c:v>45412</c:v>
                      </c:pt>
                      <c:pt idx="7639">
                        <c:v>45413</c:v>
                      </c:pt>
                      <c:pt idx="7640">
                        <c:v>45414</c:v>
                      </c:pt>
                      <c:pt idx="7641">
                        <c:v>45415</c:v>
                      </c:pt>
                      <c:pt idx="7642">
                        <c:v>45418</c:v>
                      </c:pt>
                      <c:pt idx="7643">
                        <c:v>45419</c:v>
                      </c:pt>
                      <c:pt idx="7644">
                        <c:v>45420</c:v>
                      </c:pt>
                      <c:pt idx="7645">
                        <c:v>45421</c:v>
                      </c:pt>
                      <c:pt idx="7646">
                        <c:v>45422</c:v>
                      </c:pt>
                      <c:pt idx="7647">
                        <c:v>45425</c:v>
                      </c:pt>
                      <c:pt idx="7648">
                        <c:v>45426</c:v>
                      </c:pt>
                      <c:pt idx="7649">
                        <c:v>45427</c:v>
                      </c:pt>
                      <c:pt idx="7650">
                        <c:v>45428</c:v>
                      </c:pt>
                      <c:pt idx="7651">
                        <c:v>45429</c:v>
                      </c:pt>
                      <c:pt idx="7652">
                        <c:v>45432</c:v>
                      </c:pt>
                      <c:pt idx="7653">
                        <c:v>45433</c:v>
                      </c:pt>
                      <c:pt idx="7654">
                        <c:v>45434</c:v>
                      </c:pt>
                      <c:pt idx="7655">
                        <c:v>45435</c:v>
                      </c:pt>
                      <c:pt idx="7656">
                        <c:v>45436</c:v>
                      </c:pt>
                      <c:pt idx="7657">
                        <c:v>45439</c:v>
                      </c:pt>
                      <c:pt idx="7658">
                        <c:v>45440</c:v>
                      </c:pt>
                      <c:pt idx="7659">
                        <c:v>45441</c:v>
                      </c:pt>
                      <c:pt idx="7660">
                        <c:v>45442</c:v>
                      </c:pt>
                      <c:pt idx="7661">
                        <c:v>45443</c:v>
                      </c:pt>
                      <c:pt idx="7662">
                        <c:v>45446</c:v>
                      </c:pt>
                      <c:pt idx="7663">
                        <c:v>45447</c:v>
                      </c:pt>
                      <c:pt idx="7664">
                        <c:v>45448</c:v>
                      </c:pt>
                      <c:pt idx="7665">
                        <c:v>45449</c:v>
                      </c:pt>
                      <c:pt idx="7666">
                        <c:v>45450</c:v>
                      </c:pt>
                      <c:pt idx="7667">
                        <c:v>45453</c:v>
                      </c:pt>
                      <c:pt idx="7668">
                        <c:v>45454</c:v>
                      </c:pt>
                      <c:pt idx="7669">
                        <c:v>45455</c:v>
                      </c:pt>
                      <c:pt idx="7670">
                        <c:v>45456</c:v>
                      </c:pt>
                      <c:pt idx="7671">
                        <c:v>45457</c:v>
                      </c:pt>
                      <c:pt idx="7672">
                        <c:v>45460</c:v>
                      </c:pt>
                      <c:pt idx="7673">
                        <c:v>45461</c:v>
                      </c:pt>
                      <c:pt idx="7674">
                        <c:v>45462</c:v>
                      </c:pt>
                      <c:pt idx="7675">
                        <c:v>45463</c:v>
                      </c:pt>
                      <c:pt idx="7676">
                        <c:v>45464</c:v>
                      </c:pt>
                      <c:pt idx="7677">
                        <c:v>45467</c:v>
                      </c:pt>
                      <c:pt idx="7678">
                        <c:v>45468</c:v>
                      </c:pt>
                      <c:pt idx="7679">
                        <c:v>45469</c:v>
                      </c:pt>
                      <c:pt idx="7680">
                        <c:v>45470</c:v>
                      </c:pt>
                      <c:pt idx="7681">
                        <c:v>45471</c:v>
                      </c:pt>
                      <c:pt idx="7682">
                        <c:v>45474</c:v>
                      </c:pt>
                      <c:pt idx="7683">
                        <c:v>45475</c:v>
                      </c:pt>
                      <c:pt idx="7684">
                        <c:v>45476</c:v>
                      </c:pt>
                      <c:pt idx="7685">
                        <c:v>45477</c:v>
                      </c:pt>
                      <c:pt idx="7686">
                        <c:v>45478</c:v>
                      </c:pt>
                      <c:pt idx="7687">
                        <c:v>45481</c:v>
                      </c:pt>
                      <c:pt idx="7688">
                        <c:v>45482</c:v>
                      </c:pt>
                      <c:pt idx="7689">
                        <c:v>45483</c:v>
                      </c:pt>
                      <c:pt idx="7690">
                        <c:v>45484</c:v>
                      </c:pt>
                      <c:pt idx="7691">
                        <c:v>45485</c:v>
                      </c:pt>
                      <c:pt idx="7692">
                        <c:v>45488</c:v>
                      </c:pt>
                      <c:pt idx="7693">
                        <c:v>45489</c:v>
                      </c:pt>
                      <c:pt idx="7694">
                        <c:v>45490</c:v>
                      </c:pt>
                      <c:pt idx="7695">
                        <c:v>45491</c:v>
                      </c:pt>
                      <c:pt idx="7696">
                        <c:v>45492</c:v>
                      </c:pt>
                      <c:pt idx="7697">
                        <c:v>45495</c:v>
                      </c:pt>
                      <c:pt idx="7698">
                        <c:v>45496</c:v>
                      </c:pt>
                      <c:pt idx="7699">
                        <c:v>45497</c:v>
                      </c:pt>
                      <c:pt idx="7700">
                        <c:v>45498</c:v>
                      </c:pt>
                      <c:pt idx="7701">
                        <c:v>45499</c:v>
                      </c:pt>
                      <c:pt idx="7702">
                        <c:v>45502</c:v>
                      </c:pt>
                      <c:pt idx="7703">
                        <c:v>45503</c:v>
                      </c:pt>
                      <c:pt idx="7704">
                        <c:v>45504</c:v>
                      </c:pt>
                      <c:pt idx="7705">
                        <c:v>45505</c:v>
                      </c:pt>
                      <c:pt idx="7706">
                        <c:v>45506</c:v>
                      </c:pt>
                      <c:pt idx="7707">
                        <c:v>45509</c:v>
                      </c:pt>
                      <c:pt idx="7708">
                        <c:v>45510</c:v>
                      </c:pt>
                      <c:pt idx="7709">
                        <c:v>45511</c:v>
                      </c:pt>
                      <c:pt idx="7710">
                        <c:v>45512</c:v>
                      </c:pt>
                      <c:pt idx="7711">
                        <c:v>45513</c:v>
                      </c:pt>
                      <c:pt idx="7712">
                        <c:v>45516</c:v>
                      </c:pt>
                      <c:pt idx="7713">
                        <c:v>45517</c:v>
                      </c:pt>
                      <c:pt idx="7714">
                        <c:v>45518</c:v>
                      </c:pt>
                      <c:pt idx="7715">
                        <c:v>45519</c:v>
                      </c:pt>
                      <c:pt idx="7716">
                        <c:v>45520</c:v>
                      </c:pt>
                      <c:pt idx="7717">
                        <c:v>45523</c:v>
                      </c:pt>
                      <c:pt idx="7718">
                        <c:v>45524</c:v>
                      </c:pt>
                      <c:pt idx="7719">
                        <c:v>45525</c:v>
                      </c:pt>
                      <c:pt idx="7720">
                        <c:v>45526</c:v>
                      </c:pt>
                      <c:pt idx="7721">
                        <c:v>45527</c:v>
                      </c:pt>
                      <c:pt idx="7722">
                        <c:v>45530</c:v>
                      </c:pt>
                      <c:pt idx="7723">
                        <c:v>45531</c:v>
                      </c:pt>
                      <c:pt idx="7724">
                        <c:v>45532</c:v>
                      </c:pt>
                      <c:pt idx="7725">
                        <c:v>45533</c:v>
                      </c:pt>
                      <c:pt idx="7726">
                        <c:v>45534</c:v>
                      </c:pt>
                      <c:pt idx="7727">
                        <c:v>45537</c:v>
                      </c:pt>
                      <c:pt idx="7728">
                        <c:v>45538</c:v>
                      </c:pt>
                      <c:pt idx="7729">
                        <c:v>45539</c:v>
                      </c:pt>
                      <c:pt idx="7730">
                        <c:v>45540</c:v>
                      </c:pt>
                      <c:pt idx="7731">
                        <c:v>45541</c:v>
                      </c:pt>
                      <c:pt idx="7732">
                        <c:v>45544</c:v>
                      </c:pt>
                      <c:pt idx="7733">
                        <c:v>45545</c:v>
                      </c:pt>
                      <c:pt idx="7734">
                        <c:v>45546</c:v>
                      </c:pt>
                      <c:pt idx="7735">
                        <c:v>45547</c:v>
                      </c:pt>
                      <c:pt idx="7736">
                        <c:v>45548</c:v>
                      </c:pt>
                      <c:pt idx="7737">
                        <c:v>45551</c:v>
                      </c:pt>
                      <c:pt idx="7738">
                        <c:v>45552</c:v>
                      </c:pt>
                      <c:pt idx="7739">
                        <c:v>45553</c:v>
                      </c:pt>
                      <c:pt idx="7740">
                        <c:v>45554</c:v>
                      </c:pt>
                      <c:pt idx="7741">
                        <c:v>45555</c:v>
                      </c:pt>
                      <c:pt idx="7742">
                        <c:v>45558</c:v>
                      </c:pt>
                      <c:pt idx="7743">
                        <c:v>45559</c:v>
                      </c:pt>
                      <c:pt idx="7744">
                        <c:v>45560</c:v>
                      </c:pt>
                      <c:pt idx="7745">
                        <c:v>45561</c:v>
                      </c:pt>
                      <c:pt idx="7746">
                        <c:v>45562</c:v>
                      </c:pt>
                      <c:pt idx="7747">
                        <c:v>45565</c:v>
                      </c:pt>
                      <c:pt idx="7748">
                        <c:v>45566</c:v>
                      </c:pt>
                      <c:pt idx="7749">
                        <c:v>45567</c:v>
                      </c:pt>
                      <c:pt idx="7750">
                        <c:v>45568</c:v>
                      </c:pt>
                      <c:pt idx="7751">
                        <c:v>45569</c:v>
                      </c:pt>
                      <c:pt idx="7752">
                        <c:v>45572</c:v>
                      </c:pt>
                      <c:pt idx="7753">
                        <c:v>45573</c:v>
                      </c:pt>
                      <c:pt idx="7754">
                        <c:v>45574</c:v>
                      </c:pt>
                      <c:pt idx="7755">
                        <c:v>45575</c:v>
                      </c:pt>
                      <c:pt idx="7756">
                        <c:v>45576</c:v>
                      </c:pt>
                      <c:pt idx="7757">
                        <c:v>45579</c:v>
                      </c:pt>
                      <c:pt idx="7758">
                        <c:v>45580</c:v>
                      </c:pt>
                      <c:pt idx="7759">
                        <c:v>45581</c:v>
                      </c:pt>
                      <c:pt idx="7760">
                        <c:v>45582</c:v>
                      </c:pt>
                      <c:pt idx="7761">
                        <c:v>45583</c:v>
                      </c:pt>
                      <c:pt idx="7762">
                        <c:v>45586</c:v>
                      </c:pt>
                      <c:pt idx="7763">
                        <c:v>45587</c:v>
                      </c:pt>
                      <c:pt idx="7764">
                        <c:v>45588</c:v>
                      </c:pt>
                      <c:pt idx="7765">
                        <c:v>45589</c:v>
                      </c:pt>
                      <c:pt idx="7766">
                        <c:v>45590</c:v>
                      </c:pt>
                      <c:pt idx="7767">
                        <c:v>45593</c:v>
                      </c:pt>
                      <c:pt idx="7768">
                        <c:v>45594</c:v>
                      </c:pt>
                      <c:pt idx="7769">
                        <c:v>45595</c:v>
                      </c:pt>
                      <c:pt idx="7770">
                        <c:v>45596</c:v>
                      </c:pt>
                      <c:pt idx="7771">
                        <c:v>45597</c:v>
                      </c:pt>
                      <c:pt idx="7772">
                        <c:v>45600</c:v>
                      </c:pt>
                      <c:pt idx="7773">
                        <c:v>45601</c:v>
                      </c:pt>
                      <c:pt idx="7774">
                        <c:v>45602</c:v>
                      </c:pt>
                      <c:pt idx="7775">
                        <c:v>45603</c:v>
                      </c:pt>
                      <c:pt idx="7776">
                        <c:v>45604</c:v>
                      </c:pt>
                      <c:pt idx="7777">
                        <c:v>45607</c:v>
                      </c:pt>
                      <c:pt idx="7778">
                        <c:v>45608</c:v>
                      </c:pt>
                      <c:pt idx="7779">
                        <c:v>45609</c:v>
                      </c:pt>
                      <c:pt idx="7780">
                        <c:v>45610</c:v>
                      </c:pt>
                      <c:pt idx="7781">
                        <c:v>45611</c:v>
                      </c:pt>
                      <c:pt idx="7782">
                        <c:v>45614</c:v>
                      </c:pt>
                      <c:pt idx="7783">
                        <c:v>45615</c:v>
                      </c:pt>
                      <c:pt idx="7784">
                        <c:v>45616</c:v>
                      </c:pt>
                      <c:pt idx="7785">
                        <c:v>45617</c:v>
                      </c:pt>
                      <c:pt idx="7786">
                        <c:v>45618</c:v>
                      </c:pt>
                      <c:pt idx="7787">
                        <c:v>45621</c:v>
                      </c:pt>
                    </c:numCache>
                  </c:numRef>
                </c:cat>
                <c:val>
                  <c:numRef>
                    <c:extLst xmlns:c15="http://schemas.microsoft.com/office/drawing/2012/chart">
                      <c:ext xmlns:c15="http://schemas.microsoft.com/office/drawing/2012/chart" uri="{02D57815-91ED-43cb-92C2-25804820EDAC}">
                        <c15:formulaRef>
                          <c15:sqref>Sheet1!$F$3:$F$7788</c15:sqref>
                        </c15:formulaRef>
                      </c:ext>
                    </c:extLst>
                    <c:numCache>
                      <c:formatCode>General</c:formatCode>
                      <c:ptCount val="7786"/>
                      <c:pt idx="0">
                        <c:v>1.728</c:v>
                      </c:pt>
                      <c:pt idx="1">
                        <c:v>1.728</c:v>
                      </c:pt>
                      <c:pt idx="2">
                        <c:v>1.728</c:v>
                      </c:pt>
                      <c:pt idx="3">
                        <c:v>1.728</c:v>
                      </c:pt>
                      <c:pt idx="4">
                        <c:v>1.728</c:v>
                      </c:pt>
                      <c:pt idx="5">
                        <c:v>1.728</c:v>
                      </c:pt>
                      <c:pt idx="6">
                        <c:v>1.728</c:v>
                      </c:pt>
                      <c:pt idx="7">
                        <c:v>1.728</c:v>
                      </c:pt>
                      <c:pt idx="8">
                        <c:v>1.728</c:v>
                      </c:pt>
                      <c:pt idx="9">
                        <c:v>1.728</c:v>
                      </c:pt>
                      <c:pt idx="10">
                        <c:v>1.728</c:v>
                      </c:pt>
                      <c:pt idx="11">
                        <c:v>1.728</c:v>
                      </c:pt>
                      <c:pt idx="12">
                        <c:v>1.728</c:v>
                      </c:pt>
                      <c:pt idx="13">
                        <c:v>1.728</c:v>
                      </c:pt>
                      <c:pt idx="14">
                        <c:v>1.728</c:v>
                      </c:pt>
                      <c:pt idx="15">
                        <c:v>1.728</c:v>
                      </c:pt>
                      <c:pt idx="16">
                        <c:v>1.728</c:v>
                      </c:pt>
                      <c:pt idx="17">
                        <c:v>1.728</c:v>
                      </c:pt>
                      <c:pt idx="18">
                        <c:v>1.728</c:v>
                      </c:pt>
                      <c:pt idx="19">
                        <c:v>1.728</c:v>
                      </c:pt>
                      <c:pt idx="20">
                        <c:v>1.8520000000000001</c:v>
                      </c:pt>
                      <c:pt idx="21">
                        <c:v>1.8520000000000001</c:v>
                      </c:pt>
                      <c:pt idx="22">
                        <c:v>1.8520000000000001</c:v>
                      </c:pt>
                      <c:pt idx="23">
                        <c:v>1.8520000000000001</c:v>
                      </c:pt>
                      <c:pt idx="24">
                        <c:v>1.8520000000000001</c:v>
                      </c:pt>
                      <c:pt idx="25">
                        <c:v>1.8520000000000001</c:v>
                      </c:pt>
                      <c:pt idx="26">
                        <c:v>1.8520000000000001</c:v>
                      </c:pt>
                      <c:pt idx="27">
                        <c:v>1.8520000000000001</c:v>
                      </c:pt>
                      <c:pt idx="28">
                        <c:v>1.8520000000000001</c:v>
                      </c:pt>
                      <c:pt idx="29">
                        <c:v>1.8520000000000001</c:v>
                      </c:pt>
                      <c:pt idx="30">
                        <c:v>1.8520000000000001</c:v>
                      </c:pt>
                      <c:pt idx="31">
                        <c:v>1.8520000000000001</c:v>
                      </c:pt>
                      <c:pt idx="32">
                        <c:v>1.8520000000000001</c:v>
                      </c:pt>
                      <c:pt idx="33">
                        <c:v>1.8520000000000001</c:v>
                      </c:pt>
                      <c:pt idx="34">
                        <c:v>1.8520000000000001</c:v>
                      </c:pt>
                      <c:pt idx="35">
                        <c:v>1.8520000000000001</c:v>
                      </c:pt>
                      <c:pt idx="36">
                        <c:v>1.8520000000000001</c:v>
                      </c:pt>
                      <c:pt idx="37">
                        <c:v>1.8520000000000001</c:v>
                      </c:pt>
                      <c:pt idx="38">
                        <c:v>1.8520000000000001</c:v>
                      </c:pt>
                      <c:pt idx="39">
                        <c:v>1.8520000000000001</c:v>
                      </c:pt>
                      <c:pt idx="40">
                        <c:v>2.052</c:v>
                      </c:pt>
                      <c:pt idx="41">
                        <c:v>2.052</c:v>
                      </c:pt>
                      <c:pt idx="42">
                        <c:v>2.052</c:v>
                      </c:pt>
                      <c:pt idx="43">
                        <c:v>2.052</c:v>
                      </c:pt>
                      <c:pt idx="44">
                        <c:v>2.052</c:v>
                      </c:pt>
                      <c:pt idx="45">
                        <c:v>2.052</c:v>
                      </c:pt>
                      <c:pt idx="46">
                        <c:v>2.052</c:v>
                      </c:pt>
                      <c:pt idx="47">
                        <c:v>2.052</c:v>
                      </c:pt>
                      <c:pt idx="48">
                        <c:v>2.052</c:v>
                      </c:pt>
                      <c:pt idx="49">
                        <c:v>2.052</c:v>
                      </c:pt>
                      <c:pt idx="50">
                        <c:v>2.052</c:v>
                      </c:pt>
                      <c:pt idx="51">
                        <c:v>2.052</c:v>
                      </c:pt>
                      <c:pt idx="52">
                        <c:v>2.052</c:v>
                      </c:pt>
                      <c:pt idx="53">
                        <c:v>2.052</c:v>
                      </c:pt>
                      <c:pt idx="54">
                        <c:v>2.052</c:v>
                      </c:pt>
                      <c:pt idx="55">
                        <c:v>2.052</c:v>
                      </c:pt>
                      <c:pt idx="56">
                        <c:v>2.052</c:v>
                      </c:pt>
                      <c:pt idx="57">
                        <c:v>2.052</c:v>
                      </c:pt>
                      <c:pt idx="58">
                        <c:v>2.052</c:v>
                      </c:pt>
                      <c:pt idx="59">
                        <c:v>2.052</c:v>
                      </c:pt>
                      <c:pt idx="60">
                        <c:v>2.052</c:v>
                      </c:pt>
                      <c:pt idx="61">
                        <c:v>2.052</c:v>
                      </c:pt>
                      <c:pt idx="62">
                        <c:v>2.052</c:v>
                      </c:pt>
                      <c:pt idx="63">
                        <c:v>2.052</c:v>
                      </c:pt>
                      <c:pt idx="64">
                        <c:v>2.052</c:v>
                      </c:pt>
                      <c:pt idx="65">
                        <c:v>2.262</c:v>
                      </c:pt>
                      <c:pt idx="66">
                        <c:v>2.262</c:v>
                      </c:pt>
                      <c:pt idx="67">
                        <c:v>2.262</c:v>
                      </c:pt>
                      <c:pt idx="68">
                        <c:v>2.262</c:v>
                      </c:pt>
                      <c:pt idx="69">
                        <c:v>2.262</c:v>
                      </c:pt>
                      <c:pt idx="70">
                        <c:v>2.262</c:v>
                      </c:pt>
                      <c:pt idx="71">
                        <c:v>2.262</c:v>
                      </c:pt>
                      <c:pt idx="72">
                        <c:v>2.262</c:v>
                      </c:pt>
                      <c:pt idx="73">
                        <c:v>2.262</c:v>
                      </c:pt>
                      <c:pt idx="74">
                        <c:v>2.262</c:v>
                      </c:pt>
                      <c:pt idx="75">
                        <c:v>2.262</c:v>
                      </c:pt>
                      <c:pt idx="76">
                        <c:v>2.262</c:v>
                      </c:pt>
                      <c:pt idx="77">
                        <c:v>2.262</c:v>
                      </c:pt>
                      <c:pt idx="78">
                        <c:v>2.262</c:v>
                      </c:pt>
                      <c:pt idx="79">
                        <c:v>2.262</c:v>
                      </c:pt>
                      <c:pt idx="80">
                        <c:v>2.262</c:v>
                      </c:pt>
                      <c:pt idx="81">
                        <c:v>2.262</c:v>
                      </c:pt>
                      <c:pt idx="82">
                        <c:v>2.262</c:v>
                      </c:pt>
                      <c:pt idx="83">
                        <c:v>2.262</c:v>
                      </c:pt>
                      <c:pt idx="84">
                        <c:v>2.262</c:v>
                      </c:pt>
                      <c:pt idx="85">
                        <c:v>2.1869999999999998</c:v>
                      </c:pt>
                      <c:pt idx="86">
                        <c:v>2.1869999999999998</c:v>
                      </c:pt>
                      <c:pt idx="87">
                        <c:v>2.1869999999999998</c:v>
                      </c:pt>
                      <c:pt idx="88">
                        <c:v>2.1869999999999998</c:v>
                      </c:pt>
                      <c:pt idx="89">
                        <c:v>2.1869999999999998</c:v>
                      </c:pt>
                      <c:pt idx="90">
                        <c:v>2.1869999999999998</c:v>
                      </c:pt>
                      <c:pt idx="91">
                        <c:v>2.1869999999999998</c:v>
                      </c:pt>
                      <c:pt idx="92">
                        <c:v>2.1869999999999998</c:v>
                      </c:pt>
                      <c:pt idx="93">
                        <c:v>2.1869999999999998</c:v>
                      </c:pt>
                      <c:pt idx="94">
                        <c:v>2.1869999999999998</c:v>
                      </c:pt>
                      <c:pt idx="95">
                        <c:v>2.1869999999999998</c:v>
                      </c:pt>
                      <c:pt idx="96">
                        <c:v>2.1869999999999998</c:v>
                      </c:pt>
                      <c:pt idx="97">
                        <c:v>2.1869999999999998</c:v>
                      </c:pt>
                      <c:pt idx="98">
                        <c:v>2.1869999999999998</c:v>
                      </c:pt>
                      <c:pt idx="99">
                        <c:v>2.1869999999999998</c:v>
                      </c:pt>
                      <c:pt idx="100">
                        <c:v>2.1869999999999998</c:v>
                      </c:pt>
                      <c:pt idx="101">
                        <c:v>2.1869999999999998</c:v>
                      </c:pt>
                      <c:pt idx="102">
                        <c:v>2.1869999999999998</c:v>
                      </c:pt>
                      <c:pt idx="103">
                        <c:v>2.1869999999999998</c:v>
                      </c:pt>
                      <c:pt idx="104">
                        <c:v>2.1869999999999998</c:v>
                      </c:pt>
                      <c:pt idx="105">
                        <c:v>2.2909999999999999</c:v>
                      </c:pt>
                      <c:pt idx="106">
                        <c:v>2.2909999999999999</c:v>
                      </c:pt>
                      <c:pt idx="107">
                        <c:v>2.2909999999999999</c:v>
                      </c:pt>
                      <c:pt idx="108">
                        <c:v>2.2909999999999999</c:v>
                      </c:pt>
                      <c:pt idx="109">
                        <c:v>2.2909999999999999</c:v>
                      </c:pt>
                      <c:pt idx="110">
                        <c:v>2.2909999999999999</c:v>
                      </c:pt>
                      <c:pt idx="111">
                        <c:v>2.2909999999999999</c:v>
                      </c:pt>
                      <c:pt idx="112">
                        <c:v>2.2909999999999999</c:v>
                      </c:pt>
                      <c:pt idx="113">
                        <c:v>2.2909999999999999</c:v>
                      </c:pt>
                      <c:pt idx="114">
                        <c:v>2.2909999999999999</c:v>
                      </c:pt>
                      <c:pt idx="115">
                        <c:v>2.2909999999999999</c:v>
                      </c:pt>
                      <c:pt idx="116">
                        <c:v>2.2909999999999999</c:v>
                      </c:pt>
                      <c:pt idx="117">
                        <c:v>2.2909999999999999</c:v>
                      </c:pt>
                      <c:pt idx="118">
                        <c:v>2.2909999999999999</c:v>
                      </c:pt>
                      <c:pt idx="119">
                        <c:v>2.2909999999999999</c:v>
                      </c:pt>
                      <c:pt idx="120">
                        <c:v>2.2909999999999999</c:v>
                      </c:pt>
                      <c:pt idx="121">
                        <c:v>2.2909999999999999</c:v>
                      </c:pt>
                      <c:pt idx="122">
                        <c:v>2.2909999999999999</c:v>
                      </c:pt>
                      <c:pt idx="123">
                        <c:v>2.2909999999999999</c:v>
                      </c:pt>
                      <c:pt idx="124">
                        <c:v>2.2909999999999999</c:v>
                      </c:pt>
                      <c:pt idx="125">
                        <c:v>2.2909999999999999</c:v>
                      </c:pt>
                      <c:pt idx="126">
                        <c:v>2.2909999999999999</c:v>
                      </c:pt>
                      <c:pt idx="127">
                        <c:v>2.2909999999999999</c:v>
                      </c:pt>
                      <c:pt idx="128">
                        <c:v>2.2909999999999999</c:v>
                      </c:pt>
                      <c:pt idx="129">
                        <c:v>2.2909999999999999</c:v>
                      </c:pt>
                      <c:pt idx="130">
                        <c:v>2.2909999999999999</c:v>
                      </c:pt>
                      <c:pt idx="131">
                        <c:v>2.2909999999999999</c:v>
                      </c:pt>
                      <c:pt idx="132">
                        <c:v>2.2909999999999999</c:v>
                      </c:pt>
                      <c:pt idx="133">
                        <c:v>2.2909999999999999</c:v>
                      </c:pt>
                      <c:pt idx="134">
                        <c:v>2.2909999999999999</c:v>
                      </c:pt>
                      <c:pt idx="135">
                        <c:v>2.2909999999999999</c:v>
                      </c:pt>
                      <c:pt idx="136">
                        <c:v>2.2909999999999999</c:v>
                      </c:pt>
                      <c:pt idx="137">
                        <c:v>2.2909999999999999</c:v>
                      </c:pt>
                      <c:pt idx="138">
                        <c:v>2.2909999999999999</c:v>
                      </c:pt>
                      <c:pt idx="139">
                        <c:v>2.2909999999999999</c:v>
                      </c:pt>
                      <c:pt idx="140">
                        <c:v>2.2909999999999999</c:v>
                      </c:pt>
                      <c:pt idx="141">
                        <c:v>2.2909999999999999</c:v>
                      </c:pt>
                      <c:pt idx="142">
                        <c:v>2.2909999999999999</c:v>
                      </c:pt>
                      <c:pt idx="143">
                        <c:v>2.2909999999999999</c:v>
                      </c:pt>
                      <c:pt idx="144">
                        <c:v>2.2909999999999999</c:v>
                      </c:pt>
                      <c:pt idx="145">
                        <c:v>2.2909999999999999</c:v>
                      </c:pt>
                      <c:pt idx="146">
                        <c:v>2.2909999999999999</c:v>
                      </c:pt>
                      <c:pt idx="147">
                        <c:v>2.2909999999999999</c:v>
                      </c:pt>
                      <c:pt idx="148">
                        <c:v>2.2909999999999999</c:v>
                      </c:pt>
                      <c:pt idx="149">
                        <c:v>2.2909999999999999</c:v>
                      </c:pt>
                      <c:pt idx="150">
                        <c:v>2.2280000000000002</c:v>
                      </c:pt>
                      <c:pt idx="151">
                        <c:v>2.2280000000000002</c:v>
                      </c:pt>
                      <c:pt idx="152">
                        <c:v>2.2280000000000002</c:v>
                      </c:pt>
                      <c:pt idx="153">
                        <c:v>2.2280000000000002</c:v>
                      </c:pt>
                      <c:pt idx="154">
                        <c:v>2.2280000000000002</c:v>
                      </c:pt>
                      <c:pt idx="155">
                        <c:v>2.2280000000000002</c:v>
                      </c:pt>
                      <c:pt idx="156">
                        <c:v>2.2280000000000002</c:v>
                      </c:pt>
                      <c:pt idx="157">
                        <c:v>2.2280000000000002</c:v>
                      </c:pt>
                      <c:pt idx="158">
                        <c:v>2.2280000000000002</c:v>
                      </c:pt>
                      <c:pt idx="159">
                        <c:v>2.2280000000000002</c:v>
                      </c:pt>
                      <c:pt idx="160">
                        <c:v>2.2280000000000002</c:v>
                      </c:pt>
                      <c:pt idx="161">
                        <c:v>2.2280000000000002</c:v>
                      </c:pt>
                      <c:pt idx="162">
                        <c:v>2.2280000000000002</c:v>
                      </c:pt>
                      <c:pt idx="163">
                        <c:v>2.2280000000000002</c:v>
                      </c:pt>
                      <c:pt idx="164">
                        <c:v>2.2280000000000002</c:v>
                      </c:pt>
                      <c:pt idx="165">
                        <c:v>2.2280000000000002</c:v>
                      </c:pt>
                      <c:pt idx="166">
                        <c:v>2.2280000000000002</c:v>
                      </c:pt>
                      <c:pt idx="167">
                        <c:v>2.2280000000000002</c:v>
                      </c:pt>
                      <c:pt idx="168">
                        <c:v>2.2280000000000002</c:v>
                      </c:pt>
                      <c:pt idx="169">
                        <c:v>2.2280000000000002</c:v>
                      </c:pt>
                      <c:pt idx="170">
                        <c:v>2.2570000000000001</c:v>
                      </c:pt>
                      <c:pt idx="171">
                        <c:v>2.2570000000000001</c:v>
                      </c:pt>
                      <c:pt idx="172">
                        <c:v>2.2570000000000001</c:v>
                      </c:pt>
                      <c:pt idx="173">
                        <c:v>2.2570000000000001</c:v>
                      </c:pt>
                      <c:pt idx="174">
                        <c:v>2.2570000000000001</c:v>
                      </c:pt>
                      <c:pt idx="175">
                        <c:v>2.2570000000000001</c:v>
                      </c:pt>
                      <c:pt idx="176">
                        <c:v>2.2570000000000001</c:v>
                      </c:pt>
                      <c:pt idx="177">
                        <c:v>2.2570000000000001</c:v>
                      </c:pt>
                      <c:pt idx="178">
                        <c:v>2.2570000000000001</c:v>
                      </c:pt>
                      <c:pt idx="179">
                        <c:v>2.2570000000000001</c:v>
                      </c:pt>
                      <c:pt idx="180">
                        <c:v>2.2570000000000001</c:v>
                      </c:pt>
                      <c:pt idx="181">
                        <c:v>2.2570000000000001</c:v>
                      </c:pt>
                      <c:pt idx="182">
                        <c:v>2.2570000000000001</c:v>
                      </c:pt>
                      <c:pt idx="183">
                        <c:v>2.2570000000000001</c:v>
                      </c:pt>
                      <c:pt idx="184">
                        <c:v>2.2570000000000001</c:v>
                      </c:pt>
                      <c:pt idx="185">
                        <c:v>2.2570000000000001</c:v>
                      </c:pt>
                      <c:pt idx="186">
                        <c:v>2.2570000000000001</c:v>
                      </c:pt>
                      <c:pt idx="187">
                        <c:v>2.2570000000000001</c:v>
                      </c:pt>
                      <c:pt idx="188">
                        <c:v>2.2570000000000001</c:v>
                      </c:pt>
                      <c:pt idx="189">
                        <c:v>2.2570000000000001</c:v>
                      </c:pt>
                      <c:pt idx="190">
                        <c:v>2.2570000000000001</c:v>
                      </c:pt>
                      <c:pt idx="191">
                        <c:v>2.2570000000000001</c:v>
                      </c:pt>
                      <c:pt idx="192">
                        <c:v>2.2570000000000001</c:v>
                      </c:pt>
                      <c:pt idx="193">
                        <c:v>2.2570000000000001</c:v>
                      </c:pt>
                      <c:pt idx="194">
                        <c:v>2.2570000000000001</c:v>
                      </c:pt>
                      <c:pt idx="195">
                        <c:v>1.56</c:v>
                      </c:pt>
                      <c:pt idx="196">
                        <c:v>1.56</c:v>
                      </c:pt>
                      <c:pt idx="197">
                        <c:v>1.56</c:v>
                      </c:pt>
                      <c:pt idx="198">
                        <c:v>1.56</c:v>
                      </c:pt>
                      <c:pt idx="199">
                        <c:v>1.56</c:v>
                      </c:pt>
                      <c:pt idx="200">
                        <c:v>1.56</c:v>
                      </c:pt>
                      <c:pt idx="201">
                        <c:v>1.56</c:v>
                      </c:pt>
                      <c:pt idx="202">
                        <c:v>1.56</c:v>
                      </c:pt>
                      <c:pt idx="203">
                        <c:v>1.56</c:v>
                      </c:pt>
                      <c:pt idx="204">
                        <c:v>1.56</c:v>
                      </c:pt>
                      <c:pt idx="205">
                        <c:v>1.56</c:v>
                      </c:pt>
                      <c:pt idx="206">
                        <c:v>1.56</c:v>
                      </c:pt>
                      <c:pt idx="207">
                        <c:v>1.56</c:v>
                      </c:pt>
                      <c:pt idx="208">
                        <c:v>1.56</c:v>
                      </c:pt>
                      <c:pt idx="209">
                        <c:v>1.56</c:v>
                      </c:pt>
                      <c:pt idx="210">
                        <c:v>1.56</c:v>
                      </c:pt>
                      <c:pt idx="211">
                        <c:v>1.56</c:v>
                      </c:pt>
                      <c:pt idx="212">
                        <c:v>1.56</c:v>
                      </c:pt>
                      <c:pt idx="213">
                        <c:v>1.56</c:v>
                      </c:pt>
                      <c:pt idx="214">
                        <c:v>1.56</c:v>
                      </c:pt>
                      <c:pt idx="215">
                        <c:v>1.53</c:v>
                      </c:pt>
                      <c:pt idx="216">
                        <c:v>1.53</c:v>
                      </c:pt>
                      <c:pt idx="217">
                        <c:v>1.53</c:v>
                      </c:pt>
                      <c:pt idx="218">
                        <c:v>1.53</c:v>
                      </c:pt>
                      <c:pt idx="219">
                        <c:v>1.53</c:v>
                      </c:pt>
                      <c:pt idx="220">
                        <c:v>1.53</c:v>
                      </c:pt>
                      <c:pt idx="221">
                        <c:v>1.53</c:v>
                      </c:pt>
                      <c:pt idx="222">
                        <c:v>1.53</c:v>
                      </c:pt>
                      <c:pt idx="223">
                        <c:v>1.53</c:v>
                      </c:pt>
                      <c:pt idx="224">
                        <c:v>1.53</c:v>
                      </c:pt>
                      <c:pt idx="225">
                        <c:v>1.53</c:v>
                      </c:pt>
                      <c:pt idx="226">
                        <c:v>1.53</c:v>
                      </c:pt>
                      <c:pt idx="227">
                        <c:v>1.53</c:v>
                      </c:pt>
                      <c:pt idx="228">
                        <c:v>1.53</c:v>
                      </c:pt>
                      <c:pt idx="229">
                        <c:v>1.53</c:v>
                      </c:pt>
                      <c:pt idx="230">
                        <c:v>1.53</c:v>
                      </c:pt>
                      <c:pt idx="231">
                        <c:v>1.53</c:v>
                      </c:pt>
                      <c:pt idx="232">
                        <c:v>1.53</c:v>
                      </c:pt>
                      <c:pt idx="233">
                        <c:v>1.53</c:v>
                      </c:pt>
                      <c:pt idx="234">
                        <c:v>1.53</c:v>
                      </c:pt>
                      <c:pt idx="235">
                        <c:v>1.504</c:v>
                      </c:pt>
                      <c:pt idx="236">
                        <c:v>1.504</c:v>
                      </c:pt>
                      <c:pt idx="237">
                        <c:v>1.504</c:v>
                      </c:pt>
                      <c:pt idx="238">
                        <c:v>1.504</c:v>
                      </c:pt>
                      <c:pt idx="239">
                        <c:v>1.504</c:v>
                      </c:pt>
                      <c:pt idx="240">
                        <c:v>1.504</c:v>
                      </c:pt>
                      <c:pt idx="241">
                        <c:v>1.504</c:v>
                      </c:pt>
                      <c:pt idx="242">
                        <c:v>1.504</c:v>
                      </c:pt>
                      <c:pt idx="243">
                        <c:v>1.504</c:v>
                      </c:pt>
                      <c:pt idx="244">
                        <c:v>1.504</c:v>
                      </c:pt>
                      <c:pt idx="245">
                        <c:v>1.504</c:v>
                      </c:pt>
                      <c:pt idx="246">
                        <c:v>1.504</c:v>
                      </c:pt>
                      <c:pt idx="247">
                        <c:v>1.504</c:v>
                      </c:pt>
                      <c:pt idx="248">
                        <c:v>1.504</c:v>
                      </c:pt>
                      <c:pt idx="249">
                        <c:v>1.504</c:v>
                      </c:pt>
                      <c:pt idx="250">
                        <c:v>1.504</c:v>
                      </c:pt>
                      <c:pt idx="251">
                        <c:v>1.504</c:v>
                      </c:pt>
                      <c:pt idx="252">
                        <c:v>1.504</c:v>
                      </c:pt>
                      <c:pt idx="253">
                        <c:v>1.504</c:v>
                      </c:pt>
                      <c:pt idx="254">
                        <c:v>1.504</c:v>
                      </c:pt>
                      <c:pt idx="255">
                        <c:v>1.504</c:v>
                      </c:pt>
                      <c:pt idx="256">
                        <c:v>1.504</c:v>
                      </c:pt>
                      <c:pt idx="257">
                        <c:v>1.504</c:v>
                      </c:pt>
                      <c:pt idx="258">
                        <c:v>1.504</c:v>
                      </c:pt>
                      <c:pt idx="259">
                        <c:v>1.504</c:v>
                      </c:pt>
                      <c:pt idx="260">
                        <c:v>1.603</c:v>
                      </c:pt>
                      <c:pt idx="261">
                        <c:v>1.603</c:v>
                      </c:pt>
                      <c:pt idx="262">
                        <c:v>1.603</c:v>
                      </c:pt>
                      <c:pt idx="263">
                        <c:v>1.603</c:v>
                      </c:pt>
                      <c:pt idx="264">
                        <c:v>1.603</c:v>
                      </c:pt>
                      <c:pt idx="265">
                        <c:v>1.603</c:v>
                      </c:pt>
                      <c:pt idx="266">
                        <c:v>1.603</c:v>
                      </c:pt>
                      <c:pt idx="267">
                        <c:v>1.603</c:v>
                      </c:pt>
                      <c:pt idx="268">
                        <c:v>1.603</c:v>
                      </c:pt>
                      <c:pt idx="269">
                        <c:v>1.603</c:v>
                      </c:pt>
                      <c:pt idx="270">
                        <c:v>1.603</c:v>
                      </c:pt>
                      <c:pt idx="271">
                        <c:v>1.603</c:v>
                      </c:pt>
                      <c:pt idx="272">
                        <c:v>1.603</c:v>
                      </c:pt>
                      <c:pt idx="273">
                        <c:v>1.603</c:v>
                      </c:pt>
                      <c:pt idx="274">
                        <c:v>1.603</c:v>
                      </c:pt>
                      <c:pt idx="275">
                        <c:v>1.603</c:v>
                      </c:pt>
                      <c:pt idx="276">
                        <c:v>1.603</c:v>
                      </c:pt>
                      <c:pt idx="277">
                        <c:v>1.603</c:v>
                      </c:pt>
                      <c:pt idx="278">
                        <c:v>1.603</c:v>
                      </c:pt>
                      <c:pt idx="279">
                        <c:v>1.603</c:v>
                      </c:pt>
                      <c:pt idx="280">
                        <c:v>1.696</c:v>
                      </c:pt>
                      <c:pt idx="281">
                        <c:v>1.696</c:v>
                      </c:pt>
                      <c:pt idx="282">
                        <c:v>1.696</c:v>
                      </c:pt>
                      <c:pt idx="283">
                        <c:v>1.696</c:v>
                      </c:pt>
                      <c:pt idx="284">
                        <c:v>1.696</c:v>
                      </c:pt>
                      <c:pt idx="285">
                        <c:v>1.696</c:v>
                      </c:pt>
                      <c:pt idx="286">
                        <c:v>1.696</c:v>
                      </c:pt>
                      <c:pt idx="287">
                        <c:v>1.696</c:v>
                      </c:pt>
                      <c:pt idx="288">
                        <c:v>1.696</c:v>
                      </c:pt>
                      <c:pt idx="289">
                        <c:v>1.696</c:v>
                      </c:pt>
                      <c:pt idx="290">
                        <c:v>1.696</c:v>
                      </c:pt>
                      <c:pt idx="291">
                        <c:v>1.696</c:v>
                      </c:pt>
                      <c:pt idx="292">
                        <c:v>1.696</c:v>
                      </c:pt>
                      <c:pt idx="293">
                        <c:v>1.696</c:v>
                      </c:pt>
                      <c:pt idx="294">
                        <c:v>1.696</c:v>
                      </c:pt>
                      <c:pt idx="295">
                        <c:v>1.696</c:v>
                      </c:pt>
                      <c:pt idx="296">
                        <c:v>1.696</c:v>
                      </c:pt>
                      <c:pt idx="297">
                        <c:v>1.696</c:v>
                      </c:pt>
                      <c:pt idx="298">
                        <c:v>1.696</c:v>
                      </c:pt>
                      <c:pt idx="299">
                        <c:v>1.696</c:v>
                      </c:pt>
                      <c:pt idx="300">
                        <c:v>1.893</c:v>
                      </c:pt>
                      <c:pt idx="301">
                        <c:v>1.893</c:v>
                      </c:pt>
                      <c:pt idx="302">
                        <c:v>1.893</c:v>
                      </c:pt>
                      <c:pt idx="303">
                        <c:v>1.893</c:v>
                      </c:pt>
                      <c:pt idx="304">
                        <c:v>1.893</c:v>
                      </c:pt>
                      <c:pt idx="305">
                        <c:v>1.893</c:v>
                      </c:pt>
                      <c:pt idx="306">
                        <c:v>1.893</c:v>
                      </c:pt>
                      <c:pt idx="307">
                        <c:v>1.893</c:v>
                      </c:pt>
                      <c:pt idx="308">
                        <c:v>1.893</c:v>
                      </c:pt>
                      <c:pt idx="309">
                        <c:v>1.893</c:v>
                      </c:pt>
                      <c:pt idx="310">
                        <c:v>1.893</c:v>
                      </c:pt>
                      <c:pt idx="311">
                        <c:v>1.893</c:v>
                      </c:pt>
                      <c:pt idx="312">
                        <c:v>1.893</c:v>
                      </c:pt>
                      <c:pt idx="313">
                        <c:v>1.893</c:v>
                      </c:pt>
                      <c:pt idx="314">
                        <c:v>1.893</c:v>
                      </c:pt>
                      <c:pt idx="315">
                        <c:v>1.893</c:v>
                      </c:pt>
                      <c:pt idx="316">
                        <c:v>1.893</c:v>
                      </c:pt>
                      <c:pt idx="317">
                        <c:v>1.893</c:v>
                      </c:pt>
                      <c:pt idx="318">
                        <c:v>1.893</c:v>
                      </c:pt>
                      <c:pt idx="319">
                        <c:v>1.893</c:v>
                      </c:pt>
                      <c:pt idx="320">
                        <c:v>1.893</c:v>
                      </c:pt>
                      <c:pt idx="321">
                        <c:v>1.893</c:v>
                      </c:pt>
                      <c:pt idx="322">
                        <c:v>1.893</c:v>
                      </c:pt>
                      <c:pt idx="323">
                        <c:v>1.893</c:v>
                      </c:pt>
                      <c:pt idx="324">
                        <c:v>1.893</c:v>
                      </c:pt>
                      <c:pt idx="325">
                        <c:v>1.7190000000000001</c:v>
                      </c:pt>
                      <c:pt idx="326">
                        <c:v>1.7190000000000001</c:v>
                      </c:pt>
                      <c:pt idx="327">
                        <c:v>1.7190000000000001</c:v>
                      </c:pt>
                      <c:pt idx="328">
                        <c:v>1.7190000000000001</c:v>
                      </c:pt>
                      <c:pt idx="329">
                        <c:v>1.7190000000000001</c:v>
                      </c:pt>
                      <c:pt idx="330">
                        <c:v>1.7190000000000001</c:v>
                      </c:pt>
                      <c:pt idx="331">
                        <c:v>1.7190000000000001</c:v>
                      </c:pt>
                      <c:pt idx="332">
                        <c:v>1.7190000000000001</c:v>
                      </c:pt>
                      <c:pt idx="333">
                        <c:v>1.7190000000000001</c:v>
                      </c:pt>
                      <c:pt idx="334">
                        <c:v>1.7190000000000001</c:v>
                      </c:pt>
                      <c:pt idx="335">
                        <c:v>1.7190000000000001</c:v>
                      </c:pt>
                      <c:pt idx="336">
                        <c:v>1.7190000000000001</c:v>
                      </c:pt>
                      <c:pt idx="337">
                        <c:v>1.7190000000000001</c:v>
                      </c:pt>
                      <c:pt idx="338">
                        <c:v>1.7190000000000001</c:v>
                      </c:pt>
                      <c:pt idx="339">
                        <c:v>1.7190000000000001</c:v>
                      </c:pt>
                      <c:pt idx="340">
                        <c:v>1.7190000000000001</c:v>
                      </c:pt>
                      <c:pt idx="341">
                        <c:v>1.7190000000000001</c:v>
                      </c:pt>
                      <c:pt idx="342">
                        <c:v>1.7190000000000001</c:v>
                      </c:pt>
                      <c:pt idx="343">
                        <c:v>1.7190000000000001</c:v>
                      </c:pt>
                      <c:pt idx="344">
                        <c:v>1.7190000000000001</c:v>
                      </c:pt>
                      <c:pt idx="345">
                        <c:v>1.873</c:v>
                      </c:pt>
                      <c:pt idx="346">
                        <c:v>1.873</c:v>
                      </c:pt>
                      <c:pt idx="347">
                        <c:v>1.873</c:v>
                      </c:pt>
                      <c:pt idx="348">
                        <c:v>1.873</c:v>
                      </c:pt>
                      <c:pt idx="349">
                        <c:v>1.873</c:v>
                      </c:pt>
                      <c:pt idx="350">
                        <c:v>1.873</c:v>
                      </c:pt>
                      <c:pt idx="351">
                        <c:v>1.873</c:v>
                      </c:pt>
                      <c:pt idx="352">
                        <c:v>1.873</c:v>
                      </c:pt>
                      <c:pt idx="353">
                        <c:v>1.873</c:v>
                      </c:pt>
                      <c:pt idx="354">
                        <c:v>1.873</c:v>
                      </c:pt>
                      <c:pt idx="355">
                        <c:v>1.873</c:v>
                      </c:pt>
                      <c:pt idx="356">
                        <c:v>1.873</c:v>
                      </c:pt>
                      <c:pt idx="357">
                        <c:v>1.873</c:v>
                      </c:pt>
                      <c:pt idx="358">
                        <c:v>1.873</c:v>
                      </c:pt>
                      <c:pt idx="359">
                        <c:v>1.873</c:v>
                      </c:pt>
                      <c:pt idx="360">
                        <c:v>1.873</c:v>
                      </c:pt>
                      <c:pt idx="361">
                        <c:v>1.873</c:v>
                      </c:pt>
                      <c:pt idx="362">
                        <c:v>1.873</c:v>
                      </c:pt>
                      <c:pt idx="363">
                        <c:v>1.873</c:v>
                      </c:pt>
                      <c:pt idx="364">
                        <c:v>1.873</c:v>
                      </c:pt>
                      <c:pt idx="365">
                        <c:v>1.873</c:v>
                      </c:pt>
                      <c:pt idx="366">
                        <c:v>1.873</c:v>
                      </c:pt>
                      <c:pt idx="367">
                        <c:v>1.873</c:v>
                      </c:pt>
                      <c:pt idx="368">
                        <c:v>1.873</c:v>
                      </c:pt>
                      <c:pt idx="369">
                        <c:v>1.873</c:v>
                      </c:pt>
                      <c:pt idx="370">
                        <c:v>1.9159999999999999</c:v>
                      </c:pt>
                      <c:pt idx="371">
                        <c:v>1.9159999999999999</c:v>
                      </c:pt>
                      <c:pt idx="372">
                        <c:v>1.9159999999999999</c:v>
                      </c:pt>
                      <c:pt idx="373">
                        <c:v>1.9159999999999999</c:v>
                      </c:pt>
                      <c:pt idx="374">
                        <c:v>1.9159999999999999</c:v>
                      </c:pt>
                      <c:pt idx="375">
                        <c:v>1.9159999999999999</c:v>
                      </c:pt>
                      <c:pt idx="376">
                        <c:v>1.9159999999999999</c:v>
                      </c:pt>
                      <c:pt idx="377">
                        <c:v>1.9159999999999999</c:v>
                      </c:pt>
                      <c:pt idx="378">
                        <c:v>1.9159999999999999</c:v>
                      </c:pt>
                      <c:pt idx="379">
                        <c:v>1.9159999999999999</c:v>
                      </c:pt>
                      <c:pt idx="380">
                        <c:v>1.9159999999999999</c:v>
                      </c:pt>
                      <c:pt idx="381">
                        <c:v>1.9159999999999999</c:v>
                      </c:pt>
                      <c:pt idx="382">
                        <c:v>1.9159999999999999</c:v>
                      </c:pt>
                      <c:pt idx="383">
                        <c:v>1.9159999999999999</c:v>
                      </c:pt>
                      <c:pt idx="384">
                        <c:v>1.9159999999999999</c:v>
                      </c:pt>
                      <c:pt idx="385">
                        <c:v>1.9159999999999999</c:v>
                      </c:pt>
                      <c:pt idx="386">
                        <c:v>1.9159999999999999</c:v>
                      </c:pt>
                      <c:pt idx="387">
                        <c:v>1.9159999999999999</c:v>
                      </c:pt>
                      <c:pt idx="388">
                        <c:v>1.9159999999999999</c:v>
                      </c:pt>
                      <c:pt idx="389">
                        <c:v>1.9159999999999999</c:v>
                      </c:pt>
                      <c:pt idx="390">
                        <c:v>1.9330000000000001</c:v>
                      </c:pt>
                      <c:pt idx="391">
                        <c:v>1.9330000000000001</c:v>
                      </c:pt>
                      <c:pt idx="392">
                        <c:v>1.9330000000000001</c:v>
                      </c:pt>
                      <c:pt idx="393">
                        <c:v>1.9330000000000001</c:v>
                      </c:pt>
                      <c:pt idx="394">
                        <c:v>1.9330000000000001</c:v>
                      </c:pt>
                      <c:pt idx="395">
                        <c:v>1.9330000000000001</c:v>
                      </c:pt>
                      <c:pt idx="396">
                        <c:v>1.9330000000000001</c:v>
                      </c:pt>
                      <c:pt idx="397">
                        <c:v>1.9330000000000001</c:v>
                      </c:pt>
                      <c:pt idx="398">
                        <c:v>1.9330000000000001</c:v>
                      </c:pt>
                      <c:pt idx="399">
                        <c:v>1.9330000000000001</c:v>
                      </c:pt>
                      <c:pt idx="400">
                        <c:v>1.9330000000000001</c:v>
                      </c:pt>
                      <c:pt idx="401">
                        <c:v>1.9330000000000001</c:v>
                      </c:pt>
                      <c:pt idx="402">
                        <c:v>1.9330000000000001</c:v>
                      </c:pt>
                      <c:pt idx="403">
                        <c:v>1.9330000000000001</c:v>
                      </c:pt>
                      <c:pt idx="404">
                        <c:v>1.9330000000000001</c:v>
                      </c:pt>
                      <c:pt idx="405">
                        <c:v>1.9330000000000001</c:v>
                      </c:pt>
                      <c:pt idx="406">
                        <c:v>1.9330000000000001</c:v>
                      </c:pt>
                      <c:pt idx="407">
                        <c:v>1.9330000000000001</c:v>
                      </c:pt>
                      <c:pt idx="408">
                        <c:v>1.9330000000000001</c:v>
                      </c:pt>
                      <c:pt idx="409">
                        <c:v>1.9330000000000001</c:v>
                      </c:pt>
                      <c:pt idx="410">
                        <c:v>2.077</c:v>
                      </c:pt>
                      <c:pt idx="411">
                        <c:v>2.077</c:v>
                      </c:pt>
                      <c:pt idx="412">
                        <c:v>2.077</c:v>
                      </c:pt>
                      <c:pt idx="413">
                        <c:v>2.077</c:v>
                      </c:pt>
                      <c:pt idx="414">
                        <c:v>2.077</c:v>
                      </c:pt>
                      <c:pt idx="415">
                        <c:v>2.077</c:v>
                      </c:pt>
                      <c:pt idx="416">
                        <c:v>2.077</c:v>
                      </c:pt>
                      <c:pt idx="417">
                        <c:v>2.077</c:v>
                      </c:pt>
                      <c:pt idx="418">
                        <c:v>2.077</c:v>
                      </c:pt>
                      <c:pt idx="419">
                        <c:v>2.077</c:v>
                      </c:pt>
                      <c:pt idx="420">
                        <c:v>2.077</c:v>
                      </c:pt>
                      <c:pt idx="421">
                        <c:v>2.077</c:v>
                      </c:pt>
                      <c:pt idx="422">
                        <c:v>2.077</c:v>
                      </c:pt>
                      <c:pt idx="423">
                        <c:v>2.077</c:v>
                      </c:pt>
                      <c:pt idx="424">
                        <c:v>2.077</c:v>
                      </c:pt>
                      <c:pt idx="425">
                        <c:v>2.077</c:v>
                      </c:pt>
                      <c:pt idx="426">
                        <c:v>2.077</c:v>
                      </c:pt>
                      <c:pt idx="427">
                        <c:v>2.077</c:v>
                      </c:pt>
                      <c:pt idx="428">
                        <c:v>2.077</c:v>
                      </c:pt>
                      <c:pt idx="429">
                        <c:v>2.077</c:v>
                      </c:pt>
                      <c:pt idx="430">
                        <c:v>2.077</c:v>
                      </c:pt>
                      <c:pt idx="431">
                        <c:v>2.077</c:v>
                      </c:pt>
                      <c:pt idx="432">
                        <c:v>2.077</c:v>
                      </c:pt>
                      <c:pt idx="433">
                        <c:v>2.077</c:v>
                      </c:pt>
                      <c:pt idx="434">
                        <c:v>2.077</c:v>
                      </c:pt>
                      <c:pt idx="435">
                        <c:v>2.1309999999999998</c:v>
                      </c:pt>
                      <c:pt idx="436">
                        <c:v>2.1309999999999998</c:v>
                      </c:pt>
                      <c:pt idx="437">
                        <c:v>2.1309999999999998</c:v>
                      </c:pt>
                      <c:pt idx="438">
                        <c:v>2.1309999999999998</c:v>
                      </c:pt>
                      <c:pt idx="439">
                        <c:v>2.1309999999999998</c:v>
                      </c:pt>
                      <c:pt idx="440">
                        <c:v>2.1309999999999998</c:v>
                      </c:pt>
                      <c:pt idx="441">
                        <c:v>2.1309999999999998</c:v>
                      </c:pt>
                      <c:pt idx="442">
                        <c:v>2.1309999999999998</c:v>
                      </c:pt>
                      <c:pt idx="443">
                        <c:v>2.1309999999999998</c:v>
                      </c:pt>
                      <c:pt idx="444">
                        <c:v>2.1309999999999998</c:v>
                      </c:pt>
                      <c:pt idx="445">
                        <c:v>2.1309999999999998</c:v>
                      </c:pt>
                      <c:pt idx="446">
                        <c:v>2.1309999999999998</c:v>
                      </c:pt>
                      <c:pt idx="447">
                        <c:v>2.1309999999999998</c:v>
                      </c:pt>
                      <c:pt idx="448">
                        <c:v>2.1309999999999998</c:v>
                      </c:pt>
                      <c:pt idx="449">
                        <c:v>2.1309999999999998</c:v>
                      </c:pt>
                      <c:pt idx="450">
                        <c:v>2.1309999999999998</c:v>
                      </c:pt>
                      <c:pt idx="451">
                        <c:v>2.1309999999999998</c:v>
                      </c:pt>
                      <c:pt idx="452">
                        <c:v>2.1309999999999998</c:v>
                      </c:pt>
                      <c:pt idx="453">
                        <c:v>2.1309999999999998</c:v>
                      </c:pt>
                      <c:pt idx="454">
                        <c:v>2.1309999999999998</c:v>
                      </c:pt>
                      <c:pt idx="455">
                        <c:v>2.194</c:v>
                      </c:pt>
                      <c:pt idx="456">
                        <c:v>2.194</c:v>
                      </c:pt>
                      <c:pt idx="457">
                        <c:v>2.194</c:v>
                      </c:pt>
                      <c:pt idx="458">
                        <c:v>2.194</c:v>
                      </c:pt>
                      <c:pt idx="459">
                        <c:v>2.194</c:v>
                      </c:pt>
                      <c:pt idx="460">
                        <c:v>2.194</c:v>
                      </c:pt>
                      <c:pt idx="461">
                        <c:v>2.194</c:v>
                      </c:pt>
                      <c:pt idx="462">
                        <c:v>2.194</c:v>
                      </c:pt>
                      <c:pt idx="463">
                        <c:v>2.194</c:v>
                      </c:pt>
                      <c:pt idx="464">
                        <c:v>2.194</c:v>
                      </c:pt>
                      <c:pt idx="465">
                        <c:v>2.194</c:v>
                      </c:pt>
                      <c:pt idx="466">
                        <c:v>2.194</c:v>
                      </c:pt>
                      <c:pt idx="467">
                        <c:v>2.194</c:v>
                      </c:pt>
                      <c:pt idx="468">
                        <c:v>2.194</c:v>
                      </c:pt>
                      <c:pt idx="469">
                        <c:v>2.194</c:v>
                      </c:pt>
                      <c:pt idx="470">
                        <c:v>2.194</c:v>
                      </c:pt>
                      <c:pt idx="471">
                        <c:v>2.194</c:v>
                      </c:pt>
                      <c:pt idx="472">
                        <c:v>2.194</c:v>
                      </c:pt>
                      <c:pt idx="473">
                        <c:v>2.194</c:v>
                      </c:pt>
                      <c:pt idx="474">
                        <c:v>2.194</c:v>
                      </c:pt>
                      <c:pt idx="475">
                        <c:v>2.3180000000000001</c:v>
                      </c:pt>
                      <c:pt idx="476">
                        <c:v>2.3180000000000001</c:v>
                      </c:pt>
                      <c:pt idx="477">
                        <c:v>2.3180000000000001</c:v>
                      </c:pt>
                      <c:pt idx="478">
                        <c:v>2.3180000000000001</c:v>
                      </c:pt>
                      <c:pt idx="479">
                        <c:v>2.3180000000000001</c:v>
                      </c:pt>
                      <c:pt idx="480">
                        <c:v>2.3180000000000001</c:v>
                      </c:pt>
                      <c:pt idx="481">
                        <c:v>2.3180000000000001</c:v>
                      </c:pt>
                      <c:pt idx="482">
                        <c:v>2.3180000000000001</c:v>
                      </c:pt>
                      <c:pt idx="483">
                        <c:v>2.3180000000000001</c:v>
                      </c:pt>
                      <c:pt idx="484">
                        <c:v>2.3180000000000001</c:v>
                      </c:pt>
                      <c:pt idx="485">
                        <c:v>2.3180000000000001</c:v>
                      </c:pt>
                      <c:pt idx="486">
                        <c:v>2.3180000000000001</c:v>
                      </c:pt>
                      <c:pt idx="487">
                        <c:v>2.3180000000000001</c:v>
                      </c:pt>
                      <c:pt idx="488">
                        <c:v>2.3180000000000001</c:v>
                      </c:pt>
                      <c:pt idx="489">
                        <c:v>2.3180000000000001</c:v>
                      </c:pt>
                      <c:pt idx="490">
                        <c:v>2.3180000000000001</c:v>
                      </c:pt>
                      <c:pt idx="491">
                        <c:v>2.3180000000000001</c:v>
                      </c:pt>
                      <c:pt idx="492">
                        <c:v>2.3180000000000001</c:v>
                      </c:pt>
                      <c:pt idx="493">
                        <c:v>2.3180000000000001</c:v>
                      </c:pt>
                      <c:pt idx="494">
                        <c:v>2.3180000000000001</c:v>
                      </c:pt>
                      <c:pt idx="495">
                        <c:v>2.3180000000000001</c:v>
                      </c:pt>
                      <c:pt idx="496">
                        <c:v>2.3180000000000001</c:v>
                      </c:pt>
                      <c:pt idx="497">
                        <c:v>2.3180000000000001</c:v>
                      </c:pt>
                      <c:pt idx="498">
                        <c:v>2.3180000000000001</c:v>
                      </c:pt>
                      <c:pt idx="499">
                        <c:v>2.3180000000000001</c:v>
                      </c:pt>
                      <c:pt idx="500">
                        <c:v>2.3570000000000002</c:v>
                      </c:pt>
                      <c:pt idx="501">
                        <c:v>2.3570000000000002</c:v>
                      </c:pt>
                      <c:pt idx="502">
                        <c:v>2.3570000000000002</c:v>
                      </c:pt>
                      <c:pt idx="503">
                        <c:v>2.3570000000000002</c:v>
                      </c:pt>
                      <c:pt idx="504">
                        <c:v>2.3570000000000002</c:v>
                      </c:pt>
                      <c:pt idx="505">
                        <c:v>2.3570000000000002</c:v>
                      </c:pt>
                      <c:pt idx="506">
                        <c:v>2.3570000000000002</c:v>
                      </c:pt>
                      <c:pt idx="507">
                        <c:v>2.3570000000000002</c:v>
                      </c:pt>
                      <c:pt idx="508">
                        <c:v>2.3570000000000002</c:v>
                      </c:pt>
                      <c:pt idx="509">
                        <c:v>2.3570000000000002</c:v>
                      </c:pt>
                      <c:pt idx="510">
                        <c:v>2.3570000000000002</c:v>
                      </c:pt>
                      <c:pt idx="511">
                        <c:v>2.3570000000000002</c:v>
                      </c:pt>
                      <c:pt idx="512">
                        <c:v>2.3570000000000002</c:v>
                      </c:pt>
                      <c:pt idx="513">
                        <c:v>2.3570000000000002</c:v>
                      </c:pt>
                      <c:pt idx="514">
                        <c:v>2.3570000000000002</c:v>
                      </c:pt>
                      <c:pt idx="515">
                        <c:v>2.3570000000000002</c:v>
                      </c:pt>
                      <c:pt idx="516">
                        <c:v>2.3570000000000002</c:v>
                      </c:pt>
                      <c:pt idx="517">
                        <c:v>2.3570000000000002</c:v>
                      </c:pt>
                      <c:pt idx="518">
                        <c:v>2.3570000000000002</c:v>
                      </c:pt>
                      <c:pt idx="519">
                        <c:v>2.3570000000000002</c:v>
                      </c:pt>
                      <c:pt idx="520">
                        <c:v>2.3199999999999998</c:v>
                      </c:pt>
                      <c:pt idx="521">
                        <c:v>2.3199999999999998</c:v>
                      </c:pt>
                      <c:pt idx="522">
                        <c:v>2.3199999999999998</c:v>
                      </c:pt>
                      <c:pt idx="523">
                        <c:v>2.3199999999999998</c:v>
                      </c:pt>
                      <c:pt idx="524">
                        <c:v>2.3199999999999998</c:v>
                      </c:pt>
                      <c:pt idx="525">
                        <c:v>2.3199999999999998</c:v>
                      </c:pt>
                      <c:pt idx="526">
                        <c:v>2.3199999999999998</c:v>
                      </c:pt>
                      <c:pt idx="527">
                        <c:v>2.3199999999999998</c:v>
                      </c:pt>
                      <c:pt idx="528">
                        <c:v>2.3199999999999998</c:v>
                      </c:pt>
                      <c:pt idx="529">
                        <c:v>2.3199999999999998</c:v>
                      </c:pt>
                      <c:pt idx="530">
                        <c:v>2.3199999999999998</c:v>
                      </c:pt>
                      <c:pt idx="531">
                        <c:v>2.3199999999999998</c:v>
                      </c:pt>
                      <c:pt idx="532">
                        <c:v>2.3199999999999998</c:v>
                      </c:pt>
                      <c:pt idx="533">
                        <c:v>2.3199999999999998</c:v>
                      </c:pt>
                      <c:pt idx="534">
                        <c:v>2.3199999999999998</c:v>
                      </c:pt>
                      <c:pt idx="535">
                        <c:v>2.3199999999999998</c:v>
                      </c:pt>
                      <c:pt idx="536">
                        <c:v>2.3199999999999998</c:v>
                      </c:pt>
                      <c:pt idx="537">
                        <c:v>2.3199999999999998</c:v>
                      </c:pt>
                      <c:pt idx="538">
                        <c:v>2.3199999999999998</c:v>
                      </c:pt>
                      <c:pt idx="539">
                        <c:v>2.3199999999999998</c:v>
                      </c:pt>
                      <c:pt idx="540">
                        <c:v>2.3199999999999998</c:v>
                      </c:pt>
                      <c:pt idx="541">
                        <c:v>2.3199999999999998</c:v>
                      </c:pt>
                      <c:pt idx="542">
                        <c:v>2.3199999999999998</c:v>
                      </c:pt>
                      <c:pt idx="543">
                        <c:v>2.3199999999999998</c:v>
                      </c:pt>
                      <c:pt idx="544">
                        <c:v>2.3199999999999998</c:v>
                      </c:pt>
                      <c:pt idx="545">
                        <c:v>2.2999999999999998</c:v>
                      </c:pt>
                      <c:pt idx="546">
                        <c:v>2.2999999999999998</c:v>
                      </c:pt>
                      <c:pt idx="547">
                        <c:v>2.2999999999999998</c:v>
                      </c:pt>
                      <c:pt idx="548">
                        <c:v>2.2999999999999998</c:v>
                      </c:pt>
                      <c:pt idx="549">
                        <c:v>2.2999999999999998</c:v>
                      </c:pt>
                      <c:pt idx="550">
                        <c:v>2.2999999999999998</c:v>
                      </c:pt>
                      <c:pt idx="551">
                        <c:v>2.2999999999999998</c:v>
                      </c:pt>
                      <c:pt idx="552">
                        <c:v>2.2999999999999998</c:v>
                      </c:pt>
                      <c:pt idx="553">
                        <c:v>2.2999999999999998</c:v>
                      </c:pt>
                      <c:pt idx="554">
                        <c:v>2.2999999999999998</c:v>
                      </c:pt>
                      <c:pt idx="555">
                        <c:v>2.2999999999999998</c:v>
                      </c:pt>
                      <c:pt idx="556">
                        <c:v>2.2999999999999998</c:v>
                      </c:pt>
                      <c:pt idx="557">
                        <c:v>2.2999999999999998</c:v>
                      </c:pt>
                      <c:pt idx="558">
                        <c:v>2.2999999999999998</c:v>
                      </c:pt>
                      <c:pt idx="559">
                        <c:v>2.2999999999999998</c:v>
                      </c:pt>
                      <c:pt idx="560">
                        <c:v>2.2999999999999998</c:v>
                      </c:pt>
                      <c:pt idx="561">
                        <c:v>2.2999999999999998</c:v>
                      </c:pt>
                      <c:pt idx="562">
                        <c:v>2.2999999999999998</c:v>
                      </c:pt>
                      <c:pt idx="563">
                        <c:v>2.2999999999999998</c:v>
                      </c:pt>
                      <c:pt idx="564">
                        <c:v>2.2999999999999998</c:v>
                      </c:pt>
                      <c:pt idx="565">
                        <c:v>2.395</c:v>
                      </c:pt>
                      <c:pt idx="566">
                        <c:v>2.395</c:v>
                      </c:pt>
                      <c:pt idx="567">
                        <c:v>2.395</c:v>
                      </c:pt>
                      <c:pt idx="568">
                        <c:v>2.395</c:v>
                      </c:pt>
                      <c:pt idx="569">
                        <c:v>2.395</c:v>
                      </c:pt>
                      <c:pt idx="570">
                        <c:v>2.395</c:v>
                      </c:pt>
                      <c:pt idx="571">
                        <c:v>2.395</c:v>
                      </c:pt>
                      <c:pt idx="572">
                        <c:v>2.395</c:v>
                      </c:pt>
                      <c:pt idx="573">
                        <c:v>2.395</c:v>
                      </c:pt>
                      <c:pt idx="574">
                        <c:v>2.395</c:v>
                      </c:pt>
                      <c:pt idx="575">
                        <c:v>2.395</c:v>
                      </c:pt>
                      <c:pt idx="576">
                        <c:v>2.395</c:v>
                      </c:pt>
                      <c:pt idx="577">
                        <c:v>2.395</c:v>
                      </c:pt>
                      <c:pt idx="578">
                        <c:v>2.395</c:v>
                      </c:pt>
                      <c:pt idx="579">
                        <c:v>2.395</c:v>
                      </c:pt>
                      <c:pt idx="580">
                        <c:v>2.395</c:v>
                      </c:pt>
                      <c:pt idx="581">
                        <c:v>2.395</c:v>
                      </c:pt>
                      <c:pt idx="582">
                        <c:v>2.395</c:v>
                      </c:pt>
                      <c:pt idx="583">
                        <c:v>2.395</c:v>
                      </c:pt>
                      <c:pt idx="584">
                        <c:v>2.395</c:v>
                      </c:pt>
                      <c:pt idx="585">
                        <c:v>2.3969999999999998</c:v>
                      </c:pt>
                      <c:pt idx="586">
                        <c:v>2.3969999999999998</c:v>
                      </c:pt>
                      <c:pt idx="587">
                        <c:v>2.3969999999999998</c:v>
                      </c:pt>
                      <c:pt idx="588">
                        <c:v>2.3969999999999998</c:v>
                      </c:pt>
                      <c:pt idx="589">
                        <c:v>2.3969999999999998</c:v>
                      </c:pt>
                      <c:pt idx="590">
                        <c:v>2.3969999999999998</c:v>
                      </c:pt>
                      <c:pt idx="591">
                        <c:v>2.3969999999999998</c:v>
                      </c:pt>
                      <c:pt idx="592">
                        <c:v>2.3969999999999998</c:v>
                      </c:pt>
                      <c:pt idx="593">
                        <c:v>2.3969999999999998</c:v>
                      </c:pt>
                      <c:pt idx="594">
                        <c:v>2.3969999999999998</c:v>
                      </c:pt>
                      <c:pt idx="595">
                        <c:v>2.3969999999999998</c:v>
                      </c:pt>
                      <c:pt idx="596">
                        <c:v>2.3969999999999998</c:v>
                      </c:pt>
                      <c:pt idx="597">
                        <c:v>2.3969999999999998</c:v>
                      </c:pt>
                      <c:pt idx="598">
                        <c:v>2.3969999999999998</c:v>
                      </c:pt>
                      <c:pt idx="599">
                        <c:v>2.3969999999999998</c:v>
                      </c:pt>
                      <c:pt idx="600">
                        <c:v>2.3969999999999998</c:v>
                      </c:pt>
                      <c:pt idx="601">
                        <c:v>2.3969999999999998</c:v>
                      </c:pt>
                      <c:pt idx="602">
                        <c:v>2.3969999999999998</c:v>
                      </c:pt>
                      <c:pt idx="603">
                        <c:v>2.3969999999999998</c:v>
                      </c:pt>
                      <c:pt idx="604">
                        <c:v>2.3969999999999998</c:v>
                      </c:pt>
                      <c:pt idx="605">
                        <c:v>2.5249999999999999</c:v>
                      </c:pt>
                      <c:pt idx="606">
                        <c:v>2.5249999999999999</c:v>
                      </c:pt>
                      <c:pt idx="607">
                        <c:v>2.5249999999999999</c:v>
                      </c:pt>
                      <c:pt idx="608">
                        <c:v>2.5249999999999999</c:v>
                      </c:pt>
                      <c:pt idx="609">
                        <c:v>2.5249999999999999</c:v>
                      </c:pt>
                      <c:pt idx="610">
                        <c:v>2.5249999999999999</c:v>
                      </c:pt>
                      <c:pt idx="611">
                        <c:v>2.5249999999999999</c:v>
                      </c:pt>
                      <c:pt idx="612">
                        <c:v>2.5249999999999999</c:v>
                      </c:pt>
                      <c:pt idx="613">
                        <c:v>2.5249999999999999</c:v>
                      </c:pt>
                      <c:pt idx="614">
                        <c:v>2.5249999999999999</c:v>
                      </c:pt>
                      <c:pt idx="615">
                        <c:v>2.5249999999999999</c:v>
                      </c:pt>
                      <c:pt idx="616">
                        <c:v>2.5249999999999999</c:v>
                      </c:pt>
                      <c:pt idx="617">
                        <c:v>2.5249999999999999</c:v>
                      </c:pt>
                      <c:pt idx="618">
                        <c:v>2.5249999999999999</c:v>
                      </c:pt>
                      <c:pt idx="619">
                        <c:v>2.5249999999999999</c:v>
                      </c:pt>
                      <c:pt idx="620">
                        <c:v>2.5249999999999999</c:v>
                      </c:pt>
                      <c:pt idx="621">
                        <c:v>2.5249999999999999</c:v>
                      </c:pt>
                      <c:pt idx="622">
                        <c:v>2.5249999999999999</c:v>
                      </c:pt>
                      <c:pt idx="623">
                        <c:v>2.5249999999999999</c:v>
                      </c:pt>
                      <c:pt idx="624">
                        <c:v>2.5249999999999999</c:v>
                      </c:pt>
                      <c:pt idx="625">
                        <c:v>2.5249999999999999</c:v>
                      </c:pt>
                      <c:pt idx="626">
                        <c:v>2.5249999999999999</c:v>
                      </c:pt>
                      <c:pt idx="627">
                        <c:v>2.5249999999999999</c:v>
                      </c:pt>
                      <c:pt idx="628">
                        <c:v>2.5249999999999999</c:v>
                      </c:pt>
                      <c:pt idx="629">
                        <c:v>2.5249999999999999</c:v>
                      </c:pt>
                      <c:pt idx="630">
                        <c:v>2.6850000000000001</c:v>
                      </c:pt>
                      <c:pt idx="631">
                        <c:v>2.6850000000000001</c:v>
                      </c:pt>
                      <c:pt idx="632">
                        <c:v>2.6850000000000001</c:v>
                      </c:pt>
                      <c:pt idx="633">
                        <c:v>2.6850000000000001</c:v>
                      </c:pt>
                      <c:pt idx="634">
                        <c:v>2.6850000000000001</c:v>
                      </c:pt>
                      <c:pt idx="635">
                        <c:v>2.6850000000000001</c:v>
                      </c:pt>
                      <c:pt idx="636">
                        <c:v>2.6850000000000001</c:v>
                      </c:pt>
                      <c:pt idx="637">
                        <c:v>2.6850000000000001</c:v>
                      </c:pt>
                      <c:pt idx="638">
                        <c:v>2.6850000000000001</c:v>
                      </c:pt>
                      <c:pt idx="639">
                        <c:v>2.6850000000000001</c:v>
                      </c:pt>
                      <c:pt idx="640">
                        <c:v>2.6850000000000001</c:v>
                      </c:pt>
                      <c:pt idx="641">
                        <c:v>2.6850000000000001</c:v>
                      </c:pt>
                      <c:pt idx="642">
                        <c:v>2.6850000000000001</c:v>
                      </c:pt>
                      <c:pt idx="643">
                        <c:v>2.6850000000000001</c:v>
                      </c:pt>
                      <c:pt idx="644">
                        <c:v>2.6850000000000001</c:v>
                      </c:pt>
                      <c:pt idx="645">
                        <c:v>2.6850000000000001</c:v>
                      </c:pt>
                      <c:pt idx="646">
                        <c:v>2.6850000000000001</c:v>
                      </c:pt>
                      <c:pt idx="647">
                        <c:v>2.6850000000000001</c:v>
                      </c:pt>
                      <c:pt idx="648">
                        <c:v>2.6850000000000001</c:v>
                      </c:pt>
                      <c:pt idx="649">
                        <c:v>2.6850000000000001</c:v>
                      </c:pt>
                      <c:pt idx="650">
                        <c:v>2.702</c:v>
                      </c:pt>
                      <c:pt idx="651">
                        <c:v>2.702</c:v>
                      </c:pt>
                      <c:pt idx="652">
                        <c:v>2.702</c:v>
                      </c:pt>
                      <c:pt idx="653">
                        <c:v>2.702</c:v>
                      </c:pt>
                      <c:pt idx="654">
                        <c:v>2.702</c:v>
                      </c:pt>
                      <c:pt idx="655">
                        <c:v>2.702</c:v>
                      </c:pt>
                      <c:pt idx="656">
                        <c:v>2.702</c:v>
                      </c:pt>
                      <c:pt idx="657">
                        <c:v>2.702</c:v>
                      </c:pt>
                      <c:pt idx="658">
                        <c:v>2.702</c:v>
                      </c:pt>
                      <c:pt idx="659">
                        <c:v>2.702</c:v>
                      </c:pt>
                      <c:pt idx="660">
                        <c:v>2.702</c:v>
                      </c:pt>
                      <c:pt idx="661">
                        <c:v>2.702</c:v>
                      </c:pt>
                      <c:pt idx="662">
                        <c:v>2.702</c:v>
                      </c:pt>
                      <c:pt idx="663">
                        <c:v>2.702</c:v>
                      </c:pt>
                      <c:pt idx="664">
                        <c:v>2.702</c:v>
                      </c:pt>
                      <c:pt idx="665">
                        <c:v>2.702</c:v>
                      </c:pt>
                      <c:pt idx="666">
                        <c:v>2.702</c:v>
                      </c:pt>
                      <c:pt idx="667">
                        <c:v>2.702</c:v>
                      </c:pt>
                      <c:pt idx="668">
                        <c:v>2.702</c:v>
                      </c:pt>
                      <c:pt idx="669">
                        <c:v>2.702</c:v>
                      </c:pt>
                      <c:pt idx="670">
                        <c:v>2.7480000000000002</c:v>
                      </c:pt>
                      <c:pt idx="671">
                        <c:v>2.7480000000000002</c:v>
                      </c:pt>
                      <c:pt idx="672">
                        <c:v>2.7480000000000002</c:v>
                      </c:pt>
                      <c:pt idx="673">
                        <c:v>2.7480000000000002</c:v>
                      </c:pt>
                      <c:pt idx="674">
                        <c:v>2.7480000000000002</c:v>
                      </c:pt>
                      <c:pt idx="675">
                        <c:v>2.7480000000000002</c:v>
                      </c:pt>
                      <c:pt idx="676">
                        <c:v>2.7480000000000002</c:v>
                      </c:pt>
                      <c:pt idx="677">
                        <c:v>2.7480000000000002</c:v>
                      </c:pt>
                      <c:pt idx="678">
                        <c:v>2.7480000000000002</c:v>
                      </c:pt>
                      <c:pt idx="679">
                        <c:v>2.7480000000000002</c:v>
                      </c:pt>
                      <c:pt idx="680">
                        <c:v>2.7480000000000002</c:v>
                      </c:pt>
                      <c:pt idx="681">
                        <c:v>2.7480000000000002</c:v>
                      </c:pt>
                      <c:pt idx="682">
                        <c:v>2.7480000000000002</c:v>
                      </c:pt>
                      <c:pt idx="683">
                        <c:v>2.7480000000000002</c:v>
                      </c:pt>
                      <c:pt idx="684">
                        <c:v>2.7480000000000002</c:v>
                      </c:pt>
                      <c:pt idx="685">
                        <c:v>2.7480000000000002</c:v>
                      </c:pt>
                      <c:pt idx="686">
                        <c:v>2.7480000000000002</c:v>
                      </c:pt>
                      <c:pt idx="687">
                        <c:v>2.7480000000000002</c:v>
                      </c:pt>
                      <c:pt idx="688">
                        <c:v>2.7480000000000002</c:v>
                      </c:pt>
                      <c:pt idx="689">
                        <c:v>2.7480000000000002</c:v>
                      </c:pt>
                      <c:pt idx="690">
                        <c:v>2.7480000000000002</c:v>
                      </c:pt>
                      <c:pt idx="691">
                        <c:v>2.7480000000000002</c:v>
                      </c:pt>
                      <c:pt idx="692">
                        <c:v>2.7480000000000002</c:v>
                      </c:pt>
                      <c:pt idx="693">
                        <c:v>2.7480000000000002</c:v>
                      </c:pt>
                      <c:pt idx="694">
                        <c:v>2.7480000000000002</c:v>
                      </c:pt>
                      <c:pt idx="695">
                        <c:v>2.8010000000000002</c:v>
                      </c:pt>
                      <c:pt idx="696">
                        <c:v>2.8010000000000002</c:v>
                      </c:pt>
                      <c:pt idx="697">
                        <c:v>2.8010000000000002</c:v>
                      </c:pt>
                      <c:pt idx="698">
                        <c:v>2.8010000000000002</c:v>
                      </c:pt>
                      <c:pt idx="699">
                        <c:v>2.8010000000000002</c:v>
                      </c:pt>
                      <c:pt idx="700">
                        <c:v>2.8010000000000002</c:v>
                      </c:pt>
                      <c:pt idx="701">
                        <c:v>2.8010000000000002</c:v>
                      </c:pt>
                      <c:pt idx="702">
                        <c:v>2.8010000000000002</c:v>
                      </c:pt>
                      <c:pt idx="703">
                        <c:v>2.8010000000000002</c:v>
                      </c:pt>
                      <c:pt idx="704">
                        <c:v>2.8010000000000002</c:v>
                      </c:pt>
                      <c:pt idx="705">
                        <c:v>2.8010000000000002</c:v>
                      </c:pt>
                      <c:pt idx="706">
                        <c:v>2.8010000000000002</c:v>
                      </c:pt>
                      <c:pt idx="707">
                        <c:v>2.8010000000000002</c:v>
                      </c:pt>
                      <c:pt idx="708">
                        <c:v>2.8010000000000002</c:v>
                      </c:pt>
                      <c:pt idx="709">
                        <c:v>2.8010000000000002</c:v>
                      </c:pt>
                      <c:pt idx="710">
                        <c:v>2.8010000000000002</c:v>
                      </c:pt>
                      <c:pt idx="711">
                        <c:v>2.8010000000000002</c:v>
                      </c:pt>
                      <c:pt idx="712">
                        <c:v>2.8010000000000002</c:v>
                      </c:pt>
                      <c:pt idx="713">
                        <c:v>2.8010000000000002</c:v>
                      </c:pt>
                      <c:pt idx="714">
                        <c:v>2.8010000000000002</c:v>
                      </c:pt>
                      <c:pt idx="715">
                        <c:v>2.8650000000000002</c:v>
                      </c:pt>
                      <c:pt idx="716">
                        <c:v>2.8650000000000002</c:v>
                      </c:pt>
                      <c:pt idx="717">
                        <c:v>2.8650000000000002</c:v>
                      </c:pt>
                      <c:pt idx="718">
                        <c:v>2.8650000000000002</c:v>
                      </c:pt>
                      <c:pt idx="719">
                        <c:v>2.8650000000000002</c:v>
                      </c:pt>
                      <c:pt idx="720">
                        <c:v>2.8650000000000002</c:v>
                      </c:pt>
                      <c:pt idx="721">
                        <c:v>2.8650000000000002</c:v>
                      </c:pt>
                      <c:pt idx="722">
                        <c:v>2.8650000000000002</c:v>
                      </c:pt>
                      <c:pt idx="723">
                        <c:v>2.8650000000000002</c:v>
                      </c:pt>
                      <c:pt idx="724">
                        <c:v>2.8650000000000002</c:v>
                      </c:pt>
                      <c:pt idx="725">
                        <c:v>2.8650000000000002</c:v>
                      </c:pt>
                      <c:pt idx="726">
                        <c:v>2.8650000000000002</c:v>
                      </c:pt>
                      <c:pt idx="727">
                        <c:v>2.8650000000000002</c:v>
                      </c:pt>
                      <c:pt idx="728">
                        <c:v>2.8650000000000002</c:v>
                      </c:pt>
                      <c:pt idx="729">
                        <c:v>2.8650000000000002</c:v>
                      </c:pt>
                      <c:pt idx="730">
                        <c:v>2.8650000000000002</c:v>
                      </c:pt>
                      <c:pt idx="731">
                        <c:v>2.8650000000000002</c:v>
                      </c:pt>
                      <c:pt idx="732">
                        <c:v>2.8650000000000002</c:v>
                      </c:pt>
                      <c:pt idx="733">
                        <c:v>2.8650000000000002</c:v>
                      </c:pt>
                      <c:pt idx="734">
                        <c:v>2.8650000000000002</c:v>
                      </c:pt>
                      <c:pt idx="735">
                        <c:v>2.8650000000000002</c:v>
                      </c:pt>
                      <c:pt idx="736">
                        <c:v>2.8650000000000002</c:v>
                      </c:pt>
                      <c:pt idx="737">
                        <c:v>2.8650000000000002</c:v>
                      </c:pt>
                      <c:pt idx="738">
                        <c:v>2.8650000000000002</c:v>
                      </c:pt>
                      <c:pt idx="739">
                        <c:v>2.8650000000000002</c:v>
                      </c:pt>
                      <c:pt idx="740">
                        <c:v>2.9390000000000001</c:v>
                      </c:pt>
                      <c:pt idx="741">
                        <c:v>2.9390000000000001</c:v>
                      </c:pt>
                      <c:pt idx="742">
                        <c:v>2.9390000000000001</c:v>
                      </c:pt>
                      <c:pt idx="743">
                        <c:v>2.9390000000000001</c:v>
                      </c:pt>
                      <c:pt idx="744">
                        <c:v>2.9390000000000001</c:v>
                      </c:pt>
                      <c:pt idx="745">
                        <c:v>2.9390000000000001</c:v>
                      </c:pt>
                      <c:pt idx="746">
                        <c:v>2.9390000000000001</c:v>
                      </c:pt>
                      <c:pt idx="747">
                        <c:v>2.9390000000000001</c:v>
                      </c:pt>
                      <c:pt idx="748">
                        <c:v>2.9390000000000001</c:v>
                      </c:pt>
                      <c:pt idx="749">
                        <c:v>2.9390000000000001</c:v>
                      </c:pt>
                      <c:pt idx="750">
                        <c:v>2.9390000000000001</c:v>
                      </c:pt>
                      <c:pt idx="751">
                        <c:v>2.9390000000000001</c:v>
                      </c:pt>
                      <c:pt idx="752">
                        <c:v>2.9390000000000001</c:v>
                      </c:pt>
                      <c:pt idx="753">
                        <c:v>2.9390000000000001</c:v>
                      </c:pt>
                      <c:pt idx="754">
                        <c:v>2.9390000000000001</c:v>
                      </c:pt>
                      <c:pt idx="755">
                        <c:v>2.9390000000000001</c:v>
                      </c:pt>
                      <c:pt idx="756">
                        <c:v>2.9390000000000001</c:v>
                      </c:pt>
                      <c:pt idx="757">
                        <c:v>2.9390000000000001</c:v>
                      </c:pt>
                      <c:pt idx="758">
                        <c:v>2.9390000000000001</c:v>
                      </c:pt>
                      <c:pt idx="759">
                        <c:v>2.9390000000000001</c:v>
                      </c:pt>
                      <c:pt idx="760">
                        <c:v>2.8809999999999998</c:v>
                      </c:pt>
                      <c:pt idx="761">
                        <c:v>2.8809999999999998</c:v>
                      </c:pt>
                      <c:pt idx="762">
                        <c:v>2.8809999999999998</c:v>
                      </c:pt>
                      <c:pt idx="763">
                        <c:v>2.8809999999999998</c:v>
                      </c:pt>
                      <c:pt idx="764">
                        <c:v>2.8809999999999998</c:v>
                      </c:pt>
                      <c:pt idx="765">
                        <c:v>2.8809999999999998</c:v>
                      </c:pt>
                      <c:pt idx="766">
                        <c:v>2.8809999999999998</c:v>
                      </c:pt>
                      <c:pt idx="767">
                        <c:v>2.8809999999999998</c:v>
                      </c:pt>
                      <c:pt idx="768">
                        <c:v>2.8809999999999998</c:v>
                      </c:pt>
                      <c:pt idx="769">
                        <c:v>2.8809999999999998</c:v>
                      </c:pt>
                      <c:pt idx="770">
                        <c:v>2.8809999999999998</c:v>
                      </c:pt>
                      <c:pt idx="771">
                        <c:v>2.8809999999999998</c:v>
                      </c:pt>
                      <c:pt idx="772">
                        <c:v>2.8809999999999998</c:v>
                      </c:pt>
                      <c:pt idx="773">
                        <c:v>2.8809999999999998</c:v>
                      </c:pt>
                      <c:pt idx="774">
                        <c:v>2.8809999999999998</c:v>
                      </c:pt>
                      <c:pt idx="775">
                        <c:v>2.8809999999999998</c:v>
                      </c:pt>
                      <c:pt idx="776">
                        <c:v>2.8809999999999998</c:v>
                      </c:pt>
                      <c:pt idx="777">
                        <c:v>2.8809999999999998</c:v>
                      </c:pt>
                      <c:pt idx="778">
                        <c:v>2.8809999999999998</c:v>
                      </c:pt>
                      <c:pt idx="779">
                        <c:v>2.8809999999999998</c:v>
                      </c:pt>
                      <c:pt idx="780">
                        <c:v>2.867</c:v>
                      </c:pt>
                      <c:pt idx="781">
                        <c:v>2.867</c:v>
                      </c:pt>
                      <c:pt idx="782">
                        <c:v>2.867</c:v>
                      </c:pt>
                      <c:pt idx="783">
                        <c:v>2.867</c:v>
                      </c:pt>
                      <c:pt idx="784">
                        <c:v>2.867</c:v>
                      </c:pt>
                      <c:pt idx="785">
                        <c:v>2.867</c:v>
                      </c:pt>
                      <c:pt idx="786">
                        <c:v>2.867</c:v>
                      </c:pt>
                      <c:pt idx="787">
                        <c:v>2.867</c:v>
                      </c:pt>
                      <c:pt idx="788">
                        <c:v>2.867</c:v>
                      </c:pt>
                      <c:pt idx="789">
                        <c:v>2.867</c:v>
                      </c:pt>
                      <c:pt idx="790">
                        <c:v>2.867</c:v>
                      </c:pt>
                      <c:pt idx="791">
                        <c:v>2.867</c:v>
                      </c:pt>
                      <c:pt idx="792">
                        <c:v>2.867</c:v>
                      </c:pt>
                      <c:pt idx="793">
                        <c:v>2.867</c:v>
                      </c:pt>
                      <c:pt idx="794">
                        <c:v>2.867</c:v>
                      </c:pt>
                      <c:pt idx="795">
                        <c:v>2.867</c:v>
                      </c:pt>
                      <c:pt idx="796">
                        <c:v>2.867</c:v>
                      </c:pt>
                      <c:pt idx="797">
                        <c:v>2.867</c:v>
                      </c:pt>
                      <c:pt idx="798">
                        <c:v>2.867</c:v>
                      </c:pt>
                      <c:pt idx="799">
                        <c:v>2.867</c:v>
                      </c:pt>
                      <c:pt idx="800">
                        <c:v>2.867</c:v>
                      </c:pt>
                      <c:pt idx="801">
                        <c:v>2.867</c:v>
                      </c:pt>
                      <c:pt idx="802">
                        <c:v>2.867</c:v>
                      </c:pt>
                      <c:pt idx="803">
                        <c:v>2.867</c:v>
                      </c:pt>
                      <c:pt idx="804">
                        <c:v>2.867</c:v>
                      </c:pt>
                      <c:pt idx="805">
                        <c:v>3.0590000000000002</c:v>
                      </c:pt>
                      <c:pt idx="806">
                        <c:v>3.0590000000000002</c:v>
                      </c:pt>
                      <c:pt idx="807">
                        <c:v>3.0590000000000002</c:v>
                      </c:pt>
                      <c:pt idx="808">
                        <c:v>3.0590000000000002</c:v>
                      </c:pt>
                      <c:pt idx="809">
                        <c:v>3.0590000000000002</c:v>
                      </c:pt>
                      <c:pt idx="810">
                        <c:v>3.0590000000000002</c:v>
                      </c:pt>
                      <c:pt idx="811">
                        <c:v>3.0590000000000002</c:v>
                      </c:pt>
                      <c:pt idx="812">
                        <c:v>3.0590000000000002</c:v>
                      </c:pt>
                      <c:pt idx="813">
                        <c:v>3.0590000000000002</c:v>
                      </c:pt>
                      <c:pt idx="814">
                        <c:v>3.0590000000000002</c:v>
                      </c:pt>
                      <c:pt idx="815">
                        <c:v>3.0590000000000002</c:v>
                      </c:pt>
                      <c:pt idx="816">
                        <c:v>3.0590000000000002</c:v>
                      </c:pt>
                      <c:pt idx="817">
                        <c:v>3.0590000000000002</c:v>
                      </c:pt>
                      <c:pt idx="818">
                        <c:v>3.0590000000000002</c:v>
                      </c:pt>
                      <c:pt idx="819">
                        <c:v>3.0590000000000002</c:v>
                      </c:pt>
                      <c:pt idx="820">
                        <c:v>3.0590000000000002</c:v>
                      </c:pt>
                      <c:pt idx="821">
                        <c:v>3.0590000000000002</c:v>
                      </c:pt>
                      <c:pt idx="822">
                        <c:v>3.0590000000000002</c:v>
                      </c:pt>
                      <c:pt idx="823">
                        <c:v>3.0590000000000002</c:v>
                      </c:pt>
                      <c:pt idx="824">
                        <c:v>3.0590000000000002</c:v>
                      </c:pt>
                      <c:pt idx="825">
                        <c:v>2.988</c:v>
                      </c:pt>
                      <c:pt idx="826">
                        <c:v>2.988</c:v>
                      </c:pt>
                      <c:pt idx="827">
                        <c:v>2.988</c:v>
                      </c:pt>
                      <c:pt idx="828">
                        <c:v>2.988</c:v>
                      </c:pt>
                      <c:pt idx="829">
                        <c:v>2.988</c:v>
                      </c:pt>
                      <c:pt idx="830">
                        <c:v>2.988</c:v>
                      </c:pt>
                      <c:pt idx="831">
                        <c:v>2.988</c:v>
                      </c:pt>
                      <c:pt idx="832">
                        <c:v>2.988</c:v>
                      </c:pt>
                      <c:pt idx="833">
                        <c:v>2.988</c:v>
                      </c:pt>
                      <c:pt idx="834">
                        <c:v>2.988</c:v>
                      </c:pt>
                      <c:pt idx="835">
                        <c:v>2.988</c:v>
                      </c:pt>
                      <c:pt idx="836">
                        <c:v>2.988</c:v>
                      </c:pt>
                      <c:pt idx="837">
                        <c:v>2.988</c:v>
                      </c:pt>
                      <c:pt idx="838">
                        <c:v>2.988</c:v>
                      </c:pt>
                      <c:pt idx="839">
                        <c:v>2.988</c:v>
                      </c:pt>
                      <c:pt idx="840">
                        <c:v>2.988</c:v>
                      </c:pt>
                      <c:pt idx="841">
                        <c:v>2.988</c:v>
                      </c:pt>
                      <c:pt idx="842">
                        <c:v>2.988</c:v>
                      </c:pt>
                      <c:pt idx="843">
                        <c:v>2.988</c:v>
                      </c:pt>
                      <c:pt idx="844">
                        <c:v>2.988</c:v>
                      </c:pt>
                      <c:pt idx="845">
                        <c:v>3.03</c:v>
                      </c:pt>
                      <c:pt idx="846">
                        <c:v>3.03</c:v>
                      </c:pt>
                      <c:pt idx="847">
                        <c:v>3.03</c:v>
                      </c:pt>
                      <c:pt idx="848">
                        <c:v>3.03</c:v>
                      </c:pt>
                      <c:pt idx="849">
                        <c:v>3.03</c:v>
                      </c:pt>
                      <c:pt idx="850">
                        <c:v>3.03</c:v>
                      </c:pt>
                      <c:pt idx="851">
                        <c:v>3.03</c:v>
                      </c:pt>
                      <c:pt idx="852">
                        <c:v>3.03</c:v>
                      </c:pt>
                      <c:pt idx="853">
                        <c:v>3.03</c:v>
                      </c:pt>
                      <c:pt idx="854">
                        <c:v>3.03</c:v>
                      </c:pt>
                      <c:pt idx="855">
                        <c:v>3.03</c:v>
                      </c:pt>
                      <c:pt idx="856">
                        <c:v>3.03</c:v>
                      </c:pt>
                      <c:pt idx="857">
                        <c:v>3.03</c:v>
                      </c:pt>
                      <c:pt idx="858">
                        <c:v>3.03</c:v>
                      </c:pt>
                      <c:pt idx="859">
                        <c:v>3.03</c:v>
                      </c:pt>
                      <c:pt idx="860">
                        <c:v>3.03</c:v>
                      </c:pt>
                      <c:pt idx="861">
                        <c:v>3.03</c:v>
                      </c:pt>
                      <c:pt idx="862">
                        <c:v>3.03</c:v>
                      </c:pt>
                      <c:pt idx="863">
                        <c:v>3.03</c:v>
                      </c:pt>
                      <c:pt idx="864">
                        <c:v>3.03</c:v>
                      </c:pt>
                      <c:pt idx="865">
                        <c:v>3.028</c:v>
                      </c:pt>
                      <c:pt idx="866">
                        <c:v>3.028</c:v>
                      </c:pt>
                      <c:pt idx="867">
                        <c:v>3.028</c:v>
                      </c:pt>
                      <c:pt idx="868">
                        <c:v>3.028</c:v>
                      </c:pt>
                      <c:pt idx="869">
                        <c:v>3.028</c:v>
                      </c:pt>
                      <c:pt idx="870">
                        <c:v>3.028</c:v>
                      </c:pt>
                      <c:pt idx="871">
                        <c:v>3.028</c:v>
                      </c:pt>
                      <c:pt idx="872">
                        <c:v>3.028</c:v>
                      </c:pt>
                      <c:pt idx="873">
                        <c:v>3.028</c:v>
                      </c:pt>
                      <c:pt idx="874">
                        <c:v>3.028</c:v>
                      </c:pt>
                      <c:pt idx="875">
                        <c:v>3.028</c:v>
                      </c:pt>
                      <c:pt idx="876">
                        <c:v>3.028</c:v>
                      </c:pt>
                      <c:pt idx="877">
                        <c:v>3.028</c:v>
                      </c:pt>
                      <c:pt idx="878">
                        <c:v>3.028</c:v>
                      </c:pt>
                      <c:pt idx="879">
                        <c:v>3.028</c:v>
                      </c:pt>
                      <c:pt idx="880">
                        <c:v>3.028</c:v>
                      </c:pt>
                      <c:pt idx="881">
                        <c:v>3.028</c:v>
                      </c:pt>
                      <c:pt idx="882">
                        <c:v>3.028</c:v>
                      </c:pt>
                      <c:pt idx="883">
                        <c:v>3.028</c:v>
                      </c:pt>
                      <c:pt idx="884">
                        <c:v>3.028</c:v>
                      </c:pt>
                      <c:pt idx="885">
                        <c:v>3.028</c:v>
                      </c:pt>
                      <c:pt idx="886">
                        <c:v>3.028</c:v>
                      </c:pt>
                      <c:pt idx="887">
                        <c:v>3.028</c:v>
                      </c:pt>
                      <c:pt idx="888">
                        <c:v>3.028</c:v>
                      </c:pt>
                      <c:pt idx="889">
                        <c:v>3.028</c:v>
                      </c:pt>
                      <c:pt idx="890">
                        <c:v>3.0089999999999999</c:v>
                      </c:pt>
                      <c:pt idx="891">
                        <c:v>3.0089999999999999</c:v>
                      </c:pt>
                      <c:pt idx="892">
                        <c:v>3.0089999999999999</c:v>
                      </c:pt>
                      <c:pt idx="893">
                        <c:v>3.0089999999999999</c:v>
                      </c:pt>
                      <c:pt idx="894">
                        <c:v>3.0089999999999999</c:v>
                      </c:pt>
                      <c:pt idx="895">
                        <c:v>3.0089999999999999</c:v>
                      </c:pt>
                      <c:pt idx="896">
                        <c:v>3.0089999999999999</c:v>
                      </c:pt>
                      <c:pt idx="897">
                        <c:v>3.0089999999999999</c:v>
                      </c:pt>
                      <c:pt idx="898">
                        <c:v>3.0089999999999999</c:v>
                      </c:pt>
                      <c:pt idx="899">
                        <c:v>3.0089999999999999</c:v>
                      </c:pt>
                      <c:pt idx="900">
                        <c:v>3.0089999999999999</c:v>
                      </c:pt>
                      <c:pt idx="901">
                        <c:v>3.0089999999999999</c:v>
                      </c:pt>
                      <c:pt idx="902">
                        <c:v>3.0089999999999999</c:v>
                      </c:pt>
                      <c:pt idx="903">
                        <c:v>3.0089999999999999</c:v>
                      </c:pt>
                      <c:pt idx="904">
                        <c:v>3.0089999999999999</c:v>
                      </c:pt>
                      <c:pt idx="905">
                        <c:v>3.0089999999999999</c:v>
                      </c:pt>
                      <c:pt idx="906">
                        <c:v>3.0089999999999999</c:v>
                      </c:pt>
                      <c:pt idx="907">
                        <c:v>3.0089999999999999</c:v>
                      </c:pt>
                      <c:pt idx="908">
                        <c:v>3.0089999999999999</c:v>
                      </c:pt>
                      <c:pt idx="909">
                        <c:v>3.0089999999999999</c:v>
                      </c:pt>
                      <c:pt idx="910">
                        <c:v>3.093</c:v>
                      </c:pt>
                      <c:pt idx="911">
                        <c:v>3.093</c:v>
                      </c:pt>
                      <c:pt idx="912">
                        <c:v>3.093</c:v>
                      </c:pt>
                      <c:pt idx="913">
                        <c:v>3.093</c:v>
                      </c:pt>
                      <c:pt idx="914">
                        <c:v>3.093</c:v>
                      </c:pt>
                      <c:pt idx="915">
                        <c:v>3.093</c:v>
                      </c:pt>
                      <c:pt idx="916">
                        <c:v>3.093</c:v>
                      </c:pt>
                      <c:pt idx="917">
                        <c:v>3.093</c:v>
                      </c:pt>
                      <c:pt idx="918">
                        <c:v>3.093</c:v>
                      </c:pt>
                      <c:pt idx="919">
                        <c:v>3.093</c:v>
                      </c:pt>
                      <c:pt idx="920">
                        <c:v>3.093</c:v>
                      </c:pt>
                      <c:pt idx="921">
                        <c:v>3.093</c:v>
                      </c:pt>
                      <c:pt idx="922">
                        <c:v>3.093</c:v>
                      </c:pt>
                      <c:pt idx="923">
                        <c:v>3.093</c:v>
                      </c:pt>
                      <c:pt idx="924">
                        <c:v>3.093</c:v>
                      </c:pt>
                      <c:pt idx="925">
                        <c:v>3.093</c:v>
                      </c:pt>
                      <c:pt idx="926">
                        <c:v>3.093</c:v>
                      </c:pt>
                      <c:pt idx="927">
                        <c:v>3.093</c:v>
                      </c:pt>
                      <c:pt idx="928">
                        <c:v>3.093</c:v>
                      </c:pt>
                      <c:pt idx="929">
                        <c:v>3.093</c:v>
                      </c:pt>
                      <c:pt idx="930">
                        <c:v>3.093</c:v>
                      </c:pt>
                      <c:pt idx="931">
                        <c:v>3.093</c:v>
                      </c:pt>
                      <c:pt idx="932">
                        <c:v>3.093</c:v>
                      </c:pt>
                      <c:pt idx="933">
                        <c:v>3.093</c:v>
                      </c:pt>
                      <c:pt idx="934">
                        <c:v>3.093</c:v>
                      </c:pt>
                      <c:pt idx="935">
                        <c:v>3.2269999999999999</c:v>
                      </c:pt>
                      <c:pt idx="936">
                        <c:v>3.2269999999999999</c:v>
                      </c:pt>
                      <c:pt idx="937">
                        <c:v>3.2269999999999999</c:v>
                      </c:pt>
                      <c:pt idx="938">
                        <c:v>3.2269999999999999</c:v>
                      </c:pt>
                      <c:pt idx="939">
                        <c:v>3.2269999999999999</c:v>
                      </c:pt>
                      <c:pt idx="940">
                        <c:v>3.2269999999999999</c:v>
                      </c:pt>
                      <c:pt idx="941">
                        <c:v>3.2269999999999999</c:v>
                      </c:pt>
                      <c:pt idx="942">
                        <c:v>3.2269999999999999</c:v>
                      </c:pt>
                      <c:pt idx="943">
                        <c:v>3.2269999999999999</c:v>
                      </c:pt>
                      <c:pt idx="944">
                        <c:v>3.2269999999999999</c:v>
                      </c:pt>
                      <c:pt idx="945">
                        <c:v>3.2269999999999999</c:v>
                      </c:pt>
                      <c:pt idx="946">
                        <c:v>3.2269999999999999</c:v>
                      </c:pt>
                      <c:pt idx="947">
                        <c:v>3.2269999999999999</c:v>
                      </c:pt>
                      <c:pt idx="948">
                        <c:v>3.2269999999999999</c:v>
                      </c:pt>
                      <c:pt idx="949">
                        <c:v>3.2269999999999999</c:v>
                      </c:pt>
                      <c:pt idx="950">
                        <c:v>3.2269999999999999</c:v>
                      </c:pt>
                      <c:pt idx="951">
                        <c:v>3.2269999999999999</c:v>
                      </c:pt>
                      <c:pt idx="952">
                        <c:v>3.2269999999999999</c:v>
                      </c:pt>
                      <c:pt idx="953">
                        <c:v>3.2269999999999999</c:v>
                      </c:pt>
                      <c:pt idx="954">
                        <c:v>3.2269999999999999</c:v>
                      </c:pt>
                      <c:pt idx="955">
                        <c:v>3.3439999999999999</c:v>
                      </c:pt>
                      <c:pt idx="956">
                        <c:v>3.3439999999999999</c:v>
                      </c:pt>
                      <c:pt idx="957">
                        <c:v>3.3439999999999999</c:v>
                      </c:pt>
                      <c:pt idx="958">
                        <c:v>3.3439999999999999</c:v>
                      </c:pt>
                      <c:pt idx="959">
                        <c:v>3.3439999999999999</c:v>
                      </c:pt>
                      <c:pt idx="960">
                        <c:v>3.3439999999999999</c:v>
                      </c:pt>
                      <c:pt idx="961">
                        <c:v>3.3439999999999999</c:v>
                      </c:pt>
                      <c:pt idx="962">
                        <c:v>3.3439999999999999</c:v>
                      </c:pt>
                      <c:pt idx="963">
                        <c:v>3.3439999999999999</c:v>
                      </c:pt>
                      <c:pt idx="964">
                        <c:v>3.3439999999999999</c:v>
                      </c:pt>
                      <c:pt idx="965">
                        <c:v>3.3439999999999999</c:v>
                      </c:pt>
                      <c:pt idx="966">
                        <c:v>3.3439999999999999</c:v>
                      </c:pt>
                      <c:pt idx="967">
                        <c:v>3.3439999999999999</c:v>
                      </c:pt>
                      <c:pt idx="968">
                        <c:v>3.3439999999999999</c:v>
                      </c:pt>
                      <c:pt idx="969">
                        <c:v>3.3439999999999999</c:v>
                      </c:pt>
                      <c:pt idx="970">
                        <c:v>3.3439999999999999</c:v>
                      </c:pt>
                      <c:pt idx="971">
                        <c:v>3.3439999999999999</c:v>
                      </c:pt>
                      <c:pt idx="972">
                        <c:v>3.3439999999999999</c:v>
                      </c:pt>
                      <c:pt idx="973">
                        <c:v>3.3439999999999999</c:v>
                      </c:pt>
                      <c:pt idx="974">
                        <c:v>3.3439999999999999</c:v>
                      </c:pt>
                      <c:pt idx="975">
                        <c:v>3.0590000000000002</c:v>
                      </c:pt>
                      <c:pt idx="976">
                        <c:v>3.0590000000000002</c:v>
                      </c:pt>
                      <c:pt idx="977">
                        <c:v>3.0590000000000002</c:v>
                      </c:pt>
                      <c:pt idx="978">
                        <c:v>3.0590000000000002</c:v>
                      </c:pt>
                      <c:pt idx="979">
                        <c:v>3.0590000000000002</c:v>
                      </c:pt>
                      <c:pt idx="980">
                        <c:v>3.0590000000000002</c:v>
                      </c:pt>
                      <c:pt idx="981">
                        <c:v>3.0590000000000002</c:v>
                      </c:pt>
                      <c:pt idx="982">
                        <c:v>3.0590000000000002</c:v>
                      </c:pt>
                      <c:pt idx="983">
                        <c:v>3.0590000000000002</c:v>
                      </c:pt>
                      <c:pt idx="984">
                        <c:v>3.0590000000000002</c:v>
                      </c:pt>
                      <c:pt idx="985">
                        <c:v>3.0590000000000002</c:v>
                      </c:pt>
                      <c:pt idx="986">
                        <c:v>3.0590000000000002</c:v>
                      </c:pt>
                      <c:pt idx="987">
                        <c:v>3.0590000000000002</c:v>
                      </c:pt>
                      <c:pt idx="988">
                        <c:v>3.0590000000000002</c:v>
                      </c:pt>
                      <c:pt idx="989">
                        <c:v>3.0590000000000002</c:v>
                      </c:pt>
                      <c:pt idx="990">
                        <c:v>3.0590000000000002</c:v>
                      </c:pt>
                      <c:pt idx="991">
                        <c:v>3.0590000000000002</c:v>
                      </c:pt>
                      <c:pt idx="992">
                        <c:v>3.0590000000000002</c:v>
                      </c:pt>
                      <c:pt idx="993">
                        <c:v>3.0590000000000002</c:v>
                      </c:pt>
                      <c:pt idx="994">
                        <c:v>3.0590000000000002</c:v>
                      </c:pt>
                      <c:pt idx="995">
                        <c:v>3.0590000000000002</c:v>
                      </c:pt>
                      <c:pt idx="996">
                        <c:v>3.0590000000000002</c:v>
                      </c:pt>
                      <c:pt idx="997">
                        <c:v>3.0590000000000002</c:v>
                      </c:pt>
                      <c:pt idx="998">
                        <c:v>3.0590000000000002</c:v>
                      </c:pt>
                      <c:pt idx="999">
                        <c:v>3.0590000000000002</c:v>
                      </c:pt>
                      <c:pt idx="1000">
                        <c:v>2.7490000000000001</c:v>
                      </c:pt>
                      <c:pt idx="1001">
                        <c:v>2.7490000000000001</c:v>
                      </c:pt>
                      <c:pt idx="1002">
                        <c:v>2.7490000000000001</c:v>
                      </c:pt>
                      <c:pt idx="1003">
                        <c:v>2.7490000000000001</c:v>
                      </c:pt>
                      <c:pt idx="1004">
                        <c:v>2.7490000000000001</c:v>
                      </c:pt>
                      <c:pt idx="1005">
                        <c:v>2.7490000000000001</c:v>
                      </c:pt>
                      <c:pt idx="1006">
                        <c:v>2.7490000000000001</c:v>
                      </c:pt>
                      <c:pt idx="1007">
                        <c:v>2.7490000000000001</c:v>
                      </c:pt>
                      <c:pt idx="1008">
                        <c:v>2.7490000000000001</c:v>
                      </c:pt>
                      <c:pt idx="1009">
                        <c:v>2.7490000000000001</c:v>
                      </c:pt>
                      <c:pt idx="1010">
                        <c:v>2.7490000000000001</c:v>
                      </c:pt>
                      <c:pt idx="1011">
                        <c:v>2.7490000000000001</c:v>
                      </c:pt>
                      <c:pt idx="1012">
                        <c:v>2.7490000000000001</c:v>
                      </c:pt>
                      <c:pt idx="1013">
                        <c:v>2.7490000000000001</c:v>
                      </c:pt>
                      <c:pt idx="1014">
                        <c:v>2.7490000000000001</c:v>
                      </c:pt>
                      <c:pt idx="1015">
                        <c:v>2.7490000000000001</c:v>
                      </c:pt>
                      <c:pt idx="1016">
                        <c:v>2.7490000000000001</c:v>
                      </c:pt>
                      <c:pt idx="1017">
                        <c:v>2.7490000000000001</c:v>
                      </c:pt>
                      <c:pt idx="1018">
                        <c:v>2.7490000000000001</c:v>
                      </c:pt>
                      <c:pt idx="1019">
                        <c:v>2.7490000000000001</c:v>
                      </c:pt>
                      <c:pt idx="1020">
                        <c:v>2.5819999999999999</c:v>
                      </c:pt>
                      <c:pt idx="1021">
                        <c:v>2.5819999999999999</c:v>
                      </c:pt>
                      <c:pt idx="1022">
                        <c:v>2.5819999999999999</c:v>
                      </c:pt>
                      <c:pt idx="1023">
                        <c:v>2.5819999999999999</c:v>
                      </c:pt>
                      <c:pt idx="1024">
                        <c:v>2.5819999999999999</c:v>
                      </c:pt>
                      <c:pt idx="1025">
                        <c:v>2.5819999999999999</c:v>
                      </c:pt>
                      <c:pt idx="1026">
                        <c:v>2.5819999999999999</c:v>
                      </c:pt>
                      <c:pt idx="1027">
                        <c:v>2.5819999999999999</c:v>
                      </c:pt>
                      <c:pt idx="1028">
                        <c:v>2.5819999999999999</c:v>
                      </c:pt>
                      <c:pt idx="1029">
                        <c:v>2.5819999999999999</c:v>
                      </c:pt>
                      <c:pt idx="1030">
                        <c:v>2.5819999999999999</c:v>
                      </c:pt>
                      <c:pt idx="1031">
                        <c:v>2.5819999999999999</c:v>
                      </c:pt>
                      <c:pt idx="1032">
                        <c:v>2.5819999999999999</c:v>
                      </c:pt>
                      <c:pt idx="1033">
                        <c:v>2.5819999999999999</c:v>
                      </c:pt>
                      <c:pt idx="1034">
                        <c:v>2.5819999999999999</c:v>
                      </c:pt>
                      <c:pt idx="1035">
                        <c:v>2.5819999999999999</c:v>
                      </c:pt>
                      <c:pt idx="1036">
                        <c:v>2.5819999999999999</c:v>
                      </c:pt>
                      <c:pt idx="1037">
                        <c:v>2.5819999999999999</c:v>
                      </c:pt>
                      <c:pt idx="1038">
                        <c:v>2.5819999999999999</c:v>
                      </c:pt>
                      <c:pt idx="1039">
                        <c:v>2.5819999999999999</c:v>
                      </c:pt>
                      <c:pt idx="1040">
                        <c:v>2.5609999999999999</c:v>
                      </c:pt>
                      <c:pt idx="1041">
                        <c:v>2.5609999999999999</c:v>
                      </c:pt>
                      <c:pt idx="1042">
                        <c:v>2.5609999999999999</c:v>
                      </c:pt>
                      <c:pt idx="1043">
                        <c:v>2.5609999999999999</c:v>
                      </c:pt>
                      <c:pt idx="1044">
                        <c:v>2.5609999999999999</c:v>
                      </c:pt>
                      <c:pt idx="1045">
                        <c:v>2.5609999999999999</c:v>
                      </c:pt>
                      <c:pt idx="1046">
                        <c:v>2.5609999999999999</c:v>
                      </c:pt>
                      <c:pt idx="1047">
                        <c:v>2.5609999999999999</c:v>
                      </c:pt>
                      <c:pt idx="1048">
                        <c:v>2.5609999999999999</c:v>
                      </c:pt>
                      <c:pt idx="1049">
                        <c:v>2.5609999999999999</c:v>
                      </c:pt>
                      <c:pt idx="1050">
                        <c:v>2.5609999999999999</c:v>
                      </c:pt>
                      <c:pt idx="1051">
                        <c:v>2.5609999999999999</c:v>
                      </c:pt>
                      <c:pt idx="1052">
                        <c:v>2.5609999999999999</c:v>
                      </c:pt>
                      <c:pt idx="1053">
                        <c:v>2.5609999999999999</c:v>
                      </c:pt>
                      <c:pt idx="1054">
                        <c:v>2.5609999999999999</c:v>
                      </c:pt>
                      <c:pt idx="1055">
                        <c:v>2.5609999999999999</c:v>
                      </c:pt>
                      <c:pt idx="1056">
                        <c:v>2.5609999999999999</c:v>
                      </c:pt>
                      <c:pt idx="1057">
                        <c:v>2.5609999999999999</c:v>
                      </c:pt>
                      <c:pt idx="1058">
                        <c:v>2.5609999999999999</c:v>
                      </c:pt>
                      <c:pt idx="1059">
                        <c:v>2.5609999999999999</c:v>
                      </c:pt>
                      <c:pt idx="1060">
                        <c:v>2.5609999999999999</c:v>
                      </c:pt>
                      <c:pt idx="1061">
                        <c:v>2.5609999999999999</c:v>
                      </c:pt>
                      <c:pt idx="1062">
                        <c:v>2.5609999999999999</c:v>
                      </c:pt>
                      <c:pt idx="1063">
                        <c:v>2.5609999999999999</c:v>
                      </c:pt>
                      <c:pt idx="1064">
                        <c:v>2.5609999999999999</c:v>
                      </c:pt>
                      <c:pt idx="1065">
                        <c:v>2.2730000000000001</c:v>
                      </c:pt>
                      <c:pt idx="1066">
                        <c:v>2.2730000000000001</c:v>
                      </c:pt>
                      <c:pt idx="1067">
                        <c:v>2.2730000000000001</c:v>
                      </c:pt>
                      <c:pt idx="1068">
                        <c:v>2.2730000000000001</c:v>
                      </c:pt>
                      <c:pt idx="1069">
                        <c:v>2.2730000000000001</c:v>
                      </c:pt>
                      <c:pt idx="1070">
                        <c:v>2.2730000000000001</c:v>
                      </c:pt>
                      <c:pt idx="1071">
                        <c:v>2.2730000000000001</c:v>
                      </c:pt>
                      <c:pt idx="1072">
                        <c:v>2.2730000000000001</c:v>
                      </c:pt>
                      <c:pt idx="1073">
                        <c:v>2.2730000000000001</c:v>
                      </c:pt>
                      <c:pt idx="1074">
                        <c:v>2.2730000000000001</c:v>
                      </c:pt>
                      <c:pt idx="1075">
                        <c:v>2.2730000000000001</c:v>
                      </c:pt>
                      <c:pt idx="1076">
                        <c:v>2.2730000000000001</c:v>
                      </c:pt>
                      <c:pt idx="1077">
                        <c:v>2.2730000000000001</c:v>
                      </c:pt>
                      <c:pt idx="1078">
                        <c:v>2.2730000000000001</c:v>
                      </c:pt>
                      <c:pt idx="1079">
                        <c:v>2.2730000000000001</c:v>
                      </c:pt>
                      <c:pt idx="1080">
                        <c:v>2.2730000000000001</c:v>
                      </c:pt>
                      <c:pt idx="1081">
                        <c:v>2.2730000000000001</c:v>
                      </c:pt>
                      <c:pt idx="1082">
                        <c:v>2.2730000000000001</c:v>
                      </c:pt>
                      <c:pt idx="1083">
                        <c:v>2.2730000000000001</c:v>
                      </c:pt>
                      <c:pt idx="1084">
                        <c:v>2.2730000000000001</c:v>
                      </c:pt>
                      <c:pt idx="1085">
                        <c:v>1.984</c:v>
                      </c:pt>
                      <c:pt idx="1086">
                        <c:v>1.984</c:v>
                      </c:pt>
                      <c:pt idx="1087">
                        <c:v>1.984</c:v>
                      </c:pt>
                      <c:pt idx="1088">
                        <c:v>1.984</c:v>
                      </c:pt>
                      <c:pt idx="1089">
                        <c:v>1.984</c:v>
                      </c:pt>
                      <c:pt idx="1090">
                        <c:v>1.984</c:v>
                      </c:pt>
                      <c:pt idx="1091">
                        <c:v>1.984</c:v>
                      </c:pt>
                      <c:pt idx="1092">
                        <c:v>1.984</c:v>
                      </c:pt>
                      <c:pt idx="1093">
                        <c:v>1.984</c:v>
                      </c:pt>
                      <c:pt idx="1094">
                        <c:v>1.984</c:v>
                      </c:pt>
                      <c:pt idx="1095">
                        <c:v>1.984</c:v>
                      </c:pt>
                      <c:pt idx="1096">
                        <c:v>1.984</c:v>
                      </c:pt>
                      <c:pt idx="1097">
                        <c:v>1.984</c:v>
                      </c:pt>
                      <c:pt idx="1098">
                        <c:v>1.984</c:v>
                      </c:pt>
                      <c:pt idx="1099">
                        <c:v>1.984</c:v>
                      </c:pt>
                      <c:pt idx="1100">
                        <c:v>1.984</c:v>
                      </c:pt>
                      <c:pt idx="1101">
                        <c:v>1.984</c:v>
                      </c:pt>
                      <c:pt idx="1102">
                        <c:v>1.984</c:v>
                      </c:pt>
                      <c:pt idx="1103">
                        <c:v>1.984</c:v>
                      </c:pt>
                      <c:pt idx="1104">
                        <c:v>1.984</c:v>
                      </c:pt>
                      <c:pt idx="1105">
                        <c:v>1.8580000000000001</c:v>
                      </c:pt>
                      <c:pt idx="1106">
                        <c:v>1.8580000000000001</c:v>
                      </c:pt>
                      <c:pt idx="1107">
                        <c:v>1.8580000000000001</c:v>
                      </c:pt>
                      <c:pt idx="1108">
                        <c:v>1.8580000000000001</c:v>
                      </c:pt>
                      <c:pt idx="1109">
                        <c:v>1.8580000000000001</c:v>
                      </c:pt>
                      <c:pt idx="1110">
                        <c:v>1.8580000000000001</c:v>
                      </c:pt>
                      <c:pt idx="1111">
                        <c:v>1.8580000000000001</c:v>
                      </c:pt>
                      <c:pt idx="1112">
                        <c:v>1.8580000000000001</c:v>
                      </c:pt>
                      <c:pt idx="1113">
                        <c:v>1.8580000000000001</c:v>
                      </c:pt>
                      <c:pt idx="1114">
                        <c:v>1.8580000000000001</c:v>
                      </c:pt>
                      <c:pt idx="1115">
                        <c:v>1.8580000000000001</c:v>
                      </c:pt>
                      <c:pt idx="1116">
                        <c:v>1.8580000000000001</c:v>
                      </c:pt>
                      <c:pt idx="1117">
                        <c:v>1.8580000000000001</c:v>
                      </c:pt>
                      <c:pt idx="1118">
                        <c:v>1.8580000000000001</c:v>
                      </c:pt>
                      <c:pt idx="1119">
                        <c:v>1.8580000000000001</c:v>
                      </c:pt>
                      <c:pt idx="1120">
                        <c:v>1.8580000000000001</c:v>
                      </c:pt>
                      <c:pt idx="1121">
                        <c:v>1.8580000000000001</c:v>
                      </c:pt>
                      <c:pt idx="1122">
                        <c:v>1.8580000000000001</c:v>
                      </c:pt>
                      <c:pt idx="1123">
                        <c:v>1.8580000000000001</c:v>
                      </c:pt>
                      <c:pt idx="1124">
                        <c:v>1.8580000000000001</c:v>
                      </c:pt>
                      <c:pt idx="1125">
                        <c:v>1.8580000000000001</c:v>
                      </c:pt>
                      <c:pt idx="1126">
                        <c:v>1.8580000000000001</c:v>
                      </c:pt>
                      <c:pt idx="1127">
                        <c:v>1.8580000000000001</c:v>
                      </c:pt>
                      <c:pt idx="1128">
                        <c:v>1.8580000000000001</c:v>
                      </c:pt>
                      <c:pt idx="1129">
                        <c:v>1.8580000000000001</c:v>
                      </c:pt>
                      <c:pt idx="1130">
                        <c:v>1.877</c:v>
                      </c:pt>
                      <c:pt idx="1131">
                        <c:v>1.877</c:v>
                      </c:pt>
                      <c:pt idx="1132">
                        <c:v>1.877</c:v>
                      </c:pt>
                      <c:pt idx="1133">
                        <c:v>1.877</c:v>
                      </c:pt>
                      <c:pt idx="1134">
                        <c:v>1.877</c:v>
                      </c:pt>
                      <c:pt idx="1135">
                        <c:v>1.877</c:v>
                      </c:pt>
                      <c:pt idx="1136">
                        <c:v>1.877</c:v>
                      </c:pt>
                      <c:pt idx="1137">
                        <c:v>1.877</c:v>
                      </c:pt>
                      <c:pt idx="1138">
                        <c:v>1.877</c:v>
                      </c:pt>
                      <c:pt idx="1139">
                        <c:v>1.877</c:v>
                      </c:pt>
                      <c:pt idx="1140">
                        <c:v>1.877</c:v>
                      </c:pt>
                      <c:pt idx="1141">
                        <c:v>1.877</c:v>
                      </c:pt>
                      <c:pt idx="1142">
                        <c:v>1.877</c:v>
                      </c:pt>
                      <c:pt idx="1143">
                        <c:v>1.877</c:v>
                      </c:pt>
                      <c:pt idx="1144">
                        <c:v>1.877</c:v>
                      </c:pt>
                      <c:pt idx="1145">
                        <c:v>1.877</c:v>
                      </c:pt>
                      <c:pt idx="1146">
                        <c:v>1.877</c:v>
                      </c:pt>
                      <c:pt idx="1147">
                        <c:v>1.877</c:v>
                      </c:pt>
                      <c:pt idx="1148">
                        <c:v>1.877</c:v>
                      </c:pt>
                      <c:pt idx="1149">
                        <c:v>1.877</c:v>
                      </c:pt>
                      <c:pt idx="1150">
                        <c:v>1.877</c:v>
                      </c:pt>
                      <c:pt idx="1151">
                        <c:v>1.877</c:v>
                      </c:pt>
                      <c:pt idx="1152">
                        <c:v>1.877</c:v>
                      </c:pt>
                      <c:pt idx="1153">
                        <c:v>1.877</c:v>
                      </c:pt>
                      <c:pt idx="1154">
                        <c:v>1.877</c:v>
                      </c:pt>
                      <c:pt idx="1155">
                        <c:v>1.877</c:v>
                      </c:pt>
                      <c:pt idx="1156">
                        <c:v>1.877</c:v>
                      </c:pt>
                      <c:pt idx="1157">
                        <c:v>1.877</c:v>
                      </c:pt>
                      <c:pt idx="1158">
                        <c:v>1.877</c:v>
                      </c:pt>
                      <c:pt idx="1159">
                        <c:v>1.877</c:v>
                      </c:pt>
                      <c:pt idx="1160">
                        <c:v>1.877</c:v>
                      </c:pt>
                      <c:pt idx="1161">
                        <c:v>1.877</c:v>
                      </c:pt>
                      <c:pt idx="1162">
                        <c:v>1.877</c:v>
                      </c:pt>
                      <c:pt idx="1163">
                        <c:v>1.877</c:v>
                      </c:pt>
                      <c:pt idx="1164">
                        <c:v>1.877</c:v>
                      </c:pt>
                      <c:pt idx="1165">
                        <c:v>1.877</c:v>
                      </c:pt>
                      <c:pt idx="1166">
                        <c:v>1.877</c:v>
                      </c:pt>
                      <c:pt idx="1167">
                        <c:v>1.877</c:v>
                      </c:pt>
                      <c:pt idx="1168">
                        <c:v>1.877</c:v>
                      </c:pt>
                      <c:pt idx="1169">
                        <c:v>1.877</c:v>
                      </c:pt>
                      <c:pt idx="1170">
                        <c:v>1.964</c:v>
                      </c:pt>
                      <c:pt idx="1171">
                        <c:v>1.964</c:v>
                      </c:pt>
                      <c:pt idx="1172">
                        <c:v>1.964</c:v>
                      </c:pt>
                      <c:pt idx="1173">
                        <c:v>1.964</c:v>
                      </c:pt>
                      <c:pt idx="1174">
                        <c:v>1.964</c:v>
                      </c:pt>
                      <c:pt idx="1175">
                        <c:v>1.964</c:v>
                      </c:pt>
                      <c:pt idx="1176">
                        <c:v>1.964</c:v>
                      </c:pt>
                      <c:pt idx="1177">
                        <c:v>1.964</c:v>
                      </c:pt>
                      <c:pt idx="1178">
                        <c:v>1.964</c:v>
                      </c:pt>
                      <c:pt idx="1179">
                        <c:v>1.964</c:v>
                      </c:pt>
                      <c:pt idx="1180">
                        <c:v>1.964</c:v>
                      </c:pt>
                      <c:pt idx="1181">
                        <c:v>1.964</c:v>
                      </c:pt>
                      <c:pt idx="1182">
                        <c:v>1.964</c:v>
                      </c:pt>
                      <c:pt idx="1183">
                        <c:v>1.964</c:v>
                      </c:pt>
                      <c:pt idx="1184">
                        <c:v>1.964</c:v>
                      </c:pt>
                      <c:pt idx="1185">
                        <c:v>1.964</c:v>
                      </c:pt>
                      <c:pt idx="1186">
                        <c:v>1.964</c:v>
                      </c:pt>
                      <c:pt idx="1187">
                        <c:v>1.964</c:v>
                      </c:pt>
                      <c:pt idx="1188">
                        <c:v>1.964</c:v>
                      </c:pt>
                      <c:pt idx="1189">
                        <c:v>1.964</c:v>
                      </c:pt>
                      <c:pt idx="1190">
                        <c:v>1.964</c:v>
                      </c:pt>
                      <c:pt idx="1191">
                        <c:v>1.964</c:v>
                      </c:pt>
                      <c:pt idx="1192">
                        <c:v>1.964</c:v>
                      </c:pt>
                      <c:pt idx="1193">
                        <c:v>1.964</c:v>
                      </c:pt>
                      <c:pt idx="1194">
                        <c:v>1.964</c:v>
                      </c:pt>
                      <c:pt idx="1195">
                        <c:v>2.262</c:v>
                      </c:pt>
                      <c:pt idx="1196">
                        <c:v>2.262</c:v>
                      </c:pt>
                      <c:pt idx="1197">
                        <c:v>2.262</c:v>
                      </c:pt>
                      <c:pt idx="1198">
                        <c:v>2.262</c:v>
                      </c:pt>
                      <c:pt idx="1199">
                        <c:v>2.262</c:v>
                      </c:pt>
                      <c:pt idx="1200">
                        <c:v>2.262</c:v>
                      </c:pt>
                      <c:pt idx="1201">
                        <c:v>2.262</c:v>
                      </c:pt>
                      <c:pt idx="1202">
                        <c:v>2.262</c:v>
                      </c:pt>
                      <c:pt idx="1203">
                        <c:v>2.262</c:v>
                      </c:pt>
                      <c:pt idx="1204">
                        <c:v>2.262</c:v>
                      </c:pt>
                      <c:pt idx="1205">
                        <c:v>2.262</c:v>
                      </c:pt>
                      <c:pt idx="1206">
                        <c:v>2.262</c:v>
                      </c:pt>
                      <c:pt idx="1207">
                        <c:v>2.262</c:v>
                      </c:pt>
                      <c:pt idx="1208">
                        <c:v>2.262</c:v>
                      </c:pt>
                      <c:pt idx="1209">
                        <c:v>2.262</c:v>
                      </c:pt>
                      <c:pt idx="1210">
                        <c:v>2.262</c:v>
                      </c:pt>
                      <c:pt idx="1211">
                        <c:v>2.262</c:v>
                      </c:pt>
                      <c:pt idx="1212">
                        <c:v>2.262</c:v>
                      </c:pt>
                      <c:pt idx="1213">
                        <c:v>2.262</c:v>
                      </c:pt>
                      <c:pt idx="1214">
                        <c:v>2.262</c:v>
                      </c:pt>
                      <c:pt idx="1215">
                        <c:v>2.1070000000000002</c:v>
                      </c:pt>
                      <c:pt idx="1216">
                        <c:v>2.1070000000000002</c:v>
                      </c:pt>
                      <c:pt idx="1217">
                        <c:v>2.1070000000000002</c:v>
                      </c:pt>
                      <c:pt idx="1218">
                        <c:v>2.1070000000000002</c:v>
                      </c:pt>
                      <c:pt idx="1219">
                        <c:v>2.1070000000000002</c:v>
                      </c:pt>
                      <c:pt idx="1220">
                        <c:v>2.1070000000000002</c:v>
                      </c:pt>
                      <c:pt idx="1221">
                        <c:v>2.1070000000000002</c:v>
                      </c:pt>
                      <c:pt idx="1222">
                        <c:v>2.1070000000000002</c:v>
                      </c:pt>
                      <c:pt idx="1223">
                        <c:v>2.1070000000000002</c:v>
                      </c:pt>
                      <c:pt idx="1224">
                        <c:v>2.1070000000000002</c:v>
                      </c:pt>
                      <c:pt idx="1225">
                        <c:v>2.1070000000000002</c:v>
                      </c:pt>
                      <c:pt idx="1226">
                        <c:v>2.1070000000000002</c:v>
                      </c:pt>
                      <c:pt idx="1227">
                        <c:v>2.1070000000000002</c:v>
                      </c:pt>
                      <c:pt idx="1228">
                        <c:v>2.1070000000000002</c:v>
                      </c:pt>
                      <c:pt idx="1229">
                        <c:v>2.1070000000000002</c:v>
                      </c:pt>
                      <c:pt idx="1230">
                        <c:v>2.1070000000000002</c:v>
                      </c:pt>
                      <c:pt idx="1231">
                        <c:v>2.1070000000000002</c:v>
                      </c:pt>
                      <c:pt idx="1232">
                        <c:v>2.1070000000000002</c:v>
                      </c:pt>
                      <c:pt idx="1233">
                        <c:v>2.1070000000000002</c:v>
                      </c:pt>
                      <c:pt idx="1234">
                        <c:v>2.1070000000000002</c:v>
                      </c:pt>
                      <c:pt idx="1235">
                        <c:v>2.2429999999999999</c:v>
                      </c:pt>
                      <c:pt idx="1236">
                        <c:v>2.2429999999999999</c:v>
                      </c:pt>
                      <c:pt idx="1237">
                        <c:v>2.2429999999999999</c:v>
                      </c:pt>
                      <c:pt idx="1238">
                        <c:v>2.2429999999999999</c:v>
                      </c:pt>
                      <c:pt idx="1239">
                        <c:v>2.2429999999999999</c:v>
                      </c:pt>
                      <c:pt idx="1240">
                        <c:v>2.2429999999999999</c:v>
                      </c:pt>
                      <c:pt idx="1241">
                        <c:v>2.2429999999999999</c:v>
                      </c:pt>
                      <c:pt idx="1242">
                        <c:v>2.2429999999999999</c:v>
                      </c:pt>
                      <c:pt idx="1243">
                        <c:v>2.2429999999999999</c:v>
                      </c:pt>
                      <c:pt idx="1244">
                        <c:v>2.2429999999999999</c:v>
                      </c:pt>
                      <c:pt idx="1245">
                        <c:v>2.2429999999999999</c:v>
                      </c:pt>
                      <c:pt idx="1246">
                        <c:v>2.2429999999999999</c:v>
                      </c:pt>
                      <c:pt idx="1247">
                        <c:v>2.2429999999999999</c:v>
                      </c:pt>
                      <c:pt idx="1248">
                        <c:v>2.2429999999999999</c:v>
                      </c:pt>
                      <c:pt idx="1249">
                        <c:v>2.2429999999999999</c:v>
                      </c:pt>
                      <c:pt idx="1250">
                        <c:v>2.2429999999999999</c:v>
                      </c:pt>
                      <c:pt idx="1251">
                        <c:v>2.2429999999999999</c:v>
                      </c:pt>
                      <c:pt idx="1252">
                        <c:v>2.2429999999999999</c:v>
                      </c:pt>
                      <c:pt idx="1253">
                        <c:v>2.2429999999999999</c:v>
                      </c:pt>
                      <c:pt idx="1254">
                        <c:v>2.2429999999999999</c:v>
                      </c:pt>
                      <c:pt idx="1255">
                        <c:v>2.2429999999999999</c:v>
                      </c:pt>
                      <c:pt idx="1256">
                        <c:v>2.2429999999999999</c:v>
                      </c:pt>
                      <c:pt idx="1257">
                        <c:v>2.2429999999999999</c:v>
                      </c:pt>
                      <c:pt idx="1258">
                        <c:v>2.2429999999999999</c:v>
                      </c:pt>
                      <c:pt idx="1259">
                        <c:v>2.2429999999999999</c:v>
                      </c:pt>
                      <c:pt idx="1260">
                        <c:v>2.238</c:v>
                      </c:pt>
                      <c:pt idx="1261">
                        <c:v>2.238</c:v>
                      </c:pt>
                      <c:pt idx="1262">
                        <c:v>2.238</c:v>
                      </c:pt>
                      <c:pt idx="1263">
                        <c:v>2.238</c:v>
                      </c:pt>
                      <c:pt idx="1264">
                        <c:v>2.238</c:v>
                      </c:pt>
                      <c:pt idx="1265">
                        <c:v>2.238</c:v>
                      </c:pt>
                      <c:pt idx="1266">
                        <c:v>2.238</c:v>
                      </c:pt>
                      <c:pt idx="1267">
                        <c:v>2.238</c:v>
                      </c:pt>
                      <c:pt idx="1268">
                        <c:v>2.238</c:v>
                      </c:pt>
                      <c:pt idx="1269">
                        <c:v>2.238</c:v>
                      </c:pt>
                      <c:pt idx="1270">
                        <c:v>2.238</c:v>
                      </c:pt>
                      <c:pt idx="1271">
                        <c:v>2.238</c:v>
                      </c:pt>
                      <c:pt idx="1272">
                        <c:v>2.238</c:v>
                      </c:pt>
                      <c:pt idx="1273">
                        <c:v>2.238</c:v>
                      </c:pt>
                      <c:pt idx="1274">
                        <c:v>2.238</c:v>
                      </c:pt>
                      <c:pt idx="1275">
                        <c:v>2.238</c:v>
                      </c:pt>
                      <c:pt idx="1276">
                        <c:v>2.238</c:v>
                      </c:pt>
                      <c:pt idx="1277">
                        <c:v>2.238</c:v>
                      </c:pt>
                      <c:pt idx="1278">
                        <c:v>2.238</c:v>
                      </c:pt>
                      <c:pt idx="1279">
                        <c:v>2.238</c:v>
                      </c:pt>
                      <c:pt idx="1280">
                        <c:v>2.2040000000000002</c:v>
                      </c:pt>
                      <c:pt idx="1281">
                        <c:v>2.2040000000000002</c:v>
                      </c:pt>
                      <c:pt idx="1282">
                        <c:v>2.2040000000000002</c:v>
                      </c:pt>
                      <c:pt idx="1283">
                        <c:v>2.2040000000000002</c:v>
                      </c:pt>
                      <c:pt idx="1284">
                        <c:v>2.2040000000000002</c:v>
                      </c:pt>
                      <c:pt idx="1285">
                        <c:v>2.2040000000000002</c:v>
                      </c:pt>
                      <c:pt idx="1286">
                        <c:v>2.2040000000000002</c:v>
                      </c:pt>
                      <c:pt idx="1287">
                        <c:v>2.2040000000000002</c:v>
                      </c:pt>
                      <c:pt idx="1288">
                        <c:v>2.2040000000000002</c:v>
                      </c:pt>
                      <c:pt idx="1289">
                        <c:v>2.2040000000000002</c:v>
                      </c:pt>
                      <c:pt idx="1290">
                        <c:v>2.2040000000000002</c:v>
                      </c:pt>
                      <c:pt idx="1291">
                        <c:v>2.2040000000000002</c:v>
                      </c:pt>
                      <c:pt idx="1292">
                        <c:v>2.2040000000000002</c:v>
                      </c:pt>
                      <c:pt idx="1293">
                        <c:v>2.2040000000000002</c:v>
                      </c:pt>
                      <c:pt idx="1294">
                        <c:v>2.2040000000000002</c:v>
                      </c:pt>
                      <c:pt idx="1295">
                        <c:v>2.2040000000000002</c:v>
                      </c:pt>
                      <c:pt idx="1296">
                        <c:v>2.2040000000000002</c:v>
                      </c:pt>
                      <c:pt idx="1297">
                        <c:v>2.2040000000000002</c:v>
                      </c:pt>
                      <c:pt idx="1298">
                        <c:v>2.2040000000000002</c:v>
                      </c:pt>
                      <c:pt idx="1299">
                        <c:v>2.2040000000000002</c:v>
                      </c:pt>
                      <c:pt idx="1300">
                        <c:v>2.2040000000000002</c:v>
                      </c:pt>
                      <c:pt idx="1301">
                        <c:v>2.2040000000000002</c:v>
                      </c:pt>
                      <c:pt idx="1302">
                        <c:v>2.2040000000000002</c:v>
                      </c:pt>
                      <c:pt idx="1303">
                        <c:v>2.2040000000000002</c:v>
                      </c:pt>
                      <c:pt idx="1304">
                        <c:v>2.2040000000000002</c:v>
                      </c:pt>
                      <c:pt idx="1305">
                        <c:v>2.33</c:v>
                      </c:pt>
                      <c:pt idx="1306">
                        <c:v>2.33</c:v>
                      </c:pt>
                      <c:pt idx="1307">
                        <c:v>2.33</c:v>
                      </c:pt>
                      <c:pt idx="1308">
                        <c:v>2.33</c:v>
                      </c:pt>
                      <c:pt idx="1309">
                        <c:v>2.33</c:v>
                      </c:pt>
                      <c:pt idx="1310">
                        <c:v>2.33</c:v>
                      </c:pt>
                      <c:pt idx="1311">
                        <c:v>2.33</c:v>
                      </c:pt>
                      <c:pt idx="1312">
                        <c:v>2.33</c:v>
                      </c:pt>
                      <c:pt idx="1313">
                        <c:v>2.33</c:v>
                      </c:pt>
                      <c:pt idx="1314">
                        <c:v>2.33</c:v>
                      </c:pt>
                      <c:pt idx="1315">
                        <c:v>2.33</c:v>
                      </c:pt>
                      <c:pt idx="1316">
                        <c:v>2.33</c:v>
                      </c:pt>
                      <c:pt idx="1317">
                        <c:v>2.33</c:v>
                      </c:pt>
                      <c:pt idx="1318">
                        <c:v>2.33</c:v>
                      </c:pt>
                      <c:pt idx="1319">
                        <c:v>2.33</c:v>
                      </c:pt>
                      <c:pt idx="1320">
                        <c:v>2.33</c:v>
                      </c:pt>
                      <c:pt idx="1321">
                        <c:v>2.33</c:v>
                      </c:pt>
                      <c:pt idx="1322">
                        <c:v>2.33</c:v>
                      </c:pt>
                      <c:pt idx="1323">
                        <c:v>2.33</c:v>
                      </c:pt>
                      <c:pt idx="1324">
                        <c:v>2.33</c:v>
                      </c:pt>
                      <c:pt idx="1325">
                        <c:v>2.488</c:v>
                      </c:pt>
                      <c:pt idx="1326">
                        <c:v>2.488</c:v>
                      </c:pt>
                      <c:pt idx="1327">
                        <c:v>2.488</c:v>
                      </c:pt>
                      <c:pt idx="1328">
                        <c:v>2.488</c:v>
                      </c:pt>
                      <c:pt idx="1329">
                        <c:v>2.488</c:v>
                      </c:pt>
                      <c:pt idx="1330">
                        <c:v>2.488</c:v>
                      </c:pt>
                      <c:pt idx="1331">
                        <c:v>2.488</c:v>
                      </c:pt>
                      <c:pt idx="1332">
                        <c:v>2.488</c:v>
                      </c:pt>
                      <c:pt idx="1333">
                        <c:v>2.488</c:v>
                      </c:pt>
                      <c:pt idx="1334">
                        <c:v>2.488</c:v>
                      </c:pt>
                      <c:pt idx="1335">
                        <c:v>2.488</c:v>
                      </c:pt>
                      <c:pt idx="1336">
                        <c:v>2.488</c:v>
                      </c:pt>
                      <c:pt idx="1337">
                        <c:v>2.488</c:v>
                      </c:pt>
                      <c:pt idx="1338">
                        <c:v>2.488</c:v>
                      </c:pt>
                      <c:pt idx="1339">
                        <c:v>2.488</c:v>
                      </c:pt>
                      <c:pt idx="1340">
                        <c:v>2.488</c:v>
                      </c:pt>
                      <c:pt idx="1341">
                        <c:v>2.488</c:v>
                      </c:pt>
                      <c:pt idx="1342">
                        <c:v>2.488</c:v>
                      </c:pt>
                      <c:pt idx="1343">
                        <c:v>2.488</c:v>
                      </c:pt>
                      <c:pt idx="1344">
                        <c:v>2.488</c:v>
                      </c:pt>
                      <c:pt idx="1345">
                        <c:v>2.593</c:v>
                      </c:pt>
                      <c:pt idx="1346">
                        <c:v>2.593</c:v>
                      </c:pt>
                      <c:pt idx="1347">
                        <c:v>2.593</c:v>
                      </c:pt>
                      <c:pt idx="1348">
                        <c:v>2.593</c:v>
                      </c:pt>
                      <c:pt idx="1349">
                        <c:v>2.593</c:v>
                      </c:pt>
                      <c:pt idx="1350">
                        <c:v>2.593</c:v>
                      </c:pt>
                      <c:pt idx="1351">
                        <c:v>2.593</c:v>
                      </c:pt>
                      <c:pt idx="1352">
                        <c:v>2.593</c:v>
                      </c:pt>
                      <c:pt idx="1353">
                        <c:v>2.593</c:v>
                      </c:pt>
                      <c:pt idx="1354">
                        <c:v>2.593</c:v>
                      </c:pt>
                      <c:pt idx="1355">
                        <c:v>2.593</c:v>
                      </c:pt>
                      <c:pt idx="1356">
                        <c:v>2.593</c:v>
                      </c:pt>
                      <c:pt idx="1357">
                        <c:v>2.593</c:v>
                      </c:pt>
                      <c:pt idx="1358">
                        <c:v>2.593</c:v>
                      </c:pt>
                      <c:pt idx="1359">
                        <c:v>2.593</c:v>
                      </c:pt>
                      <c:pt idx="1360">
                        <c:v>2.593</c:v>
                      </c:pt>
                      <c:pt idx="1361">
                        <c:v>2.593</c:v>
                      </c:pt>
                      <c:pt idx="1362">
                        <c:v>2.593</c:v>
                      </c:pt>
                      <c:pt idx="1363">
                        <c:v>2.593</c:v>
                      </c:pt>
                      <c:pt idx="1364">
                        <c:v>2.593</c:v>
                      </c:pt>
                      <c:pt idx="1365">
                        <c:v>2.593</c:v>
                      </c:pt>
                      <c:pt idx="1366">
                        <c:v>2.593</c:v>
                      </c:pt>
                      <c:pt idx="1367">
                        <c:v>2.593</c:v>
                      </c:pt>
                      <c:pt idx="1368">
                        <c:v>2.593</c:v>
                      </c:pt>
                      <c:pt idx="1369">
                        <c:v>2.593</c:v>
                      </c:pt>
                      <c:pt idx="1370">
                        <c:v>2.6869999999999998</c:v>
                      </c:pt>
                      <c:pt idx="1371">
                        <c:v>2.6869999999999998</c:v>
                      </c:pt>
                      <c:pt idx="1372">
                        <c:v>2.6869999999999998</c:v>
                      </c:pt>
                      <c:pt idx="1373">
                        <c:v>2.6869999999999998</c:v>
                      </c:pt>
                      <c:pt idx="1374">
                        <c:v>2.6869999999999998</c:v>
                      </c:pt>
                      <c:pt idx="1375">
                        <c:v>2.6869999999999998</c:v>
                      </c:pt>
                      <c:pt idx="1376">
                        <c:v>2.6869999999999998</c:v>
                      </c:pt>
                      <c:pt idx="1377">
                        <c:v>2.6869999999999998</c:v>
                      </c:pt>
                      <c:pt idx="1378">
                        <c:v>2.6869999999999998</c:v>
                      </c:pt>
                      <c:pt idx="1379">
                        <c:v>2.6869999999999998</c:v>
                      </c:pt>
                      <c:pt idx="1380">
                        <c:v>2.6869999999999998</c:v>
                      </c:pt>
                      <c:pt idx="1381">
                        <c:v>2.6869999999999998</c:v>
                      </c:pt>
                      <c:pt idx="1382">
                        <c:v>2.6869999999999998</c:v>
                      </c:pt>
                      <c:pt idx="1383">
                        <c:v>2.6869999999999998</c:v>
                      </c:pt>
                      <c:pt idx="1384">
                        <c:v>2.6869999999999998</c:v>
                      </c:pt>
                      <c:pt idx="1385">
                        <c:v>2.6869999999999998</c:v>
                      </c:pt>
                      <c:pt idx="1386">
                        <c:v>2.6869999999999998</c:v>
                      </c:pt>
                      <c:pt idx="1387">
                        <c:v>2.6869999999999998</c:v>
                      </c:pt>
                      <c:pt idx="1388">
                        <c:v>2.6869999999999998</c:v>
                      </c:pt>
                      <c:pt idx="1389">
                        <c:v>2.6869999999999998</c:v>
                      </c:pt>
                      <c:pt idx="1390">
                        <c:v>2.754</c:v>
                      </c:pt>
                      <c:pt idx="1391">
                        <c:v>2.754</c:v>
                      </c:pt>
                      <c:pt idx="1392">
                        <c:v>2.754</c:v>
                      </c:pt>
                      <c:pt idx="1393">
                        <c:v>2.754</c:v>
                      </c:pt>
                      <c:pt idx="1394">
                        <c:v>2.754</c:v>
                      </c:pt>
                      <c:pt idx="1395">
                        <c:v>2.754</c:v>
                      </c:pt>
                      <c:pt idx="1396">
                        <c:v>2.754</c:v>
                      </c:pt>
                      <c:pt idx="1397">
                        <c:v>2.754</c:v>
                      </c:pt>
                      <c:pt idx="1398">
                        <c:v>2.754</c:v>
                      </c:pt>
                      <c:pt idx="1399">
                        <c:v>2.754</c:v>
                      </c:pt>
                      <c:pt idx="1400">
                        <c:v>2.754</c:v>
                      </c:pt>
                      <c:pt idx="1401">
                        <c:v>2.754</c:v>
                      </c:pt>
                      <c:pt idx="1402">
                        <c:v>2.754</c:v>
                      </c:pt>
                      <c:pt idx="1403">
                        <c:v>2.754</c:v>
                      </c:pt>
                      <c:pt idx="1404">
                        <c:v>2.754</c:v>
                      </c:pt>
                      <c:pt idx="1405">
                        <c:v>2.754</c:v>
                      </c:pt>
                      <c:pt idx="1406">
                        <c:v>2.754</c:v>
                      </c:pt>
                      <c:pt idx="1407">
                        <c:v>2.754</c:v>
                      </c:pt>
                      <c:pt idx="1408">
                        <c:v>2.754</c:v>
                      </c:pt>
                      <c:pt idx="1409">
                        <c:v>2.754</c:v>
                      </c:pt>
                      <c:pt idx="1410">
                        <c:v>3.0419999999999998</c:v>
                      </c:pt>
                      <c:pt idx="1411">
                        <c:v>3.0419999999999998</c:v>
                      </c:pt>
                      <c:pt idx="1412">
                        <c:v>3.0419999999999998</c:v>
                      </c:pt>
                      <c:pt idx="1413">
                        <c:v>3.0419999999999998</c:v>
                      </c:pt>
                      <c:pt idx="1414">
                        <c:v>3.0419999999999998</c:v>
                      </c:pt>
                      <c:pt idx="1415">
                        <c:v>3.0419999999999998</c:v>
                      </c:pt>
                      <c:pt idx="1416">
                        <c:v>3.0419999999999998</c:v>
                      </c:pt>
                      <c:pt idx="1417">
                        <c:v>3.0419999999999998</c:v>
                      </c:pt>
                      <c:pt idx="1418">
                        <c:v>3.0419999999999998</c:v>
                      </c:pt>
                      <c:pt idx="1419">
                        <c:v>3.0419999999999998</c:v>
                      </c:pt>
                      <c:pt idx="1420">
                        <c:v>3.0419999999999998</c:v>
                      </c:pt>
                      <c:pt idx="1421">
                        <c:v>3.0419999999999998</c:v>
                      </c:pt>
                      <c:pt idx="1422">
                        <c:v>3.0419999999999998</c:v>
                      </c:pt>
                      <c:pt idx="1423">
                        <c:v>3.0419999999999998</c:v>
                      </c:pt>
                      <c:pt idx="1424">
                        <c:v>3.0419999999999998</c:v>
                      </c:pt>
                      <c:pt idx="1425">
                        <c:v>3.0419999999999998</c:v>
                      </c:pt>
                      <c:pt idx="1426">
                        <c:v>3.0419999999999998</c:v>
                      </c:pt>
                      <c:pt idx="1427">
                        <c:v>3.0419999999999998</c:v>
                      </c:pt>
                      <c:pt idx="1428">
                        <c:v>3.0419999999999998</c:v>
                      </c:pt>
                      <c:pt idx="1429">
                        <c:v>3.0419999999999998</c:v>
                      </c:pt>
                      <c:pt idx="1430">
                        <c:v>3.0419999999999998</c:v>
                      </c:pt>
                      <c:pt idx="1431">
                        <c:v>3.0419999999999998</c:v>
                      </c:pt>
                      <c:pt idx="1432">
                        <c:v>3.0419999999999998</c:v>
                      </c:pt>
                      <c:pt idx="1433">
                        <c:v>3.0419999999999998</c:v>
                      </c:pt>
                      <c:pt idx="1434">
                        <c:v>3.0419999999999998</c:v>
                      </c:pt>
                      <c:pt idx="1435">
                        <c:v>3.1949999999999998</c:v>
                      </c:pt>
                      <c:pt idx="1436">
                        <c:v>3.1949999999999998</c:v>
                      </c:pt>
                      <c:pt idx="1437">
                        <c:v>3.1949999999999998</c:v>
                      </c:pt>
                      <c:pt idx="1438">
                        <c:v>3.1949999999999998</c:v>
                      </c:pt>
                      <c:pt idx="1439">
                        <c:v>3.1949999999999998</c:v>
                      </c:pt>
                      <c:pt idx="1440">
                        <c:v>3.1949999999999998</c:v>
                      </c:pt>
                      <c:pt idx="1441">
                        <c:v>3.1949999999999998</c:v>
                      </c:pt>
                      <c:pt idx="1442">
                        <c:v>3.1949999999999998</c:v>
                      </c:pt>
                      <c:pt idx="1443">
                        <c:v>3.1949999999999998</c:v>
                      </c:pt>
                      <c:pt idx="1444">
                        <c:v>3.1949999999999998</c:v>
                      </c:pt>
                      <c:pt idx="1445">
                        <c:v>3.1949999999999998</c:v>
                      </c:pt>
                      <c:pt idx="1446">
                        <c:v>3.1949999999999998</c:v>
                      </c:pt>
                      <c:pt idx="1447">
                        <c:v>3.1949999999999998</c:v>
                      </c:pt>
                      <c:pt idx="1448">
                        <c:v>3.1949999999999998</c:v>
                      </c:pt>
                      <c:pt idx="1449">
                        <c:v>3.1949999999999998</c:v>
                      </c:pt>
                      <c:pt idx="1450">
                        <c:v>3.1949999999999998</c:v>
                      </c:pt>
                      <c:pt idx="1451">
                        <c:v>3.1949999999999998</c:v>
                      </c:pt>
                      <c:pt idx="1452">
                        <c:v>3.1949999999999998</c:v>
                      </c:pt>
                      <c:pt idx="1453">
                        <c:v>3.1949999999999998</c:v>
                      </c:pt>
                      <c:pt idx="1454">
                        <c:v>3.1949999999999998</c:v>
                      </c:pt>
                      <c:pt idx="1455">
                        <c:v>3.3780000000000001</c:v>
                      </c:pt>
                      <c:pt idx="1456">
                        <c:v>3.3780000000000001</c:v>
                      </c:pt>
                      <c:pt idx="1457">
                        <c:v>3.3780000000000001</c:v>
                      </c:pt>
                      <c:pt idx="1458">
                        <c:v>3.3780000000000001</c:v>
                      </c:pt>
                      <c:pt idx="1459">
                        <c:v>3.3780000000000001</c:v>
                      </c:pt>
                      <c:pt idx="1460">
                        <c:v>3.3780000000000001</c:v>
                      </c:pt>
                      <c:pt idx="1461">
                        <c:v>3.3780000000000001</c:v>
                      </c:pt>
                      <c:pt idx="1462">
                        <c:v>3.3780000000000001</c:v>
                      </c:pt>
                      <c:pt idx="1463">
                        <c:v>3.3780000000000001</c:v>
                      </c:pt>
                      <c:pt idx="1464">
                        <c:v>3.3780000000000001</c:v>
                      </c:pt>
                      <c:pt idx="1465">
                        <c:v>3.3780000000000001</c:v>
                      </c:pt>
                      <c:pt idx="1466">
                        <c:v>3.3780000000000001</c:v>
                      </c:pt>
                      <c:pt idx="1467">
                        <c:v>3.3780000000000001</c:v>
                      </c:pt>
                      <c:pt idx="1468">
                        <c:v>3.3780000000000001</c:v>
                      </c:pt>
                      <c:pt idx="1469">
                        <c:v>3.3780000000000001</c:v>
                      </c:pt>
                      <c:pt idx="1470">
                        <c:v>3.3780000000000001</c:v>
                      </c:pt>
                      <c:pt idx="1471">
                        <c:v>3.3780000000000001</c:v>
                      </c:pt>
                      <c:pt idx="1472">
                        <c:v>3.3780000000000001</c:v>
                      </c:pt>
                      <c:pt idx="1473">
                        <c:v>3.3780000000000001</c:v>
                      </c:pt>
                      <c:pt idx="1474">
                        <c:v>3.3780000000000001</c:v>
                      </c:pt>
                      <c:pt idx="1475">
                        <c:v>3.4489999999999998</c:v>
                      </c:pt>
                      <c:pt idx="1476">
                        <c:v>3.4489999999999998</c:v>
                      </c:pt>
                      <c:pt idx="1477">
                        <c:v>3.4489999999999998</c:v>
                      </c:pt>
                      <c:pt idx="1478">
                        <c:v>3.4489999999999998</c:v>
                      </c:pt>
                      <c:pt idx="1479">
                        <c:v>3.4489999999999998</c:v>
                      </c:pt>
                      <c:pt idx="1480">
                        <c:v>3.4489999999999998</c:v>
                      </c:pt>
                      <c:pt idx="1481">
                        <c:v>3.4489999999999998</c:v>
                      </c:pt>
                      <c:pt idx="1482">
                        <c:v>3.4489999999999998</c:v>
                      </c:pt>
                      <c:pt idx="1483">
                        <c:v>3.4489999999999998</c:v>
                      </c:pt>
                      <c:pt idx="1484">
                        <c:v>3.4489999999999998</c:v>
                      </c:pt>
                      <c:pt idx="1485">
                        <c:v>3.4489999999999998</c:v>
                      </c:pt>
                      <c:pt idx="1486">
                        <c:v>3.4489999999999998</c:v>
                      </c:pt>
                      <c:pt idx="1487">
                        <c:v>3.4489999999999998</c:v>
                      </c:pt>
                      <c:pt idx="1488">
                        <c:v>3.4489999999999998</c:v>
                      </c:pt>
                      <c:pt idx="1489">
                        <c:v>3.4489999999999998</c:v>
                      </c:pt>
                      <c:pt idx="1490">
                        <c:v>3.4489999999999998</c:v>
                      </c:pt>
                      <c:pt idx="1491">
                        <c:v>3.4489999999999998</c:v>
                      </c:pt>
                      <c:pt idx="1492">
                        <c:v>3.4489999999999998</c:v>
                      </c:pt>
                      <c:pt idx="1493">
                        <c:v>3.4489999999999998</c:v>
                      </c:pt>
                      <c:pt idx="1494">
                        <c:v>3.4489999999999998</c:v>
                      </c:pt>
                      <c:pt idx="1495">
                        <c:v>3.4489999999999998</c:v>
                      </c:pt>
                      <c:pt idx="1496">
                        <c:v>3.4489999999999998</c:v>
                      </c:pt>
                      <c:pt idx="1497">
                        <c:v>3.4489999999999998</c:v>
                      </c:pt>
                      <c:pt idx="1498">
                        <c:v>3.4489999999999998</c:v>
                      </c:pt>
                      <c:pt idx="1499">
                        <c:v>3.4489999999999998</c:v>
                      </c:pt>
                      <c:pt idx="1500">
                        <c:v>3.6560000000000001</c:v>
                      </c:pt>
                      <c:pt idx="1501">
                        <c:v>3.6560000000000001</c:v>
                      </c:pt>
                      <c:pt idx="1502">
                        <c:v>3.6560000000000001</c:v>
                      </c:pt>
                      <c:pt idx="1503">
                        <c:v>3.6560000000000001</c:v>
                      </c:pt>
                      <c:pt idx="1504">
                        <c:v>3.6560000000000001</c:v>
                      </c:pt>
                      <c:pt idx="1505">
                        <c:v>3.6560000000000001</c:v>
                      </c:pt>
                      <c:pt idx="1506">
                        <c:v>3.6560000000000001</c:v>
                      </c:pt>
                      <c:pt idx="1507">
                        <c:v>3.6560000000000001</c:v>
                      </c:pt>
                      <c:pt idx="1508">
                        <c:v>3.6560000000000001</c:v>
                      </c:pt>
                      <c:pt idx="1509">
                        <c:v>3.6560000000000001</c:v>
                      </c:pt>
                      <c:pt idx="1510">
                        <c:v>3.6560000000000001</c:v>
                      </c:pt>
                      <c:pt idx="1511">
                        <c:v>3.6560000000000001</c:v>
                      </c:pt>
                      <c:pt idx="1512">
                        <c:v>3.6560000000000001</c:v>
                      </c:pt>
                      <c:pt idx="1513">
                        <c:v>3.6560000000000001</c:v>
                      </c:pt>
                      <c:pt idx="1514">
                        <c:v>3.6560000000000001</c:v>
                      </c:pt>
                      <c:pt idx="1515">
                        <c:v>3.6560000000000001</c:v>
                      </c:pt>
                      <c:pt idx="1516">
                        <c:v>3.6560000000000001</c:v>
                      </c:pt>
                      <c:pt idx="1517">
                        <c:v>3.6560000000000001</c:v>
                      </c:pt>
                      <c:pt idx="1518">
                        <c:v>3.6560000000000001</c:v>
                      </c:pt>
                      <c:pt idx="1519">
                        <c:v>3.6560000000000001</c:v>
                      </c:pt>
                      <c:pt idx="1520">
                        <c:v>3.79</c:v>
                      </c:pt>
                      <c:pt idx="1521">
                        <c:v>3.79</c:v>
                      </c:pt>
                      <c:pt idx="1522">
                        <c:v>3.79</c:v>
                      </c:pt>
                      <c:pt idx="1523">
                        <c:v>3.79</c:v>
                      </c:pt>
                      <c:pt idx="1524">
                        <c:v>3.79</c:v>
                      </c:pt>
                      <c:pt idx="1525">
                        <c:v>3.79</c:v>
                      </c:pt>
                      <c:pt idx="1526">
                        <c:v>3.79</c:v>
                      </c:pt>
                      <c:pt idx="1527">
                        <c:v>3.79</c:v>
                      </c:pt>
                      <c:pt idx="1528">
                        <c:v>3.79</c:v>
                      </c:pt>
                      <c:pt idx="1529">
                        <c:v>3.79</c:v>
                      </c:pt>
                      <c:pt idx="1530">
                        <c:v>3.79</c:v>
                      </c:pt>
                      <c:pt idx="1531">
                        <c:v>3.79</c:v>
                      </c:pt>
                      <c:pt idx="1532">
                        <c:v>3.79</c:v>
                      </c:pt>
                      <c:pt idx="1533">
                        <c:v>3.79</c:v>
                      </c:pt>
                      <c:pt idx="1534">
                        <c:v>3.79</c:v>
                      </c:pt>
                      <c:pt idx="1535">
                        <c:v>3.79</c:v>
                      </c:pt>
                      <c:pt idx="1536">
                        <c:v>3.79</c:v>
                      </c:pt>
                      <c:pt idx="1537">
                        <c:v>3.79</c:v>
                      </c:pt>
                      <c:pt idx="1538">
                        <c:v>3.79</c:v>
                      </c:pt>
                      <c:pt idx="1539">
                        <c:v>3.79</c:v>
                      </c:pt>
                      <c:pt idx="1540">
                        <c:v>3.9089999999999998</c:v>
                      </c:pt>
                      <c:pt idx="1541">
                        <c:v>3.9089999999999998</c:v>
                      </c:pt>
                      <c:pt idx="1542">
                        <c:v>3.9089999999999998</c:v>
                      </c:pt>
                      <c:pt idx="1543">
                        <c:v>3.9089999999999998</c:v>
                      </c:pt>
                      <c:pt idx="1544">
                        <c:v>3.9089999999999998</c:v>
                      </c:pt>
                      <c:pt idx="1545">
                        <c:v>3.9089999999999998</c:v>
                      </c:pt>
                      <c:pt idx="1546">
                        <c:v>3.9089999999999998</c:v>
                      </c:pt>
                      <c:pt idx="1547">
                        <c:v>3.9089999999999998</c:v>
                      </c:pt>
                      <c:pt idx="1548">
                        <c:v>3.9089999999999998</c:v>
                      </c:pt>
                      <c:pt idx="1549">
                        <c:v>3.9089999999999998</c:v>
                      </c:pt>
                      <c:pt idx="1550">
                        <c:v>3.9089999999999998</c:v>
                      </c:pt>
                      <c:pt idx="1551">
                        <c:v>3.9089999999999998</c:v>
                      </c:pt>
                      <c:pt idx="1552">
                        <c:v>3.9089999999999998</c:v>
                      </c:pt>
                      <c:pt idx="1553">
                        <c:v>3.9089999999999998</c:v>
                      </c:pt>
                      <c:pt idx="1554">
                        <c:v>3.9089999999999998</c:v>
                      </c:pt>
                      <c:pt idx="1555">
                        <c:v>3.9089999999999998</c:v>
                      </c:pt>
                      <c:pt idx="1556">
                        <c:v>3.9089999999999998</c:v>
                      </c:pt>
                      <c:pt idx="1557">
                        <c:v>3.9089999999999998</c:v>
                      </c:pt>
                      <c:pt idx="1558">
                        <c:v>3.9089999999999998</c:v>
                      </c:pt>
                      <c:pt idx="1559">
                        <c:v>3.9089999999999998</c:v>
                      </c:pt>
                      <c:pt idx="1560">
                        <c:v>3.9089999999999998</c:v>
                      </c:pt>
                      <c:pt idx="1561">
                        <c:v>3.9089999999999998</c:v>
                      </c:pt>
                      <c:pt idx="1562">
                        <c:v>3.9089999999999998</c:v>
                      </c:pt>
                      <c:pt idx="1563">
                        <c:v>3.9089999999999998</c:v>
                      </c:pt>
                      <c:pt idx="1564">
                        <c:v>3.9089999999999998</c:v>
                      </c:pt>
                      <c:pt idx="1565">
                        <c:v>4.05</c:v>
                      </c:pt>
                      <c:pt idx="1566">
                        <c:v>4.05</c:v>
                      </c:pt>
                      <c:pt idx="1567">
                        <c:v>4.05</c:v>
                      </c:pt>
                      <c:pt idx="1568">
                        <c:v>4.05</c:v>
                      </c:pt>
                      <c:pt idx="1569">
                        <c:v>4.05</c:v>
                      </c:pt>
                      <c:pt idx="1570">
                        <c:v>4.05</c:v>
                      </c:pt>
                      <c:pt idx="1571">
                        <c:v>4.05</c:v>
                      </c:pt>
                      <c:pt idx="1572">
                        <c:v>4.05</c:v>
                      </c:pt>
                      <c:pt idx="1573">
                        <c:v>4.05</c:v>
                      </c:pt>
                      <c:pt idx="1574">
                        <c:v>4.05</c:v>
                      </c:pt>
                      <c:pt idx="1575">
                        <c:v>4.05</c:v>
                      </c:pt>
                      <c:pt idx="1576">
                        <c:v>4.05</c:v>
                      </c:pt>
                      <c:pt idx="1577">
                        <c:v>4.05</c:v>
                      </c:pt>
                      <c:pt idx="1578">
                        <c:v>4.05</c:v>
                      </c:pt>
                      <c:pt idx="1579">
                        <c:v>4.05</c:v>
                      </c:pt>
                      <c:pt idx="1580">
                        <c:v>4.05</c:v>
                      </c:pt>
                      <c:pt idx="1581">
                        <c:v>4.05</c:v>
                      </c:pt>
                      <c:pt idx="1582">
                        <c:v>4.05</c:v>
                      </c:pt>
                      <c:pt idx="1583">
                        <c:v>4.05</c:v>
                      </c:pt>
                      <c:pt idx="1584">
                        <c:v>4.05</c:v>
                      </c:pt>
                      <c:pt idx="1585">
                        <c:v>4.2350000000000003</c:v>
                      </c:pt>
                      <c:pt idx="1586">
                        <c:v>4.2350000000000003</c:v>
                      </c:pt>
                      <c:pt idx="1587">
                        <c:v>4.2350000000000003</c:v>
                      </c:pt>
                      <c:pt idx="1588">
                        <c:v>4.2350000000000003</c:v>
                      </c:pt>
                      <c:pt idx="1589">
                        <c:v>4.2350000000000003</c:v>
                      </c:pt>
                      <c:pt idx="1590">
                        <c:v>4.2350000000000003</c:v>
                      </c:pt>
                      <c:pt idx="1591">
                        <c:v>4.2350000000000003</c:v>
                      </c:pt>
                      <c:pt idx="1592">
                        <c:v>4.2350000000000003</c:v>
                      </c:pt>
                      <c:pt idx="1593">
                        <c:v>4.2350000000000003</c:v>
                      </c:pt>
                      <c:pt idx="1594">
                        <c:v>4.2350000000000003</c:v>
                      </c:pt>
                      <c:pt idx="1595">
                        <c:v>4.2350000000000003</c:v>
                      </c:pt>
                      <c:pt idx="1596">
                        <c:v>4.2350000000000003</c:v>
                      </c:pt>
                      <c:pt idx="1597">
                        <c:v>4.2350000000000003</c:v>
                      </c:pt>
                      <c:pt idx="1598">
                        <c:v>4.2350000000000003</c:v>
                      </c:pt>
                      <c:pt idx="1599">
                        <c:v>4.2350000000000003</c:v>
                      </c:pt>
                      <c:pt idx="1600">
                        <c:v>4.2350000000000003</c:v>
                      </c:pt>
                      <c:pt idx="1601">
                        <c:v>4.2350000000000003</c:v>
                      </c:pt>
                      <c:pt idx="1602">
                        <c:v>4.2350000000000003</c:v>
                      </c:pt>
                      <c:pt idx="1603">
                        <c:v>4.2350000000000003</c:v>
                      </c:pt>
                      <c:pt idx="1604">
                        <c:v>4.2350000000000003</c:v>
                      </c:pt>
                      <c:pt idx="1605">
                        <c:v>4.2670000000000003</c:v>
                      </c:pt>
                      <c:pt idx="1606">
                        <c:v>4.2670000000000003</c:v>
                      </c:pt>
                      <c:pt idx="1607">
                        <c:v>4.2670000000000003</c:v>
                      </c:pt>
                      <c:pt idx="1608">
                        <c:v>4.2670000000000003</c:v>
                      </c:pt>
                      <c:pt idx="1609">
                        <c:v>4.2670000000000003</c:v>
                      </c:pt>
                      <c:pt idx="1610">
                        <c:v>4.2670000000000003</c:v>
                      </c:pt>
                      <c:pt idx="1611">
                        <c:v>4.2670000000000003</c:v>
                      </c:pt>
                      <c:pt idx="1612">
                        <c:v>4.2670000000000003</c:v>
                      </c:pt>
                      <c:pt idx="1613">
                        <c:v>4.2670000000000003</c:v>
                      </c:pt>
                      <c:pt idx="1614">
                        <c:v>4.2670000000000003</c:v>
                      </c:pt>
                      <c:pt idx="1615">
                        <c:v>4.2670000000000003</c:v>
                      </c:pt>
                      <c:pt idx="1616">
                        <c:v>4.2670000000000003</c:v>
                      </c:pt>
                      <c:pt idx="1617">
                        <c:v>4.2670000000000003</c:v>
                      </c:pt>
                      <c:pt idx="1618">
                        <c:v>4.2670000000000003</c:v>
                      </c:pt>
                      <c:pt idx="1619">
                        <c:v>4.2670000000000003</c:v>
                      </c:pt>
                      <c:pt idx="1620">
                        <c:v>4.2670000000000003</c:v>
                      </c:pt>
                      <c:pt idx="1621">
                        <c:v>4.2670000000000003</c:v>
                      </c:pt>
                      <c:pt idx="1622">
                        <c:v>4.2670000000000003</c:v>
                      </c:pt>
                      <c:pt idx="1623">
                        <c:v>4.2670000000000003</c:v>
                      </c:pt>
                      <c:pt idx="1624">
                        <c:v>4.2670000000000003</c:v>
                      </c:pt>
                      <c:pt idx="1625">
                        <c:v>4.2670000000000003</c:v>
                      </c:pt>
                      <c:pt idx="1626">
                        <c:v>4.2670000000000003</c:v>
                      </c:pt>
                      <c:pt idx="1627">
                        <c:v>4.2670000000000003</c:v>
                      </c:pt>
                      <c:pt idx="1628">
                        <c:v>4.2670000000000003</c:v>
                      </c:pt>
                      <c:pt idx="1629">
                        <c:v>4.2670000000000003</c:v>
                      </c:pt>
                      <c:pt idx="1630">
                        <c:v>3.9830000000000001</c:v>
                      </c:pt>
                      <c:pt idx="1631">
                        <c:v>3.9830000000000001</c:v>
                      </c:pt>
                      <c:pt idx="1632">
                        <c:v>3.9830000000000001</c:v>
                      </c:pt>
                      <c:pt idx="1633">
                        <c:v>3.9830000000000001</c:v>
                      </c:pt>
                      <c:pt idx="1634">
                        <c:v>3.9830000000000001</c:v>
                      </c:pt>
                      <c:pt idx="1635">
                        <c:v>3.9830000000000001</c:v>
                      </c:pt>
                      <c:pt idx="1636">
                        <c:v>3.9830000000000001</c:v>
                      </c:pt>
                      <c:pt idx="1637">
                        <c:v>3.9830000000000001</c:v>
                      </c:pt>
                      <c:pt idx="1638">
                        <c:v>3.9830000000000001</c:v>
                      </c:pt>
                      <c:pt idx="1639">
                        <c:v>3.9830000000000001</c:v>
                      </c:pt>
                      <c:pt idx="1640">
                        <c:v>3.9830000000000001</c:v>
                      </c:pt>
                      <c:pt idx="1641">
                        <c:v>3.9830000000000001</c:v>
                      </c:pt>
                      <c:pt idx="1642">
                        <c:v>3.9830000000000001</c:v>
                      </c:pt>
                      <c:pt idx="1643">
                        <c:v>3.9830000000000001</c:v>
                      </c:pt>
                      <c:pt idx="1644">
                        <c:v>3.9830000000000001</c:v>
                      </c:pt>
                      <c:pt idx="1645">
                        <c:v>3.9830000000000001</c:v>
                      </c:pt>
                      <c:pt idx="1646">
                        <c:v>3.9830000000000001</c:v>
                      </c:pt>
                      <c:pt idx="1647">
                        <c:v>3.9830000000000001</c:v>
                      </c:pt>
                      <c:pt idx="1648">
                        <c:v>3.9830000000000001</c:v>
                      </c:pt>
                      <c:pt idx="1649">
                        <c:v>3.9830000000000001</c:v>
                      </c:pt>
                      <c:pt idx="1650">
                        <c:v>3.8849999999999998</c:v>
                      </c:pt>
                      <c:pt idx="1651">
                        <c:v>3.8849999999999998</c:v>
                      </c:pt>
                      <c:pt idx="1652">
                        <c:v>3.8849999999999998</c:v>
                      </c:pt>
                      <c:pt idx="1653">
                        <c:v>3.8849999999999998</c:v>
                      </c:pt>
                      <c:pt idx="1654">
                        <c:v>3.8849999999999998</c:v>
                      </c:pt>
                      <c:pt idx="1655">
                        <c:v>3.8849999999999998</c:v>
                      </c:pt>
                      <c:pt idx="1656">
                        <c:v>3.8849999999999998</c:v>
                      </c:pt>
                      <c:pt idx="1657">
                        <c:v>3.8849999999999998</c:v>
                      </c:pt>
                      <c:pt idx="1658">
                        <c:v>3.8849999999999998</c:v>
                      </c:pt>
                      <c:pt idx="1659">
                        <c:v>3.8849999999999998</c:v>
                      </c:pt>
                      <c:pt idx="1660">
                        <c:v>3.8849999999999998</c:v>
                      </c:pt>
                      <c:pt idx="1661">
                        <c:v>3.8849999999999998</c:v>
                      </c:pt>
                      <c:pt idx="1662">
                        <c:v>3.8849999999999998</c:v>
                      </c:pt>
                      <c:pt idx="1663">
                        <c:v>3.8849999999999998</c:v>
                      </c:pt>
                      <c:pt idx="1664">
                        <c:v>3.8849999999999998</c:v>
                      </c:pt>
                      <c:pt idx="1665">
                        <c:v>3.8849999999999998</c:v>
                      </c:pt>
                      <c:pt idx="1666">
                        <c:v>3.8849999999999998</c:v>
                      </c:pt>
                      <c:pt idx="1667">
                        <c:v>3.8849999999999998</c:v>
                      </c:pt>
                      <c:pt idx="1668">
                        <c:v>3.8849999999999998</c:v>
                      </c:pt>
                      <c:pt idx="1669">
                        <c:v>3.8849999999999998</c:v>
                      </c:pt>
                      <c:pt idx="1670">
                        <c:v>3.6280000000000001</c:v>
                      </c:pt>
                      <c:pt idx="1671">
                        <c:v>3.6280000000000001</c:v>
                      </c:pt>
                      <c:pt idx="1672">
                        <c:v>3.6280000000000001</c:v>
                      </c:pt>
                      <c:pt idx="1673">
                        <c:v>3.6280000000000001</c:v>
                      </c:pt>
                      <c:pt idx="1674">
                        <c:v>3.6280000000000001</c:v>
                      </c:pt>
                      <c:pt idx="1675">
                        <c:v>3.6280000000000001</c:v>
                      </c:pt>
                      <c:pt idx="1676">
                        <c:v>3.6280000000000001</c:v>
                      </c:pt>
                      <c:pt idx="1677">
                        <c:v>3.6280000000000001</c:v>
                      </c:pt>
                      <c:pt idx="1678">
                        <c:v>3.6280000000000001</c:v>
                      </c:pt>
                      <c:pt idx="1679">
                        <c:v>3.6280000000000001</c:v>
                      </c:pt>
                      <c:pt idx="1680">
                        <c:v>3.6280000000000001</c:v>
                      </c:pt>
                      <c:pt idx="1681">
                        <c:v>3.6280000000000001</c:v>
                      </c:pt>
                      <c:pt idx="1682">
                        <c:v>3.6280000000000001</c:v>
                      </c:pt>
                      <c:pt idx="1683">
                        <c:v>3.6280000000000001</c:v>
                      </c:pt>
                      <c:pt idx="1684">
                        <c:v>3.6280000000000001</c:v>
                      </c:pt>
                      <c:pt idx="1685">
                        <c:v>3.6280000000000001</c:v>
                      </c:pt>
                      <c:pt idx="1686">
                        <c:v>3.6280000000000001</c:v>
                      </c:pt>
                      <c:pt idx="1687">
                        <c:v>3.6280000000000001</c:v>
                      </c:pt>
                      <c:pt idx="1688">
                        <c:v>3.6280000000000001</c:v>
                      </c:pt>
                      <c:pt idx="1689">
                        <c:v>3.6280000000000001</c:v>
                      </c:pt>
                      <c:pt idx="1690">
                        <c:v>3.6280000000000001</c:v>
                      </c:pt>
                      <c:pt idx="1691">
                        <c:v>3.6280000000000001</c:v>
                      </c:pt>
                      <c:pt idx="1692">
                        <c:v>3.6280000000000001</c:v>
                      </c:pt>
                      <c:pt idx="1693">
                        <c:v>3.6280000000000001</c:v>
                      </c:pt>
                      <c:pt idx="1694">
                        <c:v>3.6280000000000001</c:v>
                      </c:pt>
                      <c:pt idx="1695">
                        <c:v>2.7909999999999999</c:v>
                      </c:pt>
                      <c:pt idx="1696">
                        <c:v>2.7909999999999999</c:v>
                      </c:pt>
                      <c:pt idx="1697">
                        <c:v>2.7909999999999999</c:v>
                      </c:pt>
                      <c:pt idx="1698">
                        <c:v>2.7909999999999999</c:v>
                      </c:pt>
                      <c:pt idx="1699">
                        <c:v>2.7909999999999999</c:v>
                      </c:pt>
                      <c:pt idx="1700">
                        <c:v>2.7909999999999999</c:v>
                      </c:pt>
                      <c:pt idx="1701">
                        <c:v>2.7909999999999999</c:v>
                      </c:pt>
                      <c:pt idx="1702">
                        <c:v>2.7909999999999999</c:v>
                      </c:pt>
                      <c:pt idx="1703">
                        <c:v>2.7909999999999999</c:v>
                      </c:pt>
                      <c:pt idx="1704">
                        <c:v>2.7909999999999999</c:v>
                      </c:pt>
                      <c:pt idx="1705">
                        <c:v>2.7909999999999999</c:v>
                      </c:pt>
                      <c:pt idx="1706">
                        <c:v>2.7909999999999999</c:v>
                      </c:pt>
                      <c:pt idx="1707">
                        <c:v>2.7909999999999999</c:v>
                      </c:pt>
                      <c:pt idx="1708">
                        <c:v>2.7909999999999999</c:v>
                      </c:pt>
                      <c:pt idx="1709">
                        <c:v>2.7909999999999999</c:v>
                      </c:pt>
                      <c:pt idx="1710">
                        <c:v>2.7909999999999999</c:v>
                      </c:pt>
                      <c:pt idx="1711">
                        <c:v>2.7909999999999999</c:v>
                      </c:pt>
                      <c:pt idx="1712">
                        <c:v>2.7909999999999999</c:v>
                      </c:pt>
                      <c:pt idx="1713">
                        <c:v>2.7909999999999999</c:v>
                      </c:pt>
                      <c:pt idx="1714">
                        <c:v>2.7909999999999999</c:v>
                      </c:pt>
                      <c:pt idx="1715">
                        <c:v>2.3260000000000001</c:v>
                      </c:pt>
                      <c:pt idx="1716">
                        <c:v>2.3260000000000001</c:v>
                      </c:pt>
                      <c:pt idx="1717">
                        <c:v>2.3260000000000001</c:v>
                      </c:pt>
                      <c:pt idx="1718">
                        <c:v>2.3260000000000001</c:v>
                      </c:pt>
                      <c:pt idx="1719">
                        <c:v>2.3260000000000001</c:v>
                      </c:pt>
                      <c:pt idx="1720">
                        <c:v>2.3260000000000001</c:v>
                      </c:pt>
                      <c:pt idx="1721">
                        <c:v>2.3260000000000001</c:v>
                      </c:pt>
                      <c:pt idx="1722">
                        <c:v>2.3260000000000001</c:v>
                      </c:pt>
                      <c:pt idx="1723">
                        <c:v>2.3260000000000001</c:v>
                      </c:pt>
                      <c:pt idx="1724">
                        <c:v>2.3260000000000001</c:v>
                      </c:pt>
                      <c:pt idx="1725">
                        <c:v>2.3260000000000001</c:v>
                      </c:pt>
                      <c:pt idx="1726">
                        <c:v>2.3260000000000001</c:v>
                      </c:pt>
                      <c:pt idx="1727">
                        <c:v>2.3260000000000001</c:v>
                      </c:pt>
                      <c:pt idx="1728">
                        <c:v>2.3260000000000001</c:v>
                      </c:pt>
                      <c:pt idx="1729">
                        <c:v>2.3260000000000001</c:v>
                      </c:pt>
                      <c:pt idx="1730">
                        <c:v>2.3260000000000001</c:v>
                      </c:pt>
                      <c:pt idx="1731">
                        <c:v>2.3260000000000001</c:v>
                      </c:pt>
                      <c:pt idx="1732">
                        <c:v>2.3260000000000001</c:v>
                      </c:pt>
                      <c:pt idx="1733">
                        <c:v>2.3260000000000001</c:v>
                      </c:pt>
                      <c:pt idx="1734">
                        <c:v>2.3260000000000001</c:v>
                      </c:pt>
                      <c:pt idx="1735">
                        <c:v>2.3260000000000001</c:v>
                      </c:pt>
                      <c:pt idx="1736">
                        <c:v>2.3260000000000001</c:v>
                      </c:pt>
                      <c:pt idx="1737">
                        <c:v>2.3260000000000001</c:v>
                      </c:pt>
                      <c:pt idx="1738">
                        <c:v>2.3260000000000001</c:v>
                      </c:pt>
                      <c:pt idx="1739">
                        <c:v>2.3260000000000001</c:v>
                      </c:pt>
                      <c:pt idx="1740">
                        <c:v>1.714</c:v>
                      </c:pt>
                      <c:pt idx="1741">
                        <c:v>1.714</c:v>
                      </c:pt>
                      <c:pt idx="1742">
                        <c:v>1.714</c:v>
                      </c:pt>
                      <c:pt idx="1743">
                        <c:v>1.714</c:v>
                      </c:pt>
                      <c:pt idx="1744">
                        <c:v>1.714</c:v>
                      </c:pt>
                      <c:pt idx="1745">
                        <c:v>1.714</c:v>
                      </c:pt>
                      <c:pt idx="1746">
                        <c:v>1.714</c:v>
                      </c:pt>
                      <c:pt idx="1747">
                        <c:v>1.714</c:v>
                      </c:pt>
                      <c:pt idx="1748">
                        <c:v>1.714</c:v>
                      </c:pt>
                      <c:pt idx="1749">
                        <c:v>1.714</c:v>
                      </c:pt>
                      <c:pt idx="1750">
                        <c:v>1.714</c:v>
                      </c:pt>
                      <c:pt idx="1751">
                        <c:v>1.714</c:v>
                      </c:pt>
                      <c:pt idx="1752">
                        <c:v>1.714</c:v>
                      </c:pt>
                      <c:pt idx="1753">
                        <c:v>1.714</c:v>
                      </c:pt>
                      <c:pt idx="1754">
                        <c:v>1.714</c:v>
                      </c:pt>
                      <c:pt idx="1755">
                        <c:v>1.714</c:v>
                      </c:pt>
                      <c:pt idx="1756">
                        <c:v>1.714</c:v>
                      </c:pt>
                      <c:pt idx="1757">
                        <c:v>1.714</c:v>
                      </c:pt>
                      <c:pt idx="1758">
                        <c:v>1.714</c:v>
                      </c:pt>
                      <c:pt idx="1759">
                        <c:v>1.714</c:v>
                      </c:pt>
                      <c:pt idx="1760">
                        <c:v>0.99</c:v>
                      </c:pt>
                      <c:pt idx="1761">
                        <c:v>0.99</c:v>
                      </c:pt>
                      <c:pt idx="1762">
                        <c:v>0.99</c:v>
                      </c:pt>
                      <c:pt idx="1763">
                        <c:v>0.99</c:v>
                      </c:pt>
                      <c:pt idx="1764">
                        <c:v>0.99</c:v>
                      </c:pt>
                      <c:pt idx="1765">
                        <c:v>0.99</c:v>
                      </c:pt>
                      <c:pt idx="1766">
                        <c:v>0.99</c:v>
                      </c:pt>
                      <c:pt idx="1767">
                        <c:v>0.99</c:v>
                      </c:pt>
                      <c:pt idx="1768">
                        <c:v>0.99</c:v>
                      </c:pt>
                      <c:pt idx="1769">
                        <c:v>0.99</c:v>
                      </c:pt>
                      <c:pt idx="1770">
                        <c:v>0.99</c:v>
                      </c:pt>
                      <c:pt idx="1771">
                        <c:v>0.99</c:v>
                      </c:pt>
                      <c:pt idx="1772">
                        <c:v>0.99</c:v>
                      </c:pt>
                      <c:pt idx="1773">
                        <c:v>0.99</c:v>
                      </c:pt>
                      <c:pt idx="1774">
                        <c:v>0.99</c:v>
                      </c:pt>
                      <c:pt idx="1775">
                        <c:v>0.99</c:v>
                      </c:pt>
                      <c:pt idx="1776">
                        <c:v>0.99</c:v>
                      </c:pt>
                      <c:pt idx="1777">
                        <c:v>0.99</c:v>
                      </c:pt>
                      <c:pt idx="1778">
                        <c:v>0.99</c:v>
                      </c:pt>
                      <c:pt idx="1779">
                        <c:v>0.99</c:v>
                      </c:pt>
                      <c:pt idx="1780">
                        <c:v>8.1000000000000003E-2</c:v>
                      </c:pt>
                      <c:pt idx="1781">
                        <c:v>8.1000000000000003E-2</c:v>
                      </c:pt>
                      <c:pt idx="1782">
                        <c:v>8.1000000000000003E-2</c:v>
                      </c:pt>
                      <c:pt idx="1783">
                        <c:v>8.1000000000000003E-2</c:v>
                      </c:pt>
                      <c:pt idx="1784">
                        <c:v>8.1000000000000003E-2</c:v>
                      </c:pt>
                      <c:pt idx="1785">
                        <c:v>8.1000000000000003E-2</c:v>
                      </c:pt>
                      <c:pt idx="1786">
                        <c:v>8.1000000000000003E-2</c:v>
                      </c:pt>
                      <c:pt idx="1787">
                        <c:v>8.1000000000000003E-2</c:v>
                      </c:pt>
                      <c:pt idx="1788">
                        <c:v>8.1000000000000003E-2</c:v>
                      </c:pt>
                      <c:pt idx="1789">
                        <c:v>8.1000000000000003E-2</c:v>
                      </c:pt>
                      <c:pt idx="1790">
                        <c:v>8.1000000000000003E-2</c:v>
                      </c:pt>
                      <c:pt idx="1791">
                        <c:v>8.1000000000000003E-2</c:v>
                      </c:pt>
                      <c:pt idx="1792">
                        <c:v>8.1000000000000003E-2</c:v>
                      </c:pt>
                      <c:pt idx="1793">
                        <c:v>8.1000000000000003E-2</c:v>
                      </c:pt>
                      <c:pt idx="1794">
                        <c:v>8.1000000000000003E-2</c:v>
                      </c:pt>
                      <c:pt idx="1795">
                        <c:v>8.1000000000000003E-2</c:v>
                      </c:pt>
                      <c:pt idx="1796">
                        <c:v>8.1000000000000003E-2</c:v>
                      </c:pt>
                      <c:pt idx="1797">
                        <c:v>8.1000000000000003E-2</c:v>
                      </c:pt>
                      <c:pt idx="1798">
                        <c:v>8.1000000000000003E-2</c:v>
                      </c:pt>
                      <c:pt idx="1799">
                        <c:v>8.1000000000000003E-2</c:v>
                      </c:pt>
                      <c:pt idx="1800">
                        <c:v>8.1000000000000003E-2</c:v>
                      </c:pt>
                      <c:pt idx="1801">
                        <c:v>8.1000000000000003E-2</c:v>
                      </c:pt>
                      <c:pt idx="1802">
                        <c:v>8.1000000000000003E-2</c:v>
                      </c:pt>
                      <c:pt idx="1803">
                        <c:v>8.1000000000000003E-2</c:v>
                      </c:pt>
                      <c:pt idx="1804">
                        <c:v>8.1000000000000003E-2</c:v>
                      </c:pt>
                      <c:pt idx="1805">
                        <c:v>-0.628</c:v>
                      </c:pt>
                      <c:pt idx="1806">
                        <c:v>-0.628</c:v>
                      </c:pt>
                      <c:pt idx="1807">
                        <c:v>-0.628</c:v>
                      </c:pt>
                      <c:pt idx="1808">
                        <c:v>-0.628</c:v>
                      </c:pt>
                      <c:pt idx="1809">
                        <c:v>-0.628</c:v>
                      </c:pt>
                      <c:pt idx="1810">
                        <c:v>-0.628</c:v>
                      </c:pt>
                      <c:pt idx="1811">
                        <c:v>-0.628</c:v>
                      </c:pt>
                      <c:pt idx="1812">
                        <c:v>-0.628</c:v>
                      </c:pt>
                      <c:pt idx="1813">
                        <c:v>-0.628</c:v>
                      </c:pt>
                      <c:pt idx="1814">
                        <c:v>-0.628</c:v>
                      </c:pt>
                      <c:pt idx="1815">
                        <c:v>-0.628</c:v>
                      </c:pt>
                      <c:pt idx="1816">
                        <c:v>-0.628</c:v>
                      </c:pt>
                      <c:pt idx="1817">
                        <c:v>-0.628</c:v>
                      </c:pt>
                      <c:pt idx="1818">
                        <c:v>-0.628</c:v>
                      </c:pt>
                      <c:pt idx="1819">
                        <c:v>-0.628</c:v>
                      </c:pt>
                      <c:pt idx="1820">
                        <c:v>-0.628</c:v>
                      </c:pt>
                      <c:pt idx="1821">
                        <c:v>-0.628</c:v>
                      </c:pt>
                      <c:pt idx="1822">
                        <c:v>-0.628</c:v>
                      </c:pt>
                      <c:pt idx="1823">
                        <c:v>-0.628</c:v>
                      </c:pt>
                      <c:pt idx="1824">
                        <c:v>-0.628</c:v>
                      </c:pt>
                      <c:pt idx="1825">
                        <c:v>-0.95699999999999996</c:v>
                      </c:pt>
                      <c:pt idx="1826">
                        <c:v>-0.95699999999999996</c:v>
                      </c:pt>
                      <c:pt idx="1827">
                        <c:v>-0.95699999999999996</c:v>
                      </c:pt>
                      <c:pt idx="1828">
                        <c:v>-0.95699999999999996</c:v>
                      </c:pt>
                      <c:pt idx="1829">
                        <c:v>-0.95699999999999996</c:v>
                      </c:pt>
                      <c:pt idx="1830">
                        <c:v>-0.95699999999999996</c:v>
                      </c:pt>
                      <c:pt idx="1831">
                        <c:v>-0.95699999999999996</c:v>
                      </c:pt>
                      <c:pt idx="1832">
                        <c:v>-0.95699999999999996</c:v>
                      </c:pt>
                      <c:pt idx="1833">
                        <c:v>-0.95699999999999996</c:v>
                      </c:pt>
                      <c:pt idx="1834">
                        <c:v>-0.95699999999999996</c:v>
                      </c:pt>
                      <c:pt idx="1835">
                        <c:v>-0.95699999999999996</c:v>
                      </c:pt>
                      <c:pt idx="1836">
                        <c:v>-0.95699999999999996</c:v>
                      </c:pt>
                      <c:pt idx="1837">
                        <c:v>-0.95699999999999996</c:v>
                      </c:pt>
                      <c:pt idx="1838">
                        <c:v>-0.95699999999999996</c:v>
                      </c:pt>
                      <c:pt idx="1839">
                        <c:v>-0.95699999999999996</c:v>
                      </c:pt>
                      <c:pt idx="1840">
                        <c:v>-0.95699999999999996</c:v>
                      </c:pt>
                      <c:pt idx="1841">
                        <c:v>-0.95699999999999996</c:v>
                      </c:pt>
                      <c:pt idx="1842">
                        <c:v>-0.95699999999999996</c:v>
                      </c:pt>
                      <c:pt idx="1843">
                        <c:v>-0.95699999999999996</c:v>
                      </c:pt>
                      <c:pt idx="1844">
                        <c:v>-0.95699999999999996</c:v>
                      </c:pt>
                      <c:pt idx="1845">
                        <c:v>-1.4219999999999999</c:v>
                      </c:pt>
                      <c:pt idx="1846">
                        <c:v>-1.4219999999999999</c:v>
                      </c:pt>
                      <c:pt idx="1847">
                        <c:v>-1.4219999999999999</c:v>
                      </c:pt>
                      <c:pt idx="1848">
                        <c:v>-1.4219999999999999</c:v>
                      </c:pt>
                      <c:pt idx="1849">
                        <c:v>-1.4219999999999999</c:v>
                      </c:pt>
                      <c:pt idx="1850">
                        <c:v>-1.4219999999999999</c:v>
                      </c:pt>
                      <c:pt idx="1851">
                        <c:v>-1.4219999999999999</c:v>
                      </c:pt>
                      <c:pt idx="1852">
                        <c:v>-1.4219999999999999</c:v>
                      </c:pt>
                      <c:pt idx="1853">
                        <c:v>-1.4219999999999999</c:v>
                      </c:pt>
                      <c:pt idx="1854">
                        <c:v>-1.4219999999999999</c:v>
                      </c:pt>
                      <c:pt idx="1855">
                        <c:v>-1.4219999999999999</c:v>
                      </c:pt>
                      <c:pt idx="1856">
                        <c:v>-1.4219999999999999</c:v>
                      </c:pt>
                      <c:pt idx="1857">
                        <c:v>-1.4219999999999999</c:v>
                      </c:pt>
                      <c:pt idx="1858">
                        <c:v>-1.4219999999999999</c:v>
                      </c:pt>
                      <c:pt idx="1859">
                        <c:v>-1.4219999999999999</c:v>
                      </c:pt>
                      <c:pt idx="1860">
                        <c:v>-1.4219999999999999</c:v>
                      </c:pt>
                      <c:pt idx="1861">
                        <c:v>-1.4219999999999999</c:v>
                      </c:pt>
                      <c:pt idx="1862">
                        <c:v>-1.4219999999999999</c:v>
                      </c:pt>
                      <c:pt idx="1863">
                        <c:v>-1.4219999999999999</c:v>
                      </c:pt>
                      <c:pt idx="1864">
                        <c:v>-1.4219999999999999</c:v>
                      </c:pt>
                      <c:pt idx="1865">
                        <c:v>-1.6930000000000001</c:v>
                      </c:pt>
                      <c:pt idx="1866">
                        <c:v>-1.6930000000000001</c:v>
                      </c:pt>
                      <c:pt idx="1867">
                        <c:v>-1.6930000000000001</c:v>
                      </c:pt>
                      <c:pt idx="1868">
                        <c:v>-1.6930000000000001</c:v>
                      </c:pt>
                      <c:pt idx="1869">
                        <c:v>-1.6930000000000001</c:v>
                      </c:pt>
                      <c:pt idx="1870">
                        <c:v>-1.6930000000000001</c:v>
                      </c:pt>
                      <c:pt idx="1871">
                        <c:v>-1.6930000000000001</c:v>
                      </c:pt>
                      <c:pt idx="1872">
                        <c:v>-1.6930000000000001</c:v>
                      </c:pt>
                      <c:pt idx="1873">
                        <c:v>-1.6930000000000001</c:v>
                      </c:pt>
                      <c:pt idx="1874">
                        <c:v>-1.6930000000000001</c:v>
                      </c:pt>
                      <c:pt idx="1875">
                        <c:v>-1.6930000000000001</c:v>
                      </c:pt>
                      <c:pt idx="1876">
                        <c:v>-1.6930000000000001</c:v>
                      </c:pt>
                      <c:pt idx="1877">
                        <c:v>-1.6930000000000001</c:v>
                      </c:pt>
                      <c:pt idx="1878">
                        <c:v>-1.6930000000000001</c:v>
                      </c:pt>
                      <c:pt idx="1879">
                        <c:v>-1.6930000000000001</c:v>
                      </c:pt>
                      <c:pt idx="1880">
                        <c:v>-1.6930000000000001</c:v>
                      </c:pt>
                      <c:pt idx="1881">
                        <c:v>-1.6930000000000001</c:v>
                      </c:pt>
                      <c:pt idx="1882">
                        <c:v>-1.6930000000000001</c:v>
                      </c:pt>
                      <c:pt idx="1883">
                        <c:v>-1.6930000000000001</c:v>
                      </c:pt>
                      <c:pt idx="1884">
                        <c:v>-1.6930000000000001</c:v>
                      </c:pt>
                      <c:pt idx="1885">
                        <c:v>-1.6930000000000001</c:v>
                      </c:pt>
                      <c:pt idx="1886">
                        <c:v>-1.6930000000000001</c:v>
                      </c:pt>
                      <c:pt idx="1887">
                        <c:v>-1.6930000000000001</c:v>
                      </c:pt>
                      <c:pt idx="1888">
                        <c:v>-1.6930000000000001</c:v>
                      </c:pt>
                      <c:pt idx="1889">
                        <c:v>-1.6930000000000001</c:v>
                      </c:pt>
                      <c:pt idx="1890">
                        <c:v>-1.5269999999999999</c:v>
                      </c:pt>
                      <c:pt idx="1891">
                        <c:v>-1.5269999999999999</c:v>
                      </c:pt>
                      <c:pt idx="1892">
                        <c:v>-1.5269999999999999</c:v>
                      </c:pt>
                      <c:pt idx="1893">
                        <c:v>-1.5269999999999999</c:v>
                      </c:pt>
                      <c:pt idx="1894">
                        <c:v>-1.5269999999999999</c:v>
                      </c:pt>
                      <c:pt idx="1895">
                        <c:v>-1.5269999999999999</c:v>
                      </c:pt>
                      <c:pt idx="1896">
                        <c:v>-1.5269999999999999</c:v>
                      </c:pt>
                      <c:pt idx="1897">
                        <c:v>-1.5269999999999999</c:v>
                      </c:pt>
                      <c:pt idx="1898">
                        <c:v>-1.5269999999999999</c:v>
                      </c:pt>
                      <c:pt idx="1899">
                        <c:v>-1.5269999999999999</c:v>
                      </c:pt>
                      <c:pt idx="1900">
                        <c:v>-1.5269999999999999</c:v>
                      </c:pt>
                      <c:pt idx="1901">
                        <c:v>-1.5269999999999999</c:v>
                      </c:pt>
                      <c:pt idx="1902">
                        <c:v>-1.5269999999999999</c:v>
                      </c:pt>
                      <c:pt idx="1903">
                        <c:v>-1.5269999999999999</c:v>
                      </c:pt>
                      <c:pt idx="1904">
                        <c:v>-1.5269999999999999</c:v>
                      </c:pt>
                      <c:pt idx="1905">
                        <c:v>-1.5269999999999999</c:v>
                      </c:pt>
                      <c:pt idx="1906">
                        <c:v>-1.5269999999999999</c:v>
                      </c:pt>
                      <c:pt idx="1907">
                        <c:v>-1.5269999999999999</c:v>
                      </c:pt>
                      <c:pt idx="1908">
                        <c:v>-1.5269999999999999</c:v>
                      </c:pt>
                      <c:pt idx="1909">
                        <c:v>-1.5269999999999999</c:v>
                      </c:pt>
                      <c:pt idx="1910">
                        <c:v>-1.6279999999999999</c:v>
                      </c:pt>
                      <c:pt idx="1911">
                        <c:v>-1.6279999999999999</c:v>
                      </c:pt>
                      <c:pt idx="1912">
                        <c:v>-1.6279999999999999</c:v>
                      </c:pt>
                      <c:pt idx="1913">
                        <c:v>-1.6279999999999999</c:v>
                      </c:pt>
                      <c:pt idx="1914">
                        <c:v>-1.6279999999999999</c:v>
                      </c:pt>
                      <c:pt idx="1915">
                        <c:v>-1.6279999999999999</c:v>
                      </c:pt>
                      <c:pt idx="1916">
                        <c:v>-1.6279999999999999</c:v>
                      </c:pt>
                      <c:pt idx="1917">
                        <c:v>-1.6279999999999999</c:v>
                      </c:pt>
                      <c:pt idx="1918">
                        <c:v>-1.6279999999999999</c:v>
                      </c:pt>
                      <c:pt idx="1919">
                        <c:v>-1.6279999999999999</c:v>
                      </c:pt>
                      <c:pt idx="1920">
                        <c:v>-1.6279999999999999</c:v>
                      </c:pt>
                      <c:pt idx="1921">
                        <c:v>-1.6279999999999999</c:v>
                      </c:pt>
                      <c:pt idx="1922">
                        <c:v>-1.6279999999999999</c:v>
                      </c:pt>
                      <c:pt idx="1923">
                        <c:v>-1.6279999999999999</c:v>
                      </c:pt>
                      <c:pt idx="1924">
                        <c:v>-1.6279999999999999</c:v>
                      </c:pt>
                      <c:pt idx="1925">
                        <c:v>-1.6279999999999999</c:v>
                      </c:pt>
                      <c:pt idx="1926">
                        <c:v>-1.6279999999999999</c:v>
                      </c:pt>
                      <c:pt idx="1927">
                        <c:v>-1.6279999999999999</c:v>
                      </c:pt>
                      <c:pt idx="1928">
                        <c:v>-1.6279999999999999</c:v>
                      </c:pt>
                      <c:pt idx="1929">
                        <c:v>-1.6279999999999999</c:v>
                      </c:pt>
                      <c:pt idx="1930">
                        <c:v>-1.6279999999999999</c:v>
                      </c:pt>
                      <c:pt idx="1931">
                        <c:v>-1.6279999999999999</c:v>
                      </c:pt>
                      <c:pt idx="1932">
                        <c:v>-1.6279999999999999</c:v>
                      </c:pt>
                      <c:pt idx="1933">
                        <c:v>-1.6279999999999999</c:v>
                      </c:pt>
                      <c:pt idx="1934">
                        <c:v>-1.6279999999999999</c:v>
                      </c:pt>
                      <c:pt idx="1935">
                        <c:v>-1.3480000000000001</c:v>
                      </c:pt>
                      <c:pt idx="1936">
                        <c:v>-1.3480000000000001</c:v>
                      </c:pt>
                      <c:pt idx="1937">
                        <c:v>-1.3480000000000001</c:v>
                      </c:pt>
                      <c:pt idx="1938">
                        <c:v>-1.3480000000000001</c:v>
                      </c:pt>
                      <c:pt idx="1939">
                        <c:v>-1.3480000000000001</c:v>
                      </c:pt>
                      <c:pt idx="1940">
                        <c:v>-1.3480000000000001</c:v>
                      </c:pt>
                      <c:pt idx="1941">
                        <c:v>-1.3480000000000001</c:v>
                      </c:pt>
                      <c:pt idx="1942">
                        <c:v>-1.3480000000000001</c:v>
                      </c:pt>
                      <c:pt idx="1943">
                        <c:v>-1.3480000000000001</c:v>
                      </c:pt>
                      <c:pt idx="1944">
                        <c:v>-1.3480000000000001</c:v>
                      </c:pt>
                      <c:pt idx="1945">
                        <c:v>-1.3480000000000001</c:v>
                      </c:pt>
                      <c:pt idx="1946">
                        <c:v>-1.3480000000000001</c:v>
                      </c:pt>
                      <c:pt idx="1947">
                        <c:v>-1.3480000000000001</c:v>
                      </c:pt>
                      <c:pt idx="1948">
                        <c:v>-1.3480000000000001</c:v>
                      </c:pt>
                      <c:pt idx="1949">
                        <c:v>-1.3480000000000001</c:v>
                      </c:pt>
                      <c:pt idx="1950">
                        <c:v>-1.3480000000000001</c:v>
                      </c:pt>
                      <c:pt idx="1951">
                        <c:v>-1.3480000000000001</c:v>
                      </c:pt>
                      <c:pt idx="1952">
                        <c:v>-1.3480000000000001</c:v>
                      </c:pt>
                      <c:pt idx="1953">
                        <c:v>-1.3480000000000001</c:v>
                      </c:pt>
                      <c:pt idx="1954">
                        <c:v>-1.3480000000000001</c:v>
                      </c:pt>
                      <c:pt idx="1955">
                        <c:v>-1.2070000000000001</c:v>
                      </c:pt>
                      <c:pt idx="1956">
                        <c:v>-1.2070000000000001</c:v>
                      </c:pt>
                      <c:pt idx="1957">
                        <c:v>-1.2070000000000001</c:v>
                      </c:pt>
                      <c:pt idx="1958">
                        <c:v>-1.2070000000000001</c:v>
                      </c:pt>
                      <c:pt idx="1959">
                        <c:v>-1.2070000000000001</c:v>
                      </c:pt>
                      <c:pt idx="1960">
                        <c:v>-1.2070000000000001</c:v>
                      </c:pt>
                      <c:pt idx="1961">
                        <c:v>-1.2070000000000001</c:v>
                      </c:pt>
                      <c:pt idx="1962">
                        <c:v>-1.2070000000000001</c:v>
                      </c:pt>
                      <c:pt idx="1963">
                        <c:v>-1.2070000000000001</c:v>
                      </c:pt>
                      <c:pt idx="1964">
                        <c:v>-1.2070000000000001</c:v>
                      </c:pt>
                      <c:pt idx="1965">
                        <c:v>-1.2070000000000001</c:v>
                      </c:pt>
                      <c:pt idx="1966">
                        <c:v>-1.2070000000000001</c:v>
                      </c:pt>
                      <c:pt idx="1967">
                        <c:v>-1.2070000000000001</c:v>
                      </c:pt>
                      <c:pt idx="1968">
                        <c:v>-1.2070000000000001</c:v>
                      </c:pt>
                      <c:pt idx="1969">
                        <c:v>-1.2070000000000001</c:v>
                      </c:pt>
                      <c:pt idx="1970">
                        <c:v>-1.2070000000000001</c:v>
                      </c:pt>
                      <c:pt idx="1971">
                        <c:v>-1.2070000000000001</c:v>
                      </c:pt>
                      <c:pt idx="1972">
                        <c:v>-1.2070000000000001</c:v>
                      </c:pt>
                      <c:pt idx="1973">
                        <c:v>-1.2070000000000001</c:v>
                      </c:pt>
                      <c:pt idx="1974">
                        <c:v>-1.2070000000000001</c:v>
                      </c:pt>
                      <c:pt idx="1975">
                        <c:v>-1.0620000000000001</c:v>
                      </c:pt>
                      <c:pt idx="1976">
                        <c:v>-1.0620000000000001</c:v>
                      </c:pt>
                      <c:pt idx="1977">
                        <c:v>-1.0620000000000001</c:v>
                      </c:pt>
                      <c:pt idx="1978">
                        <c:v>-1.0620000000000001</c:v>
                      </c:pt>
                      <c:pt idx="1979">
                        <c:v>-1.0620000000000001</c:v>
                      </c:pt>
                      <c:pt idx="1980">
                        <c:v>-1.0620000000000001</c:v>
                      </c:pt>
                      <c:pt idx="1981">
                        <c:v>-1.0620000000000001</c:v>
                      </c:pt>
                      <c:pt idx="1982">
                        <c:v>-1.0620000000000001</c:v>
                      </c:pt>
                      <c:pt idx="1983">
                        <c:v>-1.0620000000000001</c:v>
                      </c:pt>
                      <c:pt idx="1984">
                        <c:v>-1.0620000000000001</c:v>
                      </c:pt>
                      <c:pt idx="1985">
                        <c:v>-1.0620000000000001</c:v>
                      </c:pt>
                      <c:pt idx="1986">
                        <c:v>-1.0620000000000001</c:v>
                      </c:pt>
                      <c:pt idx="1987">
                        <c:v>-1.0620000000000001</c:v>
                      </c:pt>
                      <c:pt idx="1988">
                        <c:v>-1.0620000000000001</c:v>
                      </c:pt>
                      <c:pt idx="1989">
                        <c:v>-1.0620000000000001</c:v>
                      </c:pt>
                      <c:pt idx="1990">
                        <c:v>-1.0620000000000001</c:v>
                      </c:pt>
                      <c:pt idx="1991">
                        <c:v>-1.0620000000000001</c:v>
                      </c:pt>
                      <c:pt idx="1992">
                        <c:v>-1.0620000000000001</c:v>
                      </c:pt>
                      <c:pt idx="1993">
                        <c:v>-1.0620000000000001</c:v>
                      </c:pt>
                      <c:pt idx="1994">
                        <c:v>-1.0620000000000001</c:v>
                      </c:pt>
                      <c:pt idx="1995">
                        <c:v>-1.0620000000000001</c:v>
                      </c:pt>
                      <c:pt idx="1996">
                        <c:v>-1.0620000000000001</c:v>
                      </c:pt>
                      <c:pt idx="1997">
                        <c:v>-1.0620000000000001</c:v>
                      </c:pt>
                      <c:pt idx="1998">
                        <c:v>-1.0620000000000001</c:v>
                      </c:pt>
                      <c:pt idx="1999">
                        <c:v>-1.0620000000000001</c:v>
                      </c:pt>
                      <c:pt idx="2000">
                        <c:v>-0.64900000000000002</c:v>
                      </c:pt>
                      <c:pt idx="2001">
                        <c:v>-0.64900000000000002</c:v>
                      </c:pt>
                      <c:pt idx="2002">
                        <c:v>-0.64900000000000002</c:v>
                      </c:pt>
                      <c:pt idx="2003">
                        <c:v>-0.64900000000000002</c:v>
                      </c:pt>
                      <c:pt idx="2004">
                        <c:v>-0.64900000000000002</c:v>
                      </c:pt>
                      <c:pt idx="2005">
                        <c:v>-0.64900000000000002</c:v>
                      </c:pt>
                      <c:pt idx="2006">
                        <c:v>-0.64900000000000002</c:v>
                      </c:pt>
                      <c:pt idx="2007">
                        <c:v>-0.64900000000000002</c:v>
                      </c:pt>
                      <c:pt idx="2008">
                        <c:v>-0.64900000000000002</c:v>
                      </c:pt>
                      <c:pt idx="2009">
                        <c:v>-0.64900000000000002</c:v>
                      </c:pt>
                      <c:pt idx="2010">
                        <c:v>-0.64900000000000002</c:v>
                      </c:pt>
                      <c:pt idx="2011">
                        <c:v>-0.64900000000000002</c:v>
                      </c:pt>
                      <c:pt idx="2012">
                        <c:v>-0.64900000000000002</c:v>
                      </c:pt>
                      <c:pt idx="2013">
                        <c:v>-0.64900000000000002</c:v>
                      </c:pt>
                      <c:pt idx="2014">
                        <c:v>-0.64900000000000002</c:v>
                      </c:pt>
                      <c:pt idx="2015">
                        <c:v>-0.64900000000000002</c:v>
                      </c:pt>
                      <c:pt idx="2016">
                        <c:v>-0.64900000000000002</c:v>
                      </c:pt>
                      <c:pt idx="2017">
                        <c:v>-0.64900000000000002</c:v>
                      </c:pt>
                      <c:pt idx="2018">
                        <c:v>-0.64900000000000002</c:v>
                      </c:pt>
                      <c:pt idx="2019">
                        <c:v>-0.64900000000000002</c:v>
                      </c:pt>
                      <c:pt idx="2020">
                        <c:v>-0.42599999999999999</c:v>
                      </c:pt>
                      <c:pt idx="2021">
                        <c:v>-0.42599999999999999</c:v>
                      </c:pt>
                      <c:pt idx="2022">
                        <c:v>-0.42599999999999999</c:v>
                      </c:pt>
                      <c:pt idx="2023">
                        <c:v>-0.42599999999999999</c:v>
                      </c:pt>
                      <c:pt idx="2024">
                        <c:v>-0.42599999999999999</c:v>
                      </c:pt>
                      <c:pt idx="2025">
                        <c:v>-0.42599999999999999</c:v>
                      </c:pt>
                      <c:pt idx="2026">
                        <c:v>-0.42599999999999999</c:v>
                      </c:pt>
                      <c:pt idx="2027">
                        <c:v>-0.42599999999999999</c:v>
                      </c:pt>
                      <c:pt idx="2028">
                        <c:v>-0.42599999999999999</c:v>
                      </c:pt>
                      <c:pt idx="2029">
                        <c:v>-0.42599999999999999</c:v>
                      </c:pt>
                      <c:pt idx="2030">
                        <c:v>-0.42599999999999999</c:v>
                      </c:pt>
                      <c:pt idx="2031">
                        <c:v>-0.42599999999999999</c:v>
                      </c:pt>
                      <c:pt idx="2032">
                        <c:v>-0.42599999999999999</c:v>
                      </c:pt>
                      <c:pt idx="2033">
                        <c:v>-0.42599999999999999</c:v>
                      </c:pt>
                      <c:pt idx="2034">
                        <c:v>-0.42599999999999999</c:v>
                      </c:pt>
                      <c:pt idx="2035">
                        <c:v>-0.42599999999999999</c:v>
                      </c:pt>
                      <c:pt idx="2036">
                        <c:v>-0.42599999999999999</c:v>
                      </c:pt>
                      <c:pt idx="2037">
                        <c:v>-0.42599999999999999</c:v>
                      </c:pt>
                      <c:pt idx="2038">
                        <c:v>-0.42599999999999999</c:v>
                      </c:pt>
                      <c:pt idx="2039">
                        <c:v>-0.42599999999999999</c:v>
                      </c:pt>
                      <c:pt idx="2040">
                        <c:v>-0.22800000000000001</c:v>
                      </c:pt>
                      <c:pt idx="2041">
                        <c:v>-0.22800000000000001</c:v>
                      </c:pt>
                      <c:pt idx="2042">
                        <c:v>-0.22800000000000001</c:v>
                      </c:pt>
                      <c:pt idx="2043">
                        <c:v>-0.22800000000000001</c:v>
                      </c:pt>
                      <c:pt idx="2044">
                        <c:v>-0.22800000000000001</c:v>
                      </c:pt>
                      <c:pt idx="2045">
                        <c:v>-0.22800000000000001</c:v>
                      </c:pt>
                      <c:pt idx="2046">
                        <c:v>-0.22800000000000001</c:v>
                      </c:pt>
                      <c:pt idx="2047">
                        <c:v>-0.22800000000000001</c:v>
                      </c:pt>
                      <c:pt idx="2048">
                        <c:v>-0.22800000000000001</c:v>
                      </c:pt>
                      <c:pt idx="2049">
                        <c:v>-0.22800000000000001</c:v>
                      </c:pt>
                      <c:pt idx="2050">
                        <c:v>-0.22800000000000001</c:v>
                      </c:pt>
                      <c:pt idx="2051">
                        <c:v>-0.22800000000000001</c:v>
                      </c:pt>
                      <c:pt idx="2052">
                        <c:v>-0.22800000000000001</c:v>
                      </c:pt>
                      <c:pt idx="2053">
                        <c:v>-0.22800000000000001</c:v>
                      </c:pt>
                      <c:pt idx="2054">
                        <c:v>-0.22800000000000001</c:v>
                      </c:pt>
                      <c:pt idx="2055">
                        <c:v>-0.22800000000000001</c:v>
                      </c:pt>
                      <c:pt idx="2056">
                        <c:v>-0.22800000000000001</c:v>
                      </c:pt>
                      <c:pt idx="2057">
                        <c:v>-0.22800000000000001</c:v>
                      </c:pt>
                      <c:pt idx="2058">
                        <c:v>-0.22800000000000001</c:v>
                      </c:pt>
                      <c:pt idx="2059">
                        <c:v>-0.22800000000000001</c:v>
                      </c:pt>
                      <c:pt idx="2060">
                        <c:v>-0.22800000000000001</c:v>
                      </c:pt>
                      <c:pt idx="2061">
                        <c:v>-0.22800000000000001</c:v>
                      </c:pt>
                      <c:pt idx="2062">
                        <c:v>-0.22800000000000001</c:v>
                      </c:pt>
                      <c:pt idx="2063">
                        <c:v>-0.22800000000000001</c:v>
                      </c:pt>
                      <c:pt idx="2064">
                        <c:v>-0.22800000000000001</c:v>
                      </c:pt>
                      <c:pt idx="2065">
                        <c:v>-2.5999999999999999E-2</c:v>
                      </c:pt>
                      <c:pt idx="2066">
                        <c:v>-2.5999999999999999E-2</c:v>
                      </c:pt>
                      <c:pt idx="2067">
                        <c:v>-2.5999999999999999E-2</c:v>
                      </c:pt>
                      <c:pt idx="2068">
                        <c:v>-2.5999999999999999E-2</c:v>
                      </c:pt>
                      <c:pt idx="2069">
                        <c:v>-2.5999999999999999E-2</c:v>
                      </c:pt>
                      <c:pt idx="2070">
                        <c:v>-2.5999999999999999E-2</c:v>
                      </c:pt>
                      <c:pt idx="2071">
                        <c:v>-2.5999999999999999E-2</c:v>
                      </c:pt>
                      <c:pt idx="2072">
                        <c:v>-2.5999999999999999E-2</c:v>
                      </c:pt>
                      <c:pt idx="2073">
                        <c:v>-2.5999999999999999E-2</c:v>
                      </c:pt>
                      <c:pt idx="2074">
                        <c:v>-2.5999999999999999E-2</c:v>
                      </c:pt>
                      <c:pt idx="2075">
                        <c:v>-2.5999999999999999E-2</c:v>
                      </c:pt>
                      <c:pt idx="2076">
                        <c:v>-2.5999999999999999E-2</c:v>
                      </c:pt>
                      <c:pt idx="2077">
                        <c:v>-2.5999999999999999E-2</c:v>
                      </c:pt>
                      <c:pt idx="2078">
                        <c:v>-2.5999999999999999E-2</c:v>
                      </c:pt>
                      <c:pt idx="2079">
                        <c:v>-2.5999999999999999E-2</c:v>
                      </c:pt>
                      <c:pt idx="2080">
                        <c:v>-2.5999999999999999E-2</c:v>
                      </c:pt>
                      <c:pt idx="2081">
                        <c:v>-2.5999999999999999E-2</c:v>
                      </c:pt>
                      <c:pt idx="2082">
                        <c:v>-2.5999999999999999E-2</c:v>
                      </c:pt>
                      <c:pt idx="2083">
                        <c:v>-2.5999999999999999E-2</c:v>
                      </c:pt>
                      <c:pt idx="2084">
                        <c:v>-2.5999999999999999E-2</c:v>
                      </c:pt>
                      <c:pt idx="2085">
                        <c:v>0.17399999999999999</c:v>
                      </c:pt>
                      <c:pt idx="2086">
                        <c:v>0.17399999999999999</c:v>
                      </c:pt>
                      <c:pt idx="2087">
                        <c:v>0.17399999999999999</c:v>
                      </c:pt>
                      <c:pt idx="2088">
                        <c:v>0.17399999999999999</c:v>
                      </c:pt>
                      <c:pt idx="2089">
                        <c:v>0.17399999999999999</c:v>
                      </c:pt>
                      <c:pt idx="2090">
                        <c:v>0.17399999999999999</c:v>
                      </c:pt>
                      <c:pt idx="2091">
                        <c:v>0.17399999999999999</c:v>
                      </c:pt>
                      <c:pt idx="2092">
                        <c:v>0.17399999999999999</c:v>
                      </c:pt>
                      <c:pt idx="2093">
                        <c:v>0.17399999999999999</c:v>
                      </c:pt>
                      <c:pt idx="2094">
                        <c:v>0.17399999999999999</c:v>
                      </c:pt>
                      <c:pt idx="2095">
                        <c:v>0.17399999999999999</c:v>
                      </c:pt>
                      <c:pt idx="2096">
                        <c:v>0.17399999999999999</c:v>
                      </c:pt>
                      <c:pt idx="2097">
                        <c:v>0.17399999999999999</c:v>
                      </c:pt>
                      <c:pt idx="2098">
                        <c:v>0.17399999999999999</c:v>
                      </c:pt>
                      <c:pt idx="2099">
                        <c:v>0.17399999999999999</c:v>
                      </c:pt>
                      <c:pt idx="2100">
                        <c:v>0.17399999999999999</c:v>
                      </c:pt>
                      <c:pt idx="2101">
                        <c:v>0.17399999999999999</c:v>
                      </c:pt>
                      <c:pt idx="2102">
                        <c:v>0.17399999999999999</c:v>
                      </c:pt>
                      <c:pt idx="2103">
                        <c:v>0.17399999999999999</c:v>
                      </c:pt>
                      <c:pt idx="2104">
                        <c:v>0.17399999999999999</c:v>
                      </c:pt>
                      <c:pt idx="2105">
                        <c:v>0.17399999999999999</c:v>
                      </c:pt>
                      <c:pt idx="2106">
                        <c:v>0.17399999999999999</c:v>
                      </c:pt>
                      <c:pt idx="2107">
                        <c:v>0.17399999999999999</c:v>
                      </c:pt>
                      <c:pt idx="2108">
                        <c:v>0.17399999999999999</c:v>
                      </c:pt>
                      <c:pt idx="2109">
                        <c:v>0.17399999999999999</c:v>
                      </c:pt>
                      <c:pt idx="2110">
                        <c:v>3.3000000000000002E-2</c:v>
                      </c:pt>
                      <c:pt idx="2111">
                        <c:v>3.3000000000000002E-2</c:v>
                      </c:pt>
                      <c:pt idx="2112">
                        <c:v>3.3000000000000002E-2</c:v>
                      </c:pt>
                      <c:pt idx="2113">
                        <c:v>3.3000000000000002E-2</c:v>
                      </c:pt>
                      <c:pt idx="2114">
                        <c:v>3.3000000000000002E-2</c:v>
                      </c:pt>
                      <c:pt idx="2115">
                        <c:v>3.3000000000000002E-2</c:v>
                      </c:pt>
                      <c:pt idx="2116">
                        <c:v>3.3000000000000002E-2</c:v>
                      </c:pt>
                      <c:pt idx="2117">
                        <c:v>3.3000000000000002E-2</c:v>
                      </c:pt>
                      <c:pt idx="2118">
                        <c:v>3.3000000000000002E-2</c:v>
                      </c:pt>
                      <c:pt idx="2119">
                        <c:v>3.3000000000000002E-2</c:v>
                      </c:pt>
                      <c:pt idx="2120">
                        <c:v>3.3000000000000002E-2</c:v>
                      </c:pt>
                      <c:pt idx="2121">
                        <c:v>3.3000000000000002E-2</c:v>
                      </c:pt>
                      <c:pt idx="2122">
                        <c:v>3.3000000000000002E-2</c:v>
                      </c:pt>
                      <c:pt idx="2123">
                        <c:v>3.3000000000000002E-2</c:v>
                      </c:pt>
                      <c:pt idx="2124">
                        <c:v>3.3000000000000002E-2</c:v>
                      </c:pt>
                      <c:pt idx="2125">
                        <c:v>3.3000000000000002E-2</c:v>
                      </c:pt>
                      <c:pt idx="2126">
                        <c:v>3.3000000000000002E-2</c:v>
                      </c:pt>
                      <c:pt idx="2127">
                        <c:v>3.3000000000000002E-2</c:v>
                      </c:pt>
                      <c:pt idx="2128">
                        <c:v>3.3000000000000002E-2</c:v>
                      </c:pt>
                      <c:pt idx="2129">
                        <c:v>3.3000000000000002E-2</c:v>
                      </c:pt>
                      <c:pt idx="2130">
                        <c:v>0.122</c:v>
                      </c:pt>
                      <c:pt idx="2131">
                        <c:v>0.122</c:v>
                      </c:pt>
                      <c:pt idx="2132">
                        <c:v>0.122</c:v>
                      </c:pt>
                      <c:pt idx="2133">
                        <c:v>0.122</c:v>
                      </c:pt>
                      <c:pt idx="2134">
                        <c:v>0.122</c:v>
                      </c:pt>
                      <c:pt idx="2135">
                        <c:v>0.122</c:v>
                      </c:pt>
                      <c:pt idx="2136">
                        <c:v>0.122</c:v>
                      </c:pt>
                      <c:pt idx="2137">
                        <c:v>0.122</c:v>
                      </c:pt>
                      <c:pt idx="2138">
                        <c:v>0.122</c:v>
                      </c:pt>
                      <c:pt idx="2139">
                        <c:v>0.122</c:v>
                      </c:pt>
                      <c:pt idx="2140">
                        <c:v>0.122</c:v>
                      </c:pt>
                      <c:pt idx="2141">
                        <c:v>0.122</c:v>
                      </c:pt>
                      <c:pt idx="2142">
                        <c:v>0.122</c:v>
                      </c:pt>
                      <c:pt idx="2143">
                        <c:v>0.122</c:v>
                      </c:pt>
                      <c:pt idx="2144">
                        <c:v>0.122</c:v>
                      </c:pt>
                      <c:pt idx="2145">
                        <c:v>0.122</c:v>
                      </c:pt>
                      <c:pt idx="2146">
                        <c:v>0.122</c:v>
                      </c:pt>
                      <c:pt idx="2147">
                        <c:v>0.122</c:v>
                      </c:pt>
                      <c:pt idx="2148">
                        <c:v>0.122</c:v>
                      </c:pt>
                      <c:pt idx="2149">
                        <c:v>0.122</c:v>
                      </c:pt>
                      <c:pt idx="2150">
                        <c:v>0.24199999999999999</c:v>
                      </c:pt>
                      <c:pt idx="2151">
                        <c:v>0.24199999999999999</c:v>
                      </c:pt>
                      <c:pt idx="2152">
                        <c:v>0.24199999999999999</c:v>
                      </c:pt>
                      <c:pt idx="2153">
                        <c:v>0.24199999999999999</c:v>
                      </c:pt>
                      <c:pt idx="2154">
                        <c:v>0.24199999999999999</c:v>
                      </c:pt>
                      <c:pt idx="2155">
                        <c:v>0.24199999999999999</c:v>
                      </c:pt>
                      <c:pt idx="2156">
                        <c:v>0.24199999999999999</c:v>
                      </c:pt>
                      <c:pt idx="2157">
                        <c:v>0.24199999999999999</c:v>
                      </c:pt>
                      <c:pt idx="2158">
                        <c:v>0.24199999999999999</c:v>
                      </c:pt>
                      <c:pt idx="2159">
                        <c:v>0.24199999999999999</c:v>
                      </c:pt>
                      <c:pt idx="2160">
                        <c:v>0.24199999999999999</c:v>
                      </c:pt>
                      <c:pt idx="2161">
                        <c:v>0.24199999999999999</c:v>
                      </c:pt>
                      <c:pt idx="2162">
                        <c:v>0.24199999999999999</c:v>
                      </c:pt>
                      <c:pt idx="2163">
                        <c:v>0.24199999999999999</c:v>
                      </c:pt>
                      <c:pt idx="2164">
                        <c:v>0.24199999999999999</c:v>
                      </c:pt>
                      <c:pt idx="2165">
                        <c:v>0.24199999999999999</c:v>
                      </c:pt>
                      <c:pt idx="2166">
                        <c:v>0.24199999999999999</c:v>
                      </c:pt>
                      <c:pt idx="2167">
                        <c:v>0.24199999999999999</c:v>
                      </c:pt>
                      <c:pt idx="2168">
                        <c:v>0.24199999999999999</c:v>
                      </c:pt>
                      <c:pt idx="2169">
                        <c:v>0.24199999999999999</c:v>
                      </c:pt>
                      <c:pt idx="2170">
                        <c:v>0.33400000000000002</c:v>
                      </c:pt>
                      <c:pt idx="2171">
                        <c:v>0.33400000000000002</c:v>
                      </c:pt>
                      <c:pt idx="2172">
                        <c:v>0.33400000000000002</c:v>
                      </c:pt>
                      <c:pt idx="2173">
                        <c:v>0.33400000000000002</c:v>
                      </c:pt>
                      <c:pt idx="2174">
                        <c:v>0.33400000000000002</c:v>
                      </c:pt>
                      <c:pt idx="2175">
                        <c:v>0.33400000000000002</c:v>
                      </c:pt>
                      <c:pt idx="2176">
                        <c:v>0.33400000000000002</c:v>
                      </c:pt>
                      <c:pt idx="2177">
                        <c:v>0.33400000000000002</c:v>
                      </c:pt>
                      <c:pt idx="2178">
                        <c:v>0.33400000000000002</c:v>
                      </c:pt>
                      <c:pt idx="2179">
                        <c:v>0.33400000000000002</c:v>
                      </c:pt>
                      <c:pt idx="2180">
                        <c:v>0.33400000000000002</c:v>
                      </c:pt>
                      <c:pt idx="2181">
                        <c:v>0.33400000000000002</c:v>
                      </c:pt>
                      <c:pt idx="2182">
                        <c:v>0.33400000000000002</c:v>
                      </c:pt>
                      <c:pt idx="2183">
                        <c:v>0.33400000000000002</c:v>
                      </c:pt>
                      <c:pt idx="2184">
                        <c:v>0.33400000000000002</c:v>
                      </c:pt>
                      <c:pt idx="2185">
                        <c:v>0.33400000000000002</c:v>
                      </c:pt>
                      <c:pt idx="2186">
                        <c:v>0.33400000000000002</c:v>
                      </c:pt>
                      <c:pt idx="2187">
                        <c:v>0.33400000000000002</c:v>
                      </c:pt>
                      <c:pt idx="2188">
                        <c:v>0.33400000000000002</c:v>
                      </c:pt>
                      <c:pt idx="2189">
                        <c:v>0.33400000000000002</c:v>
                      </c:pt>
                      <c:pt idx="2190">
                        <c:v>0.33400000000000002</c:v>
                      </c:pt>
                      <c:pt idx="2191">
                        <c:v>0.33400000000000002</c:v>
                      </c:pt>
                      <c:pt idx="2192">
                        <c:v>0.33400000000000002</c:v>
                      </c:pt>
                      <c:pt idx="2193">
                        <c:v>0.33400000000000002</c:v>
                      </c:pt>
                      <c:pt idx="2194">
                        <c:v>0.33400000000000002</c:v>
                      </c:pt>
                      <c:pt idx="2195">
                        <c:v>0.47599999999999998</c:v>
                      </c:pt>
                      <c:pt idx="2196">
                        <c:v>0.47599999999999998</c:v>
                      </c:pt>
                      <c:pt idx="2197">
                        <c:v>0.47599999999999998</c:v>
                      </c:pt>
                      <c:pt idx="2198">
                        <c:v>0.47599999999999998</c:v>
                      </c:pt>
                      <c:pt idx="2199">
                        <c:v>0.47599999999999998</c:v>
                      </c:pt>
                      <c:pt idx="2200">
                        <c:v>0.47599999999999998</c:v>
                      </c:pt>
                      <c:pt idx="2201">
                        <c:v>0.47599999999999998</c:v>
                      </c:pt>
                      <c:pt idx="2202">
                        <c:v>0.47599999999999998</c:v>
                      </c:pt>
                      <c:pt idx="2203">
                        <c:v>0.47599999999999998</c:v>
                      </c:pt>
                      <c:pt idx="2204">
                        <c:v>0.47599999999999998</c:v>
                      </c:pt>
                      <c:pt idx="2205">
                        <c:v>0.47599999999999998</c:v>
                      </c:pt>
                      <c:pt idx="2206">
                        <c:v>0.47599999999999998</c:v>
                      </c:pt>
                      <c:pt idx="2207">
                        <c:v>0.47599999999999998</c:v>
                      </c:pt>
                      <c:pt idx="2208">
                        <c:v>0.47599999999999998</c:v>
                      </c:pt>
                      <c:pt idx="2209">
                        <c:v>0.47599999999999998</c:v>
                      </c:pt>
                      <c:pt idx="2210">
                        <c:v>0.47599999999999998</c:v>
                      </c:pt>
                      <c:pt idx="2211">
                        <c:v>0.47599999999999998</c:v>
                      </c:pt>
                      <c:pt idx="2212">
                        <c:v>0.47599999999999998</c:v>
                      </c:pt>
                      <c:pt idx="2213">
                        <c:v>0.47599999999999998</c:v>
                      </c:pt>
                      <c:pt idx="2214">
                        <c:v>0.47599999999999998</c:v>
                      </c:pt>
                      <c:pt idx="2215">
                        <c:v>0.64900000000000002</c:v>
                      </c:pt>
                      <c:pt idx="2216">
                        <c:v>0.64900000000000002</c:v>
                      </c:pt>
                      <c:pt idx="2217">
                        <c:v>0.64900000000000002</c:v>
                      </c:pt>
                      <c:pt idx="2218">
                        <c:v>0.64900000000000002</c:v>
                      </c:pt>
                      <c:pt idx="2219">
                        <c:v>0.64900000000000002</c:v>
                      </c:pt>
                      <c:pt idx="2220">
                        <c:v>0.64900000000000002</c:v>
                      </c:pt>
                      <c:pt idx="2221">
                        <c:v>0.64900000000000002</c:v>
                      </c:pt>
                      <c:pt idx="2222">
                        <c:v>0.64900000000000002</c:v>
                      </c:pt>
                      <c:pt idx="2223">
                        <c:v>0.64900000000000002</c:v>
                      </c:pt>
                      <c:pt idx="2224">
                        <c:v>0.64900000000000002</c:v>
                      </c:pt>
                      <c:pt idx="2225">
                        <c:v>0.64900000000000002</c:v>
                      </c:pt>
                      <c:pt idx="2226">
                        <c:v>0.64900000000000002</c:v>
                      </c:pt>
                      <c:pt idx="2227">
                        <c:v>0.64900000000000002</c:v>
                      </c:pt>
                      <c:pt idx="2228">
                        <c:v>0.64900000000000002</c:v>
                      </c:pt>
                      <c:pt idx="2229">
                        <c:v>0.64900000000000002</c:v>
                      </c:pt>
                      <c:pt idx="2230">
                        <c:v>0.64900000000000002</c:v>
                      </c:pt>
                      <c:pt idx="2231">
                        <c:v>0.64900000000000002</c:v>
                      </c:pt>
                      <c:pt idx="2232">
                        <c:v>0.64900000000000002</c:v>
                      </c:pt>
                      <c:pt idx="2233">
                        <c:v>0.64900000000000002</c:v>
                      </c:pt>
                      <c:pt idx="2234">
                        <c:v>0.64900000000000002</c:v>
                      </c:pt>
                      <c:pt idx="2235">
                        <c:v>0.89700000000000002</c:v>
                      </c:pt>
                      <c:pt idx="2236">
                        <c:v>0.89700000000000002</c:v>
                      </c:pt>
                      <c:pt idx="2237">
                        <c:v>0.89700000000000002</c:v>
                      </c:pt>
                      <c:pt idx="2238">
                        <c:v>0.89700000000000002</c:v>
                      </c:pt>
                      <c:pt idx="2239">
                        <c:v>0.89700000000000002</c:v>
                      </c:pt>
                      <c:pt idx="2240">
                        <c:v>0.89700000000000002</c:v>
                      </c:pt>
                      <c:pt idx="2241">
                        <c:v>0.89700000000000002</c:v>
                      </c:pt>
                      <c:pt idx="2242">
                        <c:v>0.89700000000000002</c:v>
                      </c:pt>
                      <c:pt idx="2243">
                        <c:v>0.89700000000000002</c:v>
                      </c:pt>
                      <c:pt idx="2244">
                        <c:v>0.89700000000000002</c:v>
                      </c:pt>
                      <c:pt idx="2245">
                        <c:v>0.89700000000000002</c:v>
                      </c:pt>
                      <c:pt idx="2246">
                        <c:v>0.89700000000000002</c:v>
                      </c:pt>
                      <c:pt idx="2247">
                        <c:v>0.89700000000000002</c:v>
                      </c:pt>
                      <c:pt idx="2248">
                        <c:v>0.89700000000000002</c:v>
                      </c:pt>
                      <c:pt idx="2249">
                        <c:v>0.89700000000000002</c:v>
                      </c:pt>
                      <c:pt idx="2250">
                        <c:v>0.89700000000000002</c:v>
                      </c:pt>
                      <c:pt idx="2251">
                        <c:v>0.89700000000000002</c:v>
                      </c:pt>
                      <c:pt idx="2252">
                        <c:v>0.89700000000000002</c:v>
                      </c:pt>
                      <c:pt idx="2253">
                        <c:v>0.89700000000000002</c:v>
                      </c:pt>
                      <c:pt idx="2254">
                        <c:v>0.89700000000000002</c:v>
                      </c:pt>
                      <c:pt idx="2255">
                        <c:v>0.89700000000000002</c:v>
                      </c:pt>
                      <c:pt idx="2256">
                        <c:v>0.89700000000000002</c:v>
                      </c:pt>
                      <c:pt idx="2257">
                        <c:v>0.89700000000000002</c:v>
                      </c:pt>
                      <c:pt idx="2258">
                        <c:v>0.89700000000000002</c:v>
                      </c:pt>
                      <c:pt idx="2259">
                        <c:v>0.89700000000000002</c:v>
                      </c:pt>
                      <c:pt idx="2260">
                        <c:v>1.028</c:v>
                      </c:pt>
                      <c:pt idx="2261">
                        <c:v>1.028</c:v>
                      </c:pt>
                      <c:pt idx="2262">
                        <c:v>1.028</c:v>
                      </c:pt>
                      <c:pt idx="2263">
                        <c:v>1.028</c:v>
                      </c:pt>
                      <c:pt idx="2264">
                        <c:v>1.028</c:v>
                      </c:pt>
                      <c:pt idx="2265">
                        <c:v>1.028</c:v>
                      </c:pt>
                      <c:pt idx="2266">
                        <c:v>1.028</c:v>
                      </c:pt>
                      <c:pt idx="2267">
                        <c:v>1.028</c:v>
                      </c:pt>
                      <c:pt idx="2268">
                        <c:v>1.028</c:v>
                      </c:pt>
                      <c:pt idx="2269">
                        <c:v>1.028</c:v>
                      </c:pt>
                      <c:pt idx="2270">
                        <c:v>1.028</c:v>
                      </c:pt>
                      <c:pt idx="2271">
                        <c:v>1.028</c:v>
                      </c:pt>
                      <c:pt idx="2272">
                        <c:v>1.028</c:v>
                      </c:pt>
                      <c:pt idx="2273">
                        <c:v>1.028</c:v>
                      </c:pt>
                      <c:pt idx="2274">
                        <c:v>1.028</c:v>
                      </c:pt>
                      <c:pt idx="2275">
                        <c:v>1.028</c:v>
                      </c:pt>
                      <c:pt idx="2276">
                        <c:v>1.028</c:v>
                      </c:pt>
                      <c:pt idx="2277">
                        <c:v>1.028</c:v>
                      </c:pt>
                      <c:pt idx="2278">
                        <c:v>1.028</c:v>
                      </c:pt>
                      <c:pt idx="2279">
                        <c:v>1.028</c:v>
                      </c:pt>
                      <c:pt idx="2280">
                        <c:v>1.2609999999999999</c:v>
                      </c:pt>
                      <c:pt idx="2281">
                        <c:v>1.2609999999999999</c:v>
                      </c:pt>
                      <c:pt idx="2282">
                        <c:v>1.2609999999999999</c:v>
                      </c:pt>
                      <c:pt idx="2283">
                        <c:v>1.2609999999999999</c:v>
                      </c:pt>
                      <c:pt idx="2284">
                        <c:v>1.2609999999999999</c:v>
                      </c:pt>
                      <c:pt idx="2285">
                        <c:v>1.2609999999999999</c:v>
                      </c:pt>
                      <c:pt idx="2286">
                        <c:v>1.2609999999999999</c:v>
                      </c:pt>
                      <c:pt idx="2287">
                        <c:v>1.2609999999999999</c:v>
                      </c:pt>
                      <c:pt idx="2288">
                        <c:v>1.2609999999999999</c:v>
                      </c:pt>
                      <c:pt idx="2289">
                        <c:v>1.2609999999999999</c:v>
                      </c:pt>
                      <c:pt idx="2290">
                        <c:v>1.2609999999999999</c:v>
                      </c:pt>
                      <c:pt idx="2291">
                        <c:v>1.2609999999999999</c:v>
                      </c:pt>
                      <c:pt idx="2292">
                        <c:v>1.2609999999999999</c:v>
                      </c:pt>
                      <c:pt idx="2293">
                        <c:v>1.2609999999999999</c:v>
                      </c:pt>
                      <c:pt idx="2294">
                        <c:v>1.2609999999999999</c:v>
                      </c:pt>
                      <c:pt idx="2295">
                        <c:v>1.2609999999999999</c:v>
                      </c:pt>
                      <c:pt idx="2296">
                        <c:v>1.2609999999999999</c:v>
                      </c:pt>
                      <c:pt idx="2297">
                        <c:v>1.2609999999999999</c:v>
                      </c:pt>
                      <c:pt idx="2298">
                        <c:v>1.2609999999999999</c:v>
                      </c:pt>
                      <c:pt idx="2299">
                        <c:v>1.2609999999999999</c:v>
                      </c:pt>
                      <c:pt idx="2300">
                        <c:v>1.2609999999999999</c:v>
                      </c:pt>
                      <c:pt idx="2301">
                        <c:v>1.2609999999999999</c:v>
                      </c:pt>
                      <c:pt idx="2302">
                        <c:v>1.2609999999999999</c:v>
                      </c:pt>
                      <c:pt idx="2303">
                        <c:v>1.2609999999999999</c:v>
                      </c:pt>
                      <c:pt idx="2304">
                        <c:v>1.2609999999999999</c:v>
                      </c:pt>
                      <c:pt idx="2305">
                        <c:v>1.403</c:v>
                      </c:pt>
                      <c:pt idx="2306">
                        <c:v>1.403</c:v>
                      </c:pt>
                      <c:pt idx="2307">
                        <c:v>1.403</c:v>
                      </c:pt>
                      <c:pt idx="2308">
                        <c:v>1.403</c:v>
                      </c:pt>
                      <c:pt idx="2309">
                        <c:v>1.403</c:v>
                      </c:pt>
                      <c:pt idx="2310">
                        <c:v>1.403</c:v>
                      </c:pt>
                      <c:pt idx="2311">
                        <c:v>1.403</c:v>
                      </c:pt>
                      <c:pt idx="2312">
                        <c:v>1.403</c:v>
                      </c:pt>
                      <c:pt idx="2313">
                        <c:v>1.403</c:v>
                      </c:pt>
                      <c:pt idx="2314">
                        <c:v>1.403</c:v>
                      </c:pt>
                      <c:pt idx="2315">
                        <c:v>1.403</c:v>
                      </c:pt>
                      <c:pt idx="2316">
                        <c:v>1.403</c:v>
                      </c:pt>
                      <c:pt idx="2317">
                        <c:v>1.403</c:v>
                      </c:pt>
                      <c:pt idx="2318">
                        <c:v>1.403</c:v>
                      </c:pt>
                      <c:pt idx="2319">
                        <c:v>1.403</c:v>
                      </c:pt>
                      <c:pt idx="2320">
                        <c:v>1.403</c:v>
                      </c:pt>
                      <c:pt idx="2321">
                        <c:v>1.403</c:v>
                      </c:pt>
                      <c:pt idx="2322">
                        <c:v>1.403</c:v>
                      </c:pt>
                      <c:pt idx="2323">
                        <c:v>1.403</c:v>
                      </c:pt>
                      <c:pt idx="2324">
                        <c:v>1.403</c:v>
                      </c:pt>
                      <c:pt idx="2325">
                        <c:v>1.5920000000000001</c:v>
                      </c:pt>
                      <c:pt idx="2326">
                        <c:v>1.5920000000000001</c:v>
                      </c:pt>
                      <c:pt idx="2327">
                        <c:v>1.5920000000000001</c:v>
                      </c:pt>
                      <c:pt idx="2328">
                        <c:v>1.5920000000000001</c:v>
                      </c:pt>
                      <c:pt idx="2329">
                        <c:v>1.5920000000000001</c:v>
                      </c:pt>
                      <c:pt idx="2330">
                        <c:v>1.5920000000000001</c:v>
                      </c:pt>
                      <c:pt idx="2331">
                        <c:v>1.5920000000000001</c:v>
                      </c:pt>
                      <c:pt idx="2332">
                        <c:v>1.5920000000000001</c:v>
                      </c:pt>
                      <c:pt idx="2333">
                        <c:v>1.5920000000000001</c:v>
                      </c:pt>
                      <c:pt idx="2334">
                        <c:v>1.5920000000000001</c:v>
                      </c:pt>
                      <c:pt idx="2335">
                        <c:v>1.5920000000000001</c:v>
                      </c:pt>
                      <c:pt idx="2336">
                        <c:v>1.5920000000000001</c:v>
                      </c:pt>
                      <c:pt idx="2337">
                        <c:v>1.5920000000000001</c:v>
                      </c:pt>
                      <c:pt idx="2338">
                        <c:v>1.5920000000000001</c:v>
                      </c:pt>
                      <c:pt idx="2339">
                        <c:v>1.5920000000000001</c:v>
                      </c:pt>
                      <c:pt idx="2340">
                        <c:v>1.5920000000000001</c:v>
                      </c:pt>
                      <c:pt idx="2341">
                        <c:v>1.5920000000000001</c:v>
                      </c:pt>
                      <c:pt idx="2342">
                        <c:v>1.5920000000000001</c:v>
                      </c:pt>
                      <c:pt idx="2343">
                        <c:v>1.5920000000000001</c:v>
                      </c:pt>
                      <c:pt idx="2344">
                        <c:v>1.5920000000000001</c:v>
                      </c:pt>
                      <c:pt idx="2345">
                        <c:v>1.7849999999999999</c:v>
                      </c:pt>
                      <c:pt idx="2346">
                        <c:v>1.7849999999999999</c:v>
                      </c:pt>
                      <c:pt idx="2347">
                        <c:v>1.7849999999999999</c:v>
                      </c:pt>
                      <c:pt idx="2348">
                        <c:v>1.7849999999999999</c:v>
                      </c:pt>
                      <c:pt idx="2349">
                        <c:v>1.7849999999999999</c:v>
                      </c:pt>
                      <c:pt idx="2350">
                        <c:v>1.7849999999999999</c:v>
                      </c:pt>
                      <c:pt idx="2351">
                        <c:v>1.7849999999999999</c:v>
                      </c:pt>
                      <c:pt idx="2352">
                        <c:v>1.7849999999999999</c:v>
                      </c:pt>
                      <c:pt idx="2353">
                        <c:v>1.7849999999999999</c:v>
                      </c:pt>
                      <c:pt idx="2354">
                        <c:v>1.7849999999999999</c:v>
                      </c:pt>
                      <c:pt idx="2355">
                        <c:v>1.7849999999999999</c:v>
                      </c:pt>
                      <c:pt idx="2356">
                        <c:v>1.7849999999999999</c:v>
                      </c:pt>
                      <c:pt idx="2357">
                        <c:v>1.7849999999999999</c:v>
                      </c:pt>
                      <c:pt idx="2358">
                        <c:v>1.7849999999999999</c:v>
                      </c:pt>
                      <c:pt idx="2359">
                        <c:v>1.7849999999999999</c:v>
                      </c:pt>
                      <c:pt idx="2360">
                        <c:v>1.7849999999999999</c:v>
                      </c:pt>
                      <c:pt idx="2361">
                        <c:v>1.7849999999999999</c:v>
                      </c:pt>
                      <c:pt idx="2362">
                        <c:v>1.7849999999999999</c:v>
                      </c:pt>
                      <c:pt idx="2363">
                        <c:v>1.7849999999999999</c:v>
                      </c:pt>
                      <c:pt idx="2364">
                        <c:v>1.7849999999999999</c:v>
                      </c:pt>
                      <c:pt idx="2365">
                        <c:v>1.7849999999999999</c:v>
                      </c:pt>
                      <c:pt idx="2366">
                        <c:v>1.7849999999999999</c:v>
                      </c:pt>
                      <c:pt idx="2367">
                        <c:v>1.7849999999999999</c:v>
                      </c:pt>
                      <c:pt idx="2368">
                        <c:v>1.7849999999999999</c:v>
                      </c:pt>
                      <c:pt idx="2369">
                        <c:v>1.7849999999999999</c:v>
                      </c:pt>
                      <c:pt idx="2370">
                        <c:v>1.9</c:v>
                      </c:pt>
                      <c:pt idx="2371">
                        <c:v>1.9</c:v>
                      </c:pt>
                      <c:pt idx="2372">
                        <c:v>1.9</c:v>
                      </c:pt>
                      <c:pt idx="2373">
                        <c:v>1.9</c:v>
                      </c:pt>
                      <c:pt idx="2374">
                        <c:v>1.9</c:v>
                      </c:pt>
                      <c:pt idx="2375">
                        <c:v>1.9</c:v>
                      </c:pt>
                      <c:pt idx="2376">
                        <c:v>1.9</c:v>
                      </c:pt>
                      <c:pt idx="2377">
                        <c:v>1.9</c:v>
                      </c:pt>
                      <c:pt idx="2378">
                        <c:v>1.9</c:v>
                      </c:pt>
                      <c:pt idx="2379">
                        <c:v>1.9</c:v>
                      </c:pt>
                      <c:pt idx="2380">
                        <c:v>1.9</c:v>
                      </c:pt>
                      <c:pt idx="2381">
                        <c:v>1.9</c:v>
                      </c:pt>
                      <c:pt idx="2382">
                        <c:v>1.9</c:v>
                      </c:pt>
                      <c:pt idx="2383">
                        <c:v>1.9</c:v>
                      </c:pt>
                      <c:pt idx="2384">
                        <c:v>1.9</c:v>
                      </c:pt>
                      <c:pt idx="2385">
                        <c:v>1.9</c:v>
                      </c:pt>
                      <c:pt idx="2386">
                        <c:v>1.9</c:v>
                      </c:pt>
                      <c:pt idx="2387">
                        <c:v>1.9</c:v>
                      </c:pt>
                      <c:pt idx="2388">
                        <c:v>1.9</c:v>
                      </c:pt>
                      <c:pt idx="2389">
                        <c:v>1.9</c:v>
                      </c:pt>
                      <c:pt idx="2390">
                        <c:v>2.0259999999999998</c:v>
                      </c:pt>
                      <c:pt idx="2391">
                        <c:v>2.0259999999999998</c:v>
                      </c:pt>
                      <c:pt idx="2392">
                        <c:v>2.0259999999999998</c:v>
                      </c:pt>
                      <c:pt idx="2393">
                        <c:v>2.0259999999999998</c:v>
                      </c:pt>
                      <c:pt idx="2394">
                        <c:v>2.0259999999999998</c:v>
                      </c:pt>
                      <c:pt idx="2395">
                        <c:v>2.0259999999999998</c:v>
                      </c:pt>
                      <c:pt idx="2396">
                        <c:v>2.0259999999999998</c:v>
                      </c:pt>
                      <c:pt idx="2397">
                        <c:v>2.0259999999999998</c:v>
                      </c:pt>
                      <c:pt idx="2398">
                        <c:v>2.0259999999999998</c:v>
                      </c:pt>
                      <c:pt idx="2399">
                        <c:v>2.0259999999999998</c:v>
                      </c:pt>
                      <c:pt idx="2400">
                        <c:v>2.0259999999999998</c:v>
                      </c:pt>
                      <c:pt idx="2401">
                        <c:v>2.0259999999999998</c:v>
                      </c:pt>
                      <c:pt idx="2402">
                        <c:v>2.0259999999999998</c:v>
                      </c:pt>
                      <c:pt idx="2403">
                        <c:v>2.0259999999999998</c:v>
                      </c:pt>
                      <c:pt idx="2404">
                        <c:v>2.0259999999999998</c:v>
                      </c:pt>
                      <c:pt idx="2405">
                        <c:v>2.0259999999999998</c:v>
                      </c:pt>
                      <c:pt idx="2406">
                        <c:v>2.0259999999999998</c:v>
                      </c:pt>
                      <c:pt idx="2407">
                        <c:v>2.0259999999999998</c:v>
                      </c:pt>
                      <c:pt idx="2408">
                        <c:v>2.0259999999999998</c:v>
                      </c:pt>
                      <c:pt idx="2409">
                        <c:v>2.0259999999999998</c:v>
                      </c:pt>
                      <c:pt idx="2410">
                        <c:v>2.1720000000000002</c:v>
                      </c:pt>
                      <c:pt idx="2411">
                        <c:v>2.1720000000000002</c:v>
                      </c:pt>
                      <c:pt idx="2412">
                        <c:v>2.1720000000000002</c:v>
                      </c:pt>
                      <c:pt idx="2413">
                        <c:v>2.1720000000000002</c:v>
                      </c:pt>
                      <c:pt idx="2414">
                        <c:v>2.1720000000000002</c:v>
                      </c:pt>
                      <c:pt idx="2415">
                        <c:v>2.1720000000000002</c:v>
                      </c:pt>
                      <c:pt idx="2416">
                        <c:v>2.1720000000000002</c:v>
                      </c:pt>
                      <c:pt idx="2417">
                        <c:v>2.1720000000000002</c:v>
                      </c:pt>
                      <c:pt idx="2418">
                        <c:v>2.1720000000000002</c:v>
                      </c:pt>
                      <c:pt idx="2419">
                        <c:v>2.1720000000000002</c:v>
                      </c:pt>
                      <c:pt idx="2420">
                        <c:v>2.1720000000000002</c:v>
                      </c:pt>
                      <c:pt idx="2421">
                        <c:v>2.1720000000000002</c:v>
                      </c:pt>
                      <c:pt idx="2422">
                        <c:v>2.1720000000000002</c:v>
                      </c:pt>
                      <c:pt idx="2423">
                        <c:v>2.1720000000000002</c:v>
                      </c:pt>
                      <c:pt idx="2424">
                        <c:v>2.1720000000000002</c:v>
                      </c:pt>
                      <c:pt idx="2425">
                        <c:v>2.1720000000000002</c:v>
                      </c:pt>
                      <c:pt idx="2426">
                        <c:v>2.1720000000000002</c:v>
                      </c:pt>
                      <c:pt idx="2427">
                        <c:v>2.1720000000000002</c:v>
                      </c:pt>
                      <c:pt idx="2428">
                        <c:v>2.1720000000000002</c:v>
                      </c:pt>
                      <c:pt idx="2429">
                        <c:v>2.1720000000000002</c:v>
                      </c:pt>
                      <c:pt idx="2430">
                        <c:v>2.1720000000000002</c:v>
                      </c:pt>
                      <c:pt idx="2431">
                        <c:v>2.1720000000000002</c:v>
                      </c:pt>
                      <c:pt idx="2432">
                        <c:v>2.1720000000000002</c:v>
                      </c:pt>
                      <c:pt idx="2433">
                        <c:v>2.1720000000000002</c:v>
                      </c:pt>
                      <c:pt idx="2434">
                        <c:v>2.1720000000000002</c:v>
                      </c:pt>
                      <c:pt idx="2435">
                        <c:v>2.3330000000000002</c:v>
                      </c:pt>
                      <c:pt idx="2436">
                        <c:v>2.3330000000000002</c:v>
                      </c:pt>
                      <c:pt idx="2437">
                        <c:v>2.3330000000000002</c:v>
                      </c:pt>
                      <c:pt idx="2438">
                        <c:v>2.3330000000000002</c:v>
                      </c:pt>
                      <c:pt idx="2439">
                        <c:v>2.3330000000000002</c:v>
                      </c:pt>
                      <c:pt idx="2440">
                        <c:v>2.3330000000000002</c:v>
                      </c:pt>
                      <c:pt idx="2441">
                        <c:v>2.3330000000000002</c:v>
                      </c:pt>
                      <c:pt idx="2442">
                        <c:v>2.3330000000000002</c:v>
                      </c:pt>
                      <c:pt idx="2443">
                        <c:v>2.3330000000000002</c:v>
                      </c:pt>
                      <c:pt idx="2444">
                        <c:v>2.3330000000000002</c:v>
                      </c:pt>
                      <c:pt idx="2445">
                        <c:v>2.3330000000000002</c:v>
                      </c:pt>
                      <c:pt idx="2446">
                        <c:v>2.3330000000000002</c:v>
                      </c:pt>
                      <c:pt idx="2447">
                        <c:v>2.3330000000000002</c:v>
                      </c:pt>
                      <c:pt idx="2448">
                        <c:v>2.3330000000000002</c:v>
                      </c:pt>
                      <c:pt idx="2449">
                        <c:v>2.3330000000000002</c:v>
                      </c:pt>
                      <c:pt idx="2450">
                        <c:v>2.3330000000000002</c:v>
                      </c:pt>
                      <c:pt idx="2451">
                        <c:v>2.3330000000000002</c:v>
                      </c:pt>
                      <c:pt idx="2452">
                        <c:v>2.3330000000000002</c:v>
                      </c:pt>
                      <c:pt idx="2453">
                        <c:v>2.3330000000000002</c:v>
                      </c:pt>
                      <c:pt idx="2454">
                        <c:v>2.3330000000000002</c:v>
                      </c:pt>
                      <c:pt idx="2455">
                        <c:v>2.5270000000000001</c:v>
                      </c:pt>
                      <c:pt idx="2456">
                        <c:v>2.5270000000000001</c:v>
                      </c:pt>
                      <c:pt idx="2457">
                        <c:v>2.5270000000000001</c:v>
                      </c:pt>
                      <c:pt idx="2458">
                        <c:v>2.5270000000000001</c:v>
                      </c:pt>
                      <c:pt idx="2459">
                        <c:v>2.5270000000000001</c:v>
                      </c:pt>
                      <c:pt idx="2460">
                        <c:v>2.5270000000000001</c:v>
                      </c:pt>
                      <c:pt idx="2461">
                        <c:v>2.5270000000000001</c:v>
                      </c:pt>
                      <c:pt idx="2462">
                        <c:v>2.5270000000000001</c:v>
                      </c:pt>
                      <c:pt idx="2463">
                        <c:v>2.5270000000000001</c:v>
                      </c:pt>
                      <c:pt idx="2464">
                        <c:v>2.5270000000000001</c:v>
                      </c:pt>
                      <c:pt idx="2465">
                        <c:v>2.5270000000000001</c:v>
                      </c:pt>
                      <c:pt idx="2466">
                        <c:v>2.5270000000000001</c:v>
                      </c:pt>
                      <c:pt idx="2467">
                        <c:v>2.5270000000000001</c:v>
                      </c:pt>
                      <c:pt idx="2468">
                        <c:v>2.5270000000000001</c:v>
                      </c:pt>
                      <c:pt idx="2469">
                        <c:v>2.5270000000000001</c:v>
                      </c:pt>
                      <c:pt idx="2470">
                        <c:v>2.5270000000000001</c:v>
                      </c:pt>
                      <c:pt idx="2471">
                        <c:v>2.5270000000000001</c:v>
                      </c:pt>
                      <c:pt idx="2472">
                        <c:v>2.5270000000000001</c:v>
                      </c:pt>
                      <c:pt idx="2473">
                        <c:v>2.5270000000000001</c:v>
                      </c:pt>
                      <c:pt idx="2474">
                        <c:v>2.5270000000000001</c:v>
                      </c:pt>
                      <c:pt idx="2475">
                        <c:v>2.6869999999999998</c:v>
                      </c:pt>
                      <c:pt idx="2476">
                        <c:v>2.6869999999999998</c:v>
                      </c:pt>
                      <c:pt idx="2477">
                        <c:v>2.6869999999999998</c:v>
                      </c:pt>
                      <c:pt idx="2478">
                        <c:v>2.6869999999999998</c:v>
                      </c:pt>
                      <c:pt idx="2479">
                        <c:v>2.6869999999999998</c:v>
                      </c:pt>
                      <c:pt idx="2480">
                        <c:v>2.6869999999999998</c:v>
                      </c:pt>
                      <c:pt idx="2481">
                        <c:v>2.6869999999999998</c:v>
                      </c:pt>
                      <c:pt idx="2482">
                        <c:v>2.6869999999999998</c:v>
                      </c:pt>
                      <c:pt idx="2483">
                        <c:v>2.6869999999999998</c:v>
                      </c:pt>
                      <c:pt idx="2484">
                        <c:v>2.6869999999999998</c:v>
                      </c:pt>
                      <c:pt idx="2485">
                        <c:v>2.6869999999999998</c:v>
                      </c:pt>
                      <c:pt idx="2486">
                        <c:v>2.6869999999999998</c:v>
                      </c:pt>
                      <c:pt idx="2487">
                        <c:v>2.6869999999999998</c:v>
                      </c:pt>
                      <c:pt idx="2488">
                        <c:v>2.6869999999999998</c:v>
                      </c:pt>
                      <c:pt idx="2489">
                        <c:v>2.6869999999999998</c:v>
                      </c:pt>
                      <c:pt idx="2490">
                        <c:v>2.6869999999999998</c:v>
                      </c:pt>
                      <c:pt idx="2491">
                        <c:v>2.6869999999999998</c:v>
                      </c:pt>
                      <c:pt idx="2492">
                        <c:v>2.6869999999999998</c:v>
                      </c:pt>
                      <c:pt idx="2493">
                        <c:v>2.6869999999999998</c:v>
                      </c:pt>
                      <c:pt idx="2494">
                        <c:v>2.6869999999999998</c:v>
                      </c:pt>
                      <c:pt idx="2495">
                        <c:v>2.6869999999999998</c:v>
                      </c:pt>
                      <c:pt idx="2496">
                        <c:v>2.6869999999999998</c:v>
                      </c:pt>
                      <c:pt idx="2497">
                        <c:v>2.6869999999999998</c:v>
                      </c:pt>
                      <c:pt idx="2498">
                        <c:v>2.6869999999999998</c:v>
                      </c:pt>
                      <c:pt idx="2499">
                        <c:v>2.6869999999999998</c:v>
                      </c:pt>
                      <c:pt idx="2500">
                        <c:v>2.5049999999999999</c:v>
                      </c:pt>
                      <c:pt idx="2501">
                        <c:v>2.5049999999999999</c:v>
                      </c:pt>
                      <c:pt idx="2502">
                        <c:v>2.5049999999999999</c:v>
                      </c:pt>
                      <c:pt idx="2503">
                        <c:v>2.5049999999999999</c:v>
                      </c:pt>
                      <c:pt idx="2504">
                        <c:v>2.5049999999999999</c:v>
                      </c:pt>
                      <c:pt idx="2505">
                        <c:v>2.5049999999999999</c:v>
                      </c:pt>
                      <c:pt idx="2506">
                        <c:v>2.5049999999999999</c:v>
                      </c:pt>
                      <c:pt idx="2507">
                        <c:v>2.5049999999999999</c:v>
                      </c:pt>
                      <c:pt idx="2508">
                        <c:v>2.5049999999999999</c:v>
                      </c:pt>
                      <c:pt idx="2509">
                        <c:v>2.5049999999999999</c:v>
                      </c:pt>
                      <c:pt idx="2510">
                        <c:v>2.5049999999999999</c:v>
                      </c:pt>
                      <c:pt idx="2511">
                        <c:v>2.5049999999999999</c:v>
                      </c:pt>
                      <c:pt idx="2512">
                        <c:v>2.5049999999999999</c:v>
                      </c:pt>
                      <c:pt idx="2513">
                        <c:v>2.5049999999999999</c:v>
                      </c:pt>
                      <c:pt idx="2514">
                        <c:v>2.5049999999999999</c:v>
                      </c:pt>
                      <c:pt idx="2515">
                        <c:v>2.5049999999999999</c:v>
                      </c:pt>
                      <c:pt idx="2516">
                        <c:v>2.5049999999999999</c:v>
                      </c:pt>
                      <c:pt idx="2517">
                        <c:v>2.5049999999999999</c:v>
                      </c:pt>
                      <c:pt idx="2518">
                        <c:v>2.5049999999999999</c:v>
                      </c:pt>
                      <c:pt idx="2519">
                        <c:v>2.5049999999999999</c:v>
                      </c:pt>
                      <c:pt idx="2520">
                        <c:v>2.911</c:v>
                      </c:pt>
                      <c:pt idx="2521">
                        <c:v>2.911</c:v>
                      </c:pt>
                      <c:pt idx="2522">
                        <c:v>2.911</c:v>
                      </c:pt>
                      <c:pt idx="2523">
                        <c:v>2.911</c:v>
                      </c:pt>
                      <c:pt idx="2524">
                        <c:v>2.911</c:v>
                      </c:pt>
                      <c:pt idx="2525">
                        <c:v>2.911</c:v>
                      </c:pt>
                      <c:pt idx="2526">
                        <c:v>2.911</c:v>
                      </c:pt>
                      <c:pt idx="2527">
                        <c:v>2.911</c:v>
                      </c:pt>
                      <c:pt idx="2528">
                        <c:v>2.911</c:v>
                      </c:pt>
                      <c:pt idx="2529">
                        <c:v>2.911</c:v>
                      </c:pt>
                      <c:pt idx="2530">
                        <c:v>2.911</c:v>
                      </c:pt>
                      <c:pt idx="2531">
                        <c:v>2.911</c:v>
                      </c:pt>
                      <c:pt idx="2532">
                        <c:v>2.911</c:v>
                      </c:pt>
                      <c:pt idx="2533">
                        <c:v>2.911</c:v>
                      </c:pt>
                      <c:pt idx="2534">
                        <c:v>2.911</c:v>
                      </c:pt>
                      <c:pt idx="2535">
                        <c:v>2.911</c:v>
                      </c:pt>
                      <c:pt idx="2536">
                        <c:v>2.911</c:v>
                      </c:pt>
                      <c:pt idx="2537">
                        <c:v>2.911</c:v>
                      </c:pt>
                      <c:pt idx="2538">
                        <c:v>2.911</c:v>
                      </c:pt>
                      <c:pt idx="2539">
                        <c:v>2.911</c:v>
                      </c:pt>
                      <c:pt idx="2540">
                        <c:v>3.012</c:v>
                      </c:pt>
                      <c:pt idx="2541">
                        <c:v>3.012</c:v>
                      </c:pt>
                      <c:pt idx="2542">
                        <c:v>3.012</c:v>
                      </c:pt>
                      <c:pt idx="2543">
                        <c:v>3.012</c:v>
                      </c:pt>
                      <c:pt idx="2544">
                        <c:v>3.012</c:v>
                      </c:pt>
                      <c:pt idx="2545">
                        <c:v>3.012</c:v>
                      </c:pt>
                      <c:pt idx="2546">
                        <c:v>3.012</c:v>
                      </c:pt>
                      <c:pt idx="2547">
                        <c:v>3.012</c:v>
                      </c:pt>
                      <c:pt idx="2548">
                        <c:v>3.012</c:v>
                      </c:pt>
                      <c:pt idx="2549">
                        <c:v>3.012</c:v>
                      </c:pt>
                      <c:pt idx="2550">
                        <c:v>3.012</c:v>
                      </c:pt>
                      <c:pt idx="2551">
                        <c:v>3.012</c:v>
                      </c:pt>
                      <c:pt idx="2552">
                        <c:v>3.012</c:v>
                      </c:pt>
                      <c:pt idx="2553">
                        <c:v>3.012</c:v>
                      </c:pt>
                      <c:pt idx="2554">
                        <c:v>3.012</c:v>
                      </c:pt>
                      <c:pt idx="2555">
                        <c:v>3.012</c:v>
                      </c:pt>
                      <c:pt idx="2556">
                        <c:v>3.012</c:v>
                      </c:pt>
                      <c:pt idx="2557">
                        <c:v>3.012</c:v>
                      </c:pt>
                      <c:pt idx="2558">
                        <c:v>3.012</c:v>
                      </c:pt>
                      <c:pt idx="2559">
                        <c:v>3.012</c:v>
                      </c:pt>
                      <c:pt idx="2560">
                        <c:v>3.012</c:v>
                      </c:pt>
                      <c:pt idx="2561">
                        <c:v>3.012</c:v>
                      </c:pt>
                      <c:pt idx="2562">
                        <c:v>3.012</c:v>
                      </c:pt>
                      <c:pt idx="2563">
                        <c:v>3.012</c:v>
                      </c:pt>
                      <c:pt idx="2564">
                        <c:v>3.012</c:v>
                      </c:pt>
                      <c:pt idx="2565">
                        <c:v>3.2530000000000001</c:v>
                      </c:pt>
                      <c:pt idx="2566">
                        <c:v>3.2530000000000001</c:v>
                      </c:pt>
                      <c:pt idx="2567">
                        <c:v>3.2530000000000001</c:v>
                      </c:pt>
                      <c:pt idx="2568">
                        <c:v>3.2530000000000001</c:v>
                      </c:pt>
                      <c:pt idx="2569">
                        <c:v>3.2530000000000001</c:v>
                      </c:pt>
                      <c:pt idx="2570">
                        <c:v>3.2530000000000001</c:v>
                      </c:pt>
                      <c:pt idx="2571">
                        <c:v>3.2530000000000001</c:v>
                      </c:pt>
                      <c:pt idx="2572">
                        <c:v>3.2530000000000001</c:v>
                      </c:pt>
                      <c:pt idx="2573">
                        <c:v>3.2530000000000001</c:v>
                      </c:pt>
                      <c:pt idx="2574">
                        <c:v>3.2530000000000001</c:v>
                      </c:pt>
                      <c:pt idx="2575">
                        <c:v>3.2530000000000001</c:v>
                      </c:pt>
                      <c:pt idx="2576">
                        <c:v>3.2530000000000001</c:v>
                      </c:pt>
                      <c:pt idx="2577">
                        <c:v>3.2530000000000001</c:v>
                      </c:pt>
                      <c:pt idx="2578">
                        <c:v>3.2530000000000001</c:v>
                      </c:pt>
                      <c:pt idx="2579">
                        <c:v>3.2530000000000001</c:v>
                      </c:pt>
                      <c:pt idx="2580">
                        <c:v>3.2530000000000001</c:v>
                      </c:pt>
                      <c:pt idx="2581">
                        <c:v>3.2530000000000001</c:v>
                      </c:pt>
                      <c:pt idx="2582">
                        <c:v>3.2530000000000001</c:v>
                      </c:pt>
                      <c:pt idx="2583">
                        <c:v>3.2530000000000001</c:v>
                      </c:pt>
                      <c:pt idx="2584">
                        <c:v>3.2530000000000001</c:v>
                      </c:pt>
                      <c:pt idx="2585">
                        <c:v>3.43</c:v>
                      </c:pt>
                      <c:pt idx="2586">
                        <c:v>3.43</c:v>
                      </c:pt>
                      <c:pt idx="2587">
                        <c:v>3.43</c:v>
                      </c:pt>
                      <c:pt idx="2588">
                        <c:v>3.43</c:v>
                      </c:pt>
                      <c:pt idx="2589">
                        <c:v>3.43</c:v>
                      </c:pt>
                      <c:pt idx="2590">
                        <c:v>3.43</c:v>
                      </c:pt>
                      <c:pt idx="2591">
                        <c:v>3.43</c:v>
                      </c:pt>
                      <c:pt idx="2592">
                        <c:v>3.43</c:v>
                      </c:pt>
                      <c:pt idx="2593">
                        <c:v>3.43</c:v>
                      </c:pt>
                      <c:pt idx="2594">
                        <c:v>3.43</c:v>
                      </c:pt>
                      <c:pt idx="2595">
                        <c:v>3.43</c:v>
                      </c:pt>
                      <c:pt idx="2596">
                        <c:v>3.43</c:v>
                      </c:pt>
                      <c:pt idx="2597">
                        <c:v>3.43</c:v>
                      </c:pt>
                      <c:pt idx="2598">
                        <c:v>3.43</c:v>
                      </c:pt>
                      <c:pt idx="2599">
                        <c:v>3.43</c:v>
                      </c:pt>
                      <c:pt idx="2600">
                        <c:v>3.43</c:v>
                      </c:pt>
                      <c:pt idx="2601">
                        <c:v>3.43</c:v>
                      </c:pt>
                      <c:pt idx="2602">
                        <c:v>3.43</c:v>
                      </c:pt>
                      <c:pt idx="2603">
                        <c:v>3.43</c:v>
                      </c:pt>
                      <c:pt idx="2604">
                        <c:v>3.43</c:v>
                      </c:pt>
                      <c:pt idx="2605">
                        <c:v>3.43</c:v>
                      </c:pt>
                      <c:pt idx="2606">
                        <c:v>3.43</c:v>
                      </c:pt>
                      <c:pt idx="2607">
                        <c:v>3.43</c:v>
                      </c:pt>
                      <c:pt idx="2608">
                        <c:v>3.43</c:v>
                      </c:pt>
                      <c:pt idx="2609">
                        <c:v>3.43</c:v>
                      </c:pt>
                      <c:pt idx="2610">
                        <c:v>3.49</c:v>
                      </c:pt>
                      <c:pt idx="2611">
                        <c:v>3.49</c:v>
                      </c:pt>
                      <c:pt idx="2612">
                        <c:v>3.49</c:v>
                      </c:pt>
                      <c:pt idx="2613">
                        <c:v>3.49</c:v>
                      </c:pt>
                      <c:pt idx="2614">
                        <c:v>3.49</c:v>
                      </c:pt>
                      <c:pt idx="2615">
                        <c:v>3.49</c:v>
                      </c:pt>
                      <c:pt idx="2616">
                        <c:v>3.49</c:v>
                      </c:pt>
                      <c:pt idx="2617">
                        <c:v>3.49</c:v>
                      </c:pt>
                      <c:pt idx="2618">
                        <c:v>3.49</c:v>
                      </c:pt>
                      <c:pt idx="2619">
                        <c:v>3.49</c:v>
                      </c:pt>
                      <c:pt idx="2620">
                        <c:v>3.49</c:v>
                      </c:pt>
                      <c:pt idx="2621">
                        <c:v>3.49</c:v>
                      </c:pt>
                      <c:pt idx="2622">
                        <c:v>3.49</c:v>
                      </c:pt>
                      <c:pt idx="2623">
                        <c:v>3.49</c:v>
                      </c:pt>
                      <c:pt idx="2624">
                        <c:v>3.49</c:v>
                      </c:pt>
                      <c:pt idx="2625">
                        <c:v>3.49</c:v>
                      </c:pt>
                      <c:pt idx="2626">
                        <c:v>3.49</c:v>
                      </c:pt>
                      <c:pt idx="2627">
                        <c:v>3.49</c:v>
                      </c:pt>
                      <c:pt idx="2628">
                        <c:v>3.49</c:v>
                      </c:pt>
                      <c:pt idx="2629">
                        <c:v>3.49</c:v>
                      </c:pt>
                      <c:pt idx="2630">
                        <c:v>3.4</c:v>
                      </c:pt>
                      <c:pt idx="2631">
                        <c:v>3.4</c:v>
                      </c:pt>
                      <c:pt idx="2632">
                        <c:v>3.4</c:v>
                      </c:pt>
                      <c:pt idx="2633">
                        <c:v>3.4</c:v>
                      </c:pt>
                      <c:pt idx="2634">
                        <c:v>3.4</c:v>
                      </c:pt>
                      <c:pt idx="2635">
                        <c:v>3.4</c:v>
                      </c:pt>
                      <c:pt idx="2636">
                        <c:v>3.4</c:v>
                      </c:pt>
                      <c:pt idx="2637">
                        <c:v>3.4</c:v>
                      </c:pt>
                      <c:pt idx="2638">
                        <c:v>3.4</c:v>
                      </c:pt>
                      <c:pt idx="2639">
                        <c:v>3.4</c:v>
                      </c:pt>
                      <c:pt idx="2640">
                        <c:v>3.4</c:v>
                      </c:pt>
                      <c:pt idx="2641">
                        <c:v>3.4</c:v>
                      </c:pt>
                      <c:pt idx="2642">
                        <c:v>3.4</c:v>
                      </c:pt>
                      <c:pt idx="2643">
                        <c:v>3.4</c:v>
                      </c:pt>
                      <c:pt idx="2644">
                        <c:v>3.4</c:v>
                      </c:pt>
                      <c:pt idx="2645">
                        <c:v>3.4</c:v>
                      </c:pt>
                      <c:pt idx="2646">
                        <c:v>3.4</c:v>
                      </c:pt>
                      <c:pt idx="2647">
                        <c:v>3.4</c:v>
                      </c:pt>
                      <c:pt idx="2648">
                        <c:v>3.4</c:v>
                      </c:pt>
                      <c:pt idx="2649">
                        <c:v>3.4</c:v>
                      </c:pt>
                      <c:pt idx="2650">
                        <c:v>3.4830000000000001</c:v>
                      </c:pt>
                      <c:pt idx="2651">
                        <c:v>3.4830000000000001</c:v>
                      </c:pt>
                      <c:pt idx="2652">
                        <c:v>3.4830000000000001</c:v>
                      </c:pt>
                      <c:pt idx="2653">
                        <c:v>3.4830000000000001</c:v>
                      </c:pt>
                      <c:pt idx="2654">
                        <c:v>3.4830000000000001</c:v>
                      </c:pt>
                      <c:pt idx="2655">
                        <c:v>3.4830000000000001</c:v>
                      </c:pt>
                      <c:pt idx="2656">
                        <c:v>3.4830000000000001</c:v>
                      </c:pt>
                      <c:pt idx="2657">
                        <c:v>3.4830000000000001</c:v>
                      </c:pt>
                      <c:pt idx="2658">
                        <c:v>3.4830000000000001</c:v>
                      </c:pt>
                      <c:pt idx="2659">
                        <c:v>3.4830000000000001</c:v>
                      </c:pt>
                      <c:pt idx="2660">
                        <c:v>3.4830000000000001</c:v>
                      </c:pt>
                      <c:pt idx="2661">
                        <c:v>3.4830000000000001</c:v>
                      </c:pt>
                      <c:pt idx="2662">
                        <c:v>3.4830000000000001</c:v>
                      </c:pt>
                      <c:pt idx="2663">
                        <c:v>3.4830000000000001</c:v>
                      </c:pt>
                      <c:pt idx="2664">
                        <c:v>3.4830000000000001</c:v>
                      </c:pt>
                      <c:pt idx="2665">
                        <c:v>3.4830000000000001</c:v>
                      </c:pt>
                      <c:pt idx="2666">
                        <c:v>3.4830000000000001</c:v>
                      </c:pt>
                      <c:pt idx="2667">
                        <c:v>3.4830000000000001</c:v>
                      </c:pt>
                      <c:pt idx="2668">
                        <c:v>3.4830000000000001</c:v>
                      </c:pt>
                      <c:pt idx="2669">
                        <c:v>3.4830000000000001</c:v>
                      </c:pt>
                      <c:pt idx="2670">
                        <c:v>3.5539999999999998</c:v>
                      </c:pt>
                      <c:pt idx="2671">
                        <c:v>3.5539999999999998</c:v>
                      </c:pt>
                      <c:pt idx="2672">
                        <c:v>3.5539999999999998</c:v>
                      </c:pt>
                      <c:pt idx="2673">
                        <c:v>3.5539999999999998</c:v>
                      </c:pt>
                      <c:pt idx="2674">
                        <c:v>3.5539999999999998</c:v>
                      </c:pt>
                      <c:pt idx="2675">
                        <c:v>3.5539999999999998</c:v>
                      </c:pt>
                      <c:pt idx="2676">
                        <c:v>3.5539999999999998</c:v>
                      </c:pt>
                      <c:pt idx="2677">
                        <c:v>3.5539999999999998</c:v>
                      </c:pt>
                      <c:pt idx="2678">
                        <c:v>3.5539999999999998</c:v>
                      </c:pt>
                      <c:pt idx="2679">
                        <c:v>3.5539999999999998</c:v>
                      </c:pt>
                      <c:pt idx="2680">
                        <c:v>3.5539999999999998</c:v>
                      </c:pt>
                      <c:pt idx="2681">
                        <c:v>3.5539999999999998</c:v>
                      </c:pt>
                      <c:pt idx="2682">
                        <c:v>3.5539999999999998</c:v>
                      </c:pt>
                      <c:pt idx="2683">
                        <c:v>3.5539999999999998</c:v>
                      </c:pt>
                      <c:pt idx="2684">
                        <c:v>3.5539999999999998</c:v>
                      </c:pt>
                      <c:pt idx="2685">
                        <c:v>3.5539999999999998</c:v>
                      </c:pt>
                      <c:pt idx="2686">
                        <c:v>3.5539999999999998</c:v>
                      </c:pt>
                      <c:pt idx="2687">
                        <c:v>3.5539999999999998</c:v>
                      </c:pt>
                      <c:pt idx="2688">
                        <c:v>3.5539999999999998</c:v>
                      </c:pt>
                      <c:pt idx="2689">
                        <c:v>3.5539999999999998</c:v>
                      </c:pt>
                      <c:pt idx="2690">
                        <c:v>3.5539999999999998</c:v>
                      </c:pt>
                      <c:pt idx="2691">
                        <c:v>3.5539999999999998</c:v>
                      </c:pt>
                      <c:pt idx="2692">
                        <c:v>3.5539999999999998</c:v>
                      </c:pt>
                      <c:pt idx="2693">
                        <c:v>3.5539999999999998</c:v>
                      </c:pt>
                      <c:pt idx="2694">
                        <c:v>3.5539999999999998</c:v>
                      </c:pt>
                      <c:pt idx="2695">
                        <c:v>3.53</c:v>
                      </c:pt>
                      <c:pt idx="2696">
                        <c:v>3.53</c:v>
                      </c:pt>
                      <c:pt idx="2697">
                        <c:v>3.53</c:v>
                      </c:pt>
                      <c:pt idx="2698">
                        <c:v>3.53</c:v>
                      </c:pt>
                      <c:pt idx="2699">
                        <c:v>3.53</c:v>
                      </c:pt>
                      <c:pt idx="2700">
                        <c:v>3.53</c:v>
                      </c:pt>
                      <c:pt idx="2701">
                        <c:v>3.53</c:v>
                      </c:pt>
                      <c:pt idx="2702">
                        <c:v>3.53</c:v>
                      </c:pt>
                      <c:pt idx="2703">
                        <c:v>3.53</c:v>
                      </c:pt>
                      <c:pt idx="2704">
                        <c:v>3.53</c:v>
                      </c:pt>
                      <c:pt idx="2705">
                        <c:v>3.53</c:v>
                      </c:pt>
                      <c:pt idx="2706">
                        <c:v>3.53</c:v>
                      </c:pt>
                      <c:pt idx="2707">
                        <c:v>3.53</c:v>
                      </c:pt>
                      <c:pt idx="2708">
                        <c:v>3.53</c:v>
                      </c:pt>
                      <c:pt idx="2709">
                        <c:v>3.53</c:v>
                      </c:pt>
                      <c:pt idx="2710">
                        <c:v>3.53</c:v>
                      </c:pt>
                      <c:pt idx="2711">
                        <c:v>3.53</c:v>
                      </c:pt>
                      <c:pt idx="2712">
                        <c:v>3.53</c:v>
                      </c:pt>
                      <c:pt idx="2713">
                        <c:v>3.53</c:v>
                      </c:pt>
                      <c:pt idx="2714">
                        <c:v>3.53</c:v>
                      </c:pt>
                      <c:pt idx="2715">
                        <c:v>3.375</c:v>
                      </c:pt>
                      <c:pt idx="2716">
                        <c:v>3.375</c:v>
                      </c:pt>
                      <c:pt idx="2717">
                        <c:v>3.375</c:v>
                      </c:pt>
                      <c:pt idx="2718">
                        <c:v>3.375</c:v>
                      </c:pt>
                      <c:pt idx="2719">
                        <c:v>3.375</c:v>
                      </c:pt>
                      <c:pt idx="2720">
                        <c:v>3.375</c:v>
                      </c:pt>
                      <c:pt idx="2721">
                        <c:v>3.375</c:v>
                      </c:pt>
                      <c:pt idx="2722">
                        <c:v>3.375</c:v>
                      </c:pt>
                      <c:pt idx="2723">
                        <c:v>3.375</c:v>
                      </c:pt>
                      <c:pt idx="2724">
                        <c:v>3.375</c:v>
                      </c:pt>
                      <c:pt idx="2725">
                        <c:v>3.375</c:v>
                      </c:pt>
                      <c:pt idx="2726">
                        <c:v>3.375</c:v>
                      </c:pt>
                      <c:pt idx="2727">
                        <c:v>3.375</c:v>
                      </c:pt>
                      <c:pt idx="2728">
                        <c:v>3.375</c:v>
                      </c:pt>
                      <c:pt idx="2729">
                        <c:v>3.375</c:v>
                      </c:pt>
                      <c:pt idx="2730">
                        <c:v>3.375</c:v>
                      </c:pt>
                      <c:pt idx="2731">
                        <c:v>3.375</c:v>
                      </c:pt>
                      <c:pt idx="2732">
                        <c:v>3.375</c:v>
                      </c:pt>
                      <c:pt idx="2733">
                        <c:v>3.375</c:v>
                      </c:pt>
                      <c:pt idx="2734">
                        <c:v>3.375</c:v>
                      </c:pt>
                      <c:pt idx="2735">
                        <c:v>3.4049999999999998</c:v>
                      </c:pt>
                      <c:pt idx="2736">
                        <c:v>3.4049999999999998</c:v>
                      </c:pt>
                      <c:pt idx="2737">
                        <c:v>3.4049999999999998</c:v>
                      </c:pt>
                      <c:pt idx="2738">
                        <c:v>3.4049999999999998</c:v>
                      </c:pt>
                      <c:pt idx="2739">
                        <c:v>3.4049999999999998</c:v>
                      </c:pt>
                      <c:pt idx="2740">
                        <c:v>3.4049999999999998</c:v>
                      </c:pt>
                      <c:pt idx="2741">
                        <c:v>3.4049999999999998</c:v>
                      </c:pt>
                      <c:pt idx="2742">
                        <c:v>3.4049999999999998</c:v>
                      </c:pt>
                      <c:pt idx="2743">
                        <c:v>3.4049999999999998</c:v>
                      </c:pt>
                      <c:pt idx="2744">
                        <c:v>3.4049999999999998</c:v>
                      </c:pt>
                      <c:pt idx="2745">
                        <c:v>3.4049999999999998</c:v>
                      </c:pt>
                      <c:pt idx="2746">
                        <c:v>3.4049999999999998</c:v>
                      </c:pt>
                      <c:pt idx="2747">
                        <c:v>3.4049999999999998</c:v>
                      </c:pt>
                      <c:pt idx="2748">
                        <c:v>3.4049999999999998</c:v>
                      </c:pt>
                      <c:pt idx="2749">
                        <c:v>3.4049999999999998</c:v>
                      </c:pt>
                      <c:pt idx="2750">
                        <c:v>3.4049999999999998</c:v>
                      </c:pt>
                      <c:pt idx="2751">
                        <c:v>3.4049999999999998</c:v>
                      </c:pt>
                      <c:pt idx="2752">
                        <c:v>3.4049999999999998</c:v>
                      </c:pt>
                      <c:pt idx="2753">
                        <c:v>3.4049999999999998</c:v>
                      </c:pt>
                      <c:pt idx="2754">
                        <c:v>3.4049999999999998</c:v>
                      </c:pt>
                      <c:pt idx="2755">
                        <c:v>3.4049999999999998</c:v>
                      </c:pt>
                      <c:pt idx="2756">
                        <c:v>3.4049999999999998</c:v>
                      </c:pt>
                      <c:pt idx="2757">
                        <c:v>3.4049999999999998</c:v>
                      </c:pt>
                      <c:pt idx="2758">
                        <c:v>3.4049999999999998</c:v>
                      </c:pt>
                      <c:pt idx="2759">
                        <c:v>3.4049999999999998</c:v>
                      </c:pt>
                      <c:pt idx="2760">
                        <c:v>3.4580000000000002</c:v>
                      </c:pt>
                      <c:pt idx="2761">
                        <c:v>3.4580000000000002</c:v>
                      </c:pt>
                      <c:pt idx="2762">
                        <c:v>3.4580000000000002</c:v>
                      </c:pt>
                      <c:pt idx="2763">
                        <c:v>3.4580000000000002</c:v>
                      </c:pt>
                      <c:pt idx="2764">
                        <c:v>3.4580000000000002</c:v>
                      </c:pt>
                      <c:pt idx="2765">
                        <c:v>3.4580000000000002</c:v>
                      </c:pt>
                      <c:pt idx="2766">
                        <c:v>3.4580000000000002</c:v>
                      </c:pt>
                      <c:pt idx="2767">
                        <c:v>3.4580000000000002</c:v>
                      </c:pt>
                      <c:pt idx="2768">
                        <c:v>3.4580000000000002</c:v>
                      </c:pt>
                      <c:pt idx="2769">
                        <c:v>3.4580000000000002</c:v>
                      </c:pt>
                      <c:pt idx="2770">
                        <c:v>3.4580000000000002</c:v>
                      </c:pt>
                      <c:pt idx="2771">
                        <c:v>3.4580000000000002</c:v>
                      </c:pt>
                      <c:pt idx="2772">
                        <c:v>3.4580000000000002</c:v>
                      </c:pt>
                      <c:pt idx="2773">
                        <c:v>3.4580000000000002</c:v>
                      </c:pt>
                      <c:pt idx="2774">
                        <c:v>3.4580000000000002</c:v>
                      </c:pt>
                      <c:pt idx="2775">
                        <c:v>3.4580000000000002</c:v>
                      </c:pt>
                      <c:pt idx="2776">
                        <c:v>3.4580000000000002</c:v>
                      </c:pt>
                      <c:pt idx="2777">
                        <c:v>3.4580000000000002</c:v>
                      </c:pt>
                      <c:pt idx="2778">
                        <c:v>3.4580000000000002</c:v>
                      </c:pt>
                      <c:pt idx="2779">
                        <c:v>3.4580000000000002</c:v>
                      </c:pt>
                      <c:pt idx="2780">
                        <c:v>3.4620000000000002</c:v>
                      </c:pt>
                      <c:pt idx="2781">
                        <c:v>3.4620000000000002</c:v>
                      </c:pt>
                      <c:pt idx="2782">
                        <c:v>3.4620000000000002</c:v>
                      </c:pt>
                      <c:pt idx="2783">
                        <c:v>3.4620000000000002</c:v>
                      </c:pt>
                      <c:pt idx="2784">
                        <c:v>3.4620000000000002</c:v>
                      </c:pt>
                      <c:pt idx="2785">
                        <c:v>3.4620000000000002</c:v>
                      </c:pt>
                      <c:pt idx="2786">
                        <c:v>3.4620000000000002</c:v>
                      </c:pt>
                      <c:pt idx="2787">
                        <c:v>3.4620000000000002</c:v>
                      </c:pt>
                      <c:pt idx="2788">
                        <c:v>3.4620000000000002</c:v>
                      </c:pt>
                      <c:pt idx="2789">
                        <c:v>3.4620000000000002</c:v>
                      </c:pt>
                      <c:pt idx="2790">
                        <c:v>3.4620000000000002</c:v>
                      </c:pt>
                      <c:pt idx="2791">
                        <c:v>3.4620000000000002</c:v>
                      </c:pt>
                      <c:pt idx="2792">
                        <c:v>3.4620000000000002</c:v>
                      </c:pt>
                      <c:pt idx="2793">
                        <c:v>3.4620000000000002</c:v>
                      </c:pt>
                      <c:pt idx="2794">
                        <c:v>3.4620000000000002</c:v>
                      </c:pt>
                      <c:pt idx="2795">
                        <c:v>3.4620000000000002</c:v>
                      </c:pt>
                      <c:pt idx="2796">
                        <c:v>3.4620000000000002</c:v>
                      </c:pt>
                      <c:pt idx="2797">
                        <c:v>3.4620000000000002</c:v>
                      </c:pt>
                      <c:pt idx="2798">
                        <c:v>3.4620000000000002</c:v>
                      </c:pt>
                      <c:pt idx="2799">
                        <c:v>3.4620000000000002</c:v>
                      </c:pt>
                      <c:pt idx="2800">
                        <c:v>3.4620000000000002</c:v>
                      </c:pt>
                      <c:pt idx="2801">
                        <c:v>3.4620000000000002</c:v>
                      </c:pt>
                      <c:pt idx="2802">
                        <c:v>3.4620000000000002</c:v>
                      </c:pt>
                      <c:pt idx="2803">
                        <c:v>3.4620000000000002</c:v>
                      </c:pt>
                      <c:pt idx="2804">
                        <c:v>3.4620000000000002</c:v>
                      </c:pt>
                      <c:pt idx="2805">
                        <c:v>3.2549999999999999</c:v>
                      </c:pt>
                      <c:pt idx="2806">
                        <c:v>3.2549999999999999</c:v>
                      </c:pt>
                      <c:pt idx="2807">
                        <c:v>3.2549999999999999</c:v>
                      </c:pt>
                      <c:pt idx="2808">
                        <c:v>3.2549999999999999</c:v>
                      </c:pt>
                      <c:pt idx="2809">
                        <c:v>3.2549999999999999</c:v>
                      </c:pt>
                      <c:pt idx="2810">
                        <c:v>3.2549999999999999</c:v>
                      </c:pt>
                      <c:pt idx="2811">
                        <c:v>3.2549999999999999</c:v>
                      </c:pt>
                      <c:pt idx="2812">
                        <c:v>3.2549999999999999</c:v>
                      </c:pt>
                      <c:pt idx="2813">
                        <c:v>3.2549999999999999</c:v>
                      </c:pt>
                      <c:pt idx="2814">
                        <c:v>3.2549999999999999</c:v>
                      </c:pt>
                      <c:pt idx="2815">
                        <c:v>3.2549999999999999</c:v>
                      </c:pt>
                      <c:pt idx="2816">
                        <c:v>3.2549999999999999</c:v>
                      </c:pt>
                      <c:pt idx="2817">
                        <c:v>3.2549999999999999</c:v>
                      </c:pt>
                      <c:pt idx="2818">
                        <c:v>3.2549999999999999</c:v>
                      </c:pt>
                      <c:pt idx="2819">
                        <c:v>3.2549999999999999</c:v>
                      </c:pt>
                      <c:pt idx="2820">
                        <c:v>3.2549999999999999</c:v>
                      </c:pt>
                      <c:pt idx="2821">
                        <c:v>3.2549999999999999</c:v>
                      </c:pt>
                      <c:pt idx="2822">
                        <c:v>3.2549999999999999</c:v>
                      </c:pt>
                      <c:pt idx="2823">
                        <c:v>3.2549999999999999</c:v>
                      </c:pt>
                      <c:pt idx="2824">
                        <c:v>3.2549999999999999</c:v>
                      </c:pt>
                      <c:pt idx="2825">
                        <c:v>3.32</c:v>
                      </c:pt>
                      <c:pt idx="2826">
                        <c:v>3.32</c:v>
                      </c:pt>
                      <c:pt idx="2827">
                        <c:v>3.32</c:v>
                      </c:pt>
                      <c:pt idx="2828">
                        <c:v>3.32</c:v>
                      </c:pt>
                      <c:pt idx="2829">
                        <c:v>3.32</c:v>
                      </c:pt>
                      <c:pt idx="2830">
                        <c:v>3.32</c:v>
                      </c:pt>
                      <c:pt idx="2831">
                        <c:v>3.32</c:v>
                      </c:pt>
                      <c:pt idx="2832">
                        <c:v>3.32</c:v>
                      </c:pt>
                      <c:pt idx="2833">
                        <c:v>3.32</c:v>
                      </c:pt>
                      <c:pt idx="2834">
                        <c:v>3.32</c:v>
                      </c:pt>
                      <c:pt idx="2835">
                        <c:v>3.32</c:v>
                      </c:pt>
                      <c:pt idx="2836">
                        <c:v>3.32</c:v>
                      </c:pt>
                      <c:pt idx="2837">
                        <c:v>3.32</c:v>
                      </c:pt>
                      <c:pt idx="2838">
                        <c:v>3.32</c:v>
                      </c:pt>
                      <c:pt idx="2839">
                        <c:v>3.32</c:v>
                      </c:pt>
                      <c:pt idx="2840">
                        <c:v>3.32</c:v>
                      </c:pt>
                      <c:pt idx="2841">
                        <c:v>3.32</c:v>
                      </c:pt>
                      <c:pt idx="2842">
                        <c:v>3.32</c:v>
                      </c:pt>
                      <c:pt idx="2843">
                        <c:v>3.32</c:v>
                      </c:pt>
                      <c:pt idx="2844">
                        <c:v>3.32</c:v>
                      </c:pt>
                      <c:pt idx="2845">
                        <c:v>3.4009999999999998</c:v>
                      </c:pt>
                      <c:pt idx="2846">
                        <c:v>3.4009999999999998</c:v>
                      </c:pt>
                      <c:pt idx="2847">
                        <c:v>3.4009999999999998</c:v>
                      </c:pt>
                      <c:pt idx="2848">
                        <c:v>3.4009999999999998</c:v>
                      </c:pt>
                      <c:pt idx="2849">
                        <c:v>3.4009999999999998</c:v>
                      </c:pt>
                      <c:pt idx="2850">
                        <c:v>3.4009999999999998</c:v>
                      </c:pt>
                      <c:pt idx="2851">
                        <c:v>3.4009999999999998</c:v>
                      </c:pt>
                      <c:pt idx="2852">
                        <c:v>3.4009999999999998</c:v>
                      </c:pt>
                      <c:pt idx="2853">
                        <c:v>3.4009999999999998</c:v>
                      </c:pt>
                      <c:pt idx="2854">
                        <c:v>3.4009999999999998</c:v>
                      </c:pt>
                      <c:pt idx="2855">
                        <c:v>3.4009999999999998</c:v>
                      </c:pt>
                      <c:pt idx="2856">
                        <c:v>3.4009999999999998</c:v>
                      </c:pt>
                      <c:pt idx="2857">
                        <c:v>3.4009999999999998</c:v>
                      </c:pt>
                      <c:pt idx="2858">
                        <c:v>3.4009999999999998</c:v>
                      </c:pt>
                      <c:pt idx="2859">
                        <c:v>3.4009999999999998</c:v>
                      </c:pt>
                      <c:pt idx="2860">
                        <c:v>3.4009999999999998</c:v>
                      </c:pt>
                      <c:pt idx="2861">
                        <c:v>3.4009999999999998</c:v>
                      </c:pt>
                      <c:pt idx="2862">
                        <c:v>3.4009999999999998</c:v>
                      </c:pt>
                      <c:pt idx="2863">
                        <c:v>3.4009999999999998</c:v>
                      </c:pt>
                      <c:pt idx="2864">
                        <c:v>3.4009999999999998</c:v>
                      </c:pt>
                      <c:pt idx="2865">
                        <c:v>3.4009999999999998</c:v>
                      </c:pt>
                      <c:pt idx="2866">
                        <c:v>3.4009999999999998</c:v>
                      </c:pt>
                      <c:pt idx="2867">
                        <c:v>3.4009999999999998</c:v>
                      </c:pt>
                      <c:pt idx="2868">
                        <c:v>3.4009999999999998</c:v>
                      </c:pt>
                      <c:pt idx="2869">
                        <c:v>3.4009999999999998</c:v>
                      </c:pt>
                      <c:pt idx="2870">
                        <c:v>3.5129999999999999</c:v>
                      </c:pt>
                      <c:pt idx="2871">
                        <c:v>3.5129999999999999</c:v>
                      </c:pt>
                      <c:pt idx="2872">
                        <c:v>3.5129999999999999</c:v>
                      </c:pt>
                      <c:pt idx="2873">
                        <c:v>3.5129999999999999</c:v>
                      </c:pt>
                      <c:pt idx="2874">
                        <c:v>3.5129999999999999</c:v>
                      </c:pt>
                      <c:pt idx="2875">
                        <c:v>3.5840000000000001</c:v>
                      </c:pt>
                      <c:pt idx="2876">
                        <c:v>3.5840000000000001</c:v>
                      </c:pt>
                      <c:pt idx="2877">
                        <c:v>3.5840000000000001</c:v>
                      </c:pt>
                      <c:pt idx="2878">
                        <c:v>3.5840000000000001</c:v>
                      </c:pt>
                      <c:pt idx="2879">
                        <c:v>3.5840000000000001</c:v>
                      </c:pt>
                      <c:pt idx="2880">
                        <c:v>3.5840000000000001</c:v>
                      </c:pt>
                      <c:pt idx="2881">
                        <c:v>3.5840000000000001</c:v>
                      </c:pt>
                      <c:pt idx="2882">
                        <c:v>3.5840000000000001</c:v>
                      </c:pt>
                      <c:pt idx="2883">
                        <c:v>3.5840000000000001</c:v>
                      </c:pt>
                      <c:pt idx="2884">
                        <c:v>3.5840000000000001</c:v>
                      </c:pt>
                      <c:pt idx="2885">
                        <c:v>3.5529999999999999</c:v>
                      </c:pt>
                      <c:pt idx="2886">
                        <c:v>3.5529999999999999</c:v>
                      </c:pt>
                      <c:pt idx="2887">
                        <c:v>3.5529999999999999</c:v>
                      </c:pt>
                      <c:pt idx="2888">
                        <c:v>3.5529999999999999</c:v>
                      </c:pt>
                      <c:pt idx="2889">
                        <c:v>3.5529999999999999</c:v>
                      </c:pt>
                      <c:pt idx="2890">
                        <c:v>3.5339999999999998</c:v>
                      </c:pt>
                      <c:pt idx="2891">
                        <c:v>3.5339999999999998</c:v>
                      </c:pt>
                      <c:pt idx="2892">
                        <c:v>3.5339999999999998</c:v>
                      </c:pt>
                      <c:pt idx="2893">
                        <c:v>3.5339999999999998</c:v>
                      </c:pt>
                      <c:pt idx="2894">
                        <c:v>3.5339999999999998</c:v>
                      </c:pt>
                      <c:pt idx="2895">
                        <c:v>3.5219999999999998</c:v>
                      </c:pt>
                      <c:pt idx="2896">
                        <c:v>3.5219999999999998</c:v>
                      </c:pt>
                      <c:pt idx="2897">
                        <c:v>3.5219999999999998</c:v>
                      </c:pt>
                      <c:pt idx="2898">
                        <c:v>3.5219999999999998</c:v>
                      </c:pt>
                      <c:pt idx="2899">
                        <c:v>3.5219999999999998</c:v>
                      </c:pt>
                      <c:pt idx="2900">
                        <c:v>3.5939999999999999</c:v>
                      </c:pt>
                      <c:pt idx="2901">
                        <c:v>3.5939999999999999</c:v>
                      </c:pt>
                      <c:pt idx="2902">
                        <c:v>3.5939999999999999</c:v>
                      </c:pt>
                      <c:pt idx="2903">
                        <c:v>3.5939999999999999</c:v>
                      </c:pt>
                      <c:pt idx="2904">
                        <c:v>3.5939999999999999</c:v>
                      </c:pt>
                      <c:pt idx="2905">
                        <c:v>3.5489999999999999</c:v>
                      </c:pt>
                      <c:pt idx="2906">
                        <c:v>3.5489999999999999</c:v>
                      </c:pt>
                      <c:pt idx="2907">
                        <c:v>3.5489999999999999</c:v>
                      </c:pt>
                      <c:pt idx="2908">
                        <c:v>3.5489999999999999</c:v>
                      </c:pt>
                      <c:pt idx="2909">
                        <c:v>3.5489999999999999</c:v>
                      </c:pt>
                      <c:pt idx="2910">
                        <c:v>3.5539999999999998</c:v>
                      </c:pt>
                      <c:pt idx="2911">
                        <c:v>3.5539999999999998</c:v>
                      </c:pt>
                      <c:pt idx="2912">
                        <c:v>3.5539999999999998</c:v>
                      </c:pt>
                      <c:pt idx="2913">
                        <c:v>3.5539999999999998</c:v>
                      </c:pt>
                      <c:pt idx="2914">
                        <c:v>3.5539999999999998</c:v>
                      </c:pt>
                      <c:pt idx="2915">
                        <c:v>3.6190000000000002</c:v>
                      </c:pt>
                      <c:pt idx="2916">
                        <c:v>3.6190000000000002</c:v>
                      </c:pt>
                      <c:pt idx="2917">
                        <c:v>3.6190000000000002</c:v>
                      </c:pt>
                      <c:pt idx="2918">
                        <c:v>3.6190000000000002</c:v>
                      </c:pt>
                      <c:pt idx="2919">
                        <c:v>3.6190000000000002</c:v>
                      </c:pt>
                      <c:pt idx="2920">
                        <c:v>3.702</c:v>
                      </c:pt>
                      <c:pt idx="2921">
                        <c:v>3.702</c:v>
                      </c:pt>
                      <c:pt idx="2922">
                        <c:v>3.702</c:v>
                      </c:pt>
                      <c:pt idx="2923">
                        <c:v>3.702</c:v>
                      </c:pt>
                      <c:pt idx="2924">
                        <c:v>3.702</c:v>
                      </c:pt>
                      <c:pt idx="2925">
                        <c:v>3.7160000000000002</c:v>
                      </c:pt>
                      <c:pt idx="2926">
                        <c:v>3.7160000000000002</c:v>
                      </c:pt>
                      <c:pt idx="2927">
                        <c:v>3.7160000000000002</c:v>
                      </c:pt>
                      <c:pt idx="2928">
                        <c:v>3.7160000000000002</c:v>
                      </c:pt>
                      <c:pt idx="2929">
                        <c:v>3.7160000000000002</c:v>
                      </c:pt>
                      <c:pt idx="2930">
                        <c:v>3.68</c:v>
                      </c:pt>
                      <c:pt idx="2931">
                        <c:v>3.68</c:v>
                      </c:pt>
                      <c:pt idx="2932">
                        <c:v>3.68</c:v>
                      </c:pt>
                      <c:pt idx="2933">
                        <c:v>3.68</c:v>
                      </c:pt>
                      <c:pt idx="2934">
                        <c:v>3.68</c:v>
                      </c:pt>
                      <c:pt idx="2935">
                        <c:v>3.722</c:v>
                      </c:pt>
                      <c:pt idx="2936">
                        <c:v>3.722</c:v>
                      </c:pt>
                      <c:pt idx="2937">
                        <c:v>3.722</c:v>
                      </c:pt>
                      <c:pt idx="2938">
                        <c:v>3.722</c:v>
                      </c:pt>
                      <c:pt idx="2939">
                        <c:v>3.722</c:v>
                      </c:pt>
                      <c:pt idx="2940">
                        <c:v>3.8119999999999998</c:v>
                      </c:pt>
                      <c:pt idx="2941">
                        <c:v>3.8119999999999998</c:v>
                      </c:pt>
                      <c:pt idx="2942">
                        <c:v>3.8119999999999998</c:v>
                      </c:pt>
                      <c:pt idx="2943">
                        <c:v>3.8119999999999998</c:v>
                      </c:pt>
                      <c:pt idx="2944">
                        <c:v>3.8119999999999998</c:v>
                      </c:pt>
                      <c:pt idx="2945">
                        <c:v>3.9020000000000001</c:v>
                      </c:pt>
                      <c:pt idx="2946">
                        <c:v>3.9020000000000001</c:v>
                      </c:pt>
                      <c:pt idx="2947">
                        <c:v>3.9020000000000001</c:v>
                      </c:pt>
                      <c:pt idx="2948">
                        <c:v>3.9020000000000001</c:v>
                      </c:pt>
                      <c:pt idx="2949">
                        <c:v>3.9020000000000001</c:v>
                      </c:pt>
                      <c:pt idx="2950">
                        <c:v>3.98</c:v>
                      </c:pt>
                      <c:pt idx="2951">
                        <c:v>3.98</c:v>
                      </c:pt>
                      <c:pt idx="2952">
                        <c:v>3.98</c:v>
                      </c:pt>
                      <c:pt idx="2953">
                        <c:v>3.98</c:v>
                      </c:pt>
                      <c:pt idx="2954">
                        <c:v>3.98</c:v>
                      </c:pt>
                      <c:pt idx="2955">
                        <c:v>3.9769999999999999</c:v>
                      </c:pt>
                      <c:pt idx="2956">
                        <c:v>3.9769999999999999</c:v>
                      </c:pt>
                      <c:pt idx="2957">
                        <c:v>3.9769999999999999</c:v>
                      </c:pt>
                      <c:pt idx="2958">
                        <c:v>3.9769999999999999</c:v>
                      </c:pt>
                      <c:pt idx="2959">
                        <c:v>3.9769999999999999</c:v>
                      </c:pt>
                      <c:pt idx="2960">
                        <c:v>3.96</c:v>
                      </c:pt>
                      <c:pt idx="2961">
                        <c:v>3.96</c:v>
                      </c:pt>
                      <c:pt idx="2962">
                        <c:v>3.96</c:v>
                      </c:pt>
                      <c:pt idx="2963">
                        <c:v>3.96</c:v>
                      </c:pt>
                      <c:pt idx="2964">
                        <c:v>3.96</c:v>
                      </c:pt>
                      <c:pt idx="2965">
                        <c:v>4.0220000000000002</c:v>
                      </c:pt>
                      <c:pt idx="2966">
                        <c:v>4.0220000000000002</c:v>
                      </c:pt>
                      <c:pt idx="2967">
                        <c:v>4.0220000000000002</c:v>
                      </c:pt>
                      <c:pt idx="2968">
                        <c:v>4.0220000000000002</c:v>
                      </c:pt>
                      <c:pt idx="2969">
                        <c:v>4.0220000000000002</c:v>
                      </c:pt>
                      <c:pt idx="2970">
                        <c:v>3.9609999999999999</c:v>
                      </c:pt>
                      <c:pt idx="2971">
                        <c:v>3.9609999999999999</c:v>
                      </c:pt>
                      <c:pt idx="2972">
                        <c:v>3.9609999999999999</c:v>
                      </c:pt>
                      <c:pt idx="2973">
                        <c:v>3.9609999999999999</c:v>
                      </c:pt>
                      <c:pt idx="2974">
                        <c:v>3.9609999999999999</c:v>
                      </c:pt>
                      <c:pt idx="2975">
                        <c:v>3.8929999999999998</c:v>
                      </c:pt>
                      <c:pt idx="2976">
                        <c:v>3.8929999999999998</c:v>
                      </c:pt>
                      <c:pt idx="2977">
                        <c:v>3.8929999999999998</c:v>
                      </c:pt>
                      <c:pt idx="2978">
                        <c:v>3.8929999999999998</c:v>
                      </c:pt>
                      <c:pt idx="2979">
                        <c:v>3.8929999999999998</c:v>
                      </c:pt>
                      <c:pt idx="2980">
                        <c:v>3.903</c:v>
                      </c:pt>
                      <c:pt idx="2981">
                        <c:v>3.903</c:v>
                      </c:pt>
                      <c:pt idx="2982">
                        <c:v>3.903</c:v>
                      </c:pt>
                      <c:pt idx="2983">
                        <c:v>3.903</c:v>
                      </c:pt>
                      <c:pt idx="2984">
                        <c:v>3.903</c:v>
                      </c:pt>
                      <c:pt idx="2985">
                        <c:v>3.9239999999999999</c:v>
                      </c:pt>
                      <c:pt idx="2986">
                        <c:v>3.9239999999999999</c:v>
                      </c:pt>
                      <c:pt idx="2987">
                        <c:v>3.9239999999999999</c:v>
                      </c:pt>
                      <c:pt idx="2988">
                        <c:v>3.9239999999999999</c:v>
                      </c:pt>
                      <c:pt idx="2989">
                        <c:v>3.9239999999999999</c:v>
                      </c:pt>
                      <c:pt idx="2990">
                        <c:v>4.016</c:v>
                      </c:pt>
                      <c:pt idx="2991">
                        <c:v>4.016</c:v>
                      </c:pt>
                      <c:pt idx="2992">
                        <c:v>4.016</c:v>
                      </c:pt>
                      <c:pt idx="2993">
                        <c:v>4.016</c:v>
                      </c:pt>
                      <c:pt idx="2994">
                        <c:v>4.016</c:v>
                      </c:pt>
                      <c:pt idx="2995">
                        <c:v>4.0069999999999997</c:v>
                      </c:pt>
                      <c:pt idx="2996">
                        <c:v>4.0069999999999997</c:v>
                      </c:pt>
                      <c:pt idx="2997">
                        <c:v>4.0069999999999997</c:v>
                      </c:pt>
                      <c:pt idx="2998">
                        <c:v>4.0069999999999997</c:v>
                      </c:pt>
                      <c:pt idx="2999">
                        <c:v>4.0069999999999997</c:v>
                      </c:pt>
                      <c:pt idx="3000">
                        <c:v>3.907</c:v>
                      </c:pt>
                      <c:pt idx="3001">
                        <c:v>3.907</c:v>
                      </c:pt>
                      <c:pt idx="3002">
                        <c:v>3.907</c:v>
                      </c:pt>
                      <c:pt idx="3003">
                        <c:v>3.907</c:v>
                      </c:pt>
                      <c:pt idx="3004">
                        <c:v>3.907</c:v>
                      </c:pt>
                      <c:pt idx="3005">
                        <c:v>3.923</c:v>
                      </c:pt>
                      <c:pt idx="3006">
                        <c:v>3.923</c:v>
                      </c:pt>
                      <c:pt idx="3007">
                        <c:v>3.923</c:v>
                      </c:pt>
                      <c:pt idx="3008">
                        <c:v>3.923</c:v>
                      </c:pt>
                      <c:pt idx="3009">
                        <c:v>3.923</c:v>
                      </c:pt>
                      <c:pt idx="3010">
                        <c:v>4.0369999999999999</c:v>
                      </c:pt>
                      <c:pt idx="3011">
                        <c:v>4.0369999999999999</c:v>
                      </c:pt>
                      <c:pt idx="3012">
                        <c:v>4.0369999999999999</c:v>
                      </c:pt>
                      <c:pt idx="3013">
                        <c:v>4.0369999999999999</c:v>
                      </c:pt>
                      <c:pt idx="3014">
                        <c:v>4.0369999999999999</c:v>
                      </c:pt>
                      <c:pt idx="3015">
                        <c:v>4.0529999999999999</c:v>
                      </c:pt>
                      <c:pt idx="3016">
                        <c:v>4.0529999999999999</c:v>
                      </c:pt>
                      <c:pt idx="3017">
                        <c:v>4.0529999999999999</c:v>
                      </c:pt>
                      <c:pt idx="3018">
                        <c:v>4.0529999999999999</c:v>
                      </c:pt>
                      <c:pt idx="3019">
                        <c:v>4.0529999999999999</c:v>
                      </c:pt>
                      <c:pt idx="3020">
                        <c:v>4.0129999999999999</c:v>
                      </c:pt>
                      <c:pt idx="3021">
                        <c:v>4.0129999999999999</c:v>
                      </c:pt>
                      <c:pt idx="3022">
                        <c:v>4.0129999999999999</c:v>
                      </c:pt>
                      <c:pt idx="3023">
                        <c:v>4.0129999999999999</c:v>
                      </c:pt>
                      <c:pt idx="3024">
                        <c:v>4.0129999999999999</c:v>
                      </c:pt>
                      <c:pt idx="3025">
                        <c:v>4.0190000000000001</c:v>
                      </c:pt>
                      <c:pt idx="3026">
                        <c:v>4.0190000000000001</c:v>
                      </c:pt>
                      <c:pt idx="3027">
                        <c:v>4.0190000000000001</c:v>
                      </c:pt>
                      <c:pt idx="3028">
                        <c:v>4.0190000000000001</c:v>
                      </c:pt>
                      <c:pt idx="3029">
                        <c:v>4.0190000000000001</c:v>
                      </c:pt>
                      <c:pt idx="3030">
                        <c:v>4.0679999999999996</c:v>
                      </c:pt>
                      <c:pt idx="3031">
                        <c:v>4.0679999999999996</c:v>
                      </c:pt>
                      <c:pt idx="3032">
                        <c:v>4.0679999999999996</c:v>
                      </c:pt>
                      <c:pt idx="3033">
                        <c:v>4.0679999999999996</c:v>
                      </c:pt>
                      <c:pt idx="3034">
                        <c:v>4.0679999999999996</c:v>
                      </c:pt>
                      <c:pt idx="3035">
                        <c:v>4.085</c:v>
                      </c:pt>
                      <c:pt idx="3036">
                        <c:v>4.085</c:v>
                      </c:pt>
                      <c:pt idx="3037">
                        <c:v>4.085</c:v>
                      </c:pt>
                      <c:pt idx="3038">
                        <c:v>4.085</c:v>
                      </c:pt>
                      <c:pt idx="3039">
                        <c:v>4.085</c:v>
                      </c:pt>
                      <c:pt idx="3040">
                        <c:v>4.0430000000000001</c:v>
                      </c:pt>
                      <c:pt idx="3041">
                        <c:v>4.0430000000000001</c:v>
                      </c:pt>
                      <c:pt idx="3042">
                        <c:v>4.0430000000000001</c:v>
                      </c:pt>
                      <c:pt idx="3043">
                        <c:v>4.0430000000000001</c:v>
                      </c:pt>
                      <c:pt idx="3044">
                        <c:v>4.0430000000000001</c:v>
                      </c:pt>
                      <c:pt idx="3045">
                        <c:v>4.0110000000000001</c:v>
                      </c:pt>
                      <c:pt idx="3046">
                        <c:v>4.0110000000000001</c:v>
                      </c:pt>
                      <c:pt idx="3047">
                        <c:v>4.0110000000000001</c:v>
                      </c:pt>
                      <c:pt idx="3048">
                        <c:v>4.0110000000000001</c:v>
                      </c:pt>
                      <c:pt idx="3049">
                        <c:v>4.0110000000000001</c:v>
                      </c:pt>
                      <c:pt idx="3050">
                        <c:v>4.0640000000000001</c:v>
                      </c:pt>
                      <c:pt idx="3051">
                        <c:v>4.0640000000000001</c:v>
                      </c:pt>
                      <c:pt idx="3052">
                        <c:v>4.0640000000000001</c:v>
                      </c:pt>
                      <c:pt idx="3053">
                        <c:v>4.0640000000000001</c:v>
                      </c:pt>
                      <c:pt idx="3054">
                        <c:v>4.0640000000000001</c:v>
                      </c:pt>
                      <c:pt idx="3055">
                        <c:v>4.056</c:v>
                      </c:pt>
                      <c:pt idx="3056">
                        <c:v>4.056</c:v>
                      </c:pt>
                      <c:pt idx="3057">
                        <c:v>4.056</c:v>
                      </c:pt>
                      <c:pt idx="3058">
                        <c:v>4.056</c:v>
                      </c:pt>
                      <c:pt idx="3059">
                        <c:v>4.056</c:v>
                      </c:pt>
                      <c:pt idx="3060">
                        <c:v>4.0170000000000003</c:v>
                      </c:pt>
                      <c:pt idx="3061">
                        <c:v>4.0170000000000003</c:v>
                      </c:pt>
                      <c:pt idx="3062">
                        <c:v>4.0170000000000003</c:v>
                      </c:pt>
                      <c:pt idx="3063">
                        <c:v>4.0170000000000003</c:v>
                      </c:pt>
                      <c:pt idx="3064">
                        <c:v>4.0170000000000003</c:v>
                      </c:pt>
                      <c:pt idx="3065">
                        <c:v>4.0380000000000003</c:v>
                      </c:pt>
                      <c:pt idx="3066">
                        <c:v>4.0380000000000003</c:v>
                      </c:pt>
                      <c:pt idx="3067">
                        <c:v>4.0380000000000003</c:v>
                      </c:pt>
                      <c:pt idx="3068">
                        <c:v>4.0380000000000003</c:v>
                      </c:pt>
                      <c:pt idx="3069">
                        <c:v>4.0380000000000003</c:v>
                      </c:pt>
                      <c:pt idx="3070">
                        <c:v>4.0309999999999997</c:v>
                      </c:pt>
                      <c:pt idx="3071">
                        <c:v>4.0309999999999997</c:v>
                      </c:pt>
                      <c:pt idx="3072">
                        <c:v>4.0309999999999997</c:v>
                      </c:pt>
                      <c:pt idx="3073">
                        <c:v>4.0309999999999997</c:v>
                      </c:pt>
                      <c:pt idx="3074">
                        <c:v>4.0309999999999997</c:v>
                      </c:pt>
                      <c:pt idx="3075">
                        <c:v>4.1669999999999998</c:v>
                      </c:pt>
                      <c:pt idx="3076">
                        <c:v>4.1669999999999998</c:v>
                      </c:pt>
                      <c:pt idx="3077">
                        <c:v>4.1669999999999998</c:v>
                      </c:pt>
                      <c:pt idx="3078">
                        <c:v>4.1669999999999998</c:v>
                      </c:pt>
                      <c:pt idx="3079">
                        <c:v>4.1669999999999998</c:v>
                      </c:pt>
                      <c:pt idx="3080">
                        <c:v>4.181</c:v>
                      </c:pt>
                      <c:pt idx="3081">
                        <c:v>4.181</c:v>
                      </c:pt>
                      <c:pt idx="3082">
                        <c:v>4.181</c:v>
                      </c:pt>
                      <c:pt idx="3083">
                        <c:v>4.181</c:v>
                      </c:pt>
                      <c:pt idx="3084">
                        <c:v>4.181</c:v>
                      </c:pt>
                      <c:pt idx="3085">
                        <c:v>4.1660000000000004</c:v>
                      </c:pt>
                      <c:pt idx="3086">
                        <c:v>4.1660000000000004</c:v>
                      </c:pt>
                      <c:pt idx="3087">
                        <c:v>4.1660000000000004</c:v>
                      </c:pt>
                      <c:pt idx="3088">
                        <c:v>4.1660000000000004</c:v>
                      </c:pt>
                      <c:pt idx="3089">
                        <c:v>4.1660000000000004</c:v>
                      </c:pt>
                      <c:pt idx="3090">
                        <c:v>4.1429999999999998</c:v>
                      </c:pt>
                      <c:pt idx="3091">
                        <c:v>4.1429999999999998</c:v>
                      </c:pt>
                      <c:pt idx="3092">
                        <c:v>4.1429999999999998</c:v>
                      </c:pt>
                      <c:pt idx="3093">
                        <c:v>4.1429999999999998</c:v>
                      </c:pt>
                      <c:pt idx="3094">
                        <c:v>4.1429999999999998</c:v>
                      </c:pt>
                      <c:pt idx="3095">
                        <c:v>4.242</c:v>
                      </c:pt>
                      <c:pt idx="3096">
                        <c:v>4.242</c:v>
                      </c:pt>
                      <c:pt idx="3097">
                        <c:v>4.242</c:v>
                      </c:pt>
                      <c:pt idx="3098">
                        <c:v>4.242</c:v>
                      </c:pt>
                      <c:pt idx="3099">
                        <c:v>4.242</c:v>
                      </c:pt>
                      <c:pt idx="3100">
                        <c:v>4.3179999999999996</c:v>
                      </c:pt>
                      <c:pt idx="3101">
                        <c:v>4.3179999999999996</c:v>
                      </c:pt>
                      <c:pt idx="3102">
                        <c:v>4.3179999999999996</c:v>
                      </c:pt>
                      <c:pt idx="3103">
                        <c:v>4.3179999999999996</c:v>
                      </c:pt>
                      <c:pt idx="3104">
                        <c:v>4.3179999999999996</c:v>
                      </c:pt>
                      <c:pt idx="3105">
                        <c:v>4.2699999999999996</c:v>
                      </c:pt>
                      <c:pt idx="3106">
                        <c:v>4.2699999999999996</c:v>
                      </c:pt>
                      <c:pt idx="3107">
                        <c:v>4.2699999999999996</c:v>
                      </c:pt>
                      <c:pt idx="3108">
                        <c:v>4.2699999999999996</c:v>
                      </c:pt>
                      <c:pt idx="3109">
                        <c:v>4.2699999999999996</c:v>
                      </c:pt>
                      <c:pt idx="3110">
                        <c:v>4.2619999999999996</c:v>
                      </c:pt>
                      <c:pt idx="3111">
                        <c:v>4.2619999999999996</c:v>
                      </c:pt>
                      <c:pt idx="3112">
                        <c:v>4.2619999999999996</c:v>
                      </c:pt>
                      <c:pt idx="3113">
                        <c:v>4.2619999999999996</c:v>
                      </c:pt>
                      <c:pt idx="3114">
                        <c:v>4.2619999999999996</c:v>
                      </c:pt>
                      <c:pt idx="3115">
                        <c:v>4.2220000000000004</c:v>
                      </c:pt>
                      <c:pt idx="3116">
                        <c:v>4.2220000000000004</c:v>
                      </c:pt>
                      <c:pt idx="3117">
                        <c:v>4.2220000000000004</c:v>
                      </c:pt>
                      <c:pt idx="3118">
                        <c:v>4.2220000000000004</c:v>
                      </c:pt>
                      <c:pt idx="3119">
                        <c:v>4.2220000000000004</c:v>
                      </c:pt>
                      <c:pt idx="3120">
                        <c:v>4.3319999999999999</c:v>
                      </c:pt>
                      <c:pt idx="3121">
                        <c:v>4.3319999999999999</c:v>
                      </c:pt>
                      <c:pt idx="3122">
                        <c:v>4.3319999999999999</c:v>
                      </c:pt>
                      <c:pt idx="3123">
                        <c:v>4.3319999999999999</c:v>
                      </c:pt>
                      <c:pt idx="3124">
                        <c:v>4.3319999999999999</c:v>
                      </c:pt>
                      <c:pt idx="3125">
                        <c:v>4.2640000000000002</c:v>
                      </c:pt>
                      <c:pt idx="3126">
                        <c:v>4.2640000000000002</c:v>
                      </c:pt>
                      <c:pt idx="3127">
                        <c:v>4.2640000000000002</c:v>
                      </c:pt>
                      <c:pt idx="3128">
                        <c:v>4.2640000000000002</c:v>
                      </c:pt>
                      <c:pt idx="3129">
                        <c:v>4.2640000000000002</c:v>
                      </c:pt>
                      <c:pt idx="3130">
                        <c:v>4.26</c:v>
                      </c:pt>
                      <c:pt idx="3131">
                        <c:v>4.26</c:v>
                      </c:pt>
                      <c:pt idx="3132">
                        <c:v>4.26</c:v>
                      </c:pt>
                      <c:pt idx="3133">
                        <c:v>4.26</c:v>
                      </c:pt>
                      <c:pt idx="3134">
                        <c:v>4.26</c:v>
                      </c:pt>
                      <c:pt idx="3135">
                        <c:v>4.2469999999999999</c:v>
                      </c:pt>
                      <c:pt idx="3136">
                        <c:v>4.2469999999999999</c:v>
                      </c:pt>
                      <c:pt idx="3137">
                        <c:v>4.2469999999999999</c:v>
                      </c:pt>
                      <c:pt idx="3138">
                        <c:v>4.2469999999999999</c:v>
                      </c:pt>
                      <c:pt idx="3139">
                        <c:v>4.2469999999999999</c:v>
                      </c:pt>
                      <c:pt idx="3140">
                        <c:v>4.3540000000000001</c:v>
                      </c:pt>
                      <c:pt idx="3141">
                        <c:v>4.3540000000000001</c:v>
                      </c:pt>
                      <c:pt idx="3142">
                        <c:v>4.3540000000000001</c:v>
                      </c:pt>
                      <c:pt idx="3143">
                        <c:v>4.3540000000000001</c:v>
                      </c:pt>
                      <c:pt idx="3144">
                        <c:v>4.3540000000000001</c:v>
                      </c:pt>
                      <c:pt idx="3145">
                        <c:v>4.3760000000000003</c:v>
                      </c:pt>
                      <c:pt idx="3146">
                        <c:v>4.3760000000000003</c:v>
                      </c:pt>
                      <c:pt idx="3147">
                        <c:v>4.3760000000000003</c:v>
                      </c:pt>
                      <c:pt idx="3148">
                        <c:v>4.3760000000000003</c:v>
                      </c:pt>
                      <c:pt idx="3149">
                        <c:v>4.3760000000000003</c:v>
                      </c:pt>
                      <c:pt idx="3150">
                        <c:v>4.3550000000000004</c:v>
                      </c:pt>
                      <c:pt idx="3151">
                        <c:v>4.3550000000000004</c:v>
                      </c:pt>
                      <c:pt idx="3152">
                        <c:v>4.3550000000000004</c:v>
                      </c:pt>
                      <c:pt idx="3153">
                        <c:v>4.3550000000000004</c:v>
                      </c:pt>
                      <c:pt idx="3154">
                        <c:v>4.3550000000000004</c:v>
                      </c:pt>
                      <c:pt idx="3155">
                        <c:v>4.3849999999999998</c:v>
                      </c:pt>
                      <c:pt idx="3156">
                        <c:v>4.3849999999999998</c:v>
                      </c:pt>
                      <c:pt idx="3157">
                        <c:v>4.3849999999999998</c:v>
                      </c:pt>
                      <c:pt idx="3158">
                        <c:v>4.3849999999999998</c:v>
                      </c:pt>
                      <c:pt idx="3159">
                        <c:v>4.3849999999999998</c:v>
                      </c:pt>
                      <c:pt idx="3160">
                        <c:v>4.5259999999999998</c:v>
                      </c:pt>
                      <c:pt idx="3161">
                        <c:v>4.5259999999999998</c:v>
                      </c:pt>
                      <c:pt idx="3162">
                        <c:v>4.5259999999999998</c:v>
                      </c:pt>
                      <c:pt idx="3163">
                        <c:v>4.5259999999999998</c:v>
                      </c:pt>
                      <c:pt idx="3164">
                        <c:v>4.5259999999999998</c:v>
                      </c:pt>
                      <c:pt idx="3165">
                        <c:v>4.5880000000000001</c:v>
                      </c:pt>
                      <c:pt idx="3166">
                        <c:v>4.5880000000000001</c:v>
                      </c:pt>
                      <c:pt idx="3167">
                        <c:v>4.5880000000000001</c:v>
                      </c:pt>
                      <c:pt idx="3168">
                        <c:v>4.5880000000000001</c:v>
                      </c:pt>
                      <c:pt idx="3169">
                        <c:v>4.5880000000000001</c:v>
                      </c:pt>
                      <c:pt idx="3170">
                        <c:v>4.5449999999999999</c:v>
                      </c:pt>
                      <c:pt idx="3171">
                        <c:v>4.5449999999999999</c:v>
                      </c:pt>
                      <c:pt idx="3172">
                        <c:v>4.5449999999999999</c:v>
                      </c:pt>
                      <c:pt idx="3173">
                        <c:v>4.5449999999999999</c:v>
                      </c:pt>
                      <c:pt idx="3174">
                        <c:v>4.5449999999999999</c:v>
                      </c:pt>
                      <c:pt idx="3175">
                        <c:v>4.532</c:v>
                      </c:pt>
                      <c:pt idx="3176">
                        <c:v>4.532</c:v>
                      </c:pt>
                      <c:pt idx="3177">
                        <c:v>4.532</c:v>
                      </c:pt>
                      <c:pt idx="3178">
                        <c:v>4.532</c:v>
                      </c:pt>
                      <c:pt idx="3179">
                        <c:v>4.532</c:v>
                      </c:pt>
                      <c:pt idx="3180">
                        <c:v>4.609</c:v>
                      </c:pt>
                      <c:pt idx="3181">
                        <c:v>4.609</c:v>
                      </c:pt>
                      <c:pt idx="3182">
                        <c:v>4.609</c:v>
                      </c:pt>
                      <c:pt idx="3183">
                        <c:v>4.609</c:v>
                      </c:pt>
                      <c:pt idx="3184">
                        <c:v>4.609</c:v>
                      </c:pt>
                      <c:pt idx="3185">
                        <c:v>4.5869999999999997</c:v>
                      </c:pt>
                      <c:pt idx="3186">
                        <c:v>4.5869999999999997</c:v>
                      </c:pt>
                      <c:pt idx="3187">
                        <c:v>4.5869999999999997</c:v>
                      </c:pt>
                      <c:pt idx="3188">
                        <c:v>4.5869999999999997</c:v>
                      </c:pt>
                      <c:pt idx="3189">
                        <c:v>4.5869999999999997</c:v>
                      </c:pt>
                      <c:pt idx="3190">
                        <c:v>4.6680000000000001</c:v>
                      </c:pt>
                      <c:pt idx="3191">
                        <c:v>4.6680000000000001</c:v>
                      </c:pt>
                      <c:pt idx="3192">
                        <c:v>4.6680000000000001</c:v>
                      </c:pt>
                      <c:pt idx="3193">
                        <c:v>4.6680000000000001</c:v>
                      </c:pt>
                      <c:pt idx="3194">
                        <c:v>4.6680000000000001</c:v>
                      </c:pt>
                      <c:pt idx="3195">
                        <c:v>4.6310000000000002</c:v>
                      </c:pt>
                      <c:pt idx="3196">
                        <c:v>4.6310000000000002</c:v>
                      </c:pt>
                      <c:pt idx="3197">
                        <c:v>4.6310000000000002</c:v>
                      </c:pt>
                      <c:pt idx="3198">
                        <c:v>4.6310000000000002</c:v>
                      </c:pt>
                      <c:pt idx="3199">
                        <c:v>4.6310000000000002</c:v>
                      </c:pt>
                      <c:pt idx="3200">
                        <c:v>4.6210000000000004</c:v>
                      </c:pt>
                      <c:pt idx="3201">
                        <c:v>4.6210000000000004</c:v>
                      </c:pt>
                      <c:pt idx="3202">
                        <c:v>4.6210000000000004</c:v>
                      </c:pt>
                      <c:pt idx="3203">
                        <c:v>4.6210000000000004</c:v>
                      </c:pt>
                      <c:pt idx="3204">
                        <c:v>4.6210000000000004</c:v>
                      </c:pt>
                      <c:pt idx="3205">
                        <c:v>4.7279999999999998</c:v>
                      </c:pt>
                      <c:pt idx="3206">
                        <c:v>4.7279999999999998</c:v>
                      </c:pt>
                      <c:pt idx="3207">
                        <c:v>4.7279999999999998</c:v>
                      </c:pt>
                      <c:pt idx="3208">
                        <c:v>4.7279999999999998</c:v>
                      </c:pt>
                      <c:pt idx="3209">
                        <c:v>4.7279999999999998</c:v>
                      </c:pt>
                      <c:pt idx="3210">
                        <c:v>4.702</c:v>
                      </c:pt>
                      <c:pt idx="3211">
                        <c:v>4.702</c:v>
                      </c:pt>
                      <c:pt idx="3212">
                        <c:v>4.702</c:v>
                      </c:pt>
                      <c:pt idx="3213">
                        <c:v>4.702</c:v>
                      </c:pt>
                      <c:pt idx="3214">
                        <c:v>4.702</c:v>
                      </c:pt>
                      <c:pt idx="3215">
                        <c:v>4.7839999999999998</c:v>
                      </c:pt>
                      <c:pt idx="3216">
                        <c:v>4.7839999999999998</c:v>
                      </c:pt>
                      <c:pt idx="3217">
                        <c:v>4.7839999999999998</c:v>
                      </c:pt>
                      <c:pt idx="3218">
                        <c:v>4.7839999999999998</c:v>
                      </c:pt>
                      <c:pt idx="3219">
                        <c:v>4.7839999999999998</c:v>
                      </c:pt>
                      <c:pt idx="3220">
                        <c:v>4.7309999999999999</c:v>
                      </c:pt>
                      <c:pt idx="3221">
                        <c:v>4.7309999999999999</c:v>
                      </c:pt>
                      <c:pt idx="3222">
                        <c:v>4.7309999999999999</c:v>
                      </c:pt>
                      <c:pt idx="3223">
                        <c:v>4.7309999999999999</c:v>
                      </c:pt>
                      <c:pt idx="3224">
                        <c:v>4.7309999999999999</c:v>
                      </c:pt>
                      <c:pt idx="3225">
                        <c:v>4.7880000000000003</c:v>
                      </c:pt>
                      <c:pt idx="3226">
                        <c:v>4.7880000000000003</c:v>
                      </c:pt>
                      <c:pt idx="3227">
                        <c:v>4.7880000000000003</c:v>
                      </c:pt>
                      <c:pt idx="3228">
                        <c:v>4.7880000000000003</c:v>
                      </c:pt>
                      <c:pt idx="3229">
                        <c:v>4.7880000000000003</c:v>
                      </c:pt>
                      <c:pt idx="3230">
                        <c:v>4.8120000000000003</c:v>
                      </c:pt>
                      <c:pt idx="3231">
                        <c:v>4.8120000000000003</c:v>
                      </c:pt>
                      <c:pt idx="3232">
                        <c:v>4.8120000000000003</c:v>
                      </c:pt>
                      <c:pt idx="3233">
                        <c:v>4.8120000000000003</c:v>
                      </c:pt>
                      <c:pt idx="3234">
                        <c:v>4.8120000000000003</c:v>
                      </c:pt>
                      <c:pt idx="3235">
                        <c:v>4.7610000000000001</c:v>
                      </c:pt>
                      <c:pt idx="3236">
                        <c:v>4.7610000000000001</c:v>
                      </c:pt>
                      <c:pt idx="3237">
                        <c:v>4.7610000000000001</c:v>
                      </c:pt>
                      <c:pt idx="3238">
                        <c:v>4.7610000000000001</c:v>
                      </c:pt>
                      <c:pt idx="3239">
                        <c:v>4.7610000000000001</c:v>
                      </c:pt>
                      <c:pt idx="3240">
                        <c:v>4.7539999999999996</c:v>
                      </c:pt>
                      <c:pt idx="3241">
                        <c:v>4.7539999999999996</c:v>
                      </c:pt>
                      <c:pt idx="3242">
                        <c:v>4.7539999999999996</c:v>
                      </c:pt>
                      <c:pt idx="3243">
                        <c:v>4.7539999999999996</c:v>
                      </c:pt>
                      <c:pt idx="3244">
                        <c:v>4.7539999999999996</c:v>
                      </c:pt>
                      <c:pt idx="3245">
                        <c:v>4.7489999999999997</c:v>
                      </c:pt>
                      <c:pt idx="3246">
                        <c:v>4.7489999999999997</c:v>
                      </c:pt>
                      <c:pt idx="3247">
                        <c:v>4.7489999999999997</c:v>
                      </c:pt>
                      <c:pt idx="3248">
                        <c:v>4.7489999999999997</c:v>
                      </c:pt>
                      <c:pt idx="3249">
                        <c:v>4.7489999999999997</c:v>
                      </c:pt>
                      <c:pt idx="3250">
                        <c:v>4.8659999999999997</c:v>
                      </c:pt>
                      <c:pt idx="3251">
                        <c:v>4.8659999999999997</c:v>
                      </c:pt>
                      <c:pt idx="3252">
                        <c:v>4.8659999999999997</c:v>
                      </c:pt>
                      <c:pt idx="3253">
                        <c:v>4.8659999999999997</c:v>
                      </c:pt>
                      <c:pt idx="3254">
                        <c:v>4.8659999999999997</c:v>
                      </c:pt>
                      <c:pt idx="3255">
                        <c:v>4.8979999999999997</c:v>
                      </c:pt>
                      <c:pt idx="3256">
                        <c:v>4.8979999999999997</c:v>
                      </c:pt>
                      <c:pt idx="3257">
                        <c:v>4.8979999999999997</c:v>
                      </c:pt>
                      <c:pt idx="3258">
                        <c:v>4.8979999999999997</c:v>
                      </c:pt>
                      <c:pt idx="3259">
                        <c:v>4.8979999999999997</c:v>
                      </c:pt>
                      <c:pt idx="3260">
                        <c:v>4.9000000000000004</c:v>
                      </c:pt>
                      <c:pt idx="3261">
                        <c:v>4.9000000000000004</c:v>
                      </c:pt>
                      <c:pt idx="3262">
                        <c:v>4.9000000000000004</c:v>
                      </c:pt>
                      <c:pt idx="3263">
                        <c:v>4.9000000000000004</c:v>
                      </c:pt>
                      <c:pt idx="3264">
                        <c:v>4.9000000000000004</c:v>
                      </c:pt>
                      <c:pt idx="3265">
                        <c:v>4.9320000000000004</c:v>
                      </c:pt>
                      <c:pt idx="3266">
                        <c:v>4.9320000000000004</c:v>
                      </c:pt>
                      <c:pt idx="3267">
                        <c:v>4.9320000000000004</c:v>
                      </c:pt>
                      <c:pt idx="3268">
                        <c:v>4.9320000000000004</c:v>
                      </c:pt>
                      <c:pt idx="3269">
                        <c:v>4.9320000000000004</c:v>
                      </c:pt>
                      <c:pt idx="3270">
                        <c:v>4.99</c:v>
                      </c:pt>
                      <c:pt idx="3271">
                        <c:v>4.99</c:v>
                      </c:pt>
                      <c:pt idx="3272">
                        <c:v>4.99</c:v>
                      </c:pt>
                      <c:pt idx="3273">
                        <c:v>4.99</c:v>
                      </c:pt>
                      <c:pt idx="3274">
                        <c:v>4.99</c:v>
                      </c:pt>
                      <c:pt idx="3275">
                        <c:v>5.0369999999999999</c:v>
                      </c:pt>
                      <c:pt idx="3276">
                        <c:v>5.0369999999999999</c:v>
                      </c:pt>
                      <c:pt idx="3277">
                        <c:v>5.0369999999999999</c:v>
                      </c:pt>
                      <c:pt idx="3278">
                        <c:v>5.0369999999999999</c:v>
                      </c:pt>
                      <c:pt idx="3279">
                        <c:v>5.0369999999999999</c:v>
                      </c:pt>
                      <c:pt idx="3280">
                        <c:v>5.0250000000000004</c:v>
                      </c:pt>
                      <c:pt idx="3281">
                        <c:v>5.0250000000000004</c:v>
                      </c:pt>
                      <c:pt idx="3282">
                        <c:v>5.0250000000000004</c:v>
                      </c:pt>
                      <c:pt idx="3283">
                        <c:v>5.0250000000000004</c:v>
                      </c:pt>
                      <c:pt idx="3284">
                        <c:v>5.0250000000000004</c:v>
                      </c:pt>
                      <c:pt idx="3285">
                        <c:v>5.0709999999999997</c:v>
                      </c:pt>
                      <c:pt idx="3286">
                        <c:v>5.0709999999999997</c:v>
                      </c:pt>
                      <c:pt idx="3287">
                        <c:v>5.0709999999999997</c:v>
                      </c:pt>
                      <c:pt idx="3288">
                        <c:v>5.0709999999999997</c:v>
                      </c:pt>
                      <c:pt idx="3289">
                        <c:v>5.0709999999999997</c:v>
                      </c:pt>
                      <c:pt idx="3290">
                        <c:v>5.1479999999999997</c:v>
                      </c:pt>
                      <c:pt idx="3291">
                        <c:v>5.1479999999999997</c:v>
                      </c:pt>
                      <c:pt idx="3292">
                        <c:v>5.1479999999999997</c:v>
                      </c:pt>
                      <c:pt idx="3293">
                        <c:v>5.1479999999999997</c:v>
                      </c:pt>
                      <c:pt idx="3294">
                        <c:v>5.1479999999999997</c:v>
                      </c:pt>
                      <c:pt idx="3295">
                        <c:v>5.1189999999999998</c:v>
                      </c:pt>
                      <c:pt idx="3296">
                        <c:v>5.1189999999999998</c:v>
                      </c:pt>
                      <c:pt idx="3297">
                        <c:v>5.1189999999999998</c:v>
                      </c:pt>
                      <c:pt idx="3298">
                        <c:v>5.1189999999999998</c:v>
                      </c:pt>
                      <c:pt idx="3299">
                        <c:v>5.1189999999999998</c:v>
                      </c:pt>
                      <c:pt idx="3300">
                        <c:v>5.1769999999999996</c:v>
                      </c:pt>
                      <c:pt idx="3301">
                        <c:v>5.1769999999999996</c:v>
                      </c:pt>
                      <c:pt idx="3302">
                        <c:v>5.1769999999999996</c:v>
                      </c:pt>
                      <c:pt idx="3303">
                        <c:v>5.1769999999999996</c:v>
                      </c:pt>
                      <c:pt idx="3304">
                        <c:v>5.1769999999999996</c:v>
                      </c:pt>
                      <c:pt idx="3305">
                        <c:v>5.1459999999999999</c:v>
                      </c:pt>
                      <c:pt idx="3306">
                        <c:v>5.1459999999999999</c:v>
                      </c:pt>
                      <c:pt idx="3307">
                        <c:v>5.1459999999999999</c:v>
                      </c:pt>
                      <c:pt idx="3308">
                        <c:v>5.1459999999999999</c:v>
                      </c:pt>
                      <c:pt idx="3309">
                        <c:v>5.1459999999999999</c:v>
                      </c:pt>
                      <c:pt idx="3310">
                        <c:v>5.3</c:v>
                      </c:pt>
                      <c:pt idx="3311">
                        <c:v>5.3</c:v>
                      </c:pt>
                      <c:pt idx="3312">
                        <c:v>5.3</c:v>
                      </c:pt>
                      <c:pt idx="3313">
                        <c:v>5.3</c:v>
                      </c:pt>
                      <c:pt idx="3314">
                        <c:v>5.3</c:v>
                      </c:pt>
                      <c:pt idx="3315">
                        <c:v>5.2919999999999998</c:v>
                      </c:pt>
                      <c:pt idx="3316">
                        <c:v>5.2919999999999998</c:v>
                      </c:pt>
                      <c:pt idx="3317">
                        <c:v>5.2919999999999998</c:v>
                      </c:pt>
                      <c:pt idx="3318">
                        <c:v>5.2919999999999998</c:v>
                      </c:pt>
                      <c:pt idx="3319">
                        <c:v>5.2919999999999998</c:v>
                      </c:pt>
                      <c:pt idx="3320">
                        <c:v>5.2679999999999998</c:v>
                      </c:pt>
                      <c:pt idx="3321">
                        <c:v>5.2679999999999998</c:v>
                      </c:pt>
                      <c:pt idx="3322">
                        <c:v>5.2679999999999998</c:v>
                      </c:pt>
                      <c:pt idx="3323">
                        <c:v>5.2679999999999998</c:v>
                      </c:pt>
                      <c:pt idx="3324">
                        <c:v>5.2679999999999998</c:v>
                      </c:pt>
                      <c:pt idx="3325">
                        <c:v>5.1420000000000003</c:v>
                      </c:pt>
                      <c:pt idx="3326">
                        <c:v>5.1420000000000003</c:v>
                      </c:pt>
                      <c:pt idx="3327">
                        <c:v>5.1420000000000003</c:v>
                      </c:pt>
                      <c:pt idx="3328">
                        <c:v>5.1420000000000003</c:v>
                      </c:pt>
                      <c:pt idx="3329">
                        <c:v>5.1420000000000003</c:v>
                      </c:pt>
                      <c:pt idx="3330">
                        <c:v>5.2960000000000003</c:v>
                      </c:pt>
                      <c:pt idx="3331">
                        <c:v>5.2960000000000003</c:v>
                      </c:pt>
                      <c:pt idx="3332">
                        <c:v>5.2960000000000003</c:v>
                      </c:pt>
                      <c:pt idx="3333">
                        <c:v>5.2960000000000003</c:v>
                      </c:pt>
                      <c:pt idx="3334">
                        <c:v>5.2960000000000003</c:v>
                      </c:pt>
                      <c:pt idx="3335">
                        <c:v>5.4059999999999997</c:v>
                      </c:pt>
                      <c:pt idx="3336">
                        <c:v>5.4059999999999997</c:v>
                      </c:pt>
                      <c:pt idx="3337">
                        <c:v>5.4059999999999997</c:v>
                      </c:pt>
                      <c:pt idx="3338">
                        <c:v>5.4059999999999997</c:v>
                      </c:pt>
                      <c:pt idx="3339">
                        <c:v>5.4059999999999997</c:v>
                      </c:pt>
                      <c:pt idx="3340">
                        <c:v>5.43</c:v>
                      </c:pt>
                      <c:pt idx="3341">
                        <c:v>5.43</c:v>
                      </c:pt>
                      <c:pt idx="3342">
                        <c:v>5.43</c:v>
                      </c:pt>
                      <c:pt idx="3343">
                        <c:v>5.43</c:v>
                      </c:pt>
                      <c:pt idx="3344">
                        <c:v>5.43</c:v>
                      </c:pt>
                      <c:pt idx="3345">
                        <c:v>5.4980000000000002</c:v>
                      </c:pt>
                      <c:pt idx="3346">
                        <c:v>5.4980000000000002</c:v>
                      </c:pt>
                      <c:pt idx="3347">
                        <c:v>5.4980000000000002</c:v>
                      </c:pt>
                      <c:pt idx="3348">
                        <c:v>5.4980000000000002</c:v>
                      </c:pt>
                      <c:pt idx="3349">
                        <c:v>5.4980000000000002</c:v>
                      </c:pt>
                      <c:pt idx="3350">
                        <c:v>5.516</c:v>
                      </c:pt>
                      <c:pt idx="3351">
                        <c:v>5.516</c:v>
                      </c:pt>
                      <c:pt idx="3352">
                        <c:v>5.516</c:v>
                      </c:pt>
                      <c:pt idx="3353">
                        <c:v>5.516</c:v>
                      </c:pt>
                      <c:pt idx="3354">
                        <c:v>5.516</c:v>
                      </c:pt>
                      <c:pt idx="3355">
                        <c:v>5.6079999999999997</c:v>
                      </c:pt>
                      <c:pt idx="3356">
                        <c:v>5.6079999999999997</c:v>
                      </c:pt>
                      <c:pt idx="3357">
                        <c:v>5.6079999999999997</c:v>
                      </c:pt>
                      <c:pt idx="3358">
                        <c:v>5.6079999999999997</c:v>
                      </c:pt>
                      <c:pt idx="3359">
                        <c:v>5.6079999999999997</c:v>
                      </c:pt>
                      <c:pt idx="3360">
                        <c:v>5.5720000000000001</c:v>
                      </c:pt>
                      <c:pt idx="3361">
                        <c:v>5.5720000000000001</c:v>
                      </c:pt>
                      <c:pt idx="3362">
                        <c:v>5.5720000000000001</c:v>
                      </c:pt>
                      <c:pt idx="3363">
                        <c:v>5.5720000000000001</c:v>
                      </c:pt>
                      <c:pt idx="3364">
                        <c:v>5.5720000000000001</c:v>
                      </c:pt>
                      <c:pt idx="3365">
                        <c:v>5.3849999999999998</c:v>
                      </c:pt>
                      <c:pt idx="3366">
                        <c:v>5.3849999999999998</c:v>
                      </c:pt>
                      <c:pt idx="3367">
                        <c:v>5.3849999999999998</c:v>
                      </c:pt>
                      <c:pt idx="3368">
                        <c:v>5.3849999999999998</c:v>
                      </c:pt>
                      <c:pt idx="3369">
                        <c:v>5.3849999999999998</c:v>
                      </c:pt>
                      <c:pt idx="3370">
                        <c:v>5.2960000000000003</c:v>
                      </c:pt>
                      <c:pt idx="3371">
                        <c:v>5.2960000000000003</c:v>
                      </c:pt>
                      <c:pt idx="3372">
                        <c:v>5.2960000000000003</c:v>
                      </c:pt>
                      <c:pt idx="3373">
                        <c:v>5.2960000000000003</c:v>
                      </c:pt>
                      <c:pt idx="3374">
                        <c:v>5.2960000000000003</c:v>
                      </c:pt>
                      <c:pt idx="3375">
                        <c:v>5.2350000000000003</c:v>
                      </c:pt>
                      <c:pt idx="3376">
                        <c:v>5.2350000000000003</c:v>
                      </c:pt>
                      <c:pt idx="3377">
                        <c:v>5.2350000000000003</c:v>
                      </c:pt>
                      <c:pt idx="3378">
                        <c:v>5.2350000000000003</c:v>
                      </c:pt>
                      <c:pt idx="3379">
                        <c:v>5.2350000000000003</c:v>
                      </c:pt>
                      <c:pt idx="3380">
                        <c:v>5.48</c:v>
                      </c:pt>
                      <c:pt idx="3381">
                        <c:v>5.48</c:v>
                      </c:pt>
                      <c:pt idx="3382">
                        <c:v>5.48</c:v>
                      </c:pt>
                      <c:pt idx="3383">
                        <c:v>5.48</c:v>
                      </c:pt>
                      <c:pt idx="3384">
                        <c:v>5.48</c:v>
                      </c:pt>
                      <c:pt idx="3385">
                        <c:v>5.5540000000000003</c:v>
                      </c:pt>
                      <c:pt idx="3386">
                        <c:v>5.5540000000000003</c:v>
                      </c:pt>
                      <c:pt idx="3387">
                        <c:v>5.5540000000000003</c:v>
                      </c:pt>
                      <c:pt idx="3388">
                        <c:v>5.5540000000000003</c:v>
                      </c:pt>
                      <c:pt idx="3389">
                        <c:v>5.5540000000000003</c:v>
                      </c:pt>
                      <c:pt idx="3390">
                        <c:v>5.6379999999999999</c:v>
                      </c:pt>
                      <c:pt idx="3391">
                        <c:v>5.6379999999999999</c:v>
                      </c:pt>
                      <c:pt idx="3392">
                        <c:v>5.6379999999999999</c:v>
                      </c:pt>
                      <c:pt idx="3393">
                        <c:v>5.6379999999999999</c:v>
                      </c:pt>
                      <c:pt idx="3394">
                        <c:v>5.6379999999999999</c:v>
                      </c:pt>
                      <c:pt idx="3395">
                        <c:v>5.5679999999999996</c:v>
                      </c:pt>
                      <c:pt idx="3396">
                        <c:v>5.5679999999999996</c:v>
                      </c:pt>
                      <c:pt idx="3397">
                        <c:v>5.5679999999999996</c:v>
                      </c:pt>
                      <c:pt idx="3398">
                        <c:v>5.5679999999999996</c:v>
                      </c:pt>
                      <c:pt idx="3399">
                        <c:v>5.5679999999999996</c:v>
                      </c:pt>
                      <c:pt idx="3400">
                        <c:v>5.5250000000000004</c:v>
                      </c:pt>
                      <c:pt idx="3401">
                        <c:v>5.5250000000000004</c:v>
                      </c:pt>
                      <c:pt idx="3402">
                        <c:v>5.5250000000000004</c:v>
                      </c:pt>
                      <c:pt idx="3403">
                        <c:v>5.5250000000000004</c:v>
                      </c:pt>
                      <c:pt idx="3404">
                        <c:v>5.5250000000000004</c:v>
                      </c:pt>
                      <c:pt idx="3405">
                        <c:v>5.585</c:v>
                      </c:pt>
                      <c:pt idx="3406">
                        <c:v>5.585</c:v>
                      </c:pt>
                      <c:pt idx="3407">
                        <c:v>5.585</c:v>
                      </c:pt>
                      <c:pt idx="3408">
                        <c:v>5.585</c:v>
                      </c:pt>
                      <c:pt idx="3409">
                        <c:v>5.585</c:v>
                      </c:pt>
                      <c:pt idx="3410">
                        <c:v>5.4139999999999997</c:v>
                      </c:pt>
                      <c:pt idx="3411">
                        <c:v>5.4139999999999997</c:v>
                      </c:pt>
                      <c:pt idx="3412">
                        <c:v>5.4139999999999997</c:v>
                      </c:pt>
                      <c:pt idx="3413">
                        <c:v>5.4139999999999997</c:v>
                      </c:pt>
                      <c:pt idx="3414">
                        <c:v>5.4139999999999997</c:v>
                      </c:pt>
                      <c:pt idx="3415">
                        <c:v>5.4189999999999996</c:v>
                      </c:pt>
                      <c:pt idx="3416">
                        <c:v>5.4189999999999996</c:v>
                      </c:pt>
                      <c:pt idx="3417">
                        <c:v>5.4189999999999996</c:v>
                      </c:pt>
                      <c:pt idx="3418">
                        <c:v>5.4189999999999996</c:v>
                      </c:pt>
                      <c:pt idx="3419">
                        <c:v>5.4189999999999996</c:v>
                      </c:pt>
                      <c:pt idx="3420">
                        <c:v>5.5049999999999999</c:v>
                      </c:pt>
                      <c:pt idx="3421">
                        <c:v>5.5049999999999999</c:v>
                      </c:pt>
                      <c:pt idx="3422">
                        <c:v>5.5049999999999999</c:v>
                      </c:pt>
                      <c:pt idx="3423">
                        <c:v>5.5049999999999999</c:v>
                      </c:pt>
                      <c:pt idx="3424">
                        <c:v>5.5049999999999999</c:v>
                      </c:pt>
                      <c:pt idx="3425">
                        <c:v>5.6470000000000002</c:v>
                      </c:pt>
                      <c:pt idx="3426">
                        <c:v>5.6470000000000002</c:v>
                      </c:pt>
                      <c:pt idx="3427">
                        <c:v>5.6470000000000002</c:v>
                      </c:pt>
                      <c:pt idx="3428">
                        <c:v>5.6470000000000002</c:v>
                      </c:pt>
                      <c:pt idx="3429">
                        <c:v>5.6470000000000002</c:v>
                      </c:pt>
                      <c:pt idx="3430">
                        <c:v>5.6429999999999998</c:v>
                      </c:pt>
                      <c:pt idx="3431">
                        <c:v>5.6429999999999998</c:v>
                      </c:pt>
                      <c:pt idx="3432">
                        <c:v>5.6429999999999998</c:v>
                      </c:pt>
                      <c:pt idx="3433">
                        <c:v>5.6429999999999998</c:v>
                      </c:pt>
                      <c:pt idx="3434">
                        <c:v>5.6429999999999998</c:v>
                      </c:pt>
                      <c:pt idx="3435">
                        <c:v>5.7830000000000004</c:v>
                      </c:pt>
                      <c:pt idx="3436">
                        <c:v>5.7830000000000004</c:v>
                      </c:pt>
                      <c:pt idx="3437">
                        <c:v>5.7830000000000004</c:v>
                      </c:pt>
                      <c:pt idx="3438">
                        <c:v>5.7830000000000004</c:v>
                      </c:pt>
                      <c:pt idx="3439">
                        <c:v>5.7830000000000004</c:v>
                      </c:pt>
                      <c:pt idx="3440">
                        <c:v>5.6210000000000004</c:v>
                      </c:pt>
                      <c:pt idx="3441">
                        <c:v>5.6210000000000004</c:v>
                      </c:pt>
                      <c:pt idx="3442">
                        <c:v>5.6210000000000004</c:v>
                      </c:pt>
                      <c:pt idx="3443">
                        <c:v>5.6210000000000004</c:v>
                      </c:pt>
                      <c:pt idx="3444">
                        <c:v>5.6210000000000004</c:v>
                      </c:pt>
                      <c:pt idx="3445">
                        <c:v>5.609</c:v>
                      </c:pt>
                      <c:pt idx="3446">
                        <c:v>5.609</c:v>
                      </c:pt>
                      <c:pt idx="3447">
                        <c:v>5.609</c:v>
                      </c:pt>
                      <c:pt idx="3448">
                        <c:v>5.609</c:v>
                      </c:pt>
                      <c:pt idx="3449">
                        <c:v>5.609</c:v>
                      </c:pt>
                      <c:pt idx="3450">
                        <c:v>5.5949999999999998</c:v>
                      </c:pt>
                      <c:pt idx="3451">
                        <c:v>5.5949999999999998</c:v>
                      </c:pt>
                      <c:pt idx="3452">
                        <c:v>5.5949999999999998</c:v>
                      </c:pt>
                      <c:pt idx="3453">
                        <c:v>5.5949999999999998</c:v>
                      </c:pt>
                      <c:pt idx="3454">
                        <c:v>5.5949999999999998</c:v>
                      </c:pt>
                      <c:pt idx="3455">
                        <c:v>5.5949999999999998</c:v>
                      </c:pt>
                      <c:pt idx="3456">
                        <c:v>5.5949999999999998</c:v>
                      </c:pt>
                      <c:pt idx="3457">
                        <c:v>5.5949999999999998</c:v>
                      </c:pt>
                      <c:pt idx="3458">
                        <c:v>5.5949999999999998</c:v>
                      </c:pt>
                      <c:pt idx="3459">
                        <c:v>5.5949999999999998</c:v>
                      </c:pt>
                      <c:pt idx="3460">
                        <c:v>5.4960000000000004</c:v>
                      </c:pt>
                      <c:pt idx="3461">
                        <c:v>5.4960000000000004</c:v>
                      </c:pt>
                      <c:pt idx="3462">
                        <c:v>5.4960000000000004</c:v>
                      </c:pt>
                      <c:pt idx="3463">
                        <c:v>5.4960000000000004</c:v>
                      </c:pt>
                      <c:pt idx="3464">
                        <c:v>5.4960000000000004</c:v>
                      </c:pt>
                      <c:pt idx="3465">
                        <c:v>5.4349999999999996</c:v>
                      </c:pt>
                      <c:pt idx="3466">
                        <c:v>5.4349999999999996</c:v>
                      </c:pt>
                      <c:pt idx="3467">
                        <c:v>5.4349999999999996</c:v>
                      </c:pt>
                      <c:pt idx="3468">
                        <c:v>5.4349999999999996</c:v>
                      </c:pt>
                      <c:pt idx="3469">
                        <c:v>5.4349999999999996</c:v>
                      </c:pt>
                      <c:pt idx="3470">
                        <c:v>5.3869999999999996</c:v>
                      </c:pt>
                      <c:pt idx="3471">
                        <c:v>5.3869999999999996</c:v>
                      </c:pt>
                      <c:pt idx="3472">
                        <c:v>5.3869999999999996</c:v>
                      </c:pt>
                      <c:pt idx="3473">
                        <c:v>5.3869999999999996</c:v>
                      </c:pt>
                      <c:pt idx="3474">
                        <c:v>5.3869999999999996</c:v>
                      </c:pt>
                      <c:pt idx="3475">
                        <c:v>5.375</c:v>
                      </c:pt>
                      <c:pt idx="3476">
                        <c:v>5.375</c:v>
                      </c:pt>
                      <c:pt idx="3477">
                        <c:v>5.375</c:v>
                      </c:pt>
                      <c:pt idx="3478">
                        <c:v>5.375</c:v>
                      </c:pt>
                      <c:pt idx="3479">
                        <c:v>5.375</c:v>
                      </c:pt>
                      <c:pt idx="3480">
                        <c:v>5.4290000000000003</c:v>
                      </c:pt>
                      <c:pt idx="3481">
                        <c:v>5.4290000000000003</c:v>
                      </c:pt>
                      <c:pt idx="3482">
                        <c:v>5.4290000000000003</c:v>
                      </c:pt>
                      <c:pt idx="3483">
                        <c:v>5.4290000000000003</c:v>
                      </c:pt>
                      <c:pt idx="3484">
                        <c:v>5.4290000000000003</c:v>
                      </c:pt>
                      <c:pt idx="3485">
                        <c:v>5.3849999999999998</c:v>
                      </c:pt>
                      <c:pt idx="3486">
                        <c:v>5.3849999999999998</c:v>
                      </c:pt>
                      <c:pt idx="3487">
                        <c:v>5.3849999999999998</c:v>
                      </c:pt>
                      <c:pt idx="3488">
                        <c:v>5.3849999999999998</c:v>
                      </c:pt>
                      <c:pt idx="3489">
                        <c:v>5.3849999999999998</c:v>
                      </c:pt>
                      <c:pt idx="3490">
                        <c:v>5.4109999999999996</c:v>
                      </c:pt>
                      <c:pt idx="3491">
                        <c:v>5.4109999999999996</c:v>
                      </c:pt>
                      <c:pt idx="3492">
                        <c:v>5.4109999999999996</c:v>
                      </c:pt>
                      <c:pt idx="3493">
                        <c:v>5.4109999999999996</c:v>
                      </c:pt>
                      <c:pt idx="3494">
                        <c:v>5.4109999999999996</c:v>
                      </c:pt>
                      <c:pt idx="3495">
                        <c:v>5.367</c:v>
                      </c:pt>
                      <c:pt idx="3496">
                        <c:v>5.367</c:v>
                      </c:pt>
                      <c:pt idx="3497">
                        <c:v>5.367</c:v>
                      </c:pt>
                      <c:pt idx="3498">
                        <c:v>5.367</c:v>
                      </c:pt>
                      <c:pt idx="3499">
                        <c:v>5.367</c:v>
                      </c:pt>
                      <c:pt idx="3500">
                        <c:v>5.3310000000000004</c:v>
                      </c:pt>
                      <c:pt idx="3501">
                        <c:v>5.3310000000000004</c:v>
                      </c:pt>
                      <c:pt idx="3502">
                        <c:v>5.3310000000000004</c:v>
                      </c:pt>
                      <c:pt idx="3503">
                        <c:v>5.3310000000000004</c:v>
                      </c:pt>
                      <c:pt idx="3504">
                        <c:v>5.3310000000000004</c:v>
                      </c:pt>
                      <c:pt idx="3505">
                        <c:v>5.3339999999999996</c:v>
                      </c:pt>
                      <c:pt idx="3506">
                        <c:v>5.3339999999999996</c:v>
                      </c:pt>
                      <c:pt idx="3507">
                        <c:v>5.3339999999999996</c:v>
                      </c:pt>
                      <c:pt idx="3508">
                        <c:v>5.3339999999999996</c:v>
                      </c:pt>
                      <c:pt idx="3509">
                        <c:v>5.3339999999999996</c:v>
                      </c:pt>
                      <c:pt idx="3510">
                        <c:v>5.4550000000000001</c:v>
                      </c:pt>
                      <c:pt idx="3511">
                        <c:v>5.4550000000000001</c:v>
                      </c:pt>
                      <c:pt idx="3512">
                        <c:v>5.4550000000000001</c:v>
                      </c:pt>
                      <c:pt idx="3513">
                        <c:v>5.4550000000000001</c:v>
                      </c:pt>
                      <c:pt idx="3514">
                        <c:v>5.4550000000000001</c:v>
                      </c:pt>
                      <c:pt idx="3515">
                        <c:v>5.4009999999999998</c:v>
                      </c:pt>
                      <c:pt idx="3516">
                        <c:v>5.4009999999999998</c:v>
                      </c:pt>
                      <c:pt idx="3517">
                        <c:v>5.4009999999999998</c:v>
                      </c:pt>
                      <c:pt idx="3518">
                        <c:v>5.4009999999999998</c:v>
                      </c:pt>
                      <c:pt idx="3519">
                        <c:v>5.4009999999999998</c:v>
                      </c:pt>
                      <c:pt idx="3520">
                        <c:v>5.4550000000000001</c:v>
                      </c:pt>
                      <c:pt idx="3521">
                        <c:v>5.4550000000000001</c:v>
                      </c:pt>
                      <c:pt idx="3522">
                        <c:v>5.4550000000000001</c:v>
                      </c:pt>
                      <c:pt idx="3523">
                        <c:v>5.4550000000000001</c:v>
                      </c:pt>
                      <c:pt idx="3524">
                        <c:v>5.4550000000000001</c:v>
                      </c:pt>
                      <c:pt idx="3525">
                        <c:v>5.3579999999999997</c:v>
                      </c:pt>
                      <c:pt idx="3526">
                        <c:v>5.3579999999999997</c:v>
                      </c:pt>
                      <c:pt idx="3527">
                        <c:v>5.3579999999999997</c:v>
                      </c:pt>
                      <c:pt idx="3528">
                        <c:v>5.3579999999999997</c:v>
                      </c:pt>
                      <c:pt idx="3529">
                        <c:v>5.3579999999999997</c:v>
                      </c:pt>
                      <c:pt idx="3530">
                        <c:v>5.28</c:v>
                      </c:pt>
                      <c:pt idx="3531">
                        <c:v>5.28</c:v>
                      </c:pt>
                      <c:pt idx="3532">
                        <c:v>5.28</c:v>
                      </c:pt>
                      <c:pt idx="3533">
                        <c:v>5.28</c:v>
                      </c:pt>
                      <c:pt idx="3534">
                        <c:v>5.28</c:v>
                      </c:pt>
                      <c:pt idx="3535">
                        <c:v>5.3040000000000003</c:v>
                      </c:pt>
                      <c:pt idx="3536">
                        <c:v>5.3040000000000003</c:v>
                      </c:pt>
                      <c:pt idx="3537">
                        <c:v>5.3040000000000003</c:v>
                      </c:pt>
                      <c:pt idx="3538">
                        <c:v>5.3040000000000003</c:v>
                      </c:pt>
                      <c:pt idx="3539">
                        <c:v>5.3040000000000003</c:v>
                      </c:pt>
                      <c:pt idx="3540">
                        <c:v>5.2009999999999996</c:v>
                      </c:pt>
                      <c:pt idx="3541">
                        <c:v>5.2009999999999996</c:v>
                      </c:pt>
                      <c:pt idx="3542">
                        <c:v>5.2009999999999996</c:v>
                      </c:pt>
                      <c:pt idx="3543">
                        <c:v>5.2009999999999996</c:v>
                      </c:pt>
                      <c:pt idx="3544">
                        <c:v>5.2009999999999996</c:v>
                      </c:pt>
                      <c:pt idx="3545">
                        <c:v>5.1479999999999997</c:v>
                      </c:pt>
                      <c:pt idx="3546">
                        <c:v>5.1479999999999997</c:v>
                      </c:pt>
                      <c:pt idx="3547">
                        <c:v>5.1479999999999997</c:v>
                      </c:pt>
                      <c:pt idx="3548">
                        <c:v>5.1479999999999997</c:v>
                      </c:pt>
                      <c:pt idx="3549">
                        <c:v>5.1479999999999997</c:v>
                      </c:pt>
                      <c:pt idx="3550">
                        <c:v>5.1470000000000002</c:v>
                      </c:pt>
                      <c:pt idx="3551">
                        <c:v>5.1470000000000002</c:v>
                      </c:pt>
                      <c:pt idx="3552">
                        <c:v>5.1470000000000002</c:v>
                      </c:pt>
                      <c:pt idx="3553">
                        <c:v>5.1470000000000002</c:v>
                      </c:pt>
                      <c:pt idx="3554">
                        <c:v>5.1470000000000002</c:v>
                      </c:pt>
                      <c:pt idx="3555">
                        <c:v>5.1539999999999999</c:v>
                      </c:pt>
                      <c:pt idx="3556">
                        <c:v>5.1539999999999999</c:v>
                      </c:pt>
                      <c:pt idx="3557">
                        <c:v>5.1539999999999999</c:v>
                      </c:pt>
                      <c:pt idx="3558">
                        <c:v>5.1539999999999999</c:v>
                      </c:pt>
                      <c:pt idx="3559">
                        <c:v>5.1539999999999999</c:v>
                      </c:pt>
                      <c:pt idx="3560">
                        <c:v>5.0380000000000003</c:v>
                      </c:pt>
                      <c:pt idx="3561">
                        <c:v>5.0380000000000003</c:v>
                      </c:pt>
                      <c:pt idx="3562">
                        <c:v>5.0380000000000003</c:v>
                      </c:pt>
                      <c:pt idx="3563">
                        <c:v>5.0380000000000003</c:v>
                      </c:pt>
                      <c:pt idx="3564">
                        <c:v>5.0380000000000003</c:v>
                      </c:pt>
                      <c:pt idx="3565">
                        <c:v>5.1139999999999999</c:v>
                      </c:pt>
                      <c:pt idx="3566">
                        <c:v>5.1139999999999999</c:v>
                      </c:pt>
                      <c:pt idx="3567">
                        <c:v>5.1139999999999999</c:v>
                      </c:pt>
                      <c:pt idx="3568">
                        <c:v>5.1139999999999999</c:v>
                      </c:pt>
                      <c:pt idx="3569">
                        <c:v>5.1139999999999999</c:v>
                      </c:pt>
                      <c:pt idx="3570">
                        <c:v>5.1349999999999998</c:v>
                      </c:pt>
                      <c:pt idx="3571">
                        <c:v>5.1349999999999998</c:v>
                      </c:pt>
                      <c:pt idx="3572">
                        <c:v>5.1349999999999998</c:v>
                      </c:pt>
                      <c:pt idx="3573">
                        <c:v>5.1349999999999998</c:v>
                      </c:pt>
                      <c:pt idx="3574">
                        <c:v>5.1349999999999998</c:v>
                      </c:pt>
                      <c:pt idx="3575">
                        <c:v>5.0309999999999997</c:v>
                      </c:pt>
                      <c:pt idx="3576">
                        <c:v>5.0309999999999997</c:v>
                      </c:pt>
                      <c:pt idx="3577">
                        <c:v>5.0309999999999997</c:v>
                      </c:pt>
                      <c:pt idx="3578">
                        <c:v>5.0309999999999997</c:v>
                      </c:pt>
                      <c:pt idx="3579">
                        <c:v>5.0309999999999997</c:v>
                      </c:pt>
                      <c:pt idx="3580">
                        <c:v>5.0049999999999999</c:v>
                      </c:pt>
                      <c:pt idx="3581">
                        <c:v>5.0049999999999999</c:v>
                      </c:pt>
                      <c:pt idx="3582">
                        <c:v>5.0049999999999999</c:v>
                      </c:pt>
                      <c:pt idx="3583">
                        <c:v>5.0049999999999999</c:v>
                      </c:pt>
                      <c:pt idx="3584">
                        <c:v>5.0049999999999999</c:v>
                      </c:pt>
                      <c:pt idx="3585">
                        <c:v>5.04</c:v>
                      </c:pt>
                      <c:pt idx="3586">
                        <c:v>5.04</c:v>
                      </c:pt>
                      <c:pt idx="3587">
                        <c:v>5.04</c:v>
                      </c:pt>
                      <c:pt idx="3588">
                        <c:v>5.04</c:v>
                      </c:pt>
                      <c:pt idx="3589">
                        <c:v>5.04</c:v>
                      </c:pt>
                      <c:pt idx="3590">
                        <c:v>4.8680000000000003</c:v>
                      </c:pt>
                      <c:pt idx="3591">
                        <c:v>4.8680000000000003</c:v>
                      </c:pt>
                      <c:pt idx="3592">
                        <c:v>4.8680000000000003</c:v>
                      </c:pt>
                      <c:pt idx="3593">
                        <c:v>4.8680000000000003</c:v>
                      </c:pt>
                      <c:pt idx="3594">
                        <c:v>4.8680000000000003</c:v>
                      </c:pt>
                      <c:pt idx="3595">
                        <c:v>4.74</c:v>
                      </c:pt>
                      <c:pt idx="3596">
                        <c:v>4.74</c:v>
                      </c:pt>
                      <c:pt idx="3597">
                        <c:v>4.74</c:v>
                      </c:pt>
                      <c:pt idx="3598">
                        <c:v>4.74</c:v>
                      </c:pt>
                      <c:pt idx="3599">
                        <c:v>4.74</c:v>
                      </c:pt>
                      <c:pt idx="3600">
                        <c:v>4.6150000000000002</c:v>
                      </c:pt>
                      <c:pt idx="3601">
                        <c:v>4.6150000000000002</c:v>
                      </c:pt>
                      <c:pt idx="3602">
                        <c:v>4.6150000000000002</c:v>
                      </c:pt>
                      <c:pt idx="3603">
                        <c:v>4.6150000000000002</c:v>
                      </c:pt>
                      <c:pt idx="3604">
                        <c:v>4.6150000000000002</c:v>
                      </c:pt>
                      <c:pt idx="3605">
                        <c:v>4.4260000000000002</c:v>
                      </c:pt>
                      <c:pt idx="3606">
                        <c:v>4.4260000000000002</c:v>
                      </c:pt>
                      <c:pt idx="3607">
                        <c:v>4.4260000000000002</c:v>
                      </c:pt>
                      <c:pt idx="3608">
                        <c:v>4.4260000000000002</c:v>
                      </c:pt>
                      <c:pt idx="3609">
                        <c:v>4.4260000000000002</c:v>
                      </c:pt>
                      <c:pt idx="3610">
                        <c:v>4.423</c:v>
                      </c:pt>
                      <c:pt idx="3611">
                        <c:v>4.423</c:v>
                      </c:pt>
                      <c:pt idx="3612">
                        <c:v>4.423</c:v>
                      </c:pt>
                      <c:pt idx="3613">
                        <c:v>4.423</c:v>
                      </c:pt>
                      <c:pt idx="3614">
                        <c:v>4.423</c:v>
                      </c:pt>
                      <c:pt idx="3615">
                        <c:v>4.4359999999999999</c:v>
                      </c:pt>
                      <c:pt idx="3616">
                        <c:v>4.4359999999999999</c:v>
                      </c:pt>
                      <c:pt idx="3617">
                        <c:v>4.4359999999999999</c:v>
                      </c:pt>
                      <c:pt idx="3618">
                        <c:v>4.4359999999999999</c:v>
                      </c:pt>
                      <c:pt idx="3619">
                        <c:v>4.4359999999999999</c:v>
                      </c:pt>
                      <c:pt idx="3620">
                        <c:v>4.492</c:v>
                      </c:pt>
                      <c:pt idx="3621">
                        <c:v>4.492</c:v>
                      </c:pt>
                      <c:pt idx="3622">
                        <c:v>4.492</c:v>
                      </c:pt>
                      <c:pt idx="3623">
                        <c:v>4.492</c:v>
                      </c:pt>
                      <c:pt idx="3624">
                        <c:v>4.492</c:v>
                      </c:pt>
                      <c:pt idx="3625">
                        <c:v>4.4509999999999996</c:v>
                      </c:pt>
                      <c:pt idx="3626">
                        <c:v>4.4509999999999996</c:v>
                      </c:pt>
                      <c:pt idx="3627">
                        <c:v>4.4509999999999996</c:v>
                      </c:pt>
                      <c:pt idx="3628">
                        <c:v>4.4509999999999996</c:v>
                      </c:pt>
                      <c:pt idx="3629">
                        <c:v>4.4509999999999996</c:v>
                      </c:pt>
                      <c:pt idx="3630">
                        <c:v>4.5359999999999996</c:v>
                      </c:pt>
                      <c:pt idx="3631">
                        <c:v>4.5359999999999996</c:v>
                      </c:pt>
                      <c:pt idx="3632">
                        <c:v>4.5359999999999996</c:v>
                      </c:pt>
                      <c:pt idx="3633">
                        <c:v>4.5359999999999996</c:v>
                      </c:pt>
                      <c:pt idx="3634">
                        <c:v>4.5359999999999996</c:v>
                      </c:pt>
                      <c:pt idx="3635">
                        <c:v>4.5179999999999998</c:v>
                      </c:pt>
                      <c:pt idx="3636">
                        <c:v>4.5179999999999998</c:v>
                      </c:pt>
                      <c:pt idx="3637">
                        <c:v>4.5179999999999998</c:v>
                      </c:pt>
                      <c:pt idx="3638">
                        <c:v>4.5179999999999998</c:v>
                      </c:pt>
                      <c:pt idx="3639">
                        <c:v>4.5179999999999998</c:v>
                      </c:pt>
                      <c:pt idx="3640">
                        <c:v>4.4139999999999997</c:v>
                      </c:pt>
                      <c:pt idx="3641">
                        <c:v>4.4139999999999997</c:v>
                      </c:pt>
                      <c:pt idx="3642">
                        <c:v>4.4139999999999997</c:v>
                      </c:pt>
                      <c:pt idx="3643">
                        <c:v>4.4139999999999997</c:v>
                      </c:pt>
                      <c:pt idx="3644">
                        <c:v>4.4139999999999997</c:v>
                      </c:pt>
                      <c:pt idx="3645">
                        <c:v>4.157</c:v>
                      </c:pt>
                      <c:pt idx="3646">
                        <c:v>4.157</c:v>
                      </c:pt>
                      <c:pt idx="3647">
                        <c:v>4.157</c:v>
                      </c:pt>
                      <c:pt idx="3648">
                        <c:v>4.157</c:v>
                      </c:pt>
                      <c:pt idx="3649">
                        <c:v>4.157</c:v>
                      </c:pt>
                      <c:pt idx="3650">
                        <c:v>4.0739999999999998</c:v>
                      </c:pt>
                      <c:pt idx="3651">
                        <c:v>4.0739999999999998</c:v>
                      </c:pt>
                      <c:pt idx="3652">
                        <c:v>4.0739999999999998</c:v>
                      </c:pt>
                      <c:pt idx="3653">
                        <c:v>4.0739999999999998</c:v>
                      </c:pt>
                      <c:pt idx="3654">
                        <c:v>4.0739999999999998</c:v>
                      </c:pt>
                      <c:pt idx="3655">
                        <c:v>3.952</c:v>
                      </c:pt>
                      <c:pt idx="3656">
                        <c:v>3.952</c:v>
                      </c:pt>
                      <c:pt idx="3657">
                        <c:v>3.952</c:v>
                      </c:pt>
                      <c:pt idx="3658">
                        <c:v>3.952</c:v>
                      </c:pt>
                      <c:pt idx="3659">
                        <c:v>3.952</c:v>
                      </c:pt>
                      <c:pt idx="3660">
                        <c:v>3.7589999999999999</c:v>
                      </c:pt>
                      <c:pt idx="3661">
                        <c:v>3.7589999999999999</c:v>
                      </c:pt>
                      <c:pt idx="3662">
                        <c:v>3.7589999999999999</c:v>
                      </c:pt>
                      <c:pt idx="3663">
                        <c:v>3.7589999999999999</c:v>
                      </c:pt>
                      <c:pt idx="3664">
                        <c:v>3.7589999999999999</c:v>
                      </c:pt>
                      <c:pt idx="3665">
                        <c:v>1.75</c:v>
                      </c:pt>
                      <c:pt idx="3666">
                        <c:v>1.75</c:v>
                      </c:pt>
                      <c:pt idx="3667">
                        <c:v>1.75</c:v>
                      </c:pt>
                      <c:pt idx="3668">
                        <c:v>1.75</c:v>
                      </c:pt>
                      <c:pt idx="3669">
                        <c:v>1.75</c:v>
                      </c:pt>
                      <c:pt idx="3670">
                        <c:v>1.61</c:v>
                      </c:pt>
                      <c:pt idx="3671">
                        <c:v>1.61</c:v>
                      </c:pt>
                      <c:pt idx="3672">
                        <c:v>1.61</c:v>
                      </c:pt>
                      <c:pt idx="3673">
                        <c:v>1.61</c:v>
                      </c:pt>
                      <c:pt idx="3674">
                        <c:v>1.61</c:v>
                      </c:pt>
                      <c:pt idx="3675">
                        <c:v>1.3120000000000001</c:v>
                      </c:pt>
                      <c:pt idx="3676">
                        <c:v>1.3120000000000001</c:v>
                      </c:pt>
                      <c:pt idx="3677">
                        <c:v>1.3120000000000001</c:v>
                      </c:pt>
                      <c:pt idx="3678">
                        <c:v>1.3120000000000001</c:v>
                      </c:pt>
                      <c:pt idx="3679">
                        <c:v>1.3120000000000001</c:v>
                      </c:pt>
                      <c:pt idx="3680">
                        <c:v>1.2509999999999999</c:v>
                      </c:pt>
                      <c:pt idx="3681">
                        <c:v>1.2509999999999999</c:v>
                      </c:pt>
                      <c:pt idx="3682">
                        <c:v>1.2509999999999999</c:v>
                      </c:pt>
                      <c:pt idx="3683">
                        <c:v>1.2509999999999999</c:v>
                      </c:pt>
                      <c:pt idx="3684">
                        <c:v>1.2509999999999999</c:v>
                      </c:pt>
                      <c:pt idx="3685">
                        <c:v>0.85899999999999999</c:v>
                      </c:pt>
                      <c:pt idx="3686">
                        <c:v>0.85899999999999999</c:v>
                      </c:pt>
                      <c:pt idx="3687">
                        <c:v>0.85899999999999999</c:v>
                      </c:pt>
                      <c:pt idx="3688">
                        <c:v>0.85899999999999999</c:v>
                      </c:pt>
                      <c:pt idx="3689">
                        <c:v>0.85899999999999999</c:v>
                      </c:pt>
                      <c:pt idx="3690">
                        <c:v>0.75600000000000001</c:v>
                      </c:pt>
                      <c:pt idx="3691">
                        <c:v>0.75600000000000001</c:v>
                      </c:pt>
                      <c:pt idx="3692">
                        <c:v>0.75600000000000001</c:v>
                      </c:pt>
                      <c:pt idx="3693">
                        <c:v>0.75600000000000001</c:v>
                      </c:pt>
                      <c:pt idx="3694">
                        <c:v>0.75600000000000001</c:v>
                      </c:pt>
                      <c:pt idx="3695">
                        <c:v>0.70499999999999996</c:v>
                      </c:pt>
                      <c:pt idx="3696">
                        <c:v>0.70499999999999996</c:v>
                      </c:pt>
                      <c:pt idx="3697">
                        <c:v>0.70499999999999996</c:v>
                      </c:pt>
                      <c:pt idx="3698">
                        <c:v>0.70499999999999996</c:v>
                      </c:pt>
                      <c:pt idx="3699">
                        <c:v>0.70499999999999996</c:v>
                      </c:pt>
                      <c:pt idx="3700">
                        <c:v>0.746</c:v>
                      </c:pt>
                      <c:pt idx="3701">
                        <c:v>0.746</c:v>
                      </c:pt>
                      <c:pt idx="3702">
                        <c:v>0.746</c:v>
                      </c:pt>
                      <c:pt idx="3703">
                        <c:v>0.746</c:v>
                      </c:pt>
                      <c:pt idx="3704">
                        <c:v>0.746</c:v>
                      </c:pt>
                      <c:pt idx="3705">
                        <c:v>0.77500000000000002</c:v>
                      </c:pt>
                      <c:pt idx="3706">
                        <c:v>0.77500000000000002</c:v>
                      </c:pt>
                      <c:pt idx="3707">
                        <c:v>0.77500000000000002</c:v>
                      </c:pt>
                      <c:pt idx="3708">
                        <c:v>0.77500000000000002</c:v>
                      </c:pt>
                      <c:pt idx="3709">
                        <c:v>0.77500000000000002</c:v>
                      </c:pt>
                      <c:pt idx="3710">
                        <c:v>0.76500000000000001</c:v>
                      </c:pt>
                      <c:pt idx="3711">
                        <c:v>0.76500000000000001</c:v>
                      </c:pt>
                      <c:pt idx="3712">
                        <c:v>0.76500000000000001</c:v>
                      </c:pt>
                      <c:pt idx="3713">
                        <c:v>0.76500000000000001</c:v>
                      </c:pt>
                      <c:pt idx="3714">
                        <c:v>0.76500000000000001</c:v>
                      </c:pt>
                      <c:pt idx="3715">
                        <c:v>0.73099999999999998</c:v>
                      </c:pt>
                      <c:pt idx="3716">
                        <c:v>0.73099999999999998</c:v>
                      </c:pt>
                      <c:pt idx="3717">
                        <c:v>0.73099999999999998</c:v>
                      </c:pt>
                      <c:pt idx="3718">
                        <c:v>0.73099999999999998</c:v>
                      </c:pt>
                      <c:pt idx="3719">
                        <c:v>0.73099999999999998</c:v>
                      </c:pt>
                      <c:pt idx="3720">
                        <c:v>0.61199999999999999</c:v>
                      </c:pt>
                      <c:pt idx="3721">
                        <c:v>0.61199999999999999</c:v>
                      </c:pt>
                      <c:pt idx="3722">
                        <c:v>0.61199999999999999</c:v>
                      </c:pt>
                      <c:pt idx="3723">
                        <c:v>0.61199999999999999</c:v>
                      </c:pt>
                      <c:pt idx="3724">
                        <c:v>0.61199999999999999</c:v>
                      </c:pt>
                      <c:pt idx="3725">
                        <c:v>0.56200000000000006</c:v>
                      </c:pt>
                      <c:pt idx="3726">
                        <c:v>0.56200000000000006</c:v>
                      </c:pt>
                      <c:pt idx="3727">
                        <c:v>0.56200000000000006</c:v>
                      </c:pt>
                      <c:pt idx="3728">
                        <c:v>0.56200000000000006</c:v>
                      </c:pt>
                      <c:pt idx="3729">
                        <c:v>0.56200000000000006</c:v>
                      </c:pt>
                      <c:pt idx="3730">
                        <c:v>0.60899999999999999</c:v>
                      </c:pt>
                      <c:pt idx="3731">
                        <c:v>0.60899999999999999</c:v>
                      </c:pt>
                      <c:pt idx="3732">
                        <c:v>0.60899999999999999</c:v>
                      </c:pt>
                      <c:pt idx="3733">
                        <c:v>0.60899999999999999</c:v>
                      </c:pt>
                      <c:pt idx="3734">
                        <c:v>0.60899999999999999</c:v>
                      </c:pt>
                      <c:pt idx="3735">
                        <c:v>0.39400000000000002</c:v>
                      </c:pt>
                      <c:pt idx="3736">
                        <c:v>0.39400000000000002</c:v>
                      </c:pt>
                      <c:pt idx="3737">
                        <c:v>0.39400000000000002</c:v>
                      </c:pt>
                      <c:pt idx="3738">
                        <c:v>0.39400000000000002</c:v>
                      </c:pt>
                      <c:pt idx="3739">
                        <c:v>0.39400000000000002</c:v>
                      </c:pt>
                      <c:pt idx="3740">
                        <c:v>0.42599999999999999</c:v>
                      </c:pt>
                      <c:pt idx="3741">
                        <c:v>0.42599999999999999</c:v>
                      </c:pt>
                      <c:pt idx="3742">
                        <c:v>0.42599999999999999</c:v>
                      </c:pt>
                      <c:pt idx="3743">
                        <c:v>0.42599999999999999</c:v>
                      </c:pt>
                      <c:pt idx="3744">
                        <c:v>0.42599999999999999</c:v>
                      </c:pt>
                      <c:pt idx="3745">
                        <c:v>0.435</c:v>
                      </c:pt>
                      <c:pt idx="3746">
                        <c:v>0.435</c:v>
                      </c:pt>
                      <c:pt idx="3747">
                        <c:v>0.435</c:v>
                      </c:pt>
                      <c:pt idx="3748">
                        <c:v>0.435</c:v>
                      </c:pt>
                      <c:pt idx="3749">
                        <c:v>0.435</c:v>
                      </c:pt>
                      <c:pt idx="3750">
                        <c:v>0.57499999999999996</c:v>
                      </c:pt>
                      <c:pt idx="3751">
                        <c:v>0.57499999999999996</c:v>
                      </c:pt>
                      <c:pt idx="3752">
                        <c:v>0.57499999999999996</c:v>
                      </c:pt>
                      <c:pt idx="3753">
                        <c:v>0.57499999999999996</c:v>
                      </c:pt>
                      <c:pt idx="3754">
                        <c:v>0.57499999999999996</c:v>
                      </c:pt>
                      <c:pt idx="3755">
                        <c:v>0.48399999999999999</c:v>
                      </c:pt>
                      <c:pt idx="3756">
                        <c:v>0.48399999999999999</c:v>
                      </c:pt>
                      <c:pt idx="3757">
                        <c:v>0.48399999999999999</c:v>
                      </c:pt>
                      <c:pt idx="3758">
                        <c:v>0.48399999999999999</c:v>
                      </c:pt>
                      <c:pt idx="3759">
                        <c:v>0.48399999999999999</c:v>
                      </c:pt>
                      <c:pt idx="3760">
                        <c:v>0.443</c:v>
                      </c:pt>
                      <c:pt idx="3761">
                        <c:v>0.443</c:v>
                      </c:pt>
                      <c:pt idx="3762">
                        <c:v>0.443</c:v>
                      </c:pt>
                      <c:pt idx="3763">
                        <c:v>0.443</c:v>
                      </c:pt>
                      <c:pt idx="3764">
                        <c:v>0.443</c:v>
                      </c:pt>
                      <c:pt idx="3765">
                        <c:v>0.45600000000000002</c:v>
                      </c:pt>
                      <c:pt idx="3766">
                        <c:v>0.45600000000000002</c:v>
                      </c:pt>
                      <c:pt idx="3767">
                        <c:v>0.45600000000000002</c:v>
                      </c:pt>
                      <c:pt idx="3768">
                        <c:v>0.45600000000000002</c:v>
                      </c:pt>
                      <c:pt idx="3769">
                        <c:v>0.45600000000000002</c:v>
                      </c:pt>
                      <c:pt idx="3770">
                        <c:v>0.57399999999999995</c:v>
                      </c:pt>
                      <c:pt idx="3771">
                        <c:v>0.57399999999999995</c:v>
                      </c:pt>
                      <c:pt idx="3772">
                        <c:v>0.57399999999999995</c:v>
                      </c:pt>
                      <c:pt idx="3773">
                        <c:v>0.57399999999999995</c:v>
                      </c:pt>
                      <c:pt idx="3774">
                        <c:v>0.57399999999999995</c:v>
                      </c:pt>
                      <c:pt idx="3775">
                        <c:v>0.51800000000000002</c:v>
                      </c:pt>
                      <c:pt idx="3776">
                        <c:v>0.51800000000000002</c:v>
                      </c:pt>
                      <c:pt idx="3777">
                        <c:v>0.51800000000000002</c:v>
                      </c:pt>
                      <c:pt idx="3778">
                        <c:v>0.51800000000000002</c:v>
                      </c:pt>
                      <c:pt idx="3779">
                        <c:v>0.51800000000000002</c:v>
                      </c:pt>
                      <c:pt idx="3780">
                        <c:v>0.52500000000000002</c:v>
                      </c:pt>
                      <c:pt idx="3781">
                        <c:v>0.52500000000000002</c:v>
                      </c:pt>
                      <c:pt idx="3782">
                        <c:v>0.52500000000000002</c:v>
                      </c:pt>
                      <c:pt idx="3783">
                        <c:v>0.52500000000000002</c:v>
                      </c:pt>
                      <c:pt idx="3784">
                        <c:v>0.52500000000000002</c:v>
                      </c:pt>
                      <c:pt idx="3785">
                        <c:v>0.51900000000000002</c:v>
                      </c:pt>
                      <c:pt idx="3786">
                        <c:v>0.51900000000000002</c:v>
                      </c:pt>
                      <c:pt idx="3787">
                        <c:v>0.51900000000000002</c:v>
                      </c:pt>
                      <c:pt idx="3788">
                        <c:v>0.51900000000000002</c:v>
                      </c:pt>
                      <c:pt idx="3789">
                        <c:v>0.51900000000000002</c:v>
                      </c:pt>
                      <c:pt idx="3790">
                        <c:v>0.621</c:v>
                      </c:pt>
                      <c:pt idx="3791">
                        <c:v>0.621</c:v>
                      </c:pt>
                      <c:pt idx="3792">
                        <c:v>0.621</c:v>
                      </c:pt>
                      <c:pt idx="3793">
                        <c:v>0.621</c:v>
                      </c:pt>
                      <c:pt idx="3794">
                        <c:v>0.621</c:v>
                      </c:pt>
                      <c:pt idx="3795">
                        <c:v>0.69199999999999995</c:v>
                      </c:pt>
                      <c:pt idx="3796">
                        <c:v>0.69199999999999995</c:v>
                      </c:pt>
                      <c:pt idx="3797">
                        <c:v>0.69199999999999995</c:v>
                      </c:pt>
                      <c:pt idx="3798">
                        <c:v>0.69199999999999995</c:v>
                      </c:pt>
                      <c:pt idx="3799">
                        <c:v>0.69199999999999995</c:v>
                      </c:pt>
                      <c:pt idx="3800">
                        <c:v>0.69599999999999995</c:v>
                      </c:pt>
                      <c:pt idx="3801">
                        <c:v>0.69599999999999995</c:v>
                      </c:pt>
                      <c:pt idx="3802">
                        <c:v>0.69599999999999995</c:v>
                      </c:pt>
                      <c:pt idx="3803">
                        <c:v>0.69599999999999995</c:v>
                      </c:pt>
                      <c:pt idx="3804">
                        <c:v>0.69599999999999995</c:v>
                      </c:pt>
                      <c:pt idx="3805">
                        <c:v>0.67600000000000005</c:v>
                      </c:pt>
                      <c:pt idx="3806">
                        <c:v>0.67600000000000005</c:v>
                      </c:pt>
                      <c:pt idx="3807">
                        <c:v>0.67600000000000005</c:v>
                      </c:pt>
                      <c:pt idx="3808">
                        <c:v>0.67600000000000005</c:v>
                      </c:pt>
                      <c:pt idx="3809">
                        <c:v>0.67600000000000005</c:v>
                      </c:pt>
                      <c:pt idx="3810">
                        <c:v>0.71799999999999997</c:v>
                      </c:pt>
                      <c:pt idx="3811">
                        <c:v>0.71799999999999997</c:v>
                      </c:pt>
                      <c:pt idx="3812">
                        <c:v>0.71799999999999997</c:v>
                      </c:pt>
                      <c:pt idx="3813">
                        <c:v>0.71799999999999997</c:v>
                      </c:pt>
                      <c:pt idx="3814">
                        <c:v>0.71799999999999997</c:v>
                      </c:pt>
                      <c:pt idx="3815">
                        <c:v>0.70899999999999996</c:v>
                      </c:pt>
                      <c:pt idx="3816">
                        <c:v>0.70899999999999996</c:v>
                      </c:pt>
                      <c:pt idx="3817">
                        <c:v>0.70899999999999996</c:v>
                      </c:pt>
                      <c:pt idx="3818">
                        <c:v>0.70899999999999996</c:v>
                      </c:pt>
                      <c:pt idx="3819">
                        <c:v>0.70899999999999996</c:v>
                      </c:pt>
                      <c:pt idx="3820">
                        <c:v>0.73299999999999998</c:v>
                      </c:pt>
                      <c:pt idx="3821">
                        <c:v>0.73299999999999998</c:v>
                      </c:pt>
                      <c:pt idx="3822">
                        <c:v>0.73299999999999998</c:v>
                      </c:pt>
                      <c:pt idx="3823">
                        <c:v>0.73299999999999998</c:v>
                      </c:pt>
                      <c:pt idx="3824">
                        <c:v>0.73299999999999998</c:v>
                      </c:pt>
                      <c:pt idx="3825">
                        <c:v>0.73099999999999998</c:v>
                      </c:pt>
                      <c:pt idx="3826">
                        <c:v>0.73099999999999998</c:v>
                      </c:pt>
                      <c:pt idx="3827">
                        <c:v>0.73099999999999998</c:v>
                      </c:pt>
                      <c:pt idx="3828">
                        <c:v>0.73099999999999998</c:v>
                      </c:pt>
                      <c:pt idx="3829">
                        <c:v>0.73099999999999998</c:v>
                      </c:pt>
                      <c:pt idx="3830">
                        <c:v>0.755</c:v>
                      </c:pt>
                      <c:pt idx="3831">
                        <c:v>0.755</c:v>
                      </c:pt>
                      <c:pt idx="3832">
                        <c:v>0.755</c:v>
                      </c:pt>
                      <c:pt idx="3833">
                        <c:v>0.755</c:v>
                      </c:pt>
                      <c:pt idx="3834">
                        <c:v>0.755</c:v>
                      </c:pt>
                      <c:pt idx="3835">
                        <c:v>0.76200000000000001</c:v>
                      </c:pt>
                      <c:pt idx="3836">
                        <c:v>0.76200000000000001</c:v>
                      </c:pt>
                      <c:pt idx="3837">
                        <c:v>0.76200000000000001</c:v>
                      </c:pt>
                      <c:pt idx="3838">
                        <c:v>0.76200000000000001</c:v>
                      </c:pt>
                      <c:pt idx="3839">
                        <c:v>0.76200000000000001</c:v>
                      </c:pt>
                      <c:pt idx="3840">
                        <c:v>0.78200000000000003</c:v>
                      </c:pt>
                      <c:pt idx="3841">
                        <c:v>0.78200000000000003</c:v>
                      </c:pt>
                      <c:pt idx="3842">
                        <c:v>0.78200000000000003</c:v>
                      </c:pt>
                      <c:pt idx="3843">
                        <c:v>0.78200000000000003</c:v>
                      </c:pt>
                      <c:pt idx="3844">
                        <c:v>0.78200000000000003</c:v>
                      </c:pt>
                      <c:pt idx="3845">
                        <c:v>0.81</c:v>
                      </c:pt>
                      <c:pt idx="3846">
                        <c:v>0.81</c:v>
                      </c:pt>
                      <c:pt idx="3847">
                        <c:v>0.81</c:v>
                      </c:pt>
                      <c:pt idx="3848">
                        <c:v>0.81</c:v>
                      </c:pt>
                      <c:pt idx="3849">
                        <c:v>0.81</c:v>
                      </c:pt>
                      <c:pt idx="3850">
                        <c:v>0.872</c:v>
                      </c:pt>
                      <c:pt idx="3851">
                        <c:v>0.872</c:v>
                      </c:pt>
                      <c:pt idx="3852">
                        <c:v>0.872</c:v>
                      </c:pt>
                      <c:pt idx="3853">
                        <c:v>0.872</c:v>
                      </c:pt>
                      <c:pt idx="3854">
                        <c:v>0.872</c:v>
                      </c:pt>
                      <c:pt idx="3855">
                        <c:v>0.82699999999999996</c:v>
                      </c:pt>
                      <c:pt idx="3856">
                        <c:v>0.82699999999999996</c:v>
                      </c:pt>
                      <c:pt idx="3857">
                        <c:v>0.82699999999999996</c:v>
                      </c:pt>
                      <c:pt idx="3858">
                        <c:v>0.82699999999999996</c:v>
                      </c:pt>
                      <c:pt idx="3859">
                        <c:v>0.82699999999999996</c:v>
                      </c:pt>
                      <c:pt idx="3860">
                        <c:v>0.98399999999999999</c:v>
                      </c:pt>
                      <c:pt idx="3861">
                        <c:v>0.98399999999999999</c:v>
                      </c:pt>
                      <c:pt idx="3862">
                        <c:v>0.98399999999999999</c:v>
                      </c:pt>
                      <c:pt idx="3863">
                        <c:v>0.98399999999999999</c:v>
                      </c:pt>
                      <c:pt idx="3864">
                        <c:v>0.98399999999999999</c:v>
                      </c:pt>
                      <c:pt idx="3865">
                        <c:v>1.022</c:v>
                      </c:pt>
                      <c:pt idx="3866">
                        <c:v>1.022</c:v>
                      </c:pt>
                      <c:pt idx="3867">
                        <c:v>1.022</c:v>
                      </c:pt>
                      <c:pt idx="3868">
                        <c:v>1.022</c:v>
                      </c:pt>
                      <c:pt idx="3869">
                        <c:v>1.022</c:v>
                      </c:pt>
                      <c:pt idx="3870">
                        <c:v>1.115</c:v>
                      </c:pt>
                      <c:pt idx="3871">
                        <c:v>1.115</c:v>
                      </c:pt>
                      <c:pt idx="3872">
                        <c:v>1.115</c:v>
                      </c:pt>
                      <c:pt idx="3873">
                        <c:v>1.115</c:v>
                      </c:pt>
                      <c:pt idx="3874">
                        <c:v>1.115</c:v>
                      </c:pt>
                      <c:pt idx="3875">
                        <c:v>0.98</c:v>
                      </c:pt>
                      <c:pt idx="3876">
                        <c:v>0.98</c:v>
                      </c:pt>
                      <c:pt idx="3877">
                        <c:v>0.98</c:v>
                      </c:pt>
                      <c:pt idx="3878">
                        <c:v>0.98</c:v>
                      </c:pt>
                      <c:pt idx="3879">
                        <c:v>0.98</c:v>
                      </c:pt>
                      <c:pt idx="3880">
                        <c:v>1.107</c:v>
                      </c:pt>
                      <c:pt idx="3881">
                        <c:v>1.107</c:v>
                      </c:pt>
                      <c:pt idx="3882">
                        <c:v>1.107</c:v>
                      </c:pt>
                      <c:pt idx="3883">
                        <c:v>1.107</c:v>
                      </c:pt>
                      <c:pt idx="3884">
                        <c:v>1.107</c:v>
                      </c:pt>
                      <c:pt idx="3885">
                        <c:v>1.097</c:v>
                      </c:pt>
                      <c:pt idx="3886">
                        <c:v>1.097</c:v>
                      </c:pt>
                      <c:pt idx="3887">
                        <c:v>1.097</c:v>
                      </c:pt>
                      <c:pt idx="3888">
                        <c:v>1.097</c:v>
                      </c:pt>
                      <c:pt idx="3889">
                        <c:v>1.097</c:v>
                      </c:pt>
                      <c:pt idx="3890">
                        <c:v>1.105</c:v>
                      </c:pt>
                      <c:pt idx="3891">
                        <c:v>1.105</c:v>
                      </c:pt>
                      <c:pt idx="3892">
                        <c:v>1.105</c:v>
                      </c:pt>
                      <c:pt idx="3893">
                        <c:v>1.105</c:v>
                      </c:pt>
                      <c:pt idx="3894">
                        <c:v>1.105</c:v>
                      </c:pt>
                      <c:pt idx="3895">
                        <c:v>0.93400000000000005</c:v>
                      </c:pt>
                      <c:pt idx="3896">
                        <c:v>0.93400000000000005</c:v>
                      </c:pt>
                      <c:pt idx="3897">
                        <c:v>0.93400000000000005</c:v>
                      </c:pt>
                      <c:pt idx="3898">
                        <c:v>0.93400000000000005</c:v>
                      </c:pt>
                      <c:pt idx="3899">
                        <c:v>0.93400000000000005</c:v>
                      </c:pt>
                      <c:pt idx="3900">
                        <c:v>1.292</c:v>
                      </c:pt>
                      <c:pt idx="3901">
                        <c:v>1.292</c:v>
                      </c:pt>
                      <c:pt idx="3902">
                        <c:v>1.292</c:v>
                      </c:pt>
                      <c:pt idx="3903">
                        <c:v>1.292</c:v>
                      </c:pt>
                      <c:pt idx="3904">
                        <c:v>1.292</c:v>
                      </c:pt>
                      <c:pt idx="3905">
                        <c:v>1.3340000000000001</c:v>
                      </c:pt>
                      <c:pt idx="3906">
                        <c:v>1.3340000000000001</c:v>
                      </c:pt>
                      <c:pt idx="3907">
                        <c:v>1.3340000000000001</c:v>
                      </c:pt>
                      <c:pt idx="3908">
                        <c:v>1.3340000000000001</c:v>
                      </c:pt>
                      <c:pt idx="3909">
                        <c:v>1.3340000000000001</c:v>
                      </c:pt>
                      <c:pt idx="3910">
                        <c:v>1.33</c:v>
                      </c:pt>
                      <c:pt idx="3911">
                        <c:v>1.33</c:v>
                      </c:pt>
                      <c:pt idx="3912">
                        <c:v>1.33</c:v>
                      </c:pt>
                      <c:pt idx="3913">
                        <c:v>1.33</c:v>
                      </c:pt>
                      <c:pt idx="3914">
                        <c:v>1.33</c:v>
                      </c:pt>
                      <c:pt idx="3915">
                        <c:v>1.3580000000000001</c:v>
                      </c:pt>
                      <c:pt idx="3916">
                        <c:v>1.3580000000000001</c:v>
                      </c:pt>
                      <c:pt idx="3917">
                        <c:v>1.3580000000000001</c:v>
                      </c:pt>
                      <c:pt idx="3918">
                        <c:v>1.3580000000000001</c:v>
                      </c:pt>
                      <c:pt idx="3919">
                        <c:v>1.3580000000000001</c:v>
                      </c:pt>
                      <c:pt idx="3920">
                        <c:v>1.45</c:v>
                      </c:pt>
                      <c:pt idx="3921">
                        <c:v>1.45</c:v>
                      </c:pt>
                      <c:pt idx="3922">
                        <c:v>1.45</c:v>
                      </c:pt>
                      <c:pt idx="3923">
                        <c:v>1.45</c:v>
                      </c:pt>
                      <c:pt idx="3924">
                        <c:v>1.45</c:v>
                      </c:pt>
                      <c:pt idx="3925">
                        <c:v>1.81</c:v>
                      </c:pt>
                      <c:pt idx="3926">
                        <c:v>1.81</c:v>
                      </c:pt>
                      <c:pt idx="3927">
                        <c:v>1.81</c:v>
                      </c:pt>
                      <c:pt idx="3928">
                        <c:v>1.81</c:v>
                      </c:pt>
                      <c:pt idx="3929">
                        <c:v>1.81</c:v>
                      </c:pt>
                      <c:pt idx="3930">
                        <c:v>1.7949999999999999</c:v>
                      </c:pt>
                      <c:pt idx="3931">
                        <c:v>1.7949999999999999</c:v>
                      </c:pt>
                      <c:pt idx="3932">
                        <c:v>1.7949999999999999</c:v>
                      </c:pt>
                      <c:pt idx="3933">
                        <c:v>1.7949999999999999</c:v>
                      </c:pt>
                      <c:pt idx="3934">
                        <c:v>1.7949999999999999</c:v>
                      </c:pt>
                      <c:pt idx="3935">
                        <c:v>1.8169999999999999</c:v>
                      </c:pt>
                      <c:pt idx="3936">
                        <c:v>1.8169999999999999</c:v>
                      </c:pt>
                      <c:pt idx="3937">
                        <c:v>1.8169999999999999</c:v>
                      </c:pt>
                      <c:pt idx="3938">
                        <c:v>1.8169999999999999</c:v>
                      </c:pt>
                      <c:pt idx="3939">
                        <c:v>1.8169999999999999</c:v>
                      </c:pt>
                      <c:pt idx="3940">
                        <c:v>1.837</c:v>
                      </c:pt>
                      <c:pt idx="3941">
                        <c:v>1.837</c:v>
                      </c:pt>
                      <c:pt idx="3942">
                        <c:v>1.837</c:v>
                      </c:pt>
                      <c:pt idx="3943">
                        <c:v>1.837</c:v>
                      </c:pt>
                      <c:pt idx="3944">
                        <c:v>1.837</c:v>
                      </c:pt>
                      <c:pt idx="3945">
                        <c:v>2.21</c:v>
                      </c:pt>
                      <c:pt idx="3946">
                        <c:v>2.21</c:v>
                      </c:pt>
                      <c:pt idx="3947">
                        <c:v>2.21</c:v>
                      </c:pt>
                      <c:pt idx="3948">
                        <c:v>2.21</c:v>
                      </c:pt>
                      <c:pt idx="3949">
                        <c:v>2.21</c:v>
                      </c:pt>
                      <c:pt idx="3950">
                        <c:v>2.214</c:v>
                      </c:pt>
                      <c:pt idx="3951">
                        <c:v>2.214</c:v>
                      </c:pt>
                      <c:pt idx="3952">
                        <c:v>2.214</c:v>
                      </c:pt>
                      <c:pt idx="3953">
                        <c:v>2.214</c:v>
                      </c:pt>
                      <c:pt idx="3954">
                        <c:v>2.214</c:v>
                      </c:pt>
                      <c:pt idx="3955">
                        <c:v>2.2250000000000001</c:v>
                      </c:pt>
                      <c:pt idx="3956">
                        <c:v>2.2250000000000001</c:v>
                      </c:pt>
                      <c:pt idx="3957">
                        <c:v>2.2250000000000001</c:v>
                      </c:pt>
                      <c:pt idx="3958">
                        <c:v>2.2250000000000001</c:v>
                      </c:pt>
                      <c:pt idx="3959">
                        <c:v>2.2250000000000001</c:v>
                      </c:pt>
                      <c:pt idx="3960">
                        <c:v>2.2200000000000002</c:v>
                      </c:pt>
                      <c:pt idx="3961">
                        <c:v>2.2200000000000002</c:v>
                      </c:pt>
                      <c:pt idx="3962">
                        <c:v>2.2200000000000002</c:v>
                      </c:pt>
                      <c:pt idx="3963">
                        <c:v>2.2200000000000002</c:v>
                      </c:pt>
                      <c:pt idx="3964">
                        <c:v>2.2200000000000002</c:v>
                      </c:pt>
                      <c:pt idx="3965">
                        <c:v>2.391</c:v>
                      </c:pt>
                      <c:pt idx="3966">
                        <c:v>2.391</c:v>
                      </c:pt>
                      <c:pt idx="3967">
                        <c:v>2.391</c:v>
                      </c:pt>
                      <c:pt idx="3968">
                        <c:v>2.391</c:v>
                      </c:pt>
                      <c:pt idx="3969">
                        <c:v>2.391</c:v>
                      </c:pt>
                      <c:pt idx="3970">
                        <c:v>2.3780000000000001</c:v>
                      </c:pt>
                      <c:pt idx="3971">
                        <c:v>2.3780000000000001</c:v>
                      </c:pt>
                      <c:pt idx="3972">
                        <c:v>2.3780000000000001</c:v>
                      </c:pt>
                      <c:pt idx="3973">
                        <c:v>2.3780000000000001</c:v>
                      </c:pt>
                      <c:pt idx="3974">
                        <c:v>2.3780000000000001</c:v>
                      </c:pt>
                      <c:pt idx="3975">
                        <c:v>2.4049999999999998</c:v>
                      </c:pt>
                      <c:pt idx="3976">
                        <c:v>2.4049999999999998</c:v>
                      </c:pt>
                      <c:pt idx="3977">
                        <c:v>2.4049999999999998</c:v>
                      </c:pt>
                      <c:pt idx="3978">
                        <c:v>2.4049999999999998</c:v>
                      </c:pt>
                      <c:pt idx="3979">
                        <c:v>2.4049999999999998</c:v>
                      </c:pt>
                      <c:pt idx="3980">
                        <c:v>2.4180000000000001</c:v>
                      </c:pt>
                      <c:pt idx="3981">
                        <c:v>2.4180000000000001</c:v>
                      </c:pt>
                      <c:pt idx="3982">
                        <c:v>2.4180000000000001</c:v>
                      </c:pt>
                      <c:pt idx="3983">
                        <c:v>2.4180000000000001</c:v>
                      </c:pt>
                      <c:pt idx="3984">
                        <c:v>2.4180000000000001</c:v>
                      </c:pt>
                      <c:pt idx="3985">
                        <c:v>2.6920000000000002</c:v>
                      </c:pt>
                      <c:pt idx="3986">
                        <c:v>2.6920000000000002</c:v>
                      </c:pt>
                      <c:pt idx="3987">
                        <c:v>2.6920000000000002</c:v>
                      </c:pt>
                      <c:pt idx="3988">
                        <c:v>2.6920000000000002</c:v>
                      </c:pt>
                      <c:pt idx="3989">
                        <c:v>2.6920000000000002</c:v>
                      </c:pt>
                      <c:pt idx="3990">
                        <c:v>2.6709999999999998</c:v>
                      </c:pt>
                      <c:pt idx="3991">
                        <c:v>2.6709999999999998</c:v>
                      </c:pt>
                      <c:pt idx="3992">
                        <c:v>2.6709999999999998</c:v>
                      </c:pt>
                      <c:pt idx="3993">
                        <c:v>2.6709999999999998</c:v>
                      </c:pt>
                      <c:pt idx="3994">
                        <c:v>2.6709999999999998</c:v>
                      </c:pt>
                      <c:pt idx="3995">
                        <c:v>2.593</c:v>
                      </c:pt>
                      <c:pt idx="3996">
                        <c:v>2.593</c:v>
                      </c:pt>
                      <c:pt idx="3997">
                        <c:v>2.593</c:v>
                      </c:pt>
                      <c:pt idx="3998">
                        <c:v>2.593</c:v>
                      </c:pt>
                      <c:pt idx="3999">
                        <c:v>2.593</c:v>
                      </c:pt>
                      <c:pt idx="4000">
                        <c:v>2.6920000000000002</c:v>
                      </c:pt>
                      <c:pt idx="4001">
                        <c:v>2.6920000000000002</c:v>
                      </c:pt>
                      <c:pt idx="4002">
                        <c:v>2.6920000000000002</c:v>
                      </c:pt>
                      <c:pt idx="4003">
                        <c:v>2.6920000000000002</c:v>
                      </c:pt>
                      <c:pt idx="4004">
                        <c:v>2.6920000000000002</c:v>
                      </c:pt>
                      <c:pt idx="4005">
                        <c:v>2.7160000000000002</c:v>
                      </c:pt>
                      <c:pt idx="4006">
                        <c:v>2.7160000000000002</c:v>
                      </c:pt>
                      <c:pt idx="4007">
                        <c:v>2.7160000000000002</c:v>
                      </c:pt>
                      <c:pt idx="4008">
                        <c:v>2.7160000000000002</c:v>
                      </c:pt>
                      <c:pt idx="4009">
                        <c:v>2.7160000000000002</c:v>
                      </c:pt>
                      <c:pt idx="4010">
                        <c:v>2.8690000000000002</c:v>
                      </c:pt>
                      <c:pt idx="4011">
                        <c:v>2.8690000000000002</c:v>
                      </c:pt>
                      <c:pt idx="4012">
                        <c:v>2.8690000000000002</c:v>
                      </c:pt>
                      <c:pt idx="4013">
                        <c:v>2.8690000000000002</c:v>
                      </c:pt>
                      <c:pt idx="4014">
                        <c:v>2.8690000000000002</c:v>
                      </c:pt>
                      <c:pt idx="4015">
                        <c:v>2.847</c:v>
                      </c:pt>
                      <c:pt idx="4016">
                        <c:v>2.847</c:v>
                      </c:pt>
                      <c:pt idx="4017">
                        <c:v>2.847</c:v>
                      </c:pt>
                      <c:pt idx="4018">
                        <c:v>2.847</c:v>
                      </c:pt>
                      <c:pt idx="4019">
                        <c:v>2.847</c:v>
                      </c:pt>
                      <c:pt idx="4020">
                        <c:v>2.8679999999999999</c:v>
                      </c:pt>
                      <c:pt idx="4021">
                        <c:v>2.8679999999999999</c:v>
                      </c:pt>
                      <c:pt idx="4022">
                        <c:v>2.8679999999999999</c:v>
                      </c:pt>
                      <c:pt idx="4023">
                        <c:v>2.8679999999999999</c:v>
                      </c:pt>
                      <c:pt idx="4024">
                        <c:v>2.8679999999999999</c:v>
                      </c:pt>
                      <c:pt idx="4025">
                        <c:v>2.8439999999999999</c:v>
                      </c:pt>
                      <c:pt idx="4026">
                        <c:v>2.8439999999999999</c:v>
                      </c:pt>
                      <c:pt idx="4027">
                        <c:v>2.8439999999999999</c:v>
                      </c:pt>
                      <c:pt idx="4028">
                        <c:v>2.8439999999999999</c:v>
                      </c:pt>
                      <c:pt idx="4029">
                        <c:v>2.8439999999999999</c:v>
                      </c:pt>
                      <c:pt idx="4030">
                        <c:v>3.0710000000000002</c:v>
                      </c:pt>
                      <c:pt idx="4031">
                        <c:v>3.0710000000000002</c:v>
                      </c:pt>
                      <c:pt idx="4032">
                        <c:v>3.0710000000000002</c:v>
                      </c:pt>
                      <c:pt idx="4033">
                        <c:v>3.0710000000000002</c:v>
                      </c:pt>
                      <c:pt idx="4034">
                        <c:v>3.0710000000000002</c:v>
                      </c:pt>
                      <c:pt idx="4035">
                        <c:v>3.1150000000000002</c:v>
                      </c:pt>
                      <c:pt idx="4036">
                        <c:v>3.1150000000000002</c:v>
                      </c:pt>
                      <c:pt idx="4037">
                        <c:v>3.1150000000000002</c:v>
                      </c:pt>
                      <c:pt idx="4038">
                        <c:v>3.1150000000000002</c:v>
                      </c:pt>
                      <c:pt idx="4039">
                        <c:v>3.1150000000000002</c:v>
                      </c:pt>
                      <c:pt idx="4040">
                        <c:v>3.1240000000000001</c:v>
                      </c:pt>
                      <c:pt idx="4041">
                        <c:v>3.1240000000000001</c:v>
                      </c:pt>
                      <c:pt idx="4042">
                        <c:v>3.1240000000000001</c:v>
                      </c:pt>
                      <c:pt idx="4043">
                        <c:v>3.1240000000000001</c:v>
                      </c:pt>
                      <c:pt idx="4044">
                        <c:v>3.1240000000000001</c:v>
                      </c:pt>
                      <c:pt idx="4045">
                        <c:v>3.1579999999999999</c:v>
                      </c:pt>
                      <c:pt idx="4046">
                        <c:v>3.1579999999999999</c:v>
                      </c:pt>
                      <c:pt idx="4047">
                        <c:v>3.1579999999999999</c:v>
                      </c:pt>
                      <c:pt idx="4048">
                        <c:v>3.1579999999999999</c:v>
                      </c:pt>
                      <c:pt idx="4049">
                        <c:v>3.1579999999999999</c:v>
                      </c:pt>
                      <c:pt idx="4050">
                        <c:v>3.1549999999999998</c:v>
                      </c:pt>
                      <c:pt idx="4051">
                        <c:v>3.1549999999999998</c:v>
                      </c:pt>
                      <c:pt idx="4052">
                        <c:v>3.1549999999999998</c:v>
                      </c:pt>
                      <c:pt idx="4053">
                        <c:v>3.1549999999999998</c:v>
                      </c:pt>
                      <c:pt idx="4054">
                        <c:v>3.1549999999999998</c:v>
                      </c:pt>
                      <c:pt idx="4055">
                        <c:v>3.4430000000000001</c:v>
                      </c:pt>
                      <c:pt idx="4056">
                        <c:v>3.4430000000000001</c:v>
                      </c:pt>
                      <c:pt idx="4057">
                        <c:v>3.4430000000000001</c:v>
                      </c:pt>
                      <c:pt idx="4058">
                        <c:v>3.4430000000000001</c:v>
                      </c:pt>
                      <c:pt idx="4059">
                        <c:v>3.4430000000000001</c:v>
                      </c:pt>
                      <c:pt idx="4060">
                        <c:v>3.3919999999999999</c:v>
                      </c:pt>
                      <c:pt idx="4061">
                        <c:v>3.3919999999999999</c:v>
                      </c:pt>
                      <c:pt idx="4062">
                        <c:v>3.3919999999999999</c:v>
                      </c:pt>
                      <c:pt idx="4063">
                        <c:v>3.3919999999999999</c:v>
                      </c:pt>
                      <c:pt idx="4064">
                        <c:v>3.3919999999999999</c:v>
                      </c:pt>
                      <c:pt idx="4065">
                        <c:v>3.3839999999999999</c:v>
                      </c:pt>
                      <c:pt idx="4066">
                        <c:v>3.3839999999999999</c:v>
                      </c:pt>
                      <c:pt idx="4067">
                        <c:v>3.3839999999999999</c:v>
                      </c:pt>
                      <c:pt idx="4068">
                        <c:v>3.3839999999999999</c:v>
                      </c:pt>
                      <c:pt idx="4069">
                        <c:v>3.3839999999999999</c:v>
                      </c:pt>
                      <c:pt idx="4070">
                        <c:v>3.399</c:v>
                      </c:pt>
                      <c:pt idx="4071">
                        <c:v>3.399</c:v>
                      </c:pt>
                      <c:pt idx="4072">
                        <c:v>3.399</c:v>
                      </c:pt>
                      <c:pt idx="4073">
                        <c:v>3.399</c:v>
                      </c:pt>
                      <c:pt idx="4074">
                        <c:v>3.399</c:v>
                      </c:pt>
                      <c:pt idx="4075">
                        <c:v>3.593</c:v>
                      </c:pt>
                      <c:pt idx="4076">
                        <c:v>3.593</c:v>
                      </c:pt>
                      <c:pt idx="4077">
                        <c:v>3.593</c:v>
                      </c:pt>
                      <c:pt idx="4078">
                        <c:v>3.593</c:v>
                      </c:pt>
                      <c:pt idx="4079">
                        <c:v>3.593</c:v>
                      </c:pt>
                      <c:pt idx="4080">
                        <c:v>3.601</c:v>
                      </c:pt>
                      <c:pt idx="4081">
                        <c:v>3.601</c:v>
                      </c:pt>
                      <c:pt idx="4082">
                        <c:v>3.601</c:v>
                      </c:pt>
                      <c:pt idx="4083">
                        <c:v>3.601</c:v>
                      </c:pt>
                      <c:pt idx="4084">
                        <c:v>3.601</c:v>
                      </c:pt>
                      <c:pt idx="4085">
                        <c:v>3.6579999999999999</c:v>
                      </c:pt>
                      <c:pt idx="4086">
                        <c:v>3.6579999999999999</c:v>
                      </c:pt>
                      <c:pt idx="4087">
                        <c:v>3.6579999999999999</c:v>
                      </c:pt>
                      <c:pt idx="4088">
                        <c:v>3.6579999999999999</c:v>
                      </c:pt>
                      <c:pt idx="4089">
                        <c:v>3.6579999999999999</c:v>
                      </c:pt>
                      <c:pt idx="4090">
                        <c:v>3.6389999999999998</c:v>
                      </c:pt>
                      <c:pt idx="4091">
                        <c:v>3.6389999999999998</c:v>
                      </c:pt>
                      <c:pt idx="4092">
                        <c:v>3.6389999999999998</c:v>
                      </c:pt>
                      <c:pt idx="4093">
                        <c:v>3.6389999999999998</c:v>
                      </c:pt>
                      <c:pt idx="4094">
                        <c:v>3.6389999999999998</c:v>
                      </c:pt>
                      <c:pt idx="4095">
                        <c:v>3.8660000000000001</c:v>
                      </c:pt>
                      <c:pt idx="4096">
                        <c:v>3.8660000000000001</c:v>
                      </c:pt>
                      <c:pt idx="4097">
                        <c:v>3.8660000000000001</c:v>
                      </c:pt>
                      <c:pt idx="4098">
                        <c:v>3.8660000000000001</c:v>
                      </c:pt>
                      <c:pt idx="4099">
                        <c:v>3.8660000000000001</c:v>
                      </c:pt>
                      <c:pt idx="4100">
                        <c:v>3.9180000000000001</c:v>
                      </c:pt>
                      <c:pt idx="4101">
                        <c:v>3.9180000000000001</c:v>
                      </c:pt>
                      <c:pt idx="4102">
                        <c:v>3.9180000000000001</c:v>
                      </c:pt>
                      <c:pt idx="4103">
                        <c:v>3.9180000000000001</c:v>
                      </c:pt>
                      <c:pt idx="4104">
                        <c:v>3.9180000000000001</c:v>
                      </c:pt>
                      <c:pt idx="4105">
                        <c:v>3.9350000000000001</c:v>
                      </c:pt>
                      <c:pt idx="4106">
                        <c:v>3.9350000000000001</c:v>
                      </c:pt>
                      <c:pt idx="4107">
                        <c:v>3.9350000000000001</c:v>
                      </c:pt>
                      <c:pt idx="4108">
                        <c:v>3.9350000000000001</c:v>
                      </c:pt>
                      <c:pt idx="4109">
                        <c:v>3.9350000000000001</c:v>
                      </c:pt>
                      <c:pt idx="4110">
                        <c:v>3.907</c:v>
                      </c:pt>
                      <c:pt idx="4111">
                        <c:v>3.907</c:v>
                      </c:pt>
                      <c:pt idx="4112">
                        <c:v>3.907</c:v>
                      </c:pt>
                      <c:pt idx="4113">
                        <c:v>3.907</c:v>
                      </c:pt>
                      <c:pt idx="4114">
                        <c:v>3.907</c:v>
                      </c:pt>
                      <c:pt idx="4115">
                        <c:v>3.952</c:v>
                      </c:pt>
                      <c:pt idx="4116">
                        <c:v>3.952</c:v>
                      </c:pt>
                      <c:pt idx="4117">
                        <c:v>3.952</c:v>
                      </c:pt>
                      <c:pt idx="4118">
                        <c:v>3.952</c:v>
                      </c:pt>
                      <c:pt idx="4119">
                        <c:v>3.952</c:v>
                      </c:pt>
                      <c:pt idx="4120">
                        <c:v>4.1970000000000001</c:v>
                      </c:pt>
                      <c:pt idx="4121">
                        <c:v>4.1970000000000001</c:v>
                      </c:pt>
                      <c:pt idx="4122">
                        <c:v>4.1970000000000001</c:v>
                      </c:pt>
                      <c:pt idx="4123">
                        <c:v>4.1970000000000001</c:v>
                      </c:pt>
                      <c:pt idx="4124">
                        <c:v>4.1970000000000001</c:v>
                      </c:pt>
                      <c:pt idx="4125">
                        <c:v>4.1710000000000003</c:v>
                      </c:pt>
                      <c:pt idx="4126">
                        <c:v>4.1710000000000003</c:v>
                      </c:pt>
                      <c:pt idx="4127">
                        <c:v>4.1710000000000003</c:v>
                      </c:pt>
                      <c:pt idx="4128">
                        <c:v>4.1710000000000003</c:v>
                      </c:pt>
                      <c:pt idx="4129">
                        <c:v>4.1710000000000003</c:v>
                      </c:pt>
                      <c:pt idx="4130">
                        <c:v>4.048</c:v>
                      </c:pt>
                      <c:pt idx="4131">
                        <c:v>4.048</c:v>
                      </c:pt>
                      <c:pt idx="4132">
                        <c:v>4.048</c:v>
                      </c:pt>
                      <c:pt idx="4133">
                        <c:v>4.048</c:v>
                      </c:pt>
                      <c:pt idx="4134">
                        <c:v>4.048</c:v>
                      </c:pt>
                      <c:pt idx="4135">
                        <c:v>4.032</c:v>
                      </c:pt>
                      <c:pt idx="4136">
                        <c:v>4.032</c:v>
                      </c:pt>
                      <c:pt idx="4137">
                        <c:v>4.032</c:v>
                      </c:pt>
                      <c:pt idx="4138">
                        <c:v>4.032</c:v>
                      </c:pt>
                      <c:pt idx="4139">
                        <c:v>4.032</c:v>
                      </c:pt>
                      <c:pt idx="4140">
                        <c:v>4.1420000000000003</c:v>
                      </c:pt>
                      <c:pt idx="4141">
                        <c:v>4.1420000000000003</c:v>
                      </c:pt>
                      <c:pt idx="4142">
                        <c:v>4.1420000000000003</c:v>
                      </c:pt>
                      <c:pt idx="4143">
                        <c:v>4.1420000000000003</c:v>
                      </c:pt>
                      <c:pt idx="4144">
                        <c:v>4.1420000000000003</c:v>
                      </c:pt>
                      <c:pt idx="4145">
                        <c:v>4.1719999999999997</c:v>
                      </c:pt>
                      <c:pt idx="4146">
                        <c:v>4.1719999999999997</c:v>
                      </c:pt>
                      <c:pt idx="4147">
                        <c:v>4.1719999999999997</c:v>
                      </c:pt>
                      <c:pt idx="4148">
                        <c:v>4.1719999999999997</c:v>
                      </c:pt>
                      <c:pt idx="4149">
                        <c:v>4.1719999999999997</c:v>
                      </c:pt>
                      <c:pt idx="4150">
                        <c:v>4.1689999999999996</c:v>
                      </c:pt>
                      <c:pt idx="4151">
                        <c:v>4.1689999999999996</c:v>
                      </c:pt>
                      <c:pt idx="4152">
                        <c:v>4.1689999999999996</c:v>
                      </c:pt>
                      <c:pt idx="4153">
                        <c:v>4.1689999999999996</c:v>
                      </c:pt>
                      <c:pt idx="4154">
                        <c:v>4.1689999999999996</c:v>
                      </c:pt>
                      <c:pt idx="4155">
                        <c:v>4.1360000000000001</c:v>
                      </c:pt>
                      <c:pt idx="4156">
                        <c:v>4.1360000000000001</c:v>
                      </c:pt>
                      <c:pt idx="4157">
                        <c:v>4.1360000000000001</c:v>
                      </c:pt>
                      <c:pt idx="4158">
                        <c:v>4.1360000000000001</c:v>
                      </c:pt>
                      <c:pt idx="4159">
                        <c:v>4.1360000000000001</c:v>
                      </c:pt>
                      <c:pt idx="4160">
                        <c:v>4.34</c:v>
                      </c:pt>
                      <c:pt idx="4161">
                        <c:v>4.34</c:v>
                      </c:pt>
                      <c:pt idx="4162">
                        <c:v>4.34</c:v>
                      </c:pt>
                      <c:pt idx="4163">
                        <c:v>4.34</c:v>
                      </c:pt>
                      <c:pt idx="4164">
                        <c:v>4.34</c:v>
                      </c:pt>
                      <c:pt idx="4165">
                        <c:v>4.359</c:v>
                      </c:pt>
                      <c:pt idx="4166">
                        <c:v>4.359</c:v>
                      </c:pt>
                      <c:pt idx="4167">
                        <c:v>4.359</c:v>
                      </c:pt>
                      <c:pt idx="4168">
                        <c:v>4.359</c:v>
                      </c:pt>
                      <c:pt idx="4169">
                        <c:v>4.359</c:v>
                      </c:pt>
                      <c:pt idx="4170">
                        <c:v>4.2809999999999997</c:v>
                      </c:pt>
                      <c:pt idx="4171">
                        <c:v>4.2809999999999997</c:v>
                      </c:pt>
                      <c:pt idx="4172">
                        <c:v>4.2809999999999997</c:v>
                      </c:pt>
                      <c:pt idx="4173">
                        <c:v>4.2809999999999997</c:v>
                      </c:pt>
                      <c:pt idx="4174">
                        <c:v>4.2809999999999997</c:v>
                      </c:pt>
                      <c:pt idx="4175">
                        <c:v>4.3949999999999996</c:v>
                      </c:pt>
                      <c:pt idx="4176">
                        <c:v>4.3949999999999996</c:v>
                      </c:pt>
                      <c:pt idx="4177">
                        <c:v>4.3949999999999996</c:v>
                      </c:pt>
                      <c:pt idx="4178">
                        <c:v>4.3949999999999996</c:v>
                      </c:pt>
                      <c:pt idx="4179">
                        <c:v>4.3949999999999996</c:v>
                      </c:pt>
                      <c:pt idx="4180">
                        <c:v>4.4859999999999998</c:v>
                      </c:pt>
                      <c:pt idx="4181">
                        <c:v>4.4859999999999998</c:v>
                      </c:pt>
                      <c:pt idx="4182">
                        <c:v>4.4859999999999998</c:v>
                      </c:pt>
                      <c:pt idx="4183">
                        <c:v>4.4859999999999998</c:v>
                      </c:pt>
                      <c:pt idx="4184">
                        <c:v>4.4859999999999998</c:v>
                      </c:pt>
                      <c:pt idx="4185">
                        <c:v>4.6740000000000004</c:v>
                      </c:pt>
                      <c:pt idx="4186">
                        <c:v>4.6740000000000004</c:v>
                      </c:pt>
                      <c:pt idx="4187">
                        <c:v>4.6740000000000004</c:v>
                      </c:pt>
                      <c:pt idx="4188">
                        <c:v>4.6740000000000004</c:v>
                      </c:pt>
                      <c:pt idx="4189">
                        <c:v>4.6740000000000004</c:v>
                      </c:pt>
                      <c:pt idx="4190">
                        <c:v>4.6779999999999999</c:v>
                      </c:pt>
                      <c:pt idx="4191">
                        <c:v>4.6779999999999999</c:v>
                      </c:pt>
                      <c:pt idx="4192">
                        <c:v>4.6779999999999999</c:v>
                      </c:pt>
                      <c:pt idx="4193">
                        <c:v>4.6779999999999999</c:v>
                      </c:pt>
                      <c:pt idx="4194">
                        <c:v>4.6779999999999999</c:v>
                      </c:pt>
                      <c:pt idx="4195">
                        <c:v>4.5910000000000002</c:v>
                      </c:pt>
                      <c:pt idx="4196">
                        <c:v>4.5910000000000002</c:v>
                      </c:pt>
                      <c:pt idx="4197">
                        <c:v>4.5910000000000002</c:v>
                      </c:pt>
                      <c:pt idx="4198">
                        <c:v>4.5910000000000002</c:v>
                      </c:pt>
                      <c:pt idx="4199">
                        <c:v>4.5910000000000002</c:v>
                      </c:pt>
                      <c:pt idx="4200">
                        <c:v>4.6509999999999998</c:v>
                      </c:pt>
                      <c:pt idx="4201">
                        <c:v>4.6509999999999998</c:v>
                      </c:pt>
                      <c:pt idx="4202">
                        <c:v>4.6509999999999998</c:v>
                      </c:pt>
                      <c:pt idx="4203">
                        <c:v>4.6509999999999998</c:v>
                      </c:pt>
                      <c:pt idx="4204">
                        <c:v>4.6509999999999998</c:v>
                      </c:pt>
                      <c:pt idx="4205">
                        <c:v>4.835</c:v>
                      </c:pt>
                      <c:pt idx="4206">
                        <c:v>4.835</c:v>
                      </c:pt>
                      <c:pt idx="4207">
                        <c:v>4.835</c:v>
                      </c:pt>
                      <c:pt idx="4208">
                        <c:v>4.835</c:v>
                      </c:pt>
                      <c:pt idx="4209">
                        <c:v>4.835</c:v>
                      </c:pt>
                      <c:pt idx="4210">
                        <c:v>4.8330000000000002</c:v>
                      </c:pt>
                      <c:pt idx="4211">
                        <c:v>4.8330000000000002</c:v>
                      </c:pt>
                      <c:pt idx="4212">
                        <c:v>4.8330000000000002</c:v>
                      </c:pt>
                      <c:pt idx="4213">
                        <c:v>4.8330000000000002</c:v>
                      </c:pt>
                      <c:pt idx="4214">
                        <c:v>4.8330000000000002</c:v>
                      </c:pt>
                      <c:pt idx="4215">
                        <c:v>4.8940000000000001</c:v>
                      </c:pt>
                      <c:pt idx="4216">
                        <c:v>4.8940000000000001</c:v>
                      </c:pt>
                      <c:pt idx="4217">
                        <c:v>4.8940000000000001</c:v>
                      </c:pt>
                      <c:pt idx="4218">
                        <c:v>4.8940000000000001</c:v>
                      </c:pt>
                      <c:pt idx="4219">
                        <c:v>4.8940000000000001</c:v>
                      </c:pt>
                      <c:pt idx="4220">
                        <c:v>4.9180000000000001</c:v>
                      </c:pt>
                      <c:pt idx="4221">
                        <c:v>4.9180000000000001</c:v>
                      </c:pt>
                      <c:pt idx="4222">
                        <c:v>4.9180000000000001</c:v>
                      </c:pt>
                      <c:pt idx="4223">
                        <c:v>4.9180000000000001</c:v>
                      </c:pt>
                      <c:pt idx="4224">
                        <c:v>4.9180000000000001</c:v>
                      </c:pt>
                      <c:pt idx="4225">
                        <c:v>4.9329999999999998</c:v>
                      </c:pt>
                      <c:pt idx="4226">
                        <c:v>4.9329999999999998</c:v>
                      </c:pt>
                      <c:pt idx="4227">
                        <c:v>4.9329999999999998</c:v>
                      </c:pt>
                      <c:pt idx="4228">
                        <c:v>4.9329999999999998</c:v>
                      </c:pt>
                      <c:pt idx="4229">
                        <c:v>4.9329999999999998</c:v>
                      </c:pt>
                      <c:pt idx="4230">
                        <c:v>4.8620000000000001</c:v>
                      </c:pt>
                      <c:pt idx="4231">
                        <c:v>4.8620000000000001</c:v>
                      </c:pt>
                      <c:pt idx="4232">
                        <c:v>4.8620000000000001</c:v>
                      </c:pt>
                      <c:pt idx="4233">
                        <c:v>4.8620000000000001</c:v>
                      </c:pt>
                      <c:pt idx="4234">
                        <c:v>4.8620000000000001</c:v>
                      </c:pt>
                      <c:pt idx="4235">
                        <c:v>4.8929999999999998</c:v>
                      </c:pt>
                      <c:pt idx="4236">
                        <c:v>4.8929999999999998</c:v>
                      </c:pt>
                      <c:pt idx="4237">
                        <c:v>4.8929999999999998</c:v>
                      </c:pt>
                      <c:pt idx="4238">
                        <c:v>4.8929999999999998</c:v>
                      </c:pt>
                      <c:pt idx="4239">
                        <c:v>4.8929999999999998</c:v>
                      </c:pt>
                      <c:pt idx="4240">
                        <c:v>4.8970000000000002</c:v>
                      </c:pt>
                      <c:pt idx="4241">
                        <c:v>4.8970000000000002</c:v>
                      </c:pt>
                      <c:pt idx="4242">
                        <c:v>4.8970000000000002</c:v>
                      </c:pt>
                      <c:pt idx="4243">
                        <c:v>4.8970000000000002</c:v>
                      </c:pt>
                      <c:pt idx="4244">
                        <c:v>4.8970000000000002</c:v>
                      </c:pt>
                      <c:pt idx="4245">
                        <c:v>4.8949999999999996</c:v>
                      </c:pt>
                      <c:pt idx="4246">
                        <c:v>4.8949999999999996</c:v>
                      </c:pt>
                      <c:pt idx="4247">
                        <c:v>4.8949999999999996</c:v>
                      </c:pt>
                      <c:pt idx="4248">
                        <c:v>4.8949999999999996</c:v>
                      </c:pt>
                      <c:pt idx="4249">
                        <c:v>4.8949999999999996</c:v>
                      </c:pt>
                      <c:pt idx="4250">
                        <c:v>5.0199999999999996</c:v>
                      </c:pt>
                      <c:pt idx="4251">
                        <c:v>5.0199999999999996</c:v>
                      </c:pt>
                      <c:pt idx="4252">
                        <c:v>5.0199999999999996</c:v>
                      </c:pt>
                      <c:pt idx="4253">
                        <c:v>5.0199999999999996</c:v>
                      </c:pt>
                      <c:pt idx="4254">
                        <c:v>5.0199999999999996</c:v>
                      </c:pt>
                      <c:pt idx="4255">
                        <c:v>5.0090000000000003</c:v>
                      </c:pt>
                      <c:pt idx="4256">
                        <c:v>5.0090000000000003</c:v>
                      </c:pt>
                      <c:pt idx="4257">
                        <c:v>5.0090000000000003</c:v>
                      </c:pt>
                      <c:pt idx="4258">
                        <c:v>5.0090000000000003</c:v>
                      </c:pt>
                      <c:pt idx="4259">
                        <c:v>5.0090000000000003</c:v>
                      </c:pt>
                      <c:pt idx="4260">
                        <c:v>4.9249999999999998</c:v>
                      </c:pt>
                      <c:pt idx="4261">
                        <c:v>4.9249999999999998</c:v>
                      </c:pt>
                      <c:pt idx="4262">
                        <c:v>4.9249999999999998</c:v>
                      </c:pt>
                      <c:pt idx="4263">
                        <c:v>4.9249999999999998</c:v>
                      </c:pt>
                      <c:pt idx="4264">
                        <c:v>4.9249999999999998</c:v>
                      </c:pt>
                      <c:pt idx="4265">
                        <c:v>4.8970000000000002</c:v>
                      </c:pt>
                      <c:pt idx="4266">
                        <c:v>4.8970000000000002</c:v>
                      </c:pt>
                      <c:pt idx="4267">
                        <c:v>4.8970000000000002</c:v>
                      </c:pt>
                      <c:pt idx="4268">
                        <c:v>4.8970000000000002</c:v>
                      </c:pt>
                      <c:pt idx="4269">
                        <c:v>4.8970000000000002</c:v>
                      </c:pt>
                      <c:pt idx="4270">
                        <c:v>4.9429999999999996</c:v>
                      </c:pt>
                      <c:pt idx="4271">
                        <c:v>4.9429999999999996</c:v>
                      </c:pt>
                      <c:pt idx="4272">
                        <c:v>4.9429999999999996</c:v>
                      </c:pt>
                      <c:pt idx="4273">
                        <c:v>4.9429999999999996</c:v>
                      </c:pt>
                      <c:pt idx="4274">
                        <c:v>4.9429999999999996</c:v>
                      </c:pt>
                      <c:pt idx="4275">
                        <c:v>5.0179999999999998</c:v>
                      </c:pt>
                      <c:pt idx="4276">
                        <c:v>5.0179999999999998</c:v>
                      </c:pt>
                      <c:pt idx="4277">
                        <c:v>5.0179999999999998</c:v>
                      </c:pt>
                      <c:pt idx="4278">
                        <c:v>5.0179999999999998</c:v>
                      </c:pt>
                      <c:pt idx="4279">
                        <c:v>5.0179999999999998</c:v>
                      </c:pt>
                      <c:pt idx="4280">
                        <c:v>4.9809999999999999</c:v>
                      </c:pt>
                      <c:pt idx="4281">
                        <c:v>4.9809999999999999</c:v>
                      </c:pt>
                      <c:pt idx="4282">
                        <c:v>4.9809999999999999</c:v>
                      </c:pt>
                      <c:pt idx="4283">
                        <c:v>4.9809999999999999</c:v>
                      </c:pt>
                      <c:pt idx="4284">
                        <c:v>4.9809999999999999</c:v>
                      </c:pt>
                      <c:pt idx="4285">
                        <c:v>4.95</c:v>
                      </c:pt>
                      <c:pt idx="4286">
                        <c:v>4.95</c:v>
                      </c:pt>
                      <c:pt idx="4287">
                        <c:v>4.95</c:v>
                      </c:pt>
                      <c:pt idx="4288">
                        <c:v>4.95</c:v>
                      </c:pt>
                      <c:pt idx="4289">
                        <c:v>4.95</c:v>
                      </c:pt>
                      <c:pt idx="4290">
                        <c:v>4.9470000000000001</c:v>
                      </c:pt>
                      <c:pt idx="4291">
                        <c:v>4.9470000000000001</c:v>
                      </c:pt>
                      <c:pt idx="4292">
                        <c:v>4.9470000000000001</c:v>
                      </c:pt>
                      <c:pt idx="4293">
                        <c:v>4.9470000000000001</c:v>
                      </c:pt>
                      <c:pt idx="4294">
                        <c:v>4.9470000000000001</c:v>
                      </c:pt>
                      <c:pt idx="4295">
                        <c:v>4.9669999999999996</c:v>
                      </c:pt>
                      <c:pt idx="4296">
                        <c:v>4.9669999999999996</c:v>
                      </c:pt>
                      <c:pt idx="4297">
                        <c:v>4.9669999999999996</c:v>
                      </c:pt>
                      <c:pt idx="4298">
                        <c:v>4.9669999999999996</c:v>
                      </c:pt>
                      <c:pt idx="4299">
                        <c:v>4.9669999999999996</c:v>
                      </c:pt>
                      <c:pt idx="4300">
                        <c:v>4.9320000000000004</c:v>
                      </c:pt>
                      <c:pt idx="4301">
                        <c:v>4.9320000000000004</c:v>
                      </c:pt>
                      <c:pt idx="4302">
                        <c:v>4.9320000000000004</c:v>
                      </c:pt>
                      <c:pt idx="4303">
                        <c:v>4.9320000000000004</c:v>
                      </c:pt>
                      <c:pt idx="4304">
                        <c:v>4.9320000000000004</c:v>
                      </c:pt>
                      <c:pt idx="4305">
                        <c:v>4.9560000000000004</c:v>
                      </c:pt>
                      <c:pt idx="4306">
                        <c:v>4.9560000000000004</c:v>
                      </c:pt>
                      <c:pt idx="4307">
                        <c:v>4.9560000000000004</c:v>
                      </c:pt>
                      <c:pt idx="4308">
                        <c:v>4.9560000000000004</c:v>
                      </c:pt>
                      <c:pt idx="4309">
                        <c:v>4.9560000000000004</c:v>
                      </c:pt>
                      <c:pt idx="4310">
                        <c:v>5.0359999999999996</c:v>
                      </c:pt>
                      <c:pt idx="4311">
                        <c:v>5.0359999999999996</c:v>
                      </c:pt>
                      <c:pt idx="4312">
                        <c:v>5.0359999999999996</c:v>
                      </c:pt>
                      <c:pt idx="4313">
                        <c:v>5.0359999999999996</c:v>
                      </c:pt>
                      <c:pt idx="4314">
                        <c:v>5.0359999999999996</c:v>
                      </c:pt>
                      <c:pt idx="4315">
                        <c:v>4.976</c:v>
                      </c:pt>
                      <c:pt idx="4316">
                        <c:v>4.976</c:v>
                      </c:pt>
                      <c:pt idx="4317">
                        <c:v>4.976</c:v>
                      </c:pt>
                      <c:pt idx="4318">
                        <c:v>4.976</c:v>
                      </c:pt>
                      <c:pt idx="4319">
                        <c:v>4.976</c:v>
                      </c:pt>
                      <c:pt idx="4320">
                        <c:v>4.9420000000000002</c:v>
                      </c:pt>
                      <c:pt idx="4321">
                        <c:v>4.9420000000000002</c:v>
                      </c:pt>
                      <c:pt idx="4322">
                        <c:v>4.9420000000000002</c:v>
                      </c:pt>
                      <c:pt idx="4323">
                        <c:v>4.9420000000000002</c:v>
                      </c:pt>
                      <c:pt idx="4324">
                        <c:v>4.9420000000000002</c:v>
                      </c:pt>
                      <c:pt idx="4325">
                        <c:v>4.9660000000000002</c:v>
                      </c:pt>
                      <c:pt idx="4326">
                        <c:v>4.9660000000000002</c:v>
                      </c:pt>
                      <c:pt idx="4327">
                        <c:v>4.9660000000000002</c:v>
                      </c:pt>
                      <c:pt idx="4328">
                        <c:v>4.9660000000000002</c:v>
                      </c:pt>
                      <c:pt idx="4329">
                        <c:v>4.9660000000000002</c:v>
                      </c:pt>
                      <c:pt idx="4330">
                        <c:v>4.9589999999999996</c:v>
                      </c:pt>
                      <c:pt idx="4331">
                        <c:v>4.9589999999999996</c:v>
                      </c:pt>
                      <c:pt idx="4332">
                        <c:v>4.9589999999999996</c:v>
                      </c:pt>
                      <c:pt idx="4333">
                        <c:v>4.9589999999999996</c:v>
                      </c:pt>
                      <c:pt idx="4334">
                        <c:v>4.9589999999999996</c:v>
                      </c:pt>
                      <c:pt idx="4335">
                        <c:v>4.9450000000000003</c:v>
                      </c:pt>
                      <c:pt idx="4336">
                        <c:v>4.9450000000000003</c:v>
                      </c:pt>
                      <c:pt idx="4337">
                        <c:v>4.9450000000000003</c:v>
                      </c:pt>
                      <c:pt idx="4338">
                        <c:v>4.9450000000000003</c:v>
                      </c:pt>
                      <c:pt idx="4339">
                        <c:v>4.9450000000000003</c:v>
                      </c:pt>
                      <c:pt idx="4340">
                        <c:v>4.8659999999999997</c:v>
                      </c:pt>
                      <c:pt idx="4341">
                        <c:v>4.8659999999999997</c:v>
                      </c:pt>
                      <c:pt idx="4342">
                        <c:v>4.8659999999999997</c:v>
                      </c:pt>
                      <c:pt idx="4343">
                        <c:v>4.8659999999999997</c:v>
                      </c:pt>
                      <c:pt idx="4344">
                        <c:v>4.8659999999999997</c:v>
                      </c:pt>
                      <c:pt idx="4345">
                        <c:v>4.8090000000000002</c:v>
                      </c:pt>
                      <c:pt idx="4346">
                        <c:v>4.8090000000000002</c:v>
                      </c:pt>
                      <c:pt idx="4347">
                        <c:v>4.8090000000000002</c:v>
                      </c:pt>
                      <c:pt idx="4348">
                        <c:v>4.8090000000000002</c:v>
                      </c:pt>
                      <c:pt idx="4349">
                        <c:v>4.8090000000000002</c:v>
                      </c:pt>
                      <c:pt idx="4350">
                        <c:v>4.8220000000000001</c:v>
                      </c:pt>
                      <c:pt idx="4351">
                        <c:v>4.8220000000000001</c:v>
                      </c:pt>
                      <c:pt idx="4352">
                        <c:v>4.8220000000000001</c:v>
                      </c:pt>
                      <c:pt idx="4353">
                        <c:v>4.8220000000000001</c:v>
                      </c:pt>
                      <c:pt idx="4354">
                        <c:v>4.8220000000000001</c:v>
                      </c:pt>
                      <c:pt idx="4355">
                        <c:v>4.7460000000000004</c:v>
                      </c:pt>
                      <c:pt idx="4356">
                        <c:v>4.7460000000000004</c:v>
                      </c:pt>
                      <c:pt idx="4357">
                        <c:v>4.7460000000000004</c:v>
                      </c:pt>
                      <c:pt idx="4358">
                        <c:v>4.7460000000000004</c:v>
                      </c:pt>
                      <c:pt idx="4359">
                        <c:v>4.7460000000000004</c:v>
                      </c:pt>
                      <c:pt idx="4360">
                        <c:v>4.6440000000000001</c:v>
                      </c:pt>
                      <c:pt idx="4361">
                        <c:v>4.6440000000000001</c:v>
                      </c:pt>
                      <c:pt idx="4362">
                        <c:v>4.6440000000000001</c:v>
                      </c:pt>
                      <c:pt idx="4363">
                        <c:v>4.6440000000000001</c:v>
                      </c:pt>
                      <c:pt idx="4364">
                        <c:v>4.6440000000000001</c:v>
                      </c:pt>
                      <c:pt idx="4365">
                        <c:v>4.72</c:v>
                      </c:pt>
                      <c:pt idx="4366">
                        <c:v>4.72</c:v>
                      </c:pt>
                      <c:pt idx="4367">
                        <c:v>4.72</c:v>
                      </c:pt>
                      <c:pt idx="4368">
                        <c:v>4.72</c:v>
                      </c:pt>
                      <c:pt idx="4369">
                        <c:v>4.72</c:v>
                      </c:pt>
                      <c:pt idx="4370">
                        <c:v>4.7149999999999999</c:v>
                      </c:pt>
                      <c:pt idx="4371">
                        <c:v>4.7149999999999999</c:v>
                      </c:pt>
                      <c:pt idx="4372">
                        <c:v>4.7149999999999999</c:v>
                      </c:pt>
                      <c:pt idx="4373">
                        <c:v>4.7149999999999999</c:v>
                      </c:pt>
                      <c:pt idx="4374">
                        <c:v>4.7149999999999999</c:v>
                      </c:pt>
                      <c:pt idx="4375">
                        <c:v>4.7720000000000002</c:v>
                      </c:pt>
                      <c:pt idx="4376">
                        <c:v>4.7720000000000002</c:v>
                      </c:pt>
                      <c:pt idx="4377">
                        <c:v>4.7720000000000002</c:v>
                      </c:pt>
                      <c:pt idx="4378">
                        <c:v>4.7720000000000002</c:v>
                      </c:pt>
                      <c:pt idx="4379">
                        <c:v>4.7720000000000002</c:v>
                      </c:pt>
                      <c:pt idx="4380">
                        <c:v>4.569</c:v>
                      </c:pt>
                      <c:pt idx="4381">
                        <c:v>4.569</c:v>
                      </c:pt>
                      <c:pt idx="4382">
                        <c:v>4.569</c:v>
                      </c:pt>
                      <c:pt idx="4383">
                        <c:v>4.569</c:v>
                      </c:pt>
                      <c:pt idx="4384">
                        <c:v>4.569</c:v>
                      </c:pt>
                      <c:pt idx="4385">
                        <c:v>4.5869999999999997</c:v>
                      </c:pt>
                      <c:pt idx="4386">
                        <c:v>4.5869999999999997</c:v>
                      </c:pt>
                      <c:pt idx="4387">
                        <c:v>4.5869999999999997</c:v>
                      </c:pt>
                      <c:pt idx="4388">
                        <c:v>4.5869999999999997</c:v>
                      </c:pt>
                      <c:pt idx="4389">
                        <c:v>4.5869999999999997</c:v>
                      </c:pt>
                      <c:pt idx="4390">
                        <c:v>4.5599999999999996</c:v>
                      </c:pt>
                      <c:pt idx="4391">
                        <c:v>4.5599999999999996</c:v>
                      </c:pt>
                      <c:pt idx="4392">
                        <c:v>4.5599999999999996</c:v>
                      </c:pt>
                      <c:pt idx="4393">
                        <c:v>4.5599999999999996</c:v>
                      </c:pt>
                      <c:pt idx="4394">
                        <c:v>4.5599999999999996</c:v>
                      </c:pt>
                      <c:pt idx="4395">
                        <c:v>4.5170000000000003</c:v>
                      </c:pt>
                      <c:pt idx="4396">
                        <c:v>4.5170000000000003</c:v>
                      </c:pt>
                      <c:pt idx="4397">
                        <c:v>4.5170000000000003</c:v>
                      </c:pt>
                      <c:pt idx="4398">
                        <c:v>4.5170000000000003</c:v>
                      </c:pt>
                      <c:pt idx="4399">
                        <c:v>4.5170000000000003</c:v>
                      </c:pt>
                      <c:pt idx="4400">
                        <c:v>4.4029999999999996</c:v>
                      </c:pt>
                      <c:pt idx="4401">
                        <c:v>4.4029999999999996</c:v>
                      </c:pt>
                      <c:pt idx="4402">
                        <c:v>4.4029999999999996</c:v>
                      </c:pt>
                      <c:pt idx="4403">
                        <c:v>4.4029999999999996</c:v>
                      </c:pt>
                      <c:pt idx="4404">
                        <c:v>4.4029999999999996</c:v>
                      </c:pt>
                      <c:pt idx="4405">
                        <c:v>4.4649999999999999</c:v>
                      </c:pt>
                      <c:pt idx="4406">
                        <c:v>4.4649999999999999</c:v>
                      </c:pt>
                      <c:pt idx="4407">
                        <c:v>4.4649999999999999</c:v>
                      </c:pt>
                      <c:pt idx="4408">
                        <c:v>4.4649999999999999</c:v>
                      </c:pt>
                      <c:pt idx="4409">
                        <c:v>4.4649999999999999</c:v>
                      </c:pt>
                      <c:pt idx="4410">
                        <c:v>4.42</c:v>
                      </c:pt>
                      <c:pt idx="4411">
                        <c:v>4.42</c:v>
                      </c:pt>
                      <c:pt idx="4412">
                        <c:v>4.42</c:v>
                      </c:pt>
                      <c:pt idx="4413">
                        <c:v>4.42</c:v>
                      </c:pt>
                      <c:pt idx="4414">
                        <c:v>4.42</c:v>
                      </c:pt>
                      <c:pt idx="4415">
                        <c:v>4.391</c:v>
                      </c:pt>
                      <c:pt idx="4416">
                        <c:v>4.391</c:v>
                      </c:pt>
                      <c:pt idx="4417">
                        <c:v>4.391</c:v>
                      </c:pt>
                      <c:pt idx="4418">
                        <c:v>4.391</c:v>
                      </c:pt>
                      <c:pt idx="4419">
                        <c:v>4.391</c:v>
                      </c:pt>
                      <c:pt idx="4420">
                        <c:v>4.3760000000000003</c:v>
                      </c:pt>
                      <c:pt idx="4421">
                        <c:v>4.3760000000000003</c:v>
                      </c:pt>
                      <c:pt idx="4422">
                        <c:v>4.3760000000000003</c:v>
                      </c:pt>
                      <c:pt idx="4423">
                        <c:v>4.3760000000000003</c:v>
                      </c:pt>
                      <c:pt idx="4424">
                        <c:v>4.3760000000000003</c:v>
                      </c:pt>
                      <c:pt idx="4425">
                        <c:v>4.3529999999999998</c:v>
                      </c:pt>
                      <c:pt idx="4426">
                        <c:v>4.3529999999999998</c:v>
                      </c:pt>
                      <c:pt idx="4427">
                        <c:v>4.3529999999999998</c:v>
                      </c:pt>
                      <c:pt idx="4428">
                        <c:v>4.3529999999999998</c:v>
                      </c:pt>
                      <c:pt idx="4429">
                        <c:v>4.3529999999999998</c:v>
                      </c:pt>
                      <c:pt idx="4430">
                        <c:v>4.2930000000000001</c:v>
                      </c:pt>
                      <c:pt idx="4431">
                        <c:v>4.2930000000000001</c:v>
                      </c:pt>
                      <c:pt idx="4432">
                        <c:v>4.2930000000000001</c:v>
                      </c:pt>
                      <c:pt idx="4433">
                        <c:v>4.2930000000000001</c:v>
                      </c:pt>
                      <c:pt idx="4434">
                        <c:v>4.2930000000000001</c:v>
                      </c:pt>
                      <c:pt idx="4435">
                        <c:v>4.282</c:v>
                      </c:pt>
                      <c:pt idx="4436">
                        <c:v>4.282</c:v>
                      </c:pt>
                      <c:pt idx="4437">
                        <c:v>4.282</c:v>
                      </c:pt>
                      <c:pt idx="4438">
                        <c:v>4.282</c:v>
                      </c:pt>
                      <c:pt idx="4439">
                        <c:v>4.282</c:v>
                      </c:pt>
                      <c:pt idx="4440">
                        <c:v>4.2</c:v>
                      </c:pt>
                      <c:pt idx="4441">
                        <c:v>4.2</c:v>
                      </c:pt>
                      <c:pt idx="4442">
                        <c:v>4.2</c:v>
                      </c:pt>
                      <c:pt idx="4443">
                        <c:v>4.2</c:v>
                      </c:pt>
                      <c:pt idx="4444">
                        <c:v>4.2</c:v>
                      </c:pt>
                      <c:pt idx="4445">
                        <c:v>3.8980000000000001</c:v>
                      </c:pt>
                      <c:pt idx="4446">
                        <c:v>3.8980000000000001</c:v>
                      </c:pt>
                      <c:pt idx="4447">
                        <c:v>3.8980000000000001</c:v>
                      </c:pt>
                      <c:pt idx="4448">
                        <c:v>3.8980000000000001</c:v>
                      </c:pt>
                      <c:pt idx="4449">
                        <c:v>3.8980000000000001</c:v>
                      </c:pt>
                      <c:pt idx="4450">
                        <c:v>3.8420000000000001</c:v>
                      </c:pt>
                      <c:pt idx="4451">
                        <c:v>3.8420000000000001</c:v>
                      </c:pt>
                      <c:pt idx="4452">
                        <c:v>3.8420000000000001</c:v>
                      </c:pt>
                      <c:pt idx="4453">
                        <c:v>3.8420000000000001</c:v>
                      </c:pt>
                      <c:pt idx="4454">
                        <c:v>3.8420000000000001</c:v>
                      </c:pt>
                      <c:pt idx="4455">
                        <c:v>3.7770000000000001</c:v>
                      </c:pt>
                      <c:pt idx="4456">
                        <c:v>3.7770000000000001</c:v>
                      </c:pt>
                      <c:pt idx="4457">
                        <c:v>3.7770000000000001</c:v>
                      </c:pt>
                      <c:pt idx="4458">
                        <c:v>3.7770000000000001</c:v>
                      </c:pt>
                      <c:pt idx="4459">
                        <c:v>3.7770000000000001</c:v>
                      </c:pt>
                      <c:pt idx="4460">
                        <c:v>3.7210000000000001</c:v>
                      </c:pt>
                      <c:pt idx="4461">
                        <c:v>3.7210000000000001</c:v>
                      </c:pt>
                      <c:pt idx="4462">
                        <c:v>3.7210000000000001</c:v>
                      </c:pt>
                      <c:pt idx="4463">
                        <c:v>3.7210000000000001</c:v>
                      </c:pt>
                      <c:pt idx="4464">
                        <c:v>3.7210000000000001</c:v>
                      </c:pt>
                      <c:pt idx="4465">
                        <c:v>3.5920000000000001</c:v>
                      </c:pt>
                      <c:pt idx="4466">
                        <c:v>3.5920000000000001</c:v>
                      </c:pt>
                      <c:pt idx="4467">
                        <c:v>3.5920000000000001</c:v>
                      </c:pt>
                      <c:pt idx="4468">
                        <c:v>3.5920000000000001</c:v>
                      </c:pt>
                      <c:pt idx="4469">
                        <c:v>3.5920000000000001</c:v>
                      </c:pt>
                      <c:pt idx="4470">
                        <c:v>3.641</c:v>
                      </c:pt>
                      <c:pt idx="4471">
                        <c:v>3.641</c:v>
                      </c:pt>
                      <c:pt idx="4472">
                        <c:v>3.641</c:v>
                      </c:pt>
                      <c:pt idx="4473">
                        <c:v>3.641</c:v>
                      </c:pt>
                      <c:pt idx="4474">
                        <c:v>3.641</c:v>
                      </c:pt>
                      <c:pt idx="4475">
                        <c:v>3.5990000000000002</c:v>
                      </c:pt>
                      <c:pt idx="4476">
                        <c:v>3.5990000000000002</c:v>
                      </c:pt>
                      <c:pt idx="4477">
                        <c:v>3.5990000000000002</c:v>
                      </c:pt>
                      <c:pt idx="4478">
                        <c:v>3.5990000000000002</c:v>
                      </c:pt>
                      <c:pt idx="4479">
                        <c:v>3.5990000000000002</c:v>
                      </c:pt>
                      <c:pt idx="4480">
                        <c:v>3.6</c:v>
                      </c:pt>
                      <c:pt idx="4481">
                        <c:v>3.6</c:v>
                      </c:pt>
                      <c:pt idx="4482">
                        <c:v>3.6</c:v>
                      </c:pt>
                      <c:pt idx="4483">
                        <c:v>3.6</c:v>
                      </c:pt>
                      <c:pt idx="4484">
                        <c:v>3.6</c:v>
                      </c:pt>
                      <c:pt idx="4485">
                        <c:v>3.629</c:v>
                      </c:pt>
                      <c:pt idx="4486">
                        <c:v>3.629</c:v>
                      </c:pt>
                      <c:pt idx="4487">
                        <c:v>3.629</c:v>
                      </c:pt>
                      <c:pt idx="4488">
                        <c:v>3.629</c:v>
                      </c:pt>
                      <c:pt idx="4489">
                        <c:v>3.629</c:v>
                      </c:pt>
                      <c:pt idx="4490">
                        <c:v>3.7320000000000002</c:v>
                      </c:pt>
                      <c:pt idx="4491">
                        <c:v>3.7320000000000002</c:v>
                      </c:pt>
                      <c:pt idx="4492">
                        <c:v>3.7320000000000002</c:v>
                      </c:pt>
                      <c:pt idx="4493">
                        <c:v>3.7320000000000002</c:v>
                      </c:pt>
                      <c:pt idx="4494">
                        <c:v>3.7320000000000002</c:v>
                      </c:pt>
                      <c:pt idx="4495">
                        <c:v>3.7090000000000001</c:v>
                      </c:pt>
                      <c:pt idx="4496">
                        <c:v>3.7090000000000001</c:v>
                      </c:pt>
                      <c:pt idx="4497">
                        <c:v>3.7090000000000001</c:v>
                      </c:pt>
                      <c:pt idx="4498">
                        <c:v>3.7090000000000001</c:v>
                      </c:pt>
                      <c:pt idx="4499">
                        <c:v>3.7090000000000001</c:v>
                      </c:pt>
                      <c:pt idx="4500">
                        <c:v>3.7050000000000001</c:v>
                      </c:pt>
                      <c:pt idx="4501">
                        <c:v>3.7050000000000001</c:v>
                      </c:pt>
                      <c:pt idx="4502">
                        <c:v>3.7050000000000001</c:v>
                      </c:pt>
                      <c:pt idx="4503">
                        <c:v>3.7050000000000001</c:v>
                      </c:pt>
                      <c:pt idx="4504">
                        <c:v>3.7050000000000001</c:v>
                      </c:pt>
                      <c:pt idx="4505">
                        <c:v>3.7250000000000001</c:v>
                      </c:pt>
                      <c:pt idx="4506">
                        <c:v>3.7250000000000001</c:v>
                      </c:pt>
                      <c:pt idx="4507">
                        <c:v>3.7250000000000001</c:v>
                      </c:pt>
                      <c:pt idx="4508">
                        <c:v>3.7250000000000001</c:v>
                      </c:pt>
                      <c:pt idx="4509">
                        <c:v>3.7250000000000001</c:v>
                      </c:pt>
                      <c:pt idx="4510">
                        <c:v>3.7890000000000001</c:v>
                      </c:pt>
                      <c:pt idx="4511">
                        <c:v>3.7890000000000001</c:v>
                      </c:pt>
                      <c:pt idx="4512">
                        <c:v>3.7890000000000001</c:v>
                      </c:pt>
                      <c:pt idx="4513">
                        <c:v>3.7890000000000001</c:v>
                      </c:pt>
                      <c:pt idx="4514">
                        <c:v>3.7890000000000001</c:v>
                      </c:pt>
                      <c:pt idx="4515">
                        <c:v>3.8809999999999998</c:v>
                      </c:pt>
                      <c:pt idx="4516">
                        <c:v>3.8809999999999998</c:v>
                      </c:pt>
                      <c:pt idx="4517">
                        <c:v>3.8809999999999998</c:v>
                      </c:pt>
                      <c:pt idx="4518">
                        <c:v>3.8809999999999998</c:v>
                      </c:pt>
                      <c:pt idx="4519">
                        <c:v>3.8809999999999998</c:v>
                      </c:pt>
                      <c:pt idx="4520">
                        <c:v>3.8420000000000001</c:v>
                      </c:pt>
                      <c:pt idx="4521">
                        <c:v>3.8420000000000001</c:v>
                      </c:pt>
                      <c:pt idx="4522">
                        <c:v>3.8420000000000001</c:v>
                      </c:pt>
                      <c:pt idx="4523">
                        <c:v>3.8420000000000001</c:v>
                      </c:pt>
                      <c:pt idx="4524">
                        <c:v>3.8420000000000001</c:v>
                      </c:pt>
                      <c:pt idx="4525">
                        <c:v>3.8380000000000001</c:v>
                      </c:pt>
                      <c:pt idx="4526">
                        <c:v>3.8380000000000001</c:v>
                      </c:pt>
                      <c:pt idx="4527">
                        <c:v>3.8380000000000001</c:v>
                      </c:pt>
                      <c:pt idx="4528">
                        <c:v>3.8380000000000001</c:v>
                      </c:pt>
                      <c:pt idx="4529">
                        <c:v>3.8380000000000001</c:v>
                      </c:pt>
                      <c:pt idx="4530">
                        <c:v>3.8159999999999998</c:v>
                      </c:pt>
                      <c:pt idx="4531">
                        <c:v>3.8159999999999998</c:v>
                      </c:pt>
                      <c:pt idx="4532">
                        <c:v>3.8159999999999998</c:v>
                      </c:pt>
                      <c:pt idx="4533">
                        <c:v>3.8159999999999998</c:v>
                      </c:pt>
                      <c:pt idx="4534">
                        <c:v>3.8159999999999998</c:v>
                      </c:pt>
                      <c:pt idx="4535">
                        <c:v>3.8079999999999998</c:v>
                      </c:pt>
                      <c:pt idx="4536">
                        <c:v>3.8079999999999998</c:v>
                      </c:pt>
                      <c:pt idx="4537">
                        <c:v>3.8079999999999998</c:v>
                      </c:pt>
                      <c:pt idx="4538">
                        <c:v>3.8079999999999998</c:v>
                      </c:pt>
                      <c:pt idx="4539">
                        <c:v>3.8079999999999998</c:v>
                      </c:pt>
                      <c:pt idx="4540">
                        <c:v>3.7919999999999998</c:v>
                      </c:pt>
                      <c:pt idx="4541">
                        <c:v>3.7919999999999998</c:v>
                      </c:pt>
                      <c:pt idx="4542">
                        <c:v>3.7919999999999998</c:v>
                      </c:pt>
                      <c:pt idx="4543">
                        <c:v>3.7919999999999998</c:v>
                      </c:pt>
                      <c:pt idx="4544">
                        <c:v>3.7919999999999998</c:v>
                      </c:pt>
                      <c:pt idx="4545">
                        <c:v>3.8149999999999999</c:v>
                      </c:pt>
                      <c:pt idx="4546">
                        <c:v>3.8149999999999999</c:v>
                      </c:pt>
                      <c:pt idx="4547">
                        <c:v>3.8149999999999999</c:v>
                      </c:pt>
                      <c:pt idx="4548">
                        <c:v>3.8149999999999999</c:v>
                      </c:pt>
                      <c:pt idx="4549">
                        <c:v>3.8149999999999999</c:v>
                      </c:pt>
                      <c:pt idx="4550">
                        <c:v>3.7490000000000001</c:v>
                      </c:pt>
                      <c:pt idx="4551">
                        <c:v>3.7490000000000001</c:v>
                      </c:pt>
                      <c:pt idx="4552">
                        <c:v>3.7490000000000001</c:v>
                      </c:pt>
                      <c:pt idx="4553">
                        <c:v>3.7490000000000001</c:v>
                      </c:pt>
                      <c:pt idx="4554">
                        <c:v>3.7490000000000001</c:v>
                      </c:pt>
                      <c:pt idx="4555">
                        <c:v>3.7229999999999999</c:v>
                      </c:pt>
                      <c:pt idx="4556">
                        <c:v>3.7229999999999999</c:v>
                      </c:pt>
                      <c:pt idx="4557">
                        <c:v>3.7229999999999999</c:v>
                      </c:pt>
                      <c:pt idx="4558">
                        <c:v>3.7229999999999999</c:v>
                      </c:pt>
                      <c:pt idx="4559">
                        <c:v>3.7229999999999999</c:v>
                      </c:pt>
                      <c:pt idx="4560">
                        <c:v>3.6890000000000001</c:v>
                      </c:pt>
                      <c:pt idx="4561">
                        <c:v>3.6890000000000001</c:v>
                      </c:pt>
                      <c:pt idx="4562">
                        <c:v>3.6890000000000001</c:v>
                      </c:pt>
                      <c:pt idx="4563">
                        <c:v>3.6890000000000001</c:v>
                      </c:pt>
                      <c:pt idx="4564">
                        <c:v>3.6890000000000001</c:v>
                      </c:pt>
                      <c:pt idx="4565">
                        <c:v>3.6789999999999998</c:v>
                      </c:pt>
                      <c:pt idx="4566">
                        <c:v>3.6789999999999998</c:v>
                      </c:pt>
                      <c:pt idx="4567">
                        <c:v>3.6789999999999998</c:v>
                      </c:pt>
                      <c:pt idx="4568">
                        <c:v>3.6789999999999998</c:v>
                      </c:pt>
                      <c:pt idx="4569">
                        <c:v>3.6789999999999998</c:v>
                      </c:pt>
                      <c:pt idx="4570">
                        <c:v>3.6429999999999998</c:v>
                      </c:pt>
                      <c:pt idx="4571">
                        <c:v>3.6429999999999998</c:v>
                      </c:pt>
                      <c:pt idx="4572">
                        <c:v>3.6429999999999998</c:v>
                      </c:pt>
                      <c:pt idx="4573">
                        <c:v>3.6429999999999998</c:v>
                      </c:pt>
                      <c:pt idx="4574">
                        <c:v>3.6429999999999998</c:v>
                      </c:pt>
                      <c:pt idx="4575">
                        <c:v>3.609</c:v>
                      </c:pt>
                      <c:pt idx="4576">
                        <c:v>3.609</c:v>
                      </c:pt>
                      <c:pt idx="4577">
                        <c:v>3.609</c:v>
                      </c:pt>
                      <c:pt idx="4578">
                        <c:v>3.609</c:v>
                      </c:pt>
                      <c:pt idx="4579">
                        <c:v>3.609</c:v>
                      </c:pt>
                      <c:pt idx="4580">
                        <c:v>3.5670000000000002</c:v>
                      </c:pt>
                      <c:pt idx="4581">
                        <c:v>3.5670000000000002</c:v>
                      </c:pt>
                      <c:pt idx="4582">
                        <c:v>3.5670000000000002</c:v>
                      </c:pt>
                      <c:pt idx="4583">
                        <c:v>3.5670000000000002</c:v>
                      </c:pt>
                      <c:pt idx="4584">
                        <c:v>3.5670000000000002</c:v>
                      </c:pt>
                      <c:pt idx="4585">
                        <c:v>3.53</c:v>
                      </c:pt>
                      <c:pt idx="4586">
                        <c:v>3.53</c:v>
                      </c:pt>
                      <c:pt idx="4587">
                        <c:v>3.53</c:v>
                      </c:pt>
                      <c:pt idx="4588">
                        <c:v>3.53</c:v>
                      </c:pt>
                      <c:pt idx="4589">
                        <c:v>3.53</c:v>
                      </c:pt>
                      <c:pt idx="4590">
                        <c:v>3.5190000000000001</c:v>
                      </c:pt>
                      <c:pt idx="4591">
                        <c:v>3.5190000000000001</c:v>
                      </c:pt>
                      <c:pt idx="4592">
                        <c:v>3.5190000000000001</c:v>
                      </c:pt>
                      <c:pt idx="4593">
                        <c:v>3.5190000000000001</c:v>
                      </c:pt>
                      <c:pt idx="4594">
                        <c:v>3.5190000000000001</c:v>
                      </c:pt>
                      <c:pt idx="4595">
                        <c:v>3.5379999999999998</c:v>
                      </c:pt>
                      <c:pt idx="4596">
                        <c:v>3.5379999999999998</c:v>
                      </c:pt>
                      <c:pt idx="4597">
                        <c:v>3.5379999999999998</c:v>
                      </c:pt>
                      <c:pt idx="4598">
                        <c:v>3.5379999999999998</c:v>
                      </c:pt>
                      <c:pt idx="4599">
                        <c:v>3.5379999999999998</c:v>
                      </c:pt>
                      <c:pt idx="4600">
                        <c:v>3.5070000000000001</c:v>
                      </c:pt>
                      <c:pt idx="4601">
                        <c:v>3.5070000000000001</c:v>
                      </c:pt>
                      <c:pt idx="4602">
                        <c:v>3.5070000000000001</c:v>
                      </c:pt>
                      <c:pt idx="4603">
                        <c:v>3.5070000000000001</c:v>
                      </c:pt>
                      <c:pt idx="4604">
                        <c:v>3.5070000000000001</c:v>
                      </c:pt>
                      <c:pt idx="4605">
                        <c:v>3.5350000000000001</c:v>
                      </c:pt>
                      <c:pt idx="4606">
                        <c:v>3.5350000000000001</c:v>
                      </c:pt>
                      <c:pt idx="4607">
                        <c:v>3.5350000000000001</c:v>
                      </c:pt>
                      <c:pt idx="4608">
                        <c:v>3.5350000000000001</c:v>
                      </c:pt>
                      <c:pt idx="4609">
                        <c:v>3.5350000000000001</c:v>
                      </c:pt>
                      <c:pt idx="4610">
                        <c:v>3.5270000000000001</c:v>
                      </c:pt>
                      <c:pt idx="4611">
                        <c:v>3.5270000000000001</c:v>
                      </c:pt>
                      <c:pt idx="4612">
                        <c:v>3.5270000000000001</c:v>
                      </c:pt>
                      <c:pt idx="4613">
                        <c:v>3.5270000000000001</c:v>
                      </c:pt>
                      <c:pt idx="4614">
                        <c:v>3.5270000000000001</c:v>
                      </c:pt>
                      <c:pt idx="4615">
                        <c:v>3.5329999999999999</c:v>
                      </c:pt>
                      <c:pt idx="4616">
                        <c:v>3.5329999999999999</c:v>
                      </c:pt>
                      <c:pt idx="4617">
                        <c:v>3.5329999999999999</c:v>
                      </c:pt>
                      <c:pt idx="4618">
                        <c:v>3.5329999999999999</c:v>
                      </c:pt>
                      <c:pt idx="4619">
                        <c:v>3.5329999999999999</c:v>
                      </c:pt>
                      <c:pt idx="4620">
                        <c:v>3.4729999999999999</c:v>
                      </c:pt>
                      <c:pt idx="4621">
                        <c:v>3.4729999999999999</c:v>
                      </c:pt>
                      <c:pt idx="4622">
                        <c:v>3.4729999999999999</c:v>
                      </c:pt>
                      <c:pt idx="4623">
                        <c:v>3.4729999999999999</c:v>
                      </c:pt>
                      <c:pt idx="4624">
                        <c:v>3.4729999999999999</c:v>
                      </c:pt>
                      <c:pt idx="4625">
                        <c:v>3.4359999999999999</c:v>
                      </c:pt>
                      <c:pt idx="4626">
                        <c:v>3.4359999999999999</c:v>
                      </c:pt>
                      <c:pt idx="4627">
                        <c:v>3.4359999999999999</c:v>
                      </c:pt>
                      <c:pt idx="4628">
                        <c:v>3.4359999999999999</c:v>
                      </c:pt>
                      <c:pt idx="4629">
                        <c:v>3.4359999999999999</c:v>
                      </c:pt>
                      <c:pt idx="4630">
                        <c:v>3.4220000000000002</c:v>
                      </c:pt>
                      <c:pt idx="4631">
                        <c:v>3.4220000000000002</c:v>
                      </c:pt>
                      <c:pt idx="4632">
                        <c:v>3.4220000000000002</c:v>
                      </c:pt>
                      <c:pt idx="4633">
                        <c:v>3.4220000000000002</c:v>
                      </c:pt>
                      <c:pt idx="4634">
                        <c:v>3.4220000000000002</c:v>
                      </c:pt>
                      <c:pt idx="4635">
                        <c:v>3.37</c:v>
                      </c:pt>
                      <c:pt idx="4636">
                        <c:v>3.37</c:v>
                      </c:pt>
                      <c:pt idx="4637">
                        <c:v>3.37</c:v>
                      </c:pt>
                      <c:pt idx="4638">
                        <c:v>3.37</c:v>
                      </c:pt>
                      <c:pt idx="4639">
                        <c:v>3.37</c:v>
                      </c:pt>
                      <c:pt idx="4640">
                        <c:v>3.2959999999999998</c:v>
                      </c:pt>
                      <c:pt idx="4641">
                        <c:v>3.2959999999999998</c:v>
                      </c:pt>
                      <c:pt idx="4642">
                        <c:v>3.2959999999999998</c:v>
                      </c:pt>
                      <c:pt idx="4643">
                        <c:v>3.2959999999999998</c:v>
                      </c:pt>
                      <c:pt idx="4644">
                        <c:v>3.2959999999999998</c:v>
                      </c:pt>
                      <c:pt idx="4645">
                        <c:v>3.226</c:v>
                      </c:pt>
                      <c:pt idx="4646">
                        <c:v>3.226</c:v>
                      </c:pt>
                      <c:pt idx="4647">
                        <c:v>3.226</c:v>
                      </c:pt>
                      <c:pt idx="4648">
                        <c:v>3.226</c:v>
                      </c:pt>
                      <c:pt idx="4649">
                        <c:v>3.226</c:v>
                      </c:pt>
                      <c:pt idx="4650">
                        <c:v>3.1920000000000002</c:v>
                      </c:pt>
                      <c:pt idx="4651">
                        <c:v>3.1920000000000002</c:v>
                      </c:pt>
                      <c:pt idx="4652">
                        <c:v>3.1920000000000002</c:v>
                      </c:pt>
                      <c:pt idx="4653">
                        <c:v>3.1920000000000002</c:v>
                      </c:pt>
                      <c:pt idx="4654">
                        <c:v>3.1920000000000002</c:v>
                      </c:pt>
                      <c:pt idx="4655">
                        <c:v>3.13</c:v>
                      </c:pt>
                      <c:pt idx="4656">
                        <c:v>3.13</c:v>
                      </c:pt>
                      <c:pt idx="4657">
                        <c:v>3.13</c:v>
                      </c:pt>
                      <c:pt idx="4658">
                        <c:v>3.13</c:v>
                      </c:pt>
                      <c:pt idx="4659">
                        <c:v>3.13</c:v>
                      </c:pt>
                      <c:pt idx="4660">
                        <c:v>3.16</c:v>
                      </c:pt>
                      <c:pt idx="4661">
                        <c:v>3.16</c:v>
                      </c:pt>
                      <c:pt idx="4662">
                        <c:v>3.16</c:v>
                      </c:pt>
                      <c:pt idx="4663">
                        <c:v>3.16</c:v>
                      </c:pt>
                      <c:pt idx="4664">
                        <c:v>3.16</c:v>
                      </c:pt>
                      <c:pt idx="4665">
                        <c:v>3.2410000000000001</c:v>
                      </c:pt>
                      <c:pt idx="4666">
                        <c:v>3.2410000000000001</c:v>
                      </c:pt>
                      <c:pt idx="4667">
                        <c:v>3.2410000000000001</c:v>
                      </c:pt>
                      <c:pt idx="4668">
                        <c:v>3.2410000000000001</c:v>
                      </c:pt>
                      <c:pt idx="4669">
                        <c:v>3.2410000000000001</c:v>
                      </c:pt>
                      <c:pt idx="4670">
                        <c:v>3.202</c:v>
                      </c:pt>
                      <c:pt idx="4671">
                        <c:v>3.202</c:v>
                      </c:pt>
                      <c:pt idx="4672">
                        <c:v>3.202</c:v>
                      </c:pt>
                      <c:pt idx="4673">
                        <c:v>3.202</c:v>
                      </c:pt>
                      <c:pt idx="4674">
                        <c:v>3.202</c:v>
                      </c:pt>
                      <c:pt idx="4675">
                        <c:v>3.1739999999999999</c:v>
                      </c:pt>
                      <c:pt idx="4676">
                        <c:v>3.1739999999999999</c:v>
                      </c:pt>
                      <c:pt idx="4677">
                        <c:v>3.1739999999999999</c:v>
                      </c:pt>
                      <c:pt idx="4678">
                        <c:v>3.1739999999999999</c:v>
                      </c:pt>
                      <c:pt idx="4679">
                        <c:v>3.1739999999999999</c:v>
                      </c:pt>
                      <c:pt idx="4680">
                        <c:v>3.149</c:v>
                      </c:pt>
                      <c:pt idx="4681">
                        <c:v>3.149</c:v>
                      </c:pt>
                      <c:pt idx="4682">
                        <c:v>3.149</c:v>
                      </c:pt>
                      <c:pt idx="4683">
                        <c:v>3.149</c:v>
                      </c:pt>
                      <c:pt idx="4684">
                        <c:v>3.149</c:v>
                      </c:pt>
                      <c:pt idx="4685">
                        <c:v>3.1469999999999998</c:v>
                      </c:pt>
                      <c:pt idx="4686">
                        <c:v>3.1469999999999998</c:v>
                      </c:pt>
                      <c:pt idx="4687">
                        <c:v>3.1469999999999998</c:v>
                      </c:pt>
                      <c:pt idx="4688">
                        <c:v>3.1469999999999998</c:v>
                      </c:pt>
                      <c:pt idx="4689">
                        <c:v>3.1469999999999998</c:v>
                      </c:pt>
                      <c:pt idx="4690">
                        <c:v>3.121</c:v>
                      </c:pt>
                      <c:pt idx="4691">
                        <c:v>3.121</c:v>
                      </c:pt>
                      <c:pt idx="4692">
                        <c:v>3.121</c:v>
                      </c:pt>
                      <c:pt idx="4693">
                        <c:v>3.121</c:v>
                      </c:pt>
                      <c:pt idx="4694">
                        <c:v>3.121</c:v>
                      </c:pt>
                      <c:pt idx="4695">
                        <c:v>3.1080000000000001</c:v>
                      </c:pt>
                      <c:pt idx="4696">
                        <c:v>3.1080000000000001</c:v>
                      </c:pt>
                      <c:pt idx="4697">
                        <c:v>3.1080000000000001</c:v>
                      </c:pt>
                      <c:pt idx="4698">
                        <c:v>3.1080000000000001</c:v>
                      </c:pt>
                      <c:pt idx="4699">
                        <c:v>3.1080000000000001</c:v>
                      </c:pt>
                      <c:pt idx="4700">
                        <c:v>3.1379999999999999</c:v>
                      </c:pt>
                      <c:pt idx="4701">
                        <c:v>3.1379999999999999</c:v>
                      </c:pt>
                      <c:pt idx="4702">
                        <c:v>3.1379999999999999</c:v>
                      </c:pt>
                      <c:pt idx="4703">
                        <c:v>3.1379999999999999</c:v>
                      </c:pt>
                      <c:pt idx="4704">
                        <c:v>3.1379999999999999</c:v>
                      </c:pt>
                      <c:pt idx="4705">
                        <c:v>3.1349999999999998</c:v>
                      </c:pt>
                      <c:pt idx="4706">
                        <c:v>3.1349999999999998</c:v>
                      </c:pt>
                      <c:pt idx="4707">
                        <c:v>3.1349999999999998</c:v>
                      </c:pt>
                      <c:pt idx="4708">
                        <c:v>3.1349999999999998</c:v>
                      </c:pt>
                      <c:pt idx="4709">
                        <c:v>3.1349999999999998</c:v>
                      </c:pt>
                      <c:pt idx="4710">
                        <c:v>3.0219999999999998</c:v>
                      </c:pt>
                      <c:pt idx="4711">
                        <c:v>3.0219999999999998</c:v>
                      </c:pt>
                      <c:pt idx="4712">
                        <c:v>3.0219999999999998</c:v>
                      </c:pt>
                      <c:pt idx="4713">
                        <c:v>3.0219999999999998</c:v>
                      </c:pt>
                      <c:pt idx="4714">
                        <c:v>3.0219999999999998</c:v>
                      </c:pt>
                      <c:pt idx="4715">
                        <c:v>2.948</c:v>
                      </c:pt>
                      <c:pt idx="4716">
                        <c:v>2.948</c:v>
                      </c:pt>
                      <c:pt idx="4717">
                        <c:v>2.948</c:v>
                      </c:pt>
                      <c:pt idx="4718">
                        <c:v>2.948</c:v>
                      </c:pt>
                      <c:pt idx="4719">
                        <c:v>2.948</c:v>
                      </c:pt>
                      <c:pt idx="4720">
                        <c:v>2.9089999999999998</c:v>
                      </c:pt>
                      <c:pt idx="4721">
                        <c:v>2.9089999999999998</c:v>
                      </c:pt>
                      <c:pt idx="4722">
                        <c:v>2.9089999999999998</c:v>
                      </c:pt>
                      <c:pt idx="4723">
                        <c:v>2.9089999999999998</c:v>
                      </c:pt>
                      <c:pt idx="4724">
                        <c:v>2.9089999999999998</c:v>
                      </c:pt>
                      <c:pt idx="4725">
                        <c:v>2.8740000000000001</c:v>
                      </c:pt>
                      <c:pt idx="4726">
                        <c:v>2.8740000000000001</c:v>
                      </c:pt>
                      <c:pt idx="4727">
                        <c:v>2.8740000000000001</c:v>
                      </c:pt>
                      <c:pt idx="4728">
                        <c:v>2.8740000000000001</c:v>
                      </c:pt>
                      <c:pt idx="4729">
                        <c:v>2.8740000000000001</c:v>
                      </c:pt>
                      <c:pt idx="4730">
                        <c:v>2.8809999999999998</c:v>
                      </c:pt>
                      <c:pt idx="4731">
                        <c:v>2.8809999999999998</c:v>
                      </c:pt>
                      <c:pt idx="4732">
                        <c:v>2.8809999999999998</c:v>
                      </c:pt>
                      <c:pt idx="4733">
                        <c:v>2.8809999999999998</c:v>
                      </c:pt>
                      <c:pt idx="4734">
                        <c:v>2.8809999999999998</c:v>
                      </c:pt>
                      <c:pt idx="4735">
                        <c:v>2.835</c:v>
                      </c:pt>
                      <c:pt idx="4736">
                        <c:v>2.835</c:v>
                      </c:pt>
                      <c:pt idx="4737">
                        <c:v>2.835</c:v>
                      </c:pt>
                      <c:pt idx="4738">
                        <c:v>2.835</c:v>
                      </c:pt>
                      <c:pt idx="4739">
                        <c:v>2.835</c:v>
                      </c:pt>
                      <c:pt idx="4740">
                        <c:v>2.835</c:v>
                      </c:pt>
                      <c:pt idx="4741">
                        <c:v>2.835</c:v>
                      </c:pt>
                      <c:pt idx="4742">
                        <c:v>2.835</c:v>
                      </c:pt>
                      <c:pt idx="4743">
                        <c:v>2.835</c:v>
                      </c:pt>
                      <c:pt idx="4744">
                        <c:v>2.835</c:v>
                      </c:pt>
                      <c:pt idx="4745">
                        <c:v>2.8479999999999999</c:v>
                      </c:pt>
                      <c:pt idx="4746">
                        <c:v>2.8479999999999999</c:v>
                      </c:pt>
                      <c:pt idx="4747">
                        <c:v>2.8479999999999999</c:v>
                      </c:pt>
                      <c:pt idx="4748">
                        <c:v>2.8479999999999999</c:v>
                      </c:pt>
                      <c:pt idx="4749">
                        <c:v>2.8479999999999999</c:v>
                      </c:pt>
                      <c:pt idx="4750">
                        <c:v>3.012</c:v>
                      </c:pt>
                      <c:pt idx="4751">
                        <c:v>3.012</c:v>
                      </c:pt>
                      <c:pt idx="4752">
                        <c:v>3.012</c:v>
                      </c:pt>
                      <c:pt idx="4753">
                        <c:v>3.012</c:v>
                      </c:pt>
                      <c:pt idx="4754">
                        <c:v>3.012</c:v>
                      </c:pt>
                      <c:pt idx="4755">
                        <c:v>2.9390000000000001</c:v>
                      </c:pt>
                      <c:pt idx="4756">
                        <c:v>2.9390000000000001</c:v>
                      </c:pt>
                      <c:pt idx="4757">
                        <c:v>2.9390000000000001</c:v>
                      </c:pt>
                      <c:pt idx="4758">
                        <c:v>2.9390000000000001</c:v>
                      </c:pt>
                      <c:pt idx="4759">
                        <c:v>2.9390000000000001</c:v>
                      </c:pt>
                      <c:pt idx="4760">
                        <c:v>2.9580000000000002</c:v>
                      </c:pt>
                      <c:pt idx="4761">
                        <c:v>2.9580000000000002</c:v>
                      </c:pt>
                      <c:pt idx="4762">
                        <c:v>2.9580000000000002</c:v>
                      </c:pt>
                      <c:pt idx="4763">
                        <c:v>2.9580000000000002</c:v>
                      </c:pt>
                      <c:pt idx="4764">
                        <c:v>2.9580000000000002</c:v>
                      </c:pt>
                      <c:pt idx="4765">
                        <c:v>2.903</c:v>
                      </c:pt>
                      <c:pt idx="4766">
                        <c:v>2.903</c:v>
                      </c:pt>
                      <c:pt idx="4767">
                        <c:v>2.903</c:v>
                      </c:pt>
                      <c:pt idx="4768">
                        <c:v>2.903</c:v>
                      </c:pt>
                      <c:pt idx="4769">
                        <c:v>2.903</c:v>
                      </c:pt>
                      <c:pt idx="4770">
                        <c:v>3.077</c:v>
                      </c:pt>
                      <c:pt idx="4771">
                        <c:v>3.077</c:v>
                      </c:pt>
                      <c:pt idx="4772">
                        <c:v>3.077</c:v>
                      </c:pt>
                      <c:pt idx="4773">
                        <c:v>3.077</c:v>
                      </c:pt>
                      <c:pt idx="4774">
                        <c:v>3.077</c:v>
                      </c:pt>
                      <c:pt idx="4775">
                        <c:v>2.9689999999999999</c:v>
                      </c:pt>
                      <c:pt idx="4776">
                        <c:v>2.9689999999999999</c:v>
                      </c:pt>
                      <c:pt idx="4777">
                        <c:v>2.9689999999999999</c:v>
                      </c:pt>
                      <c:pt idx="4778">
                        <c:v>2.9689999999999999</c:v>
                      </c:pt>
                      <c:pt idx="4779">
                        <c:v>2.9689999999999999</c:v>
                      </c:pt>
                      <c:pt idx="4780">
                        <c:v>2.919</c:v>
                      </c:pt>
                      <c:pt idx="4781">
                        <c:v>2.919</c:v>
                      </c:pt>
                      <c:pt idx="4782">
                        <c:v>2.919</c:v>
                      </c:pt>
                      <c:pt idx="4783">
                        <c:v>2.919</c:v>
                      </c:pt>
                      <c:pt idx="4784">
                        <c:v>2.919</c:v>
                      </c:pt>
                      <c:pt idx="4785">
                        <c:v>2.899</c:v>
                      </c:pt>
                      <c:pt idx="4786">
                        <c:v>2.899</c:v>
                      </c:pt>
                      <c:pt idx="4787">
                        <c:v>2.899</c:v>
                      </c:pt>
                      <c:pt idx="4788">
                        <c:v>2.899</c:v>
                      </c:pt>
                      <c:pt idx="4789">
                        <c:v>2.899</c:v>
                      </c:pt>
                      <c:pt idx="4790">
                        <c:v>2.8940000000000001</c:v>
                      </c:pt>
                      <c:pt idx="4791">
                        <c:v>2.8940000000000001</c:v>
                      </c:pt>
                      <c:pt idx="4792">
                        <c:v>2.8940000000000001</c:v>
                      </c:pt>
                      <c:pt idx="4793">
                        <c:v>2.8940000000000001</c:v>
                      </c:pt>
                      <c:pt idx="4794">
                        <c:v>2.8940000000000001</c:v>
                      </c:pt>
                      <c:pt idx="4795">
                        <c:v>3.044</c:v>
                      </c:pt>
                      <c:pt idx="4796">
                        <c:v>3.044</c:v>
                      </c:pt>
                      <c:pt idx="4797">
                        <c:v>3.044</c:v>
                      </c:pt>
                      <c:pt idx="4798">
                        <c:v>3.044</c:v>
                      </c:pt>
                      <c:pt idx="4799">
                        <c:v>3.044</c:v>
                      </c:pt>
                      <c:pt idx="4800">
                        <c:v>3.1120000000000001</c:v>
                      </c:pt>
                      <c:pt idx="4801">
                        <c:v>3.1120000000000001</c:v>
                      </c:pt>
                      <c:pt idx="4802">
                        <c:v>3.1120000000000001</c:v>
                      </c:pt>
                      <c:pt idx="4803">
                        <c:v>3.1120000000000001</c:v>
                      </c:pt>
                      <c:pt idx="4804">
                        <c:v>3.1120000000000001</c:v>
                      </c:pt>
                      <c:pt idx="4805">
                        <c:v>3.1440000000000001</c:v>
                      </c:pt>
                      <c:pt idx="4806">
                        <c:v>3.1440000000000001</c:v>
                      </c:pt>
                      <c:pt idx="4807">
                        <c:v>3.1440000000000001</c:v>
                      </c:pt>
                      <c:pt idx="4808">
                        <c:v>3.1440000000000001</c:v>
                      </c:pt>
                      <c:pt idx="4809">
                        <c:v>3.1440000000000001</c:v>
                      </c:pt>
                      <c:pt idx="4810">
                        <c:v>3.0720000000000001</c:v>
                      </c:pt>
                      <c:pt idx="4811">
                        <c:v>3.0720000000000001</c:v>
                      </c:pt>
                      <c:pt idx="4812">
                        <c:v>3.0720000000000001</c:v>
                      </c:pt>
                      <c:pt idx="4813">
                        <c:v>3.0720000000000001</c:v>
                      </c:pt>
                      <c:pt idx="4814">
                        <c:v>3.0720000000000001</c:v>
                      </c:pt>
                      <c:pt idx="4815">
                        <c:v>3.1019999999999999</c:v>
                      </c:pt>
                      <c:pt idx="4816">
                        <c:v>3.1019999999999999</c:v>
                      </c:pt>
                      <c:pt idx="4817">
                        <c:v>3.1019999999999999</c:v>
                      </c:pt>
                      <c:pt idx="4818">
                        <c:v>3.1019999999999999</c:v>
                      </c:pt>
                      <c:pt idx="4819">
                        <c:v>3.1019999999999999</c:v>
                      </c:pt>
                      <c:pt idx="4820">
                        <c:v>3.0630000000000002</c:v>
                      </c:pt>
                      <c:pt idx="4821">
                        <c:v>3.0630000000000002</c:v>
                      </c:pt>
                      <c:pt idx="4822">
                        <c:v>3.0630000000000002</c:v>
                      </c:pt>
                      <c:pt idx="4823">
                        <c:v>3.0630000000000002</c:v>
                      </c:pt>
                      <c:pt idx="4824">
                        <c:v>3.0630000000000002</c:v>
                      </c:pt>
                      <c:pt idx="4825">
                        <c:v>3.1259999999999999</c:v>
                      </c:pt>
                      <c:pt idx="4826">
                        <c:v>3.1259999999999999</c:v>
                      </c:pt>
                      <c:pt idx="4827">
                        <c:v>3.1259999999999999</c:v>
                      </c:pt>
                      <c:pt idx="4828">
                        <c:v>3.1259999999999999</c:v>
                      </c:pt>
                      <c:pt idx="4829">
                        <c:v>3.1259999999999999</c:v>
                      </c:pt>
                      <c:pt idx="4830">
                        <c:v>3.0950000000000002</c:v>
                      </c:pt>
                      <c:pt idx="4831">
                        <c:v>3.0950000000000002</c:v>
                      </c:pt>
                      <c:pt idx="4832">
                        <c:v>3.0950000000000002</c:v>
                      </c:pt>
                      <c:pt idx="4833">
                        <c:v>3.0950000000000002</c:v>
                      </c:pt>
                      <c:pt idx="4834">
                        <c:v>3.0950000000000002</c:v>
                      </c:pt>
                      <c:pt idx="4835">
                        <c:v>3.2069999999999999</c:v>
                      </c:pt>
                      <c:pt idx="4836">
                        <c:v>3.2069999999999999</c:v>
                      </c:pt>
                      <c:pt idx="4837">
                        <c:v>3.2069999999999999</c:v>
                      </c:pt>
                      <c:pt idx="4838">
                        <c:v>3.2069999999999999</c:v>
                      </c:pt>
                      <c:pt idx="4839">
                        <c:v>3.2069999999999999</c:v>
                      </c:pt>
                      <c:pt idx="4840">
                        <c:v>3.22</c:v>
                      </c:pt>
                      <c:pt idx="4841">
                        <c:v>3.22</c:v>
                      </c:pt>
                      <c:pt idx="4842">
                        <c:v>3.22</c:v>
                      </c:pt>
                      <c:pt idx="4843">
                        <c:v>3.22</c:v>
                      </c:pt>
                      <c:pt idx="4844">
                        <c:v>3.22</c:v>
                      </c:pt>
                      <c:pt idx="4845">
                        <c:v>3.1970000000000001</c:v>
                      </c:pt>
                      <c:pt idx="4846">
                        <c:v>3.1970000000000001</c:v>
                      </c:pt>
                      <c:pt idx="4847">
                        <c:v>3.1970000000000001</c:v>
                      </c:pt>
                      <c:pt idx="4848">
                        <c:v>3.1970000000000001</c:v>
                      </c:pt>
                      <c:pt idx="4849">
                        <c:v>3.1970000000000001</c:v>
                      </c:pt>
                      <c:pt idx="4850">
                        <c:v>3.2480000000000002</c:v>
                      </c:pt>
                      <c:pt idx="4851">
                        <c:v>3.2480000000000002</c:v>
                      </c:pt>
                      <c:pt idx="4852">
                        <c:v>3.2480000000000002</c:v>
                      </c:pt>
                      <c:pt idx="4853">
                        <c:v>3.2480000000000002</c:v>
                      </c:pt>
                      <c:pt idx="4854">
                        <c:v>3.2480000000000002</c:v>
                      </c:pt>
                      <c:pt idx="4855">
                        <c:v>3.2130000000000001</c:v>
                      </c:pt>
                      <c:pt idx="4856">
                        <c:v>3.2130000000000001</c:v>
                      </c:pt>
                      <c:pt idx="4857">
                        <c:v>3.2130000000000001</c:v>
                      </c:pt>
                      <c:pt idx="4858">
                        <c:v>3.2130000000000001</c:v>
                      </c:pt>
                      <c:pt idx="4859">
                        <c:v>3.2130000000000001</c:v>
                      </c:pt>
                      <c:pt idx="4860">
                        <c:v>3.2229999999999999</c:v>
                      </c:pt>
                      <c:pt idx="4861">
                        <c:v>3.2229999999999999</c:v>
                      </c:pt>
                      <c:pt idx="4862">
                        <c:v>3.2229999999999999</c:v>
                      </c:pt>
                      <c:pt idx="4863">
                        <c:v>3.2229999999999999</c:v>
                      </c:pt>
                      <c:pt idx="4864">
                        <c:v>3.2229999999999999</c:v>
                      </c:pt>
                      <c:pt idx="4865">
                        <c:v>3.2210000000000001</c:v>
                      </c:pt>
                      <c:pt idx="4866">
                        <c:v>3.2210000000000001</c:v>
                      </c:pt>
                      <c:pt idx="4867">
                        <c:v>3.2210000000000001</c:v>
                      </c:pt>
                      <c:pt idx="4868">
                        <c:v>3.2210000000000001</c:v>
                      </c:pt>
                      <c:pt idx="4869">
                        <c:v>3.2210000000000001</c:v>
                      </c:pt>
                      <c:pt idx="4870">
                        <c:v>3.2530000000000001</c:v>
                      </c:pt>
                      <c:pt idx="4871">
                        <c:v>3.2530000000000001</c:v>
                      </c:pt>
                      <c:pt idx="4872">
                        <c:v>3.2530000000000001</c:v>
                      </c:pt>
                      <c:pt idx="4873">
                        <c:v>3.2530000000000001</c:v>
                      </c:pt>
                      <c:pt idx="4874">
                        <c:v>3.2530000000000001</c:v>
                      </c:pt>
                      <c:pt idx="4875">
                        <c:v>3.27</c:v>
                      </c:pt>
                      <c:pt idx="4876">
                        <c:v>3.27</c:v>
                      </c:pt>
                      <c:pt idx="4877">
                        <c:v>3.27</c:v>
                      </c:pt>
                      <c:pt idx="4878">
                        <c:v>3.27</c:v>
                      </c:pt>
                      <c:pt idx="4879">
                        <c:v>3.27</c:v>
                      </c:pt>
                      <c:pt idx="4880">
                        <c:v>3.363</c:v>
                      </c:pt>
                      <c:pt idx="4881">
                        <c:v>3.363</c:v>
                      </c:pt>
                      <c:pt idx="4882">
                        <c:v>3.363</c:v>
                      </c:pt>
                      <c:pt idx="4883">
                        <c:v>3.363</c:v>
                      </c:pt>
                      <c:pt idx="4884">
                        <c:v>3.363</c:v>
                      </c:pt>
                      <c:pt idx="4885">
                        <c:v>3.3780000000000001</c:v>
                      </c:pt>
                      <c:pt idx="4886">
                        <c:v>3.3780000000000001</c:v>
                      </c:pt>
                      <c:pt idx="4887">
                        <c:v>3.3780000000000001</c:v>
                      </c:pt>
                      <c:pt idx="4888">
                        <c:v>3.3780000000000001</c:v>
                      </c:pt>
                      <c:pt idx="4889">
                        <c:v>3.3780000000000001</c:v>
                      </c:pt>
                      <c:pt idx="4890">
                        <c:v>3.3239999999999998</c:v>
                      </c:pt>
                      <c:pt idx="4891">
                        <c:v>3.3239999999999998</c:v>
                      </c:pt>
                      <c:pt idx="4892">
                        <c:v>3.3239999999999998</c:v>
                      </c:pt>
                      <c:pt idx="4893">
                        <c:v>3.3239999999999998</c:v>
                      </c:pt>
                      <c:pt idx="4894">
                        <c:v>3.3239999999999998</c:v>
                      </c:pt>
                      <c:pt idx="4895">
                        <c:v>3.3559999999999999</c:v>
                      </c:pt>
                      <c:pt idx="4896">
                        <c:v>3.3559999999999999</c:v>
                      </c:pt>
                      <c:pt idx="4897">
                        <c:v>3.3559999999999999</c:v>
                      </c:pt>
                      <c:pt idx="4898">
                        <c:v>3.3559999999999999</c:v>
                      </c:pt>
                      <c:pt idx="4899">
                        <c:v>3.3559999999999999</c:v>
                      </c:pt>
                      <c:pt idx="4900">
                        <c:v>3.3490000000000002</c:v>
                      </c:pt>
                      <c:pt idx="4901">
                        <c:v>3.3490000000000002</c:v>
                      </c:pt>
                      <c:pt idx="4902">
                        <c:v>3.3490000000000002</c:v>
                      </c:pt>
                      <c:pt idx="4903">
                        <c:v>3.3490000000000002</c:v>
                      </c:pt>
                      <c:pt idx="4904">
                        <c:v>3.3490000000000002</c:v>
                      </c:pt>
                      <c:pt idx="4905">
                        <c:v>3.387</c:v>
                      </c:pt>
                      <c:pt idx="4906">
                        <c:v>3.387</c:v>
                      </c:pt>
                      <c:pt idx="4907">
                        <c:v>3.387</c:v>
                      </c:pt>
                      <c:pt idx="4908">
                        <c:v>3.387</c:v>
                      </c:pt>
                      <c:pt idx="4909">
                        <c:v>3.387</c:v>
                      </c:pt>
                      <c:pt idx="4910">
                        <c:v>3.3580000000000001</c:v>
                      </c:pt>
                      <c:pt idx="4911">
                        <c:v>3.3580000000000001</c:v>
                      </c:pt>
                      <c:pt idx="4912">
                        <c:v>3.3580000000000001</c:v>
                      </c:pt>
                      <c:pt idx="4913">
                        <c:v>3.3580000000000001</c:v>
                      </c:pt>
                      <c:pt idx="4914">
                        <c:v>3.3580000000000001</c:v>
                      </c:pt>
                      <c:pt idx="4915">
                        <c:v>3.36</c:v>
                      </c:pt>
                      <c:pt idx="4916">
                        <c:v>3.36</c:v>
                      </c:pt>
                      <c:pt idx="4917">
                        <c:v>3.36</c:v>
                      </c:pt>
                      <c:pt idx="4918">
                        <c:v>3.36</c:v>
                      </c:pt>
                      <c:pt idx="4919">
                        <c:v>3.36</c:v>
                      </c:pt>
                      <c:pt idx="4920">
                        <c:v>3.3439999999999999</c:v>
                      </c:pt>
                      <c:pt idx="4921">
                        <c:v>3.3439999999999999</c:v>
                      </c:pt>
                      <c:pt idx="4922">
                        <c:v>3.3439999999999999</c:v>
                      </c:pt>
                      <c:pt idx="4923">
                        <c:v>3.3439999999999999</c:v>
                      </c:pt>
                      <c:pt idx="4924">
                        <c:v>3.3439999999999999</c:v>
                      </c:pt>
                      <c:pt idx="4925">
                        <c:v>3.2229999999999999</c:v>
                      </c:pt>
                      <c:pt idx="4926">
                        <c:v>3.2229999999999999</c:v>
                      </c:pt>
                      <c:pt idx="4927">
                        <c:v>3.2229999999999999</c:v>
                      </c:pt>
                      <c:pt idx="4928">
                        <c:v>3.2229999999999999</c:v>
                      </c:pt>
                      <c:pt idx="4929">
                        <c:v>3.2229999999999999</c:v>
                      </c:pt>
                      <c:pt idx="4930">
                        <c:v>3.2229999999999999</c:v>
                      </c:pt>
                      <c:pt idx="4931">
                        <c:v>3.2229999999999999</c:v>
                      </c:pt>
                      <c:pt idx="4932">
                        <c:v>3.2229999999999999</c:v>
                      </c:pt>
                      <c:pt idx="4933">
                        <c:v>3.2229999999999999</c:v>
                      </c:pt>
                      <c:pt idx="4934">
                        <c:v>3.2229999999999999</c:v>
                      </c:pt>
                      <c:pt idx="4935">
                        <c:v>3.202</c:v>
                      </c:pt>
                      <c:pt idx="4936">
                        <c:v>3.202</c:v>
                      </c:pt>
                      <c:pt idx="4937">
                        <c:v>3.202</c:v>
                      </c:pt>
                      <c:pt idx="4938">
                        <c:v>3.202</c:v>
                      </c:pt>
                      <c:pt idx="4939">
                        <c:v>3.202</c:v>
                      </c:pt>
                      <c:pt idx="4940">
                        <c:v>3.149</c:v>
                      </c:pt>
                      <c:pt idx="4941">
                        <c:v>3.149</c:v>
                      </c:pt>
                      <c:pt idx="4942">
                        <c:v>3.149</c:v>
                      </c:pt>
                      <c:pt idx="4943">
                        <c:v>3.149</c:v>
                      </c:pt>
                      <c:pt idx="4944">
                        <c:v>3.149</c:v>
                      </c:pt>
                      <c:pt idx="4945">
                        <c:v>3.2570000000000001</c:v>
                      </c:pt>
                      <c:pt idx="4946">
                        <c:v>3.2570000000000001</c:v>
                      </c:pt>
                      <c:pt idx="4947">
                        <c:v>3.2570000000000001</c:v>
                      </c:pt>
                      <c:pt idx="4948">
                        <c:v>3.2570000000000001</c:v>
                      </c:pt>
                      <c:pt idx="4949">
                        <c:v>3.2570000000000001</c:v>
                      </c:pt>
                      <c:pt idx="4950">
                        <c:v>3.2349999999999999</c:v>
                      </c:pt>
                      <c:pt idx="4951">
                        <c:v>3.2349999999999999</c:v>
                      </c:pt>
                      <c:pt idx="4952">
                        <c:v>3.2349999999999999</c:v>
                      </c:pt>
                      <c:pt idx="4953">
                        <c:v>3.2349999999999999</c:v>
                      </c:pt>
                      <c:pt idx="4954">
                        <c:v>3.2349999999999999</c:v>
                      </c:pt>
                      <c:pt idx="4955">
                        <c:v>3.2530000000000001</c:v>
                      </c:pt>
                      <c:pt idx="4956">
                        <c:v>3.2530000000000001</c:v>
                      </c:pt>
                      <c:pt idx="4957">
                        <c:v>3.2530000000000001</c:v>
                      </c:pt>
                      <c:pt idx="4958">
                        <c:v>3.2530000000000001</c:v>
                      </c:pt>
                      <c:pt idx="4959">
                        <c:v>3.2530000000000001</c:v>
                      </c:pt>
                      <c:pt idx="4960">
                        <c:v>3.2010000000000001</c:v>
                      </c:pt>
                      <c:pt idx="4961">
                        <c:v>3.2010000000000001</c:v>
                      </c:pt>
                      <c:pt idx="4962">
                        <c:v>3.2010000000000001</c:v>
                      </c:pt>
                      <c:pt idx="4963">
                        <c:v>3.2010000000000001</c:v>
                      </c:pt>
                      <c:pt idx="4964">
                        <c:v>3.2010000000000001</c:v>
                      </c:pt>
                      <c:pt idx="4965">
                        <c:v>3.181</c:v>
                      </c:pt>
                      <c:pt idx="4966">
                        <c:v>3.181</c:v>
                      </c:pt>
                      <c:pt idx="4967">
                        <c:v>3.181</c:v>
                      </c:pt>
                      <c:pt idx="4968">
                        <c:v>3.181</c:v>
                      </c:pt>
                      <c:pt idx="4969">
                        <c:v>3.181</c:v>
                      </c:pt>
                      <c:pt idx="4970">
                        <c:v>3.2349999999999999</c:v>
                      </c:pt>
                      <c:pt idx="4971">
                        <c:v>3.2349999999999999</c:v>
                      </c:pt>
                      <c:pt idx="4972">
                        <c:v>3.2349999999999999</c:v>
                      </c:pt>
                      <c:pt idx="4973">
                        <c:v>3.2349999999999999</c:v>
                      </c:pt>
                      <c:pt idx="4974">
                        <c:v>3.2349999999999999</c:v>
                      </c:pt>
                      <c:pt idx="4975">
                        <c:v>3.2389999999999999</c:v>
                      </c:pt>
                      <c:pt idx="4976">
                        <c:v>3.2389999999999999</c:v>
                      </c:pt>
                      <c:pt idx="4977">
                        <c:v>3.2389999999999999</c:v>
                      </c:pt>
                      <c:pt idx="4978">
                        <c:v>3.2389999999999999</c:v>
                      </c:pt>
                      <c:pt idx="4979">
                        <c:v>3.2389999999999999</c:v>
                      </c:pt>
                      <c:pt idx="4980">
                        <c:v>3.25</c:v>
                      </c:pt>
                      <c:pt idx="4981">
                        <c:v>3.25</c:v>
                      </c:pt>
                      <c:pt idx="4982">
                        <c:v>3.25</c:v>
                      </c:pt>
                      <c:pt idx="4983">
                        <c:v>3.25</c:v>
                      </c:pt>
                      <c:pt idx="4984">
                        <c:v>3.25</c:v>
                      </c:pt>
                      <c:pt idx="4985">
                        <c:v>3.2410000000000001</c:v>
                      </c:pt>
                      <c:pt idx="4986">
                        <c:v>3.2410000000000001</c:v>
                      </c:pt>
                      <c:pt idx="4987">
                        <c:v>3.2410000000000001</c:v>
                      </c:pt>
                      <c:pt idx="4988">
                        <c:v>3.2410000000000001</c:v>
                      </c:pt>
                      <c:pt idx="4989">
                        <c:v>3.2410000000000001</c:v>
                      </c:pt>
                      <c:pt idx="4990">
                        <c:v>3.371</c:v>
                      </c:pt>
                      <c:pt idx="4991">
                        <c:v>3.371</c:v>
                      </c:pt>
                      <c:pt idx="4992">
                        <c:v>3.371</c:v>
                      </c:pt>
                      <c:pt idx="4993">
                        <c:v>3.371</c:v>
                      </c:pt>
                      <c:pt idx="4994">
                        <c:v>3.371</c:v>
                      </c:pt>
                      <c:pt idx="4995">
                        <c:v>3.37</c:v>
                      </c:pt>
                      <c:pt idx="4996">
                        <c:v>3.37</c:v>
                      </c:pt>
                      <c:pt idx="4997">
                        <c:v>3.37</c:v>
                      </c:pt>
                      <c:pt idx="4998">
                        <c:v>3.37</c:v>
                      </c:pt>
                      <c:pt idx="4999">
                        <c:v>3.37</c:v>
                      </c:pt>
                      <c:pt idx="5000">
                        <c:v>3.4020000000000001</c:v>
                      </c:pt>
                      <c:pt idx="5001">
                        <c:v>3.4020000000000001</c:v>
                      </c:pt>
                      <c:pt idx="5002">
                        <c:v>3.4020000000000001</c:v>
                      </c:pt>
                      <c:pt idx="5003">
                        <c:v>3.4020000000000001</c:v>
                      </c:pt>
                      <c:pt idx="5004">
                        <c:v>3.4020000000000001</c:v>
                      </c:pt>
                      <c:pt idx="5005">
                        <c:v>3.37</c:v>
                      </c:pt>
                      <c:pt idx="5006">
                        <c:v>3.37</c:v>
                      </c:pt>
                      <c:pt idx="5007">
                        <c:v>3.37</c:v>
                      </c:pt>
                      <c:pt idx="5008">
                        <c:v>3.37</c:v>
                      </c:pt>
                      <c:pt idx="5009">
                        <c:v>3.37</c:v>
                      </c:pt>
                      <c:pt idx="5010">
                        <c:v>3.4740000000000002</c:v>
                      </c:pt>
                      <c:pt idx="5011">
                        <c:v>3.4740000000000002</c:v>
                      </c:pt>
                      <c:pt idx="5012">
                        <c:v>3.4740000000000002</c:v>
                      </c:pt>
                      <c:pt idx="5013">
                        <c:v>3.4740000000000002</c:v>
                      </c:pt>
                      <c:pt idx="5014">
                        <c:v>3.4740000000000002</c:v>
                      </c:pt>
                      <c:pt idx="5015">
                        <c:v>3.5</c:v>
                      </c:pt>
                      <c:pt idx="5016">
                        <c:v>3.5</c:v>
                      </c:pt>
                      <c:pt idx="5017">
                        <c:v>3.5</c:v>
                      </c:pt>
                      <c:pt idx="5018">
                        <c:v>3.5</c:v>
                      </c:pt>
                      <c:pt idx="5019">
                        <c:v>3.5</c:v>
                      </c:pt>
                      <c:pt idx="5020">
                        <c:v>3.5009999999999999</c:v>
                      </c:pt>
                      <c:pt idx="5021">
                        <c:v>3.5009999999999999</c:v>
                      </c:pt>
                      <c:pt idx="5022">
                        <c:v>3.5009999999999999</c:v>
                      </c:pt>
                      <c:pt idx="5023">
                        <c:v>3.5009999999999999</c:v>
                      </c:pt>
                      <c:pt idx="5024">
                        <c:v>3.5009999999999999</c:v>
                      </c:pt>
                      <c:pt idx="5025">
                        <c:v>3.4729999999999999</c:v>
                      </c:pt>
                      <c:pt idx="5026">
                        <c:v>3.4729999999999999</c:v>
                      </c:pt>
                      <c:pt idx="5027">
                        <c:v>3.4729999999999999</c:v>
                      </c:pt>
                      <c:pt idx="5028">
                        <c:v>3.4729999999999999</c:v>
                      </c:pt>
                      <c:pt idx="5029">
                        <c:v>3.4729999999999999</c:v>
                      </c:pt>
                      <c:pt idx="5030">
                        <c:v>3.6019999999999999</c:v>
                      </c:pt>
                      <c:pt idx="5031">
                        <c:v>3.6019999999999999</c:v>
                      </c:pt>
                      <c:pt idx="5032">
                        <c:v>3.6019999999999999</c:v>
                      </c:pt>
                      <c:pt idx="5033">
                        <c:v>3.6019999999999999</c:v>
                      </c:pt>
                      <c:pt idx="5034">
                        <c:v>3.6019999999999999</c:v>
                      </c:pt>
                      <c:pt idx="5035">
                        <c:v>3.6349999999999998</c:v>
                      </c:pt>
                      <c:pt idx="5036">
                        <c:v>3.6349999999999998</c:v>
                      </c:pt>
                      <c:pt idx="5037">
                        <c:v>3.6349999999999998</c:v>
                      </c:pt>
                      <c:pt idx="5038">
                        <c:v>3.6349999999999998</c:v>
                      </c:pt>
                      <c:pt idx="5039">
                        <c:v>3.6349999999999998</c:v>
                      </c:pt>
                      <c:pt idx="5040">
                        <c:v>3.6139999999999999</c:v>
                      </c:pt>
                      <c:pt idx="5041">
                        <c:v>3.6139999999999999</c:v>
                      </c:pt>
                      <c:pt idx="5042">
                        <c:v>3.6139999999999999</c:v>
                      </c:pt>
                      <c:pt idx="5043">
                        <c:v>3.6139999999999999</c:v>
                      </c:pt>
                      <c:pt idx="5044">
                        <c:v>3.6139999999999999</c:v>
                      </c:pt>
                      <c:pt idx="5045">
                        <c:v>3.625</c:v>
                      </c:pt>
                      <c:pt idx="5046">
                        <c:v>3.625</c:v>
                      </c:pt>
                      <c:pt idx="5047">
                        <c:v>3.625</c:v>
                      </c:pt>
                      <c:pt idx="5048">
                        <c:v>3.625</c:v>
                      </c:pt>
                      <c:pt idx="5049">
                        <c:v>3.625</c:v>
                      </c:pt>
                      <c:pt idx="5050">
                        <c:v>3.605</c:v>
                      </c:pt>
                      <c:pt idx="5051">
                        <c:v>3.605</c:v>
                      </c:pt>
                      <c:pt idx="5052">
                        <c:v>3.605</c:v>
                      </c:pt>
                      <c:pt idx="5053">
                        <c:v>3.605</c:v>
                      </c:pt>
                      <c:pt idx="5054">
                        <c:v>3.605</c:v>
                      </c:pt>
                      <c:pt idx="5055">
                        <c:v>3.7120000000000002</c:v>
                      </c:pt>
                      <c:pt idx="5056">
                        <c:v>3.7120000000000002</c:v>
                      </c:pt>
                      <c:pt idx="5057">
                        <c:v>3.7120000000000002</c:v>
                      </c:pt>
                      <c:pt idx="5058">
                        <c:v>3.7120000000000002</c:v>
                      </c:pt>
                      <c:pt idx="5059">
                        <c:v>3.7120000000000002</c:v>
                      </c:pt>
                      <c:pt idx="5060">
                        <c:v>3.7040000000000002</c:v>
                      </c:pt>
                      <c:pt idx="5061">
                        <c:v>3.7040000000000002</c:v>
                      </c:pt>
                      <c:pt idx="5062">
                        <c:v>3.7040000000000002</c:v>
                      </c:pt>
                      <c:pt idx="5063">
                        <c:v>3.7040000000000002</c:v>
                      </c:pt>
                      <c:pt idx="5064">
                        <c:v>3.7040000000000002</c:v>
                      </c:pt>
                      <c:pt idx="5065">
                        <c:v>3.71</c:v>
                      </c:pt>
                      <c:pt idx="5066">
                        <c:v>3.71</c:v>
                      </c:pt>
                      <c:pt idx="5067">
                        <c:v>3.71</c:v>
                      </c:pt>
                      <c:pt idx="5068">
                        <c:v>3.71</c:v>
                      </c:pt>
                      <c:pt idx="5069">
                        <c:v>3.71</c:v>
                      </c:pt>
                      <c:pt idx="5070">
                        <c:v>3.7210000000000001</c:v>
                      </c:pt>
                      <c:pt idx="5071">
                        <c:v>3.7210000000000001</c:v>
                      </c:pt>
                      <c:pt idx="5072">
                        <c:v>3.7210000000000001</c:v>
                      </c:pt>
                      <c:pt idx="5073">
                        <c:v>3.7210000000000001</c:v>
                      </c:pt>
                      <c:pt idx="5074">
                        <c:v>3.7210000000000001</c:v>
                      </c:pt>
                      <c:pt idx="5075">
                        <c:v>3.831</c:v>
                      </c:pt>
                      <c:pt idx="5076">
                        <c:v>3.831</c:v>
                      </c:pt>
                      <c:pt idx="5077">
                        <c:v>3.831</c:v>
                      </c:pt>
                      <c:pt idx="5078">
                        <c:v>3.831</c:v>
                      </c:pt>
                      <c:pt idx="5079">
                        <c:v>3.831</c:v>
                      </c:pt>
                      <c:pt idx="5080">
                        <c:v>3.8159999999999998</c:v>
                      </c:pt>
                      <c:pt idx="5081">
                        <c:v>3.8159999999999998</c:v>
                      </c:pt>
                      <c:pt idx="5082">
                        <c:v>3.8159999999999998</c:v>
                      </c:pt>
                      <c:pt idx="5083">
                        <c:v>3.8159999999999998</c:v>
                      </c:pt>
                      <c:pt idx="5084">
                        <c:v>3.8159999999999998</c:v>
                      </c:pt>
                      <c:pt idx="5085">
                        <c:v>3.8119999999999998</c:v>
                      </c:pt>
                      <c:pt idx="5086">
                        <c:v>3.8119999999999998</c:v>
                      </c:pt>
                      <c:pt idx="5087">
                        <c:v>3.8119999999999998</c:v>
                      </c:pt>
                      <c:pt idx="5088">
                        <c:v>3.8119999999999998</c:v>
                      </c:pt>
                      <c:pt idx="5089">
                        <c:v>3.8119999999999998</c:v>
                      </c:pt>
                      <c:pt idx="5090">
                        <c:v>3.802</c:v>
                      </c:pt>
                      <c:pt idx="5091">
                        <c:v>3.802</c:v>
                      </c:pt>
                      <c:pt idx="5092">
                        <c:v>3.802</c:v>
                      </c:pt>
                      <c:pt idx="5093">
                        <c:v>3.802</c:v>
                      </c:pt>
                      <c:pt idx="5094">
                        <c:v>3.802</c:v>
                      </c:pt>
                      <c:pt idx="5095">
                        <c:v>3.7879999999999998</c:v>
                      </c:pt>
                      <c:pt idx="5096">
                        <c:v>3.7879999999999998</c:v>
                      </c:pt>
                      <c:pt idx="5097">
                        <c:v>3.7879999999999998</c:v>
                      </c:pt>
                      <c:pt idx="5098">
                        <c:v>3.7879999999999998</c:v>
                      </c:pt>
                      <c:pt idx="5099">
                        <c:v>3.7879999999999998</c:v>
                      </c:pt>
                      <c:pt idx="5100">
                        <c:v>3.86</c:v>
                      </c:pt>
                      <c:pt idx="5101">
                        <c:v>3.86</c:v>
                      </c:pt>
                      <c:pt idx="5102">
                        <c:v>3.86</c:v>
                      </c:pt>
                      <c:pt idx="5103">
                        <c:v>3.86</c:v>
                      </c:pt>
                      <c:pt idx="5104">
                        <c:v>3.86</c:v>
                      </c:pt>
                      <c:pt idx="5105">
                        <c:v>3.8650000000000002</c:v>
                      </c:pt>
                      <c:pt idx="5106">
                        <c:v>3.8650000000000002</c:v>
                      </c:pt>
                      <c:pt idx="5107">
                        <c:v>3.8650000000000002</c:v>
                      </c:pt>
                      <c:pt idx="5108">
                        <c:v>3.8650000000000002</c:v>
                      </c:pt>
                      <c:pt idx="5109">
                        <c:v>3.8650000000000002</c:v>
                      </c:pt>
                      <c:pt idx="5110">
                        <c:v>3.843</c:v>
                      </c:pt>
                      <c:pt idx="5111">
                        <c:v>3.843</c:v>
                      </c:pt>
                      <c:pt idx="5112">
                        <c:v>3.843</c:v>
                      </c:pt>
                      <c:pt idx="5113">
                        <c:v>3.843</c:v>
                      </c:pt>
                      <c:pt idx="5114">
                        <c:v>3.843</c:v>
                      </c:pt>
                      <c:pt idx="5115">
                        <c:v>3.8069999999999999</c:v>
                      </c:pt>
                      <c:pt idx="5116">
                        <c:v>3.8069999999999999</c:v>
                      </c:pt>
                      <c:pt idx="5117">
                        <c:v>3.8069999999999999</c:v>
                      </c:pt>
                      <c:pt idx="5118">
                        <c:v>3.8069999999999999</c:v>
                      </c:pt>
                      <c:pt idx="5119">
                        <c:v>3.8069999999999999</c:v>
                      </c:pt>
                      <c:pt idx="5120">
                        <c:v>3.8530000000000002</c:v>
                      </c:pt>
                      <c:pt idx="5121">
                        <c:v>3.8530000000000002</c:v>
                      </c:pt>
                      <c:pt idx="5122">
                        <c:v>3.8530000000000002</c:v>
                      </c:pt>
                      <c:pt idx="5123">
                        <c:v>3.8530000000000002</c:v>
                      </c:pt>
                      <c:pt idx="5124">
                        <c:v>3.8530000000000002</c:v>
                      </c:pt>
                      <c:pt idx="5125">
                        <c:v>3.8050000000000002</c:v>
                      </c:pt>
                      <c:pt idx="5126">
                        <c:v>3.8050000000000002</c:v>
                      </c:pt>
                      <c:pt idx="5127">
                        <c:v>3.8050000000000002</c:v>
                      </c:pt>
                      <c:pt idx="5128">
                        <c:v>3.8050000000000002</c:v>
                      </c:pt>
                      <c:pt idx="5129">
                        <c:v>3.8050000000000002</c:v>
                      </c:pt>
                      <c:pt idx="5130">
                        <c:v>3.79</c:v>
                      </c:pt>
                      <c:pt idx="5131">
                        <c:v>3.79</c:v>
                      </c:pt>
                      <c:pt idx="5132">
                        <c:v>3.79</c:v>
                      </c:pt>
                      <c:pt idx="5133">
                        <c:v>3.79</c:v>
                      </c:pt>
                      <c:pt idx="5134">
                        <c:v>3.79</c:v>
                      </c:pt>
                      <c:pt idx="5135">
                        <c:v>3.7589999999999999</c:v>
                      </c:pt>
                      <c:pt idx="5136">
                        <c:v>3.7589999999999999</c:v>
                      </c:pt>
                      <c:pt idx="5137">
                        <c:v>3.7589999999999999</c:v>
                      </c:pt>
                      <c:pt idx="5138">
                        <c:v>3.7589999999999999</c:v>
                      </c:pt>
                      <c:pt idx="5139">
                        <c:v>3.7589999999999999</c:v>
                      </c:pt>
                      <c:pt idx="5140">
                        <c:v>3.8149999999999999</c:v>
                      </c:pt>
                      <c:pt idx="5141">
                        <c:v>3.8149999999999999</c:v>
                      </c:pt>
                      <c:pt idx="5142">
                        <c:v>3.8149999999999999</c:v>
                      </c:pt>
                      <c:pt idx="5143">
                        <c:v>3.8149999999999999</c:v>
                      </c:pt>
                      <c:pt idx="5144">
                        <c:v>3.8149999999999999</c:v>
                      </c:pt>
                      <c:pt idx="5145">
                        <c:v>3.8460000000000001</c:v>
                      </c:pt>
                      <c:pt idx="5146">
                        <c:v>3.8460000000000001</c:v>
                      </c:pt>
                      <c:pt idx="5147">
                        <c:v>3.8460000000000001</c:v>
                      </c:pt>
                      <c:pt idx="5148">
                        <c:v>3.8460000000000001</c:v>
                      </c:pt>
                      <c:pt idx="5149">
                        <c:v>3.8460000000000001</c:v>
                      </c:pt>
                      <c:pt idx="5150">
                        <c:v>3.871</c:v>
                      </c:pt>
                      <c:pt idx="5151">
                        <c:v>3.871</c:v>
                      </c:pt>
                      <c:pt idx="5152">
                        <c:v>3.871</c:v>
                      </c:pt>
                      <c:pt idx="5153">
                        <c:v>3.871</c:v>
                      </c:pt>
                      <c:pt idx="5154">
                        <c:v>3.871</c:v>
                      </c:pt>
                      <c:pt idx="5155">
                        <c:v>3.88</c:v>
                      </c:pt>
                      <c:pt idx="5156">
                        <c:v>3.88</c:v>
                      </c:pt>
                      <c:pt idx="5157">
                        <c:v>3.88</c:v>
                      </c:pt>
                      <c:pt idx="5158">
                        <c:v>3.88</c:v>
                      </c:pt>
                      <c:pt idx="5159">
                        <c:v>3.88</c:v>
                      </c:pt>
                      <c:pt idx="5160">
                        <c:v>3.86</c:v>
                      </c:pt>
                      <c:pt idx="5161">
                        <c:v>3.86</c:v>
                      </c:pt>
                      <c:pt idx="5162">
                        <c:v>3.86</c:v>
                      </c:pt>
                      <c:pt idx="5163">
                        <c:v>3.86</c:v>
                      </c:pt>
                      <c:pt idx="5164">
                        <c:v>3.86</c:v>
                      </c:pt>
                      <c:pt idx="5165">
                        <c:v>3.835</c:v>
                      </c:pt>
                      <c:pt idx="5166">
                        <c:v>3.835</c:v>
                      </c:pt>
                      <c:pt idx="5167">
                        <c:v>3.835</c:v>
                      </c:pt>
                      <c:pt idx="5168">
                        <c:v>3.835</c:v>
                      </c:pt>
                      <c:pt idx="5169">
                        <c:v>3.835</c:v>
                      </c:pt>
                      <c:pt idx="5170">
                        <c:v>3.7850000000000001</c:v>
                      </c:pt>
                      <c:pt idx="5171">
                        <c:v>3.7850000000000001</c:v>
                      </c:pt>
                      <c:pt idx="5172">
                        <c:v>3.7850000000000001</c:v>
                      </c:pt>
                      <c:pt idx="5173">
                        <c:v>3.7850000000000001</c:v>
                      </c:pt>
                      <c:pt idx="5174">
                        <c:v>3.7850000000000001</c:v>
                      </c:pt>
                      <c:pt idx="5175">
                        <c:v>3.7890000000000001</c:v>
                      </c:pt>
                      <c:pt idx="5176">
                        <c:v>3.7890000000000001</c:v>
                      </c:pt>
                      <c:pt idx="5177">
                        <c:v>3.7890000000000001</c:v>
                      </c:pt>
                      <c:pt idx="5178">
                        <c:v>3.7890000000000001</c:v>
                      </c:pt>
                      <c:pt idx="5179">
                        <c:v>3.7890000000000001</c:v>
                      </c:pt>
                      <c:pt idx="5180">
                        <c:v>3.7639999999999998</c:v>
                      </c:pt>
                      <c:pt idx="5181">
                        <c:v>3.7639999999999998</c:v>
                      </c:pt>
                      <c:pt idx="5182">
                        <c:v>3.7639999999999998</c:v>
                      </c:pt>
                      <c:pt idx="5183">
                        <c:v>3.7639999999999998</c:v>
                      </c:pt>
                      <c:pt idx="5184">
                        <c:v>3.7639999999999998</c:v>
                      </c:pt>
                      <c:pt idx="5185">
                        <c:v>3.819</c:v>
                      </c:pt>
                      <c:pt idx="5186">
                        <c:v>3.819</c:v>
                      </c:pt>
                      <c:pt idx="5187">
                        <c:v>3.819</c:v>
                      </c:pt>
                      <c:pt idx="5188">
                        <c:v>3.819</c:v>
                      </c:pt>
                      <c:pt idx="5189">
                        <c:v>3.819</c:v>
                      </c:pt>
                      <c:pt idx="5190">
                        <c:v>3.8380000000000001</c:v>
                      </c:pt>
                      <c:pt idx="5191">
                        <c:v>3.8380000000000001</c:v>
                      </c:pt>
                      <c:pt idx="5192">
                        <c:v>3.8380000000000001</c:v>
                      </c:pt>
                      <c:pt idx="5193">
                        <c:v>3.8380000000000001</c:v>
                      </c:pt>
                      <c:pt idx="5194">
                        <c:v>3.8380000000000001</c:v>
                      </c:pt>
                      <c:pt idx="5195">
                        <c:v>3.867</c:v>
                      </c:pt>
                      <c:pt idx="5196">
                        <c:v>3.867</c:v>
                      </c:pt>
                      <c:pt idx="5197">
                        <c:v>3.867</c:v>
                      </c:pt>
                      <c:pt idx="5198">
                        <c:v>3.867</c:v>
                      </c:pt>
                      <c:pt idx="5199">
                        <c:v>3.867</c:v>
                      </c:pt>
                      <c:pt idx="5200">
                        <c:v>3.78</c:v>
                      </c:pt>
                      <c:pt idx="5201">
                        <c:v>3.78</c:v>
                      </c:pt>
                      <c:pt idx="5202">
                        <c:v>3.78</c:v>
                      </c:pt>
                      <c:pt idx="5203">
                        <c:v>3.78</c:v>
                      </c:pt>
                      <c:pt idx="5204">
                        <c:v>3.78</c:v>
                      </c:pt>
                      <c:pt idx="5205">
                        <c:v>3.8820000000000001</c:v>
                      </c:pt>
                      <c:pt idx="5206">
                        <c:v>3.8820000000000001</c:v>
                      </c:pt>
                      <c:pt idx="5207">
                        <c:v>3.8820000000000001</c:v>
                      </c:pt>
                      <c:pt idx="5208">
                        <c:v>3.8820000000000001</c:v>
                      </c:pt>
                      <c:pt idx="5209">
                        <c:v>3.8820000000000001</c:v>
                      </c:pt>
                      <c:pt idx="5210">
                        <c:v>3.863</c:v>
                      </c:pt>
                      <c:pt idx="5211">
                        <c:v>3.863</c:v>
                      </c:pt>
                      <c:pt idx="5212">
                        <c:v>3.863</c:v>
                      </c:pt>
                      <c:pt idx="5213">
                        <c:v>3.863</c:v>
                      </c:pt>
                      <c:pt idx="5214">
                        <c:v>3.863</c:v>
                      </c:pt>
                      <c:pt idx="5215">
                        <c:v>3.851</c:v>
                      </c:pt>
                      <c:pt idx="5216">
                        <c:v>3.851</c:v>
                      </c:pt>
                      <c:pt idx="5217">
                        <c:v>3.851</c:v>
                      </c:pt>
                      <c:pt idx="5218">
                        <c:v>3.851</c:v>
                      </c:pt>
                      <c:pt idx="5219">
                        <c:v>3.851</c:v>
                      </c:pt>
                      <c:pt idx="5220">
                        <c:v>3.859</c:v>
                      </c:pt>
                      <c:pt idx="5221">
                        <c:v>3.859</c:v>
                      </c:pt>
                      <c:pt idx="5222">
                        <c:v>3.859</c:v>
                      </c:pt>
                      <c:pt idx="5223">
                        <c:v>3.859</c:v>
                      </c:pt>
                      <c:pt idx="5224">
                        <c:v>3.859</c:v>
                      </c:pt>
                      <c:pt idx="5225">
                        <c:v>3.907</c:v>
                      </c:pt>
                      <c:pt idx="5226">
                        <c:v>3.907</c:v>
                      </c:pt>
                      <c:pt idx="5227">
                        <c:v>3.907</c:v>
                      </c:pt>
                      <c:pt idx="5228">
                        <c:v>3.907</c:v>
                      </c:pt>
                      <c:pt idx="5229">
                        <c:v>3.907</c:v>
                      </c:pt>
                      <c:pt idx="5230">
                        <c:v>4.0039999999999996</c:v>
                      </c:pt>
                      <c:pt idx="5231">
                        <c:v>4.0039999999999996</c:v>
                      </c:pt>
                      <c:pt idx="5232">
                        <c:v>4.0039999999999996</c:v>
                      </c:pt>
                      <c:pt idx="5233">
                        <c:v>4.0039999999999996</c:v>
                      </c:pt>
                      <c:pt idx="5234">
                        <c:v>4.0039999999999996</c:v>
                      </c:pt>
                      <c:pt idx="5235">
                        <c:v>3.9990000000000001</c:v>
                      </c:pt>
                      <c:pt idx="5236">
                        <c:v>3.9990000000000001</c:v>
                      </c:pt>
                      <c:pt idx="5237">
                        <c:v>3.9990000000000001</c:v>
                      </c:pt>
                      <c:pt idx="5238">
                        <c:v>3.9990000000000001</c:v>
                      </c:pt>
                      <c:pt idx="5239">
                        <c:v>3.9990000000000001</c:v>
                      </c:pt>
                      <c:pt idx="5240">
                        <c:v>4.0350000000000001</c:v>
                      </c:pt>
                      <c:pt idx="5241">
                        <c:v>4.0350000000000001</c:v>
                      </c:pt>
                      <c:pt idx="5242">
                        <c:v>4.0350000000000001</c:v>
                      </c:pt>
                      <c:pt idx="5243">
                        <c:v>4.0350000000000001</c:v>
                      </c:pt>
                      <c:pt idx="5244">
                        <c:v>4.0350000000000001</c:v>
                      </c:pt>
                      <c:pt idx="5245">
                        <c:v>4.0229999999999997</c:v>
                      </c:pt>
                      <c:pt idx="5246">
                        <c:v>4.0229999999999997</c:v>
                      </c:pt>
                      <c:pt idx="5247">
                        <c:v>4.0229999999999997</c:v>
                      </c:pt>
                      <c:pt idx="5248">
                        <c:v>4.0229999999999997</c:v>
                      </c:pt>
                      <c:pt idx="5249">
                        <c:v>4.0229999999999997</c:v>
                      </c:pt>
                      <c:pt idx="5250">
                        <c:v>4.0979999999999999</c:v>
                      </c:pt>
                      <c:pt idx="5251">
                        <c:v>4.0979999999999999</c:v>
                      </c:pt>
                      <c:pt idx="5252">
                        <c:v>4.0979999999999999</c:v>
                      </c:pt>
                      <c:pt idx="5253">
                        <c:v>4.0979999999999999</c:v>
                      </c:pt>
                      <c:pt idx="5254">
                        <c:v>4.0979999999999999</c:v>
                      </c:pt>
                      <c:pt idx="5255">
                        <c:v>4</c:v>
                      </c:pt>
                      <c:pt idx="5256">
                        <c:v>4</c:v>
                      </c:pt>
                      <c:pt idx="5257">
                        <c:v>4</c:v>
                      </c:pt>
                      <c:pt idx="5258">
                        <c:v>4</c:v>
                      </c:pt>
                      <c:pt idx="5259">
                        <c:v>4</c:v>
                      </c:pt>
                      <c:pt idx="5260">
                        <c:v>3.9780000000000002</c:v>
                      </c:pt>
                      <c:pt idx="5261">
                        <c:v>3.9780000000000002</c:v>
                      </c:pt>
                      <c:pt idx="5262">
                        <c:v>3.9780000000000002</c:v>
                      </c:pt>
                      <c:pt idx="5263">
                        <c:v>3.9780000000000002</c:v>
                      </c:pt>
                      <c:pt idx="5264">
                        <c:v>3.9780000000000002</c:v>
                      </c:pt>
                      <c:pt idx="5265">
                        <c:v>4.048</c:v>
                      </c:pt>
                      <c:pt idx="5266">
                        <c:v>4.048</c:v>
                      </c:pt>
                      <c:pt idx="5267">
                        <c:v>4.048</c:v>
                      </c:pt>
                      <c:pt idx="5268">
                        <c:v>4.048</c:v>
                      </c:pt>
                      <c:pt idx="5269">
                        <c:v>4.048</c:v>
                      </c:pt>
                      <c:pt idx="5270">
                        <c:v>4.0810000000000004</c:v>
                      </c:pt>
                      <c:pt idx="5271">
                        <c:v>4.0810000000000004</c:v>
                      </c:pt>
                      <c:pt idx="5272">
                        <c:v>4.0810000000000004</c:v>
                      </c:pt>
                      <c:pt idx="5273">
                        <c:v>4.0810000000000004</c:v>
                      </c:pt>
                      <c:pt idx="5274">
                        <c:v>4.0810000000000004</c:v>
                      </c:pt>
                      <c:pt idx="5275">
                        <c:v>4.0949999999999998</c:v>
                      </c:pt>
                      <c:pt idx="5276">
                        <c:v>4.0949999999999998</c:v>
                      </c:pt>
                      <c:pt idx="5277">
                        <c:v>4.0949999999999998</c:v>
                      </c:pt>
                      <c:pt idx="5278">
                        <c:v>4.0949999999999998</c:v>
                      </c:pt>
                      <c:pt idx="5279">
                        <c:v>4.0949999999999998</c:v>
                      </c:pt>
                      <c:pt idx="5280">
                        <c:v>4.0919999999999996</c:v>
                      </c:pt>
                      <c:pt idx="5281">
                        <c:v>4.0919999999999996</c:v>
                      </c:pt>
                      <c:pt idx="5282">
                        <c:v>4.0919999999999996</c:v>
                      </c:pt>
                      <c:pt idx="5283">
                        <c:v>4.0919999999999996</c:v>
                      </c:pt>
                      <c:pt idx="5284">
                        <c:v>4.0919999999999996</c:v>
                      </c:pt>
                      <c:pt idx="5285">
                        <c:v>4.0979999999999999</c:v>
                      </c:pt>
                      <c:pt idx="5286">
                        <c:v>4.0979999999999999</c:v>
                      </c:pt>
                      <c:pt idx="5287">
                        <c:v>4.0979999999999999</c:v>
                      </c:pt>
                      <c:pt idx="5288">
                        <c:v>4.0979999999999999</c:v>
                      </c:pt>
                      <c:pt idx="5289">
                        <c:v>4.0979999999999999</c:v>
                      </c:pt>
                      <c:pt idx="5290">
                        <c:v>4.2210000000000001</c:v>
                      </c:pt>
                      <c:pt idx="5291">
                        <c:v>4.2210000000000001</c:v>
                      </c:pt>
                      <c:pt idx="5292">
                        <c:v>4.2210000000000001</c:v>
                      </c:pt>
                      <c:pt idx="5293">
                        <c:v>4.2210000000000001</c:v>
                      </c:pt>
                      <c:pt idx="5294">
                        <c:v>4.2210000000000001</c:v>
                      </c:pt>
                      <c:pt idx="5295">
                        <c:v>4.2590000000000003</c:v>
                      </c:pt>
                      <c:pt idx="5296">
                        <c:v>4.2590000000000003</c:v>
                      </c:pt>
                      <c:pt idx="5297">
                        <c:v>4.2590000000000003</c:v>
                      </c:pt>
                      <c:pt idx="5298">
                        <c:v>4.2590000000000003</c:v>
                      </c:pt>
                      <c:pt idx="5299">
                        <c:v>4.2590000000000003</c:v>
                      </c:pt>
                      <c:pt idx="5300">
                        <c:v>4.2610000000000001</c:v>
                      </c:pt>
                      <c:pt idx="5301">
                        <c:v>4.2610000000000001</c:v>
                      </c:pt>
                      <c:pt idx="5302">
                        <c:v>4.2610000000000001</c:v>
                      </c:pt>
                      <c:pt idx="5303">
                        <c:v>4.2610000000000001</c:v>
                      </c:pt>
                      <c:pt idx="5304">
                        <c:v>4.2610000000000001</c:v>
                      </c:pt>
                      <c:pt idx="5305">
                        <c:v>4.1870000000000003</c:v>
                      </c:pt>
                      <c:pt idx="5306">
                        <c:v>4.1870000000000003</c:v>
                      </c:pt>
                      <c:pt idx="5307">
                        <c:v>4.1870000000000003</c:v>
                      </c:pt>
                      <c:pt idx="5308">
                        <c:v>4.1870000000000003</c:v>
                      </c:pt>
                      <c:pt idx="5309">
                        <c:v>4.1870000000000003</c:v>
                      </c:pt>
                      <c:pt idx="5310">
                        <c:v>4.1109999999999998</c:v>
                      </c:pt>
                      <c:pt idx="5311">
                        <c:v>4.1109999999999998</c:v>
                      </c:pt>
                      <c:pt idx="5312">
                        <c:v>4.1109999999999998</c:v>
                      </c:pt>
                      <c:pt idx="5313">
                        <c:v>4.1109999999999998</c:v>
                      </c:pt>
                      <c:pt idx="5314">
                        <c:v>4.1109999999999998</c:v>
                      </c:pt>
                      <c:pt idx="5315">
                        <c:v>4.1609999999999996</c:v>
                      </c:pt>
                      <c:pt idx="5316">
                        <c:v>4.1609999999999996</c:v>
                      </c:pt>
                      <c:pt idx="5317">
                        <c:v>4.1609999999999996</c:v>
                      </c:pt>
                      <c:pt idx="5318">
                        <c:v>4.1609999999999996</c:v>
                      </c:pt>
                      <c:pt idx="5319">
                        <c:v>4.1609999999999996</c:v>
                      </c:pt>
                      <c:pt idx="5320">
                        <c:v>4.1790000000000003</c:v>
                      </c:pt>
                      <c:pt idx="5321">
                        <c:v>4.1790000000000003</c:v>
                      </c:pt>
                      <c:pt idx="5322">
                        <c:v>4.1790000000000003</c:v>
                      </c:pt>
                      <c:pt idx="5323">
                        <c:v>4.1790000000000003</c:v>
                      </c:pt>
                      <c:pt idx="5324">
                        <c:v>4.1790000000000003</c:v>
                      </c:pt>
                      <c:pt idx="5325">
                        <c:v>4.2030000000000003</c:v>
                      </c:pt>
                      <c:pt idx="5326">
                        <c:v>4.2030000000000003</c:v>
                      </c:pt>
                      <c:pt idx="5327">
                        <c:v>4.2030000000000003</c:v>
                      </c:pt>
                      <c:pt idx="5328">
                        <c:v>4.2030000000000003</c:v>
                      </c:pt>
                      <c:pt idx="5329">
                        <c:v>4.2030000000000003</c:v>
                      </c:pt>
                      <c:pt idx="5330">
                        <c:v>4.1870000000000003</c:v>
                      </c:pt>
                      <c:pt idx="5331">
                        <c:v>4.1870000000000003</c:v>
                      </c:pt>
                      <c:pt idx="5332">
                        <c:v>4.1870000000000003</c:v>
                      </c:pt>
                      <c:pt idx="5333">
                        <c:v>4.1870000000000003</c:v>
                      </c:pt>
                      <c:pt idx="5334">
                        <c:v>4.1870000000000003</c:v>
                      </c:pt>
                      <c:pt idx="5335">
                        <c:v>4.24</c:v>
                      </c:pt>
                      <c:pt idx="5336">
                        <c:v>4.24</c:v>
                      </c:pt>
                      <c:pt idx="5337">
                        <c:v>4.24</c:v>
                      </c:pt>
                      <c:pt idx="5338">
                        <c:v>4.24</c:v>
                      </c:pt>
                      <c:pt idx="5339">
                        <c:v>4.24</c:v>
                      </c:pt>
                      <c:pt idx="5340">
                        <c:v>4.2039999999999997</c:v>
                      </c:pt>
                      <c:pt idx="5341">
                        <c:v>4.2039999999999997</c:v>
                      </c:pt>
                      <c:pt idx="5342">
                        <c:v>4.2039999999999997</c:v>
                      </c:pt>
                      <c:pt idx="5343">
                        <c:v>4.2039999999999997</c:v>
                      </c:pt>
                      <c:pt idx="5344">
                        <c:v>4.2039999999999997</c:v>
                      </c:pt>
                      <c:pt idx="5345">
                        <c:v>4.1890000000000001</c:v>
                      </c:pt>
                      <c:pt idx="5346">
                        <c:v>4.1890000000000001</c:v>
                      </c:pt>
                      <c:pt idx="5347">
                        <c:v>4.1890000000000001</c:v>
                      </c:pt>
                      <c:pt idx="5348">
                        <c:v>4.1890000000000001</c:v>
                      </c:pt>
                      <c:pt idx="5349">
                        <c:v>4.1890000000000001</c:v>
                      </c:pt>
                      <c:pt idx="5350">
                        <c:v>4.1680000000000001</c:v>
                      </c:pt>
                      <c:pt idx="5351">
                        <c:v>4.1680000000000001</c:v>
                      </c:pt>
                      <c:pt idx="5352">
                        <c:v>4.1680000000000001</c:v>
                      </c:pt>
                      <c:pt idx="5353">
                        <c:v>4.1680000000000001</c:v>
                      </c:pt>
                      <c:pt idx="5354">
                        <c:v>4.1680000000000001</c:v>
                      </c:pt>
                      <c:pt idx="5355">
                        <c:v>4.1829999999999998</c:v>
                      </c:pt>
                      <c:pt idx="5356">
                        <c:v>4.1829999999999998</c:v>
                      </c:pt>
                      <c:pt idx="5357">
                        <c:v>4.1829999999999998</c:v>
                      </c:pt>
                      <c:pt idx="5358">
                        <c:v>4.1829999999999998</c:v>
                      </c:pt>
                      <c:pt idx="5359">
                        <c:v>4.1829999999999998</c:v>
                      </c:pt>
                      <c:pt idx="5360">
                        <c:v>4.2</c:v>
                      </c:pt>
                      <c:pt idx="5361">
                        <c:v>4.2</c:v>
                      </c:pt>
                      <c:pt idx="5362">
                        <c:v>4.2</c:v>
                      </c:pt>
                      <c:pt idx="5363">
                        <c:v>4.2</c:v>
                      </c:pt>
                      <c:pt idx="5364">
                        <c:v>4.2</c:v>
                      </c:pt>
                      <c:pt idx="5365">
                        <c:v>4.1959999999999997</c:v>
                      </c:pt>
                      <c:pt idx="5366">
                        <c:v>4.1959999999999997</c:v>
                      </c:pt>
                      <c:pt idx="5367">
                        <c:v>4.1959999999999997</c:v>
                      </c:pt>
                      <c:pt idx="5368">
                        <c:v>4.1959999999999997</c:v>
                      </c:pt>
                      <c:pt idx="5369">
                        <c:v>4.1959999999999997</c:v>
                      </c:pt>
                      <c:pt idx="5370">
                        <c:v>4.21</c:v>
                      </c:pt>
                      <c:pt idx="5371">
                        <c:v>4.21</c:v>
                      </c:pt>
                      <c:pt idx="5372">
                        <c:v>4.21</c:v>
                      </c:pt>
                      <c:pt idx="5373">
                        <c:v>4.21</c:v>
                      </c:pt>
                      <c:pt idx="5374">
                        <c:v>4.21</c:v>
                      </c:pt>
                      <c:pt idx="5375">
                        <c:v>4.3380000000000001</c:v>
                      </c:pt>
                      <c:pt idx="5376">
                        <c:v>4.3380000000000001</c:v>
                      </c:pt>
                      <c:pt idx="5377">
                        <c:v>4.3380000000000001</c:v>
                      </c:pt>
                      <c:pt idx="5378">
                        <c:v>4.3380000000000001</c:v>
                      </c:pt>
                      <c:pt idx="5379">
                        <c:v>4.3380000000000001</c:v>
                      </c:pt>
                      <c:pt idx="5380">
                        <c:v>4.335</c:v>
                      </c:pt>
                      <c:pt idx="5381">
                        <c:v>4.335</c:v>
                      </c:pt>
                      <c:pt idx="5382">
                        <c:v>4.335</c:v>
                      </c:pt>
                      <c:pt idx="5383">
                        <c:v>4.335</c:v>
                      </c:pt>
                      <c:pt idx="5384">
                        <c:v>4.335</c:v>
                      </c:pt>
                      <c:pt idx="5385">
                        <c:v>4.3330000000000002</c:v>
                      </c:pt>
                      <c:pt idx="5386">
                        <c:v>4.3330000000000002</c:v>
                      </c:pt>
                      <c:pt idx="5387">
                        <c:v>4.3330000000000002</c:v>
                      </c:pt>
                      <c:pt idx="5388">
                        <c:v>4.3330000000000002</c:v>
                      </c:pt>
                      <c:pt idx="5389">
                        <c:v>4.3330000000000002</c:v>
                      </c:pt>
                      <c:pt idx="5390">
                        <c:v>4.33</c:v>
                      </c:pt>
                      <c:pt idx="5391">
                        <c:v>4.33</c:v>
                      </c:pt>
                      <c:pt idx="5392">
                        <c:v>4.33</c:v>
                      </c:pt>
                      <c:pt idx="5393">
                        <c:v>4.33</c:v>
                      </c:pt>
                      <c:pt idx="5394">
                        <c:v>4.33</c:v>
                      </c:pt>
                      <c:pt idx="5395">
                        <c:v>4.3120000000000003</c:v>
                      </c:pt>
                      <c:pt idx="5396">
                        <c:v>4.3120000000000003</c:v>
                      </c:pt>
                      <c:pt idx="5397">
                        <c:v>4.3120000000000003</c:v>
                      </c:pt>
                      <c:pt idx="5398">
                        <c:v>4.3120000000000003</c:v>
                      </c:pt>
                      <c:pt idx="5399">
                        <c:v>4.3120000000000003</c:v>
                      </c:pt>
                      <c:pt idx="5400">
                        <c:v>4.3449999999999998</c:v>
                      </c:pt>
                      <c:pt idx="5401">
                        <c:v>4.3449999999999998</c:v>
                      </c:pt>
                      <c:pt idx="5402">
                        <c:v>4.3449999999999998</c:v>
                      </c:pt>
                      <c:pt idx="5403">
                        <c:v>4.3449999999999998</c:v>
                      </c:pt>
                      <c:pt idx="5404">
                        <c:v>4.3449999999999998</c:v>
                      </c:pt>
                      <c:pt idx="5405">
                        <c:v>4.3380000000000001</c:v>
                      </c:pt>
                      <c:pt idx="5406">
                        <c:v>4.3380000000000001</c:v>
                      </c:pt>
                      <c:pt idx="5407">
                        <c:v>4.3380000000000001</c:v>
                      </c:pt>
                      <c:pt idx="5408">
                        <c:v>4.3380000000000001</c:v>
                      </c:pt>
                      <c:pt idx="5409">
                        <c:v>4.3380000000000001</c:v>
                      </c:pt>
                      <c:pt idx="5410">
                        <c:v>4.3620000000000001</c:v>
                      </c:pt>
                      <c:pt idx="5411">
                        <c:v>4.3620000000000001</c:v>
                      </c:pt>
                      <c:pt idx="5412">
                        <c:v>4.3620000000000001</c:v>
                      </c:pt>
                      <c:pt idx="5413">
                        <c:v>4.3620000000000001</c:v>
                      </c:pt>
                      <c:pt idx="5414">
                        <c:v>4.3620000000000001</c:v>
                      </c:pt>
                      <c:pt idx="5415">
                        <c:v>4.3529999999999998</c:v>
                      </c:pt>
                      <c:pt idx="5416">
                        <c:v>4.3529999999999998</c:v>
                      </c:pt>
                      <c:pt idx="5417">
                        <c:v>4.3529999999999998</c:v>
                      </c:pt>
                      <c:pt idx="5418">
                        <c:v>4.3529999999999998</c:v>
                      </c:pt>
                      <c:pt idx="5419">
                        <c:v>4.3529999999999998</c:v>
                      </c:pt>
                      <c:pt idx="5420">
                        <c:v>4.2839999999999998</c:v>
                      </c:pt>
                      <c:pt idx="5421">
                        <c:v>4.2839999999999998</c:v>
                      </c:pt>
                      <c:pt idx="5422">
                        <c:v>4.2839999999999998</c:v>
                      </c:pt>
                      <c:pt idx="5423">
                        <c:v>4.2839999999999998</c:v>
                      </c:pt>
                      <c:pt idx="5424">
                        <c:v>4.2839999999999998</c:v>
                      </c:pt>
                      <c:pt idx="5425">
                        <c:v>4.2709999999999999</c:v>
                      </c:pt>
                      <c:pt idx="5426">
                        <c:v>4.2709999999999999</c:v>
                      </c:pt>
                      <c:pt idx="5427">
                        <c:v>4.2709999999999999</c:v>
                      </c:pt>
                      <c:pt idx="5428">
                        <c:v>4.2709999999999999</c:v>
                      </c:pt>
                      <c:pt idx="5429">
                        <c:v>4.2709999999999999</c:v>
                      </c:pt>
                      <c:pt idx="5430">
                        <c:v>4.1870000000000003</c:v>
                      </c:pt>
                      <c:pt idx="5431">
                        <c:v>4.1870000000000003</c:v>
                      </c:pt>
                      <c:pt idx="5432">
                        <c:v>4.1870000000000003</c:v>
                      </c:pt>
                      <c:pt idx="5433">
                        <c:v>4.1870000000000003</c:v>
                      </c:pt>
                      <c:pt idx="5434">
                        <c:v>4.1870000000000003</c:v>
                      </c:pt>
                      <c:pt idx="5435">
                        <c:v>4.1660000000000004</c:v>
                      </c:pt>
                      <c:pt idx="5436">
                        <c:v>4.1660000000000004</c:v>
                      </c:pt>
                      <c:pt idx="5437">
                        <c:v>4.1660000000000004</c:v>
                      </c:pt>
                      <c:pt idx="5438">
                        <c:v>4.1660000000000004</c:v>
                      </c:pt>
                      <c:pt idx="5439">
                        <c:v>4.1660000000000004</c:v>
                      </c:pt>
                      <c:pt idx="5440">
                        <c:v>4.1719999999999997</c:v>
                      </c:pt>
                      <c:pt idx="5441">
                        <c:v>4.1719999999999997</c:v>
                      </c:pt>
                      <c:pt idx="5442">
                        <c:v>4.1719999999999997</c:v>
                      </c:pt>
                      <c:pt idx="5443">
                        <c:v>4.1719999999999997</c:v>
                      </c:pt>
                      <c:pt idx="5444">
                        <c:v>4.1719999999999997</c:v>
                      </c:pt>
                      <c:pt idx="5445">
                        <c:v>4.1829999999999998</c:v>
                      </c:pt>
                      <c:pt idx="5446">
                        <c:v>4.1829999999999998</c:v>
                      </c:pt>
                      <c:pt idx="5447">
                        <c:v>4.1829999999999998</c:v>
                      </c:pt>
                      <c:pt idx="5448">
                        <c:v>4.1829999999999998</c:v>
                      </c:pt>
                      <c:pt idx="5449">
                        <c:v>4.1829999999999998</c:v>
                      </c:pt>
                      <c:pt idx="5450">
                        <c:v>4.2220000000000004</c:v>
                      </c:pt>
                      <c:pt idx="5451">
                        <c:v>4.2220000000000004</c:v>
                      </c:pt>
                      <c:pt idx="5452">
                        <c:v>4.2220000000000004</c:v>
                      </c:pt>
                      <c:pt idx="5453">
                        <c:v>4.2220000000000004</c:v>
                      </c:pt>
                      <c:pt idx="5454">
                        <c:v>4.2220000000000004</c:v>
                      </c:pt>
                      <c:pt idx="5455">
                        <c:v>4.24</c:v>
                      </c:pt>
                      <c:pt idx="5456">
                        <c:v>4.24</c:v>
                      </c:pt>
                      <c:pt idx="5457">
                        <c:v>4.24</c:v>
                      </c:pt>
                      <c:pt idx="5458">
                        <c:v>4.24</c:v>
                      </c:pt>
                      <c:pt idx="5459">
                        <c:v>4.24</c:v>
                      </c:pt>
                      <c:pt idx="5460">
                        <c:v>4.2770000000000001</c:v>
                      </c:pt>
                      <c:pt idx="5461">
                        <c:v>4.2770000000000001</c:v>
                      </c:pt>
                      <c:pt idx="5462">
                        <c:v>4.2770000000000001</c:v>
                      </c:pt>
                      <c:pt idx="5463">
                        <c:v>4.2770000000000001</c:v>
                      </c:pt>
                      <c:pt idx="5464">
                        <c:v>4.2770000000000001</c:v>
                      </c:pt>
                      <c:pt idx="5465">
                        <c:v>4.274</c:v>
                      </c:pt>
                      <c:pt idx="5466">
                        <c:v>4.274</c:v>
                      </c:pt>
                      <c:pt idx="5467">
                        <c:v>4.274</c:v>
                      </c:pt>
                      <c:pt idx="5468">
                        <c:v>4.274</c:v>
                      </c:pt>
                      <c:pt idx="5469">
                        <c:v>4.274</c:v>
                      </c:pt>
                      <c:pt idx="5470">
                        <c:v>4.3</c:v>
                      </c:pt>
                      <c:pt idx="5471">
                        <c:v>4.3</c:v>
                      </c:pt>
                      <c:pt idx="5472">
                        <c:v>4.3</c:v>
                      </c:pt>
                      <c:pt idx="5473">
                        <c:v>4.3</c:v>
                      </c:pt>
                      <c:pt idx="5474">
                        <c:v>4.3</c:v>
                      </c:pt>
                      <c:pt idx="5475">
                        <c:v>4.3289999999999997</c:v>
                      </c:pt>
                      <c:pt idx="5476">
                        <c:v>4.3289999999999997</c:v>
                      </c:pt>
                      <c:pt idx="5477">
                        <c:v>4.3289999999999997</c:v>
                      </c:pt>
                      <c:pt idx="5478">
                        <c:v>4.3289999999999997</c:v>
                      </c:pt>
                      <c:pt idx="5479">
                        <c:v>4.3289999999999997</c:v>
                      </c:pt>
                      <c:pt idx="5480">
                        <c:v>4.3280000000000003</c:v>
                      </c:pt>
                      <c:pt idx="5481">
                        <c:v>4.3280000000000003</c:v>
                      </c:pt>
                      <c:pt idx="5482">
                        <c:v>4.3280000000000003</c:v>
                      </c:pt>
                      <c:pt idx="5483">
                        <c:v>4.3280000000000003</c:v>
                      </c:pt>
                      <c:pt idx="5484">
                        <c:v>4.3280000000000003</c:v>
                      </c:pt>
                      <c:pt idx="5485">
                        <c:v>4.3479999999999999</c:v>
                      </c:pt>
                      <c:pt idx="5486">
                        <c:v>4.3479999999999999</c:v>
                      </c:pt>
                      <c:pt idx="5487">
                        <c:v>4.3479999999999999</c:v>
                      </c:pt>
                      <c:pt idx="5488">
                        <c:v>4.3479999999999999</c:v>
                      </c:pt>
                      <c:pt idx="5489">
                        <c:v>4.3479999999999999</c:v>
                      </c:pt>
                      <c:pt idx="5490">
                        <c:v>4.3390000000000004</c:v>
                      </c:pt>
                      <c:pt idx="5491">
                        <c:v>4.3390000000000004</c:v>
                      </c:pt>
                      <c:pt idx="5492">
                        <c:v>4.3390000000000004</c:v>
                      </c:pt>
                      <c:pt idx="5493">
                        <c:v>4.3390000000000004</c:v>
                      </c:pt>
                      <c:pt idx="5494">
                        <c:v>4.3390000000000004</c:v>
                      </c:pt>
                      <c:pt idx="5495">
                        <c:v>4.5129999999999999</c:v>
                      </c:pt>
                      <c:pt idx="5496">
                        <c:v>4.5129999999999999</c:v>
                      </c:pt>
                      <c:pt idx="5497">
                        <c:v>4.5129999999999999</c:v>
                      </c:pt>
                      <c:pt idx="5498">
                        <c:v>4.5129999999999999</c:v>
                      </c:pt>
                      <c:pt idx="5499">
                        <c:v>4.5129999999999999</c:v>
                      </c:pt>
                      <c:pt idx="5500">
                        <c:v>4.4850000000000003</c:v>
                      </c:pt>
                      <c:pt idx="5501">
                        <c:v>4.4850000000000003</c:v>
                      </c:pt>
                      <c:pt idx="5502">
                        <c:v>4.4850000000000003</c:v>
                      </c:pt>
                      <c:pt idx="5503">
                        <c:v>4.4850000000000003</c:v>
                      </c:pt>
                      <c:pt idx="5504">
                        <c:v>4.4850000000000003</c:v>
                      </c:pt>
                      <c:pt idx="5505">
                        <c:v>4.492</c:v>
                      </c:pt>
                      <c:pt idx="5506">
                        <c:v>4.492</c:v>
                      </c:pt>
                      <c:pt idx="5507">
                        <c:v>4.492</c:v>
                      </c:pt>
                      <c:pt idx="5508">
                        <c:v>4.492</c:v>
                      </c:pt>
                      <c:pt idx="5509">
                        <c:v>4.492</c:v>
                      </c:pt>
                      <c:pt idx="5510">
                        <c:v>4.4160000000000004</c:v>
                      </c:pt>
                      <c:pt idx="5511">
                        <c:v>4.4160000000000004</c:v>
                      </c:pt>
                      <c:pt idx="5512">
                        <c:v>4.4160000000000004</c:v>
                      </c:pt>
                      <c:pt idx="5513">
                        <c:v>4.4160000000000004</c:v>
                      </c:pt>
                      <c:pt idx="5514">
                        <c:v>4.4160000000000004</c:v>
                      </c:pt>
                      <c:pt idx="5515">
                        <c:v>4.4660000000000002</c:v>
                      </c:pt>
                      <c:pt idx="5516">
                        <c:v>4.4660000000000002</c:v>
                      </c:pt>
                      <c:pt idx="5517">
                        <c:v>4.4660000000000002</c:v>
                      </c:pt>
                      <c:pt idx="5518">
                        <c:v>4.4660000000000002</c:v>
                      </c:pt>
                      <c:pt idx="5519">
                        <c:v>4.4660000000000002</c:v>
                      </c:pt>
                      <c:pt idx="5520">
                        <c:v>4.4619999999999997</c:v>
                      </c:pt>
                      <c:pt idx="5521">
                        <c:v>4.4619999999999997</c:v>
                      </c:pt>
                      <c:pt idx="5522">
                        <c:v>4.4619999999999997</c:v>
                      </c:pt>
                      <c:pt idx="5523">
                        <c:v>4.4619999999999997</c:v>
                      </c:pt>
                      <c:pt idx="5524">
                        <c:v>4.4619999999999997</c:v>
                      </c:pt>
                      <c:pt idx="5525">
                        <c:v>4.5469999999999997</c:v>
                      </c:pt>
                      <c:pt idx="5526">
                        <c:v>4.5469999999999997</c:v>
                      </c:pt>
                      <c:pt idx="5527">
                        <c:v>4.5469999999999997</c:v>
                      </c:pt>
                      <c:pt idx="5528">
                        <c:v>4.5469999999999997</c:v>
                      </c:pt>
                      <c:pt idx="5529">
                        <c:v>4.5469999999999997</c:v>
                      </c:pt>
                      <c:pt idx="5530">
                        <c:v>4.4640000000000004</c:v>
                      </c:pt>
                      <c:pt idx="5531">
                        <c:v>4.4640000000000004</c:v>
                      </c:pt>
                      <c:pt idx="5532">
                        <c:v>4.4640000000000004</c:v>
                      </c:pt>
                      <c:pt idx="5533">
                        <c:v>4.4640000000000004</c:v>
                      </c:pt>
                      <c:pt idx="5534">
                        <c:v>4.4640000000000004</c:v>
                      </c:pt>
                      <c:pt idx="5535">
                        <c:v>4.59</c:v>
                      </c:pt>
                      <c:pt idx="5536">
                        <c:v>4.59</c:v>
                      </c:pt>
                      <c:pt idx="5537">
                        <c:v>4.59</c:v>
                      </c:pt>
                      <c:pt idx="5538">
                        <c:v>4.59</c:v>
                      </c:pt>
                      <c:pt idx="5539">
                        <c:v>4.59</c:v>
                      </c:pt>
                      <c:pt idx="5540">
                        <c:v>4.6050000000000004</c:v>
                      </c:pt>
                      <c:pt idx="5541">
                        <c:v>4.6050000000000004</c:v>
                      </c:pt>
                      <c:pt idx="5542">
                        <c:v>4.6050000000000004</c:v>
                      </c:pt>
                      <c:pt idx="5543">
                        <c:v>4.6050000000000004</c:v>
                      </c:pt>
                      <c:pt idx="5544">
                        <c:v>4.6050000000000004</c:v>
                      </c:pt>
                      <c:pt idx="5545">
                        <c:v>4.5970000000000004</c:v>
                      </c:pt>
                      <c:pt idx="5546">
                        <c:v>4.5970000000000004</c:v>
                      </c:pt>
                      <c:pt idx="5547">
                        <c:v>4.5970000000000004</c:v>
                      </c:pt>
                      <c:pt idx="5548">
                        <c:v>4.5970000000000004</c:v>
                      </c:pt>
                      <c:pt idx="5549">
                        <c:v>4.5970000000000004</c:v>
                      </c:pt>
                      <c:pt idx="5550">
                        <c:v>4.5069999999999997</c:v>
                      </c:pt>
                      <c:pt idx="5551">
                        <c:v>4.5069999999999997</c:v>
                      </c:pt>
                      <c:pt idx="5552">
                        <c:v>4.5069999999999997</c:v>
                      </c:pt>
                      <c:pt idx="5553">
                        <c:v>4.5069999999999997</c:v>
                      </c:pt>
                      <c:pt idx="5554">
                        <c:v>4.5069999999999997</c:v>
                      </c:pt>
                      <c:pt idx="5555">
                        <c:v>4.6580000000000004</c:v>
                      </c:pt>
                      <c:pt idx="5556">
                        <c:v>4.6580000000000004</c:v>
                      </c:pt>
                      <c:pt idx="5557">
                        <c:v>4.6580000000000004</c:v>
                      </c:pt>
                      <c:pt idx="5558">
                        <c:v>4.6580000000000004</c:v>
                      </c:pt>
                      <c:pt idx="5559">
                        <c:v>4.6580000000000004</c:v>
                      </c:pt>
                      <c:pt idx="5560">
                        <c:v>4.5279999999999996</c:v>
                      </c:pt>
                      <c:pt idx="5561">
                        <c:v>4.5279999999999996</c:v>
                      </c:pt>
                      <c:pt idx="5562">
                        <c:v>4.5279999999999996</c:v>
                      </c:pt>
                      <c:pt idx="5563">
                        <c:v>4.5279999999999996</c:v>
                      </c:pt>
                      <c:pt idx="5564">
                        <c:v>4.5279999999999996</c:v>
                      </c:pt>
                      <c:pt idx="5565">
                        <c:v>4.4119999999999999</c:v>
                      </c:pt>
                      <c:pt idx="5566">
                        <c:v>4.4119999999999999</c:v>
                      </c:pt>
                      <c:pt idx="5567">
                        <c:v>4.4119999999999999</c:v>
                      </c:pt>
                      <c:pt idx="5568">
                        <c:v>4.4119999999999999</c:v>
                      </c:pt>
                      <c:pt idx="5569">
                        <c:v>4.4119999999999999</c:v>
                      </c:pt>
                      <c:pt idx="5570">
                        <c:v>4.3620000000000001</c:v>
                      </c:pt>
                      <c:pt idx="5571">
                        <c:v>4.3620000000000001</c:v>
                      </c:pt>
                      <c:pt idx="5572">
                        <c:v>4.3620000000000001</c:v>
                      </c:pt>
                      <c:pt idx="5573">
                        <c:v>4.3620000000000001</c:v>
                      </c:pt>
                      <c:pt idx="5574">
                        <c:v>4.3620000000000001</c:v>
                      </c:pt>
                      <c:pt idx="5575">
                        <c:v>4.3570000000000002</c:v>
                      </c:pt>
                      <c:pt idx="5576">
                        <c:v>4.3570000000000002</c:v>
                      </c:pt>
                      <c:pt idx="5577">
                        <c:v>4.3570000000000002</c:v>
                      </c:pt>
                      <c:pt idx="5578">
                        <c:v>4.3570000000000002</c:v>
                      </c:pt>
                      <c:pt idx="5579">
                        <c:v>4.3570000000000002</c:v>
                      </c:pt>
                      <c:pt idx="5580">
                        <c:v>4.4340000000000002</c:v>
                      </c:pt>
                      <c:pt idx="5581">
                        <c:v>4.4340000000000002</c:v>
                      </c:pt>
                      <c:pt idx="5582">
                        <c:v>4.4340000000000002</c:v>
                      </c:pt>
                      <c:pt idx="5583">
                        <c:v>4.4340000000000002</c:v>
                      </c:pt>
                      <c:pt idx="5584">
                        <c:v>4.4340000000000002</c:v>
                      </c:pt>
                      <c:pt idx="5585">
                        <c:v>4.431</c:v>
                      </c:pt>
                      <c:pt idx="5586">
                        <c:v>4.431</c:v>
                      </c:pt>
                      <c:pt idx="5587">
                        <c:v>4.431</c:v>
                      </c:pt>
                      <c:pt idx="5588">
                        <c:v>4.431</c:v>
                      </c:pt>
                      <c:pt idx="5589">
                        <c:v>4.431</c:v>
                      </c:pt>
                      <c:pt idx="5590">
                        <c:v>4.468</c:v>
                      </c:pt>
                      <c:pt idx="5591">
                        <c:v>4.468</c:v>
                      </c:pt>
                      <c:pt idx="5592">
                        <c:v>4.468</c:v>
                      </c:pt>
                      <c:pt idx="5593">
                        <c:v>4.468</c:v>
                      </c:pt>
                      <c:pt idx="5594">
                        <c:v>4.468</c:v>
                      </c:pt>
                      <c:pt idx="5595">
                        <c:v>4.4279999999999999</c:v>
                      </c:pt>
                      <c:pt idx="5596">
                        <c:v>4.4279999999999999</c:v>
                      </c:pt>
                      <c:pt idx="5597">
                        <c:v>4.4279999999999999</c:v>
                      </c:pt>
                      <c:pt idx="5598">
                        <c:v>4.4279999999999999</c:v>
                      </c:pt>
                      <c:pt idx="5599">
                        <c:v>4.4279999999999999</c:v>
                      </c:pt>
                      <c:pt idx="5600">
                        <c:v>4.4720000000000004</c:v>
                      </c:pt>
                      <c:pt idx="5601">
                        <c:v>4.4720000000000004</c:v>
                      </c:pt>
                      <c:pt idx="5602">
                        <c:v>4.4720000000000004</c:v>
                      </c:pt>
                      <c:pt idx="5603">
                        <c:v>4.4720000000000004</c:v>
                      </c:pt>
                      <c:pt idx="5604">
                        <c:v>4.4720000000000004</c:v>
                      </c:pt>
                      <c:pt idx="5605">
                        <c:v>4.3970000000000002</c:v>
                      </c:pt>
                      <c:pt idx="5606">
                        <c:v>4.3970000000000002</c:v>
                      </c:pt>
                      <c:pt idx="5607">
                        <c:v>4.3970000000000002</c:v>
                      </c:pt>
                      <c:pt idx="5608">
                        <c:v>4.3970000000000002</c:v>
                      </c:pt>
                      <c:pt idx="5609">
                        <c:v>4.3970000000000002</c:v>
                      </c:pt>
                      <c:pt idx="5610">
                        <c:v>4.3239999999999998</c:v>
                      </c:pt>
                      <c:pt idx="5611">
                        <c:v>4.3239999999999998</c:v>
                      </c:pt>
                      <c:pt idx="5612">
                        <c:v>4.3239999999999998</c:v>
                      </c:pt>
                      <c:pt idx="5613">
                        <c:v>4.3239999999999998</c:v>
                      </c:pt>
                      <c:pt idx="5614">
                        <c:v>4.3239999999999998</c:v>
                      </c:pt>
                      <c:pt idx="5615">
                        <c:v>4.3220000000000001</c:v>
                      </c:pt>
                      <c:pt idx="5616">
                        <c:v>4.3220000000000001</c:v>
                      </c:pt>
                      <c:pt idx="5617">
                        <c:v>4.3220000000000001</c:v>
                      </c:pt>
                      <c:pt idx="5618">
                        <c:v>4.3220000000000001</c:v>
                      </c:pt>
                      <c:pt idx="5619">
                        <c:v>4.3220000000000001</c:v>
                      </c:pt>
                      <c:pt idx="5620">
                        <c:v>4.4020000000000001</c:v>
                      </c:pt>
                      <c:pt idx="5621">
                        <c:v>4.4020000000000001</c:v>
                      </c:pt>
                      <c:pt idx="5622">
                        <c:v>4.4020000000000001</c:v>
                      </c:pt>
                      <c:pt idx="5623">
                        <c:v>4.4020000000000001</c:v>
                      </c:pt>
                      <c:pt idx="5624">
                        <c:v>4.4020000000000001</c:v>
                      </c:pt>
                      <c:pt idx="5625">
                        <c:v>4.3620000000000001</c:v>
                      </c:pt>
                      <c:pt idx="5626">
                        <c:v>4.3620000000000001</c:v>
                      </c:pt>
                      <c:pt idx="5627">
                        <c:v>4.3620000000000001</c:v>
                      </c:pt>
                      <c:pt idx="5628">
                        <c:v>4.3620000000000001</c:v>
                      </c:pt>
                      <c:pt idx="5629">
                        <c:v>4.3620000000000001</c:v>
                      </c:pt>
                      <c:pt idx="5630">
                        <c:v>4.3979999999999997</c:v>
                      </c:pt>
                      <c:pt idx="5631">
                        <c:v>4.3979999999999997</c:v>
                      </c:pt>
                      <c:pt idx="5632">
                        <c:v>4.3979999999999997</c:v>
                      </c:pt>
                      <c:pt idx="5633">
                        <c:v>4.3979999999999997</c:v>
                      </c:pt>
                      <c:pt idx="5634">
                        <c:v>4.3979999999999997</c:v>
                      </c:pt>
                      <c:pt idx="5635">
                        <c:v>4.4130000000000003</c:v>
                      </c:pt>
                      <c:pt idx="5636">
                        <c:v>4.4130000000000003</c:v>
                      </c:pt>
                      <c:pt idx="5637">
                        <c:v>4.4130000000000003</c:v>
                      </c:pt>
                      <c:pt idx="5638">
                        <c:v>4.4130000000000003</c:v>
                      </c:pt>
                      <c:pt idx="5639">
                        <c:v>4.4130000000000003</c:v>
                      </c:pt>
                      <c:pt idx="5640">
                        <c:v>4.3040000000000003</c:v>
                      </c:pt>
                      <c:pt idx="5641">
                        <c:v>4.3040000000000003</c:v>
                      </c:pt>
                      <c:pt idx="5642">
                        <c:v>4.3040000000000003</c:v>
                      </c:pt>
                      <c:pt idx="5643">
                        <c:v>4.3040000000000003</c:v>
                      </c:pt>
                      <c:pt idx="5644">
                        <c:v>4.3040000000000003</c:v>
                      </c:pt>
                      <c:pt idx="5645">
                        <c:v>4.4610000000000003</c:v>
                      </c:pt>
                      <c:pt idx="5646">
                        <c:v>4.4610000000000003</c:v>
                      </c:pt>
                      <c:pt idx="5647">
                        <c:v>4.4610000000000003</c:v>
                      </c:pt>
                      <c:pt idx="5648">
                        <c:v>4.4610000000000003</c:v>
                      </c:pt>
                      <c:pt idx="5649">
                        <c:v>4.4610000000000003</c:v>
                      </c:pt>
                      <c:pt idx="5650">
                        <c:v>4.45</c:v>
                      </c:pt>
                      <c:pt idx="5651">
                        <c:v>4.45</c:v>
                      </c:pt>
                      <c:pt idx="5652">
                        <c:v>4.45</c:v>
                      </c:pt>
                      <c:pt idx="5653">
                        <c:v>4.45</c:v>
                      </c:pt>
                      <c:pt idx="5654">
                        <c:v>4.45</c:v>
                      </c:pt>
                      <c:pt idx="5655">
                        <c:v>4.4379999999999997</c:v>
                      </c:pt>
                      <c:pt idx="5656">
                        <c:v>4.4379999999999997</c:v>
                      </c:pt>
                      <c:pt idx="5657">
                        <c:v>4.4379999999999997</c:v>
                      </c:pt>
                      <c:pt idx="5658">
                        <c:v>4.4379999999999997</c:v>
                      </c:pt>
                      <c:pt idx="5659">
                        <c:v>4.4379999999999997</c:v>
                      </c:pt>
                      <c:pt idx="5660">
                        <c:v>4.47</c:v>
                      </c:pt>
                      <c:pt idx="5661">
                        <c:v>4.47</c:v>
                      </c:pt>
                      <c:pt idx="5662">
                        <c:v>4.47</c:v>
                      </c:pt>
                      <c:pt idx="5663">
                        <c:v>4.47</c:v>
                      </c:pt>
                      <c:pt idx="5664">
                        <c:v>4.47</c:v>
                      </c:pt>
                      <c:pt idx="5665">
                        <c:v>4.3970000000000002</c:v>
                      </c:pt>
                      <c:pt idx="5666">
                        <c:v>4.3970000000000002</c:v>
                      </c:pt>
                      <c:pt idx="5667">
                        <c:v>4.3970000000000002</c:v>
                      </c:pt>
                      <c:pt idx="5668">
                        <c:v>4.3970000000000002</c:v>
                      </c:pt>
                      <c:pt idx="5669">
                        <c:v>4.3970000000000002</c:v>
                      </c:pt>
                      <c:pt idx="5670">
                        <c:v>4.3339999999999996</c:v>
                      </c:pt>
                      <c:pt idx="5671">
                        <c:v>4.3339999999999996</c:v>
                      </c:pt>
                      <c:pt idx="5672">
                        <c:v>4.3339999999999996</c:v>
                      </c:pt>
                      <c:pt idx="5673">
                        <c:v>4.3339999999999996</c:v>
                      </c:pt>
                      <c:pt idx="5674">
                        <c:v>4.3339999999999996</c:v>
                      </c:pt>
                      <c:pt idx="5675">
                        <c:v>4.306</c:v>
                      </c:pt>
                      <c:pt idx="5676">
                        <c:v>4.306</c:v>
                      </c:pt>
                      <c:pt idx="5677">
                        <c:v>4.306</c:v>
                      </c:pt>
                      <c:pt idx="5678">
                        <c:v>4.306</c:v>
                      </c:pt>
                      <c:pt idx="5679">
                        <c:v>4.306</c:v>
                      </c:pt>
                      <c:pt idx="5680">
                        <c:v>4.2510000000000003</c:v>
                      </c:pt>
                      <c:pt idx="5681">
                        <c:v>4.2510000000000003</c:v>
                      </c:pt>
                      <c:pt idx="5682">
                        <c:v>4.2510000000000003</c:v>
                      </c:pt>
                      <c:pt idx="5683">
                        <c:v>4.2510000000000003</c:v>
                      </c:pt>
                      <c:pt idx="5684">
                        <c:v>4.2510000000000003</c:v>
                      </c:pt>
                      <c:pt idx="5685">
                        <c:v>4.2699999999999996</c:v>
                      </c:pt>
                      <c:pt idx="5686">
                        <c:v>4.2699999999999996</c:v>
                      </c:pt>
                      <c:pt idx="5687">
                        <c:v>4.2699999999999996</c:v>
                      </c:pt>
                      <c:pt idx="5688">
                        <c:v>4.2699999999999996</c:v>
                      </c:pt>
                      <c:pt idx="5689">
                        <c:v>4.2699999999999996</c:v>
                      </c:pt>
                      <c:pt idx="5690">
                        <c:v>4.2590000000000003</c:v>
                      </c:pt>
                      <c:pt idx="5691">
                        <c:v>4.2590000000000003</c:v>
                      </c:pt>
                      <c:pt idx="5692">
                        <c:v>4.2590000000000003</c:v>
                      </c:pt>
                      <c:pt idx="5693">
                        <c:v>4.2590000000000003</c:v>
                      </c:pt>
                      <c:pt idx="5694">
                        <c:v>4.2590000000000003</c:v>
                      </c:pt>
                      <c:pt idx="5695">
                        <c:v>4.1360000000000001</c:v>
                      </c:pt>
                      <c:pt idx="5696">
                        <c:v>4.1360000000000001</c:v>
                      </c:pt>
                      <c:pt idx="5697">
                        <c:v>4.1360000000000001</c:v>
                      </c:pt>
                      <c:pt idx="5698">
                        <c:v>4.1360000000000001</c:v>
                      </c:pt>
                      <c:pt idx="5699">
                        <c:v>4.1360000000000001</c:v>
                      </c:pt>
                      <c:pt idx="5700">
                        <c:v>4.0789999999999997</c:v>
                      </c:pt>
                      <c:pt idx="5701">
                        <c:v>4.0789999999999997</c:v>
                      </c:pt>
                      <c:pt idx="5702">
                        <c:v>4.0789999999999997</c:v>
                      </c:pt>
                      <c:pt idx="5703">
                        <c:v>4.0789999999999997</c:v>
                      </c:pt>
                      <c:pt idx="5704">
                        <c:v>4.0789999999999997</c:v>
                      </c:pt>
                      <c:pt idx="5705">
                        <c:v>4.0359999999999996</c:v>
                      </c:pt>
                      <c:pt idx="5706">
                        <c:v>4.0359999999999996</c:v>
                      </c:pt>
                      <c:pt idx="5707">
                        <c:v>4.0359999999999996</c:v>
                      </c:pt>
                      <c:pt idx="5708">
                        <c:v>4.0359999999999996</c:v>
                      </c:pt>
                      <c:pt idx="5709">
                        <c:v>4.0359999999999996</c:v>
                      </c:pt>
                      <c:pt idx="5710">
                        <c:v>4.0140000000000002</c:v>
                      </c:pt>
                      <c:pt idx="5711">
                        <c:v>4.0140000000000002</c:v>
                      </c:pt>
                      <c:pt idx="5712">
                        <c:v>4.0140000000000002</c:v>
                      </c:pt>
                      <c:pt idx="5713">
                        <c:v>4.0140000000000002</c:v>
                      </c:pt>
                      <c:pt idx="5714">
                        <c:v>4.0140000000000002</c:v>
                      </c:pt>
                      <c:pt idx="5715">
                        <c:v>3.9940000000000002</c:v>
                      </c:pt>
                      <c:pt idx="5716">
                        <c:v>3.9940000000000002</c:v>
                      </c:pt>
                      <c:pt idx="5717">
                        <c:v>3.9940000000000002</c:v>
                      </c:pt>
                      <c:pt idx="5718">
                        <c:v>3.9940000000000002</c:v>
                      </c:pt>
                      <c:pt idx="5719">
                        <c:v>3.9940000000000002</c:v>
                      </c:pt>
                      <c:pt idx="5720">
                        <c:v>3.9049999999999998</c:v>
                      </c:pt>
                      <c:pt idx="5721">
                        <c:v>3.9049999999999998</c:v>
                      </c:pt>
                      <c:pt idx="5722">
                        <c:v>3.9049999999999998</c:v>
                      </c:pt>
                      <c:pt idx="5723">
                        <c:v>3.9049999999999998</c:v>
                      </c:pt>
                      <c:pt idx="5724">
                        <c:v>3.9049999999999998</c:v>
                      </c:pt>
                      <c:pt idx="5725">
                        <c:v>3.9239999999999999</c:v>
                      </c:pt>
                      <c:pt idx="5726">
                        <c:v>3.9239999999999999</c:v>
                      </c:pt>
                      <c:pt idx="5727">
                        <c:v>3.9239999999999999</c:v>
                      </c:pt>
                      <c:pt idx="5728">
                        <c:v>3.9239999999999999</c:v>
                      </c:pt>
                      <c:pt idx="5729">
                        <c:v>3.9239999999999999</c:v>
                      </c:pt>
                      <c:pt idx="5730">
                        <c:v>3.94</c:v>
                      </c:pt>
                      <c:pt idx="5731">
                        <c:v>3.94</c:v>
                      </c:pt>
                      <c:pt idx="5732">
                        <c:v>3.94</c:v>
                      </c:pt>
                      <c:pt idx="5733">
                        <c:v>3.94</c:v>
                      </c:pt>
                      <c:pt idx="5734">
                        <c:v>3.94</c:v>
                      </c:pt>
                      <c:pt idx="5735">
                        <c:v>4.0229999999999997</c:v>
                      </c:pt>
                      <c:pt idx="5736">
                        <c:v>4.0229999999999997</c:v>
                      </c:pt>
                      <c:pt idx="5737">
                        <c:v>4.0229999999999997</c:v>
                      </c:pt>
                      <c:pt idx="5738">
                        <c:v>4.0229999999999997</c:v>
                      </c:pt>
                      <c:pt idx="5739">
                        <c:v>4.0229999999999997</c:v>
                      </c:pt>
                      <c:pt idx="5740">
                        <c:v>4.1120000000000001</c:v>
                      </c:pt>
                      <c:pt idx="5741">
                        <c:v>4.1120000000000001</c:v>
                      </c:pt>
                      <c:pt idx="5742">
                        <c:v>4.1120000000000001</c:v>
                      </c:pt>
                      <c:pt idx="5743">
                        <c:v>4.1120000000000001</c:v>
                      </c:pt>
                      <c:pt idx="5744">
                        <c:v>4.1120000000000001</c:v>
                      </c:pt>
                      <c:pt idx="5745">
                        <c:v>4.1440000000000001</c:v>
                      </c:pt>
                      <c:pt idx="5746">
                        <c:v>4.1440000000000001</c:v>
                      </c:pt>
                      <c:pt idx="5747">
                        <c:v>4.1440000000000001</c:v>
                      </c:pt>
                      <c:pt idx="5748">
                        <c:v>4.1440000000000001</c:v>
                      </c:pt>
                      <c:pt idx="5749">
                        <c:v>4.1440000000000001</c:v>
                      </c:pt>
                      <c:pt idx="5750">
                        <c:v>4.2210000000000001</c:v>
                      </c:pt>
                      <c:pt idx="5751">
                        <c:v>4.2210000000000001</c:v>
                      </c:pt>
                      <c:pt idx="5752">
                        <c:v>4.2210000000000001</c:v>
                      </c:pt>
                      <c:pt idx="5753">
                        <c:v>4.2210000000000001</c:v>
                      </c:pt>
                      <c:pt idx="5754">
                        <c:v>4.2210000000000001</c:v>
                      </c:pt>
                      <c:pt idx="5755">
                        <c:v>4.2729999999999997</c:v>
                      </c:pt>
                      <c:pt idx="5756">
                        <c:v>4.2729999999999997</c:v>
                      </c:pt>
                      <c:pt idx="5757">
                        <c:v>4.2729999999999997</c:v>
                      </c:pt>
                      <c:pt idx="5758">
                        <c:v>4.2729999999999997</c:v>
                      </c:pt>
                      <c:pt idx="5759">
                        <c:v>4.2729999999999997</c:v>
                      </c:pt>
                      <c:pt idx="5760">
                        <c:v>4.2279999999999998</c:v>
                      </c:pt>
                      <c:pt idx="5761">
                        <c:v>4.2279999999999998</c:v>
                      </c:pt>
                      <c:pt idx="5762">
                        <c:v>4.2279999999999998</c:v>
                      </c:pt>
                      <c:pt idx="5763">
                        <c:v>4.2279999999999998</c:v>
                      </c:pt>
                      <c:pt idx="5764">
                        <c:v>4.2279999999999998</c:v>
                      </c:pt>
                      <c:pt idx="5765">
                        <c:v>4.2510000000000003</c:v>
                      </c:pt>
                      <c:pt idx="5766">
                        <c:v>4.2510000000000003</c:v>
                      </c:pt>
                      <c:pt idx="5767">
                        <c:v>4.2510000000000003</c:v>
                      </c:pt>
                      <c:pt idx="5768">
                        <c:v>4.2510000000000003</c:v>
                      </c:pt>
                      <c:pt idx="5769">
                        <c:v>4.2510000000000003</c:v>
                      </c:pt>
                      <c:pt idx="5770">
                        <c:v>4.3280000000000003</c:v>
                      </c:pt>
                      <c:pt idx="5771">
                        <c:v>4.3280000000000003</c:v>
                      </c:pt>
                      <c:pt idx="5772">
                        <c:v>4.3280000000000003</c:v>
                      </c:pt>
                      <c:pt idx="5773">
                        <c:v>4.3280000000000003</c:v>
                      </c:pt>
                      <c:pt idx="5774">
                        <c:v>4.3280000000000003</c:v>
                      </c:pt>
                      <c:pt idx="5775">
                        <c:v>4.2869999999999999</c:v>
                      </c:pt>
                      <c:pt idx="5776">
                        <c:v>4.2869999999999999</c:v>
                      </c:pt>
                      <c:pt idx="5777">
                        <c:v>4.2869999999999999</c:v>
                      </c:pt>
                      <c:pt idx="5778">
                        <c:v>4.2869999999999999</c:v>
                      </c:pt>
                      <c:pt idx="5779">
                        <c:v>4.2869999999999999</c:v>
                      </c:pt>
                      <c:pt idx="5780">
                        <c:v>4.2930000000000001</c:v>
                      </c:pt>
                      <c:pt idx="5781">
                        <c:v>4.2930000000000001</c:v>
                      </c:pt>
                      <c:pt idx="5782">
                        <c:v>4.2930000000000001</c:v>
                      </c:pt>
                      <c:pt idx="5783">
                        <c:v>4.2930000000000001</c:v>
                      </c:pt>
                      <c:pt idx="5784">
                        <c:v>4.2930000000000001</c:v>
                      </c:pt>
                      <c:pt idx="5785">
                        <c:v>4.3739999999999997</c:v>
                      </c:pt>
                      <c:pt idx="5786">
                        <c:v>4.3739999999999997</c:v>
                      </c:pt>
                      <c:pt idx="5787">
                        <c:v>4.3739999999999997</c:v>
                      </c:pt>
                      <c:pt idx="5788">
                        <c:v>4.3739999999999997</c:v>
                      </c:pt>
                      <c:pt idx="5789">
                        <c:v>4.3739999999999997</c:v>
                      </c:pt>
                      <c:pt idx="5790">
                        <c:v>4.4189999999999996</c:v>
                      </c:pt>
                      <c:pt idx="5791">
                        <c:v>4.4189999999999996</c:v>
                      </c:pt>
                      <c:pt idx="5792">
                        <c:v>4.4189999999999996</c:v>
                      </c:pt>
                      <c:pt idx="5793">
                        <c:v>4.4189999999999996</c:v>
                      </c:pt>
                      <c:pt idx="5794">
                        <c:v>4.4189999999999996</c:v>
                      </c:pt>
                      <c:pt idx="5795">
                        <c:v>4.4249999999999998</c:v>
                      </c:pt>
                      <c:pt idx="5796">
                        <c:v>4.4249999999999998</c:v>
                      </c:pt>
                      <c:pt idx="5797">
                        <c:v>4.4249999999999998</c:v>
                      </c:pt>
                      <c:pt idx="5798">
                        <c:v>4.4249999999999998</c:v>
                      </c:pt>
                      <c:pt idx="5799">
                        <c:v>4.4249999999999998</c:v>
                      </c:pt>
                      <c:pt idx="5800">
                        <c:v>4.4240000000000004</c:v>
                      </c:pt>
                      <c:pt idx="5801">
                        <c:v>4.4240000000000004</c:v>
                      </c:pt>
                      <c:pt idx="5802">
                        <c:v>4.4240000000000004</c:v>
                      </c:pt>
                      <c:pt idx="5803">
                        <c:v>4.4240000000000004</c:v>
                      </c:pt>
                      <c:pt idx="5804">
                        <c:v>4.4240000000000004</c:v>
                      </c:pt>
                      <c:pt idx="5805">
                        <c:v>4.4429999999999996</c:v>
                      </c:pt>
                      <c:pt idx="5806">
                        <c:v>4.4429999999999996</c:v>
                      </c:pt>
                      <c:pt idx="5807">
                        <c:v>4.4429999999999996</c:v>
                      </c:pt>
                      <c:pt idx="5808">
                        <c:v>4.4429999999999996</c:v>
                      </c:pt>
                      <c:pt idx="5809">
                        <c:v>4.4429999999999996</c:v>
                      </c:pt>
                      <c:pt idx="5810">
                        <c:v>4.4349999999999996</c:v>
                      </c:pt>
                      <c:pt idx="5811">
                        <c:v>4.4349999999999996</c:v>
                      </c:pt>
                      <c:pt idx="5812">
                        <c:v>4.4349999999999996</c:v>
                      </c:pt>
                      <c:pt idx="5813">
                        <c:v>4.4349999999999996</c:v>
                      </c:pt>
                      <c:pt idx="5814">
                        <c:v>4.4349999999999996</c:v>
                      </c:pt>
                      <c:pt idx="5815">
                        <c:v>4.4660000000000002</c:v>
                      </c:pt>
                      <c:pt idx="5816">
                        <c:v>4.4660000000000002</c:v>
                      </c:pt>
                      <c:pt idx="5817">
                        <c:v>4.4660000000000002</c:v>
                      </c:pt>
                      <c:pt idx="5818">
                        <c:v>4.4660000000000002</c:v>
                      </c:pt>
                      <c:pt idx="5819">
                        <c:v>4.4660000000000002</c:v>
                      </c:pt>
                      <c:pt idx="5820">
                        <c:v>4.4260000000000002</c:v>
                      </c:pt>
                      <c:pt idx="5821">
                        <c:v>4.4260000000000002</c:v>
                      </c:pt>
                      <c:pt idx="5822">
                        <c:v>4.4260000000000002</c:v>
                      </c:pt>
                      <c:pt idx="5823">
                        <c:v>4.4260000000000002</c:v>
                      </c:pt>
                      <c:pt idx="5824">
                        <c:v>4.4260000000000002</c:v>
                      </c:pt>
                      <c:pt idx="5825">
                        <c:v>4.4889999999999999</c:v>
                      </c:pt>
                      <c:pt idx="5826">
                        <c:v>4.4889999999999999</c:v>
                      </c:pt>
                      <c:pt idx="5827">
                        <c:v>4.4889999999999999</c:v>
                      </c:pt>
                      <c:pt idx="5828">
                        <c:v>4.4889999999999999</c:v>
                      </c:pt>
                      <c:pt idx="5829">
                        <c:v>4.4889999999999999</c:v>
                      </c:pt>
                      <c:pt idx="5830">
                        <c:v>4.5439999999999996</c:v>
                      </c:pt>
                      <c:pt idx="5831">
                        <c:v>4.5439999999999996</c:v>
                      </c:pt>
                      <c:pt idx="5832">
                        <c:v>4.5439999999999996</c:v>
                      </c:pt>
                      <c:pt idx="5833">
                        <c:v>4.5439999999999996</c:v>
                      </c:pt>
                      <c:pt idx="5834">
                        <c:v>4.5439999999999996</c:v>
                      </c:pt>
                      <c:pt idx="5835">
                        <c:v>4.5789999999999997</c:v>
                      </c:pt>
                      <c:pt idx="5836">
                        <c:v>4.5789999999999997</c:v>
                      </c:pt>
                      <c:pt idx="5837">
                        <c:v>4.5789999999999997</c:v>
                      </c:pt>
                      <c:pt idx="5838">
                        <c:v>4.5789999999999997</c:v>
                      </c:pt>
                      <c:pt idx="5839">
                        <c:v>4.5789999999999997</c:v>
                      </c:pt>
                      <c:pt idx="5840">
                        <c:v>4.6399999999999997</c:v>
                      </c:pt>
                      <c:pt idx="5841">
                        <c:v>4.6399999999999997</c:v>
                      </c:pt>
                      <c:pt idx="5842">
                        <c:v>4.6399999999999997</c:v>
                      </c:pt>
                      <c:pt idx="5843">
                        <c:v>4.6399999999999997</c:v>
                      </c:pt>
                      <c:pt idx="5844">
                        <c:v>4.6399999999999997</c:v>
                      </c:pt>
                      <c:pt idx="5845">
                        <c:v>4.6440000000000001</c:v>
                      </c:pt>
                      <c:pt idx="5846">
                        <c:v>4.6440000000000001</c:v>
                      </c:pt>
                      <c:pt idx="5847">
                        <c:v>4.6440000000000001</c:v>
                      </c:pt>
                      <c:pt idx="5848">
                        <c:v>4.6440000000000001</c:v>
                      </c:pt>
                      <c:pt idx="5849">
                        <c:v>4.6440000000000001</c:v>
                      </c:pt>
                      <c:pt idx="5850">
                        <c:v>4.593</c:v>
                      </c:pt>
                      <c:pt idx="5851">
                        <c:v>4.593</c:v>
                      </c:pt>
                      <c:pt idx="5852">
                        <c:v>4.593</c:v>
                      </c:pt>
                      <c:pt idx="5853">
                        <c:v>4.593</c:v>
                      </c:pt>
                      <c:pt idx="5854">
                        <c:v>4.593</c:v>
                      </c:pt>
                      <c:pt idx="5855">
                        <c:v>4.5999999999999996</c:v>
                      </c:pt>
                      <c:pt idx="5856">
                        <c:v>4.5999999999999996</c:v>
                      </c:pt>
                      <c:pt idx="5857">
                        <c:v>4.5999999999999996</c:v>
                      </c:pt>
                      <c:pt idx="5858">
                        <c:v>4.5999999999999996</c:v>
                      </c:pt>
                      <c:pt idx="5859">
                        <c:v>4.5999999999999996</c:v>
                      </c:pt>
                      <c:pt idx="5860">
                        <c:v>4.6790000000000003</c:v>
                      </c:pt>
                      <c:pt idx="5861">
                        <c:v>4.6790000000000003</c:v>
                      </c:pt>
                      <c:pt idx="5862">
                        <c:v>4.6790000000000003</c:v>
                      </c:pt>
                      <c:pt idx="5863">
                        <c:v>4.6790000000000003</c:v>
                      </c:pt>
                      <c:pt idx="5864">
                        <c:v>4.6790000000000003</c:v>
                      </c:pt>
                      <c:pt idx="5865">
                        <c:v>4.6669999999999998</c:v>
                      </c:pt>
                      <c:pt idx="5866">
                        <c:v>4.6669999999999998</c:v>
                      </c:pt>
                      <c:pt idx="5867">
                        <c:v>4.6669999999999998</c:v>
                      </c:pt>
                      <c:pt idx="5868">
                        <c:v>4.6669999999999998</c:v>
                      </c:pt>
                      <c:pt idx="5869">
                        <c:v>4.6669999999999998</c:v>
                      </c:pt>
                      <c:pt idx="5870">
                        <c:v>4.7359999999999998</c:v>
                      </c:pt>
                      <c:pt idx="5871">
                        <c:v>4.7359999999999998</c:v>
                      </c:pt>
                      <c:pt idx="5872">
                        <c:v>4.7359999999999998</c:v>
                      </c:pt>
                      <c:pt idx="5873">
                        <c:v>4.7359999999999998</c:v>
                      </c:pt>
                      <c:pt idx="5874">
                        <c:v>4.7359999999999998</c:v>
                      </c:pt>
                      <c:pt idx="5875">
                        <c:v>4.7510000000000003</c:v>
                      </c:pt>
                      <c:pt idx="5876">
                        <c:v>4.7510000000000003</c:v>
                      </c:pt>
                      <c:pt idx="5877">
                        <c:v>4.7510000000000003</c:v>
                      </c:pt>
                      <c:pt idx="5878">
                        <c:v>4.7510000000000003</c:v>
                      </c:pt>
                      <c:pt idx="5879">
                        <c:v>4.7510000000000003</c:v>
                      </c:pt>
                      <c:pt idx="5880">
                        <c:v>4.859</c:v>
                      </c:pt>
                      <c:pt idx="5881">
                        <c:v>4.859</c:v>
                      </c:pt>
                      <c:pt idx="5882">
                        <c:v>4.859</c:v>
                      </c:pt>
                      <c:pt idx="5883">
                        <c:v>4.859</c:v>
                      </c:pt>
                      <c:pt idx="5884">
                        <c:v>4.859</c:v>
                      </c:pt>
                      <c:pt idx="5885">
                        <c:v>4.8159999999999998</c:v>
                      </c:pt>
                      <c:pt idx="5886">
                        <c:v>4.8159999999999998</c:v>
                      </c:pt>
                      <c:pt idx="5887">
                        <c:v>4.8159999999999998</c:v>
                      </c:pt>
                      <c:pt idx="5888">
                        <c:v>4.8159999999999998</c:v>
                      </c:pt>
                      <c:pt idx="5889">
                        <c:v>4.8159999999999998</c:v>
                      </c:pt>
                      <c:pt idx="5890">
                        <c:v>4.819</c:v>
                      </c:pt>
                      <c:pt idx="5891">
                        <c:v>4.819</c:v>
                      </c:pt>
                      <c:pt idx="5892">
                        <c:v>4.819</c:v>
                      </c:pt>
                      <c:pt idx="5893">
                        <c:v>4.819</c:v>
                      </c:pt>
                      <c:pt idx="5894">
                        <c:v>4.819</c:v>
                      </c:pt>
                      <c:pt idx="5895">
                        <c:v>4.8609999999999998</c:v>
                      </c:pt>
                      <c:pt idx="5896">
                        <c:v>4.8609999999999998</c:v>
                      </c:pt>
                      <c:pt idx="5897">
                        <c:v>4.8609999999999998</c:v>
                      </c:pt>
                      <c:pt idx="5898">
                        <c:v>4.8609999999999998</c:v>
                      </c:pt>
                      <c:pt idx="5899">
                        <c:v>4.8609999999999998</c:v>
                      </c:pt>
                      <c:pt idx="5900">
                        <c:v>4.92</c:v>
                      </c:pt>
                      <c:pt idx="5901">
                        <c:v>4.92</c:v>
                      </c:pt>
                      <c:pt idx="5902">
                        <c:v>4.92</c:v>
                      </c:pt>
                      <c:pt idx="5903">
                        <c:v>4.92</c:v>
                      </c:pt>
                      <c:pt idx="5904">
                        <c:v>4.92</c:v>
                      </c:pt>
                      <c:pt idx="5905">
                        <c:v>4.9400000000000004</c:v>
                      </c:pt>
                      <c:pt idx="5906">
                        <c:v>4.9400000000000004</c:v>
                      </c:pt>
                      <c:pt idx="5907">
                        <c:v>4.9400000000000004</c:v>
                      </c:pt>
                      <c:pt idx="5908">
                        <c:v>4.9400000000000004</c:v>
                      </c:pt>
                      <c:pt idx="5909">
                        <c:v>4.9400000000000004</c:v>
                      </c:pt>
                      <c:pt idx="5910">
                        <c:v>4.9589999999999996</c:v>
                      </c:pt>
                      <c:pt idx="5911">
                        <c:v>4.9589999999999996</c:v>
                      </c:pt>
                      <c:pt idx="5912">
                        <c:v>4.9589999999999996</c:v>
                      </c:pt>
                      <c:pt idx="5913">
                        <c:v>4.9589999999999996</c:v>
                      </c:pt>
                      <c:pt idx="5914">
                        <c:v>4.9589999999999996</c:v>
                      </c:pt>
                      <c:pt idx="5915">
                        <c:v>4.9290000000000003</c:v>
                      </c:pt>
                      <c:pt idx="5916">
                        <c:v>4.9290000000000003</c:v>
                      </c:pt>
                      <c:pt idx="5917">
                        <c:v>4.9290000000000003</c:v>
                      </c:pt>
                      <c:pt idx="5918">
                        <c:v>4.9290000000000003</c:v>
                      </c:pt>
                      <c:pt idx="5919">
                        <c:v>4.9290000000000003</c:v>
                      </c:pt>
                      <c:pt idx="5920">
                        <c:v>4.88</c:v>
                      </c:pt>
                      <c:pt idx="5921">
                        <c:v>4.88</c:v>
                      </c:pt>
                      <c:pt idx="5922">
                        <c:v>4.88</c:v>
                      </c:pt>
                      <c:pt idx="5923">
                        <c:v>4.88</c:v>
                      </c:pt>
                      <c:pt idx="5924">
                        <c:v>4.88</c:v>
                      </c:pt>
                      <c:pt idx="5925">
                        <c:v>4.9450000000000003</c:v>
                      </c:pt>
                      <c:pt idx="5926">
                        <c:v>4.9450000000000003</c:v>
                      </c:pt>
                      <c:pt idx="5927">
                        <c:v>4.9450000000000003</c:v>
                      </c:pt>
                      <c:pt idx="5928">
                        <c:v>4.9450000000000003</c:v>
                      </c:pt>
                      <c:pt idx="5929">
                        <c:v>4.9450000000000003</c:v>
                      </c:pt>
                      <c:pt idx="5930">
                        <c:v>4.9589999999999996</c:v>
                      </c:pt>
                      <c:pt idx="5931">
                        <c:v>4.9589999999999996</c:v>
                      </c:pt>
                      <c:pt idx="5932">
                        <c:v>4.9589999999999996</c:v>
                      </c:pt>
                      <c:pt idx="5933">
                        <c:v>4.9589999999999996</c:v>
                      </c:pt>
                      <c:pt idx="5934">
                        <c:v>4.9589999999999996</c:v>
                      </c:pt>
                      <c:pt idx="5935">
                        <c:v>4.9390000000000001</c:v>
                      </c:pt>
                      <c:pt idx="5936">
                        <c:v>4.9390000000000001</c:v>
                      </c:pt>
                      <c:pt idx="5937">
                        <c:v>4.9390000000000001</c:v>
                      </c:pt>
                      <c:pt idx="5938">
                        <c:v>4.9390000000000001</c:v>
                      </c:pt>
                      <c:pt idx="5939">
                        <c:v>4.9390000000000001</c:v>
                      </c:pt>
                      <c:pt idx="5940">
                        <c:v>4.9320000000000004</c:v>
                      </c:pt>
                      <c:pt idx="5941">
                        <c:v>4.9320000000000004</c:v>
                      </c:pt>
                      <c:pt idx="5942">
                        <c:v>4.9320000000000004</c:v>
                      </c:pt>
                      <c:pt idx="5943">
                        <c:v>4.9320000000000004</c:v>
                      </c:pt>
                      <c:pt idx="5944">
                        <c:v>4.9320000000000004</c:v>
                      </c:pt>
                      <c:pt idx="5945">
                        <c:v>5.0060000000000002</c:v>
                      </c:pt>
                      <c:pt idx="5946">
                        <c:v>5.0060000000000002</c:v>
                      </c:pt>
                      <c:pt idx="5947">
                        <c:v>5.0060000000000002</c:v>
                      </c:pt>
                      <c:pt idx="5948">
                        <c:v>5.0060000000000002</c:v>
                      </c:pt>
                      <c:pt idx="5949">
                        <c:v>5.0060000000000002</c:v>
                      </c:pt>
                      <c:pt idx="5950">
                        <c:v>4.9770000000000003</c:v>
                      </c:pt>
                      <c:pt idx="5951">
                        <c:v>4.9770000000000003</c:v>
                      </c:pt>
                      <c:pt idx="5952">
                        <c:v>4.9770000000000003</c:v>
                      </c:pt>
                      <c:pt idx="5953">
                        <c:v>4.9770000000000003</c:v>
                      </c:pt>
                      <c:pt idx="5954">
                        <c:v>4.9770000000000003</c:v>
                      </c:pt>
                      <c:pt idx="5955">
                        <c:v>5.0220000000000002</c:v>
                      </c:pt>
                      <c:pt idx="5956">
                        <c:v>5.0220000000000002</c:v>
                      </c:pt>
                      <c:pt idx="5957">
                        <c:v>5.0220000000000002</c:v>
                      </c:pt>
                      <c:pt idx="5958">
                        <c:v>5.0220000000000002</c:v>
                      </c:pt>
                      <c:pt idx="5959">
                        <c:v>5.0220000000000002</c:v>
                      </c:pt>
                      <c:pt idx="5960">
                        <c:v>5.0529999999999999</c:v>
                      </c:pt>
                      <c:pt idx="5961">
                        <c:v>5.0529999999999999</c:v>
                      </c:pt>
                      <c:pt idx="5962">
                        <c:v>5.0529999999999999</c:v>
                      </c:pt>
                      <c:pt idx="5963">
                        <c:v>5.0529999999999999</c:v>
                      </c:pt>
                      <c:pt idx="5964">
                        <c:v>5.0529999999999999</c:v>
                      </c:pt>
                      <c:pt idx="5965">
                        <c:v>5.1159999999999997</c:v>
                      </c:pt>
                      <c:pt idx="5966">
                        <c:v>5.1159999999999997</c:v>
                      </c:pt>
                      <c:pt idx="5967">
                        <c:v>5.1159999999999997</c:v>
                      </c:pt>
                      <c:pt idx="5968">
                        <c:v>5.1159999999999997</c:v>
                      </c:pt>
                      <c:pt idx="5969">
                        <c:v>5.1159999999999997</c:v>
                      </c:pt>
                      <c:pt idx="5970">
                        <c:v>5.0780000000000003</c:v>
                      </c:pt>
                      <c:pt idx="5971">
                        <c:v>5.0780000000000003</c:v>
                      </c:pt>
                      <c:pt idx="5972">
                        <c:v>5.0780000000000003</c:v>
                      </c:pt>
                      <c:pt idx="5973">
                        <c:v>5.0780000000000003</c:v>
                      </c:pt>
                      <c:pt idx="5974">
                        <c:v>5.0780000000000003</c:v>
                      </c:pt>
                      <c:pt idx="5975">
                        <c:v>5.05</c:v>
                      </c:pt>
                      <c:pt idx="5976">
                        <c:v>5.05</c:v>
                      </c:pt>
                      <c:pt idx="5977">
                        <c:v>5.05</c:v>
                      </c:pt>
                      <c:pt idx="5978">
                        <c:v>5.05</c:v>
                      </c:pt>
                      <c:pt idx="5979">
                        <c:v>5.05</c:v>
                      </c:pt>
                      <c:pt idx="5980">
                        <c:v>5.0839999999999996</c:v>
                      </c:pt>
                      <c:pt idx="5981">
                        <c:v>5.0839999999999996</c:v>
                      </c:pt>
                      <c:pt idx="5982">
                        <c:v>5.0839999999999996</c:v>
                      </c:pt>
                      <c:pt idx="5983">
                        <c:v>5.0839999999999996</c:v>
                      </c:pt>
                      <c:pt idx="5984">
                        <c:v>5.0839999999999996</c:v>
                      </c:pt>
                      <c:pt idx="5985">
                        <c:v>5.0960000000000001</c:v>
                      </c:pt>
                      <c:pt idx="5986">
                        <c:v>5.0960000000000001</c:v>
                      </c:pt>
                      <c:pt idx="5987">
                        <c:v>5.0960000000000001</c:v>
                      </c:pt>
                      <c:pt idx="5988">
                        <c:v>5.0960000000000001</c:v>
                      </c:pt>
                      <c:pt idx="5989">
                        <c:v>5.0960000000000001</c:v>
                      </c:pt>
                      <c:pt idx="5990">
                        <c:v>5.2119999999999997</c:v>
                      </c:pt>
                      <c:pt idx="5991">
                        <c:v>5.2119999999999997</c:v>
                      </c:pt>
                      <c:pt idx="5992">
                        <c:v>5.2119999999999997</c:v>
                      </c:pt>
                      <c:pt idx="5993">
                        <c:v>5.2119999999999997</c:v>
                      </c:pt>
                      <c:pt idx="5994">
                        <c:v>5.2119999999999997</c:v>
                      </c:pt>
                      <c:pt idx="5995">
                        <c:v>5.1959999999999997</c:v>
                      </c:pt>
                      <c:pt idx="5996">
                        <c:v>5.1959999999999997</c:v>
                      </c:pt>
                      <c:pt idx="5997">
                        <c:v>5.1959999999999997</c:v>
                      </c:pt>
                      <c:pt idx="5998">
                        <c:v>5.1959999999999997</c:v>
                      </c:pt>
                      <c:pt idx="5999">
                        <c:v>5.1959999999999997</c:v>
                      </c:pt>
                      <c:pt idx="6000">
                        <c:v>5.3360000000000003</c:v>
                      </c:pt>
                      <c:pt idx="6001">
                        <c:v>5.3360000000000003</c:v>
                      </c:pt>
                      <c:pt idx="6002">
                        <c:v>5.3360000000000003</c:v>
                      </c:pt>
                      <c:pt idx="6003">
                        <c:v>5.3360000000000003</c:v>
                      </c:pt>
                      <c:pt idx="6004">
                        <c:v>5.3360000000000003</c:v>
                      </c:pt>
                      <c:pt idx="6005">
                        <c:v>5.3550000000000004</c:v>
                      </c:pt>
                      <c:pt idx="6006">
                        <c:v>5.3550000000000004</c:v>
                      </c:pt>
                      <c:pt idx="6007">
                        <c:v>5.3550000000000004</c:v>
                      </c:pt>
                      <c:pt idx="6008">
                        <c:v>5.3550000000000004</c:v>
                      </c:pt>
                      <c:pt idx="6009">
                        <c:v>5.3550000000000004</c:v>
                      </c:pt>
                      <c:pt idx="6010">
                        <c:v>5.5529999999999999</c:v>
                      </c:pt>
                      <c:pt idx="6011">
                        <c:v>5.5529999999999999</c:v>
                      </c:pt>
                      <c:pt idx="6012">
                        <c:v>5.5529999999999999</c:v>
                      </c:pt>
                      <c:pt idx="6013">
                        <c:v>5.5529999999999999</c:v>
                      </c:pt>
                      <c:pt idx="6014">
                        <c:v>5.5529999999999999</c:v>
                      </c:pt>
                      <c:pt idx="6015">
                        <c:v>5.5439999999999996</c:v>
                      </c:pt>
                      <c:pt idx="6016">
                        <c:v>5.5439999999999996</c:v>
                      </c:pt>
                      <c:pt idx="6017">
                        <c:v>5.5439999999999996</c:v>
                      </c:pt>
                      <c:pt idx="6018">
                        <c:v>5.5439999999999996</c:v>
                      </c:pt>
                      <c:pt idx="6019">
                        <c:v>5.5439999999999996</c:v>
                      </c:pt>
                      <c:pt idx="6020">
                        <c:v>5.5830000000000002</c:v>
                      </c:pt>
                      <c:pt idx="6021">
                        <c:v>5.5830000000000002</c:v>
                      </c:pt>
                      <c:pt idx="6022">
                        <c:v>5.5830000000000002</c:v>
                      </c:pt>
                      <c:pt idx="6023">
                        <c:v>5.5830000000000002</c:v>
                      </c:pt>
                      <c:pt idx="6024">
                        <c:v>5.5830000000000002</c:v>
                      </c:pt>
                      <c:pt idx="6025">
                        <c:v>5.5960000000000001</c:v>
                      </c:pt>
                      <c:pt idx="6026">
                        <c:v>5.5960000000000001</c:v>
                      </c:pt>
                      <c:pt idx="6027">
                        <c:v>5.5960000000000001</c:v>
                      </c:pt>
                      <c:pt idx="6028">
                        <c:v>5.5960000000000001</c:v>
                      </c:pt>
                      <c:pt idx="6029">
                        <c:v>5.5960000000000001</c:v>
                      </c:pt>
                      <c:pt idx="6030">
                        <c:v>5.625</c:v>
                      </c:pt>
                      <c:pt idx="6031">
                        <c:v>5.625</c:v>
                      </c:pt>
                      <c:pt idx="6032">
                        <c:v>5.625</c:v>
                      </c:pt>
                      <c:pt idx="6033">
                        <c:v>5.625</c:v>
                      </c:pt>
                      <c:pt idx="6034">
                        <c:v>5.625</c:v>
                      </c:pt>
                      <c:pt idx="6035">
                        <c:v>5.6779999999999999</c:v>
                      </c:pt>
                      <c:pt idx="6036">
                        <c:v>5.6779999999999999</c:v>
                      </c:pt>
                      <c:pt idx="6037">
                        <c:v>5.6779999999999999</c:v>
                      </c:pt>
                      <c:pt idx="6038">
                        <c:v>5.6779999999999999</c:v>
                      </c:pt>
                      <c:pt idx="6039">
                        <c:v>5.6779999999999999</c:v>
                      </c:pt>
                      <c:pt idx="6040">
                        <c:v>5.6639999999999997</c:v>
                      </c:pt>
                      <c:pt idx="6041">
                        <c:v>5.6639999999999997</c:v>
                      </c:pt>
                      <c:pt idx="6042">
                        <c:v>5.6639999999999997</c:v>
                      </c:pt>
                      <c:pt idx="6043">
                        <c:v>5.6639999999999997</c:v>
                      </c:pt>
                      <c:pt idx="6044">
                        <c:v>5.6639999999999997</c:v>
                      </c:pt>
                      <c:pt idx="6045">
                        <c:v>5.6479999999999997</c:v>
                      </c:pt>
                      <c:pt idx="6046">
                        <c:v>5.6479999999999997</c:v>
                      </c:pt>
                      <c:pt idx="6047">
                        <c:v>5.6479999999999997</c:v>
                      </c:pt>
                      <c:pt idx="6048">
                        <c:v>5.6479999999999997</c:v>
                      </c:pt>
                      <c:pt idx="6049">
                        <c:v>5.6479999999999997</c:v>
                      </c:pt>
                      <c:pt idx="6050">
                        <c:v>5.5119999999999996</c:v>
                      </c:pt>
                      <c:pt idx="6051">
                        <c:v>5.5119999999999996</c:v>
                      </c:pt>
                      <c:pt idx="6052">
                        <c:v>5.5119999999999996</c:v>
                      </c:pt>
                      <c:pt idx="6053">
                        <c:v>5.5119999999999996</c:v>
                      </c:pt>
                      <c:pt idx="6054">
                        <c:v>5.5119999999999996</c:v>
                      </c:pt>
                      <c:pt idx="6055">
                        <c:v>5.5289999999999999</c:v>
                      </c:pt>
                      <c:pt idx="6056">
                        <c:v>5.5289999999999999</c:v>
                      </c:pt>
                      <c:pt idx="6057">
                        <c:v>5.5289999999999999</c:v>
                      </c:pt>
                      <c:pt idx="6058">
                        <c:v>5.5289999999999999</c:v>
                      </c:pt>
                      <c:pt idx="6059">
                        <c:v>5.5289999999999999</c:v>
                      </c:pt>
                      <c:pt idx="6060">
                        <c:v>5.5119999999999996</c:v>
                      </c:pt>
                      <c:pt idx="6061">
                        <c:v>5.5119999999999996</c:v>
                      </c:pt>
                      <c:pt idx="6062">
                        <c:v>5.5119999999999996</c:v>
                      </c:pt>
                      <c:pt idx="6063">
                        <c:v>5.5119999999999996</c:v>
                      </c:pt>
                      <c:pt idx="6064">
                        <c:v>5.5119999999999996</c:v>
                      </c:pt>
                      <c:pt idx="6065">
                        <c:v>5.5049999999999999</c:v>
                      </c:pt>
                      <c:pt idx="6066">
                        <c:v>5.5049999999999999</c:v>
                      </c:pt>
                      <c:pt idx="6067">
                        <c:v>5.5049999999999999</c:v>
                      </c:pt>
                      <c:pt idx="6068">
                        <c:v>5.5049999999999999</c:v>
                      </c:pt>
                      <c:pt idx="6069">
                        <c:v>5.5049999999999999</c:v>
                      </c:pt>
                      <c:pt idx="6070">
                        <c:v>5.4160000000000004</c:v>
                      </c:pt>
                      <c:pt idx="6071">
                        <c:v>5.4160000000000004</c:v>
                      </c:pt>
                      <c:pt idx="6072">
                        <c:v>5.4160000000000004</c:v>
                      </c:pt>
                      <c:pt idx="6073">
                        <c:v>5.4160000000000004</c:v>
                      </c:pt>
                      <c:pt idx="6074">
                        <c:v>5.4160000000000004</c:v>
                      </c:pt>
                      <c:pt idx="6075">
                        <c:v>5.4669999999999996</c:v>
                      </c:pt>
                      <c:pt idx="6076">
                        <c:v>5.4669999999999996</c:v>
                      </c:pt>
                      <c:pt idx="6077">
                        <c:v>5.4669999999999996</c:v>
                      </c:pt>
                      <c:pt idx="6078">
                        <c:v>5.4669999999999996</c:v>
                      </c:pt>
                      <c:pt idx="6079">
                        <c:v>5.4669999999999996</c:v>
                      </c:pt>
                      <c:pt idx="6080">
                        <c:v>5.4459999999999997</c:v>
                      </c:pt>
                      <c:pt idx="6081">
                        <c:v>5.4459999999999997</c:v>
                      </c:pt>
                      <c:pt idx="6082">
                        <c:v>5.4459999999999997</c:v>
                      </c:pt>
                      <c:pt idx="6083">
                        <c:v>5.4459999999999997</c:v>
                      </c:pt>
                      <c:pt idx="6084">
                        <c:v>5.4459999999999997</c:v>
                      </c:pt>
                      <c:pt idx="6085">
                        <c:v>5.4269999999999996</c:v>
                      </c:pt>
                      <c:pt idx="6086">
                        <c:v>5.4269999999999996</c:v>
                      </c:pt>
                      <c:pt idx="6087">
                        <c:v>5.4269999999999996</c:v>
                      </c:pt>
                      <c:pt idx="6088">
                        <c:v>5.4269999999999996</c:v>
                      </c:pt>
                      <c:pt idx="6089">
                        <c:v>5.4269999999999996</c:v>
                      </c:pt>
                      <c:pt idx="6090">
                        <c:v>5.407</c:v>
                      </c:pt>
                      <c:pt idx="6091">
                        <c:v>5.407</c:v>
                      </c:pt>
                      <c:pt idx="6092">
                        <c:v>5.407</c:v>
                      </c:pt>
                      <c:pt idx="6093">
                        <c:v>5.407</c:v>
                      </c:pt>
                      <c:pt idx="6094">
                        <c:v>5.407</c:v>
                      </c:pt>
                      <c:pt idx="6095">
                        <c:v>5.4109999999999996</c:v>
                      </c:pt>
                      <c:pt idx="6096">
                        <c:v>5.4109999999999996</c:v>
                      </c:pt>
                      <c:pt idx="6097">
                        <c:v>5.4109999999999996</c:v>
                      </c:pt>
                      <c:pt idx="6098">
                        <c:v>5.4109999999999996</c:v>
                      </c:pt>
                      <c:pt idx="6099">
                        <c:v>5.4109999999999996</c:v>
                      </c:pt>
                      <c:pt idx="6100">
                        <c:v>5.3819999999999997</c:v>
                      </c:pt>
                      <c:pt idx="6101">
                        <c:v>5.3819999999999997</c:v>
                      </c:pt>
                      <c:pt idx="6102">
                        <c:v>5.3819999999999997</c:v>
                      </c:pt>
                      <c:pt idx="6103">
                        <c:v>5.3819999999999997</c:v>
                      </c:pt>
                      <c:pt idx="6104">
                        <c:v>5.3819999999999997</c:v>
                      </c:pt>
                      <c:pt idx="6105">
                        <c:v>5.4009999999999998</c:v>
                      </c:pt>
                      <c:pt idx="6106">
                        <c:v>5.4009999999999998</c:v>
                      </c:pt>
                      <c:pt idx="6107">
                        <c:v>5.4009999999999998</c:v>
                      </c:pt>
                      <c:pt idx="6108">
                        <c:v>5.4009999999999998</c:v>
                      </c:pt>
                      <c:pt idx="6109">
                        <c:v>5.4009999999999998</c:v>
                      </c:pt>
                      <c:pt idx="6110">
                        <c:v>5.3540000000000001</c:v>
                      </c:pt>
                      <c:pt idx="6111">
                        <c:v>5.3540000000000001</c:v>
                      </c:pt>
                      <c:pt idx="6112">
                        <c:v>5.3540000000000001</c:v>
                      </c:pt>
                      <c:pt idx="6113">
                        <c:v>5.3540000000000001</c:v>
                      </c:pt>
                      <c:pt idx="6114">
                        <c:v>5.3540000000000001</c:v>
                      </c:pt>
                      <c:pt idx="6115">
                        <c:v>5.3949999999999996</c:v>
                      </c:pt>
                      <c:pt idx="6116">
                        <c:v>5.3949999999999996</c:v>
                      </c:pt>
                      <c:pt idx="6117">
                        <c:v>5.3949999999999996</c:v>
                      </c:pt>
                      <c:pt idx="6118">
                        <c:v>5.3949999999999996</c:v>
                      </c:pt>
                      <c:pt idx="6119">
                        <c:v>5.3949999999999996</c:v>
                      </c:pt>
                      <c:pt idx="6120">
                        <c:v>5.43</c:v>
                      </c:pt>
                      <c:pt idx="6121">
                        <c:v>5.43</c:v>
                      </c:pt>
                      <c:pt idx="6122">
                        <c:v>5.43</c:v>
                      </c:pt>
                      <c:pt idx="6123">
                        <c:v>5.43</c:v>
                      </c:pt>
                      <c:pt idx="6124">
                        <c:v>5.43</c:v>
                      </c:pt>
                      <c:pt idx="6125">
                        <c:v>5.4320000000000004</c:v>
                      </c:pt>
                      <c:pt idx="6126">
                        <c:v>5.4320000000000004</c:v>
                      </c:pt>
                      <c:pt idx="6127">
                        <c:v>5.4320000000000004</c:v>
                      </c:pt>
                      <c:pt idx="6128">
                        <c:v>5.4320000000000004</c:v>
                      </c:pt>
                      <c:pt idx="6129">
                        <c:v>5.4320000000000004</c:v>
                      </c:pt>
                      <c:pt idx="6130">
                        <c:v>5.3849999999999998</c:v>
                      </c:pt>
                      <c:pt idx="6131">
                        <c:v>5.3849999999999998</c:v>
                      </c:pt>
                      <c:pt idx="6132">
                        <c:v>5.3849999999999998</c:v>
                      </c:pt>
                      <c:pt idx="6133">
                        <c:v>5.3849999999999998</c:v>
                      </c:pt>
                      <c:pt idx="6134">
                        <c:v>5.3849999999999998</c:v>
                      </c:pt>
                      <c:pt idx="6135">
                        <c:v>5.4340000000000002</c:v>
                      </c:pt>
                      <c:pt idx="6136">
                        <c:v>5.4340000000000002</c:v>
                      </c:pt>
                      <c:pt idx="6137">
                        <c:v>5.4340000000000002</c:v>
                      </c:pt>
                      <c:pt idx="6138">
                        <c:v>5.4340000000000002</c:v>
                      </c:pt>
                      <c:pt idx="6139">
                        <c:v>5.4340000000000002</c:v>
                      </c:pt>
                      <c:pt idx="6140">
                        <c:v>5.4749999999999996</c:v>
                      </c:pt>
                      <c:pt idx="6141">
                        <c:v>5.4749999999999996</c:v>
                      </c:pt>
                      <c:pt idx="6142">
                        <c:v>5.4749999999999996</c:v>
                      </c:pt>
                      <c:pt idx="6143">
                        <c:v>5.4749999999999996</c:v>
                      </c:pt>
                      <c:pt idx="6144">
                        <c:v>5.4749999999999996</c:v>
                      </c:pt>
                      <c:pt idx="6145">
                        <c:v>5.4640000000000004</c:v>
                      </c:pt>
                      <c:pt idx="6146">
                        <c:v>5.4640000000000004</c:v>
                      </c:pt>
                      <c:pt idx="6147">
                        <c:v>5.4640000000000004</c:v>
                      </c:pt>
                      <c:pt idx="6148">
                        <c:v>5.4640000000000004</c:v>
                      </c:pt>
                      <c:pt idx="6149">
                        <c:v>5.4640000000000004</c:v>
                      </c:pt>
                      <c:pt idx="6150">
                        <c:v>5.4489999999999998</c:v>
                      </c:pt>
                      <c:pt idx="6151">
                        <c:v>5.4489999999999998</c:v>
                      </c:pt>
                      <c:pt idx="6152">
                        <c:v>5.4489999999999998</c:v>
                      </c:pt>
                      <c:pt idx="6153">
                        <c:v>5.4489999999999998</c:v>
                      </c:pt>
                      <c:pt idx="6154">
                        <c:v>5.4489999999999998</c:v>
                      </c:pt>
                      <c:pt idx="6155">
                        <c:v>5.4690000000000003</c:v>
                      </c:pt>
                      <c:pt idx="6156">
                        <c:v>5.4690000000000003</c:v>
                      </c:pt>
                      <c:pt idx="6157">
                        <c:v>5.4690000000000003</c:v>
                      </c:pt>
                      <c:pt idx="6158">
                        <c:v>5.4690000000000003</c:v>
                      </c:pt>
                      <c:pt idx="6159">
                        <c:v>5.4690000000000003</c:v>
                      </c:pt>
                      <c:pt idx="6160">
                        <c:v>5.4850000000000003</c:v>
                      </c:pt>
                      <c:pt idx="6161">
                        <c:v>5.4850000000000003</c:v>
                      </c:pt>
                      <c:pt idx="6162">
                        <c:v>5.4850000000000003</c:v>
                      </c:pt>
                      <c:pt idx="6163">
                        <c:v>5.4850000000000003</c:v>
                      </c:pt>
                      <c:pt idx="6164">
                        <c:v>5.4850000000000003</c:v>
                      </c:pt>
                      <c:pt idx="6165">
                        <c:v>5.5259999999999998</c:v>
                      </c:pt>
                      <c:pt idx="6166">
                        <c:v>5.5259999999999998</c:v>
                      </c:pt>
                      <c:pt idx="6167">
                        <c:v>5.5259999999999998</c:v>
                      </c:pt>
                      <c:pt idx="6168">
                        <c:v>5.5259999999999998</c:v>
                      </c:pt>
                      <c:pt idx="6169">
                        <c:v>5.5259999999999998</c:v>
                      </c:pt>
                      <c:pt idx="6170">
                        <c:v>5.5270000000000001</c:v>
                      </c:pt>
                      <c:pt idx="6171">
                        <c:v>5.5270000000000001</c:v>
                      </c:pt>
                      <c:pt idx="6172">
                        <c:v>5.5270000000000001</c:v>
                      </c:pt>
                      <c:pt idx="6173">
                        <c:v>5.5270000000000001</c:v>
                      </c:pt>
                      <c:pt idx="6174">
                        <c:v>5.5270000000000001</c:v>
                      </c:pt>
                      <c:pt idx="6175">
                        <c:v>5.5279999999999996</c:v>
                      </c:pt>
                      <c:pt idx="6176">
                        <c:v>5.5279999999999996</c:v>
                      </c:pt>
                      <c:pt idx="6177">
                        <c:v>5.5279999999999996</c:v>
                      </c:pt>
                      <c:pt idx="6178">
                        <c:v>5.5279999999999996</c:v>
                      </c:pt>
                      <c:pt idx="6179">
                        <c:v>5.5279999999999996</c:v>
                      </c:pt>
                      <c:pt idx="6180">
                        <c:v>5.5350000000000001</c:v>
                      </c:pt>
                      <c:pt idx="6181">
                        <c:v>5.5350000000000001</c:v>
                      </c:pt>
                      <c:pt idx="6182">
                        <c:v>5.5350000000000001</c:v>
                      </c:pt>
                      <c:pt idx="6183">
                        <c:v>5.5350000000000001</c:v>
                      </c:pt>
                      <c:pt idx="6184">
                        <c:v>5.5350000000000001</c:v>
                      </c:pt>
                      <c:pt idx="6185">
                        <c:v>5.5270000000000001</c:v>
                      </c:pt>
                      <c:pt idx="6186">
                        <c:v>5.5270000000000001</c:v>
                      </c:pt>
                      <c:pt idx="6187">
                        <c:v>5.5270000000000001</c:v>
                      </c:pt>
                      <c:pt idx="6188">
                        <c:v>5.5270000000000001</c:v>
                      </c:pt>
                      <c:pt idx="6189">
                        <c:v>5.5270000000000001</c:v>
                      </c:pt>
                      <c:pt idx="6190">
                        <c:v>5.5279999999999996</c:v>
                      </c:pt>
                      <c:pt idx="6191">
                        <c:v>5.5279999999999996</c:v>
                      </c:pt>
                      <c:pt idx="6192">
                        <c:v>5.5279999999999996</c:v>
                      </c:pt>
                      <c:pt idx="6193">
                        <c:v>5.5279999999999996</c:v>
                      </c:pt>
                      <c:pt idx="6194">
                        <c:v>5.5279999999999996</c:v>
                      </c:pt>
                      <c:pt idx="6195">
                        <c:v>5.5919999999999996</c:v>
                      </c:pt>
                      <c:pt idx="6196">
                        <c:v>5.5919999999999996</c:v>
                      </c:pt>
                      <c:pt idx="6197">
                        <c:v>5.5919999999999996</c:v>
                      </c:pt>
                      <c:pt idx="6198">
                        <c:v>5.5919999999999996</c:v>
                      </c:pt>
                      <c:pt idx="6199">
                        <c:v>5.5919999999999996</c:v>
                      </c:pt>
                      <c:pt idx="6200">
                        <c:v>5.5960000000000001</c:v>
                      </c:pt>
                      <c:pt idx="6201">
                        <c:v>5.5960000000000001</c:v>
                      </c:pt>
                      <c:pt idx="6202">
                        <c:v>5.5960000000000001</c:v>
                      </c:pt>
                      <c:pt idx="6203">
                        <c:v>5.5960000000000001</c:v>
                      </c:pt>
                      <c:pt idx="6204">
                        <c:v>5.5960000000000001</c:v>
                      </c:pt>
                      <c:pt idx="6205">
                        <c:v>5.5810000000000004</c:v>
                      </c:pt>
                      <c:pt idx="6206">
                        <c:v>5.5810000000000004</c:v>
                      </c:pt>
                      <c:pt idx="6207">
                        <c:v>5.5810000000000004</c:v>
                      </c:pt>
                      <c:pt idx="6208">
                        <c:v>5.5810000000000004</c:v>
                      </c:pt>
                      <c:pt idx="6209">
                        <c:v>5.5810000000000004</c:v>
                      </c:pt>
                      <c:pt idx="6210">
                        <c:v>5.5739999999999998</c:v>
                      </c:pt>
                      <c:pt idx="6211">
                        <c:v>5.5739999999999998</c:v>
                      </c:pt>
                      <c:pt idx="6212">
                        <c:v>5.5739999999999998</c:v>
                      </c:pt>
                      <c:pt idx="6213">
                        <c:v>5.5739999999999998</c:v>
                      </c:pt>
                      <c:pt idx="6214">
                        <c:v>5.5739999999999998</c:v>
                      </c:pt>
                      <c:pt idx="6215">
                        <c:v>5.54</c:v>
                      </c:pt>
                      <c:pt idx="6216">
                        <c:v>5.54</c:v>
                      </c:pt>
                      <c:pt idx="6217">
                        <c:v>5.54</c:v>
                      </c:pt>
                      <c:pt idx="6218">
                        <c:v>5.54</c:v>
                      </c:pt>
                      <c:pt idx="6219">
                        <c:v>5.54</c:v>
                      </c:pt>
                      <c:pt idx="6220">
                        <c:v>5.5789999999999997</c:v>
                      </c:pt>
                      <c:pt idx="6221">
                        <c:v>5.5789999999999997</c:v>
                      </c:pt>
                      <c:pt idx="6222">
                        <c:v>5.5789999999999997</c:v>
                      </c:pt>
                      <c:pt idx="6223">
                        <c:v>5.5789999999999997</c:v>
                      </c:pt>
                      <c:pt idx="6224">
                        <c:v>5.5789999999999997</c:v>
                      </c:pt>
                      <c:pt idx="6225">
                        <c:v>5.5110000000000001</c:v>
                      </c:pt>
                      <c:pt idx="6226">
                        <c:v>5.5110000000000001</c:v>
                      </c:pt>
                      <c:pt idx="6227">
                        <c:v>5.5110000000000001</c:v>
                      </c:pt>
                      <c:pt idx="6228">
                        <c:v>5.5110000000000001</c:v>
                      </c:pt>
                      <c:pt idx="6229">
                        <c:v>5.5110000000000001</c:v>
                      </c:pt>
                      <c:pt idx="6230">
                        <c:v>5.7069999999999999</c:v>
                      </c:pt>
                      <c:pt idx="6231">
                        <c:v>5.7069999999999999</c:v>
                      </c:pt>
                      <c:pt idx="6232">
                        <c:v>5.7069999999999999</c:v>
                      </c:pt>
                      <c:pt idx="6233">
                        <c:v>5.7069999999999999</c:v>
                      </c:pt>
                      <c:pt idx="6234">
                        <c:v>5.7069999999999999</c:v>
                      </c:pt>
                      <c:pt idx="6235">
                        <c:v>5.6760000000000002</c:v>
                      </c:pt>
                      <c:pt idx="6236">
                        <c:v>5.6760000000000002</c:v>
                      </c:pt>
                      <c:pt idx="6237">
                        <c:v>5.6760000000000002</c:v>
                      </c:pt>
                      <c:pt idx="6238">
                        <c:v>5.6760000000000002</c:v>
                      </c:pt>
                      <c:pt idx="6239">
                        <c:v>5.6760000000000002</c:v>
                      </c:pt>
                      <c:pt idx="6240">
                        <c:v>5.7270000000000003</c:v>
                      </c:pt>
                      <c:pt idx="6241">
                        <c:v>5.7270000000000003</c:v>
                      </c:pt>
                      <c:pt idx="6242">
                        <c:v>5.7270000000000003</c:v>
                      </c:pt>
                      <c:pt idx="6243">
                        <c:v>5.7270000000000003</c:v>
                      </c:pt>
                      <c:pt idx="6244">
                        <c:v>5.7270000000000003</c:v>
                      </c:pt>
                      <c:pt idx="6245">
                        <c:v>5.7560000000000002</c:v>
                      </c:pt>
                      <c:pt idx="6246">
                        <c:v>5.7560000000000002</c:v>
                      </c:pt>
                      <c:pt idx="6247">
                        <c:v>5.7560000000000002</c:v>
                      </c:pt>
                      <c:pt idx="6248">
                        <c:v>5.7560000000000002</c:v>
                      </c:pt>
                      <c:pt idx="6249">
                        <c:v>5.7560000000000002</c:v>
                      </c:pt>
                      <c:pt idx="6250">
                        <c:v>5.88</c:v>
                      </c:pt>
                      <c:pt idx="6251">
                        <c:v>5.88</c:v>
                      </c:pt>
                      <c:pt idx="6252">
                        <c:v>5.88</c:v>
                      </c:pt>
                      <c:pt idx="6253">
                        <c:v>5.88</c:v>
                      </c:pt>
                      <c:pt idx="6254">
                        <c:v>5.88</c:v>
                      </c:pt>
                      <c:pt idx="6255">
                        <c:v>5.8840000000000003</c:v>
                      </c:pt>
                      <c:pt idx="6256">
                        <c:v>5.8840000000000003</c:v>
                      </c:pt>
                      <c:pt idx="6257">
                        <c:v>5.8840000000000003</c:v>
                      </c:pt>
                      <c:pt idx="6258">
                        <c:v>5.8840000000000003</c:v>
                      </c:pt>
                      <c:pt idx="6259">
                        <c:v>5.8840000000000003</c:v>
                      </c:pt>
                      <c:pt idx="6260">
                        <c:v>5.8920000000000003</c:v>
                      </c:pt>
                      <c:pt idx="6261">
                        <c:v>5.8920000000000003</c:v>
                      </c:pt>
                      <c:pt idx="6262">
                        <c:v>5.8920000000000003</c:v>
                      </c:pt>
                      <c:pt idx="6263">
                        <c:v>5.8920000000000003</c:v>
                      </c:pt>
                      <c:pt idx="6264">
                        <c:v>5.8920000000000003</c:v>
                      </c:pt>
                      <c:pt idx="6265">
                        <c:v>5.5439999999999996</c:v>
                      </c:pt>
                      <c:pt idx="6266">
                        <c:v>5.5439999999999996</c:v>
                      </c:pt>
                      <c:pt idx="6267">
                        <c:v>5.5439999999999996</c:v>
                      </c:pt>
                      <c:pt idx="6268">
                        <c:v>5.5439999999999996</c:v>
                      </c:pt>
                      <c:pt idx="6269">
                        <c:v>5.5439999999999996</c:v>
                      </c:pt>
                      <c:pt idx="6270">
                        <c:v>5.6020000000000003</c:v>
                      </c:pt>
                      <c:pt idx="6271">
                        <c:v>5.6020000000000003</c:v>
                      </c:pt>
                      <c:pt idx="6272">
                        <c:v>5.6020000000000003</c:v>
                      </c:pt>
                      <c:pt idx="6273">
                        <c:v>5.6020000000000003</c:v>
                      </c:pt>
                      <c:pt idx="6274">
                        <c:v>5.6020000000000003</c:v>
                      </c:pt>
                      <c:pt idx="6275">
                        <c:v>5.6349999999999998</c:v>
                      </c:pt>
                      <c:pt idx="6276">
                        <c:v>5.6349999999999998</c:v>
                      </c:pt>
                      <c:pt idx="6277">
                        <c:v>5.6349999999999998</c:v>
                      </c:pt>
                      <c:pt idx="6278">
                        <c:v>5.6349999999999998</c:v>
                      </c:pt>
                      <c:pt idx="6279">
                        <c:v>5.6349999999999998</c:v>
                      </c:pt>
                      <c:pt idx="6280">
                        <c:v>5.6050000000000004</c:v>
                      </c:pt>
                      <c:pt idx="6281">
                        <c:v>5.6050000000000004</c:v>
                      </c:pt>
                      <c:pt idx="6282">
                        <c:v>5.6050000000000004</c:v>
                      </c:pt>
                      <c:pt idx="6283">
                        <c:v>5.6050000000000004</c:v>
                      </c:pt>
                      <c:pt idx="6284">
                        <c:v>5.6050000000000004</c:v>
                      </c:pt>
                      <c:pt idx="6285">
                        <c:v>5.61</c:v>
                      </c:pt>
                      <c:pt idx="6286">
                        <c:v>5.61</c:v>
                      </c:pt>
                      <c:pt idx="6287">
                        <c:v>5.61</c:v>
                      </c:pt>
                      <c:pt idx="6288">
                        <c:v>5.61</c:v>
                      </c:pt>
                      <c:pt idx="6289">
                        <c:v>5.61</c:v>
                      </c:pt>
                      <c:pt idx="6290">
                        <c:v>5.593</c:v>
                      </c:pt>
                      <c:pt idx="6291">
                        <c:v>5.593</c:v>
                      </c:pt>
                      <c:pt idx="6292">
                        <c:v>5.593</c:v>
                      </c:pt>
                      <c:pt idx="6293">
                        <c:v>5.593</c:v>
                      </c:pt>
                      <c:pt idx="6294">
                        <c:v>5.593</c:v>
                      </c:pt>
                      <c:pt idx="6295">
                        <c:v>5.5609999999999999</c:v>
                      </c:pt>
                      <c:pt idx="6296">
                        <c:v>5.5609999999999999</c:v>
                      </c:pt>
                      <c:pt idx="6297">
                        <c:v>5.5609999999999999</c:v>
                      </c:pt>
                      <c:pt idx="6298">
                        <c:v>5.5609999999999999</c:v>
                      </c:pt>
                      <c:pt idx="6299">
                        <c:v>5.5609999999999999</c:v>
                      </c:pt>
                      <c:pt idx="6300">
                        <c:v>5.5369999999999999</c:v>
                      </c:pt>
                      <c:pt idx="6301">
                        <c:v>5.5369999999999999</c:v>
                      </c:pt>
                      <c:pt idx="6302">
                        <c:v>5.5369999999999999</c:v>
                      </c:pt>
                      <c:pt idx="6303">
                        <c:v>5.5369999999999999</c:v>
                      </c:pt>
                      <c:pt idx="6304">
                        <c:v>5.5369999999999999</c:v>
                      </c:pt>
                      <c:pt idx="6305">
                        <c:v>5.5449999999999999</c:v>
                      </c:pt>
                      <c:pt idx="6306">
                        <c:v>5.5449999999999999</c:v>
                      </c:pt>
                      <c:pt idx="6307">
                        <c:v>5.5449999999999999</c:v>
                      </c:pt>
                      <c:pt idx="6308">
                        <c:v>5.5449999999999999</c:v>
                      </c:pt>
                      <c:pt idx="6309">
                        <c:v>5.5449999999999999</c:v>
                      </c:pt>
                      <c:pt idx="6310">
                        <c:v>5.5449999999999999</c:v>
                      </c:pt>
                      <c:pt idx="6311">
                        <c:v>5.5449999999999999</c:v>
                      </c:pt>
                      <c:pt idx="6312">
                        <c:v>5.5449999999999999</c:v>
                      </c:pt>
                      <c:pt idx="6313">
                        <c:v>5.5449999999999999</c:v>
                      </c:pt>
                      <c:pt idx="6314">
                        <c:v>5.5449999999999999</c:v>
                      </c:pt>
                      <c:pt idx="6315">
                        <c:v>5.5519999999999996</c:v>
                      </c:pt>
                      <c:pt idx="6316">
                        <c:v>5.5519999999999996</c:v>
                      </c:pt>
                      <c:pt idx="6317">
                        <c:v>5.5519999999999996</c:v>
                      </c:pt>
                      <c:pt idx="6318">
                        <c:v>5.5519999999999996</c:v>
                      </c:pt>
                      <c:pt idx="6319">
                        <c:v>5.5519999999999996</c:v>
                      </c:pt>
                      <c:pt idx="6320">
                        <c:v>5.5679999999999996</c:v>
                      </c:pt>
                      <c:pt idx="6321">
                        <c:v>5.5679999999999996</c:v>
                      </c:pt>
                      <c:pt idx="6322">
                        <c:v>5.5679999999999996</c:v>
                      </c:pt>
                      <c:pt idx="6323">
                        <c:v>5.5679999999999996</c:v>
                      </c:pt>
                      <c:pt idx="6324">
                        <c:v>5.5679999999999996</c:v>
                      </c:pt>
                      <c:pt idx="6325">
                        <c:v>5.5590000000000002</c:v>
                      </c:pt>
                      <c:pt idx="6326">
                        <c:v>5.5590000000000002</c:v>
                      </c:pt>
                      <c:pt idx="6327">
                        <c:v>5.5590000000000002</c:v>
                      </c:pt>
                      <c:pt idx="6328">
                        <c:v>5.5590000000000002</c:v>
                      </c:pt>
                      <c:pt idx="6329">
                        <c:v>5.5590000000000002</c:v>
                      </c:pt>
                      <c:pt idx="6330">
                        <c:v>5.5309999999999997</c:v>
                      </c:pt>
                      <c:pt idx="6331">
                        <c:v>5.5309999999999997</c:v>
                      </c:pt>
                      <c:pt idx="6332">
                        <c:v>5.5309999999999997</c:v>
                      </c:pt>
                      <c:pt idx="6333">
                        <c:v>5.5309999999999997</c:v>
                      </c:pt>
                      <c:pt idx="6334">
                        <c:v>5.5309999999999997</c:v>
                      </c:pt>
                      <c:pt idx="6335">
                        <c:v>5.6429999999999998</c:v>
                      </c:pt>
                      <c:pt idx="6336">
                        <c:v>5.6429999999999998</c:v>
                      </c:pt>
                      <c:pt idx="6337">
                        <c:v>5.6429999999999998</c:v>
                      </c:pt>
                      <c:pt idx="6338">
                        <c:v>5.6429999999999998</c:v>
                      </c:pt>
                      <c:pt idx="6339">
                        <c:v>5.6429999999999998</c:v>
                      </c:pt>
                      <c:pt idx="6340">
                        <c:v>5.6390000000000002</c:v>
                      </c:pt>
                      <c:pt idx="6341">
                        <c:v>5.6390000000000002</c:v>
                      </c:pt>
                      <c:pt idx="6342">
                        <c:v>5.6390000000000002</c:v>
                      </c:pt>
                      <c:pt idx="6343">
                        <c:v>5.6390000000000002</c:v>
                      </c:pt>
                      <c:pt idx="6344">
                        <c:v>5.6390000000000002</c:v>
                      </c:pt>
                      <c:pt idx="6345">
                        <c:v>5.6440000000000001</c:v>
                      </c:pt>
                      <c:pt idx="6346">
                        <c:v>5.6440000000000001</c:v>
                      </c:pt>
                      <c:pt idx="6347">
                        <c:v>5.6440000000000001</c:v>
                      </c:pt>
                      <c:pt idx="6348">
                        <c:v>5.6440000000000001</c:v>
                      </c:pt>
                      <c:pt idx="6349">
                        <c:v>5.6440000000000001</c:v>
                      </c:pt>
                      <c:pt idx="6350">
                        <c:v>5.6260000000000003</c:v>
                      </c:pt>
                      <c:pt idx="6351">
                        <c:v>5.6260000000000003</c:v>
                      </c:pt>
                      <c:pt idx="6352">
                        <c:v>5.6260000000000003</c:v>
                      </c:pt>
                      <c:pt idx="6353">
                        <c:v>5.6260000000000003</c:v>
                      </c:pt>
                      <c:pt idx="6354">
                        <c:v>5.6260000000000003</c:v>
                      </c:pt>
                      <c:pt idx="6355">
                        <c:v>5.6459999999999999</c:v>
                      </c:pt>
                      <c:pt idx="6356">
                        <c:v>5.6459999999999999</c:v>
                      </c:pt>
                      <c:pt idx="6357">
                        <c:v>5.6459999999999999</c:v>
                      </c:pt>
                      <c:pt idx="6358">
                        <c:v>5.6459999999999999</c:v>
                      </c:pt>
                      <c:pt idx="6359">
                        <c:v>5.6459999999999999</c:v>
                      </c:pt>
                      <c:pt idx="6360">
                        <c:v>5.6580000000000004</c:v>
                      </c:pt>
                      <c:pt idx="6361">
                        <c:v>5.6580000000000004</c:v>
                      </c:pt>
                      <c:pt idx="6362">
                        <c:v>5.6580000000000004</c:v>
                      </c:pt>
                      <c:pt idx="6363">
                        <c:v>5.6580000000000004</c:v>
                      </c:pt>
                      <c:pt idx="6364">
                        <c:v>5.6580000000000004</c:v>
                      </c:pt>
                      <c:pt idx="6365">
                        <c:v>5.673</c:v>
                      </c:pt>
                      <c:pt idx="6366">
                        <c:v>5.673</c:v>
                      </c:pt>
                      <c:pt idx="6367">
                        <c:v>5.673</c:v>
                      </c:pt>
                      <c:pt idx="6368">
                        <c:v>5.673</c:v>
                      </c:pt>
                      <c:pt idx="6369">
                        <c:v>5.673</c:v>
                      </c:pt>
                      <c:pt idx="6370">
                        <c:v>5.6289999999999996</c:v>
                      </c:pt>
                      <c:pt idx="6371">
                        <c:v>5.6289999999999996</c:v>
                      </c:pt>
                      <c:pt idx="6372">
                        <c:v>5.6289999999999996</c:v>
                      </c:pt>
                      <c:pt idx="6373">
                        <c:v>5.6289999999999996</c:v>
                      </c:pt>
                      <c:pt idx="6374">
                        <c:v>5.6289999999999996</c:v>
                      </c:pt>
                      <c:pt idx="6375">
                        <c:v>5.7050000000000001</c:v>
                      </c:pt>
                      <c:pt idx="6376">
                        <c:v>5.7050000000000001</c:v>
                      </c:pt>
                      <c:pt idx="6377">
                        <c:v>5.7050000000000001</c:v>
                      </c:pt>
                      <c:pt idx="6378">
                        <c:v>5.7050000000000001</c:v>
                      </c:pt>
                      <c:pt idx="6379">
                        <c:v>5.7050000000000001</c:v>
                      </c:pt>
                      <c:pt idx="6380">
                        <c:v>5.694</c:v>
                      </c:pt>
                      <c:pt idx="6381">
                        <c:v>5.694</c:v>
                      </c:pt>
                      <c:pt idx="6382">
                        <c:v>5.694</c:v>
                      </c:pt>
                      <c:pt idx="6383">
                        <c:v>5.694</c:v>
                      </c:pt>
                      <c:pt idx="6384">
                        <c:v>5.694</c:v>
                      </c:pt>
                      <c:pt idx="6385">
                        <c:v>5.6680000000000001</c:v>
                      </c:pt>
                      <c:pt idx="6386">
                        <c:v>5.6680000000000001</c:v>
                      </c:pt>
                      <c:pt idx="6387">
                        <c:v>5.6680000000000001</c:v>
                      </c:pt>
                      <c:pt idx="6388">
                        <c:v>5.6680000000000001</c:v>
                      </c:pt>
                      <c:pt idx="6389">
                        <c:v>5.6680000000000001</c:v>
                      </c:pt>
                      <c:pt idx="6390">
                        <c:v>5.6769999999999996</c:v>
                      </c:pt>
                      <c:pt idx="6391">
                        <c:v>5.6769999999999996</c:v>
                      </c:pt>
                      <c:pt idx="6392">
                        <c:v>5.6769999999999996</c:v>
                      </c:pt>
                      <c:pt idx="6393">
                        <c:v>5.6769999999999996</c:v>
                      </c:pt>
                      <c:pt idx="6394">
                        <c:v>5.6769999999999996</c:v>
                      </c:pt>
                      <c:pt idx="6395">
                        <c:v>5.6369999999999996</c:v>
                      </c:pt>
                      <c:pt idx="6396">
                        <c:v>5.6369999999999996</c:v>
                      </c:pt>
                      <c:pt idx="6397">
                        <c:v>5.6369999999999996</c:v>
                      </c:pt>
                      <c:pt idx="6398">
                        <c:v>5.6369999999999996</c:v>
                      </c:pt>
                      <c:pt idx="6399">
                        <c:v>5.6369999999999996</c:v>
                      </c:pt>
                      <c:pt idx="6400">
                        <c:v>5.6479999999999997</c:v>
                      </c:pt>
                      <c:pt idx="6401">
                        <c:v>5.6479999999999997</c:v>
                      </c:pt>
                      <c:pt idx="6402">
                        <c:v>5.6479999999999997</c:v>
                      </c:pt>
                      <c:pt idx="6403">
                        <c:v>5.6479999999999997</c:v>
                      </c:pt>
                      <c:pt idx="6404">
                        <c:v>5.6479999999999997</c:v>
                      </c:pt>
                      <c:pt idx="6405">
                        <c:v>5.6870000000000003</c:v>
                      </c:pt>
                      <c:pt idx="6406">
                        <c:v>5.6870000000000003</c:v>
                      </c:pt>
                      <c:pt idx="6407">
                        <c:v>5.6870000000000003</c:v>
                      </c:pt>
                      <c:pt idx="6408">
                        <c:v>5.6870000000000003</c:v>
                      </c:pt>
                      <c:pt idx="6409">
                        <c:v>5.6870000000000003</c:v>
                      </c:pt>
                      <c:pt idx="6410">
                        <c:v>5.7050000000000001</c:v>
                      </c:pt>
                      <c:pt idx="6411">
                        <c:v>5.7050000000000001</c:v>
                      </c:pt>
                      <c:pt idx="6412">
                        <c:v>5.7050000000000001</c:v>
                      </c:pt>
                      <c:pt idx="6413">
                        <c:v>5.7050000000000001</c:v>
                      </c:pt>
                      <c:pt idx="6414">
                        <c:v>5.7050000000000001</c:v>
                      </c:pt>
                      <c:pt idx="6415">
                        <c:v>5.6440000000000001</c:v>
                      </c:pt>
                      <c:pt idx="6416">
                        <c:v>5.6440000000000001</c:v>
                      </c:pt>
                      <c:pt idx="6417">
                        <c:v>5.6440000000000001</c:v>
                      </c:pt>
                      <c:pt idx="6418">
                        <c:v>5.6440000000000001</c:v>
                      </c:pt>
                      <c:pt idx="6419">
                        <c:v>5.6440000000000001</c:v>
                      </c:pt>
                      <c:pt idx="6420">
                        <c:v>5.6740000000000004</c:v>
                      </c:pt>
                      <c:pt idx="6421">
                        <c:v>5.6740000000000004</c:v>
                      </c:pt>
                      <c:pt idx="6422">
                        <c:v>5.6740000000000004</c:v>
                      </c:pt>
                      <c:pt idx="6423">
                        <c:v>5.6740000000000004</c:v>
                      </c:pt>
                      <c:pt idx="6424">
                        <c:v>5.6740000000000004</c:v>
                      </c:pt>
                      <c:pt idx="6425">
                        <c:v>5.6349999999999998</c:v>
                      </c:pt>
                      <c:pt idx="6426">
                        <c:v>5.6349999999999998</c:v>
                      </c:pt>
                      <c:pt idx="6427">
                        <c:v>5.6349999999999998</c:v>
                      </c:pt>
                      <c:pt idx="6428">
                        <c:v>5.6349999999999998</c:v>
                      </c:pt>
                      <c:pt idx="6429">
                        <c:v>5.6349999999999998</c:v>
                      </c:pt>
                      <c:pt idx="6430">
                        <c:v>5.6109999999999998</c:v>
                      </c:pt>
                      <c:pt idx="6431">
                        <c:v>5.6109999999999998</c:v>
                      </c:pt>
                      <c:pt idx="6432">
                        <c:v>5.6109999999999998</c:v>
                      </c:pt>
                      <c:pt idx="6433">
                        <c:v>5.6109999999999998</c:v>
                      </c:pt>
                      <c:pt idx="6434">
                        <c:v>5.6109999999999998</c:v>
                      </c:pt>
                      <c:pt idx="6435">
                        <c:v>5.6</c:v>
                      </c:pt>
                      <c:pt idx="6436">
                        <c:v>5.6</c:v>
                      </c:pt>
                      <c:pt idx="6437">
                        <c:v>5.6</c:v>
                      </c:pt>
                      <c:pt idx="6438">
                        <c:v>5.6</c:v>
                      </c:pt>
                      <c:pt idx="6439">
                        <c:v>5.6</c:v>
                      </c:pt>
                      <c:pt idx="6440">
                        <c:v>5.5650000000000004</c:v>
                      </c:pt>
                      <c:pt idx="6441">
                        <c:v>5.5650000000000004</c:v>
                      </c:pt>
                      <c:pt idx="6442">
                        <c:v>5.5650000000000004</c:v>
                      </c:pt>
                      <c:pt idx="6443">
                        <c:v>5.5650000000000004</c:v>
                      </c:pt>
                      <c:pt idx="6444">
                        <c:v>5.5650000000000004</c:v>
                      </c:pt>
                      <c:pt idx="6445">
                        <c:v>5.5910000000000002</c:v>
                      </c:pt>
                      <c:pt idx="6446">
                        <c:v>5.5910000000000002</c:v>
                      </c:pt>
                      <c:pt idx="6447">
                        <c:v>5.5910000000000002</c:v>
                      </c:pt>
                      <c:pt idx="6448">
                        <c:v>5.5910000000000002</c:v>
                      </c:pt>
                      <c:pt idx="6449">
                        <c:v>5.5910000000000002</c:v>
                      </c:pt>
                      <c:pt idx="6450">
                        <c:v>5.5860000000000003</c:v>
                      </c:pt>
                      <c:pt idx="6451">
                        <c:v>5.5860000000000003</c:v>
                      </c:pt>
                      <c:pt idx="6452">
                        <c:v>5.5860000000000003</c:v>
                      </c:pt>
                      <c:pt idx="6453">
                        <c:v>5.5860000000000003</c:v>
                      </c:pt>
                      <c:pt idx="6454">
                        <c:v>5.5860000000000003</c:v>
                      </c:pt>
                      <c:pt idx="6455">
                        <c:v>5.5890000000000004</c:v>
                      </c:pt>
                      <c:pt idx="6456">
                        <c:v>5.5890000000000004</c:v>
                      </c:pt>
                      <c:pt idx="6457">
                        <c:v>5.5890000000000004</c:v>
                      </c:pt>
                      <c:pt idx="6458">
                        <c:v>5.5890000000000004</c:v>
                      </c:pt>
                      <c:pt idx="6459">
                        <c:v>5.5890000000000004</c:v>
                      </c:pt>
                      <c:pt idx="6460">
                        <c:v>5.5750000000000002</c:v>
                      </c:pt>
                      <c:pt idx="6461">
                        <c:v>5.5750000000000002</c:v>
                      </c:pt>
                      <c:pt idx="6462">
                        <c:v>5.5750000000000002</c:v>
                      </c:pt>
                      <c:pt idx="6463">
                        <c:v>5.5750000000000002</c:v>
                      </c:pt>
                      <c:pt idx="6464">
                        <c:v>5.5750000000000002</c:v>
                      </c:pt>
                      <c:pt idx="6465">
                        <c:v>5.5270000000000001</c:v>
                      </c:pt>
                      <c:pt idx="6466">
                        <c:v>5.5270000000000001</c:v>
                      </c:pt>
                      <c:pt idx="6467">
                        <c:v>5.5270000000000001</c:v>
                      </c:pt>
                      <c:pt idx="6468">
                        <c:v>5.5270000000000001</c:v>
                      </c:pt>
                      <c:pt idx="6469">
                        <c:v>5.5270000000000001</c:v>
                      </c:pt>
                      <c:pt idx="6470">
                        <c:v>5.532</c:v>
                      </c:pt>
                      <c:pt idx="6471">
                        <c:v>5.532</c:v>
                      </c:pt>
                      <c:pt idx="6472">
                        <c:v>5.532</c:v>
                      </c:pt>
                      <c:pt idx="6473">
                        <c:v>5.532</c:v>
                      </c:pt>
                      <c:pt idx="6474">
                        <c:v>5.532</c:v>
                      </c:pt>
                      <c:pt idx="6475">
                        <c:v>5.5110000000000001</c:v>
                      </c:pt>
                      <c:pt idx="6476">
                        <c:v>5.5110000000000001</c:v>
                      </c:pt>
                      <c:pt idx="6477">
                        <c:v>5.5110000000000001</c:v>
                      </c:pt>
                      <c:pt idx="6478">
                        <c:v>5.5110000000000001</c:v>
                      </c:pt>
                      <c:pt idx="6479">
                        <c:v>5.5110000000000001</c:v>
                      </c:pt>
                      <c:pt idx="6480">
                        <c:v>5.6</c:v>
                      </c:pt>
                      <c:pt idx="6481">
                        <c:v>5.6</c:v>
                      </c:pt>
                      <c:pt idx="6482">
                        <c:v>5.6</c:v>
                      </c:pt>
                      <c:pt idx="6483">
                        <c:v>5.6</c:v>
                      </c:pt>
                      <c:pt idx="6484">
                        <c:v>5.6</c:v>
                      </c:pt>
                      <c:pt idx="6485">
                        <c:v>5.4950000000000001</c:v>
                      </c:pt>
                      <c:pt idx="6486">
                        <c:v>5.4950000000000001</c:v>
                      </c:pt>
                      <c:pt idx="6487">
                        <c:v>5.4950000000000001</c:v>
                      </c:pt>
                      <c:pt idx="6488">
                        <c:v>5.4950000000000001</c:v>
                      </c:pt>
                      <c:pt idx="6489">
                        <c:v>5.4950000000000001</c:v>
                      </c:pt>
                      <c:pt idx="6490">
                        <c:v>5.4980000000000002</c:v>
                      </c:pt>
                      <c:pt idx="6491">
                        <c:v>5.4980000000000002</c:v>
                      </c:pt>
                      <c:pt idx="6492">
                        <c:v>5.4980000000000002</c:v>
                      </c:pt>
                      <c:pt idx="6493">
                        <c:v>5.4980000000000002</c:v>
                      </c:pt>
                      <c:pt idx="6494">
                        <c:v>5.4980000000000002</c:v>
                      </c:pt>
                      <c:pt idx="6495">
                        <c:v>5.5030000000000001</c:v>
                      </c:pt>
                      <c:pt idx="6496">
                        <c:v>5.5030000000000001</c:v>
                      </c:pt>
                      <c:pt idx="6497">
                        <c:v>5.5030000000000001</c:v>
                      </c:pt>
                      <c:pt idx="6498">
                        <c:v>5.5030000000000001</c:v>
                      </c:pt>
                      <c:pt idx="6499">
                        <c:v>5.5030000000000001</c:v>
                      </c:pt>
                      <c:pt idx="6500">
                        <c:v>5.4640000000000004</c:v>
                      </c:pt>
                      <c:pt idx="6501">
                        <c:v>5.4640000000000004</c:v>
                      </c:pt>
                      <c:pt idx="6502">
                        <c:v>5.4640000000000004</c:v>
                      </c:pt>
                      <c:pt idx="6503">
                        <c:v>5.4640000000000004</c:v>
                      </c:pt>
                      <c:pt idx="6504">
                        <c:v>5.4640000000000004</c:v>
                      </c:pt>
                      <c:pt idx="6505">
                        <c:v>5.2850000000000001</c:v>
                      </c:pt>
                      <c:pt idx="6506">
                        <c:v>5.2850000000000001</c:v>
                      </c:pt>
                      <c:pt idx="6507">
                        <c:v>5.2850000000000001</c:v>
                      </c:pt>
                      <c:pt idx="6508">
                        <c:v>5.2850000000000001</c:v>
                      </c:pt>
                      <c:pt idx="6509">
                        <c:v>5.2850000000000001</c:v>
                      </c:pt>
                      <c:pt idx="6510">
                        <c:v>5.3680000000000003</c:v>
                      </c:pt>
                      <c:pt idx="6511">
                        <c:v>5.3680000000000003</c:v>
                      </c:pt>
                      <c:pt idx="6512">
                        <c:v>5.3680000000000003</c:v>
                      </c:pt>
                      <c:pt idx="6513">
                        <c:v>5.3680000000000003</c:v>
                      </c:pt>
                      <c:pt idx="6514">
                        <c:v>5.3680000000000003</c:v>
                      </c:pt>
                      <c:pt idx="6515">
                        <c:v>5.3789999999999996</c:v>
                      </c:pt>
                      <c:pt idx="6516">
                        <c:v>5.3789999999999996</c:v>
                      </c:pt>
                      <c:pt idx="6517">
                        <c:v>5.3789999999999996</c:v>
                      </c:pt>
                      <c:pt idx="6518">
                        <c:v>5.3789999999999996</c:v>
                      </c:pt>
                      <c:pt idx="6519">
                        <c:v>5.3789999999999996</c:v>
                      </c:pt>
                      <c:pt idx="6520">
                        <c:v>5.3570000000000002</c:v>
                      </c:pt>
                      <c:pt idx="6521">
                        <c:v>5.3570000000000002</c:v>
                      </c:pt>
                      <c:pt idx="6522">
                        <c:v>5.3570000000000002</c:v>
                      </c:pt>
                      <c:pt idx="6523">
                        <c:v>5.3570000000000002</c:v>
                      </c:pt>
                      <c:pt idx="6524">
                        <c:v>5.3570000000000002</c:v>
                      </c:pt>
                      <c:pt idx="6525">
                        <c:v>5.4279999999999999</c:v>
                      </c:pt>
                      <c:pt idx="6526">
                        <c:v>5.4279999999999999</c:v>
                      </c:pt>
                      <c:pt idx="6527">
                        <c:v>5.4279999999999999</c:v>
                      </c:pt>
                      <c:pt idx="6528">
                        <c:v>5.4279999999999999</c:v>
                      </c:pt>
                      <c:pt idx="6529">
                        <c:v>5.4279999999999999</c:v>
                      </c:pt>
                      <c:pt idx="6530">
                        <c:v>5.4790000000000001</c:v>
                      </c:pt>
                      <c:pt idx="6531">
                        <c:v>5.4790000000000001</c:v>
                      </c:pt>
                      <c:pt idx="6532">
                        <c:v>5.4790000000000001</c:v>
                      </c:pt>
                      <c:pt idx="6533">
                        <c:v>5.4790000000000001</c:v>
                      </c:pt>
                      <c:pt idx="6534">
                        <c:v>5.4790000000000001</c:v>
                      </c:pt>
                      <c:pt idx="6535">
                        <c:v>5.4989999999999997</c:v>
                      </c:pt>
                      <c:pt idx="6536">
                        <c:v>5.4989999999999997</c:v>
                      </c:pt>
                      <c:pt idx="6537">
                        <c:v>5.4989999999999997</c:v>
                      </c:pt>
                      <c:pt idx="6538">
                        <c:v>5.4989999999999997</c:v>
                      </c:pt>
                      <c:pt idx="6539">
                        <c:v>5.4989999999999997</c:v>
                      </c:pt>
                      <c:pt idx="6540">
                        <c:v>5.4029999999999996</c:v>
                      </c:pt>
                      <c:pt idx="6541">
                        <c:v>5.4029999999999996</c:v>
                      </c:pt>
                      <c:pt idx="6542">
                        <c:v>5.4029999999999996</c:v>
                      </c:pt>
                      <c:pt idx="6543">
                        <c:v>5.4029999999999996</c:v>
                      </c:pt>
                      <c:pt idx="6544">
                        <c:v>5.4029999999999996</c:v>
                      </c:pt>
                      <c:pt idx="6545">
                        <c:v>5.3970000000000002</c:v>
                      </c:pt>
                      <c:pt idx="6546">
                        <c:v>5.3970000000000002</c:v>
                      </c:pt>
                      <c:pt idx="6547">
                        <c:v>5.3970000000000002</c:v>
                      </c:pt>
                      <c:pt idx="6548">
                        <c:v>5.3970000000000002</c:v>
                      </c:pt>
                      <c:pt idx="6549">
                        <c:v>5.3970000000000002</c:v>
                      </c:pt>
                      <c:pt idx="6550">
                        <c:v>5.3929999999999998</c:v>
                      </c:pt>
                      <c:pt idx="6551">
                        <c:v>5.3929999999999998</c:v>
                      </c:pt>
                      <c:pt idx="6552">
                        <c:v>5.3929999999999998</c:v>
                      </c:pt>
                      <c:pt idx="6553">
                        <c:v>5.3929999999999998</c:v>
                      </c:pt>
                      <c:pt idx="6554">
                        <c:v>5.3929999999999998</c:v>
                      </c:pt>
                      <c:pt idx="6555">
                        <c:v>5.4880000000000004</c:v>
                      </c:pt>
                      <c:pt idx="6556">
                        <c:v>5.4880000000000004</c:v>
                      </c:pt>
                      <c:pt idx="6557">
                        <c:v>5.4880000000000004</c:v>
                      </c:pt>
                      <c:pt idx="6558">
                        <c:v>5.4880000000000004</c:v>
                      </c:pt>
                      <c:pt idx="6559">
                        <c:v>5.4880000000000004</c:v>
                      </c:pt>
                      <c:pt idx="6560">
                        <c:v>5.6310000000000002</c:v>
                      </c:pt>
                      <c:pt idx="6561">
                        <c:v>5.6310000000000002</c:v>
                      </c:pt>
                      <c:pt idx="6562">
                        <c:v>5.6310000000000002</c:v>
                      </c:pt>
                      <c:pt idx="6563">
                        <c:v>5.6310000000000002</c:v>
                      </c:pt>
                      <c:pt idx="6564">
                        <c:v>5.6310000000000002</c:v>
                      </c:pt>
                      <c:pt idx="6565">
                        <c:v>5.4749999999999996</c:v>
                      </c:pt>
                      <c:pt idx="6566">
                        <c:v>5.4749999999999996</c:v>
                      </c:pt>
                      <c:pt idx="6567">
                        <c:v>5.4749999999999996</c:v>
                      </c:pt>
                      <c:pt idx="6568">
                        <c:v>5.4749999999999996</c:v>
                      </c:pt>
                      <c:pt idx="6569">
                        <c:v>5.4749999999999996</c:v>
                      </c:pt>
                      <c:pt idx="6570">
                        <c:v>5.2919999999999998</c:v>
                      </c:pt>
                      <c:pt idx="6571">
                        <c:v>5.2919999999999998</c:v>
                      </c:pt>
                      <c:pt idx="6572">
                        <c:v>5.2919999999999998</c:v>
                      </c:pt>
                      <c:pt idx="6573">
                        <c:v>5.2919999999999998</c:v>
                      </c:pt>
                      <c:pt idx="6574">
                        <c:v>5.2919999999999998</c:v>
                      </c:pt>
                      <c:pt idx="6575">
                        <c:v>5.4530000000000003</c:v>
                      </c:pt>
                      <c:pt idx="6576">
                        <c:v>5.4530000000000003</c:v>
                      </c:pt>
                      <c:pt idx="6577">
                        <c:v>5.4530000000000003</c:v>
                      </c:pt>
                      <c:pt idx="6578">
                        <c:v>5.4530000000000003</c:v>
                      </c:pt>
                      <c:pt idx="6579">
                        <c:v>5.4530000000000003</c:v>
                      </c:pt>
                      <c:pt idx="6580">
                        <c:v>5.2649999999999997</c:v>
                      </c:pt>
                      <c:pt idx="6581">
                        <c:v>5.2649999999999997</c:v>
                      </c:pt>
                      <c:pt idx="6582">
                        <c:v>5.2649999999999997</c:v>
                      </c:pt>
                      <c:pt idx="6583">
                        <c:v>5.2649999999999997</c:v>
                      </c:pt>
                      <c:pt idx="6584">
                        <c:v>5.2649999999999997</c:v>
                      </c:pt>
                      <c:pt idx="6585">
                        <c:v>5.327</c:v>
                      </c:pt>
                      <c:pt idx="6586">
                        <c:v>5.327</c:v>
                      </c:pt>
                      <c:pt idx="6587">
                        <c:v>5.327</c:v>
                      </c:pt>
                      <c:pt idx="6588">
                        <c:v>5.327</c:v>
                      </c:pt>
                      <c:pt idx="6589">
                        <c:v>5.327</c:v>
                      </c:pt>
                      <c:pt idx="6590">
                        <c:v>5.2060000000000004</c:v>
                      </c:pt>
                      <c:pt idx="6591">
                        <c:v>5.2060000000000004</c:v>
                      </c:pt>
                      <c:pt idx="6592">
                        <c:v>5.2060000000000004</c:v>
                      </c:pt>
                      <c:pt idx="6593">
                        <c:v>5.2060000000000004</c:v>
                      </c:pt>
                      <c:pt idx="6594">
                        <c:v>5.2060000000000004</c:v>
                      </c:pt>
                      <c:pt idx="6595">
                        <c:v>5.1929999999999996</c:v>
                      </c:pt>
                      <c:pt idx="6596">
                        <c:v>5.1929999999999996</c:v>
                      </c:pt>
                      <c:pt idx="6597">
                        <c:v>5.1929999999999996</c:v>
                      </c:pt>
                      <c:pt idx="6598">
                        <c:v>5.1929999999999996</c:v>
                      </c:pt>
                      <c:pt idx="6599">
                        <c:v>5.1929999999999996</c:v>
                      </c:pt>
                      <c:pt idx="6600">
                        <c:v>5.2080000000000002</c:v>
                      </c:pt>
                      <c:pt idx="6601">
                        <c:v>5.2080000000000002</c:v>
                      </c:pt>
                      <c:pt idx="6602">
                        <c:v>5.2080000000000002</c:v>
                      </c:pt>
                      <c:pt idx="6603">
                        <c:v>5.2080000000000002</c:v>
                      </c:pt>
                      <c:pt idx="6604">
                        <c:v>5.2080000000000002</c:v>
                      </c:pt>
                      <c:pt idx="6605">
                        <c:v>5.2160000000000002</c:v>
                      </c:pt>
                      <c:pt idx="6606">
                        <c:v>5.2160000000000002</c:v>
                      </c:pt>
                      <c:pt idx="6607">
                        <c:v>5.2160000000000002</c:v>
                      </c:pt>
                      <c:pt idx="6608">
                        <c:v>5.2160000000000002</c:v>
                      </c:pt>
                      <c:pt idx="6609">
                        <c:v>5.2160000000000002</c:v>
                      </c:pt>
                      <c:pt idx="6610">
                        <c:v>5.1689999999999996</c:v>
                      </c:pt>
                      <c:pt idx="6611">
                        <c:v>5.1689999999999996</c:v>
                      </c:pt>
                      <c:pt idx="6612">
                        <c:v>5.1689999999999996</c:v>
                      </c:pt>
                      <c:pt idx="6613">
                        <c:v>5.1689999999999996</c:v>
                      </c:pt>
                      <c:pt idx="6614">
                        <c:v>5.1689999999999996</c:v>
                      </c:pt>
                      <c:pt idx="6615">
                        <c:v>5.1609999999999996</c:v>
                      </c:pt>
                      <c:pt idx="6616">
                        <c:v>5.1609999999999996</c:v>
                      </c:pt>
                      <c:pt idx="6617">
                        <c:v>5.1609999999999996</c:v>
                      </c:pt>
                      <c:pt idx="6618">
                        <c:v>5.1609999999999996</c:v>
                      </c:pt>
                      <c:pt idx="6619">
                        <c:v>5.1609999999999996</c:v>
                      </c:pt>
                      <c:pt idx="6620">
                        <c:v>4.9059999999999997</c:v>
                      </c:pt>
                      <c:pt idx="6621">
                        <c:v>4.9059999999999997</c:v>
                      </c:pt>
                      <c:pt idx="6622">
                        <c:v>4.9059999999999997</c:v>
                      </c:pt>
                      <c:pt idx="6623">
                        <c:v>4.9059999999999997</c:v>
                      </c:pt>
                      <c:pt idx="6624">
                        <c:v>4.9059999999999997</c:v>
                      </c:pt>
                      <c:pt idx="6625">
                        <c:v>4.9260000000000002</c:v>
                      </c:pt>
                      <c:pt idx="6626">
                        <c:v>4.9260000000000002</c:v>
                      </c:pt>
                      <c:pt idx="6627">
                        <c:v>4.9260000000000002</c:v>
                      </c:pt>
                      <c:pt idx="6628">
                        <c:v>4.9260000000000002</c:v>
                      </c:pt>
                      <c:pt idx="6629">
                        <c:v>4.9260000000000002</c:v>
                      </c:pt>
                      <c:pt idx="6630">
                        <c:v>4.8440000000000003</c:v>
                      </c:pt>
                      <c:pt idx="6631">
                        <c:v>4.8440000000000003</c:v>
                      </c:pt>
                      <c:pt idx="6632">
                        <c:v>4.8440000000000003</c:v>
                      </c:pt>
                      <c:pt idx="6633">
                        <c:v>4.8440000000000003</c:v>
                      </c:pt>
                      <c:pt idx="6634">
                        <c:v>4.8440000000000003</c:v>
                      </c:pt>
                      <c:pt idx="6635">
                        <c:v>4.9459999999999997</c:v>
                      </c:pt>
                      <c:pt idx="6636">
                        <c:v>4.9459999999999997</c:v>
                      </c:pt>
                      <c:pt idx="6637">
                        <c:v>4.9459999999999997</c:v>
                      </c:pt>
                      <c:pt idx="6638">
                        <c:v>4.9459999999999997</c:v>
                      </c:pt>
                      <c:pt idx="6639">
                        <c:v>4.9459999999999997</c:v>
                      </c:pt>
                      <c:pt idx="6640">
                        <c:v>4.7549999999999999</c:v>
                      </c:pt>
                      <c:pt idx="6641">
                        <c:v>4.7549999999999999</c:v>
                      </c:pt>
                      <c:pt idx="6642">
                        <c:v>4.7549999999999999</c:v>
                      </c:pt>
                      <c:pt idx="6643">
                        <c:v>4.7549999999999999</c:v>
                      </c:pt>
                      <c:pt idx="6644">
                        <c:v>4.7549999999999999</c:v>
                      </c:pt>
                      <c:pt idx="6645">
                        <c:v>4.8090000000000002</c:v>
                      </c:pt>
                      <c:pt idx="6646">
                        <c:v>4.8090000000000002</c:v>
                      </c:pt>
                      <c:pt idx="6647">
                        <c:v>4.8090000000000002</c:v>
                      </c:pt>
                      <c:pt idx="6648">
                        <c:v>4.8090000000000002</c:v>
                      </c:pt>
                      <c:pt idx="6649">
                        <c:v>4.8090000000000002</c:v>
                      </c:pt>
                      <c:pt idx="6650">
                        <c:v>4.8449999999999998</c:v>
                      </c:pt>
                      <c:pt idx="6651">
                        <c:v>4.8449999999999998</c:v>
                      </c:pt>
                      <c:pt idx="6652">
                        <c:v>4.8449999999999998</c:v>
                      </c:pt>
                      <c:pt idx="6653">
                        <c:v>4.8449999999999998</c:v>
                      </c:pt>
                      <c:pt idx="6654">
                        <c:v>4.8449999999999998</c:v>
                      </c:pt>
                      <c:pt idx="6655">
                        <c:v>4.8719999999999999</c:v>
                      </c:pt>
                      <c:pt idx="6656">
                        <c:v>4.8719999999999999</c:v>
                      </c:pt>
                      <c:pt idx="6657">
                        <c:v>4.8719999999999999</c:v>
                      </c:pt>
                      <c:pt idx="6658">
                        <c:v>4.8719999999999999</c:v>
                      </c:pt>
                      <c:pt idx="6659">
                        <c:v>4.8719999999999999</c:v>
                      </c:pt>
                      <c:pt idx="6660">
                        <c:v>4.9189999999999996</c:v>
                      </c:pt>
                      <c:pt idx="6661">
                        <c:v>4.9189999999999996</c:v>
                      </c:pt>
                      <c:pt idx="6662">
                        <c:v>4.9189999999999996</c:v>
                      </c:pt>
                      <c:pt idx="6663">
                        <c:v>4.9189999999999996</c:v>
                      </c:pt>
                      <c:pt idx="6664">
                        <c:v>4.9189999999999996</c:v>
                      </c:pt>
                      <c:pt idx="6665">
                        <c:v>4.968</c:v>
                      </c:pt>
                      <c:pt idx="6666">
                        <c:v>4.968</c:v>
                      </c:pt>
                      <c:pt idx="6667">
                        <c:v>4.968</c:v>
                      </c:pt>
                      <c:pt idx="6668">
                        <c:v>4.968</c:v>
                      </c:pt>
                      <c:pt idx="6669">
                        <c:v>4.968</c:v>
                      </c:pt>
                      <c:pt idx="6670">
                        <c:v>4.9610000000000003</c:v>
                      </c:pt>
                      <c:pt idx="6671">
                        <c:v>4.9610000000000003</c:v>
                      </c:pt>
                      <c:pt idx="6672">
                        <c:v>4.9610000000000003</c:v>
                      </c:pt>
                      <c:pt idx="6673">
                        <c:v>4.9610000000000003</c:v>
                      </c:pt>
                      <c:pt idx="6674">
                        <c:v>4.9610000000000003</c:v>
                      </c:pt>
                      <c:pt idx="6675">
                        <c:v>5.0140000000000002</c:v>
                      </c:pt>
                      <c:pt idx="6676">
                        <c:v>5.0140000000000002</c:v>
                      </c:pt>
                      <c:pt idx="6677">
                        <c:v>5.0140000000000002</c:v>
                      </c:pt>
                      <c:pt idx="6678">
                        <c:v>5.0140000000000002</c:v>
                      </c:pt>
                      <c:pt idx="6679">
                        <c:v>5.0140000000000002</c:v>
                      </c:pt>
                      <c:pt idx="6680">
                        <c:v>4.9359999999999999</c:v>
                      </c:pt>
                      <c:pt idx="6681">
                        <c:v>4.9359999999999999</c:v>
                      </c:pt>
                      <c:pt idx="6682">
                        <c:v>4.9359999999999999</c:v>
                      </c:pt>
                      <c:pt idx="6683">
                        <c:v>4.9359999999999999</c:v>
                      </c:pt>
                      <c:pt idx="6684">
                        <c:v>4.9359999999999999</c:v>
                      </c:pt>
                      <c:pt idx="6685">
                        <c:v>5.0119999999999996</c:v>
                      </c:pt>
                      <c:pt idx="6686">
                        <c:v>5.0119999999999996</c:v>
                      </c:pt>
                      <c:pt idx="6687">
                        <c:v>5.0119999999999996</c:v>
                      </c:pt>
                      <c:pt idx="6688">
                        <c:v>5.0119999999999996</c:v>
                      </c:pt>
                      <c:pt idx="6689">
                        <c:v>5.0119999999999996</c:v>
                      </c:pt>
                      <c:pt idx="6690">
                        <c:v>4.9240000000000004</c:v>
                      </c:pt>
                      <c:pt idx="6691">
                        <c:v>4.9240000000000004</c:v>
                      </c:pt>
                      <c:pt idx="6692">
                        <c:v>4.9240000000000004</c:v>
                      </c:pt>
                      <c:pt idx="6693">
                        <c:v>4.9240000000000004</c:v>
                      </c:pt>
                      <c:pt idx="6694">
                        <c:v>4.9240000000000004</c:v>
                      </c:pt>
                      <c:pt idx="6695">
                        <c:v>4.9989999999999997</c:v>
                      </c:pt>
                      <c:pt idx="6696">
                        <c:v>4.9989999999999997</c:v>
                      </c:pt>
                      <c:pt idx="6697">
                        <c:v>4.9989999999999997</c:v>
                      </c:pt>
                      <c:pt idx="6698">
                        <c:v>4.9989999999999997</c:v>
                      </c:pt>
                      <c:pt idx="6699">
                        <c:v>4.9989999999999997</c:v>
                      </c:pt>
                      <c:pt idx="6700">
                        <c:v>4.9610000000000003</c:v>
                      </c:pt>
                      <c:pt idx="6701">
                        <c:v>4.9610000000000003</c:v>
                      </c:pt>
                      <c:pt idx="6702">
                        <c:v>4.9610000000000003</c:v>
                      </c:pt>
                      <c:pt idx="6703">
                        <c:v>4.9610000000000003</c:v>
                      </c:pt>
                      <c:pt idx="6704">
                        <c:v>4.9610000000000003</c:v>
                      </c:pt>
                      <c:pt idx="6705">
                        <c:v>4.9420000000000002</c:v>
                      </c:pt>
                      <c:pt idx="6706">
                        <c:v>4.9420000000000002</c:v>
                      </c:pt>
                      <c:pt idx="6707">
                        <c:v>4.9420000000000002</c:v>
                      </c:pt>
                      <c:pt idx="6708">
                        <c:v>4.9420000000000002</c:v>
                      </c:pt>
                      <c:pt idx="6709">
                        <c:v>4.9420000000000002</c:v>
                      </c:pt>
                      <c:pt idx="6710">
                        <c:v>4.9379999999999997</c:v>
                      </c:pt>
                      <c:pt idx="6711">
                        <c:v>4.9379999999999997</c:v>
                      </c:pt>
                      <c:pt idx="6712">
                        <c:v>4.9379999999999997</c:v>
                      </c:pt>
                      <c:pt idx="6713">
                        <c:v>4.9379999999999997</c:v>
                      </c:pt>
                      <c:pt idx="6714">
                        <c:v>4.9379999999999997</c:v>
                      </c:pt>
                      <c:pt idx="6715">
                        <c:v>4.9640000000000004</c:v>
                      </c:pt>
                      <c:pt idx="6716">
                        <c:v>4.9640000000000004</c:v>
                      </c:pt>
                      <c:pt idx="6717">
                        <c:v>4.9640000000000004</c:v>
                      </c:pt>
                      <c:pt idx="6718">
                        <c:v>4.9640000000000004</c:v>
                      </c:pt>
                      <c:pt idx="6719">
                        <c:v>4.9640000000000004</c:v>
                      </c:pt>
                      <c:pt idx="6720">
                        <c:v>4.9969999999999999</c:v>
                      </c:pt>
                      <c:pt idx="6721">
                        <c:v>4.9969999999999999</c:v>
                      </c:pt>
                      <c:pt idx="6722">
                        <c:v>4.9969999999999999</c:v>
                      </c:pt>
                      <c:pt idx="6723">
                        <c:v>4.9969999999999999</c:v>
                      </c:pt>
                      <c:pt idx="6724">
                        <c:v>4.9969999999999999</c:v>
                      </c:pt>
                      <c:pt idx="6725">
                        <c:v>5.0519999999999996</c:v>
                      </c:pt>
                      <c:pt idx="6726">
                        <c:v>5.0519999999999996</c:v>
                      </c:pt>
                      <c:pt idx="6727">
                        <c:v>5.0519999999999996</c:v>
                      </c:pt>
                      <c:pt idx="6728">
                        <c:v>5.0519999999999996</c:v>
                      </c:pt>
                      <c:pt idx="6729">
                        <c:v>5.0519999999999996</c:v>
                      </c:pt>
                      <c:pt idx="6730">
                        <c:v>5.0049999999999999</c:v>
                      </c:pt>
                      <c:pt idx="6731">
                        <c:v>5.0049999999999999</c:v>
                      </c:pt>
                      <c:pt idx="6732">
                        <c:v>5.0049999999999999</c:v>
                      </c:pt>
                      <c:pt idx="6733">
                        <c:v>5.0049999999999999</c:v>
                      </c:pt>
                      <c:pt idx="6734">
                        <c:v>5.0049999999999999</c:v>
                      </c:pt>
                      <c:pt idx="6735">
                        <c:v>5.0179999999999998</c:v>
                      </c:pt>
                      <c:pt idx="6736">
                        <c:v>5.0179999999999998</c:v>
                      </c:pt>
                      <c:pt idx="6737">
                        <c:v>5.0179999999999998</c:v>
                      </c:pt>
                      <c:pt idx="6738">
                        <c:v>5.0179999999999998</c:v>
                      </c:pt>
                      <c:pt idx="6739">
                        <c:v>5.0179999999999998</c:v>
                      </c:pt>
                      <c:pt idx="6740">
                        <c:v>5.08</c:v>
                      </c:pt>
                      <c:pt idx="6741">
                        <c:v>5.08</c:v>
                      </c:pt>
                      <c:pt idx="6742">
                        <c:v>5.08</c:v>
                      </c:pt>
                      <c:pt idx="6743">
                        <c:v>5.08</c:v>
                      </c:pt>
                      <c:pt idx="6744">
                        <c:v>5.08</c:v>
                      </c:pt>
                      <c:pt idx="6745">
                        <c:v>5.0670000000000002</c:v>
                      </c:pt>
                      <c:pt idx="6746">
                        <c:v>5.0670000000000002</c:v>
                      </c:pt>
                      <c:pt idx="6747">
                        <c:v>5.0670000000000002</c:v>
                      </c:pt>
                      <c:pt idx="6748">
                        <c:v>5.0670000000000002</c:v>
                      </c:pt>
                      <c:pt idx="6749">
                        <c:v>5.0670000000000002</c:v>
                      </c:pt>
                      <c:pt idx="6750">
                        <c:v>5.0789999999999997</c:v>
                      </c:pt>
                      <c:pt idx="6751">
                        <c:v>5.0789999999999997</c:v>
                      </c:pt>
                      <c:pt idx="6752">
                        <c:v>5.0789999999999997</c:v>
                      </c:pt>
                      <c:pt idx="6753">
                        <c:v>5.0789999999999997</c:v>
                      </c:pt>
                      <c:pt idx="6754">
                        <c:v>5.0789999999999997</c:v>
                      </c:pt>
                      <c:pt idx="6755">
                        <c:v>5.1340000000000003</c:v>
                      </c:pt>
                      <c:pt idx="6756">
                        <c:v>5.1340000000000003</c:v>
                      </c:pt>
                      <c:pt idx="6757">
                        <c:v>5.1340000000000003</c:v>
                      </c:pt>
                      <c:pt idx="6758">
                        <c:v>5.1340000000000003</c:v>
                      </c:pt>
                      <c:pt idx="6759">
                        <c:v>5.1340000000000003</c:v>
                      </c:pt>
                      <c:pt idx="6760">
                        <c:v>5.0990000000000002</c:v>
                      </c:pt>
                      <c:pt idx="6761">
                        <c:v>5.0990000000000002</c:v>
                      </c:pt>
                      <c:pt idx="6762">
                        <c:v>5.0990000000000002</c:v>
                      </c:pt>
                      <c:pt idx="6763">
                        <c:v>5.0990000000000002</c:v>
                      </c:pt>
                      <c:pt idx="6764">
                        <c:v>5.0990000000000002</c:v>
                      </c:pt>
                      <c:pt idx="6765">
                        <c:v>5.1909999999999998</c:v>
                      </c:pt>
                      <c:pt idx="6766">
                        <c:v>5.1909999999999998</c:v>
                      </c:pt>
                      <c:pt idx="6767">
                        <c:v>5.1909999999999998</c:v>
                      </c:pt>
                      <c:pt idx="6768">
                        <c:v>5.1909999999999998</c:v>
                      </c:pt>
                      <c:pt idx="6769">
                        <c:v>5.1909999999999998</c:v>
                      </c:pt>
                      <c:pt idx="6770">
                        <c:v>5.1849999999999996</c:v>
                      </c:pt>
                      <c:pt idx="6771">
                        <c:v>5.1849999999999996</c:v>
                      </c:pt>
                      <c:pt idx="6772">
                        <c:v>5.1849999999999996</c:v>
                      </c:pt>
                      <c:pt idx="6773">
                        <c:v>5.1849999999999996</c:v>
                      </c:pt>
                      <c:pt idx="6774">
                        <c:v>5.1849999999999996</c:v>
                      </c:pt>
                      <c:pt idx="6775">
                        <c:v>5.28</c:v>
                      </c:pt>
                      <c:pt idx="6776">
                        <c:v>5.28</c:v>
                      </c:pt>
                      <c:pt idx="6777">
                        <c:v>5.28</c:v>
                      </c:pt>
                      <c:pt idx="6778">
                        <c:v>5.28</c:v>
                      </c:pt>
                      <c:pt idx="6779">
                        <c:v>5.28</c:v>
                      </c:pt>
                      <c:pt idx="6780">
                        <c:v>5.2249999999999996</c:v>
                      </c:pt>
                      <c:pt idx="6781">
                        <c:v>5.2249999999999996</c:v>
                      </c:pt>
                      <c:pt idx="6782">
                        <c:v>5.2249999999999996</c:v>
                      </c:pt>
                      <c:pt idx="6783">
                        <c:v>5.2249999999999996</c:v>
                      </c:pt>
                      <c:pt idx="6784">
                        <c:v>5.2249999999999996</c:v>
                      </c:pt>
                      <c:pt idx="6785">
                        <c:v>5.2789999999999999</c:v>
                      </c:pt>
                      <c:pt idx="6786">
                        <c:v>5.2789999999999999</c:v>
                      </c:pt>
                      <c:pt idx="6787">
                        <c:v>5.2789999999999999</c:v>
                      </c:pt>
                      <c:pt idx="6788">
                        <c:v>5.2789999999999999</c:v>
                      </c:pt>
                      <c:pt idx="6789">
                        <c:v>5.2789999999999999</c:v>
                      </c:pt>
                      <c:pt idx="6790">
                        <c:v>5.3730000000000002</c:v>
                      </c:pt>
                      <c:pt idx="6791">
                        <c:v>5.3730000000000002</c:v>
                      </c:pt>
                      <c:pt idx="6792">
                        <c:v>5.3730000000000002</c:v>
                      </c:pt>
                      <c:pt idx="6793">
                        <c:v>5.3730000000000002</c:v>
                      </c:pt>
                      <c:pt idx="6794">
                        <c:v>5.3730000000000002</c:v>
                      </c:pt>
                      <c:pt idx="6795">
                        <c:v>5.4550000000000001</c:v>
                      </c:pt>
                      <c:pt idx="6796">
                        <c:v>5.4550000000000001</c:v>
                      </c:pt>
                      <c:pt idx="6797">
                        <c:v>5.4550000000000001</c:v>
                      </c:pt>
                      <c:pt idx="6798">
                        <c:v>5.4550000000000001</c:v>
                      </c:pt>
                      <c:pt idx="6799">
                        <c:v>5.4550000000000001</c:v>
                      </c:pt>
                      <c:pt idx="6800">
                        <c:v>5.48</c:v>
                      </c:pt>
                      <c:pt idx="6801">
                        <c:v>5.48</c:v>
                      </c:pt>
                      <c:pt idx="6802">
                        <c:v>5.48</c:v>
                      </c:pt>
                      <c:pt idx="6803">
                        <c:v>5.48</c:v>
                      </c:pt>
                      <c:pt idx="6804">
                        <c:v>5.48</c:v>
                      </c:pt>
                      <c:pt idx="6805">
                        <c:v>5.5010000000000003</c:v>
                      </c:pt>
                      <c:pt idx="6806">
                        <c:v>5.5010000000000003</c:v>
                      </c:pt>
                      <c:pt idx="6807">
                        <c:v>5.5010000000000003</c:v>
                      </c:pt>
                      <c:pt idx="6808">
                        <c:v>5.5010000000000003</c:v>
                      </c:pt>
                      <c:pt idx="6809">
                        <c:v>5.5010000000000003</c:v>
                      </c:pt>
                      <c:pt idx="6810">
                        <c:v>5.5170000000000003</c:v>
                      </c:pt>
                      <c:pt idx="6811">
                        <c:v>5.5170000000000003</c:v>
                      </c:pt>
                      <c:pt idx="6812">
                        <c:v>5.5170000000000003</c:v>
                      </c:pt>
                      <c:pt idx="6813">
                        <c:v>5.5170000000000003</c:v>
                      </c:pt>
                      <c:pt idx="6814">
                        <c:v>5.5170000000000003</c:v>
                      </c:pt>
                      <c:pt idx="6815">
                        <c:v>5.585</c:v>
                      </c:pt>
                      <c:pt idx="6816">
                        <c:v>5.585</c:v>
                      </c:pt>
                      <c:pt idx="6817">
                        <c:v>5.585</c:v>
                      </c:pt>
                      <c:pt idx="6818">
                        <c:v>5.585</c:v>
                      </c:pt>
                      <c:pt idx="6819">
                        <c:v>5.585</c:v>
                      </c:pt>
                      <c:pt idx="6820">
                        <c:v>5.5</c:v>
                      </c:pt>
                      <c:pt idx="6821">
                        <c:v>5.5</c:v>
                      </c:pt>
                      <c:pt idx="6822">
                        <c:v>5.5</c:v>
                      </c:pt>
                      <c:pt idx="6823">
                        <c:v>5.5</c:v>
                      </c:pt>
                      <c:pt idx="6824">
                        <c:v>5.5</c:v>
                      </c:pt>
                      <c:pt idx="6825">
                        <c:v>5.4790000000000001</c:v>
                      </c:pt>
                      <c:pt idx="6826">
                        <c:v>5.4790000000000001</c:v>
                      </c:pt>
                      <c:pt idx="6827">
                        <c:v>5.4790000000000001</c:v>
                      </c:pt>
                      <c:pt idx="6828">
                        <c:v>5.4790000000000001</c:v>
                      </c:pt>
                      <c:pt idx="6829">
                        <c:v>5.4790000000000001</c:v>
                      </c:pt>
                      <c:pt idx="6830">
                        <c:v>5.5270000000000001</c:v>
                      </c:pt>
                      <c:pt idx="6831">
                        <c:v>5.5270000000000001</c:v>
                      </c:pt>
                      <c:pt idx="6832">
                        <c:v>5.5270000000000001</c:v>
                      </c:pt>
                      <c:pt idx="6833">
                        <c:v>5.5270000000000001</c:v>
                      </c:pt>
                      <c:pt idx="6834">
                        <c:v>5.5270000000000001</c:v>
                      </c:pt>
                      <c:pt idx="6835">
                        <c:v>5.47</c:v>
                      </c:pt>
                      <c:pt idx="6836">
                        <c:v>5.47</c:v>
                      </c:pt>
                      <c:pt idx="6837">
                        <c:v>5.47</c:v>
                      </c:pt>
                      <c:pt idx="6838">
                        <c:v>5.47</c:v>
                      </c:pt>
                      <c:pt idx="6839">
                        <c:v>5.47</c:v>
                      </c:pt>
                      <c:pt idx="6840">
                        <c:v>5.5380000000000003</c:v>
                      </c:pt>
                      <c:pt idx="6841">
                        <c:v>5.5380000000000003</c:v>
                      </c:pt>
                      <c:pt idx="6842">
                        <c:v>5.5380000000000003</c:v>
                      </c:pt>
                      <c:pt idx="6843">
                        <c:v>5.5380000000000003</c:v>
                      </c:pt>
                      <c:pt idx="6844">
                        <c:v>5.5380000000000003</c:v>
                      </c:pt>
                      <c:pt idx="6845">
                        <c:v>5.601</c:v>
                      </c:pt>
                      <c:pt idx="6846">
                        <c:v>5.601</c:v>
                      </c:pt>
                      <c:pt idx="6847">
                        <c:v>5.601</c:v>
                      </c:pt>
                      <c:pt idx="6848">
                        <c:v>5.601</c:v>
                      </c:pt>
                      <c:pt idx="6849">
                        <c:v>5.601</c:v>
                      </c:pt>
                      <c:pt idx="6850">
                        <c:v>6.0720000000000001</c:v>
                      </c:pt>
                      <c:pt idx="6851">
                        <c:v>6.0720000000000001</c:v>
                      </c:pt>
                      <c:pt idx="6852">
                        <c:v>6.0720000000000001</c:v>
                      </c:pt>
                      <c:pt idx="6853">
                        <c:v>6.0720000000000001</c:v>
                      </c:pt>
                      <c:pt idx="6854">
                        <c:v>6.0720000000000001</c:v>
                      </c:pt>
                      <c:pt idx="6855">
                        <c:v>5.827</c:v>
                      </c:pt>
                      <c:pt idx="6856">
                        <c:v>5.827</c:v>
                      </c:pt>
                      <c:pt idx="6857">
                        <c:v>5.827</c:v>
                      </c:pt>
                      <c:pt idx="6858">
                        <c:v>5.827</c:v>
                      </c:pt>
                      <c:pt idx="6859">
                        <c:v>5.827</c:v>
                      </c:pt>
                      <c:pt idx="6860">
                        <c:v>5.5990000000000002</c:v>
                      </c:pt>
                      <c:pt idx="6861">
                        <c:v>5.5990000000000002</c:v>
                      </c:pt>
                      <c:pt idx="6862">
                        <c:v>5.5990000000000002</c:v>
                      </c:pt>
                      <c:pt idx="6863">
                        <c:v>5.5990000000000002</c:v>
                      </c:pt>
                      <c:pt idx="6864">
                        <c:v>5.5990000000000002</c:v>
                      </c:pt>
                      <c:pt idx="6865">
                        <c:v>5.69</c:v>
                      </c:pt>
                      <c:pt idx="6866">
                        <c:v>5.69</c:v>
                      </c:pt>
                      <c:pt idx="6867">
                        <c:v>5.69</c:v>
                      </c:pt>
                      <c:pt idx="6868">
                        <c:v>5.69</c:v>
                      </c:pt>
                      <c:pt idx="6869">
                        <c:v>5.69</c:v>
                      </c:pt>
                      <c:pt idx="6870">
                        <c:v>5.6740000000000004</c:v>
                      </c:pt>
                      <c:pt idx="6871">
                        <c:v>5.6740000000000004</c:v>
                      </c:pt>
                      <c:pt idx="6872">
                        <c:v>5.6740000000000004</c:v>
                      </c:pt>
                      <c:pt idx="6873">
                        <c:v>5.6740000000000004</c:v>
                      </c:pt>
                      <c:pt idx="6874">
                        <c:v>5.6740000000000004</c:v>
                      </c:pt>
                      <c:pt idx="6875">
                        <c:v>5.6920000000000002</c:v>
                      </c:pt>
                      <c:pt idx="6876">
                        <c:v>5.6920000000000002</c:v>
                      </c:pt>
                      <c:pt idx="6877">
                        <c:v>5.6920000000000002</c:v>
                      </c:pt>
                      <c:pt idx="6878">
                        <c:v>5.6920000000000002</c:v>
                      </c:pt>
                      <c:pt idx="6879">
                        <c:v>5.6920000000000002</c:v>
                      </c:pt>
                      <c:pt idx="6880">
                        <c:v>5.6609999999999996</c:v>
                      </c:pt>
                      <c:pt idx="6881">
                        <c:v>5.6609999999999996</c:v>
                      </c:pt>
                      <c:pt idx="6882">
                        <c:v>5.6609999999999996</c:v>
                      </c:pt>
                      <c:pt idx="6883">
                        <c:v>5.6609999999999996</c:v>
                      </c:pt>
                      <c:pt idx="6884">
                        <c:v>5.6609999999999996</c:v>
                      </c:pt>
                      <c:pt idx="6885">
                        <c:v>5.6529999999999996</c:v>
                      </c:pt>
                      <c:pt idx="6886">
                        <c:v>5.6529999999999996</c:v>
                      </c:pt>
                      <c:pt idx="6887">
                        <c:v>5.6529999999999996</c:v>
                      </c:pt>
                      <c:pt idx="6888">
                        <c:v>5.6529999999999996</c:v>
                      </c:pt>
                      <c:pt idx="6889">
                        <c:v>5.6529999999999996</c:v>
                      </c:pt>
                      <c:pt idx="6890">
                        <c:v>5.6120000000000001</c:v>
                      </c:pt>
                      <c:pt idx="6891">
                        <c:v>5.6120000000000001</c:v>
                      </c:pt>
                      <c:pt idx="6892">
                        <c:v>5.6120000000000001</c:v>
                      </c:pt>
                      <c:pt idx="6893">
                        <c:v>5.6120000000000001</c:v>
                      </c:pt>
                      <c:pt idx="6894">
                        <c:v>5.6120000000000001</c:v>
                      </c:pt>
                      <c:pt idx="6895">
                        <c:v>5.556</c:v>
                      </c:pt>
                      <c:pt idx="6896">
                        <c:v>5.556</c:v>
                      </c:pt>
                      <c:pt idx="6897">
                        <c:v>5.556</c:v>
                      </c:pt>
                      <c:pt idx="6898">
                        <c:v>5.556</c:v>
                      </c:pt>
                      <c:pt idx="6899">
                        <c:v>5.556</c:v>
                      </c:pt>
                      <c:pt idx="6900">
                        <c:v>5.6589999999999998</c:v>
                      </c:pt>
                      <c:pt idx="6901">
                        <c:v>5.6589999999999998</c:v>
                      </c:pt>
                      <c:pt idx="6902">
                        <c:v>5.6589999999999998</c:v>
                      </c:pt>
                      <c:pt idx="6903">
                        <c:v>5.6589999999999998</c:v>
                      </c:pt>
                      <c:pt idx="6904">
                        <c:v>5.6589999999999998</c:v>
                      </c:pt>
                      <c:pt idx="6905">
                        <c:v>5.641</c:v>
                      </c:pt>
                      <c:pt idx="6906">
                        <c:v>5.641</c:v>
                      </c:pt>
                      <c:pt idx="6907">
                        <c:v>5.641</c:v>
                      </c:pt>
                      <c:pt idx="6908">
                        <c:v>5.641</c:v>
                      </c:pt>
                      <c:pt idx="6909">
                        <c:v>5.641</c:v>
                      </c:pt>
                      <c:pt idx="6910">
                        <c:v>5.649</c:v>
                      </c:pt>
                      <c:pt idx="6911">
                        <c:v>5.649</c:v>
                      </c:pt>
                      <c:pt idx="6912">
                        <c:v>5.649</c:v>
                      </c:pt>
                      <c:pt idx="6913">
                        <c:v>5.649</c:v>
                      </c:pt>
                      <c:pt idx="6914">
                        <c:v>5.649</c:v>
                      </c:pt>
                      <c:pt idx="6915">
                        <c:v>5.6509999999999998</c:v>
                      </c:pt>
                      <c:pt idx="6916">
                        <c:v>5.6509999999999998</c:v>
                      </c:pt>
                      <c:pt idx="6917">
                        <c:v>5.6509999999999998</c:v>
                      </c:pt>
                      <c:pt idx="6918">
                        <c:v>5.6509999999999998</c:v>
                      </c:pt>
                      <c:pt idx="6919">
                        <c:v>5.6509999999999998</c:v>
                      </c:pt>
                      <c:pt idx="6920">
                        <c:v>5.758</c:v>
                      </c:pt>
                      <c:pt idx="6921">
                        <c:v>5.758</c:v>
                      </c:pt>
                      <c:pt idx="6922">
                        <c:v>5.758</c:v>
                      </c:pt>
                      <c:pt idx="6923">
                        <c:v>5.758</c:v>
                      </c:pt>
                      <c:pt idx="6924">
                        <c:v>5.758</c:v>
                      </c:pt>
                      <c:pt idx="6925">
                        <c:v>5.8920000000000003</c:v>
                      </c:pt>
                      <c:pt idx="6926">
                        <c:v>5.8920000000000003</c:v>
                      </c:pt>
                      <c:pt idx="6927">
                        <c:v>5.8920000000000003</c:v>
                      </c:pt>
                      <c:pt idx="6928">
                        <c:v>5.8920000000000003</c:v>
                      </c:pt>
                      <c:pt idx="6929">
                        <c:v>5.8920000000000003</c:v>
                      </c:pt>
                      <c:pt idx="6930">
                        <c:v>5.8970000000000002</c:v>
                      </c:pt>
                      <c:pt idx="6931">
                        <c:v>5.8970000000000002</c:v>
                      </c:pt>
                      <c:pt idx="6932">
                        <c:v>5.8970000000000002</c:v>
                      </c:pt>
                      <c:pt idx="6933">
                        <c:v>5.8970000000000002</c:v>
                      </c:pt>
                      <c:pt idx="6934">
                        <c:v>5.8970000000000002</c:v>
                      </c:pt>
                      <c:pt idx="6935">
                        <c:v>5.8710000000000004</c:v>
                      </c:pt>
                      <c:pt idx="6936">
                        <c:v>5.8710000000000004</c:v>
                      </c:pt>
                      <c:pt idx="6937">
                        <c:v>5.8710000000000004</c:v>
                      </c:pt>
                      <c:pt idx="6938">
                        <c:v>5.8710000000000004</c:v>
                      </c:pt>
                      <c:pt idx="6939">
                        <c:v>5.8710000000000004</c:v>
                      </c:pt>
                      <c:pt idx="6940">
                        <c:v>5.8929999999999998</c:v>
                      </c:pt>
                      <c:pt idx="6941">
                        <c:v>5.8929999999999998</c:v>
                      </c:pt>
                      <c:pt idx="6942">
                        <c:v>5.8929999999999998</c:v>
                      </c:pt>
                      <c:pt idx="6943">
                        <c:v>5.8929999999999998</c:v>
                      </c:pt>
                      <c:pt idx="6944">
                        <c:v>5.8929999999999998</c:v>
                      </c:pt>
                      <c:pt idx="6945">
                        <c:v>6.008</c:v>
                      </c:pt>
                      <c:pt idx="6946">
                        <c:v>6.008</c:v>
                      </c:pt>
                      <c:pt idx="6947">
                        <c:v>6.008</c:v>
                      </c:pt>
                      <c:pt idx="6948">
                        <c:v>6.008</c:v>
                      </c:pt>
                      <c:pt idx="6949">
                        <c:v>6.008</c:v>
                      </c:pt>
                      <c:pt idx="6950">
                        <c:v>6.056</c:v>
                      </c:pt>
                      <c:pt idx="6951">
                        <c:v>6.056</c:v>
                      </c:pt>
                      <c:pt idx="6952">
                        <c:v>6.056</c:v>
                      </c:pt>
                      <c:pt idx="6953">
                        <c:v>6.056</c:v>
                      </c:pt>
                      <c:pt idx="6954">
                        <c:v>6.056</c:v>
                      </c:pt>
                      <c:pt idx="6955">
                        <c:v>6.0339999999999998</c:v>
                      </c:pt>
                      <c:pt idx="6956">
                        <c:v>6.0339999999999998</c:v>
                      </c:pt>
                      <c:pt idx="6957">
                        <c:v>6.0339999999999998</c:v>
                      </c:pt>
                      <c:pt idx="6958">
                        <c:v>6.0339999999999998</c:v>
                      </c:pt>
                      <c:pt idx="6959">
                        <c:v>6.0339999999999998</c:v>
                      </c:pt>
                      <c:pt idx="6960">
                        <c:v>6.0119999999999996</c:v>
                      </c:pt>
                      <c:pt idx="6961">
                        <c:v>6.0119999999999996</c:v>
                      </c:pt>
                      <c:pt idx="6962">
                        <c:v>6.0119999999999996</c:v>
                      </c:pt>
                      <c:pt idx="6963">
                        <c:v>6.0119999999999996</c:v>
                      </c:pt>
                      <c:pt idx="6964">
                        <c:v>6.0119999999999996</c:v>
                      </c:pt>
                      <c:pt idx="6965">
                        <c:v>5.9969999999999999</c:v>
                      </c:pt>
                      <c:pt idx="6966">
                        <c:v>5.9969999999999999</c:v>
                      </c:pt>
                      <c:pt idx="6967">
                        <c:v>5.9969999999999999</c:v>
                      </c:pt>
                      <c:pt idx="6968">
                        <c:v>5.9969999999999999</c:v>
                      </c:pt>
                      <c:pt idx="6969">
                        <c:v>5.9969999999999999</c:v>
                      </c:pt>
                      <c:pt idx="6970">
                        <c:v>6.0640000000000001</c:v>
                      </c:pt>
                      <c:pt idx="6971">
                        <c:v>6.0640000000000001</c:v>
                      </c:pt>
                      <c:pt idx="6972">
                        <c:v>6.0640000000000001</c:v>
                      </c:pt>
                      <c:pt idx="6973">
                        <c:v>6.0640000000000001</c:v>
                      </c:pt>
                      <c:pt idx="6974">
                        <c:v>6.0640000000000001</c:v>
                      </c:pt>
                      <c:pt idx="6975">
                        <c:v>6.0259999999999998</c:v>
                      </c:pt>
                      <c:pt idx="6976">
                        <c:v>6.0259999999999998</c:v>
                      </c:pt>
                      <c:pt idx="6977">
                        <c:v>6.0259999999999998</c:v>
                      </c:pt>
                      <c:pt idx="6978">
                        <c:v>6.0259999999999998</c:v>
                      </c:pt>
                      <c:pt idx="6979">
                        <c:v>6.0259999999999998</c:v>
                      </c:pt>
                      <c:pt idx="6980">
                        <c:v>6.0970000000000004</c:v>
                      </c:pt>
                      <c:pt idx="6981">
                        <c:v>6.0970000000000004</c:v>
                      </c:pt>
                      <c:pt idx="6982">
                        <c:v>6.0970000000000004</c:v>
                      </c:pt>
                      <c:pt idx="6983">
                        <c:v>6.0970000000000004</c:v>
                      </c:pt>
                      <c:pt idx="6984">
                        <c:v>6.0970000000000004</c:v>
                      </c:pt>
                      <c:pt idx="6985">
                        <c:v>6.1349999999999998</c:v>
                      </c:pt>
                      <c:pt idx="6986">
                        <c:v>6.1349999999999998</c:v>
                      </c:pt>
                      <c:pt idx="6987">
                        <c:v>6.1349999999999998</c:v>
                      </c:pt>
                      <c:pt idx="6988">
                        <c:v>6.1349999999999998</c:v>
                      </c:pt>
                      <c:pt idx="6989">
                        <c:v>6.1349999999999998</c:v>
                      </c:pt>
                      <c:pt idx="6990">
                        <c:v>6.2510000000000003</c:v>
                      </c:pt>
                      <c:pt idx="6991">
                        <c:v>6.2510000000000003</c:v>
                      </c:pt>
                      <c:pt idx="6992">
                        <c:v>6.2510000000000003</c:v>
                      </c:pt>
                      <c:pt idx="6993">
                        <c:v>6.2510000000000003</c:v>
                      </c:pt>
                      <c:pt idx="6994">
                        <c:v>6.2510000000000003</c:v>
                      </c:pt>
                      <c:pt idx="6995">
                        <c:v>6.319</c:v>
                      </c:pt>
                      <c:pt idx="6996">
                        <c:v>6.319</c:v>
                      </c:pt>
                      <c:pt idx="6997">
                        <c:v>6.319</c:v>
                      </c:pt>
                      <c:pt idx="6998">
                        <c:v>6.319</c:v>
                      </c:pt>
                      <c:pt idx="6999">
                        <c:v>6.319</c:v>
                      </c:pt>
                      <c:pt idx="7000">
                        <c:v>6.2160000000000002</c:v>
                      </c:pt>
                      <c:pt idx="7001">
                        <c:v>6.2160000000000002</c:v>
                      </c:pt>
                      <c:pt idx="7002">
                        <c:v>6.2160000000000002</c:v>
                      </c:pt>
                      <c:pt idx="7003">
                        <c:v>6.2160000000000002</c:v>
                      </c:pt>
                      <c:pt idx="7004">
                        <c:v>6.2160000000000002</c:v>
                      </c:pt>
                      <c:pt idx="7005">
                        <c:v>6.1260000000000003</c:v>
                      </c:pt>
                      <c:pt idx="7006">
                        <c:v>6.1260000000000003</c:v>
                      </c:pt>
                      <c:pt idx="7007">
                        <c:v>6.1260000000000003</c:v>
                      </c:pt>
                      <c:pt idx="7008">
                        <c:v>6.1260000000000003</c:v>
                      </c:pt>
                      <c:pt idx="7009">
                        <c:v>6.1260000000000003</c:v>
                      </c:pt>
                      <c:pt idx="7010">
                        <c:v>6.343</c:v>
                      </c:pt>
                      <c:pt idx="7011">
                        <c:v>6.343</c:v>
                      </c:pt>
                      <c:pt idx="7012">
                        <c:v>6.343</c:v>
                      </c:pt>
                      <c:pt idx="7013">
                        <c:v>6.343</c:v>
                      </c:pt>
                      <c:pt idx="7014">
                        <c:v>6.343</c:v>
                      </c:pt>
                      <c:pt idx="7015">
                        <c:v>6.2779999999999996</c:v>
                      </c:pt>
                      <c:pt idx="7016">
                        <c:v>6.2779999999999996</c:v>
                      </c:pt>
                      <c:pt idx="7017">
                        <c:v>6.2779999999999996</c:v>
                      </c:pt>
                      <c:pt idx="7018">
                        <c:v>6.2779999999999996</c:v>
                      </c:pt>
                      <c:pt idx="7019">
                        <c:v>6.2779999999999996</c:v>
                      </c:pt>
                      <c:pt idx="7020">
                        <c:v>6.2709999999999999</c:v>
                      </c:pt>
                      <c:pt idx="7021">
                        <c:v>6.2709999999999999</c:v>
                      </c:pt>
                      <c:pt idx="7022">
                        <c:v>6.2709999999999999</c:v>
                      </c:pt>
                      <c:pt idx="7023">
                        <c:v>6.2709999999999999</c:v>
                      </c:pt>
                      <c:pt idx="7024">
                        <c:v>6.2709999999999999</c:v>
                      </c:pt>
                      <c:pt idx="7025">
                        <c:v>6.27</c:v>
                      </c:pt>
                      <c:pt idx="7026">
                        <c:v>6.27</c:v>
                      </c:pt>
                      <c:pt idx="7027">
                        <c:v>6.27</c:v>
                      </c:pt>
                      <c:pt idx="7028">
                        <c:v>6.27</c:v>
                      </c:pt>
                      <c:pt idx="7029">
                        <c:v>6.27</c:v>
                      </c:pt>
                      <c:pt idx="7030">
                        <c:v>6.2770000000000001</c:v>
                      </c:pt>
                      <c:pt idx="7031">
                        <c:v>6.2770000000000001</c:v>
                      </c:pt>
                      <c:pt idx="7032">
                        <c:v>6.2770000000000001</c:v>
                      </c:pt>
                      <c:pt idx="7033">
                        <c:v>6.2770000000000001</c:v>
                      </c:pt>
                      <c:pt idx="7034">
                        <c:v>6.2770000000000001</c:v>
                      </c:pt>
                      <c:pt idx="7035">
                        <c:v>6.3630000000000004</c:v>
                      </c:pt>
                      <c:pt idx="7036">
                        <c:v>6.3630000000000004</c:v>
                      </c:pt>
                      <c:pt idx="7037">
                        <c:v>6.3630000000000004</c:v>
                      </c:pt>
                      <c:pt idx="7038">
                        <c:v>6.3630000000000004</c:v>
                      </c:pt>
                      <c:pt idx="7039">
                        <c:v>6.3630000000000004</c:v>
                      </c:pt>
                      <c:pt idx="7040">
                        <c:v>6.3739999999999997</c:v>
                      </c:pt>
                      <c:pt idx="7041">
                        <c:v>6.3739999999999997</c:v>
                      </c:pt>
                      <c:pt idx="7042">
                        <c:v>6.3739999999999997</c:v>
                      </c:pt>
                      <c:pt idx="7043">
                        <c:v>6.3739999999999997</c:v>
                      </c:pt>
                      <c:pt idx="7044">
                        <c:v>6.3739999999999997</c:v>
                      </c:pt>
                      <c:pt idx="7045">
                        <c:v>6.4669999999999996</c:v>
                      </c:pt>
                      <c:pt idx="7046">
                        <c:v>6.4669999999999996</c:v>
                      </c:pt>
                      <c:pt idx="7047">
                        <c:v>6.4669999999999996</c:v>
                      </c:pt>
                      <c:pt idx="7048">
                        <c:v>6.4669999999999996</c:v>
                      </c:pt>
                      <c:pt idx="7049">
                        <c:v>6.4669999999999996</c:v>
                      </c:pt>
                      <c:pt idx="7050">
                        <c:v>6.649</c:v>
                      </c:pt>
                      <c:pt idx="7051">
                        <c:v>6.649</c:v>
                      </c:pt>
                      <c:pt idx="7052">
                        <c:v>6.649</c:v>
                      </c:pt>
                      <c:pt idx="7053">
                        <c:v>6.649</c:v>
                      </c:pt>
                      <c:pt idx="7054">
                        <c:v>6.649</c:v>
                      </c:pt>
                      <c:pt idx="7055">
                        <c:v>6.782</c:v>
                      </c:pt>
                      <c:pt idx="7056">
                        <c:v>6.782</c:v>
                      </c:pt>
                      <c:pt idx="7057">
                        <c:v>6.782</c:v>
                      </c:pt>
                      <c:pt idx="7058">
                        <c:v>6.782</c:v>
                      </c:pt>
                      <c:pt idx="7059">
                        <c:v>6.782</c:v>
                      </c:pt>
                      <c:pt idx="7060">
                        <c:v>6.7519999999999998</c:v>
                      </c:pt>
                      <c:pt idx="7061">
                        <c:v>6.7519999999999998</c:v>
                      </c:pt>
                      <c:pt idx="7062">
                        <c:v>6.7519999999999998</c:v>
                      </c:pt>
                      <c:pt idx="7063">
                        <c:v>6.7519999999999998</c:v>
                      </c:pt>
                      <c:pt idx="7064">
                        <c:v>6.7519999999999998</c:v>
                      </c:pt>
                      <c:pt idx="7065">
                        <c:v>6.8579999999999997</c:v>
                      </c:pt>
                      <c:pt idx="7066">
                        <c:v>6.8579999999999997</c:v>
                      </c:pt>
                      <c:pt idx="7067">
                        <c:v>6.8579999999999997</c:v>
                      </c:pt>
                      <c:pt idx="7068">
                        <c:v>6.8579999999999997</c:v>
                      </c:pt>
                      <c:pt idx="7069">
                        <c:v>6.8579999999999997</c:v>
                      </c:pt>
                      <c:pt idx="7070">
                        <c:v>6.7750000000000004</c:v>
                      </c:pt>
                      <c:pt idx="7071">
                        <c:v>6.7750000000000004</c:v>
                      </c:pt>
                      <c:pt idx="7072">
                        <c:v>6.7750000000000004</c:v>
                      </c:pt>
                      <c:pt idx="7073">
                        <c:v>6.7750000000000004</c:v>
                      </c:pt>
                      <c:pt idx="7074">
                        <c:v>6.7750000000000004</c:v>
                      </c:pt>
                      <c:pt idx="7075">
                        <c:v>6.8090000000000002</c:v>
                      </c:pt>
                      <c:pt idx="7076">
                        <c:v>6.8090000000000002</c:v>
                      </c:pt>
                      <c:pt idx="7077">
                        <c:v>6.8090000000000002</c:v>
                      </c:pt>
                      <c:pt idx="7078">
                        <c:v>6.8090000000000002</c:v>
                      </c:pt>
                      <c:pt idx="7079">
                        <c:v>6.8090000000000002</c:v>
                      </c:pt>
                      <c:pt idx="7080">
                        <c:v>6.6550000000000002</c:v>
                      </c:pt>
                      <c:pt idx="7081">
                        <c:v>6.6550000000000002</c:v>
                      </c:pt>
                      <c:pt idx="7082">
                        <c:v>6.6550000000000002</c:v>
                      </c:pt>
                      <c:pt idx="7083">
                        <c:v>6.6550000000000002</c:v>
                      </c:pt>
                      <c:pt idx="7084">
                        <c:v>6.6550000000000002</c:v>
                      </c:pt>
                      <c:pt idx="7085">
                        <c:v>6.6319999999999997</c:v>
                      </c:pt>
                      <c:pt idx="7086">
                        <c:v>6.6319999999999997</c:v>
                      </c:pt>
                      <c:pt idx="7087">
                        <c:v>6.6319999999999997</c:v>
                      </c:pt>
                      <c:pt idx="7088">
                        <c:v>6.6319999999999997</c:v>
                      </c:pt>
                      <c:pt idx="7089">
                        <c:v>6.6319999999999997</c:v>
                      </c:pt>
                      <c:pt idx="7090">
                        <c:v>6.6619999999999999</c:v>
                      </c:pt>
                      <c:pt idx="7091">
                        <c:v>6.6619999999999999</c:v>
                      </c:pt>
                      <c:pt idx="7092">
                        <c:v>6.6619999999999999</c:v>
                      </c:pt>
                      <c:pt idx="7093">
                        <c:v>6.6619999999999999</c:v>
                      </c:pt>
                      <c:pt idx="7094">
                        <c:v>6.6619999999999999</c:v>
                      </c:pt>
                      <c:pt idx="7095">
                        <c:v>6.6550000000000002</c:v>
                      </c:pt>
                      <c:pt idx="7096">
                        <c:v>6.6550000000000002</c:v>
                      </c:pt>
                      <c:pt idx="7097">
                        <c:v>6.6550000000000002</c:v>
                      </c:pt>
                      <c:pt idx="7098">
                        <c:v>6.6550000000000002</c:v>
                      </c:pt>
                      <c:pt idx="7099">
                        <c:v>6.6550000000000002</c:v>
                      </c:pt>
                      <c:pt idx="7100">
                        <c:v>6.6820000000000004</c:v>
                      </c:pt>
                      <c:pt idx="7101">
                        <c:v>6.6820000000000004</c:v>
                      </c:pt>
                      <c:pt idx="7102">
                        <c:v>6.6820000000000004</c:v>
                      </c:pt>
                      <c:pt idx="7103">
                        <c:v>6.6820000000000004</c:v>
                      </c:pt>
                      <c:pt idx="7104">
                        <c:v>6.6820000000000004</c:v>
                      </c:pt>
                      <c:pt idx="7105">
                        <c:v>6.5860000000000003</c:v>
                      </c:pt>
                      <c:pt idx="7106">
                        <c:v>6.5860000000000003</c:v>
                      </c:pt>
                      <c:pt idx="7107">
                        <c:v>6.5860000000000003</c:v>
                      </c:pt>
                      <c:pt idx="7108">
                        <c:v>6.5860000000000003</c:v>
                      </c:pt>
                      <c:pt idx="7109">
                        <c:v>6.5860000000000003</c:v>
                      </c:pt>
                      <c:pt idx="7110">
                        <c:v>6.5720000000000001</c:v>
                      </c:pt>
                      <c:pt idx="7111">
                        <c:v>6.5720000000000001</c:v>
                      </c:pt>
                      <c:pt idx="7112">
                        <c:v>6.5720000000000001</c:v>
                      </c:pt>
                      <c:pt idx="7113">
                        <c:v>6.5720000000000001</c:v>
                      </c:pt>
                      <c:pt idx="7114">
                        <c:v>6.5720000000000001</c:v>
                      </c:pt>
                      <c:pt idx="7115">
                        <c:v>6.5789999999999997</c:v>
                      </c:pt>
                      <c:pt idx="7116">
                        <c:v>6.5789999999999997</c:v>
                      </c:pt>
                      <c:pt idx="7117">
                        <c:v>6.5789999999999997</c:v>
                      </c:pt>
                      <c:pt idx="7118">
                        <c:v>6.5789999999999997</c:v>
                      </c:pt>
                      <c:pt idx="7119">
                        <c:v>6.5789999999999997</c:v>
                      </c:pt>
                      <c:pt idx="7120">
                        <c:v>6.53</c:v>
                      </c:pt>
                      <c:pt idx="7121">
                        <c:v>6.53</c:v>
                      </c:pt>
                      <c:pt idx="7122">
                        <c:v>6.53</c:v>
                      </c:pt>
                      <c:pt idx="7123">
                        <c:v>6.53</c:v>
                      </c:pt>
                      <c:pt idx="7124">
                        <c:v>6.53</c:v>
                      </c:pt>
                      <c:pt idx="7125">
                        <c:v>6.6189999999999998</c:v>
                      </c:pt>
                      <c:pt idx="7126">
                        <c:v>6.6189999999999998</c:v>
                      </c:pt>
                      <c:pt idx="7127">
                        <c:v>6.6189999999999998</c:v>
                      </c:pt>
                      <c:pt idx="7128">
                        <c:v>6.6189999999999998</c:v>
                      </c:pt>
                      <c:pt idx="7129">
                        <c:v>6.6189999999999998</c:v>
                      </c:pt>
                      <c:pt idx="7130">
                        <c:v>6.6529999999999996</c:v>
                      </c:pt>
                      <c:pt idx="7131">
                        <c:v>6.6529999999999996</c:v>
                      </c:pt>
                      <c:pt idx="7132">
                        <c:v>6.6529999999999996</c:v>
                      </c:pt>
                      <c:pt idx="7133">
                        <c:v>6.6529999999999996</c:v>
                      </c:pt>
                      <c:pt idx="7134">
                        <c:v>6.6529999999999996</c:v>
                      </c:pt>
                      <c:pt idx="7135">
                        <c:v>6.7389999999999999</c:v>
                      </c:pt>
                      <c:pt idx="7136">
                        <c:v>6.7389999999999999</c:v>
                      </c:pt>
                      <c:pt idx="7137">
                        <c:v>6.7389999999999999</c:v>
                      </c:pt>
                      <c:pt idx="7138">
                        <c:v>6.7389999999999999</c:v>
                      </c:pt>
                      <c:pt idx="7139">
                        <c:v>6.7389999999999999</c:v>
                      </c:pt>
                      <c:pt idx="7140">
                        <c:v>6.7670000000000003</c:v>
                      </c:pt>
                      <c:pt idx="7141">
                        <c:v>6.7670000000000003</c:v>
                      </c:pt>
                      <c:pt idx="7142">
                        <c:v>6.7670000000000003</c:v>
                      </c:pt>
                      <c:pt idx="7143">
                        <c:v>6.7670000000000003</c:v>
                      </c:pt>
                      <c:pt idx="7144">
                        <c:v>6.7670000000000003</c:v>
                      </c:pt>
                      <c:pt idx="7145">
                        <c:v>6.6630000000000003</c:v>
                      </c:pt>
                      <c:pt idx="7146">
                        <c:v>6.6630000000000003</c:v>
                      </c:pt>
                      <c:pt idx="7147">
                        <c:v>6.6630000000000003</c:v>
                      </c:pt>
                      <c:pt idx="7148">
                        <c:v>6.6630000000000003</c:v>
                      </c:pt>
                      <c:pt idx="7149">
                        <c:v>6.6630000000000003</c:v>
                      </c:pt>
                      <c:pt idx="7150">
                        <c:v>6.5259999999999998</c:v>
                      </c:pt>
                      <c:pt idx="7151">
                        <c:v>6.5259999999999998</c:v>
                      </c:pt>
                      <c:pt idx="7152">
                        <c:v>6.5259999999999998</c:v>
                      </c:pt>
                      <c:pt idx="7153">
                        <c:v>6.5259999999999998</c:v>
                      </c:pt>
                      <c:pt idx="7154">
                        <c:v>6.5259999999999998</c:v>
                      </c:pt>
                      <c:pt idx="7155">
                        <c:v>6.5629999999999997</c:v>
                      </c:pt>
                      <c:pt idx="7156">
                        <c:v>6.5629999999999997</c:v>
                      </c:pt>
                      <c:pt idx="7157">
                        <c:v>6.5629999999999997</c:v>
                      </c:pt>
                      <c:pt idx="7158">
                        <c:v>6.5629999999999997</c:v>
                      </c:pt>
                      <c:pt idx="7159">
                        <c:v>6.5629999999999997</c:v>
                      </c:pt>
                      <c:pt idx="7160">
                        <c:v>6.556</c:v>
                      </c:pt>
                      <c:pt idx="7161">
                        <c:v>6.556</c:v>
                      </c:pt>
                      <c:pt idx="7162">
                        <c:v>6.556</c:v>
                      </c:pt>
                      <c:pt idx="7163">
                        <c:v>6.556</c:v>
                      </c:pt>
                      <c:pt idx="7164">
                        <c:v>6.556</c:v>
                      </c:pt>
                      <c:pt idx="7165">
                        <c:v>6.5570000000000004</c:v>
                      </c:pt>
                      <c:pt idx="7166">
                        <c:v>6.5570000000000004</c:v>
                      </c:pt>
                      <c:pt idx="7167">
                        <c:v>6.5570000000000004</c:v>
                      </c:pt>
                      <c:pt idx="7168">
                        <c:v>6.5570000000000004</c:v>
                      </c:pt>
                      <c:pt idx="7169">
                        <c:v>6.5570000000000004</c:v>
                      </c:pt>
                      <c:pt idx="7170">
                        <c:v>6.4710000000000001</c:v>
                      </c:pt>
                      <c:pt idx="7171">
                        <c:v>6.4710000000000001</c:v>
                      </c:pt>
                      <c:pt idx="7172">
                        <c:v>6.4710000000000001</c:v>
                      </c:pt>
                      <c:pt idx="7173">
                        <c:v>6.4710000000000001</c:v>
                      </c:pt>
                      <c:pt idx="7174">
                        <c:v>6.4710000000000001</c:v>
                      </c:pt>
                      <c:pt idx="7175">
                        <c:v>6.4050000000000002</c:v>
                      </c:pt>
                      <c:pt idx="7176">
                        <c:v>6.4050000000000002</c:v>
                      </c:pt>
                      <c:pt idx="7177">
                        <c:v>6.4050000000000002</c:v>
                      </c:pt>
                      <c:pt idx="7178">
                        <c:v>6.4050000000000002</c:v>
                      </c:pt>
                      <c:pt idx="7179">
                        <c:v>6.4050000000000002</c:v>
                      </c:pt>
                      <c:pt idx="7180">
                        <c:v>6.375</c:v>
                      </c:pt>
                      <c:pt idx="7181">
                        <c:v>6.375</c:v>
                      </c:pt>
                      <c:pt idx="7182">
                        <c:v>6.375</c:v>
                      </c:pt>
                      <c:pt idx="7183">
                        <c:v>6.375</c:v>
                      </c:pt>
                      <c:pt idx="7184">
                        <c:v>6.375</c:v>
                      </c:pt>
                      <c:pt idx="7185">
                        <c:v>6.5579999999999998</c:v>
                      </c:pt>
                      <c:pt idx="7186">
                        <c:v>6.5579999999999998</c:v>
                      </c:pt>
                      <c:pt idx="7187">
                        <c:v>6.5579999999999998</c:v>
                      </c:pt>
                      <c:pt idx="7188">
                        <c:v>6.5579999999999998</c:v>
                      </c:pt>
                      <c:pt idx="7189">
                        <c:v>6.5579999999999998</c:v>
                      </c:pt>
                      <c:pt idx="7190">
                        <c:v>6.5750000000000002</c:v>
                      </c:pt>
                      <c:pt idx="7191">
                        <c:v>6.5750000000000002</c:v>
                      </c:pt>
                      <c:pt idx="7192">
                        <c:v>6.5750000000000002</c:v>
                      </c:pt>
                      <c:pt idx="7193">
                        <c:v>6.5750000000000002</c:v>
                      </c:pt>
                      <c:pt idx="7194">
                        <c:v>6.5750000000000002</c:v>
                      </c:pt>
                      <c:pt idx="7195">
                        <c:v>6.548</c:v>
                      </c:pt>
                      <c:pt idx="7196">
                        <c:v>6.548</c:v>
                      </c:pt>
                      <c:pt idx="7197">
                        <c:v>6.548</c:v>
                      </c:pt>
                      <c:pt idx="7198">
                        <c:v>6.548</c:v>
                      </c:pt>
                      <c:pt idx="7199">
                        <c:v>6.548</c:v>
                      </c:pt>
                      <c:pt idx="7200">
                        <c:v>6.4429999999999996</c:v>
                      </c:pt>
                      <c:pt idx="7201">
                        <c:v>6.4429999999999996</c:v>
                      </c:pt>
                      <c:pt idx="7202">
                        <c:v>6.4429999999999996</c:v>
                      </c:pt>
                      <c:pt idx="7203">
                        <c:v>6.4429999999999996</c:v>
                      </c:pt>
                      <c:pt idx="7204">
                        <c:v>6.4429999999999996</c:v>
                      </c:pt>
                      <c:pt idx="7205">
                        <c:v>6.4320000000000004</c:v>
                      </c:pt>
                      <c:pt idx="7206">
                        <c:v>6.4320000000000004</c:v>
                      </c:pt>
                      <c:pt idx="7207">
                        <c:v>6.4320000000000004</c:v>
                      </c:pt>
                      <c:pt idx="7208">
                        <c:v>6.4320000000000004</c:v>
                      </c:pt>
                      <c:pt idx="7209">
                        <c:v>6.4320000000000004</c:v>
                      </c:pt>
                      <c:pt idx="7210">
                        <c:v>6.3109999999999999</c:v>
                      </c:pt>
                      <c:pt idx="7211">
                        <c:v>6.3109999999999999</c:v>
                      </c:pt>
                      <c:pt idx="7212">
                        <c:v>6.3109999999999999</c:v>
                      </c:pt>
                      <c:pt idx="7213">
                        <c:v>6.3109999999999999</c:v>
                      </c:pt>
                      <c:pt idx="7214">
                        <c:v>6.3109999999999999</c:v>
                      </c:pt>
                      <c:pt idx="7215">
                        <c:v>6.343</c:v>
                      </c:pt>
                      <c:pt idx="7216">
                        <c:v>6.343</c:v>
                      </c:pt>
                      <c:pt idx="7217">
                        <c:v>6.343</c:v>
                      </c:pt>
                      <c:pt idx="7218">
                        <c:v>6.343</c:v>
                      </c:pt>
                      <c:pt idx="7219">
                        <c:v>6.343</c:v>
                      </c:pt>
                      <c:pt idx="7220">
                        <c:v>6.3550000000000004</c:v>
                      </c:pt>
                      <c:pt idx="7221">
                        <c:v>6.3550000000000004</c:v>
                      </c:pt>
                      <c:pt idx="7222">
                        <c:v>6.3550000000000004</c:v>
                      </c:pt>
                      <c:pt idx="7223">
                        <c:v>6.3550000000000004</c:v>
                      </c:pt>
                      <c:pt idx="7224">
                        <c:v>6.3550000000000004</c:v>
                      </c:pt>
                      <c:pt idx="7225">
                        <c:v>6.1929999999999996</c:v>
                      </c:pt>
                      <c:pt idx="7226">
                        <c:v>6.1929999999999996</c:v>
                      </c:pt>
                      <c:pt idx="7227">
                        <c:v>6.1929999999999996</c:v>
                      </c:pt>
                      <c:pt idx="7228">
                        <c:v>6.1929999999999996</c:v>
                      </c:pt>
                      <c:pt idx="7229">
                        <c:v>6.1929999999999996</c:v>
                      </c:pt>
                      <c:pt idx="7230">
                        <c:v>6.3470000000000004</c:v>
                      </c:pt>
                      <c:pt idx="7231">
                        <c:v>6.3470000000000004</c:v>
                      </c:pt>
                      <c:pt idx="7232">
                        <c:v>6.3470000000000004</c:v>
                      </c:pt>
                      <c:pt idx="7233">
                        <c:v>6.3470000000000004</c:v>
                      </c:pt>
                      <c:pt idx="7234">
                        <c:v>6.3470000000000004</c:v>
                      </c:pt>
                      <c:pt idx="7235">
                        <c:v>6.2309999999999999</c:v>
                      </c:pt>
                      <c:pt idx="7236">
                        <c:v>6.2309999999999999</c:v>
                      </c:pt>
                      <c:pt idx="7237">
                        <c:v>6.2309999999999999</c:v>
                      </c:pt>
                      <c:pt idx="7238">
                        <c:v>6.2309999999999999</c:v>
                      </c:pt>
                      <c:pt idx="7239">
                        <c:v>6.2309999999999999</c:v>
                      </c:pt>
                      <c:pt idx="7240">
                        <c:v>6.2450000000000001</c:v>
                      </c:pt>
                      <c:pt idx="7241">
                        <c:v>6.2450000000000001</c:v>
                      </c:pt>
                      <c:pt idx="7242">
                        <c:v>6.2450000000000001</c:v>
                      </c:pt>
                      <c:pt idx="7243">
                        <c:v>6.2450000000000001</c:v>
                      </c:pt>
                      <c:pt idx="7244">
                        <c:v>6.2450000000000001</c:v>
                      </c:pt>
                      <c:pt idx="7245">
                        <c:v>6.2279999999999998</c:v>
                      </c:pt>
                      <c:pt idx="7246">
                        <c:v>6.2279999999999998</c:v>
                      </c:pt>
                      <c:pt idx="7247">
                        <c:v>6.2279999999999998</c:v>
                      </c:pt>
                      <c:pt idx="7248">
                        <c:v>6.2279999999999998</c:v>
                      </c:pt>
                      <c:pt idx="7249">
                        <c:v>6.2279999999999998</c:v>
                      </c:pt>
                      <c:pt idx="7250">
                        <c:v>6.2489999999999997</c:v>
                      </c:pt>
                      <c:pt idx="7251">
                        <c:v>6.2489999999999997</c:v>
                      </c:pt>
                      <c:pt idx="7252">
                        <c:v>6.2489999999999997</c:v>
                      </c:pt>
                      <c:pt idx="7253">
                        <c:v>6.2489999999999997</c:v>
                      </c:pt>
                      <c:pt idx="7254">
                        <c:v>6.2489999999999997</c:v>
                      </c:pt>
                      <c:pt idx="7255">
                        <c:v>6.327</c:v>
                      </c:pt>
                      <c:pt idx="7256">
                        <c:v>6.327</c:v>
                      </c:pt>
                      <c:pt idx="7257">
                        <c:v>6.327</c:v>
                      </c:pt>
                      <c:pt idx="7258">
                        <c:v>6.327</c:v>
                      </c:pt>
                      <c:pt idx="7259">
                        <c:v>6.327</c:v>
                      </c:pt>
                      <c:pt idx="7260">
                        <c:v>6.5270000000000001</c:v>
                      </c:pt>
                      <c:pt idx="7261">
                        <c:v>6.5270000000000001</c:v>
                      </c:pt>
                      <c:pt idx="7262">
                        <c:v>6.5270000000000001</c:v>
                      </c:pt>
                      <c:pt idx="7263">
                        <c:v>6.5270000000000001</c:v>
                      </c:pt>
                      <c:pt idx="7264">
                        <c:v>6.5270000000000001</c:v>
                      </c:pt>
                      <c:pt idx="7265">
                        <c:v>6.4349999999999996</c:v>
                      </c:pt>
                      <c:pt idx="7266">
                        <c:v>6.4349999999999996</c:v>
                      </c:pt>
                      <c:pt idx="7267">
                        <c:v>6.4349999999999996</c:v>
                      </c:pt>
                      <c:pt idx="7268">
                        <c:v>6.4349999999999996</c:v>
                      </c:pt>
                      <c:pt idx="7269">
                        <c:v>6.4349999999999996</c:v>
                      </c:pt>
                      <c:pt idx="7270">
                        <c:v>6.5110000000000001</c:v>
                      </c:pt>
                      <c:pt idx="7271">
                        <c:v>6.5110000000000001</c:v>
                      </c:pt>
                      <c:pt idx="7272">
                        <c:v>6.5110000000000001</c:v>
                      </c:pt>
                      <c:pt idx="7273">
                        <c:v>6.5110000000000001</c:v>
                      </c:pt>
                      <c:pt idx="7274">
                        <c:v>6.5110000000000001</c:v>
                      </c:pt>
                      <c:pt idx="7275">
                        <c:v>6.6319999999999997</c:v>
                      </c:pt>
                      <c:pt idx="7276">
                        <c:v>6.6319999999999997</c:v>
                      </c:pt>
                      <c:pt idx="7277">
                        <c:v>6.6319999999999997</c:v>
                      </c:pt>
                      <c:pt idx="7278">
                        <c:v>6.6319999999999997</c:v>
                      </c:pt>
                      <c:pt idx="7279">
                        <c:v>6.6319999999999997</c:v>
                      </c:pt>
                      <c:pt idx="7280">
                        <c:v>6.7060000000000004</c:v>
                      </c:pt>
                      <c:pt idx="7281">
                        <c:v>6.7060000000000004</c:v>
                      </c:pt>
                      <c:pt idx="7282">
                        <c:v>6.7060000000000004</c:v>
                      </c:pt>
                      <c:pt idx="7283">
                        <c:v>6.7060000000000004</c:v>
                      </c:pt>
                      <c:pt idx="7284">
                        <c:v>6.7060000000000004</c:v>
                      </c:pt>
                      <c:pt idx="7285">
                        <c:v>6.766</c:v>
                      </c:pt>
                      <c:pt idx="7286">
                        <c:v>6.766</c:v>
                      </c:pt>
                      <c:pt idx="7287">
                        <c:v>6.766</c:v>
                      </c:pt>
                      <c:pt idx="7288">
                        <c:v>6.766</c:v>
                      </c:pt>
                      <c:pt idx="7289">
                        <c:v>6.766</c:v>
                      </c:pt>
                      <c:pt idx="7290">
                        <c:v>6.7409999999999997</c:v>
                      </c:pt>
                      <c:pt idx="7291">
                        <c:v>6.7409999999999997</c:v>
                      </c:pt>
                      <c:pt idx="7292">
                        <c:v>6.7409999999999997</c:v>
                      </c:pt>
                      <c:pt idx="7293">
                        <c:v>6.7409999999999997</c:v>
                      </c:pt>
                      <c:pt idx="7294">
                        <c:v>6.7409999999999997</c:v>
                      </c:pt>
                      <c:pt idx="7295">
                        <c:v>6.7960000000000003</c:v>
                      </c:pt>
                      <c:pt idx="7296">
                        <c:v>6.7960000000000003</c:v>
                      </c:pt>
                      <c:pt idx="7297">
                        <c:v>6.7960000000000003</c:v>
                      </c:pt>
                      <c:pt idx="7298">
                        <c:v>6.7960000000000003</c:v>
                      </c:pt>
                      <c:pt idx="7299">
                        <c:v>6.7960000000000003</c:v>
                      </c:pt>
                      <c:pt idx="7300">
                        <c:v>6.82</c:v>
                      </c:pt>
                      <c:pt idx="7301">
                        <c:v>6.82</c:v>
                      </c:pt>
                      <c:pt idx="7302">
                        <c:v>6.82</c:v>
                      </c:pt>
                      <c:pt idx="7303">
                        <c:v>6.82</c:v>
                      </c:pt>
                      <c:pt idx="7304">
                        <c:v>6.82</c:v>
                      </c:pt>
                      <c:pt idx="7305">
                        <c:v>6.9429999999999996</c:v>
                      </c:pt>
                      <c:pt idx="7306">
                        <c:v>6.9429999999999996</c:v>
                      </c:pt>
                      <c:pt idx="7307">
                        <c:v>6.9429999999999996</c:v>
                      </c:pt>
                      <c:pt idx="7308">
                        <c:v>6.9429999999999996</c:v>
                      </c:pt>
                      <c:pt idx="7309">
                        <c:v>6.9429999999999996</c:v>
                      </c:pt>
                      <c:pt idx="7310">
                        <c:v>6.8959999999999999</c:v>
                      </c:pt>
                      <c:pt idx="7311">
                        <c:v>6.8959999999999999</c:v>
                      </c:pt>
                      <c:pt idx="7312">
                        <c:v>6.8959999999999999</c:v>
                      </c:pt>
                      <c:pt idx="7313">
                        <c:v>6.8959999999999999</c:v>
                      </c:pt>
                      <c:pt idx="7314">
                        <c:v>6.8959999999999999</c:v>
                      </c:pt>
                      <c:pt idx="7315">
                        <c:v>6.9260000000000002</c:v>
                      </c:pt>
                      <c:pt idx="7316">
                        <c:v>6.9260000000000002</c:v>
                      </c:pt>
                      <c:pt idx="7317">
                        <c:v>6.9260000000000002</c:v>
                      </c:pt>
                      <c:pt idx="7318">
                        <c:v>6.9260000000000002</c:v>
                      </c:pt>
                      <c:pt idx="7319">
                        <c:v>6.9260000000000002</c:v>
                      </c:pt>
                      <c:pt idx="7320">
                        <c:v>6.84</c:v>
                      </c:pt>
                      <c:pt idx="7321">
                        <c:v>6.84</c:v>
                      </c:pt>
                      <c:pt idx="7322">
                        <c:v>6.84</c:v>
                      </c:pt>
                      <c:pt idx="7323">
                        <c:v>6.84</c:v>
                      </c:pt>
                      <c:pt idx="7324">
                        <c:v>6.84</c:v>
                      </c:pt>
                      <c:pt idx="7325">
                        <c:v>6.7910000000000004</c:v>
                      </c:pt>
                      <c:pt idx="7326">
                        <c:v>6.7910000000000004</c:v>
                      </c:pt>
                      <c:pt idx="7327">
                        <c:v>6.7910000000000004</c:v>
                      </c:pt>
                      <c:pt idx="7328">
                        <c:v>6.7910000000000004</c:v>
                      </c:pt>
                      <c:pt idx="7329">
                        <c:v>6.7910000000000004</c:v>
                      </c:pt>
                      <c:pt idx="7330">
                        <c:v>6.7649999999999997</c:v>
                      </c:pt>
                      <c:pt idx="7331">
                        <c:v>6.7649999999999997</c:v>
                      </c:pt>
                      <c:pt idx="7332">
                        <c:v>6.7649999999999997</c:v>
                      </c:pt>
                      <c:pt idx="7333">
                        <c:v>6.7649999999999997</c:v>
                      </c:pt>
                      <c:pt idx="7334">
                        <c:v>6.7649999999999997</c:v>
                      </c:pt>
                      <c:pt idx="7335">
                        <c:v>6.7789999999999999</c:v>
                      </c:pt>
                      <c:pt idx="7336">
                        <c:v>6.7789999999999999</c:v>
                      </c:pt>
                      <c:pt idx="7337">
                        <c:v>6.7789999999999999</c:v>
                      </c:pt>
                      <c:pt idx="7338">
                        <c:v>6.7789999999999999</c:v>
                      </c:pt>
                      <c:pt idx="7339">
                        <c:v>6.7789999999999999</c:v>
                      </c:pt>
                      <c:pt idx="7340">
                        <c:v>6.73</c:v>
                      </c:pt>
                      <c:pt idx="7341">
                        <c:v>6.73</c:v>
                      </c:pt>
                      <c:pt idx="7342">
                        <c:v>6.73</c:v>
                      </c:pt>
                      <c:pt idx="7343">
                        <c:v>6.73</c:v>
                      </c:pt>
                      <c:pt idx="7344">
                        <c:v>6.73</c:v>
                      </c:pt>
                      <c:pt idx="7345">
                        <c:v>6.8529999999999998</c:v>
                      </c:pt>
                      <c:pt idx="7346">
                        <c:v>6.8529999999999998</c:v>
                      </c:pt>
                      <c:pt idx="7347">
                        <c:v>6.8529999999999998</c:v>
                      </c:pt>
                      <c:pt idx="7348">
                        <c:v>6.8529999999999998</c:v>
                      </c:pt>
                      <c:pt idx="7349">
                        <c:v>6.8529999999999998</c:v>
                      </c:pt>
                      <c:pt idx="7350">
                        <c:v>6.891</c:v>
                      </c:pt>
                      <c:pt idx="7351">
                        <c:v>6.891</c:v>
                      </c:pt>
                      <c:pt idx="7352">
                        <c:v>6.891</c:v>
                      </c:pt>
                      <c:pt idx="7353">
                        <c:v>6.891</c:v>
                      </c:pt>
                      <c:pt idx="7354">
                        <c:v>6.891</c:v>
                      </c:pt>
                      <c:pt idx="7355">
                        <c:v>6.907</c:v>
                      </c:pt>
                      <c:pt idx="7356">
                        <c:v>6.907</c:v>
                      </c:pt>
                      <c:pt idx="7357">
                        <c:v>6.907</c:v>
                      </c:pt>
                      <c:pt idx="7358">
                        <c:v>6.907</c:v>
                      </c:pt>
                      <c:pt idx="7359">
                        <c:v>6.907</c:v>
                      </c:pt>
                      <c:pt idx="7360">
                        <c:v>7.0289999999999999</c:v>
                      </c:pt>
                      <c:pt idx="7361">
                        <c:v>7.0289999999999999</c:v>
                      </c:pt>
                      <c:pt idx="7362">
                        <c:v>7.0289999999999999</c:v>
                      </c:pt>
                      <c:pt idx="7363">
                        <c:v>7.0289999999999999</c:v>
                      </c:pt>
                      <c:pt idx="7364">
                        <c:v>7.0289999999999999</c:v>
                      </c:pt>
                      <c:pt idx="7365">
                        <c:v>6.9429999999999996</c:v>
                      </c:pt>
                      <c:pt idx="7366">
                        <c:v>6.9429999999999996</c:v>
                      </c:pt>
                      <c:pt idx="7367">
                        <c:v>6.9429999999999996</c:v>
                      </c:pt>
                      <c:pt idx="7368">
                        <c:v>6.9429999999999996</c:v>
                      </c:pt>
                      <c:pt idx="7369">
                        <c:v>6.9429999999999996</c:v>
                      </c:pt>
                      <c:pt idx="7370">
                        <c:v>6.944</c:v>
                      </c:pt>
                      <c:pt idx="7371">
                        <c:v>6.944</c:v>
                      </c:pt>
                      <c:pt idx="7372">
                        <c:v>6.944</c:v>
                      </c:pt>
                      <c:pt idx="7373">
                        <c:v>6.944</c:v>
                      </c:pt>
                      <c:pt idx="7374">
                        <c:v>6.944</c:v>
                      </c:pt>
                      <c:pt idx="7375">
                        <c:v>6.9009999999999998</c:v>
                      </c:pt>
                      <c:pt idx="7376">
                        <c:v>6.9009999999999998</c:v>
                      </c:pt>
                      <c:pt idx="7377">
                        <c:v>6.9009999999999998</c:v>
                      </c:pt>
                      <c:pt idx="7378">
                        <c:v>6.9009999999999998</c:v>
                      </c:pt>
                      <c:pt idx="7379">
                        <c:v>6.9009999999999998</c:v>
                      </c:pt>
                      <c:pt idx="7380">
                        <c:v>6.9279999999999999</c:v>
                      </c:pt>
                      <c:pt idx="7381">
                        <c:v>6.9279999999999999</c:v>
                      </c:pt>
                      <c:pt idx="7382">
                        <c:v>6.9279999999999999</c:v>
                      </c:pt>
                      <c:pt idx="7383">
                        <c:v>6.9279999999999999</c:v>
                      </c:pt>
                      <c:pt idx="7384">
                        <c:v>6.9279999999999999</c:v>
                      </c:pt>
                      <c:pt idx="7385">
                        <c:v>7.0149999999999997</c:v>
                      </c:pt>
                      <c:pt idx="7386">
                        <c:v>7.0149999999999997</c:v>
                      </c:pt>
                      <c:pt idx="7387">
                        <c:v>7.0149999999999997</c:v>
                      </c:pt>
                      <c:pt idx="7388">
                        <c:v>7.0149999999999997</c:v>
                      </c:pt>
                      <c:pt idx="7389">
                        <c:v>7.0149999999999997</c:v>
                      </c:pt>
                      <c:pt idx="7390">
                        <c:v>6.94</c:v>
                      </c:pt>
                      <c:pt idx="7391">
                        <c:v>6.94</c:v>
                      </c:pt>
                      <c:pt idx="7392">
                        <c:v>6.94</c:v>
                      </c:pt>
                      <c:pt idx="7393">
                        <c:v>6.94</c:v>
                      </c:pt>
                      <c:pt idx="7394">
                        <c:v>6.94</c:v>
                      </c:pt>
                      <c:pt idx="7395">
                        <c:v>6.875</c:v>
                      </c:pt>
                      <c:pt idx="7396">
                        <c:v>6.875</c:v>
                      </c:pt>
                      <c:pt idx="7397">
                        <c:v>6.875</c:v>
                      </c:pt>
                      <c:pt idx="7398">
                        <c:v>6.875</c:v>
                      </c:pt>
                      <c:pt idx="7399">
                        <c:v>6.875</c:v>
                      </c:pt>
                      <c:pt idx="7400">
                        <c:v>6.8769999999999998</c:v>
                      </c:pt>
                      <c:pt idx="7401">
                        <c:v>6.8769999999999998</c:v>
                      </c:pt>
                      <c:pt idx="7402">
                        <c:v>6.8769999999999998</c:v>
                      </c:pt>
                      <c:pt idx="7403">
                        <c:v>6.8769999999999998</c:v>
                      </c:pt>
                      <c:pt idx="7404">
                        <c:v>6.8769999999999998</c:v>
                      </c:pt>
                      <c:pt idx="7405">
                        <c:v>6.9989999999999997</c:v>
                      </c:pt>
                      <c:pt idx="7406">
                        <c:v>6.9989999999999997</c:v>
                      </c:pt>
                      <c:pt idx="7407">
                        <c:v>6.9989999999999997</c:v>
                      </c:pt>
                      <c:pt idx="7408">
                        <c:v>6.9989999999999997</c:v>
                      </c:pt>
                      <c:pt idx="7409">
                        <c:v>6.9989999999999997</c:v>
                      </c:pt>
                      <c:pt idx="7410">
                        <c:v>6.9930000000000003</c:v>
                      </c:pt>
                      <c:pt idx="7411">
                        <c:v>6.9930000000000003</c:v>
                      </c:pt>
                      <c:pt idx="7412">
                        <c:v>6.9930000000000003</c:v>
                      </c:pt>
                      <c:pt idx="7413">
                        <c:v>6.9930000000000003</c:v>
                      </c:pt>
                      <c:pt idx="7414">
                        <c:v>6.9930000000000003</c:v>
                      </c:pt>
                      <c:pt idx="7415">
                        <c:v>7.0090000000000003</c:v>
                      </c:pt>
                      <c:pt idx="7416">
                        <c:v>7.0090000000000003</c:v>
                      </c:pt>
                      <c:pt idx="7417">
                        <c:v>7.0090000000000003</c:v>
                      </c:pt>
                      <c:pt idx="7418">
                        <c:v>7.0090000000000003</c:v>
                      </c:pt>
                      <c:pt idx="7419">
                        <c:v>7.0090000000000003</c:v>
                      </c:pt>
                      <c:pt idx="7420">
                        <c:v>6.9569999999999999</c:v>
                      </c:pt>
                      <c:pt idx="7421">
                        <c:v>6.9569999999999999</c:v>
                      </c:pt>
                      <c:pt idx="7422">
                        <c:v>6.9569999999999999</c:v>
                      </c:pt>
                      <c:pt idx="7423">
                        <c:v>6.9569999999999999</c:v>
                      </c:pt>
                      <c:pt idx="7424">
                        <c:v>6.9569999999999999</c:v>
                      </c:pt>
                      <c:pt idx="7425">
                        <c:v>6.9989999999999997</c:v>
                      </c:pt>
                      <c:pt idx="7426">
                        <c:v>6.9989999999999997</c:v>
                      </c:pt>
                      <c:pt idx="7427">
                        <c:v>6.9989999999999997</c:v>
                      </c:pt>
                      <c:pt idx="7428">
                        <c:v>6.9989999999999997</c:v>
                      </c:pt>
                      <c:pt idx="7429">
                        <c:v>6.9989999999999997</c:v>
                      </c:pt>
                      <c:pt idx="7430">
                        <c:v>7.0750000000000002</c:v>
                      </c:pt>
                      <c:pt idx="7431">
                        <c:v>7.0750000000000002</c:v>
                      </c:pt>
                      <c:pt idx="7432">
                        <c:v>7.0750000000000002</c:v>
                      </c:pt>
                      <c:pt idx="7433">
                        <c:v>7.0750000000000002</c:v>
                      </c:pt>
                      <c:pt idx="7434">
                        <c:v>7.0750000000000002</c:v>
                      </c:pt>
                      <c:pt idx="7435">
                        <c:v>7.2060000000000004</c:v>
                      </c:pt>
                      <c:pt idx="7436">
                        <c:v>7.2060000000000004</c:v>
                      </c:pt>
                      <c:pt idx="7437">
                        <c:v>7.2060000000000004</c:v>
                      </c:pt>
                      <c:pt idx="7438">
                        <c:v>7.2060000000000004</c:v>
                      </c:pt>
                      <c:pt idx="7439">
                        <c:v>7.2060000000000004</c:v>
                      </c:pt>
                      <c:pt idx="7440">
                        <c:v>7.1260000000000003</c:v>
                      </c:pt>
                      <c:pt idx="7441">
                        <c:v>7.1260000000000003</c:v>
                      </c:pt>
                      <c:pt idx="7442">
                        <c:v>7.1260000000000003</c:v>
                      </c:pt>
                      <c:pt idx="7443">
                        <c:v>7.1260000000000003</c:v>
                      </c:pt>
                      <c:pt idx="7444">
                        <c:v>7.1260000000000003</c:v>
                      </c:pt>
                      <c:pt idx="7445">
                        <c:v>7.1609999999999996</c:v>
                      </c:pt>
                      <c:pt idx="7446">
                        <c:v>7.1609999999999996</c:v>
                      </c:pt>
                      <c:pt idx="7447">
                        <c:v>7.1609999999999996</c:v>
                      </c:pt>
                      <c:pt idx="7448">
                        <c:v>7.1609999999999996</c:v>
                      </c:pt>
                      <c:pt idx="7449">
                        <c:v>7.1609999999999996</c:v>
                      </c:pt>
                      <c:pt idx="7450">
                        <c:v>7.11</c:v>
                      </c:pt>
                      <c:pt idx="7451">
                        <c:v>7.11</c:v>
                      </c:pt>
                      <c:pt idx="7452">
                        <c:v>7.11</c:v>
                      </c:pt>
                      <c:pt idx="7453">
                        <c:v>7.11</c:v>
                      </c:pt>
                      <c:pt idx="7454">
                        <c:v>7.11</c:v>
                      </c:pt>
                      <c:pt idx="7455">
                        <c:v>7.069</c:v>
                      </c:pt>
                      <c:pt idx="7456">
                        <c:v>7.069</c:v>
                      </c:pt>
                      <c:pt idx="7457">
                        <c:v>7.069</c:v>
                      </c:pt>
                      <c:pt idx="7458">
                        <c:v>7.069</c:v>
                      </c:pt>
                      <c:pt idx="7459">
                        <c:v>7.069</c:v>
                      </c:pt>
                      <c:pt idx="7460">
                        <c:v>6.9980000000000002</c:v>
                      </c:pt>
                      <c:pt idx="7461">
                        <c:v>6.9980000000000002</c:v>
                      </c:pt>
                      <c:pt idx="7462">
                        <c:v>6.9980000000000002</c:v>
                      </c:pt>
                      <c:pt idx="7463">
                        <c:v>6.9980000000000002</c:v>
                      </c:pt>
                      <c:pt idx="7464">
                        <c:v>6.9980000000000002</c:v>
                      </c:pt>
                      <c:pt idx="7465">
                        <c:v>6.992</c:v>
                      </c:pt>
                      <c:pt idx="7466">
                        <c:v>6.992</c:v>
                      </c:pt>
                      <c:pt idx="7467">
                        <c:v>6.992</c:v>
                      </c:pt>
                      <c:pt idx="7468">
                        <c:v>6.992</c:v>
                      </c:pt>
                      <c:pt idx="7469">
                        <c:v>6.992</c:v>
                      </c:pt>
                      <c:pt idx="7470">
                        <c:v>6.9569999999999999</c:v>
                      </c:pt>
                      <c:pt idx="7471">
                        <c:v>6.9569999999999999</c:v>
                      </c:pt>
                      <c:pt idx="7472">
                        <c:v>6.9569999999999999</c:v>
                      </c:pt>
                      <c:pt idx="7473">
                        <c:v>6.9569999999999999</c:v>
                      </c:pt>
                      <c:pt idx="7474">
                        <c:v>6.9569999999999999</c:v>
                      </c:pt>
                      <c:pt idx="7475">
                        <c:v>6.9770000000000003</c:v>
                      </c:pt>
                      <c:pt idx="7476">
                        <c:v>6.9770000000000003</c:v>
                      </c:pt>
                      <c:pt idx="7477">
                        <c:v>6.9770000000000003</c:v>
                      </c:pt>
                      <c:pt idx="7478">
                        <c:v>6.9770000000000003</c:v>
                      </c:pt>
                      <c:pt idx="7479">
                        <c:v>6.9770000000000003</c:v>
                      </c:pt>
                      <c:pt idx="7480">
                        <c:v>6.9729999999999999</c:v>
                      </c:pt>
                      <c:pt idx="7481">
                        <c:v>6.9729999999999999</c:v>
                      </c:pt>
                      <c:pt idx="7482">
                        <c:v>6.9729999999999999</c:v>
                      </c:pt>
                      <c:pt idx="7483">
                        <c:v>6.9729999999999999</c:v>
                      </c:pt>
                      <c:pt idx="7484">
                        <c:v>6.9729999999999999</c:v>
                      </c:pt>
                      <c:pt idx="7485">
                        <c:v>6.91</c:v>
                      </c:pt>
                      <c:pt idx="7486">
                        <c:v>6.91</c:v>
                      </c:pt>
                      <c:pt idx="7487">
                        <c:v>6.91</c:v>
                      </c:pt>
                      <c:pt idx="7488">
                        <c:v>6.91</c:v>
                      </c:pt>
                      <c:pt idx="7489">
                        <c:v>6.91</c:v>
                      </c:pt>
                      <c:pt idx="7490">
                        <c:v>6.8929999999999998</c:v>
                      </c:pt>
                      <c:pt idx="7491">
                        <c:v>6.8929999999999998</c:v>
                      </c:pt>
                      <c:pt idx="7492">
                        <c:v>6.8929999999999998</c:v>
                      </c:pt>
                      <c:pt idx="7493">
                        <c:v>6.8929999999999998</c:v>
                      </c:pt>
                      <c:pt idx="7494">
                        <c:v>6.8929999999999998</c:v>
                      </c:pt>
                      <c:pt idx="7495">
                        <c:v>6.9269999999999996</c:v>
                      </c:pt>
                      <c:pt idx="7496">
                        <c:v>6.9269999999999996</c:v>
                      </c:pt>
                      <c:pt idx="7497">
                        <c:v>6.9269999999999996</c:v>
                      </c:pt>
                      <c:pt idx="7498">
                        <c:v>6.9269999999999996</c:v>
                      </c:pt>
                      <c:pt idx="7499">
                        <c:v>6.9269999999999996</c:v>
                      </c:pt>
                      <c:pt idx="7500">
                        <c:v>6.8920000000000003</c:v>
                      </c:pt>
                      <c:pt idx="7501">
                        <c:v>6.8920000000000003</c:v>
                      </c:pt>
                      <c:pt idx="7502">
                        <c:v>6.8920000000000003</c:v>
                      </c:pt>
                      <c:pt idx="7503">
                        <c:v>6.8920000000000003</c:v>
                      </c:pt>
                      <c:pt idx="7504">
                        <c:v>6.8920000000000003</c:v>
                      </c:pt>
                      <c:pt idx="7505">
                        <c:v>6.9109999999999996</c:v>
                      </c:pt>
                      <c:pt idx="7506">
                        <c:v>6.9109999999999996</c:v>
                      </c:pt>
                      <c:pt idx="7507">
                        <c:v>6.9109999999999996</c:v>
                      </c:pt>
                      <c:pt idx="7508">
                        <c:v>6.9109999999999996</c:v>
                      </c:pt>
                      <c:pt idx="7509">
                        <c:v>6.9109999999999996</c:v>
                      </c:pt>
                      <c:pt idx="7510">
                        <c:v>6.8470000000000004</c:v>
                      </c:pt>
                      <c:pt idx="7511">
                        <c:v>6.8470000000000004</c:v>
                      </c:pt>
                      <c:pt idx="7512">
                        <c:v>6.8470000000000004</c:v>
                      </c:pt>
                      <c:pt idx="7513">
                        <c:v>6.8470000000000004</c:v>
                      </c:pt>
                      <c:pt idx="7514">
                        <c:v>6.8470000000000004</c:v>
                      </c:pt>
                      <c:pt idx="7515">
                        <c:v>6.9219999999999997</c:v>
                      </c:pt>
                      <c:pt idx="7516">
                        <c:v>6.9219999999999997</c:v>
                      </c:pt>
                      <c:pt idx="7517">
                        <c:v>6.9219999999999997</c:v>
                      </c:pt>
                      <c:pt idx="7518">
                        <c:v>6.9219999999999997</c:v>
                      </c:pt>
                      <c:pt idx="7519">
                        <c:v>6.9219999999999997</c:v>
                      </c:pt>
                      <c:pt idx="7520">
                        <c:v>6.9610000000000003</c:v>
                      </c:pt>
                      <c:pt idx="7521">
                        <c:v>6.9610000000000003</c:v>
                      </c:pt>
                      <c:pt idx="7522">
                        <c:v>6.9610000000000003</c:v>
                      </c:pt>
                      <c:pt idx="7523">
                        <c:v>6.9610000000000003</c:v>
                      </c:pt>
                      <c:pt idx="7524">
                        <c:v>6.9610000000000003</c:v>
                      </c:pt>
                      <c:pt idx="7525">
                        <c:v>7.077</c:v>
                      </c:pt>
                      <c:pt idx="7526">
                        <c:v>7.077</c:v>
                      </c:pt>
                      <c:pt idx="7527">
                        <c:v>7.077</c:v>
                      </c:pt>
                      <c:pt idx="7528">
                        <c:v>7.077</c:v>
                      </c:pt>
                      <c:pt idx="7529">
                        <c:v>7.077</c:v>
                      </c:pt>
                      <c:pt idx="7530">
                        <c:v>7.1040000000000001</c:v>
                      </c:pt>
                      <c:pt idx="7531">
                        <c:v>7.1040000000000001</c:v>
                      </c:pt>
                      <c:pt idx="7532">
                        <c:v>7.1040000000000001</c:v>
                      </c:pt>
                      <c:pt idx="7533">
                        <c:v>7.1040000000000001</c:v>
                      </c:pt>
                      <c:pt idx="7534">
                        <c:v>7.1040000000000001</c:v>
                      </c:pt>
                      <c:pt idx="7535">
                        <c:v>7.1210000000000004</c:v>
                      </c:pt>
                      <c:pt idx="7536">
                        <c:v>7.1210000000000004</c:v>
                      </c:pt>
                      <c:pt idx="7537">
                        <c:v>7.1210000000000004</c:v>
                      </c:pt>
                      <c:pt idx="7538">
                        <c:v>7.1210000000000004</c:v>
                      </c:pt>
                      <c:pt idx="7539">
                        <c:v>7.1210000000000004</c:v>
                      </c:pt>
                      <c:pt idx="7540">
                        <c:v>7.0869999999999997</c:v>
                      </c:pt>
                      <c:pt idx="7541">
                        <c:v>7.0869999999999997</c:v>
                      </c:pt>
                      <c:pt idx="7542">
                        <c:v>7.0869999999999997</c:v>
                      </c:pt>
                      <c:pt idx="7543">
                        <c:v>7.0869999999999997</c:v>
                      </c:pt>
                      <c:pt idx="7544">
                        <c:v>7.0869999999999997</c:v>
                      </c:pt>
                      <c:pt idx="7545">
                        <c:v>7.2190000000000003</c:v>
                      </c:pt>
                      <c:pt idx="7546">
                        <c:v>7.2190000000000003</c:v>
                      </c:pt>
                      <c:pt idx="7547">
                        <c:v>7.2190000000000003</c:v>
                      </c:pt>
                      <c:pt idx="7548">
                        <c:v>7.2190000000000003</c:v>
                      </c:pt>
                      <c:pt idx="7549">
                        <c:v>7.2190000000000003</c:v>
                      </c:pt>
                      <c:pt idx="7550">
                        <c:v>7.226</c:v>
                      </c:pt>
                      <c:pt idx="7551">
                        <c:v>7.226</c:v>
                      </c:pt>
                      <c:pt idx="7552">
                        <c:v>7.226</c:v>
                      </c:pt>
                      <c:pt idx="7553">
                        <c:v>7.226</c:v>
                      </c:pt>
                      <c:pt idx="7554">
                        <c:v>7.226</c:v>
                      </c:pt>
                      <c:pt idx="7555">
                        <c:v>7.24</c:v>
                      </c:pt>
                      <c:pt idx="7556">
                        <c:v>7.24</c:v>
                      </c:pt>
                      <c:pt idx="7557">
                        <c:v>7.24</c:v>
                      </c:pt>
                      <c:pt idx="7558">
                        <c:v>7.24</c:v>
                      </c:pt>
                      <c:pt idx="7559">
                        <c:v>7.24</c:v>
                      </c:pt>
                      <c:pt idx="7560">
                        <c:v>7.157</c:v>
                      </c:pt>
                      <c:pt idx="7561">
                        <c:v>7.157</c:v>
                      </c:pt>
                      <c:pt idx="7562">
                        <c:v>7.157</c:v>
                      </c:pt>
                      <c:pt idx="7563">
                        <c:v>7.157</c:v>
                      </c:pt>
                      <c:pt idx="7564">
                        <c:v>7.157</c:v>
                      </c:pt>
                      <c:pt idx="7565">
                        <c:v>7.1219999999999999</c:v>
                      </c:pt>
                      <c:pt idx="7566">
                        <c:v>7.1219999999999999</c:v>
                      </c:pt>
                      <c:pt idx="7567">
                        <c:v>7.1219999999999999</c:v>
                      </c:pt>
                      <c:pt idx="7568">
                        <c:v>7.1219999999999999</c:v>
                      </c:pt>
                      <c:pt idx="7569">
                        <c:v>7.1219999999999999</c:v>
                      </c:pt>
                      <c:pt idx="7570">
                        <c:v>7.3579999999999997</c:v>
                      </c:pt>
                      <c:pt idx="7571">
                        <c:v>7.3579999999999997</c:v>
                      </c:pt>
                      <c:pt idx="7572">
                        <c:v>7.3579999999999997</c:v>
                      </c:pt>
                      <c:pt idx="7573">
                        <c:v>7.3579999999999997</c:v>
                      </c:pt>
                      <c:pt idx="7574">
                        <c:v>7.3579999999999997</c:v>
                      </c:pt>
                      <c:pt idx="7575">
                        <c:v>7.407</c:v>
                      </c:pt>
                      <c:pt idx="7576">
                        <c:v>7.407</c:v>
                      </c:pt>
                      <c:pt idx="7577">
                        <c:v>7.407</c:v>
                      </c:pt>
                      <c:pt idx="7578">
                        <c:v>7.407</c:v>
                      </c:pt>
                      <c:pt idx="7579">
                        <c:v>7.407</c:v>
                      </c:pt>
                      <c:pt idx="7580">
                        <c:v>7.2670000000000003</c:v>
                      </c:pt>
                      <c:pt idx="7581">
                        <c:v>7.2670000000000003</c:v>
                      </c:pt>
                      <c:pt idx="7582">
                        <c:v>7.2670000000000003</c:v>
                      </c:pt>
                      <c:pt idx="7583">
                        <c:v>7.2670000000000003</c:v>
                      </c:pt>
                      <c:pt idx="7584">
                        <c:v>7.2670000000000003</c:v>
                      </c:pt>
                      <c:pt idx="7585">
                        <c:v>7.15</c:v>
                      </c:pt>
                      <c:pt idx="7586">
                        <c:v>7.15</c:v>
                      </c:pt>
                      <c:pt idx="7587">
                        <c:v>7.15</c:v>
                      </c:pt>
                      <c:pt idx="7588">
                        <c:v>7.15</c:v>
                      </c:pt>
                      <c:pt idx="7589">
                        <c:v>7.15</c:v>
                      </c:pt>
                      <c:pt idx="7590">
                        <c:v>7.2460000000000004</c:v>
                      </c:pt>
                      <c:pt idx="7591">
                        <c:v>7.2460000000000004</c:v>
                      </c:pt>
                      <c:pt idx="7592">
                        <c:v>7.2460000000000004</c:v>
                      </c:pt>
                      <c:pt idx="7593">
                        <c:v>7.2460000000000004</c:v>
                      </c:pt>
                      <c:pt idx="7594">
                        <c:v>7.2460000000000004</c:v>
                      </c:pt>
                      <c:pt idx="7595">
                        <c:v>7.27</c:v>
                      </c:pt>
                      <c:pt idx="7596">
                        <c:v>7.27</c:v>
                      </c:pt>
                      <c:pt idx="7597">
                        <c:v>7.27</c:v>
                      </c:pt>
                      <c:pt idx="7598">
                        <c:v>7.27</c:v>
                      </c:pt>
                      <c:pt idx="7599">
                        <c:v>7.27</c:v>
                      </c:pt>
                      <c:pt idx="7600">
                        <c:v>6.9690000000000003</c:v>
                      </c:pt>
                      <c:pt idx="7601">
                        <c:v>6.9690000000000003</c:v>
                      </c:pt>
                      <c:pt idx="7602">
                        <c:v>6.9690000000000003</c:v>
                      </c:pt>
                      <c:pt idx="7603">
                        <c:v>6.9690000000000003</c:v>
                      </c:pt>
                      <c:pt idx="7604">
                        <c:v>6.9690000000000003</c:v>
                      </c:pt>
                      <c:pt idx="7605">
                        <c:v>7.016</c:v>
                      </c:pt>
                      <c:pt idx="7606">
                        <c:v>7.016</c:v>
                      </c:pt>
                      <c:pt idx="7607">
                        <c:v>7.016</c:v>
                      </c:pt>
                      <c:pt idx="7608">
                        <c:v>7.016</c:v>
                      </c:pt>
                      <c:pt idx="7609">
                        <c:v>7.016</c:v>
                      </c:pt>
                      <c:pt idx="7610">
                        <c:v>6.9260000000000002</c:v>
                      </c:pt>
                      <c:pt idx="7611">
                        <c:v>6.9260000000000002</c:v>
                      </c:pt>
                      <c:pt idx="7612">
                        <c:v>6.9260000000000002</c:v>
                      </c:pt>
                      <c:pt idx="7613">
                        <c:v>6.9260000000000002</c:v>
                      </c:pt>
                      <c:pt idx="7614">
                        <c:v>6.9260000000000002</c:v>
                      </c:pt>
                      <c:pt idx="7615">
                        <c:v>6.7060000000000004</c:v>
                      </c:pt>
                      <c:pt idx="7616">
                        <c:v>6.7060000000000004</c:v>
                      </c:pt>
                      <c:pt idx="7617">
                        <c:v>6.7060000000000004</c:v>
                      </c:pt>
                      <c:pt idx="7618">
                        <c:v>6.7060000000000004</c:v>
                      </c:pt>
                      <c:pt idx="7619">
                        <c:v>6.7060000000000004</c:v>
                      </c:pt>
                      <c:pt idx="7620">
                        <c:v>6.952</c:v>
                      </c:pt>
                      <c:pt idx="7621">
                        <c:v>6.952</c:v>
                      </c:pt>
                      <c:pt idx="7622">
                        <c:v>6.952</c:v>
                      </c:pt>
                      <c:pt idx="7623">
                        <c:v>6.952</c:v>
                      </c:pt>
                      <c:pt idx="7624">
                        <c:v>6.952</c:v>
                      </c:pt>
                      <c:pt idx="7625">
                        <c:v>6.98</c:v>
                      </c:pt>
                      <c:pt idx="7626">
                        <c:v>6.98</c:v>
                      </c:pt>
                      <c:pt idx="7627">
                        <c:v>6.98</c:v>
                      </c:pt>
                      <c:pt idx="7628">
                        <c:v>6.98</c:v>
                      </c:pt>
                      <c:pt idx="7629">
                        <c:v>6.98</c:v>
                      </c:pt>
                      <c:pt idx="7630">
                        <c:v>6.8220000000000001</c:v>
                      </c:pt>
                      <c:pt idx="7631">
                        <c:v>6.8220000000000001</c:v>
                      </c:pt>
                      <c:pt idx="7632">
                        <c:v>6.8220000000000001</c:v>
                      </c:pt>
                      <c:pt idx="7633">
                        <c:v>6.8220000000000001</c:v>
                      </c:pt>
                      <c:pt idx="7634">
                        <c:v>6.8220000000000001</c:v>
                      </c:pt>
                      <c:pt idx="7635">
                        <c:v>6.91</c:v>
                      </c:pt>
                      <c:pt idx="7636">
                        <c:v>6.91</c:v>
                      </c:pt>
                      <c:pt idx="7637">
                        <c:v>6.91</c:v>
                      </c:pt>
                      <c:pt idx="7638">
                        <c:v>6.91</c:v>
                      </c:pt>
                      <c:pt idx="7639">
                        <c:v>6.91</c:v>
                      </c:pt>
                      <c:pt idx="7640">
                        <c:v>6.8319999999999999</c:v>
                      </c:pt>
                      <c:pt idx="7641">
                        <c:v>6.8319999999999999</c:v>
                      </c:pt>
                      <c:pt idx="7642">
                        <c:v>6.8319999999999999</c:v>
                      </c:pt>
                      <c:pt idx="7643">
                        <c:v>6.8319999999999999</c:v>
                      </c:pt>
                      <c:pt idx="7644">
                        <c:v>6.8319999999999999</c:v>
                      </c:pt>
                      <c:pt idx="7645">
                        <c:v>6.94</c:v>
                      </c:pt>
                      <c:pt idx="7646">
                        <c:v>6.94</c:v>
                      </c:pt>
                      <c:pt idx="7647">
                        <c:v>6.94</c:v>
                      </c:pt>
                      <c:pt idx="7648">
                        <c:v>6.94</c:v>
                      </c:pt>
                      <c:pt idx="7649">
                        <c:v>6.94</c:v>
                      </c:pt>
                      <c:pt idx="7650">
                        <c:v>6.9</c:v>
                      </c:pt>
                      <c:pt idx="7651">
                        <c:v>6.9</c:v>
                      </c:pt>
                      <c:pt idx="7652">
                        <c:v>6.9</c:v>
                      </c:pt>
                      <c:pt idx="7653">
                        <c:v>6.9</c:v>
                      </c:pt>
                      <c:pt idx="7654">
                        <c:v>6.9</c:v>
                      </c:pt>
                      <c:pt idx="7655">
                        <c:v>6.9260000000000002</c:v>
                      </c:pt>
                      <c:pt idx="7656">
                        <c:v>6.9260000000000002</c:v>
                      </c:pt>
                      <c:pt idx="7657">
                        <c:v>6.9260000000000002</c:v>
                      </c:pt>
                      <c:pt idx="7658">
                        <c:v>6.9260000000000002</c:v>
                      </c:pt>
                      <c:pt idx="7659">
                        <c:v>6.9260000000000002</c:v>
                      </c:pt>
                      <c:pt idx="7660">
                        <c:v>6.9189999999999996</c:v>
                      </c:pt>
                      <c:pt idx="7661">
                        <c:v>6.9189999999999996</c:v>
                      </c:pt>
                      <c:pt idx="7662">
                        <c:v>6.9189999999999996</c:v>
                      </c:pt>
                      <c:pt idx="7663">
                        <c:v>6.9189999999999996</c:v>
                      </c:pt>
                      <c:pt idx="7664">
                        <c:v>6.9189999999999996</c:v>
                      </c:pt>
                      <c:pt idx="7665">
                        <c:v>6.9219999999999997</c:v>
                      </c:pt>
                      <c:pt idx="7666">
                        <c:v>6.9219999999999997</c:v>
                      </c:pt>
                      <c:pt idx="7667">
                        <c:v>6.9219999999999997</c:v>
                      </c:pt>
                      <c:pt idx="7668">
                        <c:v>6.9219999999999997</c:v>
                      </c:pt>
                      <c:pt idx="7669">
                        <c:v>6.9219999999999997</c:v>
                      </c:pt>
                      <c:pt idx="7670">
                        <c:v>6.8250000000000002</c:v>
                      </c:pt>
                      <c:pt idx="7671">
                        <c:v>6.8250000000000002</c:v>
                      </c:pt>
                      <c:pt idx="7672">
                        <c:v>6.8250000000000002</c:v>
                      </c:pt>
                      <c:pt idx="7673">
                        <c:v>6.8250000000000002</c:v>
                      </c:pt>
                      <c:pt idx="7674">
                        <c:v>6.8250000000000002</c:v>
                      </c:pt>
                      <c:pt idx="7675">
                        <c:v>6.8369999999999997</c:v>
                      </c:pt>
                      <c:pt idx="7676">
                        <c:v>6.8369999999999997</c:v>
                      </c:pt>
                      <c:pt idx="7677">
                        <c:v>6.8369999999999997</c:v>
                      </c:pt>
                      <c:pt idx="7678">
                        <c:v>6.8369999999999997</c:v>
                      </c:pt>
                      <c:pt idx="7679">
                        <c:v>6.8369999999999997</c:v>
                      </c:pt>
                      <c:pt idx="7680">
                        <c:v>6.79</c:v>
                      </c:pt>
                      <c:pt idx="7681">
                        <c:v>6.79</c:v>
                      </c:pt>
                      <c:pt idx="7682">
                        <c:v>6.79</c:v>
                      </c:pt>
                      <c:pt idx="7683">
                        <c:v>6.79</c:v>
                      </c:pt>
                      <c:pt idx="7684">
                        <c:v>6.79</c:v>
                      </c:pt>
                      <c:pt idx="7685">
                        <c:v>6.7690000000000001</c:v>
                      </c:pt>
                      <c:pt idx="7686">
                        <c:v>6.7690000000000001</c:v>
                      </c:pt>
                      <c:pt idx="7687">
                        <c:v>6.7690000000000001</c:v>
                      </c:pt>
                      <c:pt idx="7688">
                        <c:v>6.7690000000000001</c:v>
                      </c:pt>
                      <c:pt idx="7689">
                        <c:v>6.7690000000000001</c:v>
                      </c:pt>
                      <c:pt idx="7690">
                        <c:v>6.7939999999999996</c:v>
                      </c:pt>
                      <c:pt idx="7691">
                        <c:v>6.7939999999999996</c:v>
                      </c:pt>
                      <c:pt idx="7692">
                        <c:v>6.7939999999999996</c:v>
                      </c:pt>
                      <c:pt idx="7693">
                        <c:v>6.7939999999999996</c:v>
                      </c:pt>
                      <c:pt idx="7694">
                        <c:v>6.7939999999999996</c:v>
                      </c:pt>
                      <c:pt idx="7695">
                        <c:v>6.8760000000000003</c:v>
                      </c:pt>
                      <c:pt idx="7696">
                        <c:v>6.8760000000000003</c:v>
                      </c:pt>
                      <c:pt idx="7697">
                        <c:v>6.8760000000000003</c:v>
                      </c:pt>
                      <c:pt idx="7698">
                        <c:v>6.8760000000000003</c:v>
                      </c:pt>
                      <c:pt idx="7699">
                        <c:v>6.8760000000000003</c:v>
                      </c:pt>
                      <c:pt idx="7700">
                        <c:v>6.9080000000000004</c:v>
                      </c:pt>
                      <c:pt idx="7701">
                        <c:v>6.9080000000000004</c:v>
                      </c:pt>
                      <c:pt idx="7702">
                        <c:v>6.9080000000000004</c:v>
                      </c:pt>
                      <c:pt idx="7703">
                        <c:v>6.9080000000000004</c:v>
                      </c:pt>
                      <c:pt idx="7704">
                        <c:v>6.9080000000000004</c:v>
                      </c:pt>
                      <c:pt idx="7705">
                        <c:v>6.8680000000000003</c:v>
                      </c:pt>
                      <c:pt idx="7706">
                        <c:v>6.8680000000000003</c:v>
                      </c:pt>
                      <c:pt idx="7707">
                        <c:v>6.8680000000000003</c:v>
                      </c:pt>
                      <c:pt idx="7708">
                        <c:v>6.8680000000000003</c:v>
                      </c:pt>
                      <c:pt idx="7709">
                        <c:v>6.8680000000000003</c:v>
                      </c:pt>
                      <c:pt idx="7710">
                        <c:v>7.0670000000000002</c:v>
                      </c:pt>
                      <c:pt idx="7711">
                        <c:v>7.0670000000000002</c:v>
                      </c:pt>
                      <c:pt idx="7712">
                        <c:v>7.0670000000000002</c:v>
                      </c:pt>
                      <c:pt idx="7713">
                        <c:v>7.0670000000000002</c:v>
                      </c:pt>
                      <c:pt idx="7714">
                        <c:v>7.0670000000000002</c:v>
                      </c:pt>
                      <c:pt idx="7715">
                        <c:v>7.077</c:v>
                      </c:pt>
                      <c:pt idx="7716">
                        <c:v>7.077</c:v>
                      </c:pt>
                      <c:pt idx="7717">
                        <c:v>7.077</c:v>
                      </c:pt>
                      <c:pt idx="7718">
                        <c:v>7.077</c:v>
                      </c:pt>
                      <c:pt idx="7719">
                        <c:v>7.077</c:v>
                      </c:pt>
                      <c:pt idx="7720">
                        <c:v>7.157</c:v>
                      </c:pt>
                      <c:pt idx="7721">
                        <c:v>7.157</c:v>
                      </c:pt>
                      <c:pt idx="7722">
                        <c:v>7.157</c:v>
                      </c:pt>
                      <c:pt idx="7723">
                        <c:v>7.157</c:v>
                      </c:pt>
                      <c:pt idx="7724">
                        <c:v>7.157</c:v>
                      </c:pt>
                      <c:pt idx="7725">
                        <c:v>7.23</c:v>
                      </c:pt>
                      <c:pt idx="7726">
                        <c:v>7.23</c:v>
                      </c:pt>
                      <c:pt idx="7727">
                        <c:v>7.23</c:v>
                      </c:pt>
                      <c:pt idx="7728">
                        <c:v>7.23</c:v>
                      </c:pt>
                      <c:pt idx="7729">
                        <c:v>7.23</c:v>
                      </c:pt>
                      <c:pt idx="7730">
                        <c:v>7.1529999999999996</c:v>
                      </c:pt>
                      <c:pt idx="7731">
                        <c:v>7.1529999999999996</c:v>
                      </c:pt>
                      <c:pt idx="7732">
                        <c:v>7.1529999999999996</c:v>
                      </c:pt>
                      <c:pt idx="7733">
                        <c:v>7.1529999999999996</c:v>
                      </c:pt>
                      <c:pt idx="7734">
                        <c:v>7.1529999999999996</c:v>
                      </c:pt>
                      <c:pt idx="7735">
                        <c:v>7.181</c:v>
                      </c:pt>
                      <c:pt idx="7736">
                        <c:v>7.181</c:v>
                      </c:pt>
                      <c:pt idx="7737">
                        <c:v>7.181</c:v>
                      </c:pt>
                      <c:pt idx="7738">
                        <c:v>7.181</c:v>
                      </c:pt>
                      <c:pt idx="7739">
                        <c:v>7.181</c:v>
                      </c:pt>
                      <c:pt idx="7740">
                        <c:v>7.2450000000000001</c:v>
                      </c:pt>
                      <c:pt idx="7741">
                        <c:v>7.2450000000000001</c:v>
                      </c:pt>
                      <c:pt idx="7742">
                        <c:v>7.2450000000000001</c:v>
                      </c:pt>
                      <c:pt idx="7743">
                        <c:v>7.2450000000000001</c:v>
                      </c:pt>
                      <c:pt idx="7744">
                        <c:v>7.2450000000000001</c:v>
                      </c:pt>
                      <c:pt idx="7745">
                        <c:v>7.0789999999999997</c:v>
                      </c:pt>
                      <c:pt idx="7746">
                        <c:v>7.0789999999999997</c:v>
                      </c:pt>
                      <c:pt idx="7747">
                        <c:v>7.0789999999999997</c:v>
                      </c:pt>
                      <c:pt idx="7748">
                        <c:v>7.0789999999999997</c:v>
                      </c:pt>
                      <c:pt idx="7749">
                        <c:v>7.0789999999999997</c:v>
                      </c:pt>
                      <c:pt idx="7750">
                        <c:v>7.19</c:v>
                      </c:pt>
                      <c:pt idx="7751">
                        <c:v>7.19</c:v>
                      </c:pt>
                      <c:pt idx="7752">
                        <c:v>7.19</c:v>
                      </c:pt>
                      <c:pt idx="7753">
                        <c:v>7.19</c:v>
                      </c:pt>
                      <c:pt idx="7754">
                        <c:v>7.19</c:v>
                      </c:pt>
                      <c:pt idx="7755">
                        <c:v>7.0490000000000004</c:v>
                      </c:pt>
                      <c:pt idx="7756">
                        <c:v>7.0490000000000004</c:v>
                      </c:pt>
                      <c:pt idx="7757">
                        <c:v>7.0490000000000004</c:v>
                      </c:pt>
                      <c:pt idx="7758">
                        <c:v>7.0490000000000004</c:v>
                      </c:pt>
                      <c:pt idx="7759">
                        <c:v>7.0490000000000004</c:v>
                      </c:pt>
                      <c:pt idx="7760">
                        <c:v>7.0430000000000001</c:v>
                      </c:pt>
                      <c:pt idx="7761">
                        <c:v>7.0430000000000001</c:v>
                      </c:pt>
                      <c:pt idx="7762">
                        <c:v>7.0430000000000001</c:v>
                      </c:pt>
                      <c:pt idx="7763">
                        <c:v>7.0430000000000001</c:v>
                      </c:pt>
                      <c:pt idx="7764">
                        <c:v>7.0430000000000001</c:v>
                      </c:pt>
                      <c:pt idx="7765">
                        <c:v>6.9950000000000001</c:v>
                      </c:pt>
                      <c:pt idx="7766">
                        <c:v>6.9950000000000001</c:v>
                      </c:pt>
                      <c:pt idx="7767">
                        <c:v>6.9950000000000001</c:v>
                      </c:pt>
                      <c:pt idx="7768">
                        <c:v>6.9950000000000001</c:v>
                      </c:pt>
                      <c:pt idx="7769">
                        <c:v>6.9950000000000001</c:v>
                      </c:pt>
                      <c:pt idx="7770">
                        <c:v>6.9109999999999996</c:v>
                      </c:pt>
                      <c:pt idx="7771">
                        <c:v>6.9109999999999996</c:v>
                      </c:pt>
                      <c:pt idx="7772">
                        <c:v>6.9109999999999996</c:v>
                      </c:pt>
                      <c:pt idx="7773">
                        <c:v>6.9109999999999996</c:v>
                      </c:pt>
                      <c:pt idx="7774">
                        <c:v>6.9109999999999996</c:v>
                      </c:pt>
                      <c:pt idx="7775">
                        <c:v>6.9450000000000003</c:v>
                      </c:pt>
                      <c:pt idx="7776">
                        <c:v>6.9450000000000003</c:v>
                      </c:pt>
                      <c:pt idx="7777">
                        <c:v>6.9450000000000003</c:v>
                      </c:pt>
                      <c:pt idx="7778">
                        <c:v>6.9450000000000003</c:v>
                      </c:pt>
                      <c:pt idx="7779">
                        <c:v>6.9450000000000003</c:v>
                      </c:pt>
                      <c:pt idx="7780">
                        <c:v>6.8250000000000002</c:v>
                      </c:pt>
                      <c:pt idx="7781">
                        <c:v>6.8250000000000002</c:v>
                      </c:pt>
                      <c:pt idx="7782">
                        <c:v>6.8250000000000002</c:v>
                      </c:pt>
                      <c:pt idx="7783">
                        <c:v>6.8250000000000002</c:v>
                      </c:pt>
                      <c:pt idx="7784">
                        <c:v>6.8250000000000002</c:v>
                      </c:pt>
                      <c:pt idx="7785">
                        <c:v>6.8250000000000002</c:v>
                      </c:pt>
                    </c:numCache>
                  </c:numRef>
                </c:val>
                <c:smooth val="0"/>
                <c:extLst xmlns:c15="http://schemas.microsoft.com/office/drawing/2012/chart">
                  <c:ext xmlns:c16="http://schemas.microsoft.com/office/drawing/2014/chart" uri="{C3380CC4-5D6E-409C-BE32-E72D297353CC}">
                    <c16:uniqueId val="{00000003-9494-468B-B1D8-CDEAEEA677E5}"/>
                  </c:ext>
                </c:extLst>
              </c15:ser>
            </c15:filteredLineSeries>
          </c:ext>
        </c:extLst>
      </c:lineChart>
      <c:dateAx>
        <c:axId val="244868159"/>
        <c:scaling>
          <c:orientation val="minMax"/>
        </c:scaling>
        <c:delete val="0"/>
        <c:axPos val="b"/>
        <c:numFmt formatCode="yy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711773583"/>
        <c:crosses val="autoZero"/>
        <c:auto val="1"/>
        <c:lblOffset val="100"/>
        <c:baseTimeUnit val="days"/>
        <c:majorUnit val="7"/>
        <c:majorTimeUnit val="years"/>
      </c:dateAx>
      <c:valAx>
        <c:axId val="711773583"/>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2448681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8182392149434926E-2"/>
          <c:y val="4.6717720630037117E-2"/>
          <c:w val="0.82404758683515078"/>
          <c:h val="0.63684020641098538"/>
        </c:manualLayout>
      </c:layout>
      <c:lineChart>
        <c:grouping val="standard"/>
        <c:varyColors val="0"/>
        <c:ser>
          <c:idx val="0"/>
          <c:order val="0"/>
          <c:tx>
            <c:strRef>
              <c:f>'Sheet1 (2)'!$L$1</c:f>
              <c:strCache>
                <c:ptCount val="1"/>
                <c:pt idx="0">
                  <c:v>STOXX 600 Finanzen - Gewinne* (links)</c:v>
                </c:pt>
              </c:strCache>
            </c:strRef>
          </c:tx>
          <c:spPr>
            <a:ln w="28575" cap="rnd">
              <a:solidFill>
                <a:schemeClr val="accent1"/>
              </a:solidFill>
              <a:round/>
            </a:ln>
            <a:effectLst/>
          </c:spPr>
          <c:marker>
            <c:symbol val="none"/>
          </c:marker>
          <c:cat>
            <c:numRef>
              <c:f>'Sheet1 (2)'!$K$4:$K$2847</c:f>
              <c:numCache>
                <c:formatCode>m/d/yyyy</c:formatCode>
                <c:ptCount val="2844"/>
                <c:pt idx="0">
                  <c:v>41640</c:v>
                </c:pt>
                <c:pt idx="1">
                  <c:v>41641</c:v>
                </c:pt>
                <c:pt idx="2">
                  <c:v>41642</c:v>
                </c:pt>
                <c:pt idx="3">
                  <c:v>41645</c:v>
                </c:pt>
                <c:pt idx="4">
                  <c:v>41646</c:v>
                </c:pt>
                <c:pt idx="5">
                  <c:v>41647</c:v>
                </c:pt>
                <c:pt idx="6">
                  <c:v>41648</c:v>
                </c:pt>
                <c:pt idx="7">
                  <c:v>41649</c:v>
                </c:pt>
                <c:pt idx="8">
                  <c:v>41652</c:v>
                </c:pt>
                <c:pt idx="9">
                  <c:v>41653</c:v>
                </c:pt>
                <c:pt idx="10">
                  <c:v>41654</c:v>
                </c:pt>
                <c:pt idx="11">
                  <c:v>41655</c:v>
                </c:pt>
                <c:pt idx="12">
                  <c:v>41656</c:v>
                </c:pt>
                <c:pt idx="13">
                  <c:v>41659</c:v>
                </c:pt>
                <c:pt idx="14">
                  <c:v>41660</c:v>
                </c:pt>
                <c:pt idx="15">
                  <c:v>41661</c:v>
                </c:pt>
                <c:pt idx="16">
                  <c:v>41662</c:v>
                </c:pt>
                <c:pt idx="17">
                  <c:v>41663</c:v>
                </c:pt>
                <c:pt idx="18">
                  <c:v>41666</c:v>
                </c:pt>
                <c:pt idx="19">
                  <c:v>41667</c:v>
                </c:pt>
                <c:pt idx="20">
                  <c:v>41668</c:v>
                </c:pt>
                <c:pt idx="21">
                  <c:v>41669</c:v>
                </c:pt>
                <c:pt idx="22">
                  <c:v>41670</c:v>
                </c:pt>
                <c:pt idx="23">
                  <c:v>41673</c:v>
                </c:pt>
                <c:pt idx="24">
                  <c:v>41674</c:v>
                </c:pt>
                <c:pt idx="25">
                  <c:v>41675</c:v>
                </c:pt>
                <c:pt idx="26">
                  <c:v>41676</c:v>
                </c:pt>
                <c:pt idx="27">
                  <c:v>41677</c:v>
                </c:pt>
                <c:pt idx="28">
                  <c:v>41680</c:v>
                </c:pt>
                <c:pt idx="29">
                  <c:v>41681</c:v>
                </c:pt>
                <c:pt idx="30">
                  <c:v>41682</c:v>
                </c:pt>
                <c:pt idx="31">
                  <c:v>41683</c:v>
                </c:pt>
                <c:pt idx="32">
                  <c:v>41684</c:v>
                </c:pt>
                <c:pt idx="33">
                  <c:v>41687</c:v>
                </c:pt>
                <c:pt idx="34">
                  <c:v>41688</c:v>
                </c:pt>
                <c:pt idx="35">
                  <c:v>41689</c:v>
                </c:pt>
                <c:pt idx="36">
                  <c:v>41690</c:v>
                </c:pt>
                <c:pt idx="37">
                  <c:v>41691</c:v>
                </c:pt>
                <c:pt idx="38">
                  <c:v>41694</c:v>
                </c:pt>
                <c:pt idx="39">
                  <c:v>41695</c:v>
                </c:pt>
                <c:pt idx="40">
                  <c:v>41696</c:v>
                </c:pt>
                <c:pt idx="41">
                  <c:v>41697</c:v>
                </c:pt>
                <c:pt idx="42">
                  <c:v>41698</c:v>
                </c:pt>
                <c:pt idx="43">
                  <c:v>41701</c:v>
                </c:pt>
                <c:pt idx="44">
                  <c:v>41702</c:v>
                </c:pt>
                <c:pt idx="45">
                  <c:v>41703</c:v>
                </c:pt>
                <c:pt idx="46">
                  <c:v>41704</c:v>
                </c:pt>
                <c:pt idx="47">
                  <c:v>41705</c:v>
                </c:pt>
                <c:pt idx="48">
                  <c:v>41708</c:v>
                </c:pt>
                <c:pt idx="49">
                  <c:v>41709</c:v>
                </c:pt>
                <c:pt idx="50">
                  <c:v>41710</c:v>
                </c:pt>
                <c:pt idx="51">
                  <c:v>41711</c:v>
                </c:pt>
                <c:pt idx="52">
                  <c:v>41712</c:v>
                </c:pt>
                <c:pt idx="53">
                  <c:v>41715</c:v>
                </c:pt>
                <c:pt idx="54">
                  <c:v>41716</c:v>
                </c:pt>
                <c:pt idx="55">
                  <c:v>41717</c:v>
                </c:pt>
                <c:pt idx="56">
                  <c:v>41718</c:v>
                </c:pt>
                <c:pt idx="57">
                  <c:v>41719</c:v>
                </c:pt>
                <c:pt idx="58">
                  <c:v>41722</c:v>
                </c:pt>
                <c:pt idx="59">
                  <c:v>41723</c:v>
                </c:pt>
                <c:pt idx="60">
                  <c:v>41724</c:v>
                </c:pt>
                <c:pt idx="61">
                  <c:v>41725</c:v>
                </c:pt>
                <c:pt idx="62">
                  <c:v>41726</c:v>
                </c:pt>
                <c:pt idx="63">
                  <c:v>41729</c:v>
                </c:pt>
                <c:pt idx="64">
                  <c:v>41730</c:v>
                </c:pt>
                <c:pt idx="65">
                  <c:v>41731</c:v>
                </c:pt>
                <c:pt idx="66">
                  <c:v>41732</c:v>
                </c:pt>
                <c:pt idx="67">
                  <c:v>41733</c:v>
                </c:pt>
                <c:pt idx="68">
                  <c:v>41736</c:v>
                </c:pt>
                <c:pt idx="69">
                  <c:v>41737</c:v>
                </c:pt>
                <c:pt idx="70">
                  <c:v>41738</c:v>
                </c:pt>
                <c:pt idx="71">
                  <c:v>41739</c:v>
                </c:pt>
                <c:pt idx="72">
                  <c:v>41740</c:v>
                </c:pt>
                <c:pt idx="73">
                  <c:v>41743</c:v>
                </c:pt>
                <c:pt idx="74">
                  <c:v>41744</c:v>
                </c:pt>
                <c:pt idx="75">
                  <c:v>41745</c:v>
                </c:pt>
                <c:pt idx="76">
                  <c:v>41746</c:v>
                </c:pt>
                <c:pt idx="77">
                  <c:v>41747</c:v>
                </c:pt>
                <c:pt idx="78">
                  <c:v>41750</c:v>
                </c:pt>
                <c:pt idx="79">
                  <c:v>41751</c:v>
                </c:pt>
                <c:pt idx="80">
                  <c:v>41752</c:v>
                </c:pt>
                <c:pt idx="81">
                  <c:v>41753</c:v>
                </c:pt>
                <c:pt idx="82">
                  <c:v>41754</c:v>
                </c:pt>
                <c:pt idx="83">
                  <c:v>41757</c:v>
                </c:pt>
                <c:pt idx="84">
                  <c:v>41758</c:v>
                </c:pt>
                <c:pt idx="85">
                  <c:v>41759</c:v>
                </c:pt>
                <c:pt idx="86">
                  <c:v>41760</c:v>
                </c:pt>
                <c:pt idx="87">
                  <c:v>41761</c:v>
                </c:pt>
                <c:pt idx="88">
                  <c:v>41764</c:v>
                </c:pt>
                <c:pt idx="89">
                  <c:v>41765</c:v>
                </c:pt>
                <c:pt idx="90">
                  <c:v>41766</c:v>
                </c:pt>
                <c:pt idx="91">
                  <c:v>41767</c:v>
                </c:pt>
                <c:pt idx="92">
                  <c:v>41768</c:v>
                </c:pt>
                <c:pt idx="93">
                  <c:v>41771</c:v>
                </c:pt>
                <c:pt idx="94">
                  <c:v>41772</c:v>
                </c:pt>
                <c:pt idx="95">
                  <c:v>41773</c:v>
                </c:pt>
                <c:pt idx="96">
                  <c:v>41774</c:v>
                </c:pt>
                <c:pt idx="97">
                  <c:v>41775</c:v>
                </c:pt>
                <c:pt idx="98">
                  <c:v>41778</c:v>
                </c:pt>
                <c:pt idx="99">
                  <c:v>41779</c:v>
                </c:pt>
                <c:pt idx="100">
                  <c:v>41780</c:v>
                </c:pt>
                <c:pt idx="101">
                  <c:v>41781</c:v>
                </c:pt>
                <c:pt idx="102">
                  <c:v>41782</c:v>
                </c:pt>
                <c:pt idx="103">
                  <c:v>41785</c:v>
                </c:pt>
                <c:pt idx="104">
                  <c:v>41786</c:v>
                </c:pt>
                <c:pt idx="105">
                  <c:v>41787</c:v>
                </c:pt>
                <c:pt idx="106">
                  <c:v>41788</c:v>
                </c:pt>
                <c:pt idx="107">
                  <c:v>41789</c:v>
                </c:pt>
                <c:pt idx="108">
                  <c:v>41792</c:v>
                </c:pt>
                <c:pt idx="109">
                  <c:v>41793</c:v>
                </c:pt>
                <c:pt idx="110">
                  <c:v>41794</c:v>
                </c:pt>
                <c:pt idx="111">
                  <c:v>41795</c:v>
                </c:pt>
                <c:pt idx="112">
                  <c:v>41796</c:v>
                </c:pt>
                <c:pt idx="113">
                  <c:v>41799</c:v>
                </c:pt>
                <c:pt idx="114">
                  <c:v>41800</c:v>
                </c:pt>
                <c:pt idx="115">
                  <c:v>41801</c:v>
                </c:pt>
                <c:pt idx="116">
                  <c:v>41802</c:v>
                </c:pt>
                <c:pt idx="117">
                  <c:v>41803</c:v>
                </c:pt>
                <c:pt idx="118">
                  <c:v>41806</c:v>
                </c:pt>
                <c:pt idx="119">
                  <c:v>41807</c:v>
                </c:pt>
                <c:pt idx="120">
                  <c:v>41808</c:v>
                </c:pt>
                <c:pt idx="121">
                  <c:v>41809</c:v>
                </c:pt>
                <c:pt idx="122">
                  <c:v>41810</c:v>
                </c:pt>
                <c:pt idx="123">
                  <c:v>41813</c:v>
                </c:pt>
                <c:pt idx="124">
                  <c:v>41814</c:v>
                </c:pt>
                <c:pt idx="125">
                  <c:v>41815</c:v>
                </c:pt>
                <c:pt idx="126">
                  <c:v>41816</c:v>
                </c:pt>
                <c:pt idx="127">
                  <c:v>41817</c:v>
                </c:pt>
                <c:pt idx="128">
                  <c:v>41820</c:v>
                </c:pt>
                <c:pt idx="129">
                  <c:v>41821</c:v>
                </c:pt>
                <c:pt idx="130">
                  <c:v>41822</c:v>
                </c:pt>
                <c:pt idx="131">
                  <c:v>41823</c:v>
                </c:pt>
                <c:pt idx="132">
                  <c:v>41824</c:v>
                </c:pt>
                <c:pt idx="133">
                  <c:v>41827</c:v>
                </c:pt>
                <c:pt idx="134">
                  <c:v>41828</c:v>
                </c:pt>
                <c:pt idx="135">
                  <c:v>41829</c:v>
                </c:pt>
                <c:pt idx="136">
                  <c:v>41830</c:v>
                </c:pt>
                <c:pt idx="137">
                  <c:v>41831</c:v>
                </c:pt>
                <c:pt idx="138">
                  <c:v>41834</c:v>
                </c:pt>
                <c:pt idx="139">
                  <c:v>41835</c:v>
                </c:pt>
                <c:pt idx="140">
                  <c:v>41836</c:v>
                </c:pt>
                <c:pt idx="141">
                  <c:v>41837</c:v>
                </c:pt>
                <c:pt idx="142">
                  <c:v>41838</c:v>
                </c:pt>
                <c:pt idx="143">
                  <c:v>41841</c:v>
                </c:pt>
                <c:pt idx="144">
                  <c:v>41842</c:v>
                </c:pt>
                <c:pt idx="145">
                  <c:v>41843</c:v>
                </c:pt>
                <c:pt idx="146">
                  <c:v>41844</c:v>
                </c:pt>
                <c:pt idx="147">
                  <c:v>41845</c:v>
                </c:pt>
                <c:pt idx="148">
                  <c:v>41848</c:v>
                </c:pt>
                <c:pt idx="149">
                  <c:v>41849</c:v>
                </c:pt>
                <c:pt idx="150">
                  <c:v>41850</c:v>
                </c:pt>
                <c:pt idx="151">
                  <c:v>41851</c:v>
                </c:pt>
                <c:pt idx="152">
                  <c:v>41852</c:v>
                </c:pt>
                <c:pt idx="153">
                  <c:v>41855</c:v>
                </c:pt>
                <c:pt idx="154">
                  <c:v>41856</c:v>
                </c:pt>
                <c:pt idx="155">
                  <c:v>41857</c:v>
                </c:pt>
                <c:pt idx="156">
                  <c:v>41858</c:v>
                </c:pt>
                <c:pt idx="157">
                  <c:v>41859</c:v>
                </c:pt>
                <c:pt idx="158">
                  <c:v>41862</c:v>
                </c:pt>
                <c:pt idx="159">
                  <c:v>41863</c:v>
                </c:pt>
                <c:pt idx="160">
                  <c:v>41864</c:v>
                </c:pt>
                <c:pt idx="161">
                  <c:v>41865</c:v>
                </c:pt>
                <c:pt idx="162">
                  <c:v>41866</c:v>
                </c:pt>
                <c:pt idx="163">
                  <c:v>41869</c:v>
                </c:pt>
                <c:pt idx="164">
                  <c:v>41870</c:v>
                </c:pt>
                <c:pt idx="165">
                  <c:v>41871</c:v>
                </c:pt>
                <c:pt idx="166">
                  <c:v>41872</c:v>
                </c:pt>
                <c:pt idx="167">
                  <c:v>41873</c:v>
                </c:pt>
                <c:pt idx="168">
                  <c:v>41876</c:v>
                </c:pt>
                <c:pt idx="169">
                  <c:v>41877</c:v>
                </c:pt>
                <c:pt idx="170">
                  <c:v>41878</c:v>
                </c:pt>
                <c:pt idx="171">
                  <c:v>41879</c:v>
                </c:pt>
                <c:pt idx="172">
                  <c:v>41880</c:v>
                </c:pt>
                <c:pt idx="173">
                  <c:v>41883</c:v>
                </c:pt>
                <c:pt idx="174">
                  <c:v>41884</c:v>
                </c:pt>
                <c:pt idx="175">
                  <c:v>41885</c:v>
                </c:pt>
                <c:pt idx="176">
                  <c:v>41886</c:v>
                </c:pt>
                <c:pt idx="177">
                  <c:v>41887</c:v>
                </c:pt>
                <c:pt idx="178">
                  <c:v>41890</c:v>
                </c:pt>
                <c:pt idx="179">
                  <c:v>41891</c:v>
                </c:pt>
                <c:pt idx="180">
                  <c:v>41892</c:v>
                </c:pt>
                <c:pt idx="181">
                  <c:v>41893</c:v>
                </c:pt>
                <c:pt idx="182">
                  <c:v>41894</c:v>
                </c:pt>
                <c:pt idx="183">
                  <c:v>41897</c:v>
                </c:pt>
                <c:pt idx="184">
                  <c:v>41898</c:v>
                </c:pt>
                <c:pt idx="185">
                  <c:v>41899</c:v>
                </c:pt>
                <c:pt idx="186">
                  <c:v>41900</c:v>
                </c:pt>
                <c:pt idx="187">
                  <c:v>41901</c:v>
                </c:pt>
                <c:pt idx="188">
                  <c:v>41904</c:v>
                </c:pt>
                <c:pt idx="189">
                  <c:v>41905</c:v>
                </c:pt>
                <c:pt idx="190">
                  <c:v>41906</c:v>
                </c:pt>
                <c:pt idx="191">
                  <c:v>41907</c:v>
                </c:pt>
                <c:pt idx="192">
                  <c:v>41908</c:v>
                </c:pt>
                <c:pt idx="193">
                  <c:v>41911</c:v>
                </c:pt>
                <c:pt idx="194">
                  <c:v>41912</c:v>
                </c:pt>
                <c:pt idx="195">
                  <c:v>41913</c:v>
                </c:pt>
                <c:pt idx="196">
                  <c:v>41914</c:v>
                </c:pt>
                <c:pt idx="197">
                  <c:v>41915</c:v>
                </c:pt>
                <c:pt idx="198">
                  <c:v>41918</c:v>
                </c:pt>
                <c:pt idx="199">
                  <c:v>41919</c:v>
                </c:pt>
                <c:pt idx="200">
                  <c:v>41920</c:v>
                </c:pt>
                <c:pt idx="201">
                  <c:v>41921</c:v>
                </c:pt>
                <c:pt idx="202">
                  <c:v>41922</c:v>
                </c:pt>
                <c:pt idx="203">
                  <c:v>41925</c:v>
                </c:pt>
                <c:pt idx="204">
                  <c:v>41926</c:v>
                </c:pt>
                <c:pt idx="205">
                  <c:v>41927</c:v>
                </c:pt>
                <c:pt idx="206">
                  <c:v>41928</c:v>
                </c:pt>
                <c:pt idx="207">
                  <c:v>41929</c:v>
                </c:pt>
                <c:pt idx="208">
                  <c:v>41932</c:v>
                </c:pt>
                <c:pt idx="209">
                  <c:v>41933</c:v>
                </c:pt>
                <c:pt idx="210">
                  <c:v>41934</c:v>
                </c:pt>
                <c:pt idx="211">
                  <c:v>41935</c:v>
                </c:pt>
                <c:pt idx="212">
                  <c:v>41936</c:v>
                </c:pt>
                <c:pt idx="213">
                  <c:v>41939</c:v>
                </c:pt>
                <c:pt idx="214">
                  <c:v>41940</c:v>
                </c:pt>
                <c:pt idx="215">
                  <c:v>41941</c:v>
                </c:pt>
                <c:pt idx="216">
                  <c:v>41942</c:v>
                </c:pt>
                <c:pt idx="217">
                  <c:v>41943</c:v>
                </c:pt>
                <c:pt idx="218">
                  <c:v>41946</c:v>
                </c:pt>
                <c:pt idx="219">
                  <c:v>41947</c:v>
                </c:pt>
                <c:pt idx="220">
                  <c:v>41948</c:v>
                </c:pt>
                <c:pt idx="221">
                  <c:v>41949</c:v>
                </c:pt>
                <c:pt idx="222">
                  <c:v>41950</c:v>
                </c:pt>
                <c:pt idx="223">
                  <c:v>41953</c:v>
                </c:pt>
                <c:pt idx="224">
                  <c:v>41954</c:v>
                </c:pt>
                <c:pt idx="225">
                  <c:v>41955</c:v>
                </c:pt>
                <c:pt idx="226">
                  <c:v>41956</c:v>
                </c:pt>
                <c:pt idx="227">
                  <c:v>41957</c:v>
                </c:pt>
                <c:pt idx="228">
                  <c:v>41960</c:v>
                </c:pt>
                <c:pt idx="229">
                  <c:v>41961</c:v>
                </c:pt>
                <c:pt idx="230">
                  <c:v>41962</c:v>
                </c:pt>
                <c:pt idx="231">
                  <c:v>41963</c:v>
                </c:pt>
                <c:pt idx="232">
                  <c:v>41964</c:v>
                </c:pt>
                <c:pt idx="233">
                  <c:v>41967</c:v>
                </c:pt>
                <c:pt idx="234">
                  <c:v>41968</c:v>
                </c:pt>
                <c:pt idx="235">
                  <c:v>41969</c:v>
                </c:pt>
                <c:pt idx="236">
                  <c:v>41970</c:v>
                </c:pt>
                <c:pt idx="237">
                  <c:v>41971</c:v>
                </c:pt>
                <c:pt idx="238">
                  <c:v>41974</c:v>
                </c:pt>
                <c:pt idx="239">
                  <c:v>41975</c:v>
                </c:pt>
                <c:pt idx="240">
                  <c:v>41976</c:v>
                </c:pt>
                <c:pt idx="241">
                  <c:v>41977</c:v>
                </c:pt>
                <c:pt idx="242">
                  <c:v>41978</c:v>
                </c:pt>
                <c:pt idx="243">
                  <c:v>41981</c:v>
                </c:pt>
                <c:pt idx="244">
                  <c:v>41982</c:v>
                </c:pt>
                <c:pt idx="245">
                  <c:v>41983</c:v>
                </c:pt>
                <c:pt idx="246">
                  <c:v>41984</c:v>
                </c:pt>
                <c:pt idx="247">
                  <c:v>41985</c:v>
                </c:pt>
                <c:pt idx="248">
                  <c:v>41988</c:v>
                </c:pt>
                <c:pt idx="249">
                  <c:v>41989</c:v>
                </c:pt>
                <c:pt idx="250">
                  <c:v>41990</c:v>
                </c:pt>
                <c:pt idx="251">
                  <c:v>41991</c:v>
                </c:pt>
                <c:pt idx="252">
                  <c:v>41992</c:v>
                </c:pt>
                <c:pt idx="253">
                  <c:v>41995</c:v>
                </c:pt>
                <c:pt idx="254">
                  <c:v>41996</c:v>
                </c:pt>
                <c:pt idx="255">
                  <c:v>41997</c:v>
                </c:pt>
                <c:pt idx="256">
                  <c:v>41998</c:v>
                </c:pt>
                <c:pt idx="257">
                  <c:v>41999</c:v>
                </c:pt>
                <c:pt idx="258">
                  <c:v>42002</c:v>
                </c:pt>
                <c:pt idx="259">
                  <c:v>42003</c:v>
                </c:pt>
                <c:pt idx="260">
                  <c:v>42004</c:v>
                </c:pt>
                <c:pt idx="261">
                  <c:v>42005</c:v>
                </c:pt>
                <c:pt idx="262">
                  <c:v>42006</c:v>
                </c:pt>
                <c:pt idx="263">
                  <c:v>42009</c:v>
                </c:pt>
                <c:pt idx="264">
                  <c:v>42010</c:v>
                </c:pt>
                <c:pt idx="265">
                  <c:v>42011</c:v>
                </c:pt>
                <c:pt idx="266">
                  <c:v>42012</c:v>
                </c:pt>
                <c:pt idx="267">
                  <c:v>42013</c:v>
                </c:pt>
                <c:pt idx="268">
                  <c:v>42016</c:v>
                </c:pt>
                <c:pt idx="269">
                  <c:v>42017</c:v>
                </c:pt>
                <c:pt idx="270">
                  <c:v>42018</c:v>
                </c:pt>
                <c:pt idx="271">
                  <c:v>42019</c:v>
                </c:pt>
                <c:pt idx="272">
                  <c:v>42020</c:v>
                </c:pt>
                <c:pt idx="273">
                  <c:v>42023</c:v>
                </c:pt>
                <c:pt idx="274">
                  <c:v>42024</c:v>
                </c:pt>
                <c:pt idx="275">
                  <c:v>42025</c:v>
                </c:pt>
                <c:pt idx="276">
                  <c:v>42026</c:v>
                </c:pt>
                <c:pt idx="277">
                  <c:v>42027</c:v>
                </c:pt>
                <c:pt idx="278">
                  <c:v>42030</c:v>
                </c:pt>
                <c:pt idx="279">
                  <c:v>42031</c:v>
                </c:pt>
                <c:pt idx="280">
                  <c:v>42032</c:v>
                </c:pt>
                <c:pt idx="281">
                  <c:v>42033</c:v>
                </c:pt>
                <c:pt idx="282">
                  <c:v>42034</c:v>
                </c:pt>
                <c:pt idx="283">
                  <c:v>42037</c:v>
                </c:pt>
                <c:pt idx="284">
                  <c:v>42038</c:v>
                </c:pt>
                <c:pt idx="285">
                  <c:v>42039</c:v>
                </c:pt>
                <c:pt idx="286">
                  <c:v>42040</c:v>
                </c:pt>
                <c:pt idx="287">
                  <c:v>42041</c:v>
                </c:pt>
                <c:pt idx="288">
                  <c:v>42044</c:v>
                </c:pt>
                <c:pt idx="289">
                  <c:v>42045</c:v>
                </c:pt>
                <c:pt idx="290">
                  <c:v>42046</c:v>
                </c:pt>
                <c:pt idx="291">
                  <c:v>42047</c:v>
                </c:pt>
                <c:pt idx="292">
                  <c:v>42048</c:v>
                </c:pt>
                <c:pt idx="293">
                  <c:v>42051</c:v>
                </c:pt>
                <c:pt idx="294">
                  <c:v>42052</c:v>
                </c:pt>
                <c:pt idx="295">
                  <c:v>42053</c:v>
                </c:pt>
                <c:pt idx="296">
                  <c:v>42054</c:v>
                </c:pt>
                <c:pt idx="297">
                  <c:v>42055</c:v>
                </c:pt>
                <c:pt idx="298">
                  <c:v>42058</c:v>
                </c:pt>
                <c:pt idx="299">
                  <c:v>42059</c:v>
                </c:pt>
                <c:pt idx="300">
                  <c:v>42060</c:v>
                </c:pt>
                <c:pt idx="301">
                  <c:v>42061</c:v>
                </c:pt>
                <c:pt idx="302">
                  <c:v>42062</c:v>
                </c:pt>
                <c:pt idx="303">
                  <c:v>42065</c:v>
                </c:pt>
                <c:pt idx="304">
                  <c:v>42066</c:v>
                </c:pt>
                <c:pt idx="305">
                  <c:v>42067</c:v>
                </c:pt>
                <c:pt idx="306">
                  <c:v>42068</c:v>
                </c:pt>
                <c:pt idx="307">
                  <c:v>42069</c:v>
                </c:pt>
                <c:pt idx="308">
                  <c:v>42072</c:v>
                </c:pt>
                <c:pt idx="309">
                  <c:v>42073</c:v>
                </c:pt>
                <c:pt idx="310">
                  <c:v>42074</c:v>
                </c:pt>
                <c:pt idx="311">
                  <c:v>42075</c:v>
                </c:pt>
                <c:pt idx="312">
                  <c:v>42076</c:v>
                </c:pt>
                <c:pt idx="313">
                  <c:v>42079</c:v>
                </c:pt>
                <c:pt idx="314">
                  <c:v>42080</c:v>
                </c:pt>
                <c:pt idx="315">
                  <c:v>42081</c:v>
                </c:pt>
                <c:pt idx="316">
                  <c:v>42082</c:v>
                </c:pt>
                <c:pt idx="317">
                  <c:v>42083</c:v>
                </c:pt>
                <c:pt idx="318">
                  <c:v>42086</c:v>
                </c:pt>
                <c:pt idx="319">
                  <c:v>42087</c:v>
                </c:pt>
                <c:pt idx="320">
                  <c:v>42088</c:v>
                </c:pt>
                <c:pt idx="321">
                  <c:v>42089</c:v>
                </c:pt>
                <c:pt idx="322">
                  <c:v>42090</c:v>
                </c:pt>
                <c:pt idx="323">
                  <c:v>42093</c:v>
                </c:pt>
                <c:pt idx="324">
                  <c:v>42094</c:v>
                </c:pt>
                <c:pt idx="325">
                  <c:v>42095</c:v>
                </c:pt>
                <c:pt idx="326">
                  <c:v>42096</c:v>
                </c:pt>
                <c:pt idx="327">
                  <c:v>42097</c:v>
                </c:pt>
                <c:pt idx="328">
                  <c:v>42100</c:v>
                </c:pt>
                <c:pt idx="329">
                  <c:v>42101</c:v>
                </c:pt>
                <c:pt idx="330">
                  <c:v>42102</c:v>
                </c:pt>
                <c:pt idx="331">
                  <c:v>42103</c:v>
                </c:pt>
                <c:pt idx="332">
                  <c:v>42104</c:v>
                </c:pt>
                <c:pt idx="333">
                  <c:v>42107</c:v>
                </c:pt>
                <c:pt idx="334">
                  <c:v>42108</c:v>
                </c:pt>
                <c:pt idx="335">
                  <c:v>42109</c:v>
                </c:pt>
                <c:pt idx="336">
                  <c:v>42110</c:v>
                </c:pt>
                <c:pt idx="337">
                  <c:v>42111</c:v>
                </c:pt>
                <c:pt idx="338">
                  <c:v>42114</c:v>
                </c:pt>
                <c:pt idx="339">
                  <c:v>42115</c:v>
                </c:pt>
                <c:pt idx="340">
                  <c:v>42116</c:v>
                </c:pt>
                <c:pt idx="341">
                  <c:v>42117</c:v>
                </c:pt>
                <c:pt idx="342">
                  <c:v>42118</c:v>
                </c:pt>
                <c:pt idx="343">
                  <c:v>42121</c:v>
                </c:pt>
                <c:pt idx="344">
                  <c:v>42122</c:v>
                </c:pt>
                <c:pt idx="345">
                  <c:v>42123</c:v>
                </c:pt>
                <c:pt idx="346">
                  <c:v>42124</c:v>
                </c:pt>
                <c:pt idx="347">
                  <c:v>42125</c:v>
                </c:pt>
                <c:pt idx="348">
                  <c:v>42128</c:v>
                </c:pt>
                <c:pt idx="349">
                  <c:v>42129</c:v>
                </c:pt>
                <c:pt idx="350">
                  <c:v>42130</c:v>
                </c:pt>
                <c:pt idx="351">
                  <c:v>42131</c:v>
                </c:pt>
                <c:pt idx="352">
                  <c:v>42132</c:v>
                </c:pt>
                <c:pt idx="353">
                  <c:v>42135</c:v>
                </c:pt>
                <c:pt idx="354">
                  <c:v>42136</c:v>
                </c:pt>
                <c:pt idx="355">
                  <c:v>42137</c:v>
                </c:pt>
                <c:pt idx="356">
                  <c:v>42138</c:v>
                </c:pt>
                <c:pt idx="357">
                  <c:v>42139</c:v>
                </c:pt>
                <c:pt idx="358">
                  <c:v>42142</c:v>
                </c:pt>
                <c:pt idx="359">
                  <c:v>42143</c:v>
                </c:pt>
                <c:pt idx="360">
                  <c:v>42144</c:v>
                </c:pt>
                <c:pt idx="361">
                  <c:v>42145</c:v>
                </c:pt>
                <c:pt idx="362">
                  <c:v>42146</c:v>
                </c:pt>
                <c:pt idx="363">
                  <c:v>42149</c:v>
                </c:pt>
                <c:pt idx="364">
                  <c:v>42150</c:v>
                </c:pt>
                <c:pt idx="365">
                  <c:v>42151</c:v>
                </c:pt>
                <c:pt idx="366">
                  <c:v>42152</c:v>
                </c:pt>
                <c:pt idx="367">
                  <c:v>42153</c:v>
                </c:pt>
                <c:pt idx="368">
                  <c:v>42156</c:v>
                </c:pt>
                <c:pt idx="369">
                  <c:v>42157</c:v>
                </c:pt>
                <c:pt idx="370">
                  <c:v>42158</c:v>
                </c:pt>
                <c:pt idx="371">
                  <c:v>42159</c:v>
                </c:pt>
                <c:pt idx="372">
                  <c:v>42160</c:v>
                </c:pt>
                <c:pt idx="373">
                  <c:v>42163</c:v>
                </c:pt>
                <c:pt idx="374">
                  <c:v>42164</c:v>
                </c:pt>
                <c:pt idx="375">
                  <c:v>42165</c:v>
                </c:pt>
                <c:pt idx="376">
                  <c:v>42166</c:v>
                </c:pt>
                <c:pt idx="377">
                  <c:v>42167</c:v>
                </c:pt>
                <c:pt idx="378">
                  <c:v>42170</c:v>
                </c:pt>
                <c:pt idx="379">
                  <c:v>42171</c:v>
                </c:pt>
                <c:pt idx="380">
                  <c:v>42172</c:v>
                </c:pt>
                <c:pt idx="381">
                  <c:v>42173</c:v>
                </c:pt>
                <c:pt idx="382">
                  <c:v>42174</c:v>
                </c:pt>
                <c:pt idx="383">
                  <c:v>42177</c:v>
                </c:pt>
                <c:pt idx="384">
                  <c:v>42178</c:v>
                </c:pt>
                <c:pt idx="385">
                  <c:v>42179</c:v>
                </c:pt>
                <c:pt idx="386">
                  <c:v>42180</c:v>
                </c:pt>
                <c:pt idx="387">
                  <c:v>42181</c:v>
                </c:pt>
                <c:pt idx="388">
                  <c:v>42184</c:v>
                </c:pt>
                <c:pt idx="389">
                  <c:v>42185</c:v>
                </c:pt>
                <c:pt idx="390">
                  <c:v>42186</c:v>
                </c:pt>
                <c:pt idx="391">
                  <c:v>42187</c:v>
                </c:pt>
                <c:pt idx="392">
                  <c:v>42188</c:v>
                </c:pt>
                <c:pt idx="393">
                  <c:v>42191</c:v>
                </c:pt>
                <c:pt idx="394">
                  <c:v>42192</c:v>
                </c:pt>
                <c:pt idx="395">
                  <c:v>42193</c:v>
                </c:pt>
                <c:pt idx="396">
                  <c:v>42194</c:v>
                </c:pt>
                <c:pt idx="397">
                  <c:v>42195</c:v>
                </c:pt>
                <c:pt idx="398">
                  <c:v>42198</c:v>
                </c:pt>
                <c:pt idx="399">
                  <c:v>42199</c:v>
                </c:pt>
                <c:pt idx="400">
                  <c:v>42200</c:v>
                </c:pt>
                <c:pt idx="401">
                  <c:v>42201</c:v>
                </c:pt>
                <c:pt idx="402">
                  <c:v>42202</c:v>
                </c:pt>
                <c:pt idx="403">
                  <c:v>42205</c:v>
                </c:pt>
                <c:pt idx="404">
                  <c:v>42206</c:v>
                </c:pt>
                <c:pt idx="405">
                  <c:v>42207</c:v>
                </c:pt>
                <c:pt idx="406">
                  <c:v>42208</c:v>
                </c:pt>
                <c:pt idx="407">
                  <c:v>42209</c:v>
                </c:pt>
                <c:pt idx="408">
                  <c:v>42212</c:v>
                </c:pt>
                <c:pt idx="409">
                  <c:v>42213</c:v>
                </c:pt>
                <c:pt idx="410">
                  <c:v>42214</c:v>
                </c:pt>
                <c:pt idx="411">
                  <c:v>42215</c:v>
                </c:pt>
                <c:pt idx="412">
                  <c:v>42216</c:v>
                </c:pt>
                <c:pt idx="413">
                  <c:v>42219</c:v>
                </c:pt>
                <c:pt idx="414">
                  <c:v>42220</c:v>
                </c:pt>
                <c:pt idx="415">
                  <c:v>42221</c:v>
                </c:pt>
                <c:pt idx="416">
                  <c:v>42222</c:v>
                </c:pt>
                <c:pt idx="417">
                  <c:v>42223</c:v>
                </c:pt>
                <c:pt idx="418">
                  <c:v>42226</c:v>
                </c:pt>
                <c:pt idx="419">
                  <c:v>42227</c:v>
                </c:pt>
                <c:pt idx="420">
                  <c:v>42228</c:v>
                </c:pt>
                <c:pt idx="421">
                  <c:v>42229</c:v>
                </c:pt>
                <c:pt idx="422">
                  <c:v>42230</c:v>
                </c:pt>
                <c:pt idx="423">
                  <c:v>42233</c:v>
                </c:pt>
                <c:pt idx="424">
                  <c:v>42234</c:v>
                </c:pt>
                <c:pt idx="425">
                  <c:v>42235</c:v>
                </c:pt>
                <c:pt idx="426">
                  <c:v>42236</c:v>
                </c:pt>
                <c:pt idx="427">
                  <c:v>42237</c:v>
                </c:pt>
                <c:pt idx="428">
                  <c:v>42240</c:v>
                </c:pt>
                <c:pt idx="429">
                  <c:v>42241</c:v>
                </c:pt>
                <c:pt idx="430">
                  <c:v>42242</c:v>
                </c:pt>
                <c:pt idx="431">
                  <c:v>42243</c:v>
                </c:pt>
                <c:pt idx="432">
                  <c:v>42244</c:v>
                </c:pt>
                <c:pt idx="433">
                  <c:v>42247</c:v>
                </c:pt>
                <c:pt idx="434">
                  <c:v>42248</c:v>
                </c:pt>
                <c:pt idx="435">
                  <c:v>42249</c:v>
                </c:pt>
                <c:pt idx="436">
                  <c:v>42250</c:v>
                </c:pt>
                <c:pt idx="437">
                  <c:v>42251</c:v>
                </c:pt>
                <c:pt idx="438">
                  <c:v>42254</c:v>
                </c:pt>
                <c:pt idx="439">
                  <c:v>42255</c:v>
                </c:pt>
                <c:pt idx="440">
                  <c:v>42256</c:v>
                </c:pt>
                <c:pt idx="441">
                  <c:v>42257</c:v>
                </c:pt>
                <c:pt idx="442">
                  <c:v>42258</c:v>
                </c:pt>
                <c:pt idx="443">
                  <c:v>42261</c:v>
                </c:pt>
                <c:pt idx="444">
                  <c:v>42262</c:v>
                </c:pt>
                <c:pt idx="445">
                  <c:v>42263</c:v>
                </c:pt>
                <c:pt idx="446">
                  <c:v>42264</c:v>
                </c:pt>
                <c:pt idx="447">
                  <c:v>42265</c:v>
                </c:pt>
                <c:pt idx="448">
                  <c:v>42268</c:v>
                </c:pt>
                <c:pt idx="449">
                  <c:v>42269</c:v>
                </c:pt>
                <c:pt idx="450">
                  <c:v>42270</c:v>
                </c:pt>
                <c:pt idx="451">
                  <c:v>42271</c:v>
                </c:pt>
                <c:pt idx="452">
                  <c:v>42272</c:v>
                </c:pt>
                <c:pt idx="453">
                  <c:v>42275</c:v>
                </c:pt>
                <c:pt idx="454">
                  <c:v>42276</c:v>
                </c:pt>
                <c:pt idx="455">
                  <c:v>42277</c:v>
                </c:pt>
                <c:pt idx="456">
                  <c:v>42278</c:v>
                </c:pt>
                <c:pt idx="457">
                  <c:v>42279</c:v>
                </c:pt>
                <c:pt idx="458">
                  <c:v>42282</c:v>
                </c:pt>
                <c:pt idx="459">
                  <c:v>42283</c:v>
                </c:pt>
                <c:pt idx="460">
                  <c:v>42284</c:v>
                </c:pt>
                <c:pt idx="461">
                  <c:v>42285</c:v>
                </c:pt>
                <c:pt idx="462">
                  <c:v>42286</c:v>
                </c:pt>
                <c:pt idx="463">
                  <c:v>42289</c:v>
                </c:pt>
                <c:pt idx="464">
                  <c:v>42290</c:v>
                </c:pt>
                <c:pt idx="465">
                  <c:v>42291</c:v>
                </c:pt>
                <c:pt idx="466">
                  <c:v>42292</c:v>
                </c:pt>
                <c:pt idx="467">
                  <c:v>42293</c:v>
                </c:pt>
                <c:pt idx="468">
                  <c:v>42296</c:v>
                </c:pt>
                <c:pt idx="469">
                  <c:v>42297</c:v>
                </c:pt>
                <c:pt idx="470">
                  <c:v>42298</c:v>
                </c:pt>
                <c:pt idx="471">
                  <c:v>42299</c:v>
                </c:pt>
                <c:pt idx="472">
                  <c:v>42300</c:v>
                </c:pt>
                <c:pt idx="473">
                  <c:v>42303</c:v>
                </c:pt>
                <c:pt idx="474">
                  <c:v>42304</c:v>
                </c:pt>
                <c:pt idx="475">
                  <c:v>42305</c:v>
                </c:pt>
                <c:pt idx="476">
                  <c:v>42306</c:v>
                </c:pt>
                <c:pt idx="477">
                  <c:v>42307</c:v>
                </c:pt>
                <c:pt idx="478">
                  <c:v>42310</c:v>
                </c:pt>
                <c:pt idx="479">
                  <c:v>42311</c:v>
                </c:pt>
                <c:pt idx="480">
                  <c:v>42312</c:v>
                </c:pt>
                <c:pt idx="481">
                  <c:v>42313</c:v>
                </c:pt>
                <c:pt idx="482">
                  <c:v>42314</c:v>
                </c:pt>
                <c:pt idx="483">
                  <c:v>42317</c:v>
                </c:pt>
                <c:pt idx="484">
                  <c:v>42318</c:v>
                </c:pt>
                <c:pt idx="485">
                  <c:v>42319</c:v>
                </c:pt>
                <c:pt idx="486">
                  <c:v>42320</c:v>
                </c:pt>
                <c:pt idx="487">
                  <c:v>42321</c:v>
                </c:pt>
                <c:pt idx="488">
                  <c:v>42324</c:v>
                </c:pt>
                <c:pt idx="489">
                  <c:v>42325</c:v>
                </c:pt>
                <c:pt idx="490">
                  <c:v>42326</c:v>
                </c:pt>
                <c:pt idx="491">
                  <c:v>42327</c:v>
                </c:pt>
                <c:pt idx="492">
                  <c:v>42328</c:v>
                </c:pt>
                <c:pt idx="493">
                  <c:v>42331</c:v>
                </c:pt>
                <c:pt idx="494">
                  <c:v>42332</c:v>
                </c:pt>
                <c:pt idx="495">
                  <c:v>42333</c:v>
                </c:pt>
                <c:pt idx="496">
                  <c:v>42334</c:v>
                </c:pt>
                <c:pt idx="497">
                  <c:v>42335</c:v>
                </c:pt>
                <c:pt idx="498">
                  <c:v>42338</c:v>
                </c:pt>
                <c:pt idx="499">
                  <c:v>42339</c:v>
                </c:pt>
                <c:pt idx="500">
                  <c:v>42340</c:v>
                </c:pt>
                <c:pt idx="501">
                  <c:v>42341</c:v>
                </c:pt>
                <c:pt idx="502">
                  <c:v>42342</c:v>
                </c:pt>
                <c:pt idx="503">
                  <c:v>42345</c:v>
                </c:pt>
                <c:pt idx="504">
                  <c:v>42346</c:v>
                </c:pt>
                <c:pt idx="505">
                  <c:v>42347</c:v>
                </c:pt>
                <c:pt idx="506">
                  <c:v>42348</c:v>
                </c:pt>
                <c:pt idx="507">
                  <c:v>42349</c:v>
                </c:pt>
                <c:pt idx="508">
                  <c:v>42352</c:v>
                </c:pt>
                <c:pt idx="509">
                  <c:v>42353</c:v>
                </c:pt>
                <c:pt idx="510">
                  <c:v>42354</c:v>
                </c:pt>
                <c:pt idx="511">
                  <c:v>42355</c:v>
                </c:pt>
                <c:pt idx="512">
                  <c:v>42356</c:v>
                </c:pt>
                <c:pt idx="513">
                  <c:v>42359</c:v>
                </c:pt>
                <c:pt idx="514">
                  <c:v>42360</c:v>
                </c:pt>
                <c:pt idx="515">
                  <c:v>42361</c:v>
                </c:pt>
                <c:pt idx="516">
                  <c:v>42362</c:v>
                </c:pt>
                <c:pt idx="517">
                  <c:v>42363</c:v>
                </c:pt>
                <c:pt idx="518">
                  <c:v>42366</c:v>
                </c:pt>
                <c:pt idx="519">
                  <c:v>42367</c:v>
                </c:pt>
                <c:pt idx="520">
                  <c:v>42368</c:v>
                </c:pt>
                <c:pt idx="521">
                  <c:v>42369</c:v>
                </c:pt>
                <c:pt idx="522">
                  <c:v>42370</c:v>
                </c:pt>
                <c:pt idx="523">
                  <c:v>42373</c:v>
                </c:pt>
                <c:pt idx="524">
                  <c:v>42374</c:v>
                </c:pt>
                <c:pt idx="525">
                  <c:v>42375</c:v>
                </c:pt>
                <c:pt idx="526">
                  <c:v>42376</c:v>
                </c:pt>
                <c:pt idx="527">
                  <c:v>42377</c:v>
                </c:pt>
                <c:pt idx="528">
                  <c:v>42380</c:v>
                </c:pt>
                <c:pt idx="529">
                  <c:v>42381</c:v>
                </c:pt>
                <c:pt idx="530">
                  <c:v>42382</c:v>
                </c:pt>
                <c:pt idx="531">
                  <c:v>42383</c:v>
                </c:pt>
                <c:pt idx="532">
                  <c:v>42384</c:v>
                </c:pt>
                <c:pt idx="533">
                  <c:v>42387</c:v>
                </c:pt>
                <c:pt idx="534">
                  <c:v>42388</c:v>
                </c:pt>
                <c:pt idx="535">
                  <c:v>42389</c:v>
                </c:pt>
                <c:pt idx="536">
                  <c:v>42390</c:v>
                </c:pt>
                <c:pt idx="537">
                  <c:v>42391</c:v>
                </c:pt>
                <c:pt idx="538">
                  <c:v>42394</c:v>
                </c:pt>
                <c:pt idx="539">
                  <c:v>42395</c:v>
                </c:pt>
                <c:pt idx="540">
                  <c:v>42396</c:v>
                </c:pt>
                <c:pt idx="541">
                  <c:v>42397</c:v>
                </c:pt>
                <c:pt idx="542">
                  <c:v>42398</c:v>
                </c:pt>
                <c:pt idx="543">
                  <c:v>42401</c:v>
                </c:pt>
                <c:pt idx="544">
                  <c:v>42402</c:v>
                </c:pt>
                <c:pt idx="545">
                  <c:v>42403</c:v>
                </c:pt>
                <c:pt idx="546">
                  <c:v>42404</c:v>
                </c:pt>
                <c:pt idx="547">
                  <c:v>42405</c:v>
                </c:pt>
                <c:pt idx="548">
                  <c:v>42408</c:v>
                </c:pt>
                <c:pt idx="549">
                  <c:v>42409</c:v>
                </c:pt>
                <c:pt idx="550">
                  <c:v>42410</c:v>
                </c:pt>
                <c:pt idx="551">
                  <c:v>42411</c:v>
                </c:pt>
                <c:pt idx="552">
                  <c:v>42412</c:v>
                </c:pt>
                <c:pt idx="553">
                  <c:v>42415</c:v>
                </c:pt>
                <c:pt idx="554">
                  <c:v>42416</c:v>
                </c:pt>
                <c:pt idx="555">
                  <c:v>42417</c:v>
                </c:pt>
                <c:pt idx="556">
                  <c:v>42418</c:v>
                </c:pt>
                <c:pt idx="557">
                  <c:v>42419</c:v>
                </c:pt>
                <c:pt idx="558">
                  <c:v>42422</c:v>
                </c:pt>
                <c:pt idx="559">
                  <c:v>42423</c:v>
                </c:pt>
                <c:pt idx="560">
                  <c:v>42424</c:v>
                </c:pt>
                <c:pt idx="561">
                  <c:v>42425</c:v>
                </c:pt>
                <c:pt idx="562">
                  <c:v>42426</c:v>
                </c:pt>
                <c:pt idx="563">
                  <c:v>42429</c:v>
                </c:pt>
                <c:pt idx="564">
                  <c:v>42430</c:v>
                </c:pt>
                <c:pt idx="565">
                  <c:v>42431</c:v>
                </c:pt>
                <c:pt idx="566">
                  <c:v>42432</c:v>
                </c:pt>
                <c:pt idx="567">
                  <c:v>42433</c:v>
                </c:pt>
                <c:pt idx="568">
                  <c:v>42436</c:v>
                </c:pt>
                <c:pt idx="569">
                  <c:v>42437</c:v>
                </c:pt>
                <c:pt idx="570">
                  <c:v>42438</c:v>
                </c:pt>
                <c:pt idx="571">
                  <c:v>42439</c:v>
                </c:pt>
                <c:pt idx="572">
                  <c:v>42440</c:v>
                </c:pt>
                <c:pt idx="573">
                  <c:v>42443</c:v>
                </c:pt>
                <c:pt idx="574">
                  <c:v>42444</c:v>
                </c:pt>
                <c:pt idx="575">
                  <c:v>42445</c:v>
                </c:pt>
                <c:pt idx="576">
                  <c:v>42446</c:v>
                </c:pt>
                <c:pt idx="577">
                  <c:v>42447</c:v>
                </c:pt>
                <c:pt idx="578">
                  <c:v>42450</c:v>
                </c:pt>
                <c:pt idx="579">
                  <c:v>42451</c:v>
                </c:pt>
                <c:pt idx="580">
                  <c:v>42452</c:v>
                </c:pt>
                <c:pt idx="581">
                  <c:v>42453</c:v>
                </c:pt>
                <c:pt idx="582">
                  <c:v>42454</c:v>
                </c:pt>
                <c:pt idx="583">
                  <c:v>42457</c:v>
                </c:pt>
                <c:pt idx="584">
                  <c:v>42458</c:v>
                </c:pt>
                <c:pt idx="585">
                  <c:v>42459</c:v>
                </c:pt>
                <c:pt idx="586">
                  <c:v>42460</c:v>
                </c:pt>
                <c:pt idx="587">
                  <c:v>42461</c:v>
                </c:pt>
                <c:pt idx="588">
                  <c:v>42464</c:v>
                </c:pt>
                <c:pt idx="589">
                  <c:v>42465</c:v>
                </c:pt>
                <c:pt idx="590">
                  <c:v>42466</c:v>
                </c:pt>
                <c:pt idx="591">
                  <c:v>42467</c:v>
                </c:pt>
                <c:pt idx="592">
                  <c:v>42468</c:v>
                </c:pt>
                <c:pt idx="593">
                  <c:v>42471</c:v>
                </c:pt>
                <c:pt idx="594">
                  <c:v>42472</c:v>
                </c:pt>
                <c:pt idx="595">
                  <c:v>42473</c:v>
                </c:pt>
                <c:pt idx="596">
                  <c:v>42474</c:v>
                </c:pt>
                <c:pt idx="597">
                  <c:v>42475</c:v>
                </c:pt>
                <c:pt idx="598">
                  <c:v>42478</c:v>
                </c:pt>
                <c:pt idx="599">
                  <c:v>42479</c:v>
                </c:pt>
                <c:pt idx="600">
                  <c:v>42480</c:v>
                </c:pt>
                <c:pt idx="601">
                  <c:v>42481</c:v>
                </c:pt>
                <c:pt idx="602">
                  <c:v>42482</c:v>
                </c:pt>
                <c:pt idx="603">
                  <c:v>42485</c:v>
                </c:pt>
                <c:pt idx="604">
                  <c:v>42486</c:v>
                </c:pt>
                <c:pt idx="605">
                  <c:v>42487</c:v>
                </c:pt>
                <c:pt idx="606">
                  <c:v>42488</c:v>
                </c:pt>
                <c:pt idx="607">
                  <c:v>42489</c:v>
                </c:pt>
                <c:pt idx="608">
                  <c:v>42492</c:v>
                </c:pt>
                <c:pt idx="609">
                  <c:v>42493</c:v>
                </c:pt>
                <c:pt idx="610">
                  <c:v>42494</c:v>
                </c:pt>
                <c:pt idx="611">
                  <c:v>42495</c:v>
                </c:pt>
                <c:pt idx="612">
                  <c:v>42496</c:v>
                </c:pt>
                <c:pt idx="613">
                  <c:v>42499</c:v>
                </c:pt>
                <c:pt idx="614">
                  <c:v>42500</c:v>
                </c:pt>
                <c:pt idx="615">
                  <c:v>42501</c:v>
                </c:pt>
                <c:pt idx="616">
                  <c:v>42502</c:v>
                </c:pt>
                <c:pt idx="617">
                  <c:v>42503</c:v>
                </c:pt>
                <c:pt idx="618">
                  <c:v>42506</c:v>
                </c:pt>
                <c:pt idx="619">
                  <c:v>42507</c:v>
                </c:pt>
                <c:pt idx="620">
                  <c:v>42508</c:v>
                </c:pt>
                <c:pt idx="621">
                  <c:v>42509</c:v>
                </c:pt>
                <c:pt idx="622">
                  <c:v>42510</c:v>
                </c:pt>
                <c:pt idx="623">
                  <c:v>42513</c:v>
                </c:pt>
                <c:pt idx="624">
                  <c:v>42514</c:v>
                </c:pt>
                <c:pt idx="625">
                  <c:v>42515</c:v>
                </c:pt>
                <c:pt idx="626">
                  <c:v>42516</c:v>
                </c:pt>
                <c:pt idx="627">
                  <c:v>42517</c:v>
                </c:pt>
                <c:pt idx="628">
                  <c:v>42520</c:v>
                </c:pt>
                <c:pt idx="629">
                  <c:v>42521</c:v>
                </c:pt>
                <c:pt idx="630">
                  <c:v>42522</c:v>
                </c:pt>
                <c:pt idx="631">
                  <c:v>42523</c:v>
                </c:pt>
                <c:pt idx="632">
                  <c:v>42524</c:v>
                </c:pt>
                <c:pt idx="633">
                  <c:v>42527</c:v>
                </c:pt>
                <c:pt idx="634">
                  <c:v>42528</c:v>
                </c:pt>
                <c:pt idx="635">
                  <c:v>42529</c:v>
                </c:pt>
                <c:pt idx="636">
                  <c:v>42530</c:v>
                </c:pt>
                <c:pt idx="637">
                  <c:v>42531</c:v>
                </c:pt>
                <c:pt idx="638">
                  <c:v>42534</c:v>
                </c:pt>
                <c:pt idx="639">
                  <c:v>42535</c:v>
                </c:pt>
                <c:pt idx="640">
                  <c:v>42536</c:v>
                </c:pt>
                <c:pt idx="641">
                  <c:v>42537</c:v>
                </c:pt>
                <c:pt idx="642">
                  <c:v>42538</c:v>
                </c:pt>
                <c:pt idx="643">
                  <c:v>42541</c:v>
                </c:pt>
                <c:pt idx="644">
                  <c:v>42542</c:v>
                </c:pt>
                <c:pt idx="645">
                  <c:v>42543</c:v>
                </c:pt>
                <c:pt idx="646">
                  <c:v>42544</c:v>
                </c:pt>
                <c:pt idx="647">
                  <c:v>42545</c:v>
                </c:pt>
                <c:pt idx="648">
                  <c:v>42548</c:v>
                </c:pt>
                <c:pt idx="649">
                  <c:v>42549</c:v>
                </c:pt>
                <c:pt idx="650">
                  <c:v>42550</c:v>
                </c:pt>
                <c:pt idx="651">
                  <c:v>42551</c:v>
                </c:pt>
                <c:pt idx="652">
                  <c:v>42552</c:v>
                </c:pt>
                <c:pt idx="653">
                  <c:v>42555</c:v>
                </c:pt>
                <c:pt idx="654">
                  <c:v>42556</c:v>
                </c:pt>
                <c:pt idx="655">
                  <c:v>42557</c:v>
                </c:pt>
                <c:pt idx="656">
                  <c:v>42558</c:v>
                </c:pt>
                <c:pt idx="657">
                  <c:v>42559</c:v>
                </c:pt>
                <c:pt idx="658">
                  <c:v>42562</c:v>
                </c:pt>
                <c:pt idx="659">
                  <c:v>42563</c:v>
                </c:pt>
                <c:pt idx="660">
                  <c:v>42564</c:v>
                </c:pt>
                <c:pt idx="661">
                  <c:v>42565</c:v>
                </c:pt>
                <c:pt idx="662">
                  <c:v>42566</c:v>
                </c:pt>
                <c:pt idx="663">
                  <c:v>42569</c:v>
                </c:pt>
                <c:pt idx="664">
                  <c:v>42570</c:v>
                </c:pt>
                <c:pt idx="665">
                  <c:v>42571</c:v>
                </c:pt>
                <c:pt idx="666">
                  <c:v>42572</c:v>
                </c:pt>
                <c:pt idx="667">
                  <c:v>42573</c:v>
                </c:pt>
                <c:pt idx="668">
                  <c:v>42576</c:v>
                </c:pt>
                <c:pt idx="669">
                  <c:v>42577</c:v>
                </c:pt>
                <c:pt idx="670">
                  <c:v>42578</c:v>
                </c:pt>
                <c:pt idx="671">
                  <c:v>42579</c:v>
                </c:pt>
                <c:pt idx="672">
                  <c:v>42580</c:v>
                </c:pt>
                <c:pt idx="673">
                  <c:v>42583</c:v>
                </c:pt>
                <c:pt idx="674">
                  <c:v>42584</c:v>
                </c:pt>
                <c:pt idx="675">
                  <c:v>42585</c:v>
                </c:pt>
                <c:pt idx="676">
                  <c:v>42586</c:v>
                </c:pt>
                <c:pt idx="677">
                  <c:v>42587</c:v>
                </c:pt>
                <c:pt idx="678">
                  <c:v>42590</c:v>
                </c:pt>
                <c:pt idx="679">
                  <c:v>42591</c:v>
                </c:pt>
                <c:pt idx="680">
                  <c:v>42592</c:v>
                </c:pt>
                <c:pt idx="681">
                  <c:v>42593</c:v>
                </c:pt>
                <c:pt idx="682">
                  <c:v>42594</c:v>
                </c:pt>
                <c:pt idx="683">
                  <c:v>42597</c:v>
                </c:pt>
                <c:pt idx="684">
                  <c:v>42598</c:v>
                </c:pt>
                <c:pt idx="685">
                  <c:v>42599</c:v>
                </c:pt>
                <c:pt idx="686">
                  <c:v>42600</c:v>
                </c:pt>
                <c:pt idx="687">
                  <c:v>42601</c:v>
                </c:pt>
                <c:pt idx="688">
                  <c:v>42604</c:v>
                </c:pt>
                <c:pt idx="689">
                  <c:v>42605</c:v>
                </c:pt>
                <c:pt idx="690">
                  <c:v>42606</c:v>
                </c:pt>
                <c:pt idx="691">
                  <c:v>42607</c:v>
                </c:pt>
                <c:pt idx="692">
                  <c:v>42608</c:v>
                </c:pt>
                <c:pt idx="693">
                  <c:v>42611</c:v>
                </c:pt>
                <c:pt idx="694">
                  <c:v>42612</c:v>
                </c:pt>
                <c:pt idx="695">
                  <c:v>42613</c:v>
                </c:pt>
                <c:pt idx="696">
                  <c:v>42614</c:v>
                </c:pt>
                <c:pt idx="697">
                  <c:v>42615</c:v>
                </c:pt>
                <c:pt idx="698">
                  <c:v>42618</c:v>
                </c:pt>
                <c:pt idx="699">
                  <c:v>42619</c:v>
                </c:pt>
                <c:pt idx="700">
                  <c:v>42620</c:v>
                </c:pt>
                <c:pt idx="701">
                  <c:v>42621</c:v>
                </c:pt>
                <c:pt idx="702">
                  <c:v>42622</c:v>
                </c:pt>
                <c:pt idx="703">
                  <c:v>42625</c:v>
                </c:pt>
                <c:pt idx="704">
                  <c:v>42626</c:v>
                </c:pt>
                <c:pt idx="705">
                  <c:v>42627</c:v>
                </c:pt>
                <c:pt idx="706">
                  <c:v>42628</c:v>
                </c:pt>
                <c:pt idx="707">
                  <c:v>42629</c:v>
                </c:pt>
                <c:pt idx="708">
                  <c:v>42632</c:v>
                </c:pt>
                <c:pt idx="709">
                  <c:v>42633</c:v>
                </c:pt>
                <c:pt idx="710">
                  <c:v>42634</c:v>
                </c:pt>
                <c:pt idx="711">
                  <c:v>42635</c:v>
                </c:pt>
                <c:pt idx="712">
                  <c:v>42636</c:v>
                </c:pt>
                <c:pt idx="713">
                  <c:v>42639</c:v>
                </c:pt>
                <c:pt idx="714">
                  <c:v>42640</c:v>
                </c:pt>
                <c:pt idx="715">
                  <c:v>42641</c:v>
                </c:pt>
                <c:pt idx="716">
                  <c:v>42642</c:v>
                </c:pt>
                <c:pt idx="717">
                  <c:v>42643</c:v>
                </c:pt>
                <c:pt idx="718">
                  <c:v>42646</c:v>
                </c:pt>
                <c:pt idx="719">
                  <c:v>42647</c:v>
                </c:pt>
                <c:pt idx="720">
                  <c:v>42648</c:v>
                </c:pt>
                <c:pt idx="721">
                  <c:v>42649</c:v>
                </c:pt>
                <c:pt idx="722">
                  <c:v>42650</c:v>
                </c:pt>
                <c:pt idx="723">
                  <c:v>42653</c:v>
                </c:pt>
                <c:pt idx="724">
                  <c:v>42654</c:v>
                </c:pt>
                <c:pt idx="725">
                  <c:v>42655</c:v>
                </c:pt>
                <c:pt idx="726">
                  <c:v>42656</c:v>
                </c:pt>
                <c:pt idx="727">
                  <c:v>42657</c:v>
                </c:pt>
                <c:pt idx="728">
                  <c:v>42660</c:v>
                </c:pt>
                <c:pt idx="729">
                  <c:v>42661</c:v>
                </c:pt>
                <c:pt idx="730">
                  <c:v>42662</c:v>
                </c:pt>
                <c:pt idx="731">
                  <c:v>42663</c:v>
                </c:pt>
                <c:pt idx="732">
                  <c:v>42664</c:v>
                </c:pt>
                <c:pt idx="733">
                  <c:v>42667</c:v>
                </c:pt>
                <c:pt idx="734">
                  <c:v>42668</c:v>
                </c:pt>
                <c:pt idx="735">
                  <c:v>42669</c:v>
                </c:pt>
                <c:pt idx="736">
                  <c:v>42670</c:v>
                </c:pt>
                <c:pt idx="737">
                  <c:v>42671</c:v>
                </c:pt>
                <c:pt idx="738">
                  <c:v>42674</c:v>
                </c:pt>
                <c:pt idx="739">
                  <c:v>42675</c:v>
                </c:pt>
                <c:pt idx="740">
                  <c:v>42676</c:v>
                </c:pt>
                <c:pt idx="741">
                  <c:v>42677</c:v>
                </c:pt>
                <c:pt idx="742">
                  <c:v>42678</c:v>
                </c:pt>
                <c:pt idx="743">
                  <c:v>42681</c:v>
                </c:pt>
                <c:pt idx="744">
                  <c:v>42682</c:v>
                </c:pt>
                <c:pt idx="745">
                  <c:v>42683</c:v>
                </c:pt>
                <c:pt idx="746">
                  <c:v>42684</c:v>
                </c:pt>
                <c:pt idx="747">
                  <c:v>42685</c:v>
                </c:pt>
                <c:pt idx="748">
                  <c:v>42688</c:v>
                </c:pt>
                <c:pt idx="749">
                  <c:v>42689</c:v>
                </c:pt>
                <c:pt idx="750">
                  <c:v>42690</c:v>
                </c:pt>
                <c:pt idx="751">
                  <c:v>42691</c:v>
                </c:pt>
                <c:pt idx="752">
                  <c:v>42692</c:v>
                </c:pt>
                <c:pt idx="753">
                  <c:v>42695</c:v>
                </c:pt>
                <c:pt idx="754">
                  <c:v>42696</c:v>
                </c:pt>
                <c:pt idx="755">
                  <c:v>42697</c:v>
                </c:pt>
                <c:pt idx="756">
                  <c:v>42698</c:v>
                </c:pt>
                <c:pt idx="757">
                  <c:v>42699</c:v>
                </c:pt>
                <c:pt idx="758">
                  <c:v>42702</c:v>
                </c:pt>
                <c:pt idx="759">
                  <c:v>42703</c:v>
                </c:pt>
                <c:pt idx="760">
                  <c:v>42704</c:v>
                </c:pt>
                <c:pt idx="761">
                  <c:v>42705</c:v>
                </c:pt>
                <c:pt idx="762">
                  <c:v>42706</c:v>
                </c:pt>
                <c:pt idx="763">
                  <c:v>42709</c:v>
                </c:pt>
                <c:pt idx="764">
                  <c:v>42710</c:v>
                </c:pt>
                <c:pt idx="765">
                  <c:v>42711</c:v>
                </c:pt>
                <c:pt idx="766">
                  <c:v>42712</c:v>
                </c:pt>
                <c:pt idx="767">
                  <c:v>42713</c:v>
                </c:pt>
                <c:pt idx="768">
                  <c:v>42716</c:v>
                </c:pt>
                <c:pt idx="769">
                  <c:v>42717</c:v>
                </c:pt>
                <c:pt idx="770">
                  <c:v>42718</c:v>
                </c:pt>
                <c:pt idx="771">
                  <c:v>42719</c:v>
                </c:pt>
                <c:pt idx="772">
                  <c:v>42720</c:v>
                </c:pt>
                <c:pt idx="773">
                  <c:v>42723</c:v>
                </c:pt>
                <c:pt idx="774">
                  <c:v>42724</c:v>
                </c:pt>
                <c:pt idx="775">
                  <c:v>42725</c:v>
                </c:pt>
                <c:pt idx="776">
                  <c:v>42726</c:v>
                </c:pt>
                <c:pt idx="777">
                  <c:v>42727</c:v>
                </c:pt>
                <c:pt idx="778">
                  <c:v>42730</c:v>
                </c:pt>
                <c:pt idx="779">
                  <c:v>42731</c:v>
                </c:pt>
                <c:pt idx="780">
                  <c:v>42732</c:v>
                </c:pt>
                <c:pt idx="781">
                  <c:v>42733</c:v>
                </c:pt>
                <c:pt idx="782">
                  <c:v>42734</c:v>
                </c:pt>
                <c:pt idx="783">
                  <c:v>42737</c:v>
                </c:pt>
                <c:pt idx="784">
                  <c:v>42738</c:v>
                </c:pt>
                <c:pt idx="785">
                  <c:v>42739</c:v>
                </c:pt>
                <c:pt idx="786">
                  <c:v>42740</c:v>
                </c:pt>
                <c:pt idx="787">
                  <c:v>42741</c:v>
                </c:pt>
                <c:pt idx="788">
                  <c:v>42744</c:v>
                </c:pt>
                <c:pt idx="789">
                  <c:v>42745</c:v>
                </c:pt>
                <c:pt idx="790">
                  <c:v>42746</c:v>
                </c:pt>
                <c:pt idx="791">
                  <c:v>42747</c:v>
                </c:pt>
                <c:pt idx="792">
                  <c:v>42748</c:v>
                </c:pt>
                <c:pt idx="793">
                  <c:v>42751</c:v>
                </c:pt>
                <c:pt idx="794">
                  <c:v>42752</c:v>
                </c:pt>
                <c:pt idx="795">
                  <c:v>42753</c:v>
                </c:pt>
                <c:pt idx="796">
                  <c:v>42754</c:v>
                </c:pt>
                <c:pt idx="797">
                  <c:v>42755</c:v>
                </c:pt>
                <c:pt idx="798">
                  <c:v>42758</c:v>
                </c:pt>
                <c:pt idx="799">
                  <c:v>42759</c:v>
                </c:pt>
                <c:pt idx="800">
                  <c:v>42760</c:v>
                </c:pt>
                <c:pt idx="801">
                  <c:v>42761</c:v>
                </c:pt>
                <c:pt idx="802">
                  <c:v>42762</c:v>
                </c:pt>
                <c:pt idx="803">
                  <c:v>42765</c:v>
                </c:pt>
                <c:pt idx="804">
                  <c:v>42766</c:v>
                </c:pt>
                <c:pt idx="805">
                  <c:v>42767</c:v>
                </c:pt>
                <c:pt idx="806">
                  <c:v>42768</c:v>
                </c:pt>
                <c:pt idx="807">
                  <c:v>42769</c:v>
                </c:pt>
                <c:pt idx="808">
                  <c:v>42772</c:v>
                </c:pt>
                <c:pt idx="809">
                  <c:v>42773</c:v>
                </c:pt>
                <c:pt idx="810">
                  <c:v>42774</c:v>
                </c:pt>
                <c:pt idx="811">
                  <c:v>42775</c:v>
                </c:pt>
                <c:pt idx="812">
                  <c:v>42776</c:v>
                </c:pt>
                <c:pt idx="813">
                  <c:v>42779</c:v>
                </c:pt>
                <c:pt idx="814">
                  <c:v>42780</c:v>
                </c:pt>
                <c:pt idx="815">
                  <c:v>42781</c:v>
                </c:pt>
                <c:pt idx="816">
                  <c:v>42782</c:v>
                </c:pt>
                <c:pt idx="817">
                  <c:v>42783</c:v>
                </c:pt>
                <c:pt idx="818">
                  <c:v>42786</c:v>
                </c:pt>
                <c:pt idx="819">
                  <c:v>42787</c:v>
                </c:pt>
                <c:pt idx="820">
                  <c:v>42788</c:v>
                </c:pt>
                <c:pt idx="821">
                  <c:v>42789</c:v>
                </c:pt>
                <c:pt idx="822">
                  <c:v>42790</c:v>
                </c:pt>
                <c:pt idx="823">
                  <c:v>42793</c:v>
                </c:pt>
                <c:pt idx="824">
                  <c:v>42794</c:v>
                </c:pt>
                <c:pt idx="825">
                  <c:v>42795</c:v>
                </c:pt>
                <c:pt idx="826">
                  <c:v>42796</c:v>
                </c:pt>
                <c:pt idx="827">
                  <c:v>42797</c:v>
                </c:pt>
                <c:pt idx="828">
                  <c:v>42800</c:v>
                </c:pt>
                <c:pt idx="829">
                  <c:v>42801</c:v>
                </c:pt>
                <c:pt idx="830">
                  <c:v>42802</c:v>
                </c:pt>
                <c:pt idx="831">
                  <c:v>42803</c:v>
                </c:pt>
                <c:pt idx="832">
                  <c:v>42804</c:v>
                </c:pt>
                <c:pt idx="833">
                  <c:v>42807</c:v>
                </c:pt>
                <c:pt idx="834">
                  <c:v>42808</c:v>
                </c:pt>
                <c:pt idx="835">
                  <c:v>42809</c:v>
                </c:pt>
                <c:pt idx="836">
                  <c:v>42810</c:v>
                </c:pt>
                <c:pt idx="837">
                  <c:v>42811</c:v>
                </c:pt>
                <c:pt idx="838">
                  <c:v>42814</c:v>
                </c:pt>
                <c:pt idx="839">
                  <c:v>42815</c:v>
                </c:pt>
                <c:pt idx="840">
                  <c:v>42816</c:v>
                </c:pt>
                <c:pt idx="841">
                  <c:v>42817</c:v>
                </c:pt>
                <c:pt idx="842">
                  <c:v>42818</c:v>
                </c:pt>
                <c:pt idx="843">
                  <c:v>42821</c:v>
                </c:pt>
                <c:pt idx="844">
                  <c:v>42822</c:v>
                </c:pt>
                <c:pt idx="845">
                  <c:v>42823</c:v>
                </c:pt>
                <c:pt idx="846">
                  <c:v>42824</c:v>
                </c:pt>
                <c:pt idx="847">
                  <c:v>42825</c:v>
                </c:pt>
                <c:pt idx="848">
                  <c:v>42828</c:v>
                </c:pt>
                <c:pt idx="849">
                  <c:v>42829</c:v>
                </c:pt>
                <c:pt idx="850">
                  <c:v>42830</c:v>
                </c:pt>
                <c:pt idx="851">
                  <c:v>42831</c:v>
                </c:pt>
                <c:pt idx="852">
                  <c:v>42832</c:v>
                </c:pt>
                <c:pt idx="853">
                  <c:v>42835</c:v>
                </c:pt>
                <c:pt idx="854">
                  <c:v>42836</c:v>
                </c:pt>
                <c:pt idx="855">
                  <c:v>42837</c:v>
                </c:pt>
                <c:pt idx="856">
                  <c:v>42838</c:v>
                </c:pt>
                <c:pt idx="857">
                  <c:v>42839</c:v>
                </c:pt>
                <c:pt idx="858">
                  <c:v>42842</c:v>
                </c:pt>
                <c:pt idx="859">
                  <c:v>42843</c:v>
                </c:pt>
                <c:pt idx="860">
                  <c:v>42844</c:v>
                </c:pt>
                <c:pt idx="861">
                  <c:v>42845</c:v>
                </c:pt>
                <c:pt idx="862">
                  <c:v>42846</c:v>
                </c:pt>
                <c:pt idx="863">
                  <c:v>42849</c:v>
                </c:pt>
                <c:pt idx="864">
                  <c:v>42850</c:v>
                </c:pt>
                <c:pt idx="865">
                  <c:v>42851</c:v>
                </c:pt>
                <c:pt idx="866">
                  <c:v>42852</c:v>
                </c:pt>
                <c:pt idx="867">
                  <c:v>42853</c:v>
                </c:pt>
                <c:pt idx="868">
                  <c:v>42856</c:v>
                </c:pt>
                <c:pt idx="869">
                  <c:v>42857</c:v>
                </c:pt>
                <c:pt idx="870">
                  <c:v>42858</c:v>
                </c:pt>
                <c:pt idx="871">
                  <c:v>42859</c:v>
                </c:pt>
                <c:pt idx="872">
                  <c:v>42860</c:v>
                </c:pt>
                <c:pt idx="873">
                  <c:v>42863</c:v>
                </c:pt>
                <c:pt idx="874">
                  <c:v>42864</c:v>
                </c:pt>
                <c:pt idx="875">
                  <c:v>42865</c:v>
                </c:pt>
                <c:pt idx="876">
                  <c:v>42866</c:v>
                </c:pt>
                <c:pt idx="877">
                  <c:v>42867</c:v>
                </c:pt>
                <c:pt idx="878">
                  <c:v>42870</c:v>
                </c:pt>
                <c:pt idx="879">
                  <c:v>42871</c:v>
                </c:pt>
                <c:pt idx="880">
                  <c:v>42872</c:v>
                </c:pt>
                <c:pt idx="881">
                  <c:v>42873</c:v>
                </c:pt>
                <c:pt idx="882">
                  <c:v>42874</c:v>
                </c:pt>
                <c:pt idx="883">
                  <c:v>42877</c:v>
                </c:pt>
                <c:pt idx="884">
                  <c:v>42878</c:v>
                </c:pt>
                <c:pt idx="885">
                  <c:v>42879</c:v>
                </c:pt>
                <c:pt idx="886">
                  <c:v>42880</c:v>
                </c:pt>
                <c:pt idx="887">
                  <c:v>42881</c:v>
                </c:pt>
                <c:pt idx="888">
                  <c:v>42884</c:v>
                </c:pt>
                <c:pt idx="889">
                  <c:v>42885</c:v>
                </c:pt>
                <c:pt idx="890">
                  <c:v>42886</c:v>
                </c:pt>
                <c:pt idx="891">
                  <c:v>42887</c:v>
                </c:pt>
                <c:pt idx="892">
                  <c:v>42888</c:v>
                </c:pt>
                <c:pt idx="893">
                  <c:v>42891</c:v>
                </c:pt>
                <c:pt idx="894">
                  <c:v>42892</c:v>
                </c:pt>
                <c:pt idx="895">
                  <c:v>42893</c:v>
                </c:pt>
                <c:pt idx="896">
                  <c:v>42894</c:v>
                </c:pt>
                <c:pt idx="897">
                  <c:v>42895</c:v>
                </c:pt>
                <c:pt idx="898">
                  <c:v>42898</c:v>
                </c:pt>
                <c:pt idx="899">
                  <c:v>42899</c:v>
                </c:pt>
                <c:pt idx="900">
                  <c:v>42900</c:v>
                </c:pt>
                <c:pt idx="901">
                  <c:v>42901</c:v>
                </c:pt>
                <c:pt idx="902">
                  <c:v>42902</c:v>
                </c:pt>
                <c:pt idx="903">
                  <c:v>42905</c:v>
                </c:pt>
                <c:pt idx="904">
                  <c:v>42906</c:v>
                </c:pt>
                <c:pt idx="905">
                  <c:v>42907</c:v>
                </c:pt>
                <c:pt idx="906">
                  <c:v>42908</c:v>
                </c:pt>
                <c:pt idx="907">
                  <c:v>42909</c:v>
                </c:pt>
                <c:pt idx="908">
                  <c:v>42912</c:v>
                </c:pt>
                <c:pt idx="909">
                  <c:v>42913</c:v>
                </c:pt>
                <c:pt idx="910">
                  <c:v>42914</c:v>
                </c:pt>
                <c:pt idx="911">
                  <c:v>42915</c:v>
                </c:pt>
                <c:pt idx="912">
                  <c:v>42916</c:v>
                </c:pt>
                <c:pt idx="913">
                  <c:v>42919</c:v>
                </c:pt>
                <c:pt idx="914">
                  <c:v>42920</c:v>
                </c:pt>
                <c:pt idx="915">
                  <c:v>42921</c:v>
                </c:pt>
                <c:pt idx="916">
                  <c:v>42922</c:v>
                </c:pt>
                <c:pt idx="917">
                  <c:v>42923</c:v>
                </c:pt>
                <c:pt idx="918">
                  <c:v>42926</c:v>
                </c:pt>
                <c:pt idx="919">
                  <c:v>42927</c:v>
                </c:pt>
                <c:pt idx="920">
                  <c:v>42928</c:v>
                </c:pt>
                <c:pt idx="921">
                  <c:v>42929</c:v>
                </c:pt>
                <c:pt idx="922">
                  <c:v>42930</c:v>
                </c:pt>
                <c:pt idx="923">
                  <c:v>42933</c:v>
                </c:pt>
                <c:pt idx="924">
                  <c:v>42934</c:v>
                </c:pt>
                <c:pt idx="925">
                  <c:v>42935</c:v>
                </c:pt>
                <c:pt idx="926">
                  <c:v>42936</c:v>
                </c:pt>
                <c:pt idx="927">
                  <c:v>42937</c:v>
                </c:pt>
                <c:pt idx="928">
                  <c:v>42940</c:v>
                </c:pt>
                <c:pt idx="929">
                  <c:v>42941</c:v>
                </c:pt>
                <c:pt idx="930">
                  <c:v>42942</c:v>
                </c:pt>
                <c:pt idx="931">
                  <c:v>42943</c:v>
                </c:pt>
                <c:pt idx="932">
                  <c:v>42944</c:v>
                </c:pt>
                <c:pt idx="933">
                  <c:v>42947</c:v>
                </c:pt>
                <c:pt idx="934">
                  <c:v>42948</c:v>
                </c:pt>
                <c:pt idx="935">
                  <c:v>42949</c:v>
                </c:pt>
                <c:pt idx="936">
                  <c:v>42950</c:v>
                </c:pt>
                <c:pt idx="937">
                  <c:v>42951</c:v>
                </c:pt>
                <c:pt idx="938">
                  <c:v>42954</c:v>
                </c:pt>
                <c:pt idx="939">
                  <c:v>42955</c:v>
                </c:pt>
                <c:pt idx="940">
                  <c:v>42956</c:v>
                </c:pt>
                <c:pt idx="941">
                  <c:v>42957</c:v>
                </c:pt>
                <c:pt idx="942">
                  <c:v>42958</c:v>
                </c:pt>
                <c:pt idx="943">
                  <c:v>42961</c:v>
                </c:pt>
                <c:pt idx="944">
                  <c:v>42962</c:v>
                </c:pt>
                <c:pt idx="945">
                  <c:v>42963</c:v>
                </c:pt>
                <c:pt idx="946">
                  <c:v>42964</c:v>
                </c:pt>
                <c:pt idx="947">
                  <c:v>42965</c:v>
                </c:pt>
                <c:pt idx="948">
                  <c:v>42968</c:v>
                </c:pt>
                <c:pt idx="949">
                  <c:v>42969</c:v>
                </c:pt>
                <c:pt idx="950">
                  <c:v>42970</c:v>
                </c:pt>
                <c:pt idx="951">
                  <c:v>42971</c:v>
                </c:pt>
                <c:pt idx="952">
                  <c:v>42972</c:v>
                </c:pt>
                <c:pt idx="953">
                  <c:v>42975</c:v>
                </c:pt>
                <c:pt idx="954">
                  <c:v>42976</c:v>
                </c:pt>
                <c:pt idx="955">
                  <c:v>42977</c:v>
                </c:pt>
                <c:pt idx="956">
                  <c:v>42978</c:v>
                </c:pt>
                <c:pt idx="957">
                  <c:v>42979</c:v>
                </c:pt>
                <c:pt idx="958">
                  <c:v>42982</c:v>
                </c:pt>
                <c:pt idx="959">
                  <c:v>42983</c:v>
                </c:pt>
                <c:pt idx="960">
                  <c:v>42984</c:v>
                </c:pt>
                <c:pt idx="961">
                  <c:v>42985</c:v>
                </c:pt>
                <c:pt idx="962">
                  <c:v>42986</c:v>
                </c:pt>
                <c:pt idx="963">
                  <c:v>42989</c:v>
                </c:pt>
                <c:pt idx="964">
                  <c:v>42990</c:v>
                </c:pt>
                <c:pt idx="965">
                  <c:v>42991</c:v>
                </c:pt>
                <c:pt idx="966">
                  <c:v>42992</c:v>
                </c:pt>
                <c:pt idx="967">
                  <c:v>42993</c:v>
                </c:pt>
                <c:pt idx="968">
                  <c:v>42996</c:v>
                </c:pt>
                <c:pt idx="969">
                  <c:v>42997</c:v>
                </c:pt>
                <c:pt idx="970">
                  <c:v>42998</c:v>
                </c:pt>
                <c:pt idx="971">
                  <c:v>42999</c:v>
                </c:pt>
                <c:pt idx="972">
                  <c:v>43000</c:v>
                </c:pt>
                <c:pt idx="973">
                  <c:v>43003</c:v>
                </c:pt>
                <c:pt idx="974">
                  <c:v>43004</c:v>
                </c:pt>
                <c:pt idx="975">
                  <c:v>43005</c:v>
                </c:pt>
                <c:pt idx="976">
                  <c:v>43006</c:v>
                </c:pt>
                <c:pt idx="977">
                  <c:v>43007</c:v>
                </c:pt>
                <c:pt idx="978">
                  <c:v>43010</c:v>
                </c:pt>
                <c:pt idx="979">
                  <c:v>43011</c:v>
                </c:pt>
                <c:pt idx="980">
                  <c:v>43012</c:v>
                </c:pt>
                <c:pt idx="981">
                  <c:v>43013</c:v>
                </c:pt>
                <c:pt idx="982">
                  <c:v>43014</c:v>
                </c:pt>
                <c:pt idx="983">
                  <c:v>43017</c:v>
                </c:pt>
                <c:pt idx="984">
                  <c:v>43018</c:v>
                </c:pt>
                <c:pt idx="985">
                  <c:v>43019</c:v>
                </c:pt>
                <c:pt idx="986">
                  <c:v>43020</c:v>
                </c:pt>
                <c:pt idx="987">
                  <c:v>43021</c:v>
                </c:pt>
                <c:pt idx="988">
                  <c:v>43024</c:v>
                </c:pt>
                <c:pt idx="989">
                  <c:v>43025</c:v>
                </c:pt>
                <c:pt idx="990">
                  <c:v>43026</c:v>
                </c:pt>
                <c:pt idx="991">
                  <c:v>43027</c:v>
                </c:pt>
                <c:pt idx="992">
                  <c:v>43028</c:v>
                </c:pt>
                <c:pt idx="993">
                  <c:v>43031</c:v>
                </c:pt>
                <c:pt idx="994">
                  <c:v>43032</c:v>
                </c:pt>
                <c:pt idx="995">
                  <c:v>43033</c:v>
                </c:pt>
                <c:pt idx="996">
                  <c:v>43034</c:v>
                </c:pt>
                <c:pt idx="997">
                  <c:v>43035</c:v>
                </c:pt>
                <c:pt idx="998">
                  <c:v>43038</c:v>
                </c:pt>
                <c:pt idx="999">
                  <c:v>43039</c:v>
                </c:pt>
                <c:pt idx="1000">
                  <c:v>43040</c:v>
                </c:pt>
                <c:pt idx="1001">
                  <c:v>43041</c:v>
                </c:pt>
                <c:pt idx="1002">
                  <c:v>43042</c:v>
                </c:pt>
                <c:pt idx="1003">
                  <c:v>43045</c:v>
                </c:pt>
                <c:pt idx="1004">
                  <c:v>43046</c:v>
                </c:pt>
                <c:pt idx="1005">
                  <c:v>43047</c:v>
                </c:pt>
                <c:pt idx="1006">
                  <c:v>43048</c:v>
                </c:pt>
                <c:pt idx="1007">
                  <c:v>43049</c:v>
                </c:pt>
                <c:pt idx="1008">
                  <c:v>43052</c:v>
                </c:pt>
                <c:pt idx="1009">
                  <c:v>43053</c:v>
                </c:pt>
                <c:pt idx="1010">
                  <c:v>43054</c:v>
                </c:pt>
                <c:pt idx="1011">
                  <c:v>43055</c:v>
                </c:pt>
                <c:pt idx="1012">
                  <c:v>43056</c:v>
                </c:pt>
                <c:pt idx="1013">
                  <c:v>43059</c:v>
                </c:pt>
                <c:pt idx="1014">
                  <c:v>43060</c:v>
                </c:pt>
                <c:pt idx="1015">
                  <c:v>43061</c:v>
                </c:pt>
                <c:pt idx="1016">
                  <c:v>43062</c:v>
                </c:pt>
                <c:pt idx="1017">
                  <c:v>43063</c:v>
                </c:pt>
                <c:pt idx="1018">
                  <c:v>43066</c:v>
                </c:pt>
                <c:pt idx="1019">
                  <c:v>43067</c:v>
                </c:pt>
                <c:pt idx="1020">
                  <c:v>43068</c:v>
                </c:pt>
                <c:pt idx="1021">
                  <c:v>43069</c:v>
                </c:pt>
                <c:pt idx="1022">
                  <c:v>43070</c:v>
                </c:pt>
                <c:pt idx="1023">
                  <c:v>43073</c:v>
                </c:pt>
                <c:pt idx="1024">
                  <c:v>43074</c:v>
                </c:pt>
                <c:pt idx="1025">
                  <c:v>43075</c:v>
                </c:pt>
                <c:pt idx="1026">
                  <c:v>43076</c:v>
                </c:pt>
                <c:pt idx="1027">
                  <c:v>43077</c:v>
                </c:pt>
                <c:pt idx="1028">
                  <c:v>43080</c:v>
                </c:pt>
                <c:pt idx="1029">
                  <c:v>43081</c:v>
                </c:pt>
                <c:pt idx="1030">
                  <c:v>43082</c:v>
                </c:pt>
                <c:pt idx="1031">
                  <c:v>43083</c:v>
                </c:pt>
                <c:pt idx="1032">
                  <c:v>43084</c:v>
                </c:pt>
                <c:pt idx="1033">
                  <c:v>43087</c:v>
                </c:pt>
                <c:pt idx="1034">
                  <c:v>43088</c:v>
                </c:pt>
                <c:pt idx="1035">
                  <c:v>43089</c:v>
                </c:pt>
                <c:pt idx="1036">
                  <c:v>43090</c:v>
                </c:pt>
                <c:pt idx="1037">
                  <c:v>43091</c:v>
                </c:pt>
                <c:pt idx="1038">
                  <c:v>43094</c:v>
                </c:pt>
                <c:pt idx="1039">
                  <c:v>43095</c:v>
                </c:pt>
                <c:pt idx="1040">
                  <c:v>43096</c:v>
                </c:pt>
                <c:pt idx="1041">
                  <c:v>43097</c:v>
                </c:pt>
                <c:pt idx="1042">
                  <c:v>43098</c:v>
                </c:pt>
                <c:pt idx="1043">
                  <c:v>43101</c:v>
                </c:pt>
                <c:pt idx="1044">
                  <c:v>43102</c:v>
                </c:pt>
                <c:pt idx="1045">
                  <c:v>43103</c:v>
                </c:pt>
                <c:pt idx="1046">
                  <c:v>43104</c:v>
                </c:pt>
                <c:pt idx="1047">
                  <c:v>43105</c:v>
                </c:pt>
                <c:pt idx="1048">
                  <c:v>43108</c:v>
                </c:pt>
                <c:pt idx="1049">
                  <c:v>43109</c:v>
                </c:pt>
                <c:pt idx="1050">
                  <c:v>43110</c:v>
                </c:pt>
                <c:pt idx="1051">
                  <c:v>43111</c:v>
                </c:pt>
                <c:pt idx="1052">
                  <c:v>43112</c:v>
                </c:pt>
                <c:pt idx="1053">
                  <c:v>43115</c:v>
                </c:pt>
                <c:pt idx="1054">
                  <c:v>43116</c:v>
                </c:pt>
                <c:pt idx="1055">
                  <c:v>43117</c:v>
                </c:pt>
                <c:pt idx="1056">
                  <c:v>43118</c:v>
                </c:pt>
                <c:pt idx="1057">
                  <c:v>43119</c:v>
                </c:pt>
                <c:pt idx="1058">
                  <c:v>43122</c:v>
                </c:pt>
                <c:pt idx="1059">
                  <c:v>43123</c:v>
                </c:pt>
                <c:pt idx="1060">
                  <c:v>43124</c:v>
                </c:pt>
                <c:pt idx="1061">
                  <c:v>43125</c:v>
                </c:pt>
                <c:pt idx="1062">
                  <c:v>43126</c:v>
                </c:pt>
                <c:pt idx="1063">
                  <c:v>43129</c:v>
                </c:pt>
                <c:pt idx="1064">
                  <c:v>43130</c:v>
                </c:pt>
                <c:pt idx="1065">
                  <c:v>43131</c:v>
                </c:pt>
                <c:pt idx="1066">
                  <c:v>43132</c:v>
                </c:pt>
                <c:pt idx="1067">
                  <c:v>43133</c:v>
                </c:pt>
                <c:pt idx="1068">
                  <c:v>43136</c:v>
                </c:pt>
                <c:pt idx="1069">
                  <c:v>43137</c:v>
                </c:pt>
                <c:pt idx="1070">
                  <c:v>43138</c:v>
                </c:pt>
                <c:pt idx="1071">
                  <c:v>43139</c:v>
                </c:pt>
                <c:pt idx="1072">
                  <c:v>43140</c:v>
                </c:pt>
                <c:pt idx="1073">
                  <c:v>43143</c:v>
                </c:pt>
                <c:pt idx="1074">
                  <c:v>43144</c:v>
                </c:pt>
                <c:pt idx="1075">
                  <c:v>43145</c:v>
                </c:pt>
                <c:pt idx="1076">
                  <c:v>43146</c:v>
                </c:pt>
                <c:pt idx="1077">
                  <c:v>43147</c:v>
                </c:pt>
                <c:pt idx="1078">
                  <c:v>43150</c:v>
                </c:pt>
                <c:pt idx="1079">
                  <c:v>43151</c:v>
                </c:pt>
                <c:pt idx="1080">
                  <c:v>43152</c:v>
                </c:pt>
                <c:pt idx="1081">
                  <c:v>43153</c:v>
                </c:pt>
                <c:pt idx="1082">
                  <c:v>43154</c:v>
                </c:pt>
                <c:pt idx="1083">
                  <c:v>43157</c:v>
                </c:pt>
                <c:pt idx="1084">
                  <c:v>43158</c:v>
                </c:pt>
                <c:pt idx="1085">
                  <c:v>43159</c:v>
                </c:pt>
                <c:pt idx="1086">
                  <c:v>43160</c:v>
                </c:pt>
                <c:pt idx="1087">
                  <c:v>43161</c:v>
                </c:pt>
                <c:pt idx="1088">
                  <c:v>43164</c:v>
                </c:pt>
                <c:pt idx="1089">
                  <c:v>43165</c:v>
                </c:pt>
                <c:pt idx="1090">
                  <c:v>43166</c:v>
                </c:pt>
                <c:pt idx="1091">
                  <c:v>43167</c:v>
                </c:pt>
                <c:pt idx="1092">
                  <c:v>43168</c:v>
                </c:pt>
                <c:pt idx="1093">
                  <c:v>43171</c:v>
                </c:pt>
                <c:pt idx="1094">
                  <c:v>43172</c:v>
                </c:pt>
                <c:pt idx="1095">
                  <c:v>43173</c:v>
                </c:pt>
                <c:pt idx="1096">
                  <c:v>43174</c:v>
                </c:pt>
                <c:pt idx="1097">
                  <c:v>43175</c:v>
                </c:pt>
                <c:pt idx="1098">
                  <c:v>43178</c:v>
                </c:pt>
                <c:pt idx="1099">
                  <c:v>43179</c:v>
                </c:pt>
                <c:pt idx="1100">
                  <c:v>43180</c:v>
                </c:pt>
                <c:pt idx="1101">
                  <c:v>43181</c:v>
                </c:pt>
                <c:pt idx="1102">
                  <c:v>43182</c:v>
                </c:pt>
                <c:pt idx="1103">
                  <c:v>43185</c:v>
                </c:pt>
                <c:pt idx="1104">
                  <c:v>43186</c:v>
                </c:pt>
                <c:pt idx="1105">
                  <c:v>43187</c:v>
                </c:pt>
                <c:pt idx="1106">
                  <c:v>43188</c:v>
                </c:pt>
                <c:pt idx="1107">
                  <c:v>43189</c:v>
                </c:pt>
                <c:pt idx="1108">
                  <c:v>43192</c:v>
                </c:pt>
                <c:pt idx="1109">
                  <c:v>43193</c:v>
                </c:pt>
                <c:pt idx="1110">
                  <c:v>43194</c:v>
                </c:pt>
                <c:pt idx="1111">
                  <c:v>43195</c:v>
                </c:pt>
                <c:pt idx="1112">
                  <c:v>43196</c:v>
                </c:pt>
                <c:pt idx="1113">
                  <c:v>43199</c:v>
                </c:pt>
                <c:pt idx="1114">
                  <c:v>43200</c:v>
                </c:pt>
                <c:pt idx="1115">
                  <c:v>43201</c:v>
                </c:pt>
                <c:pt idx="1116">
                  <c:v>43202</c:v>
                </c:pt>
                <c:pt idx="1117">
                  <c:v>43203</c:v>
                </c:pt>
                <c:pt idx="1118">
                  <c:v>43206</c:v>
                </c:pt>
                <c:pt idx="1119">
                  <c:v>43207</c:v>
                </c:pt>
                <c:pt idx="1120">
                  <c:v>43208</c:v>
                </c:pt>
                <c:pt idx="1121">
                  <c:v>43209</c:v>
                </c:pt>
                <c:pt idx="1122">
                  <c:v>43210</c:v>
                </c:pt>
                <c:pt idx="1123">
                  <c:v>43213</c:v>
                </c:pt>
                <c:pt idx="1124">
                  <c:v>43214</c:v>
                </c:pt>
                <c:pt idx="1125">
                  <c:v>43215</c:v>
                </c:pt>
                <c:pt idx="1126">
                  <c:v>43216</c:v>
                </c:pt>
                <c:pt idx="1127">
                  <c:v>43217</c:v>
                </c:pt>
                <c:pt idx="1128">
                  <c:v>43220</c:v>
                </c:pt>
                <c:pt idx="1129">
                  <c:v>43221</c:v>
                </c:pt>
                <c:pt idx="1130">
                  <c:v>43222</c:v>
                </c:pt>
                <c:pt idx="1131">
                  <c:v>43223</c:v>
                </c:pt>
                <c:pt idx="1132">
                  <c:v>43224</c:v>
                </c:pt>
                <c:pt idx="1133">
                  <c:v>43227</c:v>
                </c:pt>
                <c:pt idx="1134">
                  <c:v>43228</c:v>
                </c:pt>
                <c:pt idx="1135">
                  <c:v>43229</c:v>
                </c:pt>
                <c:pt idx="1136">
                  <c:v>43230</c:v>
                </c:pt>
                <c:pt idx="1137">
                  <c:v>43231</c:v>
                </c:pt>
                <c:pt idx="1138">
                  <c:v>43234</c:v>
                </c:pt>
                <c:pt idx="1139">
                  <c:v>43235</c:v>
                </c:pt>
                <c:pt idx="1140">
                  <c:v>43236</c:v>
                </c:pt>
                <c:pt idx="1141">
                  <c:v>43237</c:v>
                </c:pt>
                <c:pt idx="1142">
                  <c:v>43238</c:v>
                </c:pt>
                <c:pt idx="1143">
                  <c:v>43241</c:v>
                </c:pt>
                <c:pt idx="1144">
                  <c:v>43242</c:v>
                </c:pt>
                <c:pt idx="1145">
                  <c:v>43243</c:v>
                </c:pt>
                <c:pt idx="1146">
                  <c:v>43244</c:v>
                </c:pt>
                <c:pt idx="1147">
                  <c:v>43245</c:v>
                </c:pt>
                <c:pt idx="1148">
                  <c:v>43248</c:v>
                </c:pt>
                <c:pt idx="1149">
                  <c:v>43249</c:v>
                </c:pt>
                <c:pt idx="1150">
                  <c:v>43250</c:v>
                </c:pt>
                <c:pt idx="1151">
                  <c:v>43251</c:v>
                </c:pt>
                <c:pt idx="1152">
                  <c:v>43252</c:v>
                </c:pt>
                <c:pt idx="1153">
                  <c:v>43255</c:v>
                </c:pt>
                <c:pt idx="1154">
                  <c:v>43256</c:v>
                </c:pt>
                <c:pt idx="1155">
                  <c:v>43257</c:v>
                </c:pt>
                <c:pt idx="1156">
                  <c:v>43258</c:v>
                </c:pt>
                <c:pt idx="1157">
                  <c:v>43259</c:v>
                </c:pt>
                <c:pt idx="1158">
                  <c:v>43262</c:v>
                </c:pt>
                <c:pt idx="1159">
                  <c:v>43263</c:v>
                </c:pt>
                <c:pt idx="1160">
                  <c:v>43264</c:v>
                </c:pt>
                <c:pt idx="1161">
                  <c:v>43265</c:v>
                </c:pt>
                <c:pt idx="1162">
                  <c:v>43266</c:v>
                </c:pt>
                <c:pt idx="1163">
                  <c:v>43269</c:v>
                </c:pt>
                <c:pt idx="1164">
                  <c:v>43270</c:v>
                </c:pt>
                <c:pt idx="1165">
                  <c:v>43271</c:v>
                </c:pt>
                <c:pt idx="1166">
                  <c:v>43272</c:v>
                </c:pt>
                <c:pt idx="1167">
                  <c:v>43273</c:v>
                </c:pt>
                <c:pt idx="1168">
                  <c:v>43276</c:v>
                </c:pt>
                <c:pt idx="1169">
                  <c:v>43277</c:v>
                </c:pt>
                <c:pt idx="1170">
                  <c:v>43278</c:v>
                </c:pt>
                <c:pt idx="1171">
                  <c:v>43279</c:v>
                </c:pt>
                <c:pt idx="1172">
                  <c:v>43280</c:v>
                </c:pt>
                <c:pt idx="1173">
                  <c:v>43283</c:v>
                </c:pt>
                <c:pt idx="1174">
                  <c:v>43284</c:v>
                </c:pt>
                <c:pt idx="1175">
                  <c:v>43285</c:v>
                </c:pt>
                <c:pt idx="1176">
                  <c:v>43286</c:v>
                </c:pt>
                <c:pt idx="1177">
                  <c:v>43287</c:v>
                </c:pt>
                <c:pt idx="1178">
                  <c:v>43290</c:v>
                </c:pt>
                <c:pt idx="1179">
                  <c:v>43291</c:v>
                </c:pt>
                <c:pt idx="1180">
                  <c:v>43292</c:v>
                </c:pt>
                <c:pt idx="1181">
                  <c:v>43293</c:v>
                </c:pt>
                <c:pt idx="1182">
                  <c:v>43294</c:v>
                </c:pt>
                <c:pt idx="1183">
                  <c:v>43297</c:v>
                </c:pt>
                <c:pt idx="1184">
                  <c:v>43298</c:v>
                </c:pt>
                <c:pt idx="1185">
                  <c:v>43299</c:v>
                </c:pt>
                <c:pt idx="1186">
                  <c:v>43300</c:v>
                </c:pt>
                <c:pt idx="1187">
                  <c:v>43301</c:v>
                </c:pt>
                <c:pt idx="1188">
                  <c:v>43304</c:v>
                </c:pt>
                <c:pt idx="1189">
                  <c:v>43305</c:v>
                </c:pt>
                <c:pt idx="1190">
                  <c:v>43306</c:v>
                </c:pt>
                <c:pt idx="1191">
                  <c:v>43307</c:v>
                </c:pt>
                <c:pt idx="1192">
                  <c:v>43308</c:v>
                </c:pt>
                <c:pt idx="1193">
                  <c:v>43311</c:v>
                </c:pt>
                <c:pt idx="1194">
                  <c:v>43312</c:v>
                </c:pt>
                <c:pt idx="1195">
                  <c:v>43313</c:v>
                </c:pt>
                <c:pt idx="1196">
                  <c:v>43314</c:v>
                </c:pt>
                <c:pt idx="1197">
                  <c:v>43315</c:v>
                </c:pt>
                <c:pt idx="1198">
                  <c:v>43318</c:v>
                </c:pt>
                <c:pt idx="1199">
                  <c:v>43319</c:v>
                </c:pt>
                <c:pt idx="1200">
                  <c:v>43320</c:v>
                </c:pt>
                <c:pt idx="1201">
                  <c:v>43321</c:v>
                </c:pt>
                <c:pt idx="1202">
                  <c:v>43322</c:v>
                </c:pt>
                <c:pt idx="1203">
                  <c:v>43325</c:v>
                </c:pt>
                <c:pt idx="1204">
                  <c:v>43326</c:v>
                </c:pt>
                <c:pt idx="1205">
                  <c:v>43327</c:v>
                </c:pt>
                <c:pt idx="1206">
                  <c:v>43328</c:v>
                </c:pt>
                <c:pt idx="1207">
                  <c:v>43329</c:v>
                </c:pt>
                <c:pt idx="1208">
                  <c:v>43332</c:v>
                </c:pt>
                <c:pt idx="1209">
                  <c:v>43333</c:v>
                </c:pt>
                <c:pt idx="1210">
                  <c:v>43334</c:v>
                </c:pt>
                <c:pt idx="1211">
                  <c:v>43335</c:v>
                </c:pt>
                <c:pt idx="1212">
                  <c:v>43336</c:v>
                </c:pt>
                <c:pt idx="1213">
                  <c:v>43339</c:v>
                </c:pt>
                <c:pt idx="1214">
                  <c:v>43340</c:v>
                </c:pt>
                <c:pt idx="1215">
                  <c:v>43341</c:v>
                </c:pt>
                <c:pt idx="1216">
                  <c:v>43342</c:v>
                </c:pt>
                <c:pt idx="1217">
                  <c:v>43343</c:v>
                </c:pt>
                <c:pt idx="1218">
                  <c:v>43346</c:v>
                </c:pt>
                <c:pt idx="1219">
                  <c:v>43347</c:v>
                </c:pt>
                <c:pt idx="1220">
                  <c:v>43348</c:v>
                </c:pt>
                <c:pt idx="1221">
                  <c:v>43349</c:v>
                </c:pt>
                <c:pt idx="1222">
                  <c:v>43350</c:v>
                </c:pt>
                <c:pt idx="1223">
                  <c:v>43353</c:v>
                </c:pt>
                <c:pt idx="1224">
                  <c:v>43354</c:v>
                </c:pt>
                <c:pt idx="1225">
                  <c:v>43355</c:v>
                </c:pt>
                <c:pt idx="1226">
                  <c:v>43356</c:v>
                </c:pt>
                <c:pt idx="1227">
                  <c:v>43357</c:v>
                </c:pt>
                <c:pt idx="1228">
                  <c:v>43360</c:v>
                </c:pt>
                <c:pt idx="1229">
                  <c:v>43361</c:v>
                </c:pt>
                <c:pt idx="1230">
                  <c:v>43362</c:v>
                </c:pt>
                <c:pt idx="1231">
                  <c:v>43363</c:v>
                </c:pt>
                <c:pt idx="1232">
                  <c:v>43364</c:v>
                </c:pt>
                <c:pt idx="1233">
                  <c:v>43367</c:v>
                </c:pt>
                <c:pt idx="1234">
                  <c:v>43368</c:v>
                </c:pt>
                <c:pt idx="1235">
                  <c:v>43369</c:v>
                </c:pt>
                <c:pt idx="1236">
                  <c:v>43370</c:v>
                </c:pt>
                <c:pt idx="1237">
                  <c:v>43371</c:v>
                </c:pt>
                <c:pt idx="1238">
                  <c:v>43374</c:v>
                </c:pt>
                <c:pt idx="1239">
                  <c:v>43375</c:v>
                </c:pt>
                <c:pt idx="1240">
                  <c:v>43376</c:v>
                </c:pt>
                <c:pt idx="1241">
                  <c:v>43377</c:v>
                </c:pt>
                <c:pt idx="1242">
                  <c:v>43378</c:v>
                </c:pt>
                <c:pt idx="1243">
                  <c:v>43381</c:v>
                </c:pt>
                <c:pt idx="1244">
                  <c:v>43382</c:v>
                </c:pt>
                <c:pt idx="1245">
                  <c:v>43383</c:v>
                </c:pt>
                <c:pt idx="1246">
                  <c:v>43384</c:v>
                </c:pt>
                <c:pt idx="1247">
                  <c:v>43385</c:v>
                </c:pt>
                <c:pt idx="1248">
                  <c:v>43388</c:v>
                </c:pt>
                <c:pt idx="1249">
                  <c:v>43389</c:v>
                </c:pt>
                <c:pt idx="1250">
                  <c:v>43390</c:v>
                </c:pt>
                <c:pt idx="1251">
                  <c:v>43391</c:v>
                </c:pt>
                <c:pt idx="1252">
                  <c:v>43392</c:v>
                </c:pt>
                <c:pt idx="1253">
                  <c:v>43395</c:v>
                </c:pt>
                <c:pt idx="1254">
                  <c:v>43396</c:v>
                </c:pt>
                <c:pt idx="1255">
                  <c:v>43397</c:v>
                </c:pt>
                <c:pt idx="1256">
                  <c:v>43398</c:v>
                </c:pt>
                <c:pt idx="1257">
                  <c:v>43399</c:v>
                </c:pt>
                <c:pt idx="1258">
                  <c:v>43402</c:v>
                </c:pt>
                <c:pt idx="1259">
                  <c:v>43403</c:v>
                </c:pt>
                <c:pt idx="1260">
                  <c:v>43404</c:v>
                </c:pt>
                <c:pt idx="1261">
                  <c:v>43405</c:v>
                </c:pt>
                <c:pt idx="1262">
                  <c:v>43406</c:v>
                </c:pt>
                <c:pt idx="1263">
                  <c:v>43409</c:v>
                </c:pt>
                <c:pt idx="1264">
                  <c:v>43410</c:v>
                </c:pt>
                <c:pt idx="1265">
                  <c:v>43411</c:v>
                </c:pt>
                <c:pt idx="1266">
                  <c:v>43412</c:v>
                </c:pt>
                <c:pt idx="1267">
                  <c:v>43413</c:v>
                </c:pt>
                <c:pt idx="1268">
                  <c:v>43416</c:v>
                </c:pt>
                <c:pt idx="1269">
                  <c:v>43417</c:v>
                </c:pt>
                <c:pt idx="1270">
                  <c:v>43418</c:v>
                </c:pt>
                <c:pt idx="1271">
                  <c:v>43419</c:v>
                </c:pt>
                <c:pt idx="1272">
                  <c:v>43420</c:v>
                </c:pt>
                <c:pt idx="1273">
                  <c:v>43423</c:v>
                </c:pt>
                <c:pt idx="1274">
                  <c:v>43424</c:v>
                </c:pt>
                <c:pt idx="1275">
                  <c:v>43425</c:v>
                </c:pt>
                <c:pt idx="1276">
                  <c:v>43426</c:v>
                </c:pt>
                <c:pt idx="1277">
                  <c:v>43427</c:v>
                </c:pt>
                <c:pt idx="1278">
                  <c:v>43430</c:v>
                </c:pt>
                <c:pt idx="1279">
                  <c:v>43431</c:v>
                </c:pt>
                <c:pt idx="1280">
                  <c:v>43432</c:v>
                </c:pt>
                <c:pt idx="1281">
                  <c:v>43433</c:v>
                </c:pt>
                <c:pt idx="1282">
                  <c:v>43434</c:v>
                </c:pt>
                <c:pt idx="1283">
                  <c:v>43437</c:v>
                </c:pt>
                <c:pt idx="1284">
                  <c:v>43438</c:v>
                </c:pt>
                <c:pt idx="1285">
                  <c:v>43439</c:v>
                </c:pt>
                <c:pt idx="1286">
                  <c:v>43440</c:v>
                </c:pt>
                <c:pt idx="1287">
                  <c:v>43441</c:v>
                </c:pt>
                <c:pt idx="1288">
                  <c:v>43444</c:v>
                </c:pt>
                <c:pt idx="1289">
                  <c:v>43445</c:v>
                </c:pt>
                <c:pt idx="1290">
                  <c:v>43446</c:v>
                </c:pt>
                <c:pt idx="1291">
                  <c:v>43447</c:v>
                </c:pt>
                <c:pt idx="1292">
                  <c:v>43448</c:v>
                </c:pt>
                <c:pt idx="1293">
                  <c:v>43451</c:v>
                </c:pt>
                <c:pt idx="1294">
                  <c:v>43452</c:v>
                </c:pt>
                <c:pt idx="1295">
                  <c:v>43453</c:v>
                </c:pt>
                <c:pt idx="1296">
                  <c:v>43454</c:v>
                </c:pt>
                <c:pt idx="1297">
                  <c:v>43455</c:v>
                </c:pt>
                <c:pt idx="1298">
                  <c:v>43458</c:v>
                </c:pt>
                <c:pt idx="1299">
                  <c:v>43459</c:v>
                </c:pt>
                <c:pt idx="1300">
                  <c:v>43460</c:v>
                </c:pt>
                <c:pt idx="1301">
                  <c:v>43461</c:v>
                </c:pt>
                <c:pt idx="1302">
                  <c:v>43462</c:v>
                </c:pt>
                <c:pt idx="1303">
                  <c:v>43465</c:v>
                </c:pt>
                <c:pt idx="1304">
                  <c:v>43466</c:v>
                </c:pt>
                <c:pt idx="1305">
                  <c:v>43467</c:v>
                </c:pt>
                <c:pt idx="1306">
                  <c:v>43468</c:v>
                </c:pt>
                <c:pt idx="1307">
                  <c:v>43469</c:v>
                </c:pt>
                <c:pt idx="1308">
                  <c:v>43472</c:v>
                </c:pt>
                <c:pt idx="1309">
                  <c:v>43473</c:v>
                </c:pt>
                <c:pt idx="1310">
                  <c:v>43474</c:v>
                </c:pt>
                <c:pt idx="1311">
                  <c:v>43475</c:v>
                </c:pt>
                <c:pt idx="1312">
                  <c:v>43476</c:v>
                </c:pt>
                <c:pt idx="1313">
                  <c:v>43479</c:v>
                </c:pt>
                <c:pt idx="1314">
                  <c:v>43480</c:v>
                </c:pt>
                <c:pt idx="1315">
                  <c:v>43481</c:v>
                </c:pt>
                <c:pt idx="1316">
                  <c:v>43482</c:v>
                </c:pt>
                <c:pt idx="1317">
                  <c:v>43483</c:v>
                </c:pt>
                <c:pt idx="1318">
                  <c:v>43486</c:v>
                </c:pt>
                <c:pt idx="1319">
                  <c:v>43487</c:v>
                </c:pt>
                <c:pt idx="1320">
                  <c:v>43488</c:v>
                </c:pt>
                <c:pt idx="1321">
                  <c:v>43489</c:v>
                </c:pt>
                <c:pt idx="1322">
                  <c:v>43490</c:v>
                </c:pt>
                <c:pt idx="1323">
                  <c:v>43493</c:v>
                </c:pt>
                <c:pt idx="1324">
                  <c:v>43494</c:v>
                </c:pt>
                <c:pt idx="1325">
                  <c:v>43495</c:v>
                </c:pt>
                <c:pt idx="1326">
                  <c:v>43496</c:v>
                </c:pt>
                <c:pt idx="1327">
                  <c:v>43497</c:v>
                </c:pt>
                <c:pt idx="1328">
                  <c:v>43500</c:v>
                </c:pt>
                <c:pt idx="1329">
                  <c:v>43501</c:v>
                </c:pt>
                <c:pt idx="1330">
                  <c:v>43502</c:v>
                </c:pt>
                <c:pt idx="1331">
                  <c:v>43503</c:v>
                </c:pt>
                <c:pt idx="1332">
                  <c:v>43504</c:v>
                </c:pt>
                <c:pt idx="1333">
                  <c:v>43507</c:v>
                </c:pt>
                <c:pt idx="1334">
                  <c:v>43508</c:v>
                </c:pt>
                <c:pt idx="1335">
                  <c:v>43509</c:v>
                </c:pt>
                <c:pt idx="1336">
                  <c:v>43510</c:v>
                </c:pt>
                <c:pt idx="1337">
                  <c:v>43511</c:v>
                </c:pt>
                <c:pt idx="1338">
                  <c:v>43514</c:v>
                </c:pt>
                <c:pt idx="1339">
                  <c:v>43515</c:v>
                </c:pt>
                <c:pt idx="1340">
                  <c:v>43516</c:v>
                </c:pt>
                <c:pt idx="1341">
                  <c:v>43517</c:v>
                </c:pt>
                <c:pt idx="1342">
                  <c:v>43518</c:v>
                </c:pt>
                <c:pt idx="1343">
                  <c:v>43521</c:v>
                </c:pt>
                <c:pt idx="1344">
                  <c:v>43522</c:v>
                </c:pt>
                <c:pt idx="1345">
                  <c:v>43523</c:v>
                </c:pt>
                <c:pt idx="1346">
                  <c:v>43524</c:v>
                </c:pt>
                <c:pt idx="1347">
                  <c:v>43525</c:v>
                </c:pt>
                <c:pt idx="1348">
                  <c:v>43528</c:v>
                </c:pt>
                <c:pt idx="1349">
                  <c:v>43529</c:v>
                </c:pt>
                <c:pt idx="1350">
                  <c:v>43530</c:v>
                </c:pt>
                <c:pt idx="1351">
                  <c:v>43531</c:v>
                </c:pt>
                <c:pt idx="1352">
                  <c:v>43532</c:v>
                </c:pt>
                <c:pt idx="1353">
                  <c:v>43535</c:v>
                </c:pt>
                <c:pt idx="1354">
                  <c:v>43536</c:v>
                </c:pt>
                <c:pt idx="1355">
                  <c:v>43537</c:v>
                </c:pt>
                <c:pt idx="1356">
                  <c:v>43538</c:v>
                </c:pt>
                <c:pt idx="1357">
                  <c:v>43539</c:v>
                </c:pt>
                <c:pt idx="1358">
                  <c:v>43542</c:v>
                </c:pt>
                <c:pt idx="1359">
                  <c:v>43543</c:v>
                </c:pt>
                <c:pt idx="1360">
                  <c:v>43544</c:v>
                </c:pt>
                <c:pt idx="1361">
                  <c:v>43545</c:v>
                </c:pt>
                <c:pt idx="1362">
                  <c:v>43546</c:v>
                </c:pt>
                <c:pt idx="1363">
                  <c:v>43549</c:v>
                </c:pt>
                <c:pt idx="1364">
                  <c:v>43550</c:v>
                </c:pt>
                <c:pt idx="1365">
                  <c:v>43551</c:v>
                </c:pt>
                <c:pt idx="1366">
                  <c:v>43552</c:v>
                </c:pt>
                <c:pt idx="1367">
                  <c:v>43553</c:v>
                </c:pt>
                <c:pt idx="1368">
                  <c:v>43556</c:v>
                </c:pt>
                <c:pt idx="1369">
                  <c:v>43557</c:v>
                </c:pt>
                <c:pt idx="1370">
                  <c:v>43558</c:v>
                </c:pt>
                <c:pt idx="1371">
                  <c:v>43559</c:v>
                </c:pt>
                <c:pt idx="1372">
                  <c:v>43560</c:v>
                </c:pt>
                <c:pt idx="1373">
                  <c:v>43563</c:v>
                </c:pt>
                <c:pt idx="1374">
                  <c:v>43564</c:v>
                </c:pt>
                <c:pt idx="1375">
                  <c:v>43565</c:v>
                </c:pt>
                <c:pt idx="1376">
                  <c:v>43566</c:v>
                </c:pt>
                <c:pt idx="1377">
                  <c:v>43567</c:v>
                </c:pt>
                <c:pt idx="1378">
                  <c:v>43570</c:v>
                </c:pt>
                <c:pt idx="1379">
                  <c:v>43571</c:v>
                </c:pt>
                <c:pt idx="1380">
                  <c:v>43572</c:v>
                </c:pt>
                <c:pt idx="1381">
                  <c:v>43573</c:v>
                </c:pt>
                <c:pt idx="1382">
                  <c:v>43574</c:v>
                </c:pt>
                <c:pt idx="1383">
                  <c:v>43577</c:v>
                </c:pt>
                <c:pt idx="1384">
                  <c:v>43578</c:v>
                </c:pt>
                <c:pt idx="1385">
                  <c:v>43579</c:v>
                </c:pt>
                <c:pt idx="1386">
                  <c:v>43580</c:v>
                </c:pt>
                <c:pt idx="1387">
                  <c:v>43581</c:v>
                </c:pt>
                <c:pt idx="1388">
                  <c:v>43584</c:v>
                </c:pt>
                <c:pt idx="1389">
                  <c:v>43585</c:v>
                </c:pt>
                <c:pt idx="1390">
                  <c:v>43586</c:v>
                </c:pt>
                <c:pt idx="1391">
                  <c:v>43587</c:v>
                </c:pt>
                <c:pt idx="1392">
                  <c:v>43588</c:v>
                </c:pt>
                <c:pt idx="1393">
                  <c:v>43591</c:v>
                </c:pt>
                <c:pt idx="1394">
                  <c:v>43592</c:v>
                </c:pt>
                <c:pt idx="1395">
                  <c:v>43593</c:v>
                </c:pt>
                <c:pt idx="1396">
                  <c:v>43594</c:v>
                </c:pt>
                <c:pt idx="1397">
                  <c:v>43595</c:v>
                </c:pt>
                <c:pt idx="1398">
                  <c:v>43598</c:v>
                </c:pt>
                <c:pt idx="1399">
                  <c:v>43599</c:v>
                </c:pt>
                <c:pt idx="1400">
                  <c:v>43600</c:v>
                </c:pt>
                <c:pt idx="1401">
                  <c:v>43601</c:v>
                </c:pt>
                <c:pt idx="1402">
                  <c:v>43602</c:v>
                </c:pt>
                <c:pt idx="1403">
                  <c:v>43605</c:v>
                </c:pt>
                <c:pt idx="1404">
                  <c:v>43606</c:v>
                </c:pt>
                <c:pt idx="1405">
                  <c:v>43607</c:v>
                </c:pt>
                <c:pt idx="1406">
                  <c:v>43608</c:v>
                </c:pt>
                <c:pt idx="1407">
                  <c:v>43609</c:v>
                </c:pt>
                <c:pt idx="1408">
                  <c:v>43612</c:v>
                </c:pt>
                <c:pt idx="1409">
                  <c:v>43613</c:v>
                </c:pt>
                <c:pt idx="1410">
                  <c:v>43614</c:v>
                </c:pt>
                <c:pt idx="1411">
                  <c:v>43615</c:v>
                </c:pt>
                <c:pt idx="1412">
                  <c:v>43616</c:v>
                </c:pt>
                <c:pt idx="1413">
                  <c:v>43619</c:v>
                </c:pt>
                <c:pt idx="1414">
                  <c:v>43620</c:v>
                </c:pt>
                <c:pt idx="1415">
                  <c:v>43621</c:v>
                </c:pt>
                <c:pt idx="1416">
                  <c:v>43622</c:v>
                </c:pt>
                <c:pt idx="1417">
                  <c:v>43623</c:v>
                </c:pt>
                <c:pt idx="1418">
                  <c:v>43626</c:v>
                </c:pt>
                <c:pt idx="1419">
                  <c:v>43627</c:v>
                </c:pt>
                <c:pt idx="1420">
                  <c:v>43628</c:v>
                </c:pt>
                <c:pt idx="1421">
                  <c:v>43629</c:v>
                </c:pt>
                <c:pt idx="1422">
                  <c:v>43630</c:v>
                </c:pt>
                <c:pt idx="1423">
                  <c:v>43633</c:v>
                </c:pt>
                <c:pt idx="1424">
                  <c:v>43634</c:v>
                </c:pt>
                <c:pt idx="1425">
                  <c:v>43635</c:v>
                </c:pt>
                <c:pt idx="1426">
                  <c:v>43636</c:v>
                </c:pt>
                <c:pt idx="1427">
                  <c:v>43637</c:v>
                </c:pt>
                <c:pt idx="1428">
                  <c:v>43640</c:v>
                </c:pt>
                <c:pt idx="1429">
                  <c:v>43641</c:v>
                </c:pt>
                <c:pt idx="1430">
                  <c:v>43642</c:v>
                </c:pt>
                <c:pt idx="1431">
                  <c:v>43643</c:v>
                </c:pt>
                <c:pt idx="1432">
                  <c:v>43644</c:v>
                </c:pt>
                <c:pt idx="1433">
                  <c:v>43647</c:v>
                </c:pt>
                <c:pt idx="1434">
                  <c:v>43648</c:v>
                </c:pt>
                <c:pt idx="1435">
                  <c:v>43649</c:v>
                </c:pt>
                <c:pt idx="1436">
                  <c:v>43650</c:v>
                </c:pt>
                <c:pt idx="1437">
                  <c:v>43651</c:v>
                </c:pt>
                <c:pt idx="1438">
                  <c:v>43654</c:v>
                </c:pt>
                <c:pt idx="1439">
                  <c:v>43655</c:v>
                </c:pt>
                <c:pt idx="1440">
                  <c:v>43656</c:v>
                </c:pt>
                <c:pt idx="1441">
                  <c:v>43657</c:v>
                </c:pt>
                <c:pt idx="1442">
                  <c:v>43658</c:v>
                </c:pt>
                <c:pt idx="1443">
                  <c:v>43661</c:v>
                </c:pt>
                <c:pt idx="1444">
                  <c:v>43662</c:v>
                </c:pt>
                <c:pt idx="1445">
                  <c:v>43663</c:v>
                </c:pt>
                <c:pt idx="1446">
                  <c:v>43664</c:v>
                </c:pt>
                <c:pt idx="1447">
                  <c:v>43665</c:v>
                </c:pt>
                <c:pt idx="1448">
                  <c:v>43668</c:v>
                </c:pt>
                <c:pt idx="1449">
                  <c:v>43669</c:v>
                </c:pt>
                <c:pt idx="1450">
                  <c:v>43670</c:v>
                </c:pt>
                <c:pt idx="1451">
                  <c:v>43671</c:v>
                </c:pt>
                <c:pt idx="1452">
                  <c:v>43672</c:v>
                </c:pt>
                <c:pt idx="1453">
                  <c:v>43675</c:v>
                </c:pt>
                <c:pt idx="1454">
                  <c:v>43676</c:v>
                </c:pt>
                <c:pt idx="1455">
                  <c:v>43677</c:v>
                </c:pt>
                <c:pt idx="1456">
                  <c:v>43678</c:v>
                </c:pt>
                <c:pt idx="1457">
                  <c:v>43679</c:v>
                </c:pt>
                <c:pt idx="1458">
                  <c:v>43682</c:v>
                </c:pt>
                <c:pt idx="1459">
                  <c:v>43683</c:v>
                </c:pt>
                <c:pt idx="1460">
                  <c:v>43684</c:v>
                </c:pt>
                <c:pt idx="1461">
                  <c:v>43685</c:v>
                </c:pt>
                <c:pt idx="1462">
                  <c:v>43686</c:v>
                </c:pt>
                <c:pt idx="1463">
                  <c:v>43689</c:v>
                </c:pt>
                <c:pt idx="1464">
                  <c:v>43690</c:v>
                </c:pt>
                <c:pt idx="1465">
                  <c:v>43691</c:v>
                </c:pt>
                <c:pt idx="1466">
                  <c:v>43692</c:v>
                </c:pt>
                <c:pt idx="1467">
                  <c:v>43693</c:v>
                </c:pt>
                <c:pt idx="1468">
                  <c:v>43696</c:v>
                </c:pt>
                <c:pt idx="1469">
                  <c:v>43697</c:v>
                </c:pt>
                <c:pt idx="1470">
                  <c:v>43698</c:v>
                </c:pt>
                <c:pt idx="1471">
                  <c:v>43699</c:v>
                </c:pt>
                <c:pt idx="1472">
                  <c:v>43700</c:v>
                </c:pt>
                <c:pt idx="1473">
                  <c:v>43703</c:v>
                </c:pt>
                <c:pt idx="1474">
                  <c:v>43704</c:v>
                </c:pt>
                <c:pt idx="1475">
                  <c:v>43705</c:v>
                </c:pt>
                <c:pt idx="1476">
                  <c:v>43706</c:v>
                </c:pt>
                <c:pt idx="1477">
                  <c:v>43707</c:v>
                </c:pt>
                <c:pt idx="1478">
                  <c:v>43710</c:v>
                </c:pt>
                <c:pt idx="1479">
                  <c:v>43711</c:v>
                </c:pt>
                <c:pt idx="1480">
                  <c:v>43712</c:v>
                </c:pt>
                <c:pt idx="1481">
                  <c:v>43713</c:v>
                </c:pt>
                <c:pt idx="1482">
                  <c:v>43714</c:v>
                </c:pt>
                <c:pt idx="1483">
                  <c:v>43717</c:v>
                </c:pt>
                <c:pt idx="1484">
                  <c:v>43718</c:v>
                </c:pt>
                <c:pt idx="1485">
                  <c:v>43719</c:v>
                </c:pt>
                <c:pt idx="1486">
                  <c:v>43720</c:v>
                </c:pt>
                <c:pt idx="1487">
                  <c:v>43721</c:v>
                </c:pt>
                <c:pt idx="1488">
                  <c:v>43724</c:v>
                </c:pt>
                <c:pt idx="1489">
                  <c:v>43725</c:v>
                </c:pt>
                <c:pt idx="1490">
                  <c:v>43726</c:v>
                </c:pt>
                <c:pt idx="1491">
                  <c:v>43727</c:v>
                </c:pt>
                <c:pt idx="1492">
                  <c:v>43728</c:v>
                </c:pt>
                <c:pt idx="1493">
                  <c:v>43731</c:v>
                </c:pt>
                <c:pt idx="1494">
                  <c:v>43732</c:v>
                </c:pt>
                <c:pt idx="1495">
                  <c:v>43733</c:v>
                </c:pt>
                <c:pt idx="1496">
                  <c:v>43734</c:v>
                </c:pt>
                <c:pt idx="1497">
                  <c:v>43735</c:v>
                </c:pt>
                <c:pt idx="1498">
                  <c:v>43738</c:v>
                </c:pt>
                <c:pt idx="1499">
                  <c:v>43739</c:v>
                </c:pt>
                <c:pt idx="1500">
                  <c:v>43740</c:v>
                </c:pt>
                <c:pt idx="1501">
                  <c:v>43741</c:v>
                </c:pt>
                <c:pt idx="1502">
                  <c:v>43742</c:v>
                </c:pt>
                <c:pt idx="1503">
                  <c:v>43745</c:v>
                </c:pt>
                <c:pt idx="1504">
                  <c:v>43746</c:v>
                </c:pt>
                <c:pt idx="1505">
                  <c:v>43747</c:v>
                </c:pt>
                <c:pt idx="1506">
                  <c:v>43748</c:v>
                </c:pt>
                <c:pt idx="1507">
                  <c:v>43749</c:v>
                </c:pt>
                <c:pt idx="1508">
                  <c:v>43752</c:v>
                </c:pt>
                <c:pt idx="1509">
                  <c:v>43753</c:v>
                </c:pt>
                <c:pt idx="1510">
                  <c:v>43754</c:v>
                </c:pt>
                <c:pt idx="1511">
                  <c:v>43755</c:v>
                </c:pt>
                <c:pt idx="1512">
                  <c:v>43756</c:v>
                </c:pt>
                <c:pt idx="1513">
                  <c:v>43759</c:v>
                </c:pt>
                <c:pt idx="1514">
                  <c:v>43760</c:v>
                </c:pt>
                <c:pt idx="1515">
                  <c:v>43761</c:v>
                </c:pt>
                <c:pt idx="1516">
                  <c:v>43762</c:v>
                </c:pt>
                <c:pt idx="1517">
                  <c:v>43763</c:v>
                </c:pt>
                <c:pt idx="1518">
                  <c:v>43766</c:v>
                </c:pt>
                <c:pt idx="1519">
                  <c:v>43767</c:v>
                </c:pt>
                <c:pt idx="1520">
                  <c:v>43768</c:v>
                </c:pt>
                <c:pt idx="1521">
                  <c:v>43769</c:v>
                </c:pt>
                <c:pt idx="1522">
                  <c:v>43770</c:v>
                </c:pt>
                <c:pt idx="1523">
                  <c:v>43773</c:v>
                </c:pt>
                <c:pt idx="1524">
                  <c:v>43774</c:v>
                </c:pt>
                <c:pt idx="1525">
                  <c:v>43775</c:v>
                </c:pt>
                <c:pt idx="1526">
                  <c:v>43776</c:v>
                </c:pt>
                <c:pt idx="1527">
                  <c:v>43777</c:v>
                </c:pt>
                <c:pt idx="1528">
                  <c:v>43780</c:v>
                </c:pt>
                <c:pt idx="1529">
                  <c:v>43781</c:v>
                </c:pt>
                <c:pt idx="1530">
                  <c:v>43782</c:v>
                </c:pt>
                <c:pt idx="1531">
                  <c:v>43783</c:v>
                </c:pt>
                <c:pt idx="1532">
                  <c:v>43784</c:v>
                </c:pt>
                <c:pt idx="1533">
                  <c:v>43787</c:v>
                </c:pt>
                <c:pt idx="1534">
                  <c:v>43788</c:v>
                </c:pt>
                <c:pt idx="1535">
                  <c:v>43789</c:v>
                </c:pt>
                <c:pt idx="1536">
                  <c:v>43790</c:v>
                </c:pt>
                <c:pt idx="1537">
                  <c:v>43791</c:v>
                </c:pt>
                <c:pt idx="1538">
                  <c:v>43794</c:v>
                </c:pt>
                <c:pt idx="1539">
                  <c:v>43795</c:v>
                </c:pt>
                <c:pt idx="1540">
                  <c:v>43796</c:v>
                </c:pt>
                <c:pt idx="1541">
                  <c:v>43797</c:v>
                </c:pt>
                <c:pt idx="1542">
                  <c:v>43798</c:v>
                </c:pt>
                <c:pt idx="1543">
                  <c:v>43801</c:v>
                </c:pt>
                <c:pt idx="1544">
                  <c:v>43802</c:v>
                </c:pt>
                <c:pt idx="1545">
                  <c:v>43803</c:v>
                </c:pt>
                <c:pt idx="1546">
                  <c:v>43804</c:v>
                </c:pt>
                <c:pt idx="1547">
                  <c:v>43805</c:v>
                </c:pt>
                <c:pt idx="1548">
                  <c:v>43808</c:v>
                </c:pt>
                <c:pt idx="1549">
                  <c:v>43809</c:v>
                </c:pt>
                <c:pt idx="1550">
                  <c:v>43810</c:v>
                </c:pt>
                <c:pt idx="1551">
                  <c:v>43811</c:v>
                </c:pt>
                <c:pt idx="1552">
                  <c:v>43812</c:v>
                </c:pt>
                <c:pt idx="1553">
                  <c:v>43815</c:v>
                </c:pt>
                <c:pt idx="1554">
                  <c:v>43816</c:v>
                </c:pt>
                <c:pt idx="1555">
                  <c:v>43817</c:v>
                </c:pt>
                <c:pt idx="1556">
                  <c:v>43818</c:v>
                </c:pt>
                <c:pt idx="1557">
                  <c:v>43819</c:v>
                </c:pt>
                <c:pt idx="1558">
                  <c:v>43822</c:v>
                </c:pt>
                <c:pt idx="1559">
                  <c:v>43823</c:v>
                </c:pt>
                <c:pt idx="1560">
                  <c:v>43824</c:v>
                </c:pt>
                <c:pt idx="1561">
                  <c:v>43825</c:v>
                </c:pt>
                <c:pt idx="1562">
                  <c:v>43826</c:v>
                </c:pt>
                <c:pt idx="1563">
                  <c:v>43829</c:v>
                </c:pt>
                <c:pt idx="1564">
                  <c:v>43830</c:v>
                </c:pt>
                <c:pt idx="1565">
                  <c:v>43831</c:v>
                </c:pt>
                <c:pt idx="1566">
                  <c:v>43832</c:v>
                </c:pt>
                <c:pt idx="1567">
                  <c:v>43833</c:v>
                </c:pt>
                <c:pt idx="1568">
                  <c:v>43836</c:v>
                </c:pt>
                <c:pt idx="1569">
                  <c:v>43837</c:v>
                </c:pt>
                <c:pt idx="1570">
                  <c:v>43838</c:v>
                </c:pt>
                <c:pt idx="1571">
                  <c:v>43839</c:v>
                </c:pt>
                <c:pt idx="1572">
                  <c:v>43840</c:v>
                </c:pt>
                <c:pt idx="1573">
                  <c:v>43843</c:v>
                </c:pt>
                <c:pt idx="1574">
                  <c:v>43844</c:v>
                </c:pt>
                <c:pt idx="1575">
                  <c:v>43845</c:v>
                </c:pt>
                <c:pt idx="1576">
                  <c:v>43846</c:v>
                </c:pt>
                <c:pt idx="1577">
                  <c:v>43847</c:v>
                </c:pt>
                <c:pt idx="1578">
                  <c:v>43850</c:v>
                </c:pt>
                <c:pt idx="1579">
                  <c:v>43851</c:v>
                </c:pt>
                <c:pt idx="1580">
                  <c:v>43852</c:v>
                </c:pt>
                <c:pt idx="1581">
                  <c:v>43853</c:v>
                </c:pt>
                <c:pt idx="1582">
                  <c:v>43854</c:v>
                </c:pt>
                <c:pt idx="1583">
                  <c:v>43857</c:v>
                </c:pt>
                <c:pt idx="1584">
                  <c:v>43858</c:v>
                </c:pt>
                <c:pt idx="1585">
                  <c:v>43859</c:v>
                </c:pt>
                <c:pt idx="1586">
                  <c:v>43860</c:v>
                </c:pt>
                <c:pt idx="1587">
                  <c:v>43861</c:v>
                </c:pt>
                <c:pt idx="1588">
                  <c:v>43864</c:v>
                </c:pt>
                <c:pt idx="1589">
                  <c:v>43865</c:v>
                </c:pt>
                <c:pt idx="1590">
                  <c:v>43866</c:v>
                </c:pt>
                <c:pt idx="1591">
                  <c:v>43867</c:v>
                </c:pt>
                <c:pt idx="1592">
                  <c:v>43868</c:v>
                </c:pt>
                <c:pt idx="1593">
                  <c:v>43871</c:v>
                </c:pt>
                <c:pt idx="1594">
                  <c:v>43872</c:v>
                </c:pt>
                <c:pt idx="1595">
                  <c:v>43873</c:v>
                </c:pt>
                <c:pt idx="1596">
                  <c:v>43874</c:v>
                </c:pt>
                <c:pt idx="1597">
                  <c:v>43875</c:v>
                </c:pt>
                <c:pt idx="1598">
                  <c:v>43878</c:v>
                </c:pt>
                <c:pt idx="1599">
                  <c:v>43879</c:v>
                </c:pt>
                <c:pt idx="1600">
                  <c:v>43880</c:v>
                </c:pt>
                <c:pt idx="1601">
                  <c:v>43881</c:v>
                </c:pt>
                <c:pt idx="1602">
                  <c:v>43882</c:v>
                </c:pt>
                <c:pt idx="1603">
                  <c:v>43885</c:v>
                </c:pt>
                <c:pt idx="1604">
                  <c:v>43886</c:v>
                </c:pt>
                <c:pt idx="1605">
                  <c:v>43887</c:v>
                </c:pt>
                <c:pt idx="1606">
                  <c:v>43888</c:v>
                </c:pt>
                <c:pt idx="1607">
                  <c:v>43889</c:v>
                </c:pt>
                <c:pt idx="1608">
                  <c:v>43892</c:v>
                </c:pt>
                <c:pt idx="1609">
                  <c:v>43893</c:v>
                </c:pt>
                <c:pt idx="1610">
                  <c:v>43894</c:v>
                </c:pt>
                <c:pt idx="1611">
                  <c:v>43895</c:v>
                </c:pt>
                <c:pt idx="1612">
                  <c:v>43896</c:v>
                </c:pt>
                <c:pt idx="1613">
                  <c:v>43899</c:v>
                </c:pt>
                <c:pt idx="1614">
                  <c:v>43900</c:v>
                </c:pt>
                <c:pt idx="1615">
                  <c:v>43901</c:v>
                </c:pt>
                <c:pt idx="1616">
                  <c:v>43902</c:v>
                </c:pt>
                <c:pt idx="1617">
                  <c:v>43903</c:v>
                </c:pt>
                <c:pt idx="1618">
                  <c:v>43906</c:v>
                </c:pt>
                <c:pt idx="1619">
                  <c:v>43907</c:v>
                </c:pt>
                <c:pt idx="1620">
                  <c:v>43908</c:v>
                </c:pt>
                <c:pt idx="1621">
                  <c:v>43909</c:v>
                </c:pt>
                <c:pt idx="1622">
                  <c:v>43910</c:v>
                </c:pt>
                <c:pt idx="1623">
                  <c:v>43913</c:v>
                </c:pt>
                <c:pt idx="1624">
                  <c:v>43914</c:v>
                </c:pt>
                <c:pt idx="1625">
                  <c:v>43915</c:v>
                </c:pt>
                <c:pt idx="1626">
                  <c:v>43916</c:v>
                </c:pt>
                <c:pt idx="1627">
                  <c:v>43917</c:v>
                </c:pt>
                <c:pt idx="1628">
                  <c:v>43920</c:v>
                </c:pt>
                <c:pt idx="1629">
                  <c:v>43921</c:v>
                </c:pt>
                <c:pt idx="1630">
                  <c:v>43922</c:v>
                </c:pt>
                <c:pt idx="1631">
                  <c:v>43923</c:v>
                </c:pt>
                <c:pt idx="1632">
                  <c:v>43924</c:v>
                </c:pt>
                <c:pt idx="1633">
                  <c:v>43927</c:v>
                </c:pt>
                <c:pt idx="1634">
                  <c:v>43928</c:v>
                </c:pt>
                <c:pt idx="1635">
                  <c:v>43929</c:v>
                </c:pt>
                <c:pt idx="1636">
                  <c:v>43930</c:v>
                </c:pt>
                <c:pt idx="1637">
                  <c:v>43931</c:v>
                </c:pt>
                <c:pt idx="1638">
                  <c:v>43934</c:v>
                </c:pt>
                <c:pt idx="1639">
                  <c:v>43935</c:v>
                </c:pt>
                <c:pt idx="1640">
                  <c:v>43936</c:v>
                </c:pt>
                <c:pt idx="1641">
                  <c:v>43937</c:v>
                </c:pt>
                <c:pt idx="1642">
                  <c:v>43938</c:v>
                </c:pt>
                <c:pt idx="1643">
                  <c:v>43941</c:v>
                </c:pt>
                <c:pt idx="1644">
                  <c:v>43942</c:v>
                </c:pt>
                <c:pt idx="1645">
                  <c:v>43943</c:v>
                </c:pt>
                <c:pt idx="1646">
                  <c:v>43944</c:v>
                </c:pt>
                <c:pt idx="1647">
                  <c:v>43945</c:v>
                </c:pt>
                <c:pt idx="1648">
                  <c:v>43948</c:v>
                </c:pt>
                <c:pt idx="1649">
                  <c:v>43949</c:v>
                </c:pt>
                <c:pt idx="1650">
                  <c:v>43950</c:v>
                </c:pt>
                <c:pt idx="1651">
                  <c:v>43951</c:v>
                </c:pt>
                <c:pt idx="1652">
                  <c:v>43952</c:v>
                </c:pt>
                <c:pt idx="1653">
                  <c:v>43955</c:v>
                </c:pt>
                <c:pt idx="1654">
                  <c:v>43956</c:v>
                </c:pt>
                <c:pt idx="1655">
                  <c:v>43957</c:v>
                </c:pt>
                <c:pt idx="1656">
                  <c:v>43958</c:v>
                </c:pt>
                <c:pt idx="1657">
                  <c:v>43959</c:v>
                </c:pt>
                <c:pt idx="1658">
                  <c:v>43962</c:v>
                </c:pt>
                <c:pt idx="1659">
                  <c:v>43963</c:v>
                </c:pt>
                <c:pt idx="1660">
                  <c:v>43964</c:v>
                </c:pt>
                <c:pt idx="1661">
                  <c:v>43965</c:v>
                </c:pt>
                <c:pt idx="1662">
                  <c:v>43966</c:v>
                </c:pt>
                <c:pt idx="1663">
                  <c:v>43969</c:v>
                </c:pt>
                <c:pt idx="1664">
                  <c:v>43970</c:v>
                </c:pt>
                <c:pt idx="1665">
                  <c:v>43971</c:v>
                </c:pt>
                <c:pt idx="1666">
                  <c:v>43972</c:v>
                </c:pt>
                <c:pt idx="1667">
                  <c:v>43973</c:v>
                </c:pt>
                <c:pt idx="1668">
                  <c:v>43976</c:v>
                </c:pt>
                <c:pt idx="1669">
                  <c:v>43977</c:v>
                </c:pt>
                <c:pt idx="1670">
                  <c:v>43978</c:v>
                </c:pt>
                <c:pt idx="1671">
                  <c:v>43979</c:v>
                </c:pt>
                <c:pt idx="1672">
                  <c:v>43980</c:v>
                </c:pt>
                <c:pt idx="1673">
                  <c:v>43983</c:v>
                </c:pt>
                <c:pt idx="1674">
                  <c:v>43984</c:v>
                </c:pt>
                <c:pt idx="1675">
                  <c:v>43985</c:v>
                </c:pt>
                <c:pt idx="1676">
                  <c:v>43986</c:v>
                </c:pt>
                <c:pt idx="1677">
                  <c:v>43987</c:v>
                </c:pt>
                <c:pt idx="1678">
                  <c:v>43990</c:v>
                </c:pt>
                <c:pt idx="1679">
                  <c:v>43991</c:v>
                </c:pt>
                <c:pt idx="1680">
                  <c:v>43992</c:v>
                </c:pt>
                <c:pt idx="1681">
                  <c:v>43993</c:v>
                </c:pt>
                <c:pt idx="1682">
                  <c:v>43994</c:v>
                </c:pt>
                <c:pt idx="1683">
                  <c:v>43997</c:v>
                </c:pt>
                <c:pt idx="1684">
                  <c:v>43998</c:v>
                </c:pt>
                <c:pt idx="1685">
                  <c:v>43999</c:v>
                </c:pt>
                <c:pt idx="1686">
                  <c:v>44000</c:v>
                </c:pt>
                <c:pt idx="1687">
                  <c:v>44001</c:v>
                </c:pt>
                <c:pt idx="1688">
                  <c:v>44004</c:v>
                </c:pt>
                <c:pt idx="1689">
                  <c:v>44005</c:v>
                </c:pt>
                <c:pt idx="1690">
                  <c:v>44006</c:v>
                </c:pt>
                <c:pt idx="1691">
                  <c:v>44007</c:v>
                </c:pt>
                <c:pt idx="1692">
                  <c:v>44008</c:v>
                </c:pt>
                <c:pt idx="1693">
                  <c:v>44011</c:v>
                </c:pt>
                <c:pt idx="1694">
                  <c:v>44012</c:v>
                </c:pt>
                <c:pt idx="1695">
                  <c:v>44013</c:v>
                </c:pt>
                <c:pt idx="1696">
                  <c:v>44014</c:v>
                </c:pt>
                <c:pt idx="1697">
                  <c:v>44015</c:v>
                </c:pt>
                <c:pt idx="1698">
                  <c:v>44018</c:v>
                </c:pt>
                <c:pt idx="1699">
                  <c:v>44019</c:v>
                </c:pt>
                <c:pt idx="1700">
                  <c:v>44020</c:v>
                </c:pt>
                <c:pt idx="1701">
                  <c:v>44021</c:v>
                </c:pt>
                <c:pt idx="1702">
                  <c:v>44022</c:v>
                </c:pt>
                <c:pt idx="1703">
                  <c:v>44025</c:v>
                </c:pt>
                <c:pt idx="1704">
                  <c:v>44026</c:v>
                </c:pt>
                <c:pt idx="1705">
                  <c:v>44027</c:v>
                </c:pt>
                <c:pt idx="1706">
                  <c:v>44028</c:v>
                </c:pt>
                <c:pt idx="1707">
                  <c:v>44029</c:v>
                </c:pt>
                <c:pt idx="1708">
                  <c:v>44032</c:v>
                </c:pt>
                <c:pt idx="1709">
                  <c:v>44033</c:v>
                </c:pt>
                <c:pt idx="1710">
                  <c:v>44034</c:v>
                </c:pt>
                <c:pt idx="1711">
                  <c:v>44035</c:v>
                </c:pt>
                <c:pt idx="1712">
                  <c:v>44036</c:v>
                </c:pt>
                <c:pt idx="1713">
                  <c:v>44039</c:v>
                </c:pt>
                <c:pt idx="1714">
                  <c:v>44040</c:v>
                </c:pt>
                <c:pt idx="1715">
                  <c:v>44041</c:v>
                </c:pt>
                <c:pt idx="1716">
                  <c:v>44042</c:v>
                </c:pt>
                <c:pt idx="1717">
                  <c:v>44043</c:v>
                </c:pt>
                <c:pt idx="1718">
                  <c:v>44046</c:v>
                </c:pt>
                <c:pt idx="1719">
                  <c:v>44047</c:v>
                </c:pt>
                <c:pt idx="1720">
                  <c:v>44048</c:v>
                </c:pt>
                <c:pt idx="1721">
                  <c:v>44049</c:v>
                </c:pt>
                <c:pt idx="1722">
                  <c:v>44050</c:v>
                </c:pt>
                <c:pt idx="1723">
                  <c:v>44053</c:v>
                </c:pt>
                <c:pt idx="1724">
                  <c:v>44054</c:v>
                </c:pt>
                <c:pt idx="1725">
                  <c:v>44055</c:v>
                </c:pt>
                <c:pt idx="1726">
                  <c:v>44056</c:v>
                </c:pt>
                <c:pt idx="1727">
                  <c:v>44057</c:v>
                </c:pt>
                <c:pt idx="1728">
                  <c:v>44060</c:v>
                </c:pt>
                <c:pt idx="1729">
                  <c:v>44061</c:v>
                </c:pt>
                <c:pt idx="1730">
                  <c:v>44062</c:v>
                </c:pt>
                <c:pt idx="1731">
                  <c:v>44063</c:v>
                </c:pt>
                <c:pt idx="1732">
                  <c:v>44064</c:v>
                </c:pt>
                <c:pt idx="1733">
                  <c:v>44067</c:v>
                </c:pt>
                <c:pt idx="1734">
                  <c:v>44068</c:v>
                </c:pt>
                <c:pt idx="1735">
                  <c:v>44069</c:v>
                </c:pt>
                <c:pt idx="1736">
                  <c:v>44070</c:v>
                </c:pt>
                <c:pt idx="1737">
                  <c:v>44071</c:v>
                </c:pt>
                <c:pt idx="1738">
                  <c:v>44074</c:v>
                </c:pt>
                <c:pt idx="1739">
                  <c:v>44075</c:v>
                </c:pt>
                <c:pt idx="1740">
                  <c:v>44076</c:v>
                </c:pt>
                <c:pt idx="1741">
                  <c:v>44077</c:v>
                </c:pt>
                <c:pt idx="1742">
                  <c:v>44078</c:v>
                </c:pt>
                <c:pt idx="1743">
                  <c:v>44081</c:v>
                </c:pt>
                <c:pt idx="1744">
                  <c:v>44082</c:v>
                </c:pt>
                <c:pt idx="1745">
                  <c:v>44083</c:v>
                </c:pt>
                <c:pt idx="1746">
                  <c:v>44084</c:v>
                </c:pt>
                <c:pt idx="1747">
                  <c:v>44085</c:v>
                </c:pt>
                <c:pt idx="1748">
                  <c:v>44088</c:v>
                </c:pt>
                <c:pt idx="1749">
                  <c:v>44089</c:v>
                </c:pt>
                <c:pt idx="1750">
                  <c:v>44090</c:v>
                </c:pt>
                <c:pt idx="1751">
                  <c:v>44091</c:v>
                </c:pt>
                <c:pt idx="1752">
                  <c:v>44092</c:v>
                </c:pt>
                <c:pt idx="1753">
                  <c:v>44095</c:v>
                </c:pt>
                <c:pt idx="1754">
                  <c:v>44096</c:v>
                </c:pt>
                <c:pt idx="1755">
                  <c:v>44097</c:v>
                </c:pt>
                <c:pt idx="1756">
                  <c:v>44098</c:v>
                </c:pt>
                <c:pt idx="1757">
                  <c:v>44099</c:v>
                </c:pt>
                <c:pt idx="1758">
                  <c:v>44102</c:v>
                </c:pt>
                <c:pt idx="1759">
                  <c:v>44103</c:v>
                </c:pt>
                <c:pt idx="1760">
                  <c:v>44104</c:v>
                </c:pt>
                <c:pt idx="1761">
                  <c:v>44105</c:v>
                </c:pt>
                <c:pt idx="1762">
                  <c:v>44106</c:v>
                </c:pt>
                <c:pt idx="1763">
                  <c:v>44109</c:v>
                </c:pt>
                <c:pt idx="1764">
                  <c:v>44110</c:v>
                </c:pt>
                <c:pt idx="1765">
                  <c:v>44111</c:v>
                </c:pt>
                <c:pt idx="1766">
                  <c:v>44112</c:v>
                </c:pt>
                <c:pt idx="1767">
                  <c:v>44113</c:v>
                </c:pt>
                <c:pt idx="1768">
                  <c:v>44116</c:v>
                </c:pt>
                <c:pt idx="1769">
                  <c:v>44117</c:v>
                </c:pt>
                <c:pt idx="1770">
                  <c:v>44118</c:v>
                </c:pt>
                <c:pt idx="1771">
                  <c:v>44119</c:v>
                </c:pt>
                <c:pt idx="1772">
                  <c:v>44120</c:v>
                </c:pt>
                <c:pt idx="1773">
                  <c:v>44123</c:v>
                </c:pt>
                <c:pt idx="1774">
                  <c:v>44124</c:v>
                </c:pt>
                <c:pt idx="1775">
                  <c:v>44125</c:v>
                </c:pt>
                <c:pt idx="1776">
                  <c:v>44126</c:v>
                </c:pt>
                <c:pt idx="1777">
                  <c:v>44127</c:v>
                </c:pt>
                <c:pt idx="1778">
                  <c:v>44130</c:v>
                </c:pt>
                <c:pt idx="1779">
                  <c:v>44131</c:v>
                </c:pt>
                <c:pt idx="1780">
                  <c:v>44132</c:v>
                </c:pt>
                <c:pt idx="1781">
                  <c:v>44133</c:v>
                </c:pt>
                <c:pt idx="1782">
                  <c:v>44134</c:v>
                </c:pt>
                <c:pt idx="1783">
                  <c:v>44137</c:v>
                </c:pt>
                <c:pt idx="1784">
                  <c:v>44138</c:v>
                </c:pt>
                <c:pt idx="1785">
                  <c:v>44139</c:v>
                </c:pt>
                <c:pt idx="1786">
                  <c:v>44140</c:v>
                </c:pt>
                <c:pt idx="1787">
                  <c:v>44141</c:v>
                </c:pt>
                <c:pt idx="1788">
                  <c:v>44144</c:v>
                </c:pt>
                <c:pt idx="1789">
                  <c:v>44145</c:v>
                </c:pt>
                <c:pt idx="1790">
                  <c:v>44146</c:v>
                </c:pt>
                <c:pt idx="1791">
                  <c:v>44147</c:v>
                </c:pt>
                <c:pt idx="1792">
                  <c:v>44148</c:v>
                </c:pt>
                <c:pt idx="1793">
                  <c:v>44151</c:v>
                </c:pt>
                <c:pt idx="1794">
                  <c:v>44152</c:v>
                </c:pt>
                <c:pt idx="1795">
                  <c:v>44153</c:v>
                </c:pt>
                <c:pt idx="1796">
                  <c:v>44154</c:v>
                </c:pt>
                <c:pt idx="1797">
                  <c:v>44155</c:v>
                </c:pt>
                <c:pt idx="1798">
                  <c:v>44158</c:v>
                </c:pt>
                <c:pt idx="1799">
                  <c:v>44159</c:v>
                </c:pt>
                <c:pt idx="1800">
                  <c:v>44160</c:v>
                </c:pt>
                <c:pt idx="1801">
                  <c:v>44161</c:v>
                </c:pt>
                <c:pt idx="1802">
                  <c:v>44162</c:v>
                </c:pt>
                <c:pt idx="1803">
                  <c:v>44165</c:v>
                </c:pt>
                <c:pt idx="1804">
                  <c:v>44166</c:v>
                </c:pt>
                <c:pt idx="1805">
                  <c:v>44167</c:v>
                </c:pt>
                <c:pt idx="1806">
                  <c:v>44168</c:v>
                </c:pt>
                <c:pt idx="1807">
                  <c:v>44169</c:v>
                </c:pt>
                <c:pt idx="1808">
                  <c:v>44172</c:v>
                </c:pt>
                <c:pt idx="1809">
                  <c:v>44173</c:v>
                </c:pt>
                <c:pt idx="1810">
                  <c:v>44174</c:v>
                </c:pt>
                <c:pt idx="1811">
                  <c:v>44175</c:v>
                </c:pt>
                <c:pt idx="1812">
                  <c:v>44176</c:v>
                </c:pt>
                <c:pt idx="1813">
                  <c:v>44179</c:v>
                </c:pt>
                <c:pt idx="1814">
                  <c:v>44180</c:v>
                </c:pt>
                <c:pt idx="1815">
                  <c:v>44181</c:v>
                </c:pt>
                <c:pt idx="1816">
                  <c:v>44182</c:v>
                </c:pt>
                <c:pt idx="1817">
                  <c:v>44183</c:v>
                </c:pt>
                <c:pt idx="1818">
                  <c:v>44186</c:v>
                </c:pt>
                <c:pt idx="1819">
                  <c:v>44187</c:v>
                </c:pt>
                <c:pt idx="1820">
                  <c:v>44188</c:v>
                </c:pt>
                <c:pt idx="1821">
                  <c:v>44189</c:v>
                </c:pt>
                <c:pt idx="1822">
                  <c:v>44190</c:v>
                </c:pt>
                <c:pt idx="1823">
                  <c:v>44193</c:v>
                </c:pt>
                <c:pt idx="1824">
                  <c:v>44194</c:v>
                </c:pt>
                <c:pt idx="1825">
                  <c:v>44195</c:v>
                </c:pt>
                <c:pt idx="1826">
                  <c:v>44196</c:v>
                </c:pt>
                <c:pt idx="1827">
                  <c:v>44197</c:v>
                </c:pt>
                <c:pt idx="1828">
                  <c:v>44200</c:v>
                </c:pt>
                <c:pt idx="1829">
                  <c:v>44201</c:v>
                </c:pt>
                <c:pt idx="1830">
                  <c:v>44202</c:v>
                </c:pt>
                <c:pt idx="1831">
                  <c:v>44203</c:v>
                </c:pt>
                <c:pt idx="1832">
                  <c:v>44204</c:v>
                </c:pt>
                <c:pt idx="1833">
                  <c:v>44207</c:v>
                </c:pt>
                <c:pt idx="1834">
                  <c:v>44208</c:v>
                </c:pt>
                <c:pt idx="1835">
                  <c:v>44209</c:v>
                </c:pt>
                <c:pt idx="1836">
                  <c:v>44210</c:v>
                </c:pt>
                <c:pt idx="1837">
                  <c:v>44211</c:v>
                </c:pt>
                <c:pt idx="1838">
                  <c:v>44214</c:v>
                </c:pt>
                <c:pt idx="1839">
                  <c:v>44215</c:v>
                </c:pt>
                <c:pt idx="1840">
                  <c:v>44216</c:v>
                </c:pt>
                <c:pt idx="1841">
                  <c:v>44217</c:v>
                </c:pt>
                <c:pt idx="1842">
                  <c:v>44218</c:v>
                </c:pt>
                <c:pt idx="1843">
                  <c:v>44221</c:v>
                </c:pt>
                <c:pt idx="1844">
                  <c:v>44222</c:v>
                </c:pt>
                <c:pt idx="1845">
                  <c:v>44223</c:v>
                </c:pt>
                <c:pt idx="1846">
                  <c:v>44224</c:v>
                </c:pt>
                <c:pt idx="1847">
                  <c:v>44225</c:v>
                </c:pt>
                <c:pt idx="1848">
                  <c:v>44228</c:v>
                </c:pt>
                <c:pt idx="1849">
                  <c:v>44229</c:v>
                </c:pt>
                <c:pt idx="1850">
                  <c:v>44230</c:v>
                </c:pt>
                <c:pt idx="1851">
                  <c:v>44231</c:v>
                </c:pt>
                <c:pt idx="1852">
                  <c:v>44232</c:v>
                </c:pt>
                <c:pt idx="1853">
                  <c:v>44235</c:v>
                </c:pt>
                <c:pt idx="1854">
                  <c:v>44236</c:v>
                </c:pt>
                <c:pt idx="1855">
                  <c:v>44237</c:v>
                </c:pt>
                <c:pt idx="1856">
                  <c:v>44238</c:v>
                </c:pt>
                <c:pt idx="1857">
                  <c:v>44239</c:v>
                </c:pt>
                <c:pt idx="1858">
                  <c:v>44242</c:v>
                </c:pt>
                <c:pt idx="1859">
                  <c:v>44243</c:v>
                </c:pt>
                <c:pt idx="1860">
                  <c:v>44244</c:v>
                </c:pt>
                <c:pt idx="1861">
                  <c:v>44245</c:v>
                </c:pt>
                <c:pt idx="1862">
                  <c:v>44246</c:v>
                </c:pt>
                <c:pt idx="1863">
                  <c:v>44249</c:v>
                </c:pt>
                <c:pt idx="1864">
                  <c:v>44250</c:v>
                </c:pt>
                <c:pt idx="1865">
                  <c:v>44251</c:v>
                </c:pt>
                <c:pt idx="1866">
                  <c:v>44252</c:v>
                </c:pt>
                <c:pt idx="1867">
                  <c:v>44253</c:v>
                </c:pt>
                <c:pt idx="1868">
                  <c:v>44256</c:v>
                </c:pt>
                <c:pt idx="1869">
                  <c:v>44257</c:v>
                </c:pt>
                <c:pt idx="1870">
                  <c:v>44258</c:v>
                </c:pt>
                <c:pt idx="1871">
                  <c:v>44259</c:v>
                </c:pt>
                <c:pt idx="1872">
                  <c:v>44260</c:v>
                </c:pt>
                <c:pt idx="1873">
                  <c:v>44263</c:v>
                </c:pt>
                <c:pt idx="1874">
                  <c:v>44264</c:v>
                </c:pt>
                <c:pt idx="1875">
                  <c:v>44265</c:v>
                </c:pt>
                <c:pt idx="1876">
                  <c:v>44266</c:v>
                </c:pt>
                <c:pt idx="1877">
                  <c:v>44267</c:v>
                </c:pt>
                <c:pt idx="1878">
                  <c:v>44270</c:v>
                </c:pt>
                <c:pt idx="1879">
                  <c:v>44271</c:v>
                </c:pt>
                <c:pt idx="1880">
                  <c:v>44272</c:v>
                </c:pt>
                <c:pt idx="1881">
                  <c:v>44273</c:v>
                </c:pt>
                <c:pt idx="1882">
                  <c:v>44274</c:v>
                </c:pt>
                <c:pt idx="1883">
                  <c:v>44277</c:v>
                </c:pt>
                <c:pt idx="1884">
                  <c:v>44278</c:v>
                </c:pt>
                <c:pt idx="1885">
                  <c:v>44279</c:v>
                </c:pt>
                <c:pt idx="1886">
                  <c:v>44280</c:v>
                </c:pt>
                <c:pt idx="1887">
                  <c:v>44281</c:v>
                </c:pt>
                <c:pt idx="1888">
                  <c:v>44284</c:v>
                </c:pt>
                <c:pt idx="1889">
                  <c:v>44285</c:v>
                </c:pt>
                <c:pt idx="1890">
                  <c:v>44286</c:v>
                </c:pt>
                <c:pt idx="1891">
                  <c:v>44287</c:v>
                </c:pt>
                <c:pt idx="1892">
                  <c:v>44288</c:v>
                </c:pt>
                <c:pt idx="1893">
                  <c:v>44291</c:v>
                </c:pt>
                <c:pt idx="1894">
                  <c:v>44292</c:v>
                </c:pt>
                <c:pt idx="1895">
                  <c:v>44293</c:v>
                </c:pt>
                <c:pt idx="1896">
                  <c:v>44294</c:v>
                </c:pt>
                <c:pt idx="1897">
                  <c:v>44295</c:v>
                </c:pt>
                <c:pt idx="1898">
                  <c:v>44298</c:v>
                </c:pt>
                <c:pt idx="1899">
                  <c:v>44299</c:v>
                </c:pt>
                <c:pt idx="1900">
                  <c:v>44300</c:v>
                </c:pt>
                <c:pt idx="1901">
                  <c:v>44301</c:v>
                </c:pt>
                <c:pt idx="1902">
                  <c:v>44302</c:v>
                </c:pt>
                <c:pt idx="1903">
                  <c:v>44305</c:v>
                </c:pt>
                <c:pt idx="1904">
                  <c:v>44306</c:v>
                </c:pt>
                <c:pt idx="1905">
                  <c:v>44307</c:v>
                </c:pt>
                <c:pt idx="1906">
                  <c:v>44308</c:v>
                </c:pt>
                <c:pt idx="1907">
                  <c:v>44309</c:v>
                </c:pt>
                <c:pt idx="1908">
                  <c:v>44312</c:v>
                </c:pt>
                <c:pt idx="1909">
                  <c:v>44313</c:v>
                </c:pt>
                <c:pt idx="1910">
                  <c:v>44314</c:v>
                </c:pt>
                <c:pt idx="1911">
                  <c:v>44315</c:v>
                </c:pt>
                <c:pt idx="1912">
                  <c:v>44316</c:v>
                </c:pt>
                <c:pt idx="1913">
                  <c:v>44319</c:v>
                </c:pt>
                <c:pt idx="1914">
                  <c:v>44320</c:v>
                </c:pt>
                <c:pt idx="1915">
                  <c:v>44321</c:v>
                </c:pt>
                <c:pt idx="1916">
                  <c:v>44322</c:v>
                </c:pt>
                <c:pt idx="1917">
                  <c:v>44323</c:v>
                </c:pt>
                <c:pt idx="1918">
                  <c:v>44326</c:v>
                </c:pt>
                <c:pt idx="1919">
                  <c:v>44327</c:v>
                </c:pt>
                <c:pt idx="1920">
                  <c:v>44328</c:v>
                </c:pt>
                <c:pt idx="1921">
                  <c:v>44329</c:v>
                </c:pt>
                <c:pt idx="1922">
                  <c:v>44330</c:v>
                </c:pt>
                <c:pt idx="1923">
                  <c:v>44333</c:v>
                </c:pt>
                <c:pt idx="1924">
                  <c:v>44334</c:v>
                </c:pt>
                <c:pt idx="1925">
                  <c:v>44335</c:v>
                </c:pt>
                <c:pt idx="1926">
                  <c:v>44336</c:v>
                </c:pt>
                <c:pt idx="1927">
                  <c:v>44337</c:v>
                </c:pt>
                <c:pt idx="1928">
                  <c:v>44340</c:v>
                </c:pt>
                <c:pt idx="1929">
                  <c:v>44341</c:v>
                </c:pt>
                <c:pt idx="1930">
                  <c:v>44342</c:v>
                </c:pt>
                <c:pt idx="1931">
                  <c:v>44343</c:v>
                </c:pt>
                <c:pt idx="1932">
                  <c:v>44344</c:v>
                </c:pt>
                <c:pt idx="1933">
                  <c:v>44347</c:v>
                </c:pt>
                <c:pt idx="1934">
                  <c:v>44348</c:v>
                </c:pt>
                <c:pt idx="1935">
                  <c:v>44349</c:v>
                </c:pt>
                <c:pt idx="1936">
                  <c:v>44350</c:v>
                </c:pt>
                <c:pt idx="1937">
                  <c:v>44351</c:v>
                </c:pt>
                <c:pt idx="1938">
                  <c:v>44354</c:v>
                </c:pt>
                <c:pt idx="1939">
                  <c:v>44355</c:v>
                </c:pt>
                <c:pt idx="1940">
                  <c:v>44356</c:v>
                </c:pt>
                <c:pt idx="1941">
                  <c:v>44357</c:v>
                </c:pt>
                <c:pt idx="1942">
                  <c:v>44358</c:v>
                </c:pt>
                <c:pt idx="1943">
                  <c:v>44361</c:v>
                </c:pt>
                <c:pt idx="1944">
                  <c:v>44362</c:v>
                </c:pt>
                <c:pt idx="1945">
                  <c:v>44363</c:v>
                </c:pt>
                <c:pt idx="1946">
                  <c:v>44364</c:v>
                </c:pt>
                <c:pt idx="1947">
                  <c:v>44365</c:v>
                </c:pt>
                <c:pt idx="1948">
                  <c:v>44368</c:v>
                </c:pt>
                <c:pt idx="1949">
                  <c:v>44369</c:v>
                </c:pt>
                <c:pt idx="1950">
                  <c:v>44370</c:v>
                </c:pt>
                <c:pt idx="1951">
                  <c:v>44371</c:v>
                </c:pt>
                <c:pt idx="1952">
                  <c:v>44372</c:v>
                </c:pt>
                <c:pt idx="1953">
                  <c:v>44375</c:v>
                </c:pt>
                <c:pt idx="1954">
                  <c:v>44376</c:v>
                </c:pt>
                <c:pt idx="1955">
                  <c:v>44377</c:v>
                </c:pt>
                <c:pt idx="1956">
                  <c:v>44378</c:v>
                </c:pt>
                <c:pt idx="1957">
                  <c:v>44379</c:v>
                </c:pt>
                <c:pt idx="1958">
                  <c:v>44382</c:v>
                </c:pt>
                <c:pt idx="1959">
                  <c:v>44383</c:v>
                </c:pt>
                <c:pt idx="1960">
                  <c:v>44384</c:v>
                </c:pt>
                <c:pt idx="1961">
                  <c:v>44385</c:v>
                </c:pt>
                <c:pt idx="1962">
                  <c:v>44386</c:v>
                </c:pt>
                <c:pt idx="1963">
                  <c:v>44389</c:v>
                </c:pt>
                <c:pt idx="1964">
                  <c:v>44390</c:v>
                </c:pt>
                <c:pt idx="1965">
                  <c:v>44391</c:v>
                </c:pt>
                <c:pt idx="1966">
                  <c:v>44392</c:v>
                </c:pt>
                <c:pt idx="1967">
                  <c:v>44393</c:v>
                </c:pt>
                <c:pt idx="1968">
                  <c:v>44396</c:v>
                </c:pt>
                <c:pt idx="1969">
                  <c:v>44397</c:v>
                </c:pt>
                <c:pt idx="1970">
                  <c:v>44398</c:v>
                </c:pt>
                <c:pt idx="1971">
                  <c:v>44399</c:v>
                </c:pt>
                <c:pt idx="1972">
                  <c:v>44400</c:v>
                </c:pt>
                <c:pt idx="1973">
                  <c:v>44403</c:v>
                </c:pt>
                <c:pt idx="1974">
                  <c:v>44404</c:v>
                </c:pt>
                <c:pt idx="1975">
                  <c:v>44405</c:v>
                </c:pt>
                <c:pt idx="1976">
                  <c:v>44406</c:v>
                </c:pt>
                <c:pt idx="1977">
                  <c:v>44407</c:v>
                </c:pt>
                <c:pt idx="1978">
                  <c:v>44410</c:v>
                </c:pt>
                <c:pt idx="1979">
                  <c:v>44411</c:v>
                </c:pt>
                <c:pt idx="1980">
                  <c:v>44412</c:v>
                </c:pt>
                <c:pt idx="1981">
                  <c:v>44413</c:v>
                </c:pt>
                <c:pt idx="1982">
                  <c:v>44414</c:v>
                </c:pt>
                <c:pt idx="1983">
                  <c:v>44417</c:v>
                </c:pt>
                <c:pt idx="1984">
                  <c:v>44418</c:v>
                </c:pt>
                <c:pt idx="1985">
                  <c:v>44419</c:v>
                </c:pt>
                <c:pt idx="1986">
                  <c:v>44420</c:v>
                </c:pt>
                <c:pt idx="1987">
                  <c:v>44421</c:v>
                </c:pt>
                <c:pt idx="1988">
                  <c:v>44424</c:v>
                </c:pt>
                <c:pt idx="1989">
                  <c:v>44425</c:v>
                </c:pt>
                <c:pt idx="1990">
                  <c:v>44426</c:v>
                </c:pt>
                <c:pt idx="1991">
                  <c:v>44427</c:v>
                </c:pt>
                <c:pt idx="1992">
                  <c:v>44428</c:v>
                </c:pt>
                <c:pt idx="1993">
                  <c:v>44431</c:v>
                </c:pt>
                <c:pt idx="1994">
                  <c:v>44432</c:v>
                </c:pt>
                <c:pt idx="1995">
                  <c:v>44433</c:v>
                </c:pt>
                <c:pt idx="1996">
                  <c:v>44434</c:v>
                </c:pt>
                <c:pt idx="1997">
                  <c:v>44435</c:v>
                </c:pt>
                <c:pt idx="1998">
                  <c:v>44438</c:v>
                </c:pt>
                <c:pt idx="1999">
                  <c:v>44439</c:v>
                </c:pt>
                <c:pt idx="2000">
                  <c:v>44440</c:v>
                </c:pt>
                <c:pt idx="2001">
                  <c:v>44441</c:v>
                </c:pt>
                <c:pt idx="2002">
                  <c:v>44442</c:v>
                </c:pt>
                <c:pt idx="2003">
                  <c:v>44445</c:v>
                </c:pt>
                <c:pt idx="2004">
                  <c:v>44446</c:v>
                </c:pt>
                <c:pt idx="2005">
                  <c:v>44447</c:v>
                </c:pt>
                <c:pt idx="2006">
                  <c:v>44448</c:v>
                </c:pt>
                <c:pt idx="2007">
                  <c:v>44449</c:v>
                </c:pt>
                <c:pt idx="2008">
                  <c:v>44452</c:v>
                </c:pt>
                <c:pt idx="2009">
                  <c:v>44453</c:v>
                </c:pt>
                <c:pt idx="2010">
                  <c:v>44454</c:v>
                </c:pt>
                <c:pt idx="2011">
                  <c:v>44455</c:v>
                </c:pt>
                <c:pt idx="2012">
                  <c:v>44456</c:v>
                </c:pt>
                <c:pt idx="2013">
                  <c:v>44459</c:v>
                </c:pt>
                <c:pt idx="2014">
                  <c:v>44460</c:v>
                </c:pt>
                <c:pt idx="2015">
                  <c:v>44461</c:v>
                </c:pt>
                <c:pt idx="2016">
                  <c:v>44462</c:v>
                </c:pt>
                <c:pt idx="2017">
                  <c:v>44463</c:v>
                </c:pt>
                <c:pt idx="2018">
                  <c:v>44466</c:v>
                </c:pt>
                <c:pt idx="2019">
                  <c:v>44467</c:v>
                </c:pt>
                <c:pt idx="2020">
                  <c:v>44468</c:v>
                </c:pt>
                <c:pt idx="2021">
                  <c:v>44469</c:v>
                </c:pt>
                <c:pt idx="2022">
                  <c:v>44470</c:v>
                </c:pt>
                <c:pt idx="2023">
                  <c:v>44473</c:v>
                </c:pt>
                <c:pt idx="2024">
                  <c:v>44474</c:v>
                </c:pt>
                <c:pt idx="2025">
                  <c:v>44475</c:v>
                </c:pt>
                <c:pt idx="2026">
                  <c:v>44476</c:v>
                </c:pt>
                <c:pt idx="2027">
                  <c:v>44477</c:v>
                </c:pt>
                <c:pt idx="2028">
                  <c:v>44480</c:v>
                </c:pt>
                <c:pt idx="2029">
                  <c:v>44481</c:v>
                </c:pt>
                <c:pt idx="2030">
                  <c:v>44482</c:v>
                </c:pt>
                <c:pt idx="2031">
                  <c:v>44483</c:v>
                </c:pt>
                <c:pt idx="2032">
                  <c:v>44484</c:v>
                </c:pt>
                <c:pt idx="2033">
                  <c:v>44487</c:v>
                </c:pt>
                <c:pt idx="2034">
                  <c:v>44488</c:v>
                </c:pt>
                <c:pt idx="2035">
                  <c:v>44489</c:v>
                </c:pt>
                <c:pt idx="2036">
                  <c:v>44490</c:v>
                </c:pt>
                <c:pt idx="2037">
                  <c:v>44491</c:v>
                </c:pt>
                <c:pt idx="2038">
                  <c:v>44494</c:v>
                </c:pt>
                <c:pt idx="2039">
                  <c:v>44495</c:v>
                </c:pt>
                <c:pt idx="2040">
                  <c:v>44496</c:v>
                </c:pt>
                <c:pt idx="2041">
                  <c:v>44497</c:v>
                </c:pt>
                <c:pt idx="2042">
                  <c:v>44498</c:v>
                </c:pt>
                <c:pt idx="2043">
                  <c:v>44501</c:v>
                </c:pt>
                <c:pt idx="2044">
                  <c:v>44502</c:v>
                </c:pt>
                <c:pt idx="2045">
                  <c:v>44503</c:v>
                </c:pt>
                <c:pt idx="2046">
                  <c:v>44504</c:v>
                </c:pt>
                <c:pt idx="2047">
                  <c:v>44505</c:v>
                </c:pt>
                <c:pt idx="2048">
                  <c:v>44508</c:v>
                </c:pt>
                <c:pt idx="2049">
                  <c:v>44509</c:v>
                </c:pt>
                <c:pt idx="2050">
                  <c:v>44510</c:v>
                </c:pt>
                <c:pt idx="2051">
                  <c:v>44511</c:v>
                </c:pt>
                <c:pt idx="2052">
                  <c:v>44512</c:v>
                </c:pt>
                <c:pt idx="2053">
                  <c:v>44515</c:v>
                </c:pt>
                <c:pt idx="2054">
                  <c:v>44516</c:v>
                </c:pt>
                <c:pt idx="2055">
                  <c:v>44517</c:v>
                </c:pt>
                <c:pt idx="2056">
                  <c:v>44518</c:v>
                </c:pt>
                <c:pt idx="2057">
                  <c:v>44519</c:v>
                </c:pt>
                <c:pt idx="2058">
                  <c:v>44522</c:v>
                </c:pt>
                <c:pt idx="2059">
                  <c:v>44523</c:v>
                </c:pt>
                <c:pt idx="2060">
                  <c:v>44524</c:v>
                </c:pt>
                <c:pt idx="2061">
                  <c:v>44525</c:v>
                </c:pt>
                <c:pt idx="2062">
                  <c:v>44526</c:v>
                </c:pt>
                <c:pt idx="2063">
                  <c:v>44529</c:v>
                </c:pt>
                <c:pt idx="2064">
                  <c:v>44530</c:v>
                </c:pt>
                <c:pt idx="2065">
                  <c:v>44531</c:v>
                </c:pt>
                <c:pt idx="2066">
                  <c:v>44532</c:v>
                </c:pt>
                <c:pt idx="2067">
                  <c:v>44533</c:v>
                </c:pt>
                <c:pt idx="2068">
                  <c:v>44536</c:v>
                </c:pt>
                <c:pt idx="2069">
                  <c:v>44537</c:v>
                </c:pt>
                <c:pt idx="2070">
                  <c:v>44538</c:v>
                </c:pt>
                <c:pt idx="2071">
                  <c:v>44539</c:v>
                </c:pt>
                <c:pt idx="2072">
                  <c:v>44540</c:v>
                </c:pt>
                <c:pt idx="2073">
                  <c:v>44543</c:v>
                </c:pt>
                <c:pt idx="2074">
                  <c:v>44544</c:v>
                </c:pt>
                <c:pt idx="2075">
                  <c:v>44545</c:v>
                </c:pt>
                <c:pt idx="2076">
                  <c:v>44546</c:v>
                </c:pt>
                <c:pt idx="2077">
                  <c:v>44547</c:v>
                </c:pt>
                <c:pt idx="2078">
                  <c:v>44550</c:v>
                </c:pt>
                <c:pt idx="2079">
                  <c:v>44551</c:v>
                </c:pt>
                <c:pt idx="2080">
                  <c:v>44552</c:v>
                </c:pt>
                <c:pt idx="2081">
                  <c:v>44553</c:v>
                </c:pt>
                <c:pt idx="2082">
                  <c:v>44554</c:v>
                </c:pt>
                <c:pt idx="2083">
                  <c:v>44557</c:v>
                </c:pt>
                <c:pt idx="2084">
                  <c:v>44558</c:v>
                </c:pt>
                <c:pt idx="2085">
                  <c:v>44559</c:v>
                </c:pt>
                <c:pt idx="2086">
                  <c:v>44560</c:v>
                </c:pt>
                <c:pt idx="2087">
                  <c:v>44561</c:v>
                </c:pt>
                <c:pt idx="2088">
                  <c:v>44564</c:v>
                </c:pt>
                <c:pt idx="2089">
                  <c:v>44565</c:v>
                </c:pt>
                <c:pt idx="2090">
                  <c:v>44566</c:v>
                </c:pt>
                <c:pt idx="2091">
                  <c:v>44567</c:v>
                </c:pt>
                <c:pt idx="2092">
                  <c:v>44568</c:v>
                </c:pt>
                <c:pt idx="2093">
                  <c:v>44571</c:v>
                </c:pt>
                <c:pt idx="2094">
                  <c:v>44572</c:v>
                </c:pt>
                <c:pt idx="2095">
                  <c:v>44573</c:v>
                </c:pt>
                <c:pt idx="2096">
                  <c:v>44574</c:v>
                </c:pt>
                <c:pt idx="2097">
                  <c:v>44575</c:v>
                </c:pt>
                <c:pt idx="2098">
                  <c:v>44578</c:v>
                </c:pt>
                <c:pt idx="2099">
                  <c:v>44579</c:v>
                </c:pt>
                <c:pt idx="2100">
                  <c:v>44580</c:v>
                </c:pt>
                <c:pt idx="2101">
                  <c:v>44581</c:v>
                </c:pt>
                <c:pt idx="2102">
                  <c:v>44582</c:v>
                </c:pt>
                <c:pt idx="2103">
                  <c:v>44585</c:v>
                </c:pt>
                <c:pt idx="2104">
                  <c:v>44586</c:v>
                </c:pt>
                <c:pt idx="2105">
                  <c:v>44587</c:v>
                </c:pt>
                <c:pt idx="2106">
                  <c:v>44588</c:v>
                </c:pt>
                <c:pt idx="2107">
                  <c:v>44589</c:v>
                </c:pt>
                <c:pt idx="2108">
                  <c:v>44592</c:v>
                </c:pt>
                <c:pt idx="2109">
                  <c:v>44593</c:v>
                </c:pt>
                <c:pt idx="2110">
                  <c:v>44594</c:v>
                </c:pt>
                <c:pt idx="2111">
                  <c:v>44595</c:v>
                </c:pt>
                <c:pt idx="2112">
                  <c:v>44596</c:v>
                </c:pt>
                <c:pt idx="2113">
                  <c:v>44599</c:v>
                </c:pt>
                <c:pt idx="2114">
                  <c:v>44600</c:v>
                </c:pt>
                <c:pt idx="2115">
                  <c:v>44601</c:v>
                </c:pt>
                <c:pt idx="2116">
                  <c:v>44602</c:v>
                </c:pt>
                <c:pt idx="2117">
                  <c:v>44603</c:v>
                </c:pt>
                <c:pt idx="2118">
                  <c:v>44606</c:v>
                </c:pt>
                <c:pt idx="2119">
                  <c:v>44607</c:v>
                </c:pt>
                <c:pt idx="2120">
                  <c:v>44608</c:v>
                </c:pt>
                <c:pt idx="2121">
                  <c:v>44609</c:v>
                </c:pt>
                <c:pt idx="2122">
                  <c:v>44610</c:v>
                </c:pt>
                <c:pt idx="2123">
                  <c:v>44613</c:v>
                </c:pt>
                <c:pt idx="2124">
                  <c:v>44614</c:v>
                </c:pt>
                <c:pt idx="2125">
                  <c:v>44615</c:v>
                </c:pt>
                <c:pt idx="2126">
                  <c:v>44616</c:v>
                </c:pt>
                <c:pt idx="2127">
                  <c:v>44617</c:v>
                </c:pt>
                <c:pt idx="2128">
                  <c:v>44620</c:v>
                </c:pt>
                <c:pt idx="2129">
                  <c:v>44621</c:v>
                </c:pt>
                <c:pt idx="2130">
                  <c:v>44622</c:v>
                </c:pt>
                <c:pt idx="2131">
                  <c:v>44623</c:v>
                </c:pt>
                <c:pt idx="2132">
                  <c:v>44624</c:v>
                </c:pt>
                <c:pt idx="2133">
                  <c:v>44627</c:v>
                </c:pt>
                <c:pt idx="2134">
                  <c:v>44628</c:v>
                </c:pt>
                <c:pt idx="2135">
                  <c:v>44629</c:v>
                </c:pt>
                <c:pt idx="2136">
                  <c:v>44630</c:v>
                </c:pt>
                <c:pt idx="2137">
                  <c:v>44631</c:v>
                </c:pt>
                <c:pt idx="2138">
                  <c:v>44634</c:v>
                </c:pt>
                <c:pt idx="2139">
                  <c:v>44635</c:v>
                </c:pt>
                <c:pt idx="2140">
                  <c:v>44636</c:v>
                </c:pt>
                <c:pt idx="2141">
                  <c:v>44637</c:v>
                </c:pt>
                <c:pt idx="2142">
                  <c:v>44638</c:v>
                </c:pt>
                <c:pt idx="2143">
                  <c:v>44641</c:v>
                </c:pt>
                <c:pt idx="2144">
                  <c:v>44642</c:v>
                </c:pt>
                <c:pt idx="2145">
                  <c:v>44643</c:v>
                </c:pt>
                <c:pt idx="2146">
                  <c:v>44644</c:v>
                </c:pt>
                <c:pt idx="2147">
                  <c:v>44645</c:v>
                </c:pt>
                <c:pt idx="2148">
                  <c:v>44648</c:v>
                </c:pt>
                <c:pt idx="2149">
                  <c:v>44649</c:v>
                </c:pt>
                <c:pt idx="2150">
                  <c:v>44650</c:v>
                </c:pt>
                <c:pt idx="2151">
                  <c:v>44651</c:v>
                </c:pt>
                <c:pt idx="2152">
                  <c:v>44652</c:v>
                </c:pt>
                <c:pt idx="2153">
                  <c:v>44655</c:v>
                </c:pt>
                <c:pt idx="2154">
                  <c:v>44656</c:v>
                </c:pt>
                <c:pt idx="2155">
                  <c:v>44657</c:v>
                </c:pt>
                <c:pt idx="2156">
                  <c:v>44658</c:v>
                </c:pt>
                <c:pt idx="2157">
                  <c:v>44659</c:v>
                </c:pt>
                <c:pt idx="2158">
                  <c:v>44662</c:v>
                </c:pt>
                <c:pt idx="2159">
                  <c:v>44663</c:v>
                </c:pt>
                <c:pt idx="2160">
                  <c:v>44664</c:v>
                </c:pt>
                <c:pt idx="2161">
                  <c:v>44665</c:v>
                </c:pt>
                <c:pt idx="2162">
                  <c:v>44666</c:v>
                </c:pt>
                <c:pt idx="2163">
                  <c:v>44669</c:v>
                </c:pt>
                <c:pt idx="2164">
                  <c:v>44670</c:v>
                </c:pt>
                <c:pt idx="2165">
                  <c:v>44671</c:v>
                </c:pt>
                <c:pt idx="2166">
                  <c:v>44672</c:v>
                </c:pt>
                <c:pt idx="2167">
                  <c:v>44673</c:v>
                </c:pt>
                <c:pt idx="2168">
                  <c:v>44676</c:v>
                </c:pt>
                <c:pt idx="2169">
                  <c:v>44677</c:v>
                </c:pt>
                <c:pt idx="2170">
                  <c:v>44678</c:v>
                </c:pt>
                <c:pt idx="2171">
                  <c:v>44679</c:v>
                </c:pt>
                <c:pt idx="2172">
                  <c:v>44680</c:v>
                </c:pt>
                <c:pt idx="2173">
                  <c:v>44683</c:v>
                </c:pt>
                <c:pt idx="2174">
                  <c:v>44684</c:v>
                </c:pt>
                <c:pt idx="2175">
                  <c:v>44685</c:v>
                </c:pt>
                <c:pt idx="2176">
                  <c:v>44686</c:v>
                </c:pt>
                <c:pt idx="2177">
                  <c:v>44687</c:v>
                </c:pt>
                <c:pt idx="2178">
                  <c:v>44690</c:v>
                </c:pt>
                <c:pt idx="2179">
                  <c:v>44691</c:v>
                </c:pt>
                <c:pt idx="2180">
                  <c:v>44692</c:v>
                </c:pt>
                <c:pt idx="2181">
                  <c:v>44693</c:v>
                </c:pt>
                <c:pt idx="2182">
                  <c:v>44694</c:v>
                </c:pt>
                <c:pt idx="2183">
                  <c:v>44697</c:v>
                </c:pt>
                <c:pt idx="2184">
                  <c:v>44698</c:v>
                </c:pt>
                <c:pt idx="2185">
                  <c:v>44699</c:v>
                </c:pt>
                <c:pt idx="2186">
                  <c:v>44700</c:v>
                </c:pt>
                <c:pt idx="2187">
                  <c:v>44701</c:v>
                </c:pt>
                <c:pt idx="2188">
                  <c:v>44704</c:v>
                </c:pt>
                <c:pt idx="2189">
                  <c:v>44705</c:v>
                </c:pt>
                <c:pt idx="2190">
                  <c:v>44706</c:v>
                </c:pt>
                <c:pt idx="2191">
                  <c:v>44707</c:v>
                </c:pt>
                <c:pt idx="2192">
                  <c:v>44708</c:v>
                </c:pt>
                <c:pt idx="2193">
                  <c:v>44711</c:v>
                </c:pt>
                <c:pt idx="2194">
                  <c:v>44712</c:v>
                </c:pt>
                <c:pt idx="2195">
                  <c:v>44713</c:v>
                </c:pt>
                <c:pt idx="2196">
                  <c:v>44714</c:v>
                </c:pt>
                <c:pt idx="2197">
                  <c:v>44715</c:v>
                </c:pt>
                <c:pt idx="2198">
                  <c:v>44718</c:v>
                </c:pt>
                <c:pt idx="2199">
                  <c:v>44719</c:v>
                </c:pt>
                <c:pt idx="2200">
                  <c:v>44720</c:v>
                </c:pt>
                <c:pt idx="2201">
                  <c:v>44721</c:v>
                </c:pt>
                <c:pt idx="2202">
                  <c:v>44722</c:v>
                </c:pt>
                <c:pt idx="2203">
                  <c:v>44725</c:v>
                </c:pt>
                <c:pt idx="2204">
                  <c:v>44726</c:v>
                </c:pt>
                <c:pt idx="2205">
                  <c:v>44727</c:v>
                </c:pt>
                <c:pt idx="2206">
                  <c:v>44728</c:v>
                </c:pt>
                <c:pt idx="2207">
                  <c:v>44729</c:v>
                </c:pt>
                <c:pt idx="2208">
                  <c:v>44732</c:v>
                </c:pt>
                <c:pt idx="2209">
                  <c:v>44733</c:v>
                </c:pt>
                <c:pt idx="2210">
                  <c:v>44734</c:v>
                </c:pt>
                <c:pt idx="2211">
                  <c:v>44735</c:v>
                </c:pt>
                <c:pt idx="2212">
                  <c:v>44736</c:v>
                </c:pt>
                <c:pt idx="2213">
                  <c:v>44739</c:v>
                </c:pt>
                <c:pt idx="2214">
                  <c:v>44740</c:v>
                </c:pt>
                <c:pt idx="2215">
                  <c:v>44741</c:v>
                </c:pt>
                <c:pt idx="2216">
                  <c:v>44742</c:v>
                </c:pt>
                <c:pt idx="2217">
                  <c:v>44743</c:v>
                </c:pt>
                <c:pt idx="2218">
                  <c:v>44746</c:v>
                </c:pt>
                <c:pt idx="2219">
                  <c:v>44747</c:v>
                </c:pt>
                <c:pt idx="2220">
                  <c:v>44748</c:v>
                </c:pt>
                <c:pt idx="2221">
                  <c:v>44749</c:v>
                </c:pt>
                <c:pt idx="2222">
                  <c:v>44750</c:v>
                </c:pt>
                <c:pt idx="2223">
                  <c:v>44753</c:v>
                </c:pt>
                <c:pt idx="2224">
                  <c:v>44754</c:v>
                </c:pt>
                <c:pt idx="2225">
                  <c:v>44755</c:v>
                </c:pt>
                <c:pt idx="2226">
                  <c:v>44756</c:v>
                </c:pt>
                <c:pt idx="2227">
                  <c:v>44757</c:v>
                </c:pt>
                <c:pt idx="2228">
                  <c:v>44760</c:v>
                </c:pt>
                <c:pt idx="2229">
                  <c:v>44761</c:v>
                </c:pt>
                <c:pt idx="2230">
                  <c:v>44762</c:v>
                </c:pt>
                <c:pt idx="2231">
                  <c:v>44763</c:v>
                </c:pt>
                <c:pt idx="2232">
                  <c:v>44764</c:v>
                </c:pt>
                <c:pt idx="2233">
                  <c:v>44767</c:v>
                </c:pt>
                <c:pt idx="2234">
                  <c:v>44768</c:v>
                </c:pt>
                <c:pt idx="2235">
                  <c:v>44769</c:v>
                </c:pt>
                <c:pt idx="2236">
                  <c:v>44770</c:v>
                </c:pt>
                <c:pt idx="2237">
                  <c:v>44771</c:v>
                </c:pt>
                <c:pt idx="2238">
                  <c:v>44774</c:v>
                </c:pt>
                <c:pt idx="2239">
                  <c:v>44775</c:v>
                </c:pt>
                <c:pt idx="2240">
                  <c:v>44776</c:v>
                </c:pt>
                <c:pt idx="2241">
                  <c:v>44777</c:v>
                </c:pt>
                <c:pt idx="2242">
                  <c:v>44778</c:v>
                </c:pt>
                <c:pt idx="2243">
                  <c:v>44781</c:v>
                </c:pt>
                <c:pt idx="2244">
                  <c:v>44782</c:v>
                </c:pt>
                <c:pt idx="2245">
                  <c:v>44783</c:v>
                </c:pt>
                <c:pt idx="2246">
                  <c:v>44784</c:v>
                </c:pt>
                <c:pt idx="2247">
                  <c:v>44785</c:v>
                </c:pt>
                <c:pt idx="2248">
                  <c:v>44788</c:v>
                </c:pt>
                <c:pt idx="2249">
                  <c:v>44789</c:v>
                </c:pt>
                <c:pt idx="2250">
                  <c:v>44790</c:v>
                </c:pt>
                <c:pt idx="2251">
                  <c:v>44791</c:v>
                </c:pt>
                <c:pt idx="2252">
                  <c:v>44792</c:v>
                </c:pt>
                <c:pt idx="2253">
                  <c:v>44795</c:v>
                </c:pt>
                <c:pt idx="2254">
                  <c:v>44796</c:v>
                </c:pt>
                <c:pt idx="2255">
                  <c:v>44797</c:v>
                </c:pt>
                <c:pt idx="2256">
                  <c:v>44798</c:v>
                </c:pt>
                <c:pt idx="2257">
                  <c:v>44799</c:v>
                </c:pt>
                <c:pt idx="2258">
                  <c:v>44802</c:v>
                </c:pt>
                <c:pt idx="2259">
                  <c:v>44803</c:v>
                </c:pt>
                <c:pt idx="2260">
                  <c:v>44804</c:v>
                </c:pt>
                <c:pt idx="2261">
                  <c:v>44805</c:v>
                </c:pt>
                <c:pt idx="2262">
                  <c:v>44806</c:v>
                </c:pt>
                <c:pt idx="2263">
                  <c:v>44809</c:v>
                </c:pt>
                <c:pt idx="2264">
                  <c:v>44810</c:v>
                </c:pt>
                <c:pt idx="2265">
                  <c:v>44811</c:v>
                </c:pt>
                <c:pt idx="2266">
                  <c:v>44812</c:v>
                </c:pt>
                <c:pt idx="2267">
                  <c:v>44813</c:v>
                </c:pt>
                <c:pt idx="2268">
                  <c:v>44816</c:v>
                </c:pt>
                <c:pt idx="2269">
                  <c:v>44817</c:v>
                </c:pt>
                <c:pt idx="2270">
                  <c:v>44818</c:v>
                </c:pt>
                <c:pt idx="2271">
                  <c:v>44819</c:v>
                </c:pt>
                <c:pt idx="2272">
                  <c:v>44820</c:v>
                </c:pt>
                <c:pt idx="2273">
                  <c:v>44823</c:v>
                </c:pt>
                <c:pt idx="2274">
                  <c:v>44824</c:v>
                </c:pt>
                <c:pt idx="2275">
                  <c:v>44825</c:v>
                </c:pt>
                <c:pt idx="2276">
                  <c:v>44826</c:v>
                </c:pt>
                <c:pt idx="2277">
                  <c:v>44827</c:v>
                </c:pt>
                <c:pt idx="2278">
                  <c:v>44830</c:v>
                </c:pt>
                <c:pt idx="2279">
                  <c:v>44831</c:v>
                </c:pt>
                <c:pt idx="2280">
                  <c:v>44832</c:v>
                </c:pt>
                <c:pt idx="2281">
                  <c:v>44833</c:v>
                </c:pt>
                <c:pt idx="2282">
                  <c:v>44834</c:v>
                </c:pt>
                <c:pt idx="2283">
                  <c:v>44837</c:v>
                </c:pt>
                <c:pt idx="2284">
                  <c:v>44838</c:v>
                </c:pt>
                <c:pt idx="2285">
                  <c:v>44839</c:v>
                </c:pt>
                <c:pt idx="2286">
                  <c:v>44840</c:v>
                </c:pt>
                <c:pt idx="2287">
                  <c:v>44841</c:v>
                </c:pt>
                <c:pt idx="2288">
                  <c:v>44844</c:v>
                </c:pt>
                <c:pt idx="2289">
                  <c:v>44845</c:v>
                </c:pt>
                <c:pt idx="2290">
                  <c:v>44846</c:v>
                </c:pt>
                <c:pt idx="2291">
                  <c:v>44847</c:v>
                </c:pt>
                <c:pt idx="2292">
                  <c:v>44848</c:v>
                </c:pt>
                <c:pt idx="2293">
                  <c:v>44851</c:v>
                </c:pt>
                <c:pt idx="2294">
                  <c:v>44852</c:v>
                </c:pt>
                <c:pt idx="2295">
                  <c:v>44853</c:v>
                </c:pt>
                <c:pt idx="2296">
                  <c:v>44854</c:v>
                </c:pt>
                <c:pt idx="2297">
                  <c:v>44855</c:v>
                </c:pt>
                <c:pt idx="2298">
                  <c:v>44858</c:v>
                </c:pt>
                <c:pt idx="2299">
                  <c:v>44859</c:v>
                </c:pt>
                <c:pt idx="2300">
                  <c:v>44860</c:v>
                </c:pt>
                <c:pt idx="2301">
                  <c:v>44861</c:v>
                </c:pt>
                <c:pt idx="2302">
                  <c:v>44862</c:v>
                </c:pt>
                <c:pt idx="2303">
                  <c:v>44865</c:v>
                </c:pt>
                <c:pt idx="2304">
                  <c:v>44866</c:v>
                </c:pt>
                <c:pt idx="2305">
                  <c:v>44867</c:v>
                </c:pt>
                <c:pt idx="2306">
                  <c:v>44868</c:v>
                </c:pt>
                <c:pt idx="2307">
                  <c:v>44869</c:v>
                </c:pt>
                <c:pt idx="2308">
                  <c:v>44872</c:v>
                </c:pt>
                <c:pt idx="2309">
                  <c:v>44873</c:v>
                </c:pt>
                <c:pt idx="2310">
                  <c:v>44874</c:v>
                </c:pt>
                <c:pt idx="2311">
                  <c:v>44875</c:v>
                </c:pt>
                <c:pt idx="2312">
                  <c:v>44876</c:v>
                </c:pt>
                <c:pt idx="2313">
                  <c:v>44879</c:v>
                </c:pt>
                <c:pt idx="2314">
                  <c:v>44880</c:v>
                </c:pt>
                <c:pt idx="2315">
                  <c:v>44881</c:v>
                </c:pt>
                <c:pt idx="2316">
                  <c:v>44882</c:v>
                </c:pt>
                <c:pt idx="2317">
                  <c:v>44883</c:v>
                </c:pt>
                <c:pt idx="2318">
                  <c:v>44886</c:v>
                </c:pt>
                <c:pt idx="2319">
                  <c:v>44887</c:v>
                </c:pt>
                <c:pt idx="2320">
                  <c:v>44888</c:v>
                </c:pt>
                <c:pt idx="2321">
                  <c:v>44889</c:v>
                </c:pt>
                <c:pt idx="2322">
                  <c:v>44890</c:v>
                </c:pt>
                <c:pt idx="2323">
                  <c:v>44893</c:v>
                </c:pt>
                <c:pt idx="2324">
                  <c:v>44894</c:v>
                </c:pt>
                <c:pt idx="2325">
                  <c:v>44895</c:v>
                </c:pt>
                <c:pt idx="2326">
                  <c:v>44896</c:v>
                </c:pt>
                <c:pt idx="2327">
                  <c:v>44897</c:v>
                </c:pt>
                <c:pt idx="2328">
                  <c:v>44900</c:v>
                </c:pt>
                <c:pt idx="2329">
                  <c:v>44901</c:v>
                </c:pt>
                <c:pt idx="2330">
                  <c:v>44902</c:v>
                </c:pt>
                <c:pt idx="2331">
                  <c:v>44903</c:v>
                </c:pt>
                <c:pt idx="2332">
                  <c:v>44904</c:v>
                </c:pt>
                <c:pt idx="2333">
                  <c:v>44907</c:v>
                </c:pt>
                <c:pt idx="2334">
                  <c:v>44908</c:v>
                </c:pt>
                <c:pt idx="2335">
                  <c:v>44909</c:v>
                </c:pt>
                <c:pt idx="2336">
                  <c:v>44910</c:v>
                </c:pt>
                <c:pt idx="2337">
                  <c:v>44911</c:v>
                </c:pt>
                <c:pt idx="2338">
                  <c:v>44914</c:v>
                </c:pt>
                <c:pt idx="2339">
                  <c:v>44915</c:v>
                </c:pt>
                <c:pt idx="2340">
                  <c:v>44916</c:v>
                </c:pt>
                <c:pt idx="2341">
                  <c:v>44917</c:v>
                </c:pt>
                <c:pt idx="2342">
                  <c:v>44918</c:v>
                </c:pt>
                <c:pt idx="2343">
                  <c:v>44921</c:v>
                </c:pt>
                <c:pt idx="2344">
                  <c:v>44922</c:v>
                </c:pt>
                <c:pt idx="2345">
                  <c:v>44923</c:v>
                </c:pt>
                <c:pt idx="2346">
                  <c:v>44924</c:v>
                </c:pt>
                <c:pt idx="2347">
                  <c:v>44925</c:v>
                </c:pt>
                <c:pt idx="2348">
                  <c:v>44928</c:v>
                </c:pt>
                <c:pt idx="2349">
                  <c:v>44929</c:v>
                </c:pt>
                <c:pt idx="2350">
                  <c:v>44930</c:v>
                </c:pt>
                <c:pt idx="2351">
                  <c:v>44931</c:v>
                </c:pt>
                <c:pt idx="2352">
                  <c:v>44932</c:v>
                </c:pt>
                <c:pt idx="2353">
                  <c:v>44935</c:v>
                </c:pt>
                <c:pt idx="2354">
                  <c:v>44936</c:v>
                </c:pt>
                <c:pt idx="2355">
                  <c:v>44937</c:v>
                </c:pt>
                <c:pt idx="2356">
                  <c:v>44938</c:v>
                </c:pt>
                <c:pt idx="2357">
                  <c:v>44939</c:v>
                </c:pt>
                <c:pt idx="2358">
                  <c:v>44942</c:v>
                </c:pt>
                <c:pt idx="2359">
                  <c:v>44943</c:v>
                </c:pt>
                <c:pt idx="2360">
                  <c:v>44944</c:v>
                </c:pt>
                <c:pt idx="2361">
                  <c:v>44945</c:v>
                </c:pt>
                <c:pt idx="2362">
                  <c:v>44946</c:v>
                </c:pt>
                <c:pt idx="2363">
                  <c:v>44949</c:v>
                </c:pt>
                <c:pt idx="2364">
                  <c:v>44950</c:v>
                </c:pt>
                <c:pt idx="2365">
                  <c:v>44951</c:v>
                </c:pt>
                <c:pt idx="2366">
                  <c:v>44952</c:v>
                </c:pt>
                <c:pt idx="2367">
                  <c:v>44953</c:v>
                </c:pt>
                <c:pt idx="2368">
                  <c:v>44956</c:v>
                </c:pt>
                <c:pt idx="2369">
                  <c:v>44957</c:v>
                </c:pt>
                <c:pt idx="2370">
                  <c:v>44958</c:v>
                </c:pt>
                <c:pt idx="2371">
                  <c:v>44959</c:v>
                </c:pt>
                <c:pt idx="2372">
                  <c:v>44960</c:v>
                </c:pt>
                <c:pt idx="2373">
                  <c:v>44963</c:v>
                </c:pt>
                <c:pt idx="2374">
                  <c:v>44964</c:v>
                </c:pt>
                <c:pt idx="2375">
                  <c:v>44965</c:v>
                </c:pt>
                <c:pt idx="2376">
                  <c:v>44966</c:v>
                </c:pt>
                <c:pt idx="2377">
                  <c:v>44967</c:v>
                </c:pt>
                <c:pt idx="2378">
                  <c:v>44970</c:v>
                </c:pt>
                <c:pt idx="2379">
                  <c:v>44971</c:v>
                </c:pt>
                <c:pt idx="2380">
                  <c:v>44972</c:v>
                </c:pt>
                <c:pt idx="2381">
                  <c:v>44973</c:v>
                </c:pt>
                <c:pt idx="2382">
                  <c:v>44974</c:v>
                </c:pt>
                <c:pt idx="2383">
                  <c:v>44977</c:v>
                </c:pt>
                <c:pt idx="2384">
                  <c:v>44978</c:v>
                </c:pt>
                <c:pt idx="2385">
                  <c:v>44979</c:v>
                </c:pt>
                <c:pt idx="2386">
                  <c:v>44980</c:v>
                </c:pt>
                <c:pt idx="2387">
                  <c:v>44981</c:v>
                </c:pt>
                <c:pt idx="2388">
                  <c:v>44984</c:v>
                </c:pt>
                <c:pt idx="2389">
                  <c:v>44985</c:v>
                </c:pt>
                <c:pt idx="2390">
                  <c:v>44986</c:v>
                </c:pt>
                <c:pt idx="2391">
                  <c:v>44987</c:v>
                </c:pt>
                <c:pt idx="2392">
                  <c:v>44988</c:v>
                </c:pt>
                <c:pt idx="2393">
                  <c:v>44991</c:v>
                </c:pt>
                <c:pt idx="2394">
                  <c:v>44992</c:v>
                </c:pt>
                <c:pt idx="2395">
                  <c:v>44993</c:v>
                </c:pt>
                <c:pt idx="2396">
                  <c:v>44994</c:v>
                </c:pt>
                <c:pt idx="2397">
                  <c:v>44995</c:v>
                </c:pt>
                <c:pt idx="2398">
                  <c:v>44998</c:v>
                </c:pt>
                <c:pt idx="2399">
                  <c:v>44999</c:v>
                </c:pt>
                <c:pt idx="2400">
                  <c:v>45000</c:v>
                </c:pt>
                <c:pt idx="2401">
                  <c:v>45001</c:v>
                </c:pt>
                <c:pt idx="2402">
                  <c:v>45002</c:v>
                </c:pt>
                <c:pt idx="2403">
                  <c:v>45005</c:v>
                </c:pt>
                <c:pt idx="2404">
                  <c:v>45006</c:v>
                </c:pt>
                <c:pt idx="2405">
                  <c:v>45007</c:v>
                </c:pt>
                <c:pt idx="2406">
                  <c:v>45008</c:v>
                </c:pt>
                <c:pt idx="2407">
                  <c:v>45009</c:v>
                </c:pt>
                <c:pt idx="2408">
                  <c:v>45012</c:v>
                </c:pt>
                <c:pt idx="2409">
                  <c:v>45013</c:v>
                </c:pt>
                <c:pt idx="2410">
                  <c:v>45014</c:v>
                </c:pt>
                <c:pt idx="2411">
                  <c:v>45015</c:v>
                </c:pt>
                <c:pt idx="2412">
                  <c:v>45016</c:v>
                </c:pt>
                <c:pt idx="2413">
                  <c:v>45019</c:v>
                </c:pt>
                <c:pt idx="2414">
                  <c:v>45020</c:v>
                </c:pt>
                <c:pt idx="2415">
                  <c:v>45021</c:v>
                </c:pt>
                <c:pt idx="2416">
                  <c:v>45022</c:v>
                </c:pt>
                <c:pt idx="2417">
                  <c:v>45023</c:v>
                </c:pt>
                <c:pt idx="2418">
                  <c:v>45026</c:v>
                </c:pt>
                <c:pt idx="2419">
                  <c:v>45027</c:v>
                </c:pt>
                <c:pt idx="2420">
                  <c:v>45028</c:v>
                </c:pt>
                <c:pt idx="2421">
                  <c:v>45029</c:v>
                </c:pt>
                <c:pt idx="2422">
                  <c:v>45030</c:v>
                </c:pt>
                <c:pt idx="2423">
                  <c:v>45033</c:v>
                </c:pt>
                <c:pt idx="2424">
                  <c:v>45034</c:v>
                </c:pt>
                <c:pt idx="2425">
                  <c:v>45035</c:v>
                </c:pt>
                <c:pt idx="2426">
                  <c:v>45036</c:v>
                </c:pt>
                <c:pt idx="2427">
                  <c:v>45037</c:v>
                </c:pt>
                <c:pt idx="2428">
                  <c:v>45040</c:v>
                </c:pt>
                <c:pt idx="2429">
                  <c:v>45041</c:v>
                </c:pt>
                <c:pt idx="2430">
                  <c:v>45042</c:v>
                </c:pt>
                <c:pt idx="2431">
                  <c:v>45043</c:v>
                </c:pt>
                <c:pt idx="2432">
                  <c:v>45044</c:v>
                </c:pt>
                <c:pt idx="2433">
                  <c:v>45047</c:v>
                </c:pt>
                <c:pt idx="2434">
                  <c:v>45048</c:v>
                </c:pt>
                <c:pt idx="2435">
                  <c:v>45049</c:v>
                </c:pt>
                <c:pt idx="2436">
                  <c:v>45050</c:v>
                </c:pt>
                <c:pt idx="2437">
                  <c:v>45051</c:v>
                </c:pt>
                <c:pt idx="2438">
                  <c:v>45054</c:v>
                </c:pt>
                <c:pt idx="2439">
                  <c:v>45055</c:v>
                </c:pt>
                <c:pt idx="2440">
                  <c:v>45056</c:v>
                </c:pt>
                <c:pt idx="2441">
                  <c:v>45057</c:v>
                </c:pt>
                <c:pt idx="2442">
                  <c:v>45058</c:v>
                </c:pt>
                <c:pt idx="2443">
                  <c:v>45061</c:v>
                </c:pt>
                <c:pt idx="2444">
                  <c:v>45062</c:v>
                </c:pt>
                <c:pt idx="2445">
                  <c:v>45063</c:v>
                </c:pt>
                <c:pt idx="2446">
                  <c:v>45064</c:v>
                </c:pt>
                <c:pt idx="2447">
                  <c:v>45065</c:v>
                </c:pt>
                <c:pt idx="2448">
                  <c:v>45068</c:v>
                </c:pt>
                <c:pt idx="2449">
                  <c:v>45069</c:v>
                </c:pt>
                <c:pt idx="2450">
                  <c:v>45070</c:v>
                </c:pt>
                <c:pt idx="2451">
                  <c:v>45071</c:v>
                </c:pt>
                <c:pt idx="2452">
                  <c:v>45072</c:v>
                </c:pt>
                <c:pt idx="2453">
                  <c:v>45075</c:v>
                </c:pt>
                <c:pt idx="2454">
                  <c:v>45076</c:v>
                </c:pt>
                <c:pt idx="2455">
                  <c:v>45077</c:v>
                </c:pt>
                <c:pt idx="2456">
                  <c:v>45078</c:v>
                </c:pt>
                <c:pt idx="2457">
                  <c:v>45079</c:v>
                </c:pt>
                <c:pt idx="2458">
                  <c:v>45082</c:v>
                </c:pt>
                <c:pt idx="2459">
                  <c:v>45083</c:v>
                </c:pt>
                <c:pt idx="2460">
                  <c:v>45084</c:v>
                </c:pt>
                <c:pt idx="2461">
                  <c:v>45085</c:v>
                </c:pt>
                <c:pt idx="2462">
                  <c:v>45086</c:v>
                </c:pt>
                <c:pt idx="2463">
                  <c:v>45089</c:v>
                </c:pt>
                <c:pt idx="2464">
                  <c:v>45090</c:v>
                </c:pt>
                <c:pt idx="2465">
                  <c:v>45091</c:v>
                </c:pt>
                <c:pt idx="2466">
                  <c:v>45092</c:v>
                </c:pt>
                <c:pt idx="2467">
                  <c:v>45093</c:v>
                </c:pt>
                <c:pt idx="2468">
                  <c:v>45096</c:v>
                </c:pt>
                <c:pt idx="2469">
                  <c:v>45097</c:v>
                </c:pt>
                <c:pt idx="2470">
                  <c:v>45098</c:v>
                </c:pt>
                <c:pt idx="2471">
                  <c:v>45099</c:v>
                </c:pt>
                <c:pt idx="2472">
                  <c:v>45100</c:v>
                </c:pt>
                <c:pt idx="2473">
                  <c:v>45103</c:v>
                </c:pt>
                <c:pt idx="2474">
                  <c:v>45104</c:v>
                </c:pt>
                <c:pt idx="2475">
                  <c:v>45105</c:v>
                </c:pt>
                <c:pt idx="2476">
                  <c:v>45106</c:v>
                </c:pt>
                <c:pt idx="2477">
                  <c:v>45107</c:v>
                </c:pt>
                <c:pt idx="2478">
                  <c:v>45110</c:v>
                </c:pt>
                <c:pt idx="2479">
                  <c:v>45111</c:v>
                </c:pt>
                <c:pt idx="2480">
                  <c:v>45112</c:v>
                </c:pt>
                <c:pt idx="2481">
                  <c:v>45113</c:v>
                </c:pt>
                <c:pt idx="2482">
                  <c:v>45114</c:v>
                </c:pt>
                <c:pt idx="2483">
                  <c:v>45117</c:v>
                </c:pt>
                <c:pt idx="2484">
                  <c:v>45118</c:v>
                </c:pt>
                <c:pt idx="2485">
                  <c:v>45119</c:v>
                </c:pt>
                <c:pt idx="2486">
                  <c:v>45120</c:v>
                </c:pt>
                <c:pt idx="2487">
                  <c:v>45121</c:v>
                </c:pt>
                <c:pt idx="2488">
                  <c:v>45124</c:v>
                </c:pt>
                <c:pt idx="2489">
                  <c:v>45125</c:v>
                </c:pt>
                <c:pt idx="2490">
                  <c:v>45126</c:v>
                </c:pt>
                <c:pt idx="2491">
                  <c:v>45127</c:v>
                </c:pt>
                <c:pt idx="2492">
                  <c:v>45128</c:v>
                </c:pt>
                <c:pt idx="2493">
                  <c:v>45131</c:v>
                </c:pt>
                <c:pt idx="2494">
                  <c:v>45132</c:v>
                </c:pt>
                <c:pt idx="2495">
                  <c:v>45133</c:v>
                </c:pt>
                <c:pt idx="2496">
                  <c:v>45134</c:v>
                </c:pt>
                <c:pt idx="2497">
                  <c:v>45135</c:v>
                </c:pt>
                <c:pt idx="2498">
                  <c:v>45138</c:v>
                </c:pt>
                <c:pt idx="2499">
                  <c:v>45139</c:v>
                </c:pt>
                <c:pt idx="2500">
                  <c:v>45140</c:v>
                </c:pt>
                <c:pt idx="2501">
                  <c:v>45141</c:v>
                </c:pt>
                <c:pt idx="2502">
                  <c:v>45142</c:v>
                </c:pt>
                <c:pt idx="2503">
                  <c:v>45145</c:v>
                </c:pt>
                <c:pt idx="2504">
                  <c:v>45146</c:v>
                </c:pt>
                <c:pt idx="2505">
                  <c:v>45147</c:v>
                </c:pt>
                <c:pt idx="2506">
                  <c:v>45148</c:v>
                </c:pt>
                <c:pt idx="2507">
                  <c:v>45149</c:v>
                </c:pt>
                <c:pt idx="2508">
                  <c:v>45152</c:v>
                </c:pt>
                <c:pt idx="2509">
                  <c:v>45153</c:v>
                </c:pt>
                <c:pt idx="2510">
                  <c:v>45154</c:v>
                </c:pt>
                <c:pt idx="2511">
                  <c:v>45155</c:v>
                </c:pt>
                <c:pt idx="2512">
                  <c:v>45156</c:v>
                </c:pt>
                <c:pt idx="2513">
                  <c:v>45159</c:v>
                </c:pt>
                <c:pt idx="2514">
                  <c:v>45160</c:v>
                </c:pt>
                <c:pt idx="2515">
                  <c:v>45161</c:v>
                </c:pt>
                <c:pt idx="2516">
                  <c:v>45162</c:v>
                </c:pt>
                <c:pt idx="2517">
                  <c:v>45163</c:v>
                </c:pt>
                <c:pt idx="2518">
                  <c:v>45166</c:v>
                </c:pt>
                <c:pt idx="2519">
                  <c:v>45167</c:v>
                </c:pt>
                <c:pt idx="2520">
                  <c:v>45168</c:v>
                </c:pt>
                <c:pt idx="2521">
                  <c:v>45169</c:v>
                </c:pt>
                <c:pt idx="2522">
                  <c:v>45170</c:v>
                </c:pt>
                <c:pt idx="2523">
                  <c:v>45173</c:v>
                </c:pt>
                <c:pt idx="2524">
                  <c:v>45174</c:v>
                </c:pt>
                <c:pt idx="2525">
                  <c:v>45175</c:v>
                </c:pt>
                <c:pt idx="2526">
                  <c:v>45176</c:v>
                </c:pt>
                <c:pt idx="2527">
                  <c:v>45177</c:v>
                </c:pt>
                <c:pt idx="2528">
                  <c:v>45180</c:v>
                </c:pt>
                <c:pt idx="2529">
                  <c:v>45181</c:v>
                </c:pt>
                <c:pt idx="2530">
                  <c:v>45182</c:v>
                </c:pt>
                <c:pt idx="2531">
                  <c:v>45183</c:v>
                </c:pt>
                <c:pt idx="2532">
                  <c:v>45184</c:v>
                </c:pt>
                <c:pt idx="2533">
                  <c:v>45187</c:v>
                </c:pt>
                <c:pt idx="2534">
                  <c:v>45188</c:v>
                </c:pt>
                <c:pt idx="2535">
                  <c:v>45189</c:v>
                </c:pt>
                <c:pt idx="2536">
                  <c:v>45190</c:v>
                </c:pt>
                <c:pt idx="2537">
                  <c:v>45191</c:v>
                </c:pt>
                <c:pt idx="2538">
                  <c:v>45194</c:v>
                </c:pt>
                <c:pt idx="2539">
                  <c:v>45195</c:v>
                </c:pt>
                <c:pt idx="2540">
                  <c:v>45196</c:v>
                </c:pt>
                <c:pt idx="2541">
                  <c:v>45197</c:v>
                </c:pt>
                <c:pt idx="2542">
                  <c:v>45198</c:v>
                </c:pt>
                <c:pt idx="2543">
                  <c:v>45201</c:v>
                </c:pt>
                <c:pt idx="2544">
                  <c:v>45202</c:v>
                </c:pt>
                <c:pt idx="2545">
                  <c:v>45203</c:v>
                </c:pt>
                <c:pt idx="2546">
                  <c:v>45204</c:v>
                </c:pt>
                <c:pt idx="2547">
                  <c:v>45205</c:v>
                </c:pt>
                <c:pt idx="2548">
                  <c:v>45208</c:v>
                </c:pt>
                <c:pt idx="2549">
                  <c:v>45209</c:v>
                </c:pt>
                <c:pt idx="2550">
                  <c:v>45210</c:v>
                </c:pt>
                <c:pt idx="2551">
                  <c:v>45211</c:v>
                </c:pt>
                <c:pt idx="2552">
                  <c:v>45212</c:v>
                </c:pt>
                <c:pt idx="2553">
                  <c:v>45215</c:v>
                </c:pt>
                <c:pt idx="2554">
                  <c:v>45216</c:v>
                </c:pt>
                <c:pt idx="2555">
                  <c:v>45217</c:v>
                </c:pt>
                <c:pt idx="2556">
                  <c:v>45218</c:v>
                </c:pt>
                <c:pt idx="2557">
                  <c:v>45219</c:v>
                </c:pt>
                <c:pt idx="2558">
                  <c:v>45222</c:v>
                </c:pt>
                <c:pt idx="2559">
                  <c:v>45223</c:v>
                </c:pt>
                <c:pt idx="2560">
                  <c:v>45224</c:v>
                </c:pt>
                <c:pt idx="2561">
                  <c:v>45225</c:v>
                </c:pt>
                <c:pt idx="2562">
                  <c:v>45226</c:v>
                </c:pt>
                <c:pt idx="2563">
                  <c:v>45229</c:v>
                </c:pt>
                <c:pt idx="2564">
                  <c:v>45230</c:v>
                </c:pt>
                <c:pt idx="2565">
                  <c:v>45231</c:v>
                </c:pt>
                <c:pt idx="2566">
                  <c:v>45232</c:v>
                </c:pt>
                <c:pt idx="2567">
                  <c:v>45233</c:v>
                </c:pt>
                <c:pt idx="2568">
                  <c:v>45236</c:v>
                </c:pt>
                <c:pt idx="2569">
                  <c:v>45237</c:v>
                </c:pt>
                <c:pt idx="2570">
                  <c:v>45238</c:v>
                </c:pt>
                <c:pt idx="2571">
                  <c:v>45239</c:v>
                </c:pt>
                <c:pt idx="2572">
                  <c:v>45240</c:v>
                </c:pt>
                <c:pt idx="2573">
                  <c:v>45243</c:v>
                </c:pt>
                <c:pt idx="2574">
                  <c:v>45244</c:v>
                </c:pt>
                <c:pt idx="2575">
                  <c:v>45245</c:v>
                </c:pt>
                <c:pt idx="2576">
                  <c:v>45246</c:v>
                </c:pt>
                <c:pt idx="2577">
                  <c:v>45247</c:v>
                </c:pt>
                <c:pt idx="2578">
                  <c:v>45250</c:v>
                </c:pt>
                <c:pt idx="2579">
                  <c:v>45251</c:v>
                </c:pt>
                <c:pt idx="2580">
                  <c:v>45252</c:v>
                </c:pt>
                <c:pt idx="2581">
                  <c:v>45253</c:v>
                </c:pt>
                <c:pt idx="2582">
                  <c:v>45254</c:v>
                </c:pt>
                <c:pt idx="2583">
                  <c:v>45257</c:v>
                </c:pt>
                <c:pt idx="2584">
                  <c:v>45258</c:v>
                </c:pt>
                <c:pt idx="2585">
                  <c:v>45259</c:v>
                </c:pt>
                <c:pt idx="2586">
                  <c:v>45260</c:v>
                </c:pt>
                <c:pt idx="2587">
                  <c:v>45261</c:v>
                </c:pt>
                <c:pt idx="2588">
                  <c:v>45264</c:v>
                </c:pt>
                <c:pt idx="2589">
                  <c:v>45265</c:v>
                </c:pt>
                <c:pt idx="2590">
                  <c:v>45266</c:v>
                </c:pt>
                <c:pt idx="2591">
                  <c:v>45267</c:v>
                </c:pt>
                <c:pt idx="2592">
                  <c:v>45268</c:v>
                </c:pt>
                <c:pt idx="2593">
                  <c:v>45271</c:v>
                </c:pt>
                <c:pt idx="2594">
                  <c:v>45272</c:v>
                </c:pt>
                <c:pt idx="2595">
                  <c:v>45273</c:v>
                </c:pt>
                <c:pt idx="2596">
                  <c:v>45274</c:v>
                </c:pt>
                <c:pt idx="2597">
                  <c:v>45275</c:v>
                </c:pt>
                <c:pt idx="2598">
                  <c:v>45278</c:v>
                </c:pt>
                <c:pt idx="2599">
                  <c:v>45279</c:v>
                </c:pt>
                <c:pt idx="2600">
                  <c:v>45280</c:v>
                </c:pt>
                <c:pt idx="2601">
                  <c:v>45281</c:v>
                </c:pt>
                <c:pt idx="2602">
                  <c:v>45282</c:v>
                </c:pt>
                <c:pt idx="2603">
                  <c:v>45285</c:v>
                </c:pt>
                <c:pt idx="2604">
                  <c:v>45286</c:v>
                </c:pt>
                <c:pt idx="2605">
                  <c:v>45287</c:v>
                </c:pt>
                <c:pt idx="2606">
                  <c:v>45288</c:v>
                </c:pt>
                <c:pt idx="2607">
                  <c:v>45289</c:v>
                </c:pt>
                <c:pt idx="2608">
                  <c:v>45292</c:v>
                </c:pt>
                <c:pt idx="2609">
                  <c:v>45293</c:v>
                </c:pt>
                <c:pt idx="2610">
                  <c:v>45294</c:v>
                </c:pt>
                <c:pt idx="2611">
                  <c:v>45295</c:v>
                </c:pt>
                <c:pt idx="2612">
                  <c:v>45296</c:v>
                </c:pt>
                <c:pt idx="2613">
                  <c:v>45299</c:v>
                </c:pt>
                <c:pt idx="2614">
                  <c:v>45300</c:v>
                </c:pt>
                <c:pt idx="2615">
                  <c:v>45301</c:v>
                </c:pt>
                <c:pt idx="2616">
                  <c:v>45302</c:v>
                </c:pt>
                <c:pt idx="2617">
                  <c:v>45303</c:v>
                </c:pt>
                <c:pt idx="2618">
                  <c:v>45306</c:v>
                </c:pt>
                <c:pt idx="2619">
                  <c:v>45307</c:v>
                </c:pt>
                <c:pt idx="2620">
                  <c:v>45308</c:v>
                </c:pt>
                <c:pt idx="2621">
                  <c:v>45309</c:v>
                </c:pt>
                <c:pt idx="2622">
                  <c:v>45310</c:v>
                </c:pt>
                <c:pt idx="2623">
                  <c:v>45313</c:v>
                </c:pt>
                <c:pt idx="2624">
                  <c:v>45314</c:v>
                </c:pt>
                <c:pt idx="2625">
                  <c:v>45315</c:v>
                </c:pt>
                <c:pt idx="2626">
                  <c:v>45316</c:v>
                </c:pt>
                <c:pt idx="2627">
                  <c:v>45317</c:v>
                </c:pt>
                <c:pt idx="2628">
                  <c:v>45320</c:v>
                </c:pt>
                <c:pt idx="2629">
                  <c:v>45321</c:v>
                </c:pt>
                <c:pt idx="2630">
                  <c:v>45322</c:v>
                </c:pt>
                <c:pt idx="2631">
                  <c:v>45323</c:v>
                </c:pt>
                <c:pt idx="2632">
                  <c:v>45324</c:v>
                </c:pt>
                <c:pt idx="2633">
                  <c:v>45327</c:v>
                </c:pt>
                <c:pt idx="2634">
                  <c:v>45328</c:v>
                </c:pt>
                <c:pt idx="2635">
                  <c:v>45329</c:v>
                </c:pt>
                <c:pt idx="2636">
                  <c:v>45330</c:v>
                </c:pt>
                <c:pt idx="2637">
                  <c:v>45331</c:v>
                </c:pt>
                <c:pt idx="2638">
                  <c:v>45334</c:v>
                </c:pt>
                <c:pt idx="2639">
                  <c:v>45335</c:v>
                </c:pt>
                <c:pt idx="2640">
                  <c:v>45336</c:v>
                </c:pt>
                <c:pt idx="2641">
                  <c:v>45337</c:v>
                </c:pt>
                <c:pt idx="2642">
                  <c:v>45338</c:v>
                </c:pt>
                <c:pt idx="2643">
                  <c:v>45341</c:v>
                </c:pt>
                <c:pt idx="2644">
                  <c:v>45342</c:v>
                </c:pt>
                <c:pt idx="2645">
                  <c:v>45343</c:v>
                </c:pt>
                <c:pt idx="2646">
                  <c:v>45344</c:v>
                </c:pt>
                <c:pt idx="2647">
                  <c:v>45345</c:v>
                </c:pt>
                <c:pt idx="2648">
                  <c:v>45348</c:v>
                </c:pt>
                <c:pt idx="2649">
                  <c:v>45349</c:v>
                </c:pt>
                <c:pt idx="2650">
                  <c:v>45350</c:v>
                </c:pt>
                <c:pt idx="2651">
                  <c:v>45351</c:v>
                </c:pt>
                <c:pt idx="2652">
                  <c:v>45352</c:v>
                </c:pt>
                <c:pt idx="2653">
                  <c:v>45355</c:v>
                </c:pt>
                <c:pt idx="2654">
                  <c:v>45356</c:v>
                </c:pt>
                <c:pt idx="2655">
                  <c:v>45357</c:v>
                </c:pt>
                <c:pt idx="2656">
                  <c:v>45358</c:v>
                </c:pt>
                <c:pt idx="2657">
                  <c:v>45359</c:v>
                </c:pt>
                <c:pt idx="2658">
                  <c:v>45362</c:v>
                </c:pt>
                <c:pt idx="2659">
                  <c:v>45363</c:v>
                </c:pt>
                <c:pt idx="2660">
                  <c:v>45364</c:v>
                </c:pt>
                <c:pt idx="2661">
                  <c:v>45365</c:v>
                </c:pt>
                <c:pt idx="2662">
                  <c:v>45366</c:v>
                </c:pt>
                <c:pt idx="2663">
                  <c:v>45369</c:v>
                </c:pt>
                <c:pt idx="2664">
                  <c:v>45370</c:v>
                </c:pt>
                <c:pt idx="2665">
                  <c:v>45371</c:v>
                </c:pt>
                <c:pt idx="2666">
                  <c:v>45372</c:v>
                </c:pt>
                <c:pt idx="2667">
                  <c:v>45373</c:v>
                </c:pt>
                <c:pt idx="2668">
                  <c:v>45376</c:v>
                </c:pt>
                <c:pt idx="2669">
                  <c:v>45377</c:v>
                </c:pt>
                <c:pt idx="2670">
                  <c:v>45378</c:v>
                </c:pt>
                <c:pt idx="2671">
                  <c:v>45379</c:v>
                </c:pt>
                <c:pt idx="2672">
                  <c:v>45380</c:v>
                </c:pt>
                <c:pt idx="2673">
                  <c:v>45383</c:v>
                </c:pt>
                <c:pt idx="2674">
                  <c:v>45384</c:v>
                </c:pt>
                <c:pt idx="2675">
                  <c:v>45385</c:v>
                </c:pt>
                <c:pt idx="2676">
                  <c:v>45386</c:v>
                </c:pt>
                <c:pt idx="2677">
                  <c:v>45387</c:v>
                </c:pt>
                <c:pt idx="2678">
                  <c:v>45390</c:v>
                </c:pt>
                <c:pt idx="2679">
                  <c:v>45391</c:v>
                </c:pt>
                <c:pt idx="2680">
                  <c:v>45392</c:v>
                </c:pt>
                <c:pt idx="2681">
                  <c:v>45393</c:v>
                </c:pt>
                <c:pt idx="2682">
                  <c:v>45394</c:v>
                </c:pt>
                <c:pt idx="2683">
                  <c:v>45397</c:v>
                </c:pt>
                <c:pt idx="2684">
                  <c:v>45398</c:v>
                </c:pt>
                <c:pt idx="2685">
                  <c:v>45399</c:v>
                </c:pt>
                <c:pt idx="2686">
                  <c:v>45400</c:v>
                </c:pt>
                <c:pt idx="2687">
                  <c:v>45401</c:v>
                </c:pt>
                <c:pt idx="2688">
                  <c:v>45404</c:v>
                </c:pt>
                <c:pt idx="2689">
                  <c:v>45405</c:v>
                </c:pt>
                <c:pt idx="2690">
                  <c:v>45406</c:v>
                </c:pt>
                <c:pt idx="2691">
                  <c:v>45407</c:v>
                </c:pt>
                <c:pt idx="2692">
                  <c:v>45408</c:v>
                </c:pt>
                <c:pt idx="2693">
                  <c:v>45411</c:v>
                </c:pt>
                <c:pt idx="2694">
                  <c:v>45412</c:v>
                </c:pt>
                <c:pt idx="2695">
                  <c:v>45413</c:v>
                </c:pt>
                <c:pt idx="2696">
                  <c:v>45414</c:v>
                </c:pt>
                <c:pt idx="2697">
                  <c:v>45415</c:v>
                </c:pt>
                <c:pt idx="2698">
                  <c:v>45418</c:v>
                </c:pt>
                <c:pt idx="2699">
                  <c:v>45419</c:v>
                </c:pt>
                <c:pt idx="2700">
                  <c:v>45420</c:v>
                </c:pt>
                <c:pt idx="2701">
                  <c:v>45421</c:v>
                </c:pt>
                <c:pt idx="2702">
                  <c:v>45422</c:v>
                </c:pt>
                <c:pt idx="2703">
                  <c:v>45425</c:v>
                </c:pt>
                <c:pt idx="2704">
                  <c:v>45426</c:v>
                </c:pt>
                <c:pt idx="2705">
                  <c:v>45427</c:v>
                </c:pt>
                <c:pt idx="2706">
                  <c:v>45428</c:v>
                </c:pt>
                <c:pt idx="2707">
                  <c:v>45429</c:v>
                </c:pt>
                <c:pt idx="2708">
                  <c:v>45432</c:v>
                </c:pt>
                <c:pt idx="2709">
                  <c:v>45433</c:v>
                </c:pt>
                <c:pt idx="2710">
                  <c:v>45434</c:v>
                </c:pt>
                <c:pt idx="2711">
                  <c:v>45435</c:v>
                </c:pt>
                <c:pt idx="2712">
                  <c:v>45436</c:v>
                </c:pt>
                <c:pt idx="2713">
                  <c:v>45439</c:v>
                </c:pt>
                <c:pt idx="2714">
                  <c:v>45440</c:v>
                </c:pt>
                <c:pt idx="2715">
                  <c:v>45441</c:v>
                </c:pt>
                <c:pt idx="2716">
                  <c:v>45442</c:v>
                </c:pt>
                <c:pt idx="2717">
                  <c:v>45443</c:v>
                </c:pt>
                <c:pt idx="2718">
                  <c:v>45446</c:v>
                </c:pt>
                <c:pt idx="2719">
                  <c:v>45447</c:v>
                </c:pt>
                <c:pt idx="2720">
                  <c:v>45448</c:v>
                </c:pt>
                <c:pt idx="2721">
                  <c:v>45449</c:v>
                </c:pt>
                <c:pt idx="2722">
                  <c:v>45450</c:v>
                </c:pt>
                <c:pt idx="2723">
                  <c:v>45453</c:v>
                </c:pt>
                <c:pt idx="2724">
                  <c:v>45454</c:v>
                </c:pt>
                <c:pt idx="2725">
                  <c:v>45455</c:v>
                </c:pt>
                <c:pt idx="2726">
                  <c:v>45456</c:v>
                </c:pt>
                <c:pt idx="2727">
                  <c:v>45457</c:v>
                </c:pt>
                <c:pt idx="2728">
                  <c:v>45460</c:v>
                </c:pt>
                <c:pt idx="2729">
                  <c:v>45461</c:v>
                </c:pt>
                <c:pt idx="2730">
                  <c:v>45462</c:v>
                </c:pt>
                <c:pt idx="2731">
                  <c:v>45463</c:v>
                </c:pt>
                <c:pt idx="2732">
                  <c:v>45464</c:v>
                </c:pt>
                <c:pt idx="2733">
                  <c:v>45467</c:v>
                </c:pt>
                <c:pt idx="2734">
                  <c:v>45468</c:v>
                </c:pt>
                <c:pt idx="2735">
                  <c:v>45469</c:v>
                </c:pt>
                <c:pt idx="2736">
                  <c:v>45470</c:v>
                </c:pt>
                <c:pt idx="2737">
                  <c:v>45471</c:v>
                </c:pt>
                <c:pt idx="2738">
                  <c:v>45474</c:v>
                </c:pt>
                <c:pt idx="2739">
                  <c:v>45475</c:v>
                </c:pt>
                <c:pt idx="2740">
                  <c:v>45476</c:v>
                </c:pt>
                <c:pt idx="2741">
                  <c:v>45477</c:v>
                </c:pt>
                <c:pt idx="2742">
                  <c:v>45478</c:v>
                </c:pt>
                <c:pt idx="2743">
                  <c:v>45481</c:v>
                </c:pt>
                <c:pt idx="2744">
                  <c:v>45482</c:v>
                </c:pt>
                <c:pt idx="2745">
                  <c:v>45483</c:v>
                </c:pt>
                <c:pt idx="2746">
                  <c:v>45484</c:v>
                </c:pt>
                <c:pt idx="2747">
                  <c:v>45485</c:v>
                </c:pt>
                <c:pt idx="2748">
                  <c:v>45488</c:v>
                </c:pt>
                <c:pt idx="2749">
                  <c:v>45489</c:v>
                </c:pt>
                <c:pt idx="2750">
                  <c:v>45490</c:v>
                </c:pt>
                <c:pt idx="2751">
                  <c:v>45491</c:v>
                </c:pt>
                <c:pt idx="2752">
                  <c:v>45492</c:v>
                </c:pt>
                <c:pt idx="2753">
                  <c:v>45495</c:v>
                </c:pt>
                <c:pt idx="2754">
                  <c:v>45496</c:v>
                </c:pt>
                <c:pt idx="2755">
                  <c:v>45497</c:v>
                </c:pt>
                <c:pt idx="2756">
                  <c:v>45498</c:v>
                </c:pt>
                <c:pt idx="2757">
                  <c:v>45499</c:v>
                </c:pt>
                <c:pt idx="2758">
                  <c:v>45502</c:v>
                </c:pt>
                <c:pt idx="2759">
                  <c:v>45503</c:v>
                </c:pt>
                <c:pt idx="2760">
                  <c:v>45504</c:v>
                </c:pt>
                <c:pt idx="2761">
                  <c:v>45505</c:v>
                </c:pt>
                <c:pt idx="2762">
                  <c:v>45506</c:v>
                </c:pt>
                <c:pt idx="2763">
                  <c:v>45509</c:v>
                </c:pt>
                <c:pt idx="2764">
                  <c:v>45510</c:v>
                </c:pt>
                <c:pt idx="2765">
                  <c:v>45511</c:v>
                </c:pt>
                <c:pt idx="2766">
                  <c:v>45512</c:v>
                </c:pt>
                <c:pt idx="2767">
                  <c:v>45513</c:v>
                </c:pt>
                <c:pt idx="2768">
                  <c:v>45516</c:v>
                </c:pt>
                <c:pt idx="2769">
                  <c:v>45517</c:v>
                </c:pt>
                <c:pt idx="2770">
                  <c:v>45518</c:v>
                </c:pt>
                <c:pt idx="2771">
                  <c:v>45519</c:v>
                </c:pt>
                <c:pt idx="2772">
                  <c:v>45520</c:v>
                </c:pt>
                <c:pt idx="2773">
                  <c:v>45523</c:v>
                </c:pt>
                <c:pt idx="2774">
                  <c:v>45524</c:v>
                </c:pt>
                <c:pt idx="2775">
                  <c:v>45525</c:v>
                </c:pt>
                <c:pt idx="2776">
                  <c:v>45526</c:v>
                </c:pt>
                <c:pt idx="2777">
                  <c:v>45527</c:v>
                </c:pt>
                <c:pt idx="2778">
                  <c:v>45530</c:v>
                </c:pt>
                <c:pt idx="2779">
                  <c:v>45531</c:v>
                </c:pt>
                <c:pt idx="2780">
                  <c:v>45532</c:v>
                </c:pt>
                <c:pt idx="2781">
                  <c:v>45533</c:v>
                </c:pt>
                <c:pt idx="2782">
                  <c:v>45534</c:v>
                </c:pt>
                <c:pt idx="2783">
                  <c:v>45537</c:v>
                </c:pt>
                <c:pt idx="2784">
                  <c:v>45538</c:v>
                </c:pt>
                <c:pt idx="2785">
                  <c:v>45539</c:v>
                </c:pt>
                <c:pt idx="2786">
                  <c:v>45540</c:v>
                </c:pt>
                <c:pt idx="2787">
                  <c:v>45541</c:v>
                </c:pt>
                <c:pt idx="2788">
                  <c:v>45544</c:v>
                </c:pt>
                <c:pt idx="2789">
                  <c:v>45545</c:v>
                </c:pt>
                <c:pt idx="2790">
                  <c:v>45546</c:v>
                </c:pt>
                <c:pt idx="2791">
                  <c:v>45547</c:v>
                </c:pt>
                <c:pt idx="2792">
                  <c:v>45548</c:v>
                </c:pt>
                <c:pt idx="2793">
                  <c:v>45551</c:v>
                </c:pt>
                <c:pt idx="2794">
                  <c:v>45552</c:v>
                </c:pt>
                <c:pt idx="2795">
                  <c:v>45553</c:v>
                </c:pt>
                <c:pt idx="2796">
                  <c:v>45554</c:v>
                </c:pt>
                <c:pt idx="2797">
                  <c:v>45555</c:v>
                </c:pt>
                <c:pt idx="2798">
                  <c:v>45558</c:v>
                </c:pt>
                <c:pt idx="2799">
                  <c:v>45559</c:v>
                </c:pt>
                <c:pt idx="2800">
                  <c:v>45560</c:v>
                </c:pt>
                <c:pt idx="2801">
                  <c:v>45561</c:v>
                </c:pt>
                <c:pt idx="2802">
                  <c:v>45562</c:v>
                </c:pt>
                <c:pt idx="2803">
                  <c:v>45565</c:v>
                </c:pt>
                <c:pt idx="2804">
                  <c:v>45566</c:v>
                </c:pt>
                <c:pt idx="2805">
                  <c:v>45567</c:v>
                </c:pt>
                <c:pt idx="2806">
                  <c:v>45568</c:v>
                </c:pt>
                <c:pt idx="2807">
                  <c:v>45569</c:v>
                </c:pt>
                <c:pt idx="2808">
                  <c:v>45572</c:v>
                </c:pt>
                <c:pt idx="2809">
                  <c:v>45573</c:v>
                </c:pt>
                <c:pt idx="2810">
                  <c:v>45574</c:v>
                </c:pt>
                <c:pt idx="2811">
                  <c:v>45575</c:v>
                </c:pt>
                <c:pt idx="2812">
                  <c:v>45576</c:v>
                </c:pt>
                <c:pt idx="2813">
                  <c:v>45579</c:v>
                </c:pt>
                <c:pt idx="2814">
                  <c:v>45580</c:v>
                </c:pt>
                <c:pt idx="2815">
                  <c:v>45581</c:v>
                </c:pt>
                <c:pt idx="2816">
                  <c:v>45582</c:v>
                </c:pt>
                <c:pt idx="2817">
                  <c:v>45583</c:v>
                </c:pt>
                <c:pt idx="2818">
                  <c:v>45586</c:v>
                </c:pt>
                <c:pt idx="2819">
                  <c:v>45587</c:v>
                </c:pt>
                <c:pt idx="2820">
                  <c:v>45588</c:v>
                </c:pt>
                <c:pt idx="2821">
                  <c:v>45589</c:v>
                </c:pt>
                <c:pt idx="2822">
                  <c:v>45590</c:v>
                </c:pt>
                <c:pt idx="2823">
                  <c:v>45593</c:v>
                </c:pt>
                <c:pt idx="2824">
                  <c:v>45594</c:v>
                </c:pt>
                <c:pt idx="2825">
                  <c:v>45595</c:v>
                </c:pt>
                <c:pt idx="2826">
                  <c:v>45596</c:v>
                </c:pt>
                <c:pt idx="2827">
                  <c:v>45597</c:v>
                </c:pt>
                <c:pt idx="2828">
                  <c:v>45600</c:v>
                </c:pt>
                <c:pt idx="2829">
                  <c:v>45601</c:v>
                </c:pt>
                <c:pt idx="2830">
                  <c:v>45602</c:v>
                </c:pt>
                <c:pt idx="2831">
                  <c:v>45603</c:v>
                </c:pt>
                <c:pt idx="2832">
                  <c:v>45604</c:v>
                </c:pt>
                <c:pt idx="2833">
                  <c:v>45607</c:v>
                </c:pt>
                <c:pt idx="2834">
                  <c:v>45608</c:v>
                </c:pt>
                <c:pt idx="2835">
                  <c:v>45609</c:v>
                </c:pt>
                <c:pt idx="2836">
                  <c:v>45610</c:v>
                </c:pt>
                <c:pt idx="2837">
                  <c:v>45611</c:v>
                </c:pt>
                <c:pt idx="2838">
                  <c:v>45614</c:v>
                </c:pt>
                <c:pt idx="2839">
                  <c:v>45615</c:v>
                </c:pt>
                <c:pt idx="2840">
                  <c:v>45616</c:v>
                </c:pt>
                <c:pt idx="2841">
                  <c:v>45617</c:v>
                </c:pt>
                <c:pt idx="2842">
                  <c:v>45618</c:v>
                </c:pt>
                <c:pt idx="2843">
                  <c:v>45621</c:v>
                </c:pt>
              </c:numCache>
            </c:numRef>
          </c:cat>
          <c:val>
            <c:numRef>
              <c:f>'Sheet1 (2)'!$L$4:$L$2847</c:f>
              <c:numCache>
                <c:formatCode>General</c:formatCode>
                <c:ptCount val="2844"/>
                <c:pt idx="0">
                  <c:v>100</c:v>
                </c:pt>
                <c:pt idx="1">
                  <c:v>101.57</c:v>
                </c:pt>
                <c:pt idx="2">
                  <c:v>101.57</c:v>
                </c:pt>
                <c:pt idx="3">
                  <c:v>101.57</c:v>
                </c:pt>
                <c:pt idx="4">
                  <c:v>101.57</c:v>
                </c:pt>
                <c:pt idx="5">
                  <c:v>101.57</c:v>
                </c:pt>
                <c:pt idx="6">
                  <c:v>101.723</c:v>
                </c:pt>
                <c:pt idx="7">
                  <c:v>101.723</c:v>
                </c:pt>
                <c:pt idx="8">
                  <c:v>101.723</c:v>
                </c:pt>
                <c:pt idx="9">
                  <c:v>101.723</c:v>
                </c:pt>
                <c:pt idx="10">
                  <c:v>101.723</c:v>
                </c:pt>
                <c:pt idx="11">
                  <c:v>103.026</c:v>
                </c:pt>
                <c:pt idx="12">
                  <c:v>103.026</c:v>
                </c:pt>
                <c:pt idx="13">
                  <c:v>103.026</c:v>
                </c:pt>
                <c:pt idx="14">
                  <c:v>103.026</c:v>
                </c:pt>
                <c:pt idx="15">
                  <c:v>103.026</c:v>
                </c:pt>
                <c:pt idx="16">
                  <c:v>101.91500000000001</c:v>
                </c:pt>
                <c:pt idx="17">
                  <c:v>101.91500000000001</c:v>
                </c:pt>
                <c:pt idx="18">
                  <c:v>101.91500000000001</c:v>
                </c:pt>
                <c:pt idx="19">
                  <c:v>101.91500000000001</c:v>
                </c:pt>
                <c:pt idx="20">
                  <c:v>101.91500000000001</c:v>
                </c:pt>
                <c:pt idx="21">
                  <c:v>100.81699999999999</c:v>
                </c:pt>
                <c:pt idx="22">
                  <c:v>100.81699999999999</c:v>
                </c:pt>
                <c:pt idx="23">
                  <c:v>100.81699999999999</c:v>
                </c:pt>
                <c:pt idx="24">
                  <c:v>100.81699999999999</c:v>
                </c:pt>
                <c:pt idx="25">
                  <c:v>100.81699999999999</c:v>
                </c:pt>
                <c:pt idx="26">
                  <c:v>103.747</c:v>
                </c:pt>
                <c:pt idx="27">
                  <c:v>103.747</c:v>
                </c:pt>
                <c:pt idx="28">
                  <c:v>103.747</c:v>
                </c:pt>
                <c:pt idx="29">
                  <c:v>103.747</c:v>
                </c:pt>
                <c:pt idx="30">
                  <c:v>103.747</c:v>
                </c:pt>
                <c:pt idx="31">
                  <c:v>103.581</c:v>
                </c:pt>
                <c:pt idx="32">
                  <c:v>103.581</c:v>
                </c:pt>
                <c:pt idx="33">
                  <c:v>103.581</c:v>
                </c:pt>
                <c:pt idx="34">
                  <c:v>103.581</c:v>
                </c:pt>
                <c:pt idx="35">
                  <c:v>103.581</c:v>
                </c:pt>
                <c:pt idx="36">
                  <c:v>104.277</c:v>
                </c:pt>
                <c:pt idx="37">
                  <c:v>104.277</c:v>
                </c:pt>
                <c:pt idx="38">
                  <c:v>104.277</c:v>
                </c:pt>
                <c:pt idx="39">
                  <c:v>104.277</c:v>
                </c:pt>
                <c:pt idx="40">
                  <c:v>104.277</c:v>
                </c:pt>
                <c:pt idx="41">
                  <c:v>103.19799999999999</c:v>
                </c:pt>
                <c:pt idx="42">
                  <c:v>103.19799999999999</c:v>
                </c:pt>
                <c:pt idx="43">
                  <c:v>103.19799999999999</c:v>
                </c:pt>
                <c:pt idx="44">
                  <c:v>103.19799999999999</c:v>
                </c:pt>
                <c:pt idx="45">
                  <c:v>103.19799999999999</c:v>
                </c:pt>
                <c:pt idx="46">
                  <c:v>104.092</c:v>
                </c:pt>
                <c:pt idx="47">
                  <c:v>104.092</c:v>
                </c:pt>
                <c:pt idx="48">
                  <c:v>104.092</c:v>
                </c:pt>
                <c:pt idx="49">
                  <c:v>104.092</c:v>
                </c:pt>
                <c:pt idx="50">
                  <c:v>104.092</c:v>
                </c:pt>
                <c:pt idx="51">
                  <c:v>99.649000000000001</c:v>
                </c:pt>
                <c:pt idx="52">
                  <c:v>99.649000000000001</c:v>
                </c:pt>
                <c:pt idx="53">
                  <c:v>99.649000000000001</c:v>
                </c:pt>
                <c:pt idx="54">
                  <c:v>99.649000000000001</c:v>
                </c:pt>
                <c:pt idx="55">
                  <c:v>99.649000000000001</c:v>
                </c:pt>
                <c:pt idx="56">
                  <c:v>99.349000000000004</c:v>
                </c:pt>
                <c:pt idx="57">
                  <c:v>99.349000000000004</c:v>
                </c:pt>
                <c:pt idx="58">
                  <c:v>99.349000000000004</c:v>
                </c:pt>
                <c:pt idx="59">
                  <c:v>99.349000000000004</c:v>
                </c:pt>
                <c:pt idx="60">
                  <c:v>99.349000000000004</c:v>
                </c:pt>
                <c:pt idx="61">
                  <c:v>99.335999999999999</c:v>
                </c:pt>
                <c:pt idx="62">
                  <c:v>99.335999999999999</c:v>
                </c:pt>
                <c:pt idx="63">
                  <c:v>99.335999999999999</c:v>
                </c:pt>
                <c:pt idx="64">
                  <c:v>99.335999999999999</c:v>
                </c:pt>
                <c:pt idx="65">
                  <c:v>99.335999999999999</c:v>
                </c:pt>
                <c:pt idx="66">
                  <c:v>100.81100000000001</c:v>
                </c:pt>
                <c:pt idx="67">
                  <c:v>100.81100000000001</c:v>
                </c:pt>
                <c:pt idx="68">
                  <c:v>100.81100000000001</c:v>
                </c:pt>
                <c:pt idx="69">
                  <c:v>100.81100000000001</c:v>
                </c:pt>
                <c:pt idx="70">
                  <c:v>100.81100000000001</c:v>
                </c:pt>
                <c:pt idx="71">
                  <c:v>100.919</c:v>
                </c:pt>
                <c:pt idx="72">
                  <c:v>100.919</c:v>
                </c:pt>
                <c:pt idx="73">
                  <c:v>100.919</c:v>
                </c:pt>
                <c:pt idx="74">
                  <c:v>100.919</c:v>
                </c:pt>
                <c:pt idx="75">
                  <c:v>100.919</c:v>
                </c:pt>
                <c:pt idx="76">
                  <c:v>100.587</c:v>
                </c:pt>
                <c:pt idx="77">
                  <c:v>100.587</c:v>
                </c:pt>
                <c:pt idx="78">
                  <c:v>100.587</c:v>
                </c:pt>
                <c:pt idx="79">
                  <c:v>100.587</c:v>
                </c:pt>
                <c:pt idx="80">
                  <c:v>100.587</c:v>
                </c:pt>
                <c:pt idx="81">
                  <c:v>100.581</c:v>
                </c:pt>
                <c:pt idx="82">
                  <c:v>100.581</c:v>
                </c:pt>
                <c:pt idx="83">
                  <c:v>100.581</c:v>
                </c:pt>
                <c:pt idx="84">
                  <c:v>100.581</c:v>
                </c:pt>
                <c:pt idx="85">
                  <c:v>100.581</c:v>
                </c:pt>
                <c:pt idx="86">
                  <c:v>101.679</c:v>
                </c:pt>
                <c:pt idx="87">
                  <c:v>101.679</c:v>
                </c:pt>
                <c:pt idx="88">
                  <c:v>101.679</c:v>
                </c:pt>
                <c:pt idx="89">
                  <c:v>101.679</c:v>
                </c:pt>
                <c:pt idx="90">
                  <c:v>101.679</c:v>
                </c:pt>
                <c:pt idx="91">
                  <c:v>101.372</c:v>
                </c:pt>
                <c:pt idx="92">
                  <c:v>101.372</c:v>
                </c:pt>
                <c:pt idx="93">
                  <c:v>101.372</c:v>
                </c:pt>
                <c:pt idx="94">
                  <c:v>101.372</c:v>
                </c:pt>
                <c:pt idx="95">
                  <c:v>101.372</c:v>
                </c:pt>
                <c:pt idx="96">
                  <c:v>101.679</c:v>
                </c:pt>
                <c:pt idx="97">
                  <c:v>101.679</c:v>
                </c:pt>
                <c:pt idx="98">
                  <c:v>101.679</c:v>
                </c:pt>
                <c:pt idx="99">
                  <c:v>101.679</c:v>
                </c:pt>
                <c:pt idx="100">
                  <c:v>101.679</c:v>
                </c:pt>
                <c:pt idx="101">
                  <c:v>102.247</c:v>
                </c:pt>
                <c:pt idx="102">
                  <c:v>102.247</c:v>
                </c:pt>
                <c:pt idx="103">
                  <c:v>102.247</c:v>
                </c:pt>
                <c:pt idx="104">
                  <c:v>102.247</c:v>
                </c:pt>
                <c:pt idx="105">
                  <c:v>102.247</c:v>
                </c:pt>
                <c:pt idx="106">
                  <c:v>102.004</c:v>
                </c:pt>
                <c:pt idx="107">
                  <c:v>102.004</c:v>
                </c:pt>
                <c:pt idx="108">
                  <c:v>102.004</c:v>
                </c:pt>
                <c:pt idx="109">
                  <c:v>102.004</c:v>
                </c:pt>
                <c:pt idx="110">
                  <c:v>102.004</c:v>
                </c:pt>
                <c:pt idx="111">
                  <c:v>103.68300000000001</c:v>
                </c:pt>
                <c:pt idx="112">
                  <c:v>103.68300000000001</c:v>
                </c:pt>
                <c:pt idx="113">
                  <c:v>103.68300000000001</c:v>
                </c:pt>
                <c:pt idx="114">
                  <c:v>103.68300000000001</c:v>
                </c:pt>
                <c:pt idx="115">
                  <c:v>103.68300000000001</c:v>
                </c:pt>
                <c:pt idx="116">
                  <c:v>102.53400000000001</c:v>
                </c:pt>
                <c:pt idx="117">
                  <c:v>102.53400000000001</c:v>
                </c:pt>
                <c:pt idx="118">
                  <c:v>102.53400000000001</c:v>
                </c:pt>
                <c:pt idx="119">
                  <c:v>102.53400000000001</c:v>
                </c:pt>
                <c:pt idx="120">
                  <c:v>102.53400000000001</c:v>
                </c:pt>
                <c:pt idx="121">
                  <c:v>102.79600000000001</c:v>
                </c:pt>
                <c:pt idx="122">
                  <c:v>102.79600000000001</c:v>
                </c:pt>
                <c:pt idx="123">
                  <c:v>102.79600000000001</c:v>
                </c:pt>
                <c:pt idx="124">
                  <c:v>102.79600000000001</c:v>
                </c:pt>
                <c:pt idx="125">
                  <c:v>102.79600000000001</c:v>
                </c:pt>
                <c:pt idx="126">
                  <c:v>101.51300000000001</c:v>
                </c:pt>
                <c:pt idx="127">
                  <c:v>101.51300000000001</c:v>
                </c:pt>
                <c:pt idx="128">
                  <c:v>101.51300000000001</c:v>
                </c:pt>
                <c:pt idx="129">
                  <c:v>101.51300000000001</c:v>
                </c:pt>
                <c:pt idx="130">
                  <c:v>101.51300000000001</c:v>
                </c:pt>
                <c:pt idx="131">
                  <c:v>101.858</c:v>
                </c:pt>
                <c:pt idx="132">
                  <c:v>101.858</c:v>
                </c:pt>
                <c:pt idx="133">
                  <c:v>101.858</c:v>
                </c:pt>
                <c:pt idx="134">
                  <c:v>101.858</c:v>
                </c:pt>
                <c:pt idx="135">
                  <c:v>101.858</c:v>
                </c:pt>
                <c:pt idx="136">
                  <c:v>101.634</c:v>
                </c:pt>
                <c:pt idx="137">
                  <c:v>101.634</c:v>
                </c:pt>
                <c:pt idx="138">
                  <c:v>101.634</c:v>
                </c:pt>
                <c:pt idx="139">
                  <c:v>101.634</c:v>
                </c:pt>
                <c:pt idx="140">
                  <c:v>101.634</c:v>
                </c:pt>
                <c:pt idx="141">
                  <c:v>101.61499999999999</c:v>
                </c:pt>
                <c:pt idx="142">
                  <c:v>101.61499999999999</c:v>
                </c:pt>
                <c:pt idx="143">
                  <c:v>101.61499999999999</c:v>
                </c:pt>
                <c:pt idx="144">
                  <c:v>101.61499999999999</c:v>
                </c:pt>
                <c:pt idx="145">
                  <c:v>101.61499999999999</c:v>
                </c:pt>
                <c:pt idx="146">
                  <c:v>101.634</c:v>
                </c:pt>
                <c:pt idx="147">
                  <c:v>101.634</c:v>
                </c:pt>
                <c:pt idx="148">
                  <c:v>101.634</c:v>
                </c:pt>
                <c:pt idx="149">
                  <c:v>101.634</c:v>
                </c:pt>
                <c:pt idx="150">
                  <c:v>101.634</c:v>
                </c:pt>
                <c:pt idx="151">
                  <c:v>101.577</c:v>
                </c:pt>
                <c:pt idx="152">
                  <c:v>101.577</c:v>
                </c:pt>
                <c:pt idx="153">
                  <c:v>101.577</c:v>
                </c:pt>
                <c:pt idx="154">
                  <c:v>101.577</c:v>
                </c:pt>
                <c:pt idx="155">
                  <c:v>101.577</c:v>
                </c:pt>
                <c:pt idx="156">
                  <c:v>102.502</c:v>
                </c:pt>
                <c:pt idx="157">
                  <c:v>102.502</c:v>
                </c:pt>
                <c:pt idx="158">
                  <c:v>102.502</c:v>
                </c:pt>
                <c:pt idx="159">
                  <c:v>102.502</c:v>
                </c:pt>
                <c:pt idx="160">
                  <c:v>102.502</c:v>
                </c:pt>
                <c:pt idx="161">
                  <c:v>102.617</c:v>
                </c:pt>
                <c:pt idx="162">
                  <c:v>102.617</c:v>
                </c:pt>
                <c:pt idx="163">
                  <c:v>102.617</c:v>
                </c:pt>
                <c:pt idx="164">
                  <c:v>102.617</c:v>
                </c:pt>
                <c:pt idx="165">
                  <c:v>102.617</c:v>
                </c:pt>
                <c:pt idx="166">
                  <c:v>102.553</c:v>
                </c:pt>
                <c:pt idx="167">
                  <c:v>102.553</c:v>
                </c:pt>
                <c:pt idx="168">
                  <c:v>102.553</c:v>
                </c:pt>
                <c:pt idx="169">
                  <c:v>102.553</c:v>
                </c:pt>
                <c:pt idx="170">
                  <c:v>102.553</c:v>
                </c:pt>
                <c:pt idx="171">
                  <c:v>102.88500000000001</c:v>
                </c:pt>
                <c:pt idx="172">
                  <c:v>102.88500000000001</c:v>
                </c:pt>
                <c:pt idx="173">
                  <c:v>102.88500000000001</c:v>
                </c:pt>
                <c:pt idx="174">
                  <c:v>102.88500000000001</c:v>
                </c:pt>
                <c:pt idx="175">
                  <c:v>102.88500000000001</c:v>
                </c:pt>
                <c:pt idx="176">
                  <c:v>103.983</c:v>
                </c:pt>
                <c:pt idx="177">
                  <c:v>103.983</c:v>
                </c:pt>
                <c:pt idx="178">
                  <c:v>103.983</c:v>
                </c:pt>
                <c:pt idx="179">
                  <c:v>103.983</c:v>
                </c:pt>
                <c:pt idx="180">
                  <c:v>103.983</c:v>
                </c:pt>
                <c:pt idx="181">
                  <c:v>104.03400000000001</c:v>
                </c:pt>
                <c:pt idx="182">
                  <c:v>104.03400000000001</c:v>
                </c:pt>
                <c:pt idx="183">
                  <c:v>104.03400000000001</c:v>
                </c:pt>
                <c:pt idx="184">
                  <c:v>104.03400000000001</c:v>
                </c:pt>
                <c:pt idx="185">
                  <c:v>104.03400000000001</c:v>
                </c:pt>
                <c:pt idx="186">
                  <c:v>104.002</c:v>
                </c:pt>
                <c:pt idx="187">
                  <c:v>104.002</c:v>
                </c:pt>
                <c:pt idx="188">
                  <c:v>104.002</c:v>
                </c:pt>
                <c:pt idx="189">
                  <c:v>104.002</c:v>
                </c:pt>
                <c:pt idx="190">
                  <c:v>104.002</c:v>
                </c:pt>
                <c:pt idx="191">
                  <c:v>104.117</c:v>
                </c:pt>
                <c:pt idx="192">
                  <c:v>104.117</c:v>
                </c:pt>
                <c:pt idx="193">
                  <c:v>104.117</c:v>
                </c:pt>
                <c:pt idx="194">
                  <c:v>104.117</c:v>
                </c:pt>
                <c:pt idx="195">
                  <c:v>104.117</c:v>
                </c:pt>
                <c:pt idx="196">
                  <c:v>105.70699999999999</c:v>
                </c:pt>
                <c:pt idx="197">
                  <c:v>105.70699999999999</c:v>
                </c:pt>
                <c:pt idx="198">
                  <c:v>105.70699999999999</c:v>
                </c:pt>
                <c:pt idx="199">
                  <c:v>105.70699999999999</c:v>
                </c:pt>
                <c:pt idx="200">
                  <c:v>105.70699999999999</c:v>
                </c:pt>
                <c:pt idx="201">
                  <c:v>105.26</c:v>
                </c:pt>
                <c:pt idx="202">
                  <c:v>105.26</c:v>
                </c:pt>
                <c:pt idx="203">
                  <c:v>105.26</c:v>
                </c:pt>
                <c:pt idx="204">
                  <c:v>105.26</c:v>
                </c:pt>
                <c:pt idx="205">
                  <c:v>105.26</c:v>
                </c:pt>
                <c:pt idx="206">
                  <c:v>104.807</c:v>
                </c:pt>
                <c:pt idx="207">
                  <c:v>104.807</c:v>
                </c:pt>
                <c:pt idx="208">
                  <c:v>104.807</c:v>
                </c:pt>
                <c:pt idx="209">
                  <c:v>104.807</c:v>
                </c:pt>
                <c:pt idx="210">
                  <c:v>104.807</c:v>
                </c:pt>
                <c:pt idx="211">
                  <c:v>104.538</c:v>
                </c:pt>
                <c:pt idx="212">
                  <c:v>104.538</c:v>
                </c:pt>
                <c:pt idx="213">
                  <c:v>104.538</c:v>
                </c:pt>
                <c:pt idx="214">
                  <c:v>104.538</c:v>
                </c:pt>
                <c:pt idx="215">
                  <c:v>104.538</c:v>
                </c:pt>
                <c:pt idx="216">
                  <c:v>104.36</c:v>
                </c:pt>
                <c:pt idx="217">
                  <c:v>104.36</c:v>
                </c:pt>
                <c:pt idx="218">
                  <c:v>104.36</c:v>
                </c:pt>
                <c:pt idx="219">
                  <c:v>104.36</c:v>
                </c:pt>
                <c:pt idx="220">
                  <c:v>104.36</c:v>
                </c:pt>
                <c:pt idx="221">
                  <c:v>105.66800000000001</c:v>
                </c:pt>
                <c:pt idx="222">
                  <c:v>105.66800000000001</c:v>
                </c:pt>
                <c:pt idx="223">
                  <c:v>105.66800000000001</c:v>
                </c:pt>
                <c:pt idx="224">
                  <c:v>105.66800000000001</c:v>
                </c:pt>
                <c:pt idx="225">
                  <c:v>105.66800000000001</c:v>
                </c:pt>
                <c:pt idx="226">
                  <c:v>106.039</c:v>
                </c:pt>
                <c:pt idx="227">
                  <c:v>106.039</c:v>
                </c:pt>
                <c:pt idx="228">
                  <c:v>106.039</c:v>
                </c:pt>
                <c:pt idx="229">
                  <c:v>106.039</c:v>
                </c:pt>
                <c:pt idx="230">
                  <c:v>106.039</c:v>
                </c:pt>
                <c:pt idx="231">
                  <c:v>105.285</c:v>
                </c:pt>
                <c:pt idx="232">
                  <c:v>105.285</c:v>
                </c:pt>
                <c:pt idx="233">
                  <c:v>105.285</c:v>
                </c:pt>
                <c:pt idx="234">
                  <c:v>105.285</c:v>
                </c:pt>
                <c:pt idx="235">
                  <c:v>105.285</c:v>
                </c:pt>
                <c:pt idx="236">
                  <c:v>105.624</c:v>
                </c:pt>
                <c:pt idx="237">
                  <c:v>105.624</c:v>
                </c:pt>
                <c:pt idx="238">
                  <c:v>105.624</c:v>
                </c:pt>
                <c:pt idx="239">
                  <c:v>105.624</c:v>
                </c:pt>
                <c:pt idx="240">
                  <c:v>105.624</c:v>
                </c:pt>
                <c:pt idx="241">
                  <c:v>106.185</c:v>
                </c:pt>
                <c:pt idx="242">
                  <c:v>106.185</c:v>
                </c:pt>
                <c:pt idx="243">
                  <c:v>106.185</c:v>
                </c:pt>
                <c:pt idx="244">
                  <c:v>106.185</c:v>
                </c:pt>
                <c:pt idx="245">
                  <c:v>106.185</c:v>
                </c:pt>
                <c:pt idx="246">
                  <c:v>105.905</c:v>
                </c:pt>
                <c:pt idx="247">
                  <c:v>105.905</c:v>
                </c:pt>
                <c:pt idx="248">
                  <c:v>105.905</c:v>
                </c:pt>
                <c:pt idx="249">
                  <c:v>105.905</c:v>
                </c:pt>
                <c:pt idx="250">
                  <c:v>105.905</c:v>
                </c:pt>
                <c:pt idx="251">
                  <c:v>103.658</c:v>
                </c:pt>
                <c:pt idx="252">
                  <c:v>103.658</c:v>
                </c:pt>
                <c:pt idx="253">
                  <c:v>103.658</c:v>
                </c:pt>
                <c:pt idx="254">
                  <c:v>103.658</c:v>
                </c:pt>
                <c:pt idx="255">
                  <c:v>103.658</c:v>
                </c:pt>
                <c:pt idx="256">
                  <c:v>105.617</c:v>
                </c:pt>
                <c:pt idx="257">
                  <c:v>105.617</c:v>
                </c:pt>
                <c:pt idx="258">
                  <c:v>105.617</c:v>
                </c:pt>
                <c:pt idx="259">
                  <c:v>105.617</c:v>
                </c:pt>
                <c:pt idx="260">
                  <c:v>105.617</c:v>
                </c:pt>
                <c:pt idx="261">
                  <c:v>107.29</c:v>
                </c:pt>
                <c:pt idx="262">
                  <c:v>107.29</c:v>
                </c:pt>
                <c:pt idx="263">
                  <c:v>107.29</c:v>
                </c:pt>
                <c:pt idx="264">
                  <c:v>107.29</c:v>
                </c:pt>
                <c:pt idx="265">
                  <c:v>107.29</c:v>
                </c:pt>
                <c:pt idx="266">
                  <c:v>107.545</c:v>
                </c:pt>
                <c:pt idx="267">
                  <c:v>107.545</c:v>
                </c:pt>
                <c:pt idx="268">
                  <c:v>107.545</c:v>
                </c:pt>
                <c:pt idx="269">
                  <c:v>107.545</c:v>
                </c:pt>
                <c:pt idx="270">
                  <c:v>107.545</c:v>
                </c:pt>
                <c:pt idx="271">
                  <c:v>107.64100000000001</c:v>
                </c:pt>
                <c:pt idx="272">
                  <c:v>107.64100000000001</c:v>
                </c:pt>
                <c:pt idx="273">
                  <c:v>107.64100000000001</c:v>
                </c:pt>
                <c:pt idx="274">
                  <c:v>107.64100000000001</c:v>
                </c:pt>
                <c:pt idx="275">
                  <c:v>107.64100000000001</c:v>
                </c:pt>
                <c:pt idx="276">
                  <c:v>109.16</c:v>
                </c:pt>
                <c:pt idx="277">
                  <c:v>109.16</c:v>
                </c:pt>
                <c:pt idx="278">
                  <c:v>109.16</c:v>
                </c:pt>
                <c:pt idx="279">
                  <c:v>109.16</c:v>
                </c:pt>
                <c:pt idx="280">
                  <c:v>109.16</c:v>
                </c:pt>
                <c:pt idx="281">
                  <c:v>110.2</c:v>
                </c:pt>
                <c:pt idx="282">
                  <c:v>110.2</c:v>
                </c:pt>
                <c:pt idx="283">
                  <c:v>110.2</c:v>
                </c:pt>
                <c:pt idx="284">
                  <c:v>110.2</c:v>
                </c:pt>
                <c:pt idx="285">
                  <c:v>110.2</c:v>
                </c:pt>
                <c:pt idx="286">
                  <c:v>110.622</c:v>
                </c:pt>
                <c:pt idx="287">
                  <c:v>110.622</c:v>
                </c:pt>
                <c:pt idx="288">
                  <c:v>110.622</c:v>
                </c:pt>
                <c:pt idx="289">
                  <c:v>110.622</c:v>
                </c:pt>
                <c:pt idx="290">
                  <c:v>110.622</c:v>
                </c:pt>
                <c:pt idx="291">
                  <c:v>106.85599999999999</c:v>
                </c:pt>
                <c:pt idx="292">
                  <c:v>106.85599999999999</c:v>
                </c:pt>
                <c:pt idx="293">
                  <c:v>106.85599999999999</c:v>
                </c:pt>
                <c:pt idx="294">
                  <c:v>106.85599999999999</c:v>
                </c:pt>
                <c:pt idx="295">
                  <c:v>106.85599999999999</c:v>
                </c:pt>
                <c:pt idx="296">
                  <c:v>105.905</c:v>
                </c:pt>
                <c:pt idx="297">
                  <c:v>105.905</c:v>
                </c:pt>
                <c:pt idx="298">
                  <c:v>105.905</c:v>
                </c:pt>
                <c:pt idx="299">
                  <c:v>105.905</c:v>
                </c:pt>
                <c:pt idx="300">
                  <c:v>105.905</c:v>
                </c:pt>
                <c:pt idx="301">
                  <c:v>103.69</c:v>
                </c:pt>
                <c:pt idx="302">
                  <c:v>103.69</c:v>
                </c:pt>
                <c:pt idx="303">
                  <c:v>103.69</c:v>
                </c:pt>
                <c:pt idx="304">
                  <c:v>103.69</c:v>
                </c:pt>
                <c:pt idx="305">
                  <c:v>103.69</c:v>
                </c:pt>
                <c:pt idx="306">
                  <c:v>105.84699999999999</c:v>
                </c:pt>
                <c:pt idx="307">
                  <c:v>105.84699999999999</c:v>
                </c:pt>
                <c:pt idx="308">
                  <c:v>105.84699999999999</c:v>
                </c:pt>
                <c:pt idx="309">
                  <c:v>105.84699999999999</c:v>
                </c:pt>
                <c:pt idx="310">
                  <c:v>105.84699999999999</c:v>
                </c:pt>
                <c:pt idx="311">
                  <c:v>107.226</c:v>
                </c:pt>
                <c:pt idx="312">
                  <c:v>107.226</c:v>
                </c:pt>
                <c:pt idx="313">
                  <c:v>107.226</c:v>
                </c:pt>
                <c:pt idx="314">
                  <c:v>107.226</c:v>
                </c:pt>
                <c:pt idx="315">
                  <c:v>107.226</c:v>
                </c:pt>
                <c:pt idx="316">
                  <c:v>107.053</c:v>
                </c:pt>
                <c:pt idx="317">
                  <c:v>107.053</c:v>
                </c:pt>
                <c:pt idx="318">
                  <c:v>107.053</c:v>
                </c:pt>
                <c:pt idx="319">
                  <c:v>107.053</c:v>
                </c:pt>
                <c:pt idx="320">
                  <c:v>107.053</c:v>
                </c:pt>
                <c:pt idx="321">
                  <c:v>106.664</c:v>
                </c:pt>
                <c:pt idx="322">
                  <c:v>106.664</c:v>
                </c:pt>
                <c:pt idx="323">
                  <c:v>106.664</c:v>
                </c:pt>
                <c:pt idx="324">
                  <c:v>106.664</c:v>
                </c:pt>
                <c:pt idx="325">
                  <c:v>106.664</c:v>
                </c:pt>
                <c:pt idx="326">
                  <c:v>109.205</c:v>
                </c:pt>
                <c:pt idx="327">
                  <c:v>109.205</c:v>
                </c:pt>
                <c:pt idx="328">
                  <c:v>109.205</c:v>
                </c:pt>
                <c:pt idx="329">
                  <c:v>109.205</c:v>
                </c:pt>
                <c:pt idx="330">
                  <c:v>109.205</c:v>
                </c:pt>
                <c:pt idx="331">
                  <c:v>108.783</c:v>
                </c:pt>
                <c:pt idx="332">
                  <c:v>108.783</c:v>
                </c:pt>
                <c:pt idx="333">
                  <c:v>108.783</c:v>
                </c:pt>
                <c:pt idx="334">
                  <c:v>108.783</c:v>
                </c:pt>
                <c:pt idx="335">
                  <c:v>108.783</c:v>
                </c:pt>
                <c:pt idx="336">
                  <c:v>109.217</c:v>
                </c:pt>
                <c:pt idx="337">
                  <c:v>109.217</c:v>
                </c:pt>
                <c:pt idx="338">
                  <c:v>109.217</c:v>
                </c:pt>
                <c:pt idx="339">
                  <c:v>109.217</c:v>
                </c:pt>
                <c:pt idx="340">
                  <c:v>109.217</c:v>
                </c:pt>
                <c:pt idx="341">
                  <c:v>109.211</c:v>
                </c:pt>
                <c:pt idx="342">
                  <c:v>109.211</c:v>
                </c:pt>
                <c:pt idx="343">
                  <c:v>109.211</c:v>
                </c:pt>
                <c:pt idx="344">
                  <c:v>109.211</c:v>
                </c:pt>
                <c:pt idx="345">
                  <c:v>109.211</c:v>
                </c:pt>
                <c:pt idx="346">
                  <c:v>108.93</c:v>
                </c:pt>
                <c:pt idx="347">
                  <c:v>108.93</c:v>
                </c:pt>
                <c:pt idx="348">
                  <c:v>108.93</c:v>
                </c:pt>
                <c:pt idx="349">
                  <c:v>108.93</c:v>
                </c:pt>
                <c:pt idx="350">
                  <c:v>108.93</c:v>
                </c:pt>
                <c:pt idx="351">
                  <c:v>110.098</c:v>
                </c:pt>
                <c:pt idx="352">
                  <c:v>110.098</c:v>
                </c:pt>
                <c:pt idx="353">
                  <c:v>110.098</c:v>
                </c:pt>
                <c:pt idx="354">
                  <c:v>110.098</c:v>
                </c:pt>
                <c:pt idx="355">
                  <c:v>110.098</c:v>
                </c:pt>
                <c:pt idx="356">
                  <c:v>110.95399999999999</c:v>
                </c:pt>
                <c:pt idx="357">
                  <c:v>110.95399999999999</c:v>
                </c:pt>
                <c:pt idx="358">
                  <c:v>110.95399999999999</c:v>
                </c:pt>
                <c:pt idx="359">
                  <c:v>110.95399999999999</c:v>
                </c:pt>
                <c:pt idx="360">
                  <c:v>110.95399999999999</c:v>
                </c:pt>
                <c:pt idx="361">
                  <c:v>111.203</c:v>
                </c:pt>
                <c:pt idx="362">
                  <c:v>111.203</c:v>
                </c:pt>
                <c:pt idx="363">
                  <c:v>111.203</c:v>
                </c:pt>
                <c:pt idx="364">
                  <c:v>111.203</c:v>
                </c:pt>
                <c:pt idx="365">
                  <c:v>111.203</c:v>
                </c:pt>
                <c:pt idx="366">
                  <c:v>116.34099999999999</c:v>
                </c:pt>
                <c:pt idx="367">
                  <c:v>116.34099999999999</c:v>
                </c:pt>
                <c:pt idx="368">
                  <c:v>116.34099999999999</c:v>
                </c:pt>
                <c:pt idx="369">
                  <c:v>116.34099999999999</c:v>
                </c:pt>
                <c:pt idx="370">
                  <c:v>116.34099999999999</c:v>
                </c:pt>
                <c:pt idx="371">
                  <c:v>116.60299999999999</c:v>
                </c:pt>
                <c:pt idx="372">
                  <c:v>116.60299999999999</c:v>
                </c:pt>
                <c:pt idx="373">
                  <c:v>116.60299999999999</c:v>
                </c:pt>
                <c:pt idx="374">
                  <c:v>116.60299999999999</c:v>
                </c:pt>
                <c:pt idx="375">
                  <c:v>116.60299999999999</c:v>
                </c:pt>
                <c:pt idx="376">
                  <c:v>116.124</c:v>
                </c:pt>
                <c:pt idx="377">
                  <c:v>116.124</c:v>
                </c:pt>
                <c:pt idx="378">
                  <c:v>116.124</c:v>
                </c:pt>
                <c:pt idx="379">
                  <c:v>116.124</c:v>
                </c:pt>
                <c:pt idx="380">
                  <c:v>116.124</c:v>
                </c:pt>
                <c:pt idx="381">
                  <c:v>116.76900000000001</c:v>
                </c:pt>
                <c:pt idx="382">
                  <c:v>116.76900000000001</c:v>
                </c:pt>
                <c:pt idx="383">
                  <c:v>116.76900000000001</c:v>
                </c:pt>
                <c:pt idx="384">
                  <c:v>116.76900000000001</c:v>
                </c:pt>
                <c:pt idx="385">
                  <c:v>116.76900000000001</c:v>
                </c:pt>
                <c:pt idx="386">
                  <c:v>117.062</c:v>
                </c:pt>
                <c:pt idx="387">
                  <c:v>117.062</c:v>
                </c:pt>
                <c:pt idx="388">
                  <c:v>117.062</c:v>
                </c:pt>
                <c:pt idx="389">
                  <c:v>117.062</c:v>
                </c:pt>
                <c:pt idx="390">
                  <c:v>117.062</c:v>
                </c:pt>
                <c:pt idx="391">
                  <c:v>118.958</c:v>
                </c:pt>
                <c:pt idx="392">
                  <c:v>118.958</c:v>
                </c:pt>
                <c:pt idx="393">
                  <c:v>118.958</c:v>
                </c:pt>
                <c:pt idx="394">
                  <c:v>118.958</c:v>
                </c:pt>
                <c:pt idx="395">
                  <c:v>118.958</c:v>
                </c:pt>
                <c:pt idx="396">
                  <c:v>118.971</c:v>
                </c:pt>
                <c:pt idx="397">
                  <c:v>118.971</c:v>
                </c:pt>
                <c:pt idx="398">
                  <c:v>118.971</c:v>
                </c:pt>
                <c:pt idx="399">
                  <c:v>118.971</c:v>
                </c:pt>
                <c:pt idx="400">
                  <c:v>118.971</c:v>
                </c:pt>
                <c:pt idx="401">
                  <c:v>119.054</c:v>
                </c:pt>
                <c:pt idx="402">
                  <c:v>119.054</c:v>
                </c:pt>
                <c:pt idx="403">
                  <c:v>119.054</c:v>
                </c:pt>
                <c:pt idx="404">
                  <c:v>119.054</c:v>
                </c:pt>
                <c:pt idx="405">
                  <c:v>119.054</c:v>
                </c:pt>
                <c:pt idx="406">
                  <c:v>119.245</c:v>
                </c:pt>
                <c:pt idx="407">
                  <c:v>119.245</c:v>
                </c:pt>
                <c:pt idx="408">
                  <c:v>119.245</c:v>
                </c:pt>
                <c:pt idx="409">
                  <c:v>119.245</c:v>
                </c:pt>
                <c:pt idx="410">
                  <c:v>119.245</c:v>
                </c:pt>
                <c:pt idx="411">
                  <c:v>118.59399999999999</c:v>
                </c:pt>
                <c:pt idx="412">
                  <c:v>118.59399999999999</c:v>
                </c:pt>
                <c:pt idx="413">
                  <c:v>118.59399999999999</c:v>
                </c:pt>
                <c:pt idx="414">
                  <c:v>118.59399999999999</c:v>
                </c:pt>
                <c:pt idx="415">
                  <c:v>118.59399999999999</c:v>
                </c:pt>
                <c:pt idx="416">
                  <c:v>120.96299999999999</c:v>
                </c:pt>
                <c:pt idx="417">
                  <c:v>120.96299999999999</c:v>
                </c:pt>
                <c:pt idx="418">
                  <c:v>120.96299999999999</c:v>
                </c:pt>
                <c:pt idx="419">
                  <c:v>120.96299999999999</c:v>
                </c:pt>
                <c:pt idx="420">
                  <c:v>120.96299999999999</c:v>
                </c:pt>
                <c:pt idx="421">
                  <c:v>120.42</c:v>
                </c:pt>
                <c:pt idx="422">
                  <c:v>120.42</c:v>
                </c:pt>
                <c:pt idx="423">
                  <c:v>120.42</c:v>
                </c:pt>
                <c:pt idx="424">
                  <c:v>120.42</c:v>
                </c:pt>
                <c:pt idx="425">
                  <c:v>120.42</c:v>
                </c:pt>
                <c:pt idx="426">
                  <c:v>120.746</c:v>
                </c:pt>
                <c:pt idx="427">
                  <c:v>120.746</c:v>
                </c:pt>
                <c:pt idx="428">
                  <c:v>120.746</c:v>
                </c:pt>
                <c:pt idx="429">
                  <c:v>120.746</c:v>
                </c:pt>
                <c:pt idx="430">
                  <c:v>120.746</c:v>
                </c:pt>
                <c:pt idx="431">
                  <c:v>119.245</c:v>
                </c:pt>
                <c:pt idx="432">
                  <c:v>119.245</c:v>
                </c:pt>
                <c:pt idx="433">
                  <c:v>119.245</c:v>
                </c:pt>
                <c:pt idx="434">
                  <c:v>119.245</c:v>
                </c:pt>
                <c:pt idx="435">
                  <c:v>119.245</c:v>
                </c:pt>
                <c:pt idx="436">
                  <c:v>120.995</c:v>
                </c:pt>
                <c:pt idx="437">
                  <c:v>120.995</c:v>
                </c:pt>
                <c:pt idx="438">
                  <c:v>120.995</c:v>
                </c:pt>
                <c:pt idx="439">
                  <c:v>120.995</c:v>
                </c:pt>
                <c:pt idx="440">
                  <c:v>120.995</c:v>
                </c:pt>
                <c:pt idx="441">
                  <c:v>121.26300000000001</c:v>
                </c:pt>
                <c:pt idx="442">
                  <c:v>121.26300000000001</c:v>
                </c:pt>
                <c:pt idx="443">
                  <c:v>121.26300000000001</c:v>
                </c:pt>
                <c:pt idx="444">
                  <c:v>121.26300000000001</c:v>
                </c:pt>
                <c:pt idx="445">
                  <c:v>121.26300000000001</c:v>
                </c:pt>
                <c:pt idx="446">
                  <c:v>119.801</c:v>
                </c:pt>
                <c:pt idx="447">
                  <c:v>119.801</c:v>
                </c:pt>
                <c:pt idx="448">
                  <c:v>119.801</c:v>
                </c:pt>
                <c:pt idx="449">
                  <c:v>119.801</c:v>
                </c:pt>
                <c:pt idx="450">
                  <c:v>119.801</c:v>
                </c:pt>
                <c:pt idx="451">
                  <c:v>121.295</c:v>
                </c:pt>
                <c:pt idx="452">
                  <c:v>121.295</c:v>
                </c:pt>
                <c:pt idx="453">
                  <c:v>121.295</c:v>
                </c:pt>
                <c:pt idx="454">
                  <c:v>121.295</c:v>
                </c:pt>
                <c:pt idx="455">
                  <c:v>121.295</c:v>
                </c:pt>
                <c:pt idx="456">
                  <c:v>121.895</c:v>
                </c:pt>
                <c:pt idx="457">
                  <c:v>121.895</c:v>
                </c:pt>
                <c:pt idx="458">
                  <c:v>121.895</c:v>
                </c:pt>
                <c:pt idx="459">
                  <c:v>121.895</c:v>
                </c:pt>
                <c:pt idx="460">
                  <c:v>121.895</c:v>
                </c:pt>
                <c:pt idx="461">
                  <c:v>121.13500000000001</c:v>
                </c:pt>
                <c:pt idx="462">
                  <c:v>121.13500000000001</c:v>
                </c:pt>
                <c:pt idx="463">
                  <c:v>121.13500000000001</c:v>
                </c:pt>
                <c:pt idx="464">
                  <c:v>121.13500000000001</c:v>
                </c:pt>
                <c:pt idx="465">
                  <c:v>121.13500000000001</c:v>
                </c:pt>
                <c:pt idx="466">
                  <c:v>121.429</c:v>
                </c:pt>
                <c:pt idx="467">
                  <c:v>121.429</c:v>
                </c:pt>
                <c:pt idx="468">
                  <c:v>121.429</c:v>
                </c:pt>
                <c:pt idx="469">
                  <c:v>121.429</c:v>
                </c:pt>
                <c:pt idx="470">
                  <c:v>121.429</c:v>
                </c:pt>
                <c:pt idx="471">
                  <c:v>121.467</c:v>
                </c:pt>
                <c:pt idx="472">
                  <c:v>121.467</c:v>
                </c:pt>
                <c:pt idx="473">
                  <c:v>121.467</c:v>
                </c:pt>
                <c:pt idx="474">
                  <c:v>121.467</c:v>
                </c:pt>
                <c:pt idx="475">
                  <c:v>121.467</c:v>
                </c:pt>
                <c:pt idx="476">
                  <c:v>121.99</c:v>
                </c:pt>
                <c:pt idx="477">
                  <c:v>121.99</c:v>
                </c:pt>
                <c:pt idx="478">
                  <c:v>121.99</c:v>
                </c:pt>
                <c:pt idx="479">
                  <c:v>121.99</c:v>
                </c:pt>
                <c:pt idx="480">
                  <c:v>121.99</c:v>
                </c:pt>
                <c:pt idx="481">
                  <c:v>124.001</c:v>
                </c:pt>
                <c:pt idx="482">
                  <c:v>124.001</c:v>
                </c:pt>
                <c:pt idx="483">
                  <c:v>124.001</c:v>
                </c:pt>
                <c:pt idx="484">
                  <c:v>124.001</c:v>
                </c:pt>
                <c:pt idx="485">
                  <c:v>124.001</c:v>
                </c:pt>
                <c:pt idx="486">
                  <c:v>125.02200000000001</c:v>
                </c:pt>
                <c:pt idx="487">
                  <c:v>125.02200000000001</c:v>
                </c:pt>
                <c:pt idx="488">
                  <c:v>125.02200000000001</c:v>
                </c:pt>
                <c:pt idx="489">
                  <c:v>125.02200000000001</c:v>
                </c:pt>
                <c:pt idx="490">
                  <c:v>125.02200000000001</c:v>
                </c:pt>
                <c:pt idx="491">
                  <c:v>124.735</c:v>
                </c:pt>
                <c:pt idx="492">
                  <c:v>124.735</c:v>
                </c:pt>
                <c:pt idx="493">
                  <c:v>124.735</c:v>
                </c:pt>
                <c:pt idx="494">
                  <c:v>124.735</c:v>
                </c:pt>
                <c:pt idx="495">
                  <c:v>124.735</c:v>
                </c:pt>
                <c:pt idx="496">
                  <c:v>124.307</c:v>
                </c:pt>
                <c:pt idx="497">
                  <c:v>124.307</c:v>
                </c:pt>
                <c:pt idx="498">
                  <c:v>124.307</c:v>
                </c:pt>
                <c:pt idx="499">
                  <c:v>124.307</c:v>
                </c:pt>
                <c:pt idx="500">
                  <c:v>124.307</c:v>
                </c:pt>
                <c:pt idx="501">
                  <c:v>125.59699999999999</c:v>
                </c:pt>
                <c:pt idx="502">
                  <c:v>125.59699999999999</c:v>
                </c:pt>
                <c:pt idx="503">
                  <c:v>125.59699999999999</c:v>
                </c:pt>
                <c:pt idx="504">
                  <c:v>125.59699999999999</c:v>
                </c:pt>
                <c:pt idx="505">
                  <c:v>125.59699999999999</c:v>
                </c:pt>
                <c:pt idx="506">
                  <c:v>124.161</c:v>
                </c:pt>
                <c:pt idx="507">
                  <c:v>124.161</c:v>
                </c:pt>
                <c:pt idx="508">
                  <c:v>124.161</c:v>
                </c:pt>
                <c:pt idx="509">
                  <c:v>124.161</c:v>
                </c:pt>
                <c:pt idx="510">
                  <c:v>124.161</c:v>
                </c:pt>
                <c:pt idx="511">
                  <c:v>123.83499999999999</c:v>
                </c:pt>
                <c:pt idx="512">
                  <c:v>123.83499999999999</c:v>
                </c:pt>
                <c:pt idx="513">
                  <c:v>123.83499999999999</c:v>
                </c:pt>
                <c:pt idx="514">
                  <c:v>123.83499999999999</c:v>
                </c:pt>
                <c:pt idx="515">
                  <c:v>123.83499999999999</c:v>
                </c:pt>
                <c:pt idx="516">
                  <c:v>123.414</c:v>
                </c:pt>
                <c:pt idx="517">
                  <c:v>123.414</c:v>
                </c:pt>
                <c:pt idx="518">
                  <c:v>123.414</c:v>
                </c:pt>
                <c:pt idx="519">
                  <c:v>123.414</c:v>
                </c:pt>
                <c:pt idx="520">
                  <c:v>123.414</c:v>
                </c:pt>
                <c:pt idx="521">
                  <c:v>123.70099999999999</c:v>
                </c:pt>
                <c:pt idx="522">
                  <c:v>123.70099999999999</c:v>
                </c:pt>
                <c:pt idx="523">
                  <c:v>123.70099999999999</c:v>
                </c:pt>
                <c:pt idx="524">
                  <c:v>123.70099999999999</c:v>
                </c:pt>
                <c:pt idx="525">
                  <c:v>123.70099999999999</c:v>
                </c:pt>
                <c:pt idx="526">
                  <c:v>124.23699999999999</c:v>
                </c:pt>
                <c:pt idx="527">
                  <c:v>124.23699999999999</c:v>
                </c:pt>
                <c:pt idx="528">
                  <c:v>124.23699999999999</c:v>
                </c:pt>
                <c:pt idx="529">
                  <c:v>124.23699999999999</c:v>
                </c:pt>
                <c:pt idx="530">
                  <c:v>124.23699999999999</c:v>
                </c:pt>
                <c:pt idx="531">
                  <c:v>122.91</c:v>
                </c:pt>
                <c:pt idx="532">
                  <c:v>122.91</c:v>
                </c:pt>
                <c:pt idx="533">
                  <c:v>122.91</c:v>
                </c:pt>
                <c:pt idx="534">
                  <c:v>122.91</c:v>
                </c:pt>
                <c:pt idx="535">
                  <c:v>122.91</c:v>
                </c:pt>
                <c:pt idx="536">
                  <c:v>121.39700000000001</c:v>
                </c:pt>
                <c:pt idx="537">
                  <c:v>121.39700000000001</c:v>
                </c:pt>
                <c:pt idx="538">
                  <c:v>121.39700000000001</c:v>
                </c:pt>
                <c:pt idx="539">
                  <c:v>121.39700000000001</c:v>
                </c:pt>
                <c:pt idx="540">
                  <c:v>121.39700000000001</c:v>
                </c:pt>
                <c:pt idx="541">
                  <c:v>120.982</c:v>
                </c:pt>
                <c:pt idx="542">
                  <c:v>120.982</c:v>
                </c:pt>
                <c:pt idx="543">
                  <c:v>120.982</c:v>
                </c:pt>
                <c:pt idx="544">
                  <c:v>120.982</c:v>
                </c:pt>
                <c:pt idx="545">
                  <c:v>120.982</c:v>
                </c:pt>
                <c:pt idx="546">
                  <c:v>120.535</c:v>
                </c:pt>
                <c:pt idx="547">
                  <c:v>120.535</c:v>
                </c:pt>
                <c:pt idx="548">
                  <c:v>120.535</c:v>
                </c:pt>
                <c:pt idx="549">
                  <c:v>120.535</c:v>
                </c:pt>
                <c:pt idx="550">
                  <c:v>120.535</c:v>
                </c:pt>
                <c:pt idx="551">
                  <c:v>118.32599999999999</c:v>
                </c:pt>
                <c:pt idx="552">
                  <c:v>118.32599999999999</c:v>
                </c:pt>
                <c:pt idx="553">
                  <c:v>118.32599999999999</c:v>
                </c:pt>
                <c:pt idx="554">
                  <c:v>118.32599999999999</c:v>
                </c:pt>
                <c:pt idx="555">
                  <c:v>118.32599999999999</c:v>
                </c:pt>
                <c:pt idx="556">
                  <c:v>118.10899999999999</c:v>
                </c:pt>
                <c:pt idx="557">
                  <c:v>118.10899999999999</c:v>
                </c:pt>
                <c:pt idx="558">
                  <c:v>118.10899999999999</c:v>
                </c:pt>
                <c:pt idx="559">
                  <c:v>118.10899999999999</c:v>
                </c:pt>
                <c:pt idx="560">
                  <c:v>118.10899999999999</c:v>
                </c:pt>
                <c:pt idx="561">
                  <c:v>115.779</c:v>
                </c:pt>
                <c:pt idx="562">
                  <c:v>115.779</c:v>
                </c:pt>
                <c:pt idx="563">
                  <c:v>115.779</c:v>
                </c:pt>
                <c:pt idx="564">
                  <c:v>115.779</c:v>
                </c:pt>
                <c:pt idx="565">
                  <c:v>115.779</c:v>
                </c:pt>
                <c:pt idx="566">
                  <c:v>115.824</c:v>
                </c:pt>
                <c:pt idx="567">
                  <c:v>115.824</c:v>
                </c:pt>
                <c:pt idx="568">
                  <c:v>115.824</c:v>
                </c:pt>
                <c:pt idx="569">
                  <c:v>115.824</c:v>
                </c:pt>
                <c:pt idx="570">
                  <c:v>115.824</c:v>
                </c:pt>
                <c:pt idx="571">
                  <c:v>115.32599999999999</c:v>
                </c:pt>
                <c:pt idx="572">
                  <c:v>115.32599999999999</c:v>
                </c:pt>
                <c:pt idx="573">
                  <c:v>115.32599999999999</c:v>
                </c:pt>
                <c:pt idx="574">
                  <c:v>115.32599999999999</c:v>
                </c:pt>
                <c:pt idx="575">
                  <c:v>115.32599999999999</c:v>
                </c:pt>
                <c:pt idx="576">
                  <c:v>114.65600000000001</c:v>
                </c:pt>
                <c:pt idx="577">
                  <c:v>114.65600000000001</c:v>
                </c:pt>
                <c:pt idx="578">
                  <c:v>114.65600000000001</c:v>
                </c:pt>
                <c:pt idx="579">
                  <c:v>114.65600000000001</c:v>
                </c:pt>
                <c:pt idx="580">
                  <c:v>114.65600000000001</c:v>
                </c:pt>
                <c:pt idx="581">
                  <c:v>113.718</c:v>
                </c:pt>
                <c:pt idx="582">
                  <c:v>113.718</c:v>
                </c:pt>
                <c:pt idx="583">
                  <c:v>113.718</c:v>
                </c:pt>
                <c:pt idx="584">
                  <c:v>113.718</c:v>
                </c:pt>
                <c:pt idx="585">
                  <c:v>113.718</c:v>
                </c:pt>
                <c:pt idx="586">
                  <c:v>113.622</c:v>
                </c:pt>
                <c:pt idx="587">
                  <c:v>113.622</c:v>
                </c:pt>
                <c:pt idx="588">
                  <c:v>113.622</c:v>
                </c:pt>
                <c:pt idx="589">
                  <c:v>113.622</c:v>
                </c:pt>
                <c:pt idx="590">
                  <c:v>113.622</c:v>
                </c:pt>
                <c:pt idx="591">
                  <c:v>112.613</c:v>
                </c:pt>
                <c:pt idx="592">
                  <c:v>112.613</c:v>
                </c:pt>
                <c:pt idx="593">
                  <c:v>112.613</c:v>
                </c:pt>
                <c:pt idx="594">
                  <c:v>112.613</c:v>
                </c:pt>
                <c:pt idx="595">
                  <c:v>112.613</c:v>
                </c:pt>
                <c:pt idx="596">
                  <c:v>112.396</c:v>
                </c:pt>
                <c:pt idx="597">
                  <c:v>112.396</c:v>
                </c:pt>
                <c:pt idx="598">
                  <c:v>112.396</c:v>
                </c:pt>
                <c:pt idx="599">
                  <c:v>112.396</c:v>
                </c:pt>
                <c:pt idx="600">
                  <c:v>112.396</c:v>
                </c:pt>
                <c:pt idx="601">
                  <c:v>112.575</c:v>
                </c:pt>
                <c:pt idx="602">
                  <c:v>112.575</c:v>
                </c:pt>
                <c:pt idx="603">
                  <c:v>112.575</c:v>
                </c:pt>
                <c:pt idx="604">
                  <c:v>112.575</c:v>
                </c:pt>
                <c:pt idx="605">
                  <c:v>112.575</c:v>
                </c:pt>
                <c:pt idx="606">
                  <c:v>112.875</c:v>
                </c:pt>
                <c:pt idx="607">
                  <c:v>112.875</c:v>
                </c:pt>
                <c:pt idx="608">
                  <c:v>112.875</c:v>
                </c:pt>
                <c:pt idx="609">
                  <c:v>112.875</c:v>
                </c:pt>
                <c:pt idx="610">
                  <c:v>112.875</c:v>
                </c:pt>
                <c:pt idx="611">
                  <c:v>111.84699999999999</c:v>
                </c:pt>
                <c:pt idx="612">
                  <c:v>111.84699999999999</c:v>
                </c:pt>
                <c:pt idx="613">
                  <c:v>111.84699999999999</c:v>
                </c:pt>
                <c:pt idx="614">
                  <c:v>111.84699999999999</c:v>
                </c:pt>
                <c:pt idx="615">
                  <c:v>111.84699999999999</c:v>
                </c:pt>
                <c:pt idx="616">
                  <c:v>111.70699999999999</c:v>
                </c:pt>
                <c:pt idx="617">
                  <c:v>111.70699999999999</c:v>
                </c:pt>
                <c:pt idx="618">
                  <c:v>111.70699999999999</c:v>
                </c:pt>
                <c:pt idx="619">
                  <c:v>111.70699999999999</c:v>
                </c:pt>
                <c:pt idx="620">
                  <c:v>111.70699999999999</c:v>
                </c:pt>
                <c:pt idx="621">
                  <c:v>111.598</c:v>
                </c:pt>
                <c:pt idx="622">
                  <c:v>111.598</c:v>
                </c:pt>
                <c:pt idx="623">
                  <c:v>111.598</c:v>
                </c:pt>
                <c:pt idx="624">
                  <c:v>111.598</c:v>
                </c:pt>
                <c:pt idx="625">
                  <c:v>111.598</c:v>
                </c:pt>
                <c:pt idx="626">
                  <c:v>112.428</c:v>
                </c:pt>
                <c:pt idx="627">
                  <c:v>112.428</c:v>
                </c:pt>
                <c:pt idx="628">
                  <c:v>112.428</c:v>
                </c:pt>
                <c:pt idx="629">
                  <c:v>112.428</c:v>
                </c:pt>
                <c:pt idx="630">
                  <c:v>112.428</c:v>
                </c:pt>
                <c:pt idx="631">
                  <c:v>112.122</c:v>
                </c:pt>
                <c:pt idx="632">
                  <c:v>112.122</c:v>
                </c:pt>
                <c:pt idx="633">
                  <c:v>112.122</c:v>
                </c:pt>
                <c:pt idx="634">
                  <c:v>112.122</c:v>
                </c:pt>
                <c:pt idx="635">
                  <c:v>112.122</c:v>
                </c:pt>
                <c:pt idx="636">
                  <c:v>110.571</c:v>
                </c:pt>
                <c:pt idx="637">
                  <c:v>110.571</c:v>
                </c:pt>
                <c:pt idx="638">
                  <c:v>110.571</c:v>
                </c:pt>
                <c:pt idx="639">
                  <c:v>110.571</c:v>
                </c:pt>
                <c:pt idx="640">
                  <c:v>110.571</c:v>
                </c:pt>
                <c:pt idx="641">
                  <c:v>110.07899999999999</c:v>
                </c:pt>
                <c:pt idx="642">
                  <c:v>110.07899999999999</c:v>
                </c:pt>
                <c:pt idx="643">
                  <c:v>110.07899999999999</c:v>
                </c:pt>
                <c:pt idx="644">
                  <c:v>110.07899999999999</c:v>
                </c:pt>
                <c:pt idx="645">
                  <c:v>110.07899999999999</c:v>
                </c:pt>
                <c:pt idx="646">
                  <c:v>110.047</c:v>
                </c:pt>
                <c:pt idx="647">
                  <c:v>110.047</c:v>
                </c:pt>
                <c:pt idx="648">
                  <c:v>110.047</c:v>
                </c:pt>
                <c:pt idx="649">
                  <c:v>110.047</c:v>
                </c:pt>
                <c:pt idx="650">
                  <c:v>110.047</c:v>
                </c:pt>
                <c:pt idx="651">
                  <c:v>107.456</c:v>
                </c:pt>
                <c:pt idx="652">
                  <c:v>107.456</c:v>
                </c:pt>
                <c:pt idx="653">
                  <c:v>107.456</c:v>
                </c:pt>
                <c:pt idx="654">
                  <c:v>107.456</c:v>
                </c:pt>
                <c:pt idx="655">
                  <c:v>107.456</c:v>
                </c:pt>
                <c:pt idx="656">
                  <c:v>105.834</c:v>
                </c:pt>
                <c:pt idx="657">
                  <c:v>105.834</c:v>
                </c:pt>
                <c:pt idx="658">
                  <c:v>105.834</c:v>
                </c:pt>
                <c:pt idx="659">
                  <c:v>105.834</c:v>
                </c:pt>
                <c:pt idx="660">
                  <c:v>105.834</c:v>
                </c:pt>
                <c:pt idx="661">
                  <c:v>105.828</c:v>
                </c:pt>
                <c:pt idx="662">
                  <c:v>105.828</c:v>
                </c:pt>
                <c:pt idx="663">
                  <c:v>105.828</c:v>
                </c:pt>
                <c:pt idx="664">
                  <c:v>105.828</c:v>
                </c:pt>
                <c:pt idx="665">
                  <c:v>105.828</c:v>
                </c:pt>
                <c:pt idx="666">
                  <c:v>105.751</c:v>
                </c:pt>
                <c:pt idx="667">
                  <c:v>105.751</c:v>
                </c:pt>
                <c:pt idx="668">
                  <c:v>105.751</c:v>
                </c:pt>
                <c:pt idx="669">
                  <c:v>105.751</c:v>
                </c:pt>
                <c:pt idx="670">
                  <c:v>105.751</c:v>
                </c:pt>
                <c:pt idx="671">
                  <c:v>105.553</c:v>
                </c:pt>
                <c:pt idx="672">
                  <c:v>105.553</c:v>
                </c:pt>
                <c:pt idx="673">
                  <c:v>105.553</c:v>
                </c:pt>
                <c:pt idx="674">
                  <c:v>105.553</c:v>
                </c:pt>
                <c:pt idx="675">
                  <c:v>105.553</c:v>
                </c:pt>
                <c:pt idx="676">
                  <c:v>103.958</c:v>
                </c:pt>
                <c:pt idx="677">
                  <c:v>103.958</c:v>
                </c:pt>
                <c:pt idx="678">
                  <c:v>103.958</c:v>
                </c:pt>
                <c:pt idx="679">
                  <c:v>103.958</c:v>
                </c:pt>
                <c:pt idx="680">
                  <c:v>103.958</c:v>
                </c:pt>
                <c:pt idx="681">
                  <c:v>103.76</c:v>
                </c:pt>
                <c:pt idx="682">
                  <c:v>103.76</c:v>
                </c:pt>
                <c:pt idx="683">
                  <c:v>103.76</c:v>
                </c:pt>
                <c:pt idx="684">
                  <c:v>103.76</c:v>
                </c:pt>
                <c:pt idx="685">
                  <c:v>103.76</c:v>
                </c:pt>
                <c:pt idx="686">
                  <c:v>103.607</c:v>
                </c:pt>
                <c:pt idx="687">
                  <c:v>103.607</c:v>
                </c:pt>
                <c:pt idx="688">
                  <c:v>103.607</c:v>
                </c:pt>
                <c:pt idx="689">
                  <c:v>103.607</c:v>
                </c:pt>
                <c:pt idx="690">
                  <c:v>103.607</c:v>
                </c:pt>
                <c:pt idx="691">
                  <c:v>103.696</c:v>
                </c:pt>
                <c:pt idx="692">
                  <c:v>103.696</c:v>
                </c:pt>
                <c:pt idx="693">
                  <c:v>103.696</c:v>
                </c:pt>
                <c:pt idx="694">
                  <c:v>103.696</c:v>
                </c:pt>
                <c:pt idx="695">
                  <c:v>103.696</c:v>
                </c:pt>
                <c:pt idx="696">
                  <c:v>102.98699999999999</c:v>
                </c:pt>
                <c:pt idx="697">
                  <c:v>102.98699999999999</c:v>
                </c:pt>
                <c:pt idx="698">
                  <c:v>102.98699999999999</c:v>
                </c:pt>
                <c:pt idx="699">
                  <c:v>102.98699999999999</c:v>
                </c:pt>
                <c:pt idx="700">
                  <c:v>102.98699999999999</c:v>
                </c:pt>
                <c:pt idx="701">
                  <c:v>103.06399999999999</c:v>
                </c:pt>
                <c:pt idx="702">
                  <c:v>103.06399999999999</c:v>
                </c:pt>
                <c:pt idx="703">
                  <c:v>103.06399999999999</c:v>
                </c:pt>
                <c:pt idx="704">
                  <c:v>103.06399999999999</c:v>
                </c:pt>
                <c:pt idx="705">
                  <c:v>103.06399999999999</c:v>
                </c:pt>
                <c:pt idx="706">
                  <c:v>102.521</c:v>
                </c:pt>
                <c:pt idx="707">
                  <c:v>102.521</c:v>
                </c:pt>
                <c:pt idx="708">
                  <c:v>102.521</c:v>
                </c:pt>
                <c:pt idx="709">
                  <c:v>102.521</c:v>
                </c:pt>
                <c:pt idx="710">
                  <c:v>102.521</c:v>
                </c:pt>
                <c:pt idx="711">
                  <c:v>101.634</c:v>
                </c:pt>
                <c:pt idx="712">
                  <c:v>101.634</c:v>
                </c:pt>
                <c:pt idx="713">
                  <c:v>101.634</c:v>
                </c:pt>
                <c:pt idx="714">
                  <c:v>101.634</c:v>
                </c:pt>
                <c:pt idx="715">
                  <c:v>101.634</c:v>
                </c:pt>
                <c:pt idx="716">
                  <c:v>101.494</c:v>
                </c:pt>
                <c:pt idx="717">
                  <c:v>101.494</c:v>
                </c:pt>
                <c:pt idx="718">
                  <c:v>101.494</c:v>
                </c:pt>
                <c:pt idx="719">
                  <c:v>101.494</c:v>
                </c:pt>
                <c:pt idx="720">
                  <c:v>101.494</c:v>
                </c:pt>
                <c:pt idx="721">
                  <c:v>100.10899999999999</c:v>
                </c:pt>
                <c:pt idx="722">
                  <c:v>100.10899999999999</c:v>
                </c:pt>
                <c:pt idx="723">
                  <c:v>100.10899999999999</c:v>
                </c:pt>
                <c:pt idx="724">
                  <c:v>100.10899999999999</c:v>
                </c:pt>
                <c:pt idx="725">
                  <c:v>100.10899999999999</c:v>
                </c:pt>
                <c:pt idx="726">
                  <c:v>99.418999999999997</c:v>
                </c:pt>
                <c:pt idx="727">
                  <c:v>99.418999999999997</c:v>
                </c:pt>
                <c:pt idx="728">
                  <c:v>99.418999999999997</c:v>
                </c:pt>
                <c:pt idx="729">
                  <c:v>99.418999999999997</c:v>
                </c:pt>
                <c:pt idx="730">
                  <c:v>99.418999999999997</c:v>
                </c:pt>
                <c:pt idx="731">
                  <c:v>99.680999999999997</c:v>
                </c:pt>
                <c:pt idx="732">
                  <c:v>99.680999999999997</c:v>
                </c:pt>
                <c:pt idx="733">
                  <c:v>99.680999999999997</c:v>
                </c:pt>
                <c:pt idx="734">
                  <c:v>99.680999999999997</c:v>
                </c:pt>
                <c:pt idx="735">
                  <c:v>99.680999999999997</c:v>
                </c:pt>
                <c:pt idx="736">
                  <c:v>99.757000000000005</c:v>
                </c:pt>
                <c:pt idx="737">
                  <c:v>99.757000000000005</c:v>
                </c:pt>
                <c:pt idx="738">
                  <c:v>99.757000000000005</c:v>
                </c:pt>
                <c:pt idx="739">
                  <c:v>99.757000000000005</c:v>
                </c:pt>
                <c:pt idx="740">
                  <c:v>99.757000000000005</c:v>
                </c:pt>
                <c:pt idx="741">
                  <c:v>98.620999999999995</c:v>
                </c:pt>
                <c:pt idx="742">
                  <c:v>98.620999999999995</c:v>
                </c:pt>
                <c:pt idx="743">
                  <c:v>98.620999999999995</c:v>
                </c:pt>
                <c:pt idx="744">
                  <c:v>98.620999999999995</c:v>
                </c:pt>
                <c:pt idx="745">
                  <c:v>98.620999999999995</c:v>
                </c:pt>
                <c:pt idx="746">
                  <c:v>99.049000000000007</c:v>
                </c:pt>
                <c:pt idx="747">
                  <c:v>99.049000000000007</c:v>
                </c:pt>
                <c:pt idx="748">
                  <c:v>99.049000000000007</c:v>
                </c:pt>
                <c:pt idx="749">
                  <c:v>99.049000000000007</c:v>
                </c:pt>
                <c:pt idx="750">
                  <c:v>99.049000000000007</c:v>
                </c:pt>
                <c:pt idx="751">
                  <c:v>99.635999999999996</c:v>
                </c:pt>
                <c:pt idx="752">
                  <c:v>99.635999999999996</c:v>
                </c:pt>
                <c:pt idx="753">
                  <c:v>99.635999999999996</c:v>
                </c:pt>
                <c:pt idx="754">
                  <c:v>99.635999999999996</c:v>
                </c:pt>
                <c:pt idx="755">
                  <c:v>99.635999999999996</c:v>
                </c:pt>
                <c:pt idx="756">
                  <c:v>100.47199999999999</c:v>
                </c:pt>
                <c:pt idx="757">
                  <c:v>100.47199999999999</c:v>
                </c:pt>
                <c:pt idx="758">
                  <c:v>100.47199999999999</c:v>
                </c:pt>
                <c:pt idx="759">
                  <c:v>100.47199999999999</c:v>
                </c:pt>
                <c:pt idx="760">
                  <c:v>100.47199999999999</c:v>
                </c:pt>
                <c:pt idx="761">
                  <c:v>99.590999999999994</c:v>
                </c:pt>
                <c:pt idx="762">
                  <c:v>99.590999999999994</c:v>
                </c:pt>
                <c:pt idx="763">
                  <c:v>99.590999999999994</c:v>
                </c:pt>
                <c:pt idx="764">
                  <c:v>99.590999999999994</c:v>
                </c:pt>
                <c:pt idx="765">
                  <c:v>99.590999999999994</c:v>
                </c:pt>
                <c:pt idx="766">
                  <c:v>100.217</c:v>
                </c:pt>
                <c:pt idx="767">
                  <c:v>100.217</c:v>
                </c:pt>
                <c:pt idx="768">
                  <c:v>100.217</c:v>
                </c:pt>
                <c:pt idx="769">
                  <c:v>100.217</c:v>
                </c:pt>
                <c:pt idx="770">
                  <c:v>100.217</c:v>
                </c:pt>
                <c:pt idx="771">
                  <c:v>99.954999999999998</c:v>
                </c:pt>
                <c:pt idx="772">
                  <c:v>99.954999999999998</c:v>
                </c:pt>
                <c:pt idx="773">
                  <c:v>99.954999999999998</c:v>
                </c:pt>
                <c:pt idx="774">
                  <c:v>99.954999999999998</c:v>
                </c:pt>
                <c:pt idx="775">
                  <c:v>99.954999999999998</c:v>
                </c:pt>
                <c:pt idx="776">
                  <c:v>100.785</c:v>
                </c:pt>
                <c:pt idx="777">
                  <c:v>100.785</c:v>
                </c:pt>
                <c:pt idx="778">
                  <c:v>100.785</c:v>
                </c:pt>
                <c:pt idx="779">
                  <c:v>100.785</c:v>
                </c:pt>
                <c:pt idx="780">
                  <c:v>100.785</c:v>
                </c:pt>
                <c:pt idx="781">
                  <c:v>100.41500000000001</c:v>
                </c:pt>
                <c:pt idx="782">
                  <c:v>100.41500000000001</c:v>
                </c:pt>
                <c:pt idx="783">
                  <c:v>100.41500000000001</c:v>
                </c:pt>
                <c:pt idx="784">
                  <c:v>100.41500000000001</c:v>
                </c:pt>
                <c:pt idx="785">
                  <c:v>100.41500000000001</c:v>
                </c:pt>
                <c:pt idx="786">
                  <c:v>101.5</c:v>
                </c:pt>
                <c:pt idx="787">
                  <c:v>101.5</c:v>
                </c:pt>
                <c:pt idx="788">
                  <c:v>101.5</c:v>
                </c:pt>
                <c:pt idx="789">
                  <c:v>101.5</c:v>
                </c:pt>
                <c:pt idx="790">
                  <c:v>101.5</c:v>
                </c:pt>
                <c:pt idx="791">
                  <c:v>100.664</c:v>
                </c:pt>
                <c:pt idx="792">
                  <c:v>100.664</c:v>
                </c:pt>
                <c:pt idx="793">
                  <c:v>100.664</c:v>
                </c:pt>
                <c:pt idx="794">
                  <c:v>100.664</c:v>
                </c:pt>
                <c:pt idx="795">
                  <c:v>100.664</c:v>
                </c:pt>
                <c:pt idx="796">
                  <c:v>100.779</c:v>
                </c:pt>
                <c:pt idx="797">
                  <c:v>100.779</c:v>
                </c:pt>
                <c:pt idx="798">
                  <c:v>100.779</c:v>
                </c:pt>
                <c:pt idx="799">
                  <c:v>100.779</c:v>
                </c:pt>
                <c:pt idx="800">
                  <c:v>100.779</c:v>
                </c:pt>
                <c:pt idx="801">
                  <c:v>100.9</c:v>
                </c:pt>
                <c:pt idx="802">
                  <c:v>100.9</c:v>
                </c:pt>
                <c:pt idx="803">
                  <c:v>100.9</c:v>
                </c:pt>
                <c:pt idx="804">
                  <c:v>100.9</c:v>
                </c:pt>
                <c:pt idx="805">
                  <c:v>100.9</c:v>
                </c:pt>
                <c:pt idx="806">
                  <c:v>102.84699999999999</c:v>
                </c:pt>
                <c:pt idx="807">
                  <c:v>102.84699999999999</c:v>
                </c:pt>
                <c:pt idx="808">
                  <c:v>102.84699999999999</c:v>
                </c:pt>
                <c:pt idx="809">
                  <c:v>102.84699999999999</c:v>
                </c:pt>
                <c:pt idx="810">
                  <c:v>102.84699999999999</c:v>
                </c:pt>
                <c:pt idx="811">
                  <c:v>103.211</c:v>
                </c:pt>
                <c:pt idx="812">
                  <c:v>103.211</c:v>
                </c:pt>
                <c:pt idx="813">
                  <c:v>103.211</c:v>
                </c:pt>
                <c:pt idx="814">
                  <c:v>103.211</c:v>
                </c:pt>
                <c:pt idx="815">
                  <c:v>103.211</c:v>
                </c:pt>
                <c:pt idx="816">
                  <c:v>103.096</c:v>
                </c:pt>
                <c:pt idx="817">
                  <c:v>103.096</c:v>
                </c:pt>
                <c:pt idx="818">
                  <c:v>103.096</c:v>
                </c:pt>
                <c:pt idx="819">
                  <c:v>103.096</c:v>
                </c:pt>
                <c:pt idx="820">
                  <c:v>103.096</c:v>
                </c:pt>
                <c:pt idx="821">
                  <c:v>105.605</c:v>
                </c:pt>
                <c:pt idx="822">
                  <c:v>105.605</c:v>
                </c:pt>
                <c:pt idx="823">
                  <c:v>105.605</c:v>
                </c:pt>
                <c:pt idx="824">
                  <c:v>105.605</c:v>
                </c:pt>
                <c:pt idx="825">
                  <c:v>105.605</c:v>
                </c:pt>
                <c:pt idx="826">
                  <c:v>105.343</c:v>
                </c:pt>
                <c:pt idx="827">
                  <c:v>105.343</c:v>
                </c:pt>
                <c:pt idx="828">
                  <c:v>105.343</c:v>
                </c:pt>
                <c:pt idx="829">
                  <c:v>105.343</c:v>
                </c:pt>
                <c:pt idx="830">
                  <c:v>105.343</c:v>
                </c:pt>
                <c:pt idx="831">
                  <c:v>105.081</c:v>
                </c:pt>
                <c:pt idx="832">
                  <c:v>105.081</c:v>
                </c:pt>
                <c:pt idx="833">
                  <c:v>105.081</c:v>
                </c:pt>
                <c:pt idx="834">
                  <c:v>105.081</c:v>
                </c:pt>
                <c:pt idx="835">
                  <c:v>105.081</c:v>
                </c:pt>
                <c:pt idx="836">
                  <c:v>104.187</c:v>
                </c:pt>
                <c:pt idx="837">
                  <c:v>104.187</c:v>
                </c:pt>
                <c:pt idx="838">
                  <c:v>104.187</c:v>
                </c:pt>
                <c:pt idx="839">
                  <c:v>104.187</c:v>
                </c:pt>
                <c:pt idx="840">
                  <c:v>104.187</c:v>
                </c:pt>
                <c:pt idx="841">
                  <c:v>104.29600000000001</c:v>
                </c:pt>
                <c:pt idx="842">
                  <c:v>104.29600000000001</c:v>
                </c:pt>
                <c:pt idx="843">
                  <c:v>104.29600000000001</c:v>
                </c:pt>
                <c:pt idx="844">
                  <c:v>104.29600000000001</c:v>
                </c:pt>
                <c:pt idx="845">
                  <c:v>104.29600000000001</c:v>
                </c:pt>
                <c:pt idx="846">
                  <c:v>104.34099999999999</c:v>
                </c:pt>
                <c:pt idx="847">
                  <c:v>104.34099999999999</c:v>
                </c:pt>
                <c:pt idx="848">
                  <c:v>104.34099999999999</c:v>
                </c:pt>
                <c:pt idx="849">
                  <c:v>104.34099999999999</c:v>
                </c:pt>
                <c:pt idx="850">
                  <c:v>104.34099999999999</c:v>
                </c:pt>
                <c:pt idx="851">
                  <c:v>105.419</c:v>
                </c:pt>
                <c:pt idx="852">
                  <c:v>105.419</c:v>
                </c:pt>
                <c:pt idx="853">
                  <c:v>105.419</c:v>
                </c:pt>
                <c:pt idx="854">
                  <c:v>105.419</c:v>
                </c:pt>
                <c:pt idx="855">
                  <c:v>105.419</c:v>
                </c:pt>
                <c:pt idx="856">
                  <c:v>105.57899999999999</c:v>
                </c:pt>
                <c:pt idx="857">
                  <c:v>105.57899999999999</c:v>
                </c:pt>
                <c:pt idx="858">
                  <c:v>105.57899999999999</c:v>
                </c:pt>
                <c:pt idx="859">
                  <c:v>105.57899999999999</c:v>
                </c:pt>
                <c:pt idx="860">
                  <c:v>105.57899999999999</c:v>
                </c:pt>
                <c:pt idx="861">
                  <c:v>105.502</c:v>
                </c:pt>
                <c:pt idx="862">
                  <c:v>105.502</c:v>
                </c:pt>
                <c:pt idx="863">
                  <c:v>105.502</c:v>
                </c:pt>
                <c:pt idx="864">
                  <c:v>105.502</c:v>
                </c:pt>
                <c:pt idx="865">
                  <c:v>105.502</c:v>
                </c:pt>
                <c:pt idx="866">
                  <c:v>105.081</c:v>
                </c:pt>
                <c:pt idx="867">
                  <c:v>105.081</c:v>
                </c:pt>
                <c:pt idx="868">
                  <c:v>105.081</c:v>
                </c:pt>
                <c:pt idx="869">
                  <c:v>105.081</c:v>
                </c:pt>
                <c:pt idx="870">
                  <c:v>105.081</c:v>
                </c:pt>
                <c:pt idx="871">
                  <c:v>106.262</c:v>
                </c:pt>
                <c:pt idx="872">
                  <c:v>106.262</c:v>
                </c:pt>
                <c:pt idx="873">
                  <c:v>106.262</c:v>
                </c:pt>
                <c:pt idx="874">
                  <c:v>106.262</c:v>
                </c:pt>
                <c:pt idx="875">
                  <c:v>106.262</c:v>
                </c:pt>
                <c:pt idx="876">
                  <c:v>106.556</c:v>
                </c:pt>
                <c:pt idx="877">
                  <c:v>106.556</c:v>
                </c:pt>
                <c:pt idx="878">
                  <c:v>106.556</c:v>
                </c:pt>
                <c:pt idx="879">
                  <c:v>106.556</c:v>
                </c:pt>
                <c:pt idx="880">
                  <c:v>106.556</c:v>
                </c:pt>
                <c:pt idx="881">
                  <c:v>106.422</c:v>
                </c:pt>
                <c:pt idx="882">
                  <c:v>106.422</c:v>
                </c:pt>
                <c:pt idx="883">
                  <c:v>106.422</c:v>
                </c:pt>
                <c:pt idx="884">
                  <c:v>106.422</c:v>
                </c:pt>
                <c:pt idx="885">
                  <c:v>106.422</c:v>
                </c:pt>
                <c:pt idx="886">
                  <c:v>105.988</c:v>
                </c:pt>
                <c:pt idx="887">
                  <c:v>105.988</c:v>
                </c:pt>
                <c:pt idx="888">
                  <c:v>105.988</c:v>
                </c:pt>
                <c:pt idx="889">
                  <c:v>105.988</c:v>
                </c:pt>
                <c:pt idx="890">
                  <c:v>105.988</c:v>
                </c:pt>
                <c:pt idx="891">
                  <c:v>106.83</c:v>
                </c:pt>
                <c:pt idx="892">
                  <c:v>106.83</c:v>
                </c:pt>
                <c:pt idx="893">
                  <c:v>106.83</c:v>
                </c:pt>
                <c:pt idx="894">
                  <c:v>106.83</c:v>
                </c:pt>
                <c:pt idx="895">
                  <c:v>106.83</c:v>
                </c:pt>
                <c:pt idx="896">
                  <c:v>106.607</c:v>
                </c:pt>
                <c:pt idx="897">
                  <c:v>106.607</c:v>
                </c:pt>
                <c:pt idx="898">
                  <c:v>106.607</c:v>
                </c:pt>
                <c:pt idx="899">
                  <c:v>106.607</c:v>
                </c:pt>
                <c:pt idx="900">
                  <c:v>106.607</c:v>
                </c:pt>
                <c:pt idx="901">
                  <c:v>108.343</c:v>
                </c:pt>
                <c:pt idx="902">
                  <c:v>108.343</c:v>
                </c:pt>
                <c:pt idx="903">
                  <c:v>108.343</c:v>
                </c:pt>
                <c:pt idx="904">
                  <c:v>108.343</c:v>
                </c:pt>
                <c:pt idx="905">
                  <c:v>108.343</c:v>
                </c:pt>
                <c:pt idx="906">
                  <c:v>108.292</c:v>
                </c:pt>
                <c:pt idx="907">
                  <c:v>108.292</c:v>
                </c:pt>
                <c:pt idx="908">
                  <c:v>108.292</c:v>
                </c:pt>
                <c:pt idx="909">
                  <c:v>108.292</c:v>
                </c:pt>
                <c:pt idx="910">
                  <c:v>108.292</c:v>
                </c:pt>
                <c:pt idx="911">
                  <c:v>108.349</c:v>
                </c:pt>
                <c:pt idx="912">
                  <c:v>108.349</c:v>
                </c:pt>
                <c:pt idx="913">
                  <c:v>108.349</c:v>
                </c:pt>
                <c:pt idx="914">
                  <c:v>108.349</c:v>
                </c:pt>
                <c:pt idx="915">
                  <c:v>108.349</c:v>
                </c:pt>
                <c:pt idx="916">
                  <c:v>109.102</c:v>
                </c:pt>
                <c:pt idx="917">
                  <c:v>109.102</c:v>
                </c:pt>
                <c:pt idx="918">
                  <c:v>109.102</c:v>
                </c:pt>
                <c:pt idx="919">
                  <c:v>109.102</c:v>
                </c:pt>
                <c:pt idx="920">
                  <c:v>109.102</c:v>
                </c:pt>
                <c:pt idx="921">
                  <c:v>108.649</c:v>
                </c:pt>
                <c:pt idx="922">
                  <c:v>108.649</c:v>
                </c:pt>
                <c:pt idx="923">
                  <c:v>108.649</c:v>
                </c:pt>
                <c:pt idx="924">
                  <c:v>108.649</c:v>
                </c:pt>
                <c:pt idx="925">
                  <c:v>108.649</c:v>
                </c:pt>
                <c:pt idx="926">
                  <c:v>108.407</c:v>
                </c:pt>
                <c:pt idx="927">
                  <c:v>108.407</c:v>
                </c:pt>
                <c:pt idx="928">
                  <c:v>108.407</c:v>
                </c:pt>
                <c:pt idx="929">
                  <c:v>108.407</c:v>
                </c:pt>
                <c:pt idx="930">
                  <c:v>108.407</c:v>
                </c:pt>
                <c:pt idx="931">
                  <c:v>108.22199999999999</c:v>
                </c:pt>
                <c:pt idx="932">
                  <c:v>108.22199999999999</c:v>
                </c:pt>
                <c:pt idx="933">
                  <c:v>108.22199999999999</c:v>
                </c:pt>
                <c:pt idx="934">
                  <c:v>108.22199999999999</c:v>
                </c:pt>
                <c:pt idx="935">
                  <c:v>108.22199999999999</c:v>
                </c:pt>
                <c:pt idx="936">
                  <c:v>109.102</c:v>
                </c:pt>
                <c:pt idx="937">
                  <c:v>109.102</c:v>
                </c:pt>
                <c:pt idx="938">
                  <c:v>109.102</c:v>
                </c:pt>
                <c:pt idx="939">
                  <c:v>109.102</c:v>
                </c:pt>
                <c:pt idx="940">
                  <c:v>109.102</c:v>
                </c:pt>
                <c:pt idx="941">
                  <c:v>109.307</c:v>
                </c:pt>
                <c:pt idx="942">
                  <c:v>109.307</c:v>
                </c:pt>
                <c:pt idx="943">
                  <c:v>109.307</c:v>
                </c:pt>
                <c:pt idx="944">
                  <c:v>109.307</c:v>
                </c:pt>
                <c:pt idx="945">
                  <c:v>109.307</c:v>
                </c:pt>
                <c:pt idx="946">
                  <c:v>109.441</c:v>
                </c:pt>
                <c:pt idx="947">
                  <c:v>109.441</c:v>
                </c:pt>
                <c:pt idx="948">
                  <c:v>109.441</c:v>
                </c:pt>
                <c:pt idx="949">
                  <c:v>109.441</c:v>
                </c:pt>
                <c:pt idx="950">
                  <c:v>109.441</c:v>
                </c:pt>
                <c:pt idx="951">
                  <c:v>109.33199999999999</c:v>
                </c:pt>
                <c:pt idx="952">
                  <c:v>109.33199999999999</c:v>
                </c:pt>
                <c:pt idx="953">
                  <c:v>109.33199999999999</c:v>
                </c:pt>
                <c:pt idx="954">
                  <c:v>109.33199999999999</c:v>
                </c:pt>
                <c:pt idx="955">
                  <c:v>109.33199999999999</c:v>
                </c:pt>
                <c:pt idx="956">
                  <c:v>108.815</c:v>
                </c:pt>
                <c:pt idx="957">
                  <c:v>108.815</c:v>
                </c:pt>
                <c:pt idx="958">
                  <c:v>108.815</c:v>
                </c:pt>
                <c:pt idx="959">
                  <c:v>108.815</c:v>
                </c:pt>
                <c:pt idx="960">
                  <c:v>108.815</c:v>
                </c:pt>
                <c:pt idx="961">
                  <c:v>109.926</c:v>
                </c:pt>
                <c:pt idx="962">
                  <c:v>109.926</c:v>
                </c:pt>
                <c:pt idx="963">
                  <c:v>109.926</c:v>
                </c:pt>
                <c:pt idx="964">
                  <c:v>109.926</c:v>
                </c:pt>
                <c:pt idx="965">
                  <c:v>109.926</c:v>
                </c:pt>
                <c:pt idx="966">
                  <c:v>110.33499999999999</c:v>
                </c:pt>
                <c:pt idx="967">
                  <c:v>110.33499999999999</c:v>
                </c:pt>
                <c:pt idx="968">
                  <c:v>110.33499999999999</c:v>
                </c:pt>
                <c:pt idx="969">
                  <c:v>110.33499999999999</c:v>
                </c:pt>
                <c:pt idx="970">
                  <c:v>110.33499999999999</c:v>
                </c:pt>
                <c:pt idx="971">
                  <c:v>110.596</c:v>
                </c:pt>
                <c:pt idx="972">
                  <c:v>110.596</c:v>
                </c:pt>
                <c:pt idx="973">
                  <c:v>110.596</c:v>
                </c:pt>
                <c:pt idx="974">
                  <c:v>110.596</c:v>
                </c:pt>
                <c:pt idx="975">
                  <c:v>110.596</c:v>
                </c:pt>
                <c:pt idx="976">
                  <c:v>111.126</c:v>
                </c:pt>
                <c:pt idx="977">
                  <c:v>111.126</c:v>
                </c:pt>
                <c:pt idx="978">
                  <c:v>111.126</c:v>
                </c:pt>
                <c:pt idx="979">
                  <c:v>111.126</c:v>
                </c:pt>
                <c:pt idx="980">
                  <c:v>111.126</c:v>
                </c:pt>
                <c:pt idx="981">
                  <c:v>111.949</c:v>
                </c:pt>
                <c:pt idx="982">
                  <c:v>111.949</c:v>
                </c:pt>
                <c:pt idx="983">
                  <c:v>111.949</c:v>
                </c:pt>
                <c:pt idx="984">
                  <c:v>111.949</c:v>
                </c:pt>
                <c:pt idx="985">
                  <c:v>111.949</c:v>
                </c:pt>
                <c:pt idx="986">
                  <c:v>111.18300000000001</c:v>
                </c:pt>
                <c:pt idx="987">
                  <c:v>111.18300000000001</c:v>
                </c:pt>
                <c:pt idx="988">
                  <c:v>111.18300000000001</c:v>
                </c:pt>
                <c:pt idx="989">
                  <c:v>111.18300000000001</c:v>
                </c:pt>
                <c:pt idx="990">
                  <c:v>111.18300000000001</c:v>
                </c:pt>
                <c:pt idx="991">
                  <c:v>111.03700000000001</c:v>
                </c:pt>
                <c:pt idx="992">
                  <c:v>111.03700000000001</c:v>
                </c:pt>
                <c:pt idx="993">
                  <c:v>111.03700000000001</c:v>
                </c:pt>
                <c:pt idx="994">
                  <c:v>111.03700000000001</c:v>
                </c:pt>
                <c:pt idx="995">
                  <c:v>111.03700000000001</c:v>
                </c:pt>
                <c:pt idx="996">
                  <c:v>110.264</c:v>
                </c:pt>
                <c:pt idx="997">
                  <c:v>110.264</c:v>
                </c:pt>
                <c:pt idx="998">
                  <c:v>110.264</c:v>
                </c:pt>
                <c:pt idx="999">
                  <c:v>110.264</c:v>
                </c:pt>
                <c:pt idx="1000">
                  <c:v>110.264</c:v>
                </c:pt>
                <c:pt idx="1001">
                  <c:v>110.96599999999999</c:v>
                </c:pt>
                <c:pt idx="1002">
                  <c:v>110.96599999999999</c:v>
                </c:pt>
                <c:pt idx="1003">
                  <c:v>110.96599999999999</c:v>
                </c:pt>
                <c:pt idx="1004">
                  <c:v>110.96599999999999</c:v>
                </c:pt>
                <c:pt idx="1005">
                  <c:v>110.96599999999999</c:v>
                </c:pt>
                <c:pt idx="1006">
                  <c:v>110.13</c:v>
                </c:pt>
                <c:pt idx="1007">
                  <c:v>110.13</c:v>
                </c:pt>
                <c:pt idx="1008">
                  <c:v>110.13</c:v>
                </c:pt>
                <c:pt idx="1009">
                  <c:v>110.13</c:v>
                </c:pt>
                <c:pt idx="1010">
                  <c:v>110.13</c:v>
                </c:pt>
                <c:pt idx="1011">
                  <c:v>109.45399999999999</c:v>
                </c:pt>
                <c:pt idx="1012">
                  <c:v>109.45399999999999</c:v>
                </c:pt>
                <c:pt idx="1013">
                  <c:v>109.45399999999999</c:v>
                </c:pt>
                <c:pt idx="1014">
                  <c:v>109.45399999999999</c:v>
                </c:pt>
                <c:pt idx="1015">
                  <c:v>109.45399999999999</c:v>
                </c:pt>
                <c:pt idx="1016">
                  <c:v>109.773</c:v>
                </c:pt>
                <c:pt idx="1017">
                  <c:v>109.773</c:v>
                </c:pt>
                <c:pt idx="1018">
                  <c:v>109.773</c:v>
                </c:pt>
                <c:pt idx="1019">
                  <c:v>109.773</c:v>
                </c:pt>
                <c:pt idx="1020">
                  <c:v>109.773</c:v>
                </c:pt>
                <c:pt idx="1021">
                  <c:v>109.23</c:v>
                </c:pt>
                <c:pt idx="1022">
                  <c:v>109.23</c:v>
                </c:pt>
                <c:pt idx="1023">
                  <c:v>109.23</c:v>
                </c:pt>
                <c:pt idx="1024">
                  <c:v>109.23</c:v>
                </c:pt>
                <c:pt idx="1025">
                  <c:v>109.23</c:v>
                </c:pt>
                <c:pt idx="1026">
                  <c:v>110.054</c:v>
                </c:pt>
                <c:pt idx="1027">
                  <c:v>110.054</c:v>
                </c:pt>
                <c:pt idx="1028">
                  <c:v>110.054</c:v>
                </c:pt>
                <c:pt idx="1029">
                  <c:v>110.054</c:v>
                </c:pt>
                <c:pt idx="1030">
                  <c:v>110.054</c:v>
                </c:pt>
                <c:pt idx="1031">
                  <c:v>110.15600000000001</c:v>
                </c:pt>
                <c:pt idx="1032">
                  <c:v>110.15600000000001</c:v>
                </c:pt>
                <c:pt idx="1033">
                  <c:v>110.15600000000001</c:v>
                </c:pt>
                <c:pt idx="1034">
                  <c:v>110.15600000000001</c:v>
                </c:pt>
                <c:pt idx="1035">
                  <c:v>110.15600000000001</c:v>
                </c:pt>
                <c:pt idx="1036">
                  <c:v>109.645</c:v>
                </c:pt>
                <c:pt idx="1037">
                  <c:v>109.645</c:v>
                </c:pt>
                <c:pt idx="1038">
                  <c:v>109.645</c:v>
                </c:pt>
                <c:pt idx="1039">
                  <c:v>109.645</c:v>
                </c:pt>
                <c:pt idx="1040">
                  <c:v>109.645</c:v>
                </c:pt>
                <c:pt idx="1041">
                  <c:v>109.651</c:v>
                </c:pt>
                <c:pt idx="1042">
                  <c:v>109.651</c:v>
                </c:pt>
                <c:pt idx="1043">
                  <c:v>109.651</c:v>
                </c:pt>
                <c:pt idx="1044">
                  <c:v>109.651</c:v>
                </c:pt>
                <c:pt idx="1045">
                  <c:v>109.651</c:v>
                </c:pt>
                <c:pt idx="1046">
                  <c:v>110.47499999999999</c:v>
                </c:pt>
                <c:pt idx="1047">
                  <c:v>110.47499999999999</c:v>
                </c:pt>
                <c:pt idx="1048">
                  <c:v>110.47499999999999</c:v>
                </c:pt>
                <c:pt idx="1049">
                  <c:v>110.47499999999999</c:v>
                </c:pt>
                <c:pt idx="1050">
                  <c:v>110.47499999999999</c:v>
                </c:pt>
                <c:pt idx="1051">
                  <c:v>110.309</c:v>
                </c:pt>
                <c:pt idx="1052">
                  <c:v>110.309</c:v>
                </c:pt>
                <c:pt idx="1053">
                  <c:v>110.309</c:v>
                </c:pt>
                <c:pt idx="1054">
                  <c:v>110.309</c:v>
                </c:pt>
                <c:pt idx="1055">
                  <c:v>110.309</c:v>
                </c:pt>
                <c:pt idx="1056">
                  <c:v>109.824</c:v>
                </c:pt>
                <c:pt idx="1057">
                  <c:v>109.824</c:v>
                </c:pt>
                <c:pt idx="1058">
                  <c:v>109.824</c:v>
                </c:pt>
                <c:pt idx="1059">
                  <c:v>109.824</c:v>
                </c:pt>
                <c:pt idx="1060">
                  <c:v>109.824</c:v>
                </c:pt>
                <c:pt idx="1061">
                  <c:v>109.932</c:v>
                </c:pt>
                <c:pt idx="1062">
                  <c:v>109.932</c:v>
                </c:pt>
                <c:pt idx="1063">
                  <c:v>109.932</c:v>
                </c:pt>
                <c:pt idx="1064">
                  <c:v>109.932</c:v>
                </c:pt>
                <c:pt idx="1065">
                  <c:v>109.932</c:v>
                </c:pt>
                <c:pt idx="1066">
                  <c:v>110.252</c:v>
                </c:pt>
                <c:pt idx="1067">
                  <c:v>110.252</c:v>
                </c:pt>
                <c:pt idx="1068">
                  <c:v>110.252</c:v>
                </c:pt>
                <c:pt idx="1069">
                  <c:v>110.252</c:v>
                </c:pt>
                <c:pt idx="1070">
                  <c:v>110.252</c:v>
                </c:pt>
                <c:pt idx="1071">
                  <c:v>109.754</c:v>
                </c:pt>
                <c:pt idx="1072">
                  <c:v>109.754</c:v>
                </c:pt>
                <c:pt idx="1073">
                  <c:v>109.754</c:v>
                </c:pt>
                <c:pt idx="1074">
                  <c:v>109.754</c:v>
                </c:pt>
                <c:pt idx="1075">
                  <c:v>109.754</c:v>
                </c:pt>
                <c:pt idx="1076">
                  <c:v>109.664</c:v>
                </c:pt>
                <c:pt idx="1077">
                  <c:v>109.664</c:v>
                </c:pt>
                <c:pt idx="1078">
                  <c:v>109.664</c:v>
                </c:pt>
                <c:pt idx="1079">
                  <c:v>109.664</c:v>
                </c:pt>
                <c:pt idx="1080">
                  <c:v>109.664</c:v>
                </c:pt>
                <c:pt idx="1081">
                  <c:v>109.971</c:v>
                </c:pt>
                <c:pt idx="1082">
                  <c:v>109.971</c:v>
                </c:pt>
                <c:pt idx="1083">
                  <c:v>109.971</c:v>
                </c:pt>
                <c:pt idx="1084">
                  <c:v>109.971</c:v>
                </c:pt>
                <c:pt idx="1085">
                  <c:v>109.971</c:v>
                </c:pt>
                <c:pt idx="1086">
                  <c:v>110.143</c:v>
                </c:pt>
                <c:pt idx="1087">
                  <c:v>110.143</c:v>
                </c:pt>
                <c:pt idx="1088">
                  <c:v>110.143</c:v>
                </c:pt>
                <c:pt idx="1089">
                  <c:v>110.143</c:v>
                </c:pt>
                <c:pt idx="1090">
                  <c:v>110.143</c:v>
                </c:pt>
                <c:pt idx="1091">
                  <c:v>109.881</c:v>
                </c:pt>
                <c:pt idx="1092">
                  <c:v>109.881</c:v>
                </c:pt>
                <c:pt idx="1093">
                  <c:v>109.881</c:v>
                </c:pt>
                <c:pt idx="1094">
                  <c:v>109.881</c:v>
                </c:pt>
                <c:pt idx="1095">
                  <c:v>109.881</c:v>
                </c:pt>
                <c:pt idx="1096">
                  <c:v>109.313</c:v>
                </c:pt>
                <c:pt idx="1097">
                  <c:v>109.313</c:v>
                </c:pt>
                <c:pt idx="1098">
                  <c:v>109.313</c:v>
                </c:pt>
                <c:pt idx="1099">
                  <c:v>109.313</c:v>
                </c:pt>
                <c:pt idx="1100">
                  <c:v>109.313</c:v>
                </c:pt>
                <c:pt idx="1101">
                  <c:v>110.96599999999999</c:v>
                </c:pt>
                <c:pt idx="1102">
                  <c:v>110.96599999999999</c:v>
                </c:pt>
                <c:pt idx="1103">
                  <c:v>110.96599999999999</c:v>
                </c:pt>
                <c:pt idx="1104">
                  <c:v>110.96599999999999</c:v>
                </c:pt>
                <c:pt idx="1105">
                  <c:v>110.96599999999999</c:v>
                </c:pt>
                <c:pt idx="1106">
                  <c:v>110.526</c:v>
                </c:pt>
                <c:pt idx="1107">
                  <c:v>110.526</c:v>
                </c:pt>
                <c:pt idx="1108">
                  <c:v>110.526</c:v>
                </c:pt>
                <c:pt idx="1109">
                  <c:v>110.526</c:v>
                </c:pt>
                <c:pt idx="1110">
                  <c:v>110.526</c:v>
                </c:pt>
                <c:pt idx="1111">
                  <c:v>111.911</c:v>
                </c:pt>
                <c:pt idx="1112">
                  <c:v>111.911</c:v>
                </c:pt>
                <c:pt idx="1113">
                  <c:v>111.911</c:v>
                </c:pt>
                <c:pt idx="1114">
                  <c:v>111.911</c:v>
                </c:pt>
                <c:pt idx="1115">
                  <c:v>111.911</c:v>
                </c:pt>
                <c:pt idx="1116">
                  <c:v>111.962</c:v>
                </c:pt>
                <c:pt idx="1117">
                  <c:v>111.962</c:v>
                </c:pt>
                <c:pt idx="1118">
                  <c:v>111.962</c:v>
                </c:pt>
                <c:pt idx="1119">
                  <c:v>111.962</c:v>
                </c:pt>
                <c:pt idx="1120">
                  <c:v>111.962</c:v>
                </c:pt>
                <c:pt idx="1121">
                  <c:v>112.301</c:v>
                </c:pt>
                <c:pt idx="1122">
                  <c:v>112.301</c:v>
                </c:pt>
                <c:pt idx="1123">
                  <c:v>112.301</c:v>
                </c:pt>
                <c:pt idx="1124">
                  <c:v>112.301</c:v>
                </c:pt>
                <c:pt idx="1125">
                  <c:v>112.301</c:v>
                </c:pt>
                <c:pt idx="1126">
                  <c:v>111.988</c:v>
                </c:pt>
                <c:pt idx="1127">
                  <c:v>111.988</c:v>
                </c:pt>
                <c:pt idx="1128">
                  <c:v>111.988</c:v>
                </c:pt>
                <c:pt idx="1129">
                  <c:v>111.988</c:v>
                </c:pt>
                <c:pt idx="1130">
                  <c:v>111.988</c:v>
                </c:pt>
                <c:pt idx="1131">
                  <c:v>113.015</c:v>
                </c:pt>
                <c:pt idx="1132">
                  <c:v>113.015</c:v>
                </c:pt>
                <c:pt idx="1133">
                  <c:v>113.015</c:v>
                </c:pt>
                <c:pt idx="1134">
                  <c:v>113.015</c:v>
                </c:pt>
                <c:pt idx="1135">
                  <c:v>113.015</c:v>
                </c:pt>
                <c:pt idx="1136">
                  <c:v>113.322</c:v>
                </c:pt>
                <c:pt idx="1137">
                  <c:v>113.322</c:v>
                </c:pt>
                <c:pt idx="1138">
                  <c:v>113.322</c:v>
                </c:pt>
                <c:pt idx="1139">
                  <c:v>113.322</c:v>
                </c:pt>
                <c:pt idx="1140">
                  <c:v>113.322</c:v>
                </c:pt>
                <c:pt idx="1141">
                  <c:v>113.392</c:v>
                </c:pt>
                <c:pt idx="1142">
                  <c:v>113.392</c:v>
                </c:pt>
                <c:pt idx="1143">
                  <c:v>113.392</c:v>
                </c:pt>
                <c:pt idx="1144">
                  <c:v>113.392</c:v>
                </c:pt>
                <c:pt idx="1145">
                  <c:v>113.392</c:v>
                </c:pt>
                <c:pt idx="1146">
                  <c:v>113.596</c:v>
                </c:pt>
                <c:pt idx="1147">
                  <c:v>113.596</c:v>
                </c:pt>
                <c:pt idx="1148">
                  <c:v>113.596</c:v>
                </c:pt>
                <c:pt idx="1149">
                  <c:v>113.596</c:v>
                </c:pt>
                <c:pt idx="1150">
                  <c:v>113.596</c:v>
                </c:pt>
                <c:pt idx="1151">
                  <c:v>113.858</c:v>
                </c:pt>
                <c:pt idx="1152">
                  <c:v>113.858</c:v>
                </c:pt>
                <c:pt idx="1153">
                  <c:v>113.858</c:v>
                </c:pt>
                <c:pt idx="1154">
                  <c:v>113.858</c:v>
                </c:pt>
                <c:pt idx="1155">
                  <c:v>113.858</c:v>
                </c:pt>
                <c:pt idx="1156">
                  <c:v>114.599</c:v>
                </c:pt>
                <c:pt idx="1157">
                  <c:v>114.599</c:v>
                </c:pt>
                <c:pt idx="1158">
                  <c:v>114.599</c:v>
                </c:pt>
                <c:pt idx="1159">
                  <c:v>114.599</c:v>
                </c:pt>
                <c:pt idx="1160">
                  <c:v>114.599</c:v>
                </c:pt>
                <c:pt idx="1161">
                  <c:v>114.31100000000001</c:v>
                </c:pt>
                <c:pt idx="1162">
                  <c:v>114.31100000000001</c:v>
                </c:pt>
                <c:pt idx="1163">
                  <c:v>114.31100000000001</c:v>
                </c:pt>
                <c:pt idx="1164">
                  <c:v>114.31100000000001</c:v>
                </c:pt>
                <c:pt idx="1165">
                  <c:v>114.31100000000001</c:v>
                </c:pt>
                <c:pt idx="1166">
                  <c:v>114.541</c:v>
                </c:pt>
                <c:pt idx="1167">
                  <c:v>114.541</c:v>
                </c:pt>
                <c:pt idx="1168">
                  <c:v>114.541</c:v>
                </c:pt>
                <c:pt idx="1169">
                  <c:v>114.541</c:v>
                </c:pt>
                <c:pt idx="1170">
                  <c:v>114.541</c:v>
                </c:pt>
                <c:pt idx="1171">
                  <c:v>114.407</c:v>
                </c:pt>
                <c:pt idx="1172">
                  <c:v>114.407</c:v>
                </c:pt>
                <c:pt idx="1173">
                  <c:v>114.407</c:v>
                </c:pt>
                <c:pt idx="1174">
                  <c:v>114.407</c:v>
                </c:pt>
                <c:pt idx="1175">
                  <c:v>114.407</c:v>
                </c:pt>
                <c:pt idx="1176">
                  <c:v>115.396</c:v>
                </c:pt>
                <c:pt idx="1177">
                  <c:v>115.396</c:v>
                </c:pt>
                <c:pt idx="1178">
                  <c:v>115.396</c:v>
                </c:pt>
                <c:pt idx="1179">
                  <c:v>115.396</c:v>
                </c:pt>
                <c:pt idx="1180">
                  <c:v>115.396</c:v>
                </c:pt>
                <c:pt idx="1181">
                  <c:v>114.988</c:v>
                </c:pt>
                <c:pt idx="1182">
                  <c:v>114.988</c:v>
                </c:pt>
                <c:pt idx="1183">
                  <c:v>114.988</c:v>
                </c:pt>
                <c:pt idx="1184">
                  <c:v>114.988</c:v>
                </c:pt>
                <c:pt idx="1185">
                  <c:v>114.988</c:v>
                </c:pt>
                <c:pt idx="1186">
                  <c:v>114.71299999999999</c:v>
                </c:pt>
                <c:pt idx="1187">
                  <c:v>114.71299999999999</c:v>
                </c:pt>
                <c:pt idx="1188">
                  <c:v>114.71299999999999</c:v>
                </c:pt>
                <c:pt idx="1189">
                  <c:v>114.71299999999999</c:v>
                </c:pt>
                <c:pt idx="1190">
                  <c:v>114.71299999999999</c:v>
                </c:pt>
                <c:pt idx="1191">
                  <c:v>114.503</c:v>
                </c:pt>
                <c:pt idx="1192">
                  <c:v>114.503</c:v>
                </c:pt>
                <c:pt idx="1193">
                  <c:v>114.503</c:v>
                </c:pt>
                <c:pt idx="1194">
                  <c:v>114.503</c:v>
                </c:pt>
                <c:pt idx="1195">
                  <c:v>114.503</c:v>
                </c:pt>
                <c:pt idx="1196">
                  <c:v>115.652</c:v>
                </c:pt>
                <c:pt idx="1197">
                  <c:v>115.652</c:v>
                </c:pt>
                <c:pt idx="1198">
                  <c:v>115.652</c:v>
                </c:pt>
                <c:pt idx="1199">
                  <c:v>115.652</c:v>
                </c:pt>
                <c:pt idx="1200">
                  <c:v>115.652</c:v>
                </c:pt>
                <c:pt idx="1201">
                  <c:v>115.76</c:v>
                </c:pt>
                <c:pt idx="1202">
                  <c:v>115.76</c:v>
                </c:pt>
                <c:pt idx="1203">
                  <c:v>115.76</c:v>
                </c:pt>
                <c:pt idx="1204">
                  <c:v>115.76</c:v>
                </c:pt>
                <c:pt idx="1205">
                  <c:v>115.76</c:v>
                </c:pt>
                <c:pt idx="1206">
                  <c:v>116.226</c:v>
                </c:pt>
                <c:pt idx="1207">
                  <c:v>116.226</c:v>
                </c:pt>
                <c:pt idx="1208">
                  <c:v>116.226</c:v>
                </c:pt>
                <c:pt idx="1209">
                  <c:v>116.226</c:v>
                </c:pt>
                <c:pt idx="1210">
                  <c:v>116.226</c:v>
                </c:pt>
                <c:pt idx="1211">
                  <c:v>115.818</c:v>
                </c:pt>
                <c:pt idx="1212">
                  <c:v>115.818</c:v>
                </c:pt>
                <c:pt idx="1213">
                  <c:v>115.818</c:v>
                </c:pt>
                <c:pt idx="1214">
                  <c:v>115.818</c:v>
                </c:pt>
                <c:pt idx="1215">
                  <c:v>115.818</c:v>
                </c:pt>
                <c:pt idx="1216">
                  <c:v>115.116</c:v>
                </c:pt>
                <c:pt idx="1217">
                  <c:v>115.116</c:v>
                </c:pt>
                <c:pt idx="1218">
                  <c:v>115.116</c:v>
                </c:pt>
                <c:pt idx="1219">
                  <c:v>115.116</c:v>
                </c:pt>
                <c:pt idx="1220">
                  <c:v>115.116</c:v>
                </c:pt>
                <c:pt idx="1221">
                  <c:v>116.95399999999999</c:v>
                </c:pt>
                <c:pt idx="1222">
                  <c:v>116.95399999999999</c:v>
                </c:pt>
                <c:pt idx="1223">
                  <c:v>116.95399999999999</c:v>
                </c:pt>
                <c:pt idx="1224">
                  <c:v>116.95399999999999</c:v>
                </c:pt>
                <c:pt idx="1225">
                  <c:v>116.95399999999999</c:v>
                </c:pt>
                <c:pt idx="1226">
                  <c:v>117.107</c:v>
                </c:pt>
                <c:pt idx="1227">
                  <c:v>117.107</c:v>
                </c:pt>
                <c:pt idx="1228">
                  <c:v>117.107</c:v>
                </c:pt>
                <c:pt idx="1229">
                  <c:v>117.107</c:v>
                </c:pt>
                <c:pt idx="1230">
                  <c:v>117.107</c:v>
                </c:pt>
                <c:pt idx="1231">
                  <c:v>117.056</c:v>
                </c:pt>
                <c:pt idx="1232">
                  <c:v>117.056</c:v>
                </c:pt>
                <c:pt idx="1233">
                  <c:v>117.056</c:v>
                </c:pt>
                <c:pt idx="1234">
                  <c:v>117.056</c:v>
                </c:pt>
                <c:pt idx="1235">
                  <c:v>117.056</c:v>
                </c:pt>
                <c:pt idx="1236">
                  <c:v>116.501</c:v>
                </c:pt>
                <c:pt idx="1237">
                  <c:v>116.501</c:v>
                </c:pt>
                <c:pt idx="1238">
                  <c:v>116.501</c:v>
                </c:pt>
                <c:pt idx="1239">
                  <c:v>116.501</c:v>
                </c:pt>
                <c:pt idx="1240">
                  <c:v>116.501</c:v>
                </c:pt>
                <c:pt idx="1241">
                  <c:v>117.70699999999999</c:v>
                </c:pt>
                <c:pt idx="1242">
                  <c:v>117.70699999999999</c:v>
                </c:pt>
                <c:pt idx="1243">
                  <c:v>117.70699999999999</c:v>
                </c:pt>
                <c:pt idx="1244">
                  <c:v>117.70699999999999</c:v>
                </c:pt>
                <c:pt idx="1245">
                  <c:v>117.70699999999999</c:v>
                </c:pt>
                <c:pt idx="1246">
                  <c:v>117.828</c:v>
                </c:pt>
                <c:pt idx="1247">
                  <c:v>117.828</c:v>
                </c:pt>
                <c:pt idx="1248">
                  <c:v>117.828</c:v>
                </c:pt>
                <c:pt idx="1249">
                  <c:v>117.828</c:v>
                </c:pt>
                <c:pt idx="1250">
                  <c:v>117.828</c:v>
                </c:pt>
                <c:pt idx="1251">
                  <c:v>117.822</c:v>
                </c:pt>
                <c:pt idx="1252">
                  <c:v>117.822</c:v>
                </c:pt>
                <c:pt idx="1253">
                  <c:v>117.822</c:v>
                </c:pt>
                <c:pt idx="1254">
                  <c:v>117.822</c:v>
                </c:pt>
                <c:pt idx="1255">
                  <c:v>117.822</c:v>
                </c:pt>
                <c:pt idx="1256">
                  <c:v>117.541</c:v>
                </c:pt>
                <c:pt idx="1257">
                  <c:v>117.541</c:v>
                </c:pt>
                <c:pt idx="1258">
                  <c:v>117.541</c:v>
                </c:pt>
                <c:pt idx="1259">
                  <c:v>117.541</c:v>
                </c:pt>
                <c:pt idx="1260">
                  <c:v>117.541</c:v>
                </c:pt>
                <c:pt idx="1261">
                  <c:v>118.32</c:v>
                </c:pt>
                <c:pt idx="1262">
                  <c:v>118.32</c:v>
                </c:pt>
                <c:pt idx="1263">
                  <c:v>118.32</c:v>
                </c:pt>
                <c:pt idx="1264">
                  <c:v>118.32</c:v>
                </c:pt>
                <c:pt idx="1265">
                  <c:v>118.32</c:v>
                </c:pt>
                <c:pt idx="1266">
                  <c:v>118.79900000000001</c:v>
                </c:pt>
                <c:pt idx="1267">
                  <c:v>118.79900000000001</c:v>
                </c:pt>
                <c:pt idx="1268">
                  <c:v>118.79900000000001</c:v>
                </c:pt>
                <c:pt idx="1269">
                  <c:v>118.79900000000001</c:v>
                </c:pt>
                <c:pt idx="1270">
                  <c:v>118.79900000000001</c:v>
                </c:pt>
                <c:pt idx="1271">
                  <c:v>119.354</c:v>
                </c:pt>
                <c:pt idx="1272">
                  <c:v>119.354</c:v>
                </c:pt>
                <c:pt idx="1273">
                  <c:v>119.354</c:v>
                </c:pt>
                <c:pt idx="1274">
                  <c:v>119.354</c:v>
                </c:pt>
                <c:pt idx="1275">
                  <c:v>119.354</c:v>
                </c:pt>
                <c:pt idx="1276">
                  <c:v>118.524</c:v>
                </c:pt>
                <c:pt idx="1277">
                  <c:v>118.524</c:v>
                </c:pt>
                <c:pt idx="1278">
                  <c:v>118.524</c:v>
                </c:pt>
                <c:pt idx="1279">
                  <c:v>118.524</c:v>
                </c:pt>
                <c:pt idx="1280">
                  <c:v>118.524</c:v>
                </c:pt>
                <c:pt idx="1281">
                  <c:v>118.601</c:v>
                </c:pt>
                <c:pt idx="1282">
                  <c:v>118.601</c:v>
                </c:pt>
                <c:pt idx="1283">
                  <c:v>118.601</c:v>
                </c:pt>
                <c:pt idx="1284">
                  <c:v>118.601</c:v>
                </c:pt>
                <c:pt idx="1285">
                  <c:v>118.601</c:v>
                </c:pt>
                <c:pt idx="1286">
                  <c:v>119.143</c:v>
                </c:pt>
                <c:pt idx="1287">
                  <c:v>119.143</c:v>
                </c:pt>
                <c:pt idx="1288">
                  <c:v>119.143</c:v>
                </c:pt>
                <c:pt idx="1289">
                  <c:v>119.143</c:v>
                </c:pt>
                <c:pt idx="1290">
                  <c:v>119.143</c:v>
                </c:pt>
                <c:pt idx="1291">
                  <c:v>118.639</c:v>
                </c:pt>
                <c:pt idx="1292">
                  <c:v>118.639</c:v>
                </c:pt>
                <c:pt idx="1293">
                  <c:v>118.639</c:v>
                </c:pt>
                <c:pt idx="1294">
                  <c:v>118.639</c:v>
                </c:pt>
                <c:pt idx="1295">
                  <c:v>118.639</c:v>
                </c:pt>
                <c:pt idx="1296">
                  <c:v>118.639</c:v>
                </c:pt>
                <c:pt idx="1297">
                  <c:v>118.639</c:v>
                </c:pt>
                <c:pt idx="1298">
                  <c:v>118.639</c:v>
                </c:pt>
                <c:pt idx="1299">
                  <c:v>118.639</c:v>
                </c:pt>
                <c:pt idx="1300">
                  <c:v>118.639</c:v>
                </c:pt>
                <c:pt idx="1301">
                  <c:v>117.96899999999999</c:v>
                </c:pt>
                <c:pt idx="1302">
                  <c:v>117.96899999999999</c:v>
                </c:pt>
                <c:pt idx="1303">
                  <c:v>117.96899999999999</c:v>
                </c:pt>
                <c:pt idx="1304">
                  <c:v>117.96899999999999</c:v>
                </c:pt>
                <c:pt idx="1305">
                  <c:v>117.96899999999999</c:v>
                </c:pt>
                <c:pt idx="1306">
                  <c:v>118.767</c:v>
                </c:pt>
                <c:pt idx="1307">
                  <c:v>118.767</c:v>
                </c:pt>
                <c:pt idx="1308">
                  <c:v>118.767</c:v>
                </c:pt>
                <c:pt idx="1309">
                  <c:v>118.767</c:v>
                </c:pt>
                <c:pt idx="1310">
                  <c:v>118.767</c:v>
                </c:pt>
                <c:pt idx="1311">
                  <c:v>118.735</c:v>
                </c:pt>
                <c:pt idx="1312">
                  <c:v>118.735</c:v>
                </c:pt>
                <c:pt idx="1313">
                  <c:v>118.735</c:v>
                </c:pt>
                <c:pt idx="1314">
                  <c:v>118.735</c:v>
                </c:pt>
                <c:pt idx="1315">
                  <c:v>118.735</c:v>
                </c:pt>
                <c:pt idx="1316">
                  <c:v>117.96899999999999</c:v>
                </c:pt>
                <c:pt idx="1317">
                  <c:v>117.96899999999999</c:v>
                </c:pt>
                <c:pt idx="1318">
                  <c:v>117.96899999999999</c:v>
                </c:pt>
                <c:pt idx="1319">
                  <c:v>117.96899999999999</c:v>
                </c:pt>
                <c:pt idx="1320">
                  <c:v>117.96899999999999</c:v>
                </c:pt>
                <c:pt idx="1321">
                  <c:v>117.605</c:v>
                </c:pt>
                <c:pt idx="1322">
                  <c:v>117.605</c:v>
                </c:pt>
                <c:pt idx="1323">
                  <c:v>117.605</c:v>
                </c:pt>
                <c:pt idx="1324">
                  <c:v>117.605</c:v>
                </c:pt>
                <c:pt idx="1325">
                  <c:v>117.605</c:v>
                </c:pt>
                <c:pt idx="1326">
                  <c:v>116.973</c:v>
                </c:pt>
                <c:pt idx="1327">
                  <c:v>116.973</c:v>
                </c:pt>
                <c:pt idx="1328">
                  <c:v>116.973</c:v>
                </c:pt>
                <c:pt idx="1329">
                  <c:v>116.973</c:v>
                </c:pt>
                <c:pt idx="1330">
                  <c:v>116.973</c:v>
                </c:pt>
                <c:pt idx="1331">
                  <c:v>116.986</c:v>
                </c:pt>
                <c:pt idx="1332">
                  <c:v>116.986</c:v>
                </c:pt>
                <c:pt idx="1333">
                  <c:v>116.986</c:v>
                </c:pt>
                <c:pt idx="1334">
                  <c:v>116.986</c:v>
                </c:pt>
                <c:pt idx="1335">
                  <c:v>116.986</c:v>
                </c:pt>
                <c:pt idx="1336">
                  <c:v>116.845</c:v>
                </c:pt>
                <c:pt idx="1337">
                  <c:v>116.845</c:v>
                </c:pt>
                <c:pt idx="1338">
                  <c:v>116.845</c:v>
                </c:pt>
                <c:pt idx="1339">
                  <c:v>116.845</c:v>
                </c:pt>
                <c:pt idx="1340">
                  <c:v>116.845</c:v>
                </c:pt>
                <c:pt idx="1341">
                  <c:v>117.42</c:v>
                </c:pt>
                <c:pt idx="1342">
                  <c:v>117.42</c:v>
                </c:pt>
                <c:pt idx="1343">
                  <c:v>117.42</c:v>
                </c:pt>
                <c:pt idx="1344">
                  <c:v>117.42</c:v>
                </c:pt>
                <c:pt idx="1345">
                  <c:v>117.42</c:v>
                </c:pt>
                <c:pt idx="1346">
                  <c:v>117.196</c:v>
                </c:pt>
                <c:pt idx="1347">
                  <c:v>117.196</c:v>
                </c:pt>
                <c:pt idx="1348">
                  <c:v>117.196</c:v>
                </c:pt>
                <c:pt idx="1349">
                  <c:v>117.196</c:v>
                </c:pt>
                <c:pt idx="1350">
                  <c:v>117.196</c:v>
                </c:pt>
                <c:pt idx="1351">
                  <c:v>117.962</c:v>
                </c:pt>
                <c:pt idx="1352">
                  <c:v>117.962</c:v>
                </c:pt>
                <c:pt idx="1353">
                  <c:v>117.962</c:v>
                </c:pt>
                <c:pt idx="1354">
                  <c:v>117.962</c:v>
                </c:pt>
                <c:pt idx="1355">
                  <c:v>117.962</c:v>
                </c:pt>
                <c:pt idx="1356">
                  <c:v>117.937</c:v>
                </c:pt>
                <c:pt idx="1357">
                  <c:v>117.937</c:v>
                </c:pt>
                <c:pt idx="1358">
                  <c:v>117.937</c:v>
                </c:pt>
                <c:pt idx="1359">
                  <c:v>117.937</c:v>
                </c:pt>
                <c:pt idx="1360">
                  <c:v>117.937</c:v>
                </c:pt>
                <c:pt idx="1361">
                  <c:v>118.339</c:v>
                </c:pt>
                <c:pt idx="1362">
                  <c:v>118.339</c:v>
                </c:pt>
                <c:pt idx="1363">
                  <c:v>118.339</c:v>
                </c:pt>
                <c:pt idx="1364">
                  <c:v>118.339</c:v>
                </c:pt>
                <c:pt idx="1365">
                  <c:v>118.339</c:v>
                </c:pt>
                <c:pt idx="1366">
                  <c:v>118.80500000000001</c:v>
                </c:pt>
                <c:pt idx="1367">
                  <c:v>118.80500000000001</c:v>
                </c:pt>
                <c:pt idx="1368">
                  <c:v>118.80500000000001</c:v>
                </c:pt>
                <c:pt idx="1369">
                  <c:v>118.80500000000001</c:v>
                </c:pt>
                <c:pt idx="1370">
                  <c:v>118.80500000000001</c:v>
                </c:pt>
                <c:pt idx="1371">
                  <c:v>119.245</c:v>
                </c:pt>
                <c:pt idx="1372">
                  <c:v>119.245</c:v>
                </c:pt>
                <c:pt idx="1373">
                  <c:v>119.245</c:v>
                </c:pt>
                <c:pt idx="1374">
                  <c:v>119.245</c:v>
                </c:pt>
                <c:pt idx="1375">
                  <c:v>119.245</c:v>
                </c:pt>
                <c:pt idx="1376">
                  <c:v>118.946</c:v>
                </c:pt>
                <c:pt idx="1377">
                  <c:v>118.946</c:v>
                </c:pt>
                <c:pt idx="1378">
                  <c:v>118.946</c:v>
                </c:pt>
                <c:pt idx="1379">
                  <c:v>118.946</c:v>
                </c:pt>
                <c:pt idx="1380">
                  <c:v>118.946</c:v>
                </c:pt>
                <c:pt idx="1381">
                  <c:v>118.748</c:v>
                </c:pt>
                <c:pt idx="1382">
                  <c:v>118.748</c:v>
                </c:pt>
                <c:pt idx="1383">
                  <c:v>118.748</c:v>
                </c:pt>
                <c:pt idx="1384">
                  <c:v>118.748</c:v>
                </c:pt>
                <c:pt idx="1385">
                  <c:v>118.748</c:v>
                </c:pt>
                <c:pt idx="1386">
                  <c:v>118.67700000000001</c:v>
                </c:pt>
                <c:pt idx="1387">
                  <c:v>118.67700000000001</c:v>
                </c:pt>
                <c:pt idx="1388">
                  <c:v>118.67700000000001</c:v>
                </c:pt>
                <c:pt idx="1389">
                  <c:v>118.67700000000001</c:v>
                </c:pt>
                <c:pt idx="1390">
                  <c:v>118.67700000000001</c:v>
                </c:pt>
                <c:pt idx="1391">
                  <c:v>119.08</c:v>
                </c:pt>
                <c:pt idx="1392">
                  <c:v>119.08</c:v>
                </c:pt>
                <c:pt idx="1393">
                  <c:v>119.08</c:v>
                </c:pt>
                <c:pt idx="1394">
                  <c:v>119.08</c:v>
                </c:pt>
                <c:pt idx="1395">
                  <c:v>119.08</c:v>
                </c:pt>
                <c:pt idx="1396">
                  <c:v>118.901</c:v>
                </c:pt>
                <c:pt idx="1397">
                  <c:v>118.901</c:v>
                </c:pt>
                <c:pt idx="1398">
                  <c:v>118.901</c:v>
                </c:pt>
                <c:pt idx="1399">
                  <c:v>118.901</c:v>
                </c:pt>
                <c:pt idx="1400">
                  <c:v>118.901</c:v>
                </c:pt>
                <c:pt idx="1401">
                  <c:v>118.697</c:v>
                </c:pt>
                <c:pt idx="1402">
                  <c:v>118.697</c:v>
                </c:pt>
                <c:pt idx="1403">
                  <c:v>118.697</c:v>
                </c:pt>
                <c:pt idx="1404">
                  <c:v>118.697</c:v>
                </c:pt>
                <c:pt idx="1405">
                  <c:v>118.697</c:v>
                </c:pt>
                <c:pt idx="1406">
                  <c:v>118.53100000000001</c:v>
                </c:pt>
                <c:pt idx="1407">
                  <c:v>118.53100000000001</c:v>
                </c:pt>
                <c:pt idx="1408">
                  <c:v>118.53100000000001</c:v>
                </c:pt>
                <c:pt idx="1409">
                  <c:v>118.53100000000001</c:v>
                </c:pt>
                <c:pt idx="1410">
                  <c:v>118.53100000000001</c:v>
                </c:pt>
                <c:pt idx="1411">
                  <c:v>118.377</c:v>
                </c:pt>
                <c:pt idx="1412">
                  <c:v>118.377</c:v>
                </c:pt>
                <c:pt idx="1413">
                  <c:v>118.377</c:v>
                </c:pt>
                <c:pt idx="1414">
                  <c:v>118.377</c:v>
                </c:pt>
                <c:pt idx="1415">
                  <c:v>118.377</c:v>
                </c:pt>
                <c:pt idx="1416">
                  <c:v>118.80500000000001</c:v>
                </c:pt>
                <c:pt idx="1417">
                  <c:v>118.80500000000001</c:v>
                </c:pt>
                <c:pt idx="1418">
                  <c:v>118.80500000000001</c:v>
                </c:pt>
                <c:pt idx="1419">
                  <c:v>118.80500000000001</c:v>
                </c:pt>
                <c:pt idx="1420">
                  <c:v>118.80500000000001</c:v>
                </c:pt>
                <c:pt idx="1421">
                  <c:v>118.499</c:v>
                </c:pt>
                <c:pt idx="1422">
                  <c:v>118.499</c:v>
                </c:pt>
                <c:pt idx="1423">
                  <c:v>118.499</c:v>
                </c:pt>
                <c:pt idx="1424">
                  <c:v>118.499</c:v>
                </c:pt>
                <c:pt idx="1425">
                  <c:v>118.499</c:v>
                </c:pt>
                <c:pt idx="1426">
                  <c:v>118.754</c:v>
                </c:pt>
                <c:pt idx="1427">
                  <c:v>118.754</c:v>
                </c:pt>
                <c:pt idx="1428">
                  <c:v>118.754</c:v>
                </c:pt>
                <c:pt idx="1429">
                  <c:v>118.754</c:v>
                </c:pt>
                <c:pt idx="1430">
                  <c:v>118.754</c:v>
                </c:pt>
                <c:pt idx="1431">
                  <c:v>118.16</c:v>
                </c:pt>
                <c:pt idx="1432">
                  <c:v>118.16</c:v>
                </c:pt>
                <c:pt idx="1433">
                  <c:v>118.16</c:v>
                </c:pt>
                <c:pt idx="1434">
                  <c:v>118.16</c:v>
                </c:pt>
                <c:pt idx="1435">
                  <c:v>118.16</c:v>
                </c:pt>
                <c:pt idx="1436">
                  <c:v>118.499</c:v>
                </c:pt>
                <c:pt idx="1437">
                  <c:v>118.499</c:v>
                </c:pt>
                <c:pt idx="1438">
                  <c:v>118.499</c:v>
                </c:pt>
                <c:pt idx="1439">
                  <c:v>118.499</c:v>
                </c:pt>
                <c:pt idx="1440">
                  <c:v>118.499</c:v>
                </c:pt>
                <c:pt idx="1441">
                  <c:v>118.748</c:v>
                </c:pt>
                <c:pt idx="1442">
                  <c:v>118.748</c:v>
                </c:pt>
                <c:pt idx="1443">
                  <c:v>118.748</c:v>
                </c:pt>
                <c:pt idx="1444">
                  <c:v>118.748</c:v>
                </c:pt>
                <c:pt idx="1445">
                  <c:v>118.748</c:v>
                </c:pt>
                <c:pt idx="1446">
                  <c:v>118.499</c:v>
                </c:pt>
                <c:pt idx="1447">
                  <c:v>118.499</c:v>
                </c:pt>
                <c:pt idx="1448">
                  <c:v>118.499</c:v>
                </c:pt>
                <c:pt idx="1449">
                  <c:v>118.499</c:v>
                </c:pt>
                <c:pt idx="1450">
                  <c:v>118.499</c:v>
                </c:pt>
                <c:pt idx="1451">
                  <c:v>118.58799999999999</c:v>
                </c:pt>
                <c:pt idx="1452">
                  <c:v>118.58799999999999</c:v>
                </c:pt>
                <c:pt idx="1453">
                  <c:v>118.58799999999999</c:v>
                </c:pt>
                <c:pt idx="1454">
                  <c:v>118.58799999999999</c:v>
                </c:pt>
                <c:pt idx="1455">
                  <c:v>118.58799999999999</c:v>
                </c:pt>
                <c:pt idx="1456">
                  <c:v>117.899</c:v>
                </c:pt>
                <c:pt idx="1457">
                  <c:v>117.899</c:v>
                </c:pt>
                <c:pt idx="1458">
                  <c:v>117.899</c:v>
                </c:pt>
                <c:pt idx="1459">
                  <c:v>117.899</c:v>
                </c:pt>
                <c:pt idx="1460">
                  <c:v>117.899</c:v>
                </c:pt>
                <c:pt idx="1461">
                  <c:v>117.675</c:v>
                </c:pt>
                <c:pt idx="1462">
                  <c:v>117.675</c:v>
                </c:pt>
                <c:pt idx="1463">
                  <c:v>117.675</c:v>
                </c:pt>
                <c:pt idx="1464">
                  <c:v>117.675</c:v>
                </c:pt>
                <c:pt idx="1465">
                  <c:v>117.675</c:v>
                </c:pt>
                <c:pt idx="1466">
                  <c:v>117.541</c:v>
                </c:pt>
                <c:pt idx="1467">
                  <c:v>117.541</c:v>
                </c:pt>
                <c:pt idx="1468">
                  <c:v>117.541</c:v>
                </c:pt>
                <c:pt idx="1469">
                  <c:v>117.541</c:v>
                </c:pt>
                <c:pt idx="1470">
                  <c:v>117.541</c:v>
                </c:pt>
                <c:pt idx="1471">
                  <c:v>117.86</c:v>
                </c:pt>
                <c:pt idx="1472">
                  <c:v>117.86</c:v>
                </c:pt>
                <c:pt idx="1473">
                  <c:v>117.86</c:v>
                </c:pt>
                <c:pt idx="1474">
                  <c:v>117.86</c:v>
                </c:pt>
                <c:pt idx="1475">
                  <c:v>117.86</c:v>
                </c:pt>
                <c:pt idx="1476">
                  <c:v>118.128</c:v>
                </c:pt>
                <c:pt idx="1477">
                  <c:v>118.128</c:v>
                </c:pt>
                <c:pt idx="1478">
                  <c:v>118.128</c:v>
                </c:pt>
                <c:pt idx="1479">
                  <c:v>118.128</c:v>
                </c:pt>
                <c:pt idx="1480">
                  <c:v>118.128</c:v>
                </c:pt>
                <c:pt idx="1481">
                  <c:v>118.72799999999999</c:v>
                </c:pt>
                <c:pt idx="1482">
                  <c:v>118.72799999999999</c:v>
                </c:pt>
                <c:pt idx="1483">
                  <c:v>118.72799999999999</c:v>
                </c:pt>
                <c:pt idx="1484">
                  <c:v>118.72799999999999</c:v>
                </c:pt>
                <c:pt idx="1485">
                  <c:v>118.72799999999999</c:v>
                </c:pt>
                <c:pt idx="1486">
                  <c:v>118.98399999999999</c:v>
                </c:pt>
                <c:pt idx="1487">
                  <c:v>118.98399999999999</c:v>
                </c:pt>
                <c:pt idx="1488">
                  <c:v>118.98399999999999</c:v>
                </c:pt>
                <c:pt idx="1489">
                  <c:v>118.98399999999999</c:v>
                </c:pt>
                <c:pt idx="1490">
                  <c:v>118.98399999999999</c:v>
                </c:pt>
                <c:pt idx="1491">
                  <c:v>119.08</c:v>
                </c:pt>
                <c:pt idx="1492">
                  <c:v>119.08</c:v>
                </c:pt>
                <c:pt idx="1493">
                  <c:v>119.08</c:v>
                </c:pt>
                <c:pt idx="1494">
                  <c:v>119.08</c:v>
                </c:pt>
                <c:pt idx="1495">
                  <c:v>119.08</c:v>
                </c:pt>
                <c:pt idx="1496">
                  <c:v>118.709</c:v>
                </c:pt>
                <c:pt idx="1497">
                  <c:v>118.709</c:v>
                </c:pt>
                <c:pt idx="1498">
                  <c:v>118.709</c:v>
                </c:pt>
                <c:pt idx="1499">
                  <c:v>118.709</c:v>
                </c:pt>
                <c:pt idx="1500">
                  <c:v>118.709</c:v>
                </c:pt>
                <c:pt idx="1501">
                  <c:v>118.646</c:v>
                </c:pt>
                <c:pt idx="1502">
                  <c:v>118.646</c:v>
                </c:pt>
                <c:pt idx="1503">
                  <c:v>118.646</c:v>
                </c:pt>
                <c:pt idx="1504">
                  <c:v>118.646</c:v>
                </c:pt>
                <c:pt idx="1505">
                  <c:v>118.646</c:v>
                </c:pt>
                <c:pt idx="1506">
                  <c:v>118.499</c:v>
                </c:pt>
                <c:pt idx="1507">
                  <c:v>118.499</c:v>
                </c:pt>
                <c:pt idx="1508">
                  <c:v>118.499</c:v>
                </c:pt>
                <c:pt idx="1509">
                  <c:v>118.499</c:v>
                </c:pt>
                <c:pt idx="1510">
                  <c:v>118.499</c:v>
                </c:pt>
                <c:pt idx="1511">
                  <c:v>118.952</c:v>
                </c:pt>
                <c:pt idx="1512">
                  <c:v>118.952</c:v>
                </c:pt>
                <c:pt idx="1513">
                  <c:v>118.952</c:v>
                </c:pt>
                <c:pt idx="1514">
                  <c:v>118.952</c:v>
                </c:pt>
                <c:pt idx="1515">
                  <c:v>118.952</c:v>
                </c:pt>
                <c:pt idx="1516">
                  <c:v>119.01600000000001</c:v>
                </c:pt>
                <c:pt idx="1517">
                  <c:v>119.01600000000001</c:v>
                </c:pt>
                <c:pt idx="1518">
                  <c:v>119.01600000000001</c:v>
                </c:pt>
                <c:pt idx="1519">
                  <c:v>119.01600000000001</c:v>
                </c:pt>
                <c:pt idx="1520">
                  <c:v>119.01600000000001</c:v>
                </c:pt>
                <c:pt idx="1521">
                  <c:v>118.741</c:v>
                </c:pt>
                <c:pt idx="1522">
                  <c:v>118.741</c:v>
                </c:pt>
                <c:pt idx="1523">
                  <c:v>118.741</c:v>
                </c:pt>
                <c:pt idx="1524">
                  <c:v>118.741</c:v>
                </c:pt>
                <c:pt idx="1525">
                  <c:v>118.741</c:v>
                </c:pt>
                <c:pt idx="1526">
                  <c:v>118.601</c:v>
                </c:pt>
                <c:pt idx="1527">
                  <c:v>118.601</c:v>
                </c:pt>
                <c:pt idx="1528">
                  <c:v>118.601</c:v>
                </c:pt>
                <c:pt idx="1529">
                  <c:v>118.601</c:v>
                </c:pt>
                <c:pt idx="1530">
                  <c:v>118.601</c:v>
                </c:pt>
                <c:pt idx="1531">
                  <c:v>118.384</c:v>
                </c:pt>
                <c:pt idx="1532">
                  <c:v>118.384</c:v>
                </c:pt>
                <c:pt idx="1533">
                  <c:v>118.384</c:v>
                </c:pt>
                <c:pt idx="1534">
                  <c:v>118.384</c:v>
                </c:pt>
                <c:pt idx="1535">
                  <c:v>118.384</c:v>
                </c:pt>
                <c:pt idx="1536">
                  <c:v>118.071</c:v>
                </c:pt>
                <c:pt idx="1537">
                  <c:v>118.071</c:v>
                </c:pt>
                <c:pt idx="1538">
                  <c:v>118.071</c:v>
                </c:pt>
                <c:pt idx="1539">
                  <c:v>118.071</c:v>
                </c:pt>
                <c:pt idx="1540">
                  <c:v>118.071</c:v>
                </c:pt>
                <c:pt idx="1541">
                  <c:v>118.53100000000001</c:v>
                </c:pt>
                <c:pt idx="1542">
                  <c:v>118.53100000000001</c:v>
                </c:pt>
                <c:pt idx="1543">
                  <c:v>118.53100000000001</c:v>
                </c:pt>
                <c:pt idx="1544">
                  <c:v>118.53100000000001</c:v>
                </c:pt>
                <c:pt idx="1545">
                  <c:v>118.53100000000001</c:v>
                </c:pt>
                <c:pt idx="1546">
                  <c:v>118.79900000000001</c:v>
                </c:pt>
                <c:pt idx="1547">
                  <c:v>118.79900000000001</c:v>
                </c:pt>
                <c:pt idx="1548">
                  <c:v>118.79900000000001</c:v>
                </c:pt>
                <c:pt idx="1549">
                  <c:v>118.79900000000001</c:v>
                </c:pt>
                <c:pt idx="1550">
                  <c:v>118.79900000000001</c:v>
                </c:pt>
                <c:pt idx="1551">
                  <c:v>118.85</c:v>
                </c:pt>
                <c:pt idx="1552">
                  <c:v>118.85</c:v>
                </c:pt>
                <c:pt idx="1553">
                  <c:v>118.85</c:v>
                </c:pt>
                <c:pt idx="1554">
                  <c:v>118.85</c:v>
                </c:pt>
                <c:pt idx="1555">
                  <c:v>118.85</c:v>
                </c:pt>
                <c:pt idx="1556">
                  <c:v>118.55</c:v>
                </c:pt>
                <c:pt idx="1557">
                  <c:v>118.55</c:v>
                </c:pt>
                <c:pt idx="1558">
                  <c:v>118.55</c:v>
                </c:pt>
                <c:pt idx="1559">
                  <c:v>118.55</c:v>
                </c:pt>
                <c:pt idx="1560">
                  <c:v>118.55</c:v>
                </c:pt>
                <c:pt idx="1561">
                  <c:v>117.643</c:v>
                </c:pt>
                <c:pt idx="1562">
                  <c:v>117.643</c:v>
                </c:pt>
                <c:pt idx="1563">
                  <c:v>117.643</c:v>
                </c:pt>
                <c:pt idx="1564">
                  <c:v>117.643</c:v>
                </c:pt>
                <c:pt idx="1565">
                  <c:v>117.643</c:v>
                </c:pt>
                <c:pt idx="1566">
                  <c:v>118.026</c:v>
                </c:pt>
                <c:pt idx="1567">
                  <c:v>118.026</c:v>
                </c:pt>
                <c:pt idx="1568">
                  <c:v>118.026</c:v>
                </c:pt>
                <c:pt idx="1569">
                  <c:v>118.026</c:v>
                </c:pt>
                <c:pt idx="1570">
                  <c:v>118.026</c:v>
                </c:pt>
                <c:pt idx="1571">
                  <c:v>118.033</c:v>
                </c:pt>
                <c:pt idx="1572">
                  <c:v>118.033</c:v>
                </c:pt>
                <c:pt idx="1573">
                  <c:v>118.033</c:v>
                </c:pt>
                <c:pt idx="1574">
                  <c:v>118.033</c:v>
                </c:pt>
                <c:pt idx="1575">
                  <c:v>118.033</c:v>
                </c:pt>
                <c:pt idx="1576">
                  <c:v>117.873</c:v>
                </c:pt>
                <c:pt idx="1577">
                  <c:v>117.873</c:v>
                </c:pt>
                <c:pt idx="1578">
                  <c:v>117.873</c:v>
                </c:pt>
                <c:pt idx="1579">
                  <c:v>117.873</c:v>
                </c:pt>
                <c:pt idx="1580">
                  <c:v>117.873</c:v>
                </c:pt>
                <c:pt idx="1581">
                  <c:v>118.23699999999999</c:v>
                </c:pt>
                <c:pt idx="1582">
                  <c:v>118.23699999999999</c:v>
                </c:pt>
                <c:pt idx="1583">
                  <c:v>118.23699999999999</c:v>
                </c:pt>
                <c:pt idx="1584">
                  <c:v>118.23699999999999</c:v>
                </c:pt>
                <c:pt idx="1585">
                  <c:v>118.23699999999999</c:v>
                </c:pt>
                <c:pt idx="1586">
                  <c:v>117.49</c:v>
                </c:pt>
                <c:pt idx="1587">
                  <c:v>117.49</c:v>
                </c:pt>
                <c:pt idx="1588">
                  <c:v>117.49</c:v>
                </c:pt>
                <c:pt idx="1589">
                  <c:v>117.49</c:v>
                </c:pt>
                <c:pt idx="1590">
                  <c:v>117.49</c:v>
                </c:pt>
                <c:pt idx="1591">
                  <c:v>116.654</c:v>
                </c:pt>
                <c:pt idx="1592">
                  <c:v>116.654</c:v>
                </c:pt>
                <c:pt idx="1593">
                  <c:v>116.654</c:v>
                </c:pt>
                <c:pt idx="1594">
                  <c:v>116.654</c:v>
                </c:pt>
                <c:pt idx="1595">
                  <c:v>116.654</c:v>
                </c:pt>
                <c:pt idx="1596">
                  <c:v>117.26</c:v>
                </c:pt>
                <c:pt idx="1597">
                  <c:v>117.26</c:v>
                </c:pt>
                <c:pt idx="1598">
                  <c:v>117.26</c:v>
                </c:pt>
                <c:pt idx="1599">
                  <c:v>117.26</c:v>
                </c:pt>
                <c:pt idx="1600">
                  <c:v>117.26</c:v>
                </c:pt>
                <c:pt idx="1601">
                  <c:v>119.42400000000001</c:v>
                </c:pt>
                <c:pt idx="1602">
                  <c:v>119.42400000000001</c:v>
                </c:pt>
                <c:pt idx="1603">
                  <c:v>119.42400000000001</c:v>
                </c:pt>
                <c:pt idx="1604">
                  <c:v>119.42400000000001</c:v>
                </c:pt>
                <c:pt idx="1605">
                  <c:v>119.42400000000001</c:v>
                </c:pt>
                <c:pt idx="1606">
                  <c:v>118.39</c:v>
                </c:pt>
                <c:pt idx="1607">
                  <c:v>118.39</c:v>
                </c:pt>
                <c:pt idx="1608">
                  <c:v>118.39</c:v>
                </c:pt>
                <c:pt idx="1609">
                  <c:v>118.39</c:v>
                </c:pt>
                <c:pt idx="1610">
                  <c:v>118.39</c:v>
                </c:pt>
                <c:pt idx="1611">
                  <c:v>117.273</c:v>
                </c:pt>
                <c:pt idx="1612">
                  <c:v>117.273</c:v>
                </c:pt>
                <c:pt idx="1613">
                  <c:v>117.273</c:v>
                </c:pt>
                <c:pt idx="1614">
                  <c:v>117.273</c:v>
                </c:pt>
                <c:pt idx="1615">
                  <c:v>117.273</c:v>
                </c:pt>
                <c:pt idx="1616">
                  <c:v>116.622</c:v>
                </c:pt>
                <c:pt idx="1617">
                  <c:v>116.622</c:v>
                </c:pt>
                <c:pt idx="1618">
                  <c:v>116.622</c:v>
                </c:pt>
                <c:pt idx="1619">
                  <c:v>116.622</c:v>
                </c:pt>
                <c:pt idx="1620">
                  <c:v>116.622</c:v>
                </c:pt>
                <c:pt idx="1621">
                  <c:v>115.211</c:v>
                </c:pt>
                <c:pt idx="1622">
                  <c:v>115.211</c:v>
                </c:pt>
                <c:pt idx="1623">
                  <c:v>115.211</c:v>
                </c:pt>
                <c:pt idx="1624">
                  <c:v>115.211</c:v>
                </c:pt>
                <c:pt idx="1625">
                  <c:v>115.211</c:v>
                </c:pt>
                <c:pt idx="1626">
                  <c:v>115.14100000000001</c:v>
                </c:pt>
                <c:pt idx="1627">
                  <c:v>115.14100000000001</c:v>
                </c:pt>
                <c:pt idx="1628">
                  <c:v>115.14100000000001</c:v>
                </c:pt>
                <c:pt idx="1629">
                  <c:v>115.14100000000001</c:v>
                </c:pt>
                <c:pt idx="1630">
                  <c:v>115.14100000000001</c:v>
                </c:pt>
                <c:pt idx="1631">
                  <c:v>110.705</c:v>
                </c:pt>
                <c:pt idx="1632">
                  <c:v>110.705</c:v>
                </c:pt>
                <c:pt idx="1633">
                  <c:v>110.705</c:v>
                </c:pt>
                <c:pt idx="1634">
                  <c:v>110.705</c:v>
                </c:pt>
                <c:pt idx="1635">
                  <c:v>110.705</c:v>
                </c:pt>
                <c:pt idx="1636">
                  <c:v>108.873</c:v>
                </c:pt>
                <c:pt idx="1637">
                  <c:v>108.873</c:v>
                </c:pt>
                <c:pt idx="1638">
                  <c:v>108.873</c:v>
                </c:pt>
                <c:pt idx="1639">
                  <c:v>108.873</c:v>
                </c:pt>
                <c:pt idx="1640">
                  <c:v>108.873</c:v>
                </c:pt>
                <c:pt idx="1641">
                  <c:v>107.666</c:v>
                </c:pt>
                <c:pt idx="1642">
                  <c:v>107.666</c:v>
                </c:pt>
                <c:pt idx="1643">
                  <c:v>107.666</c:v>
                </c:pt>
                <c:pt idx="1644">
                  <c:v>107.666</c:v>
                </c:pt>
                <c:pt idx="1645">
                  <c:v>107.666</c:v>
                </c:pt>
                <c:pt idx="1646">
                  <c:v>105.566</c:v>
                </c:pt>
                <c:pt idx="1647">
                  <c:v>105.566</c:v>
                </c:pt>
                <c:pt idx="1648">
                  <c:v>105.566</c:v>
                </c:pt>
                <c:pt idx="1649">
                  <c:v>105.566</c:v>
                </c:pt>
                <c:pt idx="1650">
                  <c:v>105.566</c:v>
                </c:pt>
                <c:pt idx="1651">
                  <c:v>104.56399999999999</c:v>
                </c:pt>
                <c:pt idx="1652">
                  <c:v>104.56399999999999</c:v>
                </c:pt>
                <c:pt idx="1653">
                  <c:v>104.56399999999999</c:v>
                </c:pt>
                <c:pt idx="1654">
                  <c:v>104.56399999999999</c:v>
                </c:pt>
                <c:pt idx="1655">
                  <c:v>104.56399999999999</c:v>
                </c:pt>
                <c:pt idx="1656">
                  <c:v>100.357</c:v>
                </c:pt>
                <c:pt idx="1657">
                  <c:v>100.357</c:v>
                </c:pt>
                <c:pt idx="1658">
                  <c:v>100.357</c:v>
                </c:pt>
                <c:pt idx="1659">
                  <c:v>100.357</c:v>
                </c:pt>
                <c:pt idx="1660">
                  <c:v>100.357</c:v>
                </c:pt>
                <c:pt idx="1661">
                  <c:v>100.096</c:v>
                </c:pt>
                <c:pt idx="1662">
                  <c:v>100.096</c:v>
                </c:pt>
                <c:pt idx="1663">
                  <c:v>100.096</c:v>
                </c:pt>
                <c:pt idx="1664">
                  <c:v>100.096</c:v>
                </c:pt>
                <c:pt idx="1665">
                  <c:v>100.096</c:v>
                </c:pt>
                <c:pt idx="1666">
                  <c:v>98.787000000000006</c:v>
                </c:pt>
                <c:pt idx="1667">
                  <c:v>98.787000000000006</c:v>
                </c:pt>
                <c:pt idx="1668">
                  <c:v>98.787000000000006</c:v>
                </c:pt>
                <c:pt idx="1669">
                  <c:v>98.787000000000006</c:v>
                </c:pt>
                <c:pt idx="1670">
                  <c:v>98.787000000000006</c:v>
                </c:pt>
                <c:pt idx="1671">
                  <c:v>98.710999999999999</c:v>
                </c:pt>
                <c:pt idx="1672">
                  <c:v>98.710999999999999</c:v>
                </c:pt>
                <c:pt idx="1673">
                  <c:v>98.710999999999999</c:v>
                </c:pt>
                <c:pt idx="1674">
                  <c:v>98.710999999999999</c:v>
                </c:pt>
                <c:pt idx="1675">
                  <c:v>98.710999999999999</c:v>
                </c:pt>
                <c:pt idx="1676">
                  <c:v>94.816999999999993</c:v>
                </c:pt>
                <c:pt idx="1677">
                  <c:v>94.816999999999993</c:v>
                </c:pt>
                <c:pt idx="1678">
                  <c:v>94.816999999999993</c:v>
                </c:pt>
                <c:pt idx="1679">
                  <c:v>94.816999999999993</c:v>
                </c:pt>
                <c:pt idx="1680">
                  <c:v>94.816999999999993</c:v>
                </c:pt>
                <c:pt idx="1681">
                  <c:v>93.936000000000007</c:v>
                </c:pt>
                <c:pt idx="1682">
                  <c:v>93.936000000000007</c:v>
                </c:pt>
                <c:pt idx="1683">
                  <c:v>93.936000000000007</c:v>
                </c:pt>
                <c:pt idx="1684">
                  <c:v>93.936000000000007</c:v>
                </c:pt>
                <c:pt idx="1685">
                  <c:v>93.936000000000007</c:v>
                </c:pt>
                <c:pt idx="1686">
                  <c:v>94.025000000000006</c:v>
                </c:pt>
                <c:pt idx="1687">
                  <c:v>94.025000000000006</c:v>
                </c:pt>
                <c:pt idx="1688">
                  <c:v>94.025000000000006</c:v>
                </c:pt>
                <c:pt idx="1689">
                  <c:v>94.025000000000006</c:v>
                </c:pt>
                <c:pt idx="1690">
                  <c:v>94.025000000000006</c:v>
                </c:pt>
                <c:pt idx="1691">
                  <c:v>92.921000000000006</c:v>
                </c:pt>
                <c:pt idx="1692">
                  <c:v>92.921000000000006</c:v>
                </c:pt>
                <c:pt idx="1693">
                  <c:v>92.921000000000006</c:v>
                </c:pt>
                <c:pt idx="1694">
                  <c:v>92.921000000000006</c:v>
                </c:pt>
                <c:pt idx="1695">
                  <c:v>92.921000000000006</c:v>
                </c:pt>
                <c:pt idx="1696">
                  <c:v>89.212000000000003</c:v>
                </c:pt>
                <c:pt idx="1697">
                  <c:v>89.212000000000003</c:v>
                </c:pt>
                <c:pt idx="1698">
                  <c:v>89.212000000000003</c:v>
                </c:pt>
                <c:pt idx="1699">
                  <c:v>89.212000000000003</c:v>
                </c:pt>
                <c:pt idx="1700">
                  <c:v>89.212000000000003</c:v>
                </c:pt>
                <c:pt idx="1701">
                  <c:v>89.212000000000003</c:v>
                </c:pt>
                <c:pt idx="1702">
                  <c:v>89.212000000000003</c:v>
                </c:pt>
                <c:pt idx="1703">
                  <c:v>89.212000000000003</c:v>
                </c:pt>
                <c:pt idx="1704">
                  <c:v>89.212000000000003</c:v>
                </c:pt>
                <c:pt idx="1705">
                  <c:v>89.212000000000003</c:v>
                </c:pt>
                <c:pt idx="1706">
                  <c:v>88.676000000000002</c:v>
                </c:pt>
                <c:pt idx="1707">
                  <c:v>88.676000000000002</c:v>
                </c:pt>
                <c:pt idx="1708">
                  <c:v>88.676000000000002</c:v>
                </c:pt>
                <c:pt idx="1709">
                  <c:v>88.676000000000002</c:v>
                </c:pt>
                <c:pt idx="1710">
                  <c:v>88.676000000000002</c:v>
                </c:pt>
                <c:pt idx="1711">
                  <c:v>89.302000000000007</c:v>
                </c:pt>
                <c:pt idx="1712">
                  <c:v>89.302000000000007</c:v>
                </c:pt>
                <c:pt idx="1713">
                  <c:v>89.302000000000007</c:v>
                </c:pt>
                <c:pt idx="1714">
                  <c:v>89.302000000000007</c:v>
                </c:pt>
                <c:pt idx="1715">
                  <c:v>89.302000000000007</c:v>
                </c:pt>
                <c:pt idx="1716">
                  <c:v>88.260999999999996</c:v>
                </c:pt>
                <c:pt idx="1717">
                  <c:v>88.260999999999996</c:v>
                </c:pt>
                <c:pt idx="1718">
                  <c:v>88.260999999999996</c:v>
                </c:pt>
                <c:pt idx="1719">
                  <c:v>88.260999999999996</c:v>
                </c:pt>
                <c:pt idx="1720">
                  <c:v>88.260999999999996</c:v>
                </c:pt>
                <c:pt idx="1721">
                  <c:v>82.65</c:v>
                </c:pt>
                <c:pt idx="1722">
                  <c:v>82.65</c:v>
                </c:pt>
                <c:pt idx="1723">
                  <c:v>82.65</c:v>
                </c:pt>
                <c:pt idx="1724">
                  <c:v>82.65</c:v>
                </c:pt>
                <c:pt idx="1725">
                  <c:v>82.65</c:v>
                </c:pt>
                <c:pt idx="1726">
                  <c:v>82.504000000000005</c:v>
                </c:pt>
                <c:pt idx="1727">
                  <c:v>82.504000000000005</c:v>
                </c:pt>
                <c:pt idx="1728">
                  <c:v>82.504000000000005</c:v>
                </c:pt>
                <c:pt idx="1729">
                  <c:v>82.504000000000005</c:v>
                </c:pt>
                <c:pt idx="1730">
                  <c:v>82.504000000000005</c:v>
                </c:pt>
                <c:pt idx="1731">
                  <c:v>82.183999999999997</c:v>
                </c:pt>
                <c:pt idx="1732">
                  <c:v>82.183999999999997</c:v>
                </c:pt>
                <c:pt idx="1733">
                  <c:v>82.183999999999997</c:v>
                </c:pt>
                <c:pt idx="1734">
                  <c:v>82.183999999999997</c:v>
                </c:pt>
                <c:pt idx="1735">
                  <c:v>82.183999999999997</c:v>
                </c:pt>
                <c:pt idx="1736">
                  <c:v>81.941999999999993</c:v>
                </c:pt>
                <c:pt idx="1737">
                  <c:v>81.941999999999993</c:v>
                </c:pt>
                <c:pt idx="1738">
                  <c:v>81.941999999999993</c:v>
                </c:pt>
                <c:pt idx="1739">
                  <c:v>81.941999999999993</c:v>
                </c:pt>
                <c:pt idx="1740">
                  <c:v>81.941999999999993</c:v>
                </c:pt>
                <c:pt idx="1741">
                  <c:v>78.176000000000002</c:v>
                </c:pt>
                <c:pt idx="1742">
                  <c:v>78.176000000000002</c:v>
                </c:pt>
                <c:pt idx="1743">
                  <c:v>78.176000000000002</c:v>
                </c:pt>
                <c:pt idx="1744">
                  <c:v>78.176000000000002</c:v>
                </c:pt>
                <c:pt idx="1745">
                  <c:v>78.176000000000002</c:v>
                </c:pt>
                <c:pt idx="1746">
                  <c:v>77.951999999999998</c:v>
                </c:pt>
                <c:pt idx="1747">
                  <c:v>77.951999999999998</c:v>
                </c:pt>
                <c:pt idx="1748">
                  <c:v>77.951999999999998</c:v>
                </c:pt>
                <c:pt idx="1749">
                  <c:v>77.951999999999998</c:v>
                </c:pt>
                <c:pt idx="1750">
                  <c:v>77.951999999999998</c:v>
                </c:pt>
                <c:pt idx="1751">
                  <c:v>76.816000000000003</c:v>
                </c:pt>
                <c:pt idx="1752">
                  <c:v>76.816000000000003</c:v>
                </c:pt>
                <c:pt idx="1753">
                  <c:v>76.816000000000003</c:v>
                </c:pt>
                <c:pt idx="1754">
                  <c:v>76.816000000000003</c:v>
                </c:pt>
                <c:pt idx="1755">
                  <c:v>76.816000000000003</c:v>
                </c:pt>
                <c:pt idx="1756">
                  <c:v>80.557000000000002</c:v>
                </c:pt>
                <c:pt idx="1757">
                  <c:v>80.557000000000002</c:v>
                </c:pt>
                <c:pt idx="1758">
                  <c:v>80.557000000000002</c:v>
                </c:pt>
                <c:pt idx="1759">
                  <c:v>80.557000000000002</c:v>
                </c:pt>
                <c:pt idx="1760">
                  <c:v>80.557000000000002</c:v>
                </c:pt>
                <c:pt idx="1761">
                  <c:v>77.078000000000003</c:v>
                </c:pt>
                <c:pt idx="1762">
                  <c:v>77.078000000000003</c:v>
                </c:pt>
                <c:pt idx="1763">
                  <c:v>77.078000000000003</c:v>
                </c:pt>
                <c:pt idx="1764">
                  <c:v>77.078000000000003</c:v>
                </c:pt>
                <c:pt idx="1765">
                  <c:v>77.078000000000003</c:v>
                </c:pt>
                <c:pt idx="1766">
                  <c:v>77.287999999999997</c:v>
                </c:pt>
                <c:pt idx="1767">
                  <c:v>77.287999999999997</c:v>
                </c:pt>
                <c:pt idx="1768">
                  <c:v>77.287999999999997</c:v>
                </c:pt>
                <c:pt idx="1769">
                  <c:v>77.287999999999997</c:v>
                </c:pt>
                <c:pt idx="1770">
                  <c:v>77.287999999999997</c:v>
                </c:pt>
                <c:pt idx="1771">
                  <c:v>77.173000000000002</c:v>
                </c:pt>
                <c:pt idx="1772">
                  <c:v>77.173000000000002</c:v>
                </c:pt>
                <c:pt idx="1773">
                  <c:v>77.173000000000002</c:v>
                </c:pt>
                <c:pt idx="1774">
                  <c:v>77.173000000000002</c:v>
                </c:pt>
                <c:pt idx="1775">
                  <c:v>77.173000000000002</c:v>
                </c:pt>
                <c:pt idx="1776">
                  <c:v>77.319999999999993</c:v>
                </c:pt>
                <c:pt idx="1777">
                  <c:v>77.319999999999993</c:v>
                </c:pt>
                <c:pt idx="1778">
                  <c:v>77.319999999999993</c:v>
                </c:pt>
                <c:pt idx="1779">
                  <c:v>77.319999999999993</c:v>
                </c:pt>
                <c:pt idx="1780">
                  <c:v>77.319999999999993</c:v>
                </c:pt>
                <c:pt idx="1781">
                  <c:v>78.903000000000006</c:v>
                </c:pt>
                <c:pt idx="1782">
                  <c:v>78.903000000000006</c:v>
                </c:pt>
                <c:pt idx="1783">
                  <c:v>78.903000000000006</c:v>
                </c:pt>
                <c:pt idx="1784">
                  <c:v>78.903000000000006</c:v>
                </c:pt>
                <c:pt idx="1785">
                  <c:v>78.903000000000006</c:v>
                </c:pt>
                <c:pt idx="1786">
                  <c:v>75.756</c:v>
                </c:pt>
                <c:pt idx="1787">
                  <c:v>75.756</c:v>
                </c:pt>
                <c:pt idx="1788">
                  <c:v>75.756</c:v>
                </c:pt>
                <c:pt idx="1789">
                  <c:v>75.756</c:v>
                </c:pt>
                <c:pt idx="1790">
                  <c:v>75.756</c:v>
                </c:pt>
                <c:pt idx="1791">
                  <c:v>76.355999999999995</c:v>
                </c:pt>
                <c:pt idx="1792">
                  <c:v>76.355999999999995</c:v>
                </c:pt>
                <c:pt idx="1793">
                  <c:v>76.355999999999995</c:v>
                </c:pt>
                <c:pt idx="1794">
                  <c:v>76.355999999999995</c:v>
                </c:pt>
                <c:pt idx="1795">
                  <c:v>76.355999999999995</c:v>
                </c:pt>
                <c:pt idx="1796">
                  <c:v>77.167000000000002</c:v>
                </c:pt>
                <c:pt idx="1797">
                  <c:v>77.167000000000002</c:v>
                </c:pt>
                <c:pt idx="1798">
                  <c:v>77.167000000000002</c:v>
                </c:pt>
                <c:pt idx="1799">
                  <c:v>77.167000000000002</c:v>
                </c:pt>
                <c:pt idx="1800">
                  <c:v>77.167000000000002</c:v>
                </c:pt>
                <c:pt idx="1801">
                  <c:v>78.808000000000007</c:v>
                </c:pt>
                <c:pt idx="1802">
                  <c:v>78.808000000000007</c:v>
                </c:pt>
                <c:pt idx="1803">
                  <c:v>78.808000000000007</c:v>
                </c:pt>
                <c:pt idx="1804">
                  <c:v>78.808000000000007</c:v>
                </c:pt>
                <c:pt idx="1805">
                  <c:v>78.808000000000007</c:v>
                </c:pt>
                <c:pt idx="1806">
                  <c:v>74.384</c:v>
                </c:pt>
                <c:pt idx="1807">
                  <c:v>74.384</c:v>
                </c:pt>
                <c:pt idx="1808">
                  <c:v>74.384</c:v>
                </c:pt>
                <c:pt idx="1809">
                  <c:v>74.384</c:v>
                </c:pt>
                <c:pt idx="1810">
                  <c:v>74.384</c:v>
                </c:pt>
                <c:pt idx="1811">
                  <c:v>74.397000000000006</c:v>
                </c:pt>
                <c:pt idx="1812">
                  <c:v>74.397000000000006</c:v>
                </c:pt>
                <c:pt idx="1813">
                  <c:v>74.397000000000006</c:v>
                </c:pt>
                <c:pt idx="1814">
                  <c:v>74.397000000000006</c:v>
                </c:pt>
                <c:pt idx="1815">
                  <c:v>74.397000000000006</c:v>
                </c:pt>
                <c:pt idx="1816">
                  <c:v>74.882000000000005</c:v>
                </c:pt>
                <c:pt idx="1817">
                  <c:v>74.882000000000005</c:v>
                </c:pt>
                <c:pt idx="1818">
                  <c:v>74.882000000000005</c:v>
                </c:pt>
                <c:pt idx="1819">
                  <c:v>74.882000000000005</c:v>
                </c:pt>
                <c:pt idx="1820">
                  <c:v>74.882000000000005</c:v>
                </c:pt>
                <c:pt idx="1821">
                  <c:v>74.512</c:v>
                </c:pt>
                <c:pt idx="1822">
                  <c:v>74.512</c:v>
                </c:pt>
                <c:pt idx="1823">
                  <c:v>74.512</c:v>
                </c:pt>
                <c:pt idx="1824">
                  <c:v>74.512</c:v>
                </c:pt>
                <c:pt idx="1825">
                  <c:v>74.512</c:v>
                </c:pt>
                <c:pt idx="1826">
                  <c:v>74.594999999999999</c:v>
                </c:pt>
                <c:pt idx="1827">
                  <c:v>74.594999999999999</c:v>
                </c:pt>
                <c:pt idx="1828">
                  <c:v>74.594999999999999</c:v>
                </c:pt>
                <c:pt idx="1829">
                  <c:v>74.594999999999999</c:v>
                </c:pt>
                <c:pt idx="1830">
                  <c:v>74.594999999999999</c:v>
                </c:pt>
                <c:pt idx="1831">
                  <c:v>76.893000000000001</c:v>
                </c:pt>
                <c:pt idx="1832">
                  <c:v>76.893000000000001</c:v>
                </c:pt>
                <c:pt idx="1833">
                  <c:v>76.893000000000001</c:v>
                </c:pt>
                <c:pt idx="1834">
                  <c:v>76.893000000000001</c:v>
                </c:pt>
                <c:pt idx="1835">
                  <c:v>76.893000000000001</c:v>
                </c:pt>
                <c:pt idx="1836">
                  <c:v>77.244</c:v>
                </c:pt>
                <c:pt idx="1837">
                  <c:v>77.244</c:v>
                </c:pt>
                <c:pt idx="1838">
                  <c:v>77.244</c:v>
                </c:pt>
                <c:pt idx="1839">
                  <c:v>77.244</c:v>
                </c:pt>
                <c:pt idx="1840">
                  <c:v>77.244</c:v>
                </c:pt>
                <c:pt idx="1841">
                  <c:v>77.326999999999998</c:v>
                </c:pt>
                <c:pt idx="1842">
                  <c:v>77.326999999999998</c:v>
                </c:pt>
                <c:pt idx="1843">
                  <c:v>77.326999999999998</c:v>
                </c:pt>
                <c:pt idx="1844">
                  <c:v>77.326999999999998</c:v>
                </c:pt>
                <c:pt idx="1845">
                  <c:v>77.326999999999998</c:v>
                </c:pt>
                <c:pt idx="1846">
                  <c:v>80.632999999999996</c:v>
                </c:pt>
                <c:pt idx="1847">
                  <c:v>80.632999999999996</c:v>
                </c:pt>
                <c:pt idx="1848">
                  <c:v>80.632999999999996</c:v>
                </c:pt>
                <c:pt idx="1849">
                  <c:v>80.632999999999996</c:v>
                </c:pt>
                <c:pt idx="1850">
                  <c:v>80.632999999999996</c:v>
                </c:pt>
                <c:pt idx="1851">
                  <c:v>86.787000000000006</c:v>
                </c:pt>
                <c:pt idx="1852">
                  <c:v>86.787000000000006</c:v>
                </c:pt>
                <c:pt idx="1853">
                  <c:v>86.787000000000006</c:v>
                </c:pt>
                <c:pt idx="1854">
                  <c:v>86.787000000000006</c:v>
                </c:pt>
                <c:pt idx="1855">
                  <c:v>86.787000000000006</c:v>
                </c:pt>
                <c:pt idx="1856">
                  <c:v>88.631</c:v>
                </c:pt>
                <c:pt idx="1857">
                  <c:v>88.631</c:v>
                </c:pt>
                <c:pt idx="1858">
                  <c:v>88.631</c:v>
                </c:pt>
                <c:pt idx="1859">
                  <c:v>88.631</c:v>
                </c:pt>
                <c:pt idx="1860">
                  <c:v>88.631</c:v>
                </c:pt>
                <c:pt idx="1861">
                  <c:v>89.230999999999995</c:v>
                </c:pt>
                <c:pt idx="1862">
                  <c:v>89.230999999999995</c:v>
                </c:pt>
                <c:pt idx="1863">
                  <c:v>89.230999999999995</c:v>
                </c:pt>
                <c:pt idx="1864">
                  <c:v>89.230999999999995</c:v>
                </c:pt>
                <c:pt idx="1865">
                  <c:v>89.230999999999995</c:v>
                </c:pt>
                <c:pt idx="1866">
                  <c:v>91.311999999999998</c:v>
                </c:pt>
                <c:pt idx="1867">
                  <c:v>91.311999999999998</c:v>
                </c:pt>
                <c:pt idx="1868">
                  <c:v>91.311999999999998</c:v>
                </c:pt>
                <c:pt idx="1869">
                  <c:v>91.311999999999998</c:v>
                </c:pt>
                <c:pt idx="1870">
                  <c:v>91.311999999999998</c:v>
                </c:pt>
                <c:pt idx="1871">
                  <c:v>93.584999999999994</c:v>
                </c:pt>
                <c:pt idx="1872">
                  <c:v>93.584999999999994</c:v>
                </c:pt>
                <c:pt idx="1873">
                  <c:v>93.584999999999994</c:v>
                </c:pt>
                <c:pt idx="1874">
                  <c:v>93.584999999999994</c:v>
                </c:pt>
                <c:pt idx="1875">
                  <c:v>93.584999999999994</c:v>
                </c:pt>
                <c:pt idx="1876">
                  <c:v>94.114999999999995</c:v>
                </c:pt>
                <c:pt idx="1877">
                  <c:v>94.114999999999995</c:v>
                </c:pt>
                <c:pt idx="1878">
                  <c:v>94.114999999999995</c:v>
                </c:pt>
                <c:pt idx="1879">
                  <c:v>94.114999999999995</c:v>
                </c:pt>
                <c:pt idx="1880">
                  <c:v>94.114999999999995</c:v>
                </c:pt>
                <c:pt idx="1881">
                  <c:v>94.165999999999997</c:v>
                </c:pt>
                <c:pt idx="1882">
                  <c:v>94.165999999999997</c:v>
                </c:pt>
                <c:pt idx="1883">
                  <c:v>94.165999999999997</c:v>
                </c:pt>
                <c:pt idx="1884">
                  <c:v>94.165999999999997</c:v>
                </c:pt>
                <c:pt idx="1885">
                  <c:v>94.165999999999997</c:v>
                </c:pt>
                <c:pt idx="1886">
                  <c:v>94.153000000000006</c:v>
                </c:pt>
                <c:pt idx="1887">
                  <c:v>94.153000000000006</c:v>
                </c:pt>
                <c:pt idx="1888">
                  <c:v>94.153000000000006</c:v>
                </c:pt>
                <c:pt idx="1889">
                  <c:v>94.153000000000006</c:v>
                </c:pt>
                <c:pt idx="1890">
                  <c:v>94.153000000000006</c:v>
                </c:pt>
                <c:pt idx="1891">
                  <c:v>95.819000000000003</c:v>
                </c:pt>
                <c:pt idx="1892">
                  <c:v>95.819000000000003</c:v>
                </c:pt>
                <c:pt idx="1893">
                  <c:v>95.819000000000003</c:v>
                </c:pt>
                <c:pt idx="1894">
                  <c:v>95.819000000000003</c:v>
                </c:pt>
                <c:pt idx="1895">
                  <c:v>95.819000000000003</c:v>
                </c:pt>
                <c:pt idx="1896">
                  <c:v>95.888999999999996</c:v>
                </c:pt>
                <c:pt idx="1897">
                  <c:v>95.888999999999996</c:v>
                </c:pt>
                <c:pt idx="1898">
                  <c:v>95.888999999999996</c:v>
                </c:pt>
                <c:pt idx="1899">
                  <c:v>95.888999999999996</c:v>
                </c:pt>
                <c:pt idx="1900">
                  <c:v>95.888999999999996</c:v>
                </c:pt>
                <c:pt idx="1901">
                  <c:v>95.161000000000001</c:v>
                </c:pt>
                <c:pt idx="1902">
                  <c:v>95.161000000000001</c:v>
                </c:pt>
                <c:pt idx="1903">
                  <c:v>95.161000000000001</c:v>
                </c:pt>
                <c:pt idx="1904">
                  <c:v>95.161000000000001</c:v>
                </c:pt>
                <c:pt idx="1905">
                  <c:v>95.161000000000001</c:v>
                </c:pt>
                <c:pt idx="1906">
                  <c:v>94.887</c:v>
                </c:pt>
                <c:pt idx="1907">
                  <c:v>94.887</c:v>
                </c:pt>
                <c:pt idx="1908">
                  <c:v>94.887</c:v>
                </c:pt>
                <c:pt idx="1909">
                  <c:v>94.887</c:v>
                </c:pt>
                <c:pt idx="1910">
                  <c:v>94.887</c:v>
                </c:pt>
                <c:pt idx="1911">
                  <c:v>95.978999999999999</c:v>
                </c:pt>
                <c:pt idx="1912">
                  <c:v>95.978999999999999</c:v>
                </c:pt>
                <c:pt idx="1913">
                  <c:v>95.978999999999999</c:v>
                </c:pt>
                <c:pt idx="1914">
                  <c:v>95.978999999999999</c:v>
                </c:pt>
                <c:pt idx="1915">
                  <c:v>95.978999999999999</c:v>
                </c:pt>
                <c:pt idx="1916">
                  <c:v>99.022999999999996</c:v>
                </c:pt>
                <c:pt idx="1917">
                  <c:v>99.022999999999996</c:v>
                </c:pt>
                <c:pt idx="1918">
                  <c:v>99.022999999999996</c:v>
                </c:pt>
                <c:pt idx="1919">
                  <c:v>99.022999999999996</c:v>
                </c:pt>
                <c:pt idx="1920">
                  <c:v>99.022999999999996</c:v>
                </c:pt>
                <c:pt idx="1921">
                  <c:v>100.696</c:v>
                </c:pt>
                <c:pt idx="1922">
                  <c:v>100.696</c:v>
                </c:pt>
                <c:pt idx="1923">
                  <c:v>100.696</c:v>
                </c:pt>
                <c:pt idx="1924">
                  <c:v>100.696</c:v>
                </c:pt>
                <c:pt idx="1925">
                  <c:v>100.696</c:v>
                </c:pt>
                <c:pt idx="1926">
                  <c:v>102.158</c:v>
                </c:pt>
                <c:pt idx="1927">
                  <c:v>102.158</c:v>
                </c:pt>
                <c:pt idx="1928">
                  <c:v>102.158</c:v>
                </c:pt>
                <c:pt idx="1929">
                  <c:v>102.158</c:v>
                </c:pt>
                <c:pt idx="1930">
                  <c:v>102.158</c:v>
                </c:pt>
                <c:pt idx="1931">
                  <c:v>101.947</c:v>
                </c:pt>
                <c:pt idx="1932">
                  <c:v>101.947</c:v>
                </c:pt>
                <c:pt idx="1933">
                  <c:v>101.947</c:v>
                </c:pt>
                <c:pt idx="1934">
                  <c:v>101.947</c:v>
                </c:pt>
                <c:pt idx="1935">
                  <c:v>101.947</c:v>
                </c:pt>
                <c:pt idx="1936">
                  <c:v>104.82599999999999</c:v>
                </c:pt>
                <c:pt idx="1937">
                  <c:v>104.82599999999999</c:v>
                </c:pt>
                <c:pt idx="1938">
                  <c:v>104.82599999999999</c:v>
                </c:pt>
                <c:pt idx="1939">
                  <c:v>104.82599999999999</c:v>
                </c:pt>
                <c:pt idx="1940">
                  <c:v>104.82599999999999</c:v>
                </c:pt>
                <c:pt idx="1941">
                  <c:v>105.47</c:v>
                </c:pt>
                <c:pt idx="1942">
                  <c:v>105.47</c:v>
                </c:pt>
                <c:pt idx="1943">
                  <c:v>105.47</c:v>
                </c:pt>
                <c:pt idx="1944">
                  <c:v>105.47</c:v>
                </c:pt>
                <c:pt idx="1945">
                  <c:v>105.47</c:v>
                </c:pt>
                <c:pt idx="1946">
                  <c:v>105.79</c:v>
                </c:pt>
                <c:pt idx="1947">
                  <c:v>105.79</c:v>
                </c:pt>
                <c:pt idx="1948">
                  <c:v>105.79</c:v>
                </c:pt>
                <c:pt idx="1949">
                  <c:v>105.79</c:v>
                </c:pt>
                <c:pt idx="1950">
                  <c:v>105.79</c:v>
                </c:pt>
                <c:pt idx="1951">
                  <c:v>105.85299999999999</c:v>
                </c:pt>
                <c:pt idx="1952">
                  <c:v>105.85299999999999</c:v>
                </c:pt>
                <c:pt idx="1953">
                  <c:v>105.85299999999999</c:v>
                </c:pt>
                <c:pt idx="1954">
                  <c:v>105.85299999999999</c:v>
                </c:pt>
                <c:pt idx="1955">
                  <c:v>105.85299999999999</c:v>
                </c:pt>
                <c:pt idx="1956">
                  <c:v>108.35599999999999</c:v>
                </c:pt>
                <c:pt idx="1957">
                  <c:v>108.35599999999999</c:v>
                </c:pt>
                <c:pt idx="1958">
                  <c:v>108.35599999999999</c:v>
                </c:pt>
                <c:pt idx="1959">
                  <c:v>108.35599999999999</c:v>
                </c:pt>
                <c:pt idx="1960">
                  <c:v>108.35599999999999</c:v>
                </c:pt>
                <c:pt idx="1961">
                  <c:v>108.63</c:v>
                </c:pt>
                <c:pt idx="1962">
                  <c:v>108.63</c:v>
                </c:pt>
                <c:pt idx="1963">
                  <c:v>108.63</c:v>
                </c:pt>
                <c:pt idx="1964">
                  <c:v>108.63</c:v>
                </c:pt>
                <c:pt idx="1965">
                  <c:v>108.63</c:v>
                </c:pt>
                <c:pt idx="1966">
                  <c:v>109.447</c:v>
                </c:pt>
                <c:pt idx="1967">
                  <c:v>109.447</c:v>
                </c:pt>
                <c:pt idx="1968">
                  <c:v>109.447</c:v>
                </c:pt>
                <c:pt idx="1969">
                  <c:v>109.447</c:v>
                </c:pt>
                <c:pt idx="1970">
                  <c:v>109.447</c:v>
                </c:pt>
                <c:pt idx="1971">
                  <c:v>109.73399999999999</c:v>
                </c:pt>
                <c:pt idx="1972">
                  <c:v>109.73399999999999</c:v>
                </c:pt>
                <c:pt idx="1973">
                  <c:v>109.73399999999999</c:v>
                </c:pt>
                <c:pt idx="1974">
                  <c:v>109.73399999999999</c:v>
                </c:pt>
                <c:pt idx="1975">
                  <c:v>109.73399999999999</c:v>
                </c:pt>
                <c:pt idx="1976">
                  <c:v>110.392</c:v>
                </c:pt>
                <c:pt idx="1977">
                  <c:v>110.392</c:v>
                </c:pt>
                <c:pt idx="1978">
                  <c:v>110.392</c:v>
                </c:pt>
                <c:pt idx="1979">
                  <c:v>110.392</c:v>
                </c:pt>
                <c:pt idx="1980">
                  <c:v>110.392</c:v>
                </c:pt>
                <c:pt idx="1981">
                  <c:v>116.124</c:v>
                </c:pt>
                <c:pt idx="1982">
                  <c:v>116.124</c:v>
                </c:pt>
                <c:pt idx="1983">
                  <c:v>116.124</c:v>
                </c:pt>
                <c:pt idx="1984">
                  <c:v>116.124</c:v>
                </c:pt>
                <c:pt idx="1985">
                  <c:v>116.124</c:v>
                </c:pt>
                <c:pt idx="1986">
                  <c:v>117.752</c:v>
                </c:pt>
                <c:pt idx="1987">
                  <c:v>117.752</c:v>
                </c:pt>
                <c:pt idx="1988">
                  <c:v>117.752</c:v>
                </c:pt>
                <c:pt idx="1989">
                  <c:v>117.752</c:v>
                </c:pt>
                <c:pt idx="1990">
                  <c:v>117.752</c:v>
                </c:pt>
                <c:pt idx="1991">
                  <c:v>117.879</c:v>
                </c:pt>
                <c:pt idx="1992">
                  <c:v>117.879</c:v>
                </c:pt>
                <c:pt idx="1993">
                  <c:v>117.879</c:v>
                </c:pt>
                <c:pt idx="1994">
                  <c:v>117.879</c:v>
                </c:pt>
                <c:pt idx="1995">
                  <c:v>117.879</c:v>
                </c:pt>
                <c:pt idx="1996">
                  <c:v>117.35</c:v>
                </c:pt>
                <c:pt idx="1997">
                  <c:v>117.35</c:v>
                </c:pt>
                <c:pt idx="1998">
                  <c:v>117.35</c:v>
                </c:pt>
                <c:pt idx="1999">
                  <c:v>117.35</c:v>
                </c:pt>
                <c:pt idx="2000">
                  <c:v>117.35</c:v>
                </c:pt>
                <c:pt idx="2001">
                  <c:v>120.286</c:v>
                </c:pt>
                <c:pt idx="2002">
                  <c:v>120.286</c:v>
                </c:pt>
                <c:pt idx="2003">
                  <c:v>120.286</c:v>
                </c:pt>
                <c:pt idx="2004">
                  <c:v>120.286</c:v>
                </c:pt>
                <c:pt idx="2005">
                  <c:v>120.286</c:v>
                </c:pt>
                <c:pt idx="2006">
                  <c:v>120.892</c:v>
                </c:pt>
                <c:pt idx="2007">
                  <c:v>120.892</c:v>
                </c:pt>
                <c:pt idx="2008">
                  <c:v>120.892</c:v>
                </c:pt>
                <c:pt idx="2009">
                  <c:v>120.892</c:v>
                </c:pt>
                <c:pt idx="2010">
                  <c:v>120.892</c:v>
                </c:pt>
                <c:pt idx="2011">
                  <c:v>121.48</c:v>
                </c:pt>
                <c:pt idx="2012">
                  <c:v>121.48</c:v>
                </c:pt>
                <c:pt idx="2013">
                  <c:v>121.48</c:v>
                </c:pt>
                <c:pt idx="2014">
                  <c:v>121.48</c:v>
                </c:pt>
                <c:pt idx="2015">
                  <c:v>121.48</c:v>
                </c:pt>
                <c:pt idx="2016">
                  <c:v>121.729</c:v>
                </c:pt>
                <c:pt idx="2017">
                  <c:v>121.729</c:v>
                </c:pt>
                <c:pt idx="2018">
                  <c:v>121.729</c:v>
                </c:pt>
                <c:pt idx="2019">
                  <c:v>121.729</c:v>
                </c:pt>
                <c:pt idx="2020">
                  <c:v>121.729</c:v>
                </c:pt>
                <c:pt idx="2021">
                  <c:v>121.071</c:v>
                </c:pt>
                <c:pt idx="2022">
                  <c:v>121.071</c:v>
                </c:pt>
                <c:pt idx="2023">
                  <c:v>121.071</c:v>
                </c:pt>
                <c:pt idx="2024">
                  <c:v>121.071</c:v>
                </c:pt>
                <c:pt idx="2025">
                  <c:v>121.071</c:v>
                </c:pt>
                <c:pt idx="2026">
                  <c:v>125.093</c:v>
                </c:pt>
                <c:pt idx="2027">
                  <c:v>125.093</c:v>
                </c:pt>
                <c:pt idx="2028">
                  <c:v>125.093</c:v>
                </c:pt>
                <c:pt idx="2029">
                  <c:v>125.093</c:v>
                </c:pt>
                <c:pt idx="2030">
                  <c:v>125.093</c:v>
                </c:pt>
                <c:pt idx="2031">
                  <c:v>125.63500000000001</c:v>
                </c:pt>
                <c:pt idx="2032">
                  <c:v>125.63500000000001</c:v>
                </c:pt>
                <c:pt idx="2033">
                  <c:v>125.63500000000001</c:v>
                </c:pt>
                <c:pt idx="2034">
                  <c:v>125.63500000000001</c:v>
                </c:pt>
                <c:pt idx="2035">
                  <c:v>125.63500000000001</c:v>
                </c:pt>
                <c:pt idx="2036">
                  <c:v>126.005</c:v>
                </c:pt>
                <c:pt idx="2037">
                  <c:v>126.005</c:v>
                </c:pt>
                <c:pt idx="2038">
                  <c:v>126.005</c:v>
                </c:pt>
                <c:pt idx="2039">
                  <c:v>126.005</c:v>
                </c:pt>
                <c:pt idx="2040">
                  <c:v>126.005</c:v>
                </c:pt>
                <c:pt idx="2041">
                  <c:v>127.914</c:v>
                </c:pt>
                <c:pt idx="2042">
                  <c:v>127.914</c:v>
                </c:pt>
                <c:pt idx="2043">
                  <c:v>127.914</c:v>
                </c:pt>
                <c:pt idx="2044">
                  <c:v>127.914</c:v>
                </c:pt>
                <c:pt idx="2045">
                  <c:v>127.914</c:v>
                </c:pt>
                <c:pt idx="2046">
                  <c:v>132.07599999999999</c:v>
                </c:pt>
                <c:pt idx="2047">
                  <c:v>132.07599999999999</c:v>
                </c:pt>
                <c:pt idx="2048">
                  <c:v>132.07599999999999</c:v>
                </c:pt>
                <c:pt idx="2049">
                  <c:v>132.07599999999999</c:v>
                </c:pt>
                <c:pt idx="2050">
                  <c:v>132.07599999999999</c:v>
                </c:pt>
                <c:pt idx="2051">
                  <c:v>133.43600000000001</c:v>
                </c:pt>
                <c:pt idx="2052">
                  <c:v>133.43600000000001</c:v>
                </c:pt>
                <c:pt idx="2053">
                  <c:v>133.43600000000001</c:v>
                </c:pt>
                <c:pt idx="2054">
                  <c:v>133.43600000000001</c:v>
                </c:pt>
                <c:pt idx="2055">
                  <c:v>133.43600000000001</c:v>
                </c:pt>
                <c:pt idx="2056">
                  <c:v>135.714</c:v>
                </c:pt>
                <c:pt idx="2057">
                  <c:v>135.714</c:v>
                </c:pt>
                <c:pt idx="2058">
                  <c:v>135.714</c:v>
                </c:pt>
                <c:pt idx="2059">
                  <c:v>135.714</c:v>
                </c:pt>
                <c:pt idx="2060">
                  <c:v>135.714</c:v>
                </c:pt>
                <c:pt idx="2061">
                  <c:v>136.065</c:v>
                </c:pt>
                <c:pt idx="2062">
                  <c:v>136.065</c:v>
                </c:pt>
                <c:pt idx="2063">
                  <c:v>136.065</c:v>
                </c:pt>
                <c:pt idx="2064">
                  <c:v>136.065</c:v>
                </c:pt>
                <c:pt idx="2065">
                  <c:v>136.065</c:v>
                </c:pt>
                <c:pt idx="2066">
                  <c:v>140.304</c:v>
                </c:pt>
                <c:pt idx="2067">
                  <c:v>140.304</c:v>
                </c:pt>
                <c:pt idx="2068">
                  <c:v>140.304</c:v>
                </c:pt>
                <c:pt idx="2069">
                  <c:v>140.304</c:v>
                </c:pt>
                <c:pt idx="2070">
                  <c:v>140.304</c:v>
                </c:pt>
                <c:pt idx="2071">
                  <c:v>140.76300000000001</c:v>
                </c:pt>
                <c:pt idx="2072">
                  <c:v>140.76300000000001</c:v>
                </c:pt>
                <c:pt idx="2073">
                  <c:v>140.76300000000001</c:v>
                </c:pt>
                <c:pt idx="2074">
                  <c:v>140.76300000000001</c:v>
                </c:pt>
                <c:pt idx="2075">
                  <c:v>140.76300000000001</c:v>
                </c:pt>
                <c:pt idx="2076">
                  <c:v>141.523</c:v>
                </c:pt>
                <c:pt idx="2077">
                  <c:v>141.523</c:v>
                </c:pt>
                <c:pt idx="2078">
                  <c:v>141.523</c:v>
                </c:pt>
                <c:pt idx="2079">
                  <c:v>141.523</c:v>
                </c:pt>
                <c:pt idx="2080">
                  <c:v>141.523</c:v>
                </c:pt>
                <c:pt idx="2081">
                  <c:v>140.61699999999999</c:v>
                </c:pt>
                <c:pt idx="2082">
                  <c:v>140.61699999999999</c:v>
                </c:pt>
                <c:pt idx="2083">
                  <c:v>140.61699999999999</c:v>
                </c:pt>
                <c:pt idx="2084">
                  <c:v>140.61699999999999</c:v>
                </c:pt>
                <c:pt idx="2085">
                  <c:v>140.61699999999999</c:v>
                </c:pt>
                <c:pt idx="2086">
                  <c:v>140.94200000000001</c:v>
                </c:pt>
                <c:pt idx="2087">
                  <c:v>140.94200000000001</c:v>
                </c:pt>
                <c:pt idx="2088">
                  <c:v>140.94200000000001</c:v>
                </c:pt>
                <c:pt idx="2089">
                  <c:v>140.94200000000001</c:v>
                </c:pt>
                <c:pt idx="2090">
                  <c:v>140.94200000000001</c:v>
                </c:pt>
                <c:pt idx="2091">
                  <c:v>141.77199999999999</c:v>
                </c:pt>
                <c:pt idx="2092">
                  <c:v>141.77199999999999</c:v>
                </c:pt>
                <c:pt idx="2093">
                  <c:v>141.77199999999999</c:v>
                </c:pt>
                <c:pt idx="2094">
                  <c:v>141.77199999999999</c:v>
                </c:pt>
                <c:pt idx="2095">
                  <c:v>141.77199999999999</c:v>
                </c:pt>
                <c:pt idx="2096">
                  <c:v>141.76599999999999</c:v>
                </c:pt>
                <c:pt idx="2097">
                  <c:v>141.76599999999999</c:v>
                </c:pt>
                <c:pt idx="2098">
                  <c:v>141.76599999999999</c:v>
                </c:pt>
                <c:pt idx="2099">
                  <c:v>141.76599999999999</c:v>
                </c:pt>
                <c:pt idx="2100">
                  <c:v>141.76599999999999</c:v>
                </c:pt>
                <c:pt idx="2101">
                  <c:v>141.68299999999999</c:v>
                </c:pt>
                <c:pt idx="2102">
                  <c:v>141.68299999999999</c:v>
                </c:pt>
                <c:pt idx="2103">
                  <c:v>141.68299999999999</c:v>
                </c:pt>
                <c:pt idx="2104">
                  <c:v>141.68299999999999</c:v>
                </c:pt>
                <c:pt idx="2105">
                  <c:v>141.68299999999999</c:v>
                </c:pt>
                <c:pt idx="2106">
                  <c:v>142.53800000000001</c:v>
                </c:pt>
                <c:pt idx="2107">
                  <c:v>142.53800000000001</c:v>
                </c:pt>
                <c:pt idx="2108">
                  <c:v>142.53800000000001</c:v>
                </c:pt>
                <c:pt idx="2109">
                  <c:v>142.53800000000001</c:v>
                </c:pt>
                <c:pt idx="2110">
                  <c:v>142.53800000000001</c:v>
                </c:pt>
                <c:pt idx="2111">
                  <c:v>144.74</c:v>
                </c:pt>
                <c:pt idx="2112">
                  <c:v>144.74</c:v>
                </c:pt>
                <c:pt idx="2113">
                  <c:v>144.74</c:v>
                </c:pt>
                <c:pt idx="2114">
                  <c:v>144.74</c:v>
                </c:pt>
                <c:pt idx="2115">
                  <c:v>144.74</c:v>
                </c:pt>
                <c:pt idx="2116">
                  <c:v>144.97</c:v>
                </c:pt>
                <c:pt idx="2117">
                  <c:v>144.97</c:v>
                </c:pt>
                <c:pt idx="2118">
                  <c:v>144.97</c:v>
                </c:pt>
                <c:pt idx="2119">
                  <c:v>144.97</c:v>
                </c:pt>
                <c:pt idx="2120">
                  <c:v>144.97</c:v>
                </c:pt>
                <c:pt idx="2121">
                  <c:v>143.33600000000001</c:v>
                </c:pt>
                <c:pt idx="2122">
                  <c:v>143.33600000000001</c:v>
                </c:pt>
                <c:pt idx="2123">
                  <c:v>143.33600000000001</c:v>
                </c:pt>
                <c:pt idx="2124">
                  <c:v>143.33600000000001</c:v>
                </c:pt>
                <c:pt idx="2125">
                  <c:v>143.33600000000001</c:v>
                </c:pt>
                <c:pt idx="2126">
                  <c:v>142.155</c:v>
                </c:pt>
                <c:pt idx="2127">
                  <c:v>142.155</c:v>
                </c:pt>
                <c:pt idx="2128">
                  <c:v>142.155</c:v>
                </c:pt>
                <c:pt idx="2129">
                  <c:v>142.155</c:v>
                </c:pt>
                <c:pt idx="2130">
                  <c:v>142.155</c:v>
                </c:pt>
                <c:pt idx="2131">
                  <c:v>143.227</c:v>
                </c:pt>
                <c:pt idx="2132">
                  <c:v>143.227</c:v>
                </c:pt>
                <c:pt idx="2133">
                  <c:v>143.227</c:v>
                </c:pt>
                <c:pt idx="2134">
                  <c:v>143.227</c:v>
                </c:pt>
                <c:pt idx="2135">
                  <c:v>143.227</c:v>
                </c:pt>
                <c:pt idx="2136">
                  <c:v>143.834</c:v>
                </c:pt>
                <c:pt idx="2137">
                  <c:v>143.834</c:v>
                </c:pt>
                <c:pt idx="2138">
                  <c:v>143.834</c:v>
                </c:pt>
                <c:pt idx="2139">
                  <c:v>143.834</c:v>
                </c:pt>
                <c:pt idx="2140">
                  <c:v>143.834</c:v>
                </c:pt>
                <c:pt idx="2141">
                  <c:v>143.33600000000001</c:v>
                </c:pt>
                <c:pt idx="2142">
                  <c:v>143.33600000000001</c:v>
                </c:pt>
                <c:pt idx="2143">
                  <c:v>143.33600000000001</c:v>
                </c:pt>
                <c:pt idx="2144">
                  <c:v>143.33600000000001</c:v>
                </c:pt>
                <c:pt idx="2145">
                  <c:v>143.33600000000001</c:v>
                </c:pt>
                <c:pt idx="2146">
                  <c:v>143.96100000000001</c:v>
                </c:pt>
                <c:pt idx="2147">
                  <c:v>143.96100000000001</c:v>
                </c:pt>
                <c:pt idx="2148">
                  <c:v>143.96100000000001</c:v>
                </c:pt>
                <c:pt idx="2149">
                  <c:v>143.96100000000001</c:v>
                </c:pt>
                <c:pt idx="2150">
                  <c:v>143.96100000000001</c:v>
                </c:pt>
                <c:pt idx="2151">
                  <c:v>143.304</c:v>
                </c:pt>
                <c:pt idx="2152">
                  <c:v>143.304</c:v>
                </c:pt>
                <c:pt idx="2153">
                  <c:v>143.304</c:v>
                </c:pt>
                <c:pt idx="2154">
                  <c:v>143.304</c:v>
                </c:pt>
                <c:pt idx="2155">
                  <c:v>143.304</c:v>
                </c:pt>
                <c:pt idx="2156">
                  <c:v>143.59100000000001</c:v>
                </c:pt>
                <c:pt idx="2157">
                  <c:v>143.59100000000001</c:v>
                </c:pt>
                <c:pt idx="2158">
                  <c:v>143.59100000000001</c:v>
                </c:pt>
                <c:pt idx="2159">
                  <c:v>143.59100000000001</c:v>
                </c:pt>
                <c:pt idx="2160">
                  <c:v>143.59100000000001</c:v>
                </c:pt>
                <c:pt idx="2161">
                  <c:v>143.52099999999999</c:v>
                </c:pt>
                <c:pt idx="2162">
                  <c:v>143.52099999999999</c:v>
                </c:pt>
                <c:pt idx="2163">
                  <c:v>143.52099999999999</c:v>
                </c:pt>
                <c:pt idx="2164">
                  <c:v>143.52099999999999</c:v>
                </c:pt>
                <c:pt idx="2165">
                  <c:v>143.52099999999999</c:v>
                </c:pt>
                <c:pt idx="2166">
                  <c:v>142.63999999999999</c:v>
                </c:pt>
                <c:pt idx="2167">
                  <c:v>142.63999999999999</c:v>
                </c:pt>
                <c:pt idx="2168">
                  <c:v>142.63999999999999</c:v>
                </c:pt>
                <c:pt idx="2169">
                  <c:v>142.63999999999999</c:v>
                </c:pt>
                <c:pt idx="2170">
                  <c:v>142.63999999999999</c:v>
                </c:pt>
                <c:pt idx="2171">
                  <c:v>143.304</c:v>
                </c:pt>
                <c:pt idx="2172">
                  <c:v>143.304</c:v>
                </c:pt>
                <c:pt idx="2173">
                  <c:v>143.304</c:v>
                </c:pt>
                <c:pt idx="2174">
                  <c:v>143.304</c:v>
                </c:pt>
                <c:pt idx="2175">
                  <c:v>143.304</c:v>
                </c:pt>
                <c:pt idx="2176">
                  <c:v>143.45699999999999</c:v>
                </c:pt>
                <c:pt idx="2177">
                  <c:v>143.45699999999999</c:v>
                </c:pt>
                <c:pt idx="2178">
                  <c:v>143.45699999999999</c:v>
                </c:pt>
                <c:pt idx="2179">
                  <c:v>143.45699999999999</c:v>
                </c:pt>
                <c:pt idx="2180">
                  <c:v>143.45699999999999</c:v>
                </c:pt>
                <c:pt idx="2181">
                  <c:v>143.26599999999999</c:v>
                </c:pt>
                <c:pt idx="2182">
                  <c:v>143.26599999999999</c:v>
                </c:pt>
                <c:pt idx="2183">
                  <c:v>143.26599999999999</c:v>
                </c:pt>
                <c:pt idx="2184">
                  <c:v>143.26599999999999</c:v>
                </c:pt>
                <c:pt idx="2185">
                  <c:v>143.26599999999999</c:v>
                </c:pt>
                <c:pt idx="2186">
                  <c:v>144.447</c:v>
                </c:pt>
                <c:pt idx="2187">
                  <c:v>144.447</c:v>
                </c:pt>
                <c:pt idx="2188">
                  <c:v>144.447</c:v>
                </c:pt>
                <c:pt idx="2189">
                  <c:v>144.447</c:v>
                </c:pt>
                <c:pt idx="2190">
                  <c:v>144.447</c:v>
                </c:pt>
                <c:pt idx="2191">
                  <c:v>144.006</c:v>
                </c:pt>
                <c:pt idx="2192">
                  <c:v>144.006</c:v>
                </c:pt>
                <c:pt idx="2193">
                  <c:v>144.006</c:v>
                </c:pt>
                <c:pt idx="2194">
                  <c:v>144.006</c:v>
                </c:pt>
                <c:pt idx="2195">
                  <c:v>144.006</c:v>
                </c:pt>
                <c:pt idx="2196">
                  <c:v>143.84700000000001</c:v>
                </c:pt>
                <c:pt idx="2197">
                  <c:v>143.84700000000001</c:v>
                </c:pt>
                <c:pt idx="2198">
                  <c:v>143.84700000000001</c:v>
                </c:pt>
                <c:pt idx="2199">
                  <c:v>143.84700000000001</c:v>
                </c:pt>
                <c:pt idx="2200">
                  <c:v>143.84700000000001</c:v>
                </c:pt>
                <c:pt idx="2201">
                  <c:v>143.89099999999999</c:v>
                </c:pt>
                <c:pt idx="2202">
                  <c:v>143.89099999999999</c:v>
                </c:pt>
                <c:pt idx="2203">
                  <c:v>143.89099999999999</c:v>
                </c:pt>
                <c:pt idx="2204">
                  <c:v>143.89099999999999</c:v>
                </c:pt>
                <c:pt idx="2205">
                  <c:v>143.89099999999999</c:v>
                </c:pt>
                <c:pt idx="2206">
                  <c:v>143.904</c:v>
                </c:pt>
                <c:pt idx="2207">
                  <c:v>143.904</c:v>
                </c:pt>
                <c:pt idx="2208">
                  <c:v>143.904</c:v>
                </c:pt>
                <c:pt idx="2209">
                  <c:v>143.904</c:v>
                </c:pt>
                <c:pt idx="2210">
                  <c:v>143.904</c:v>
                </c:pt>
                <c:pt idx="2211">
                  <c:v>143.59100000000001</c:v>
                </c:pt>
                <c:pt idx="2212">
                  <c:v>143.59100000000001</c:v>
                </c:pt>
                <c:pt idx="2213">
                  <c:v>143.59100000000001</c:v>
                </c:pt>
                <c:pt idx="2214">
                  <c:v>143.59100000000001</c:v>
                </c:pt>
                <c:pt idx="2215">
                  <c:v>143.59100000000001</c:v>
                </c:pt>
                <c:pt idx="2216">
                  <c:v>143.59800000000001</c:v>
                </c:pt>
                <c:pt idx="2217">
                  <c:v>143.59800000000001</c:v>
                </c:pt>
                <c:pt idx="2218">
                  <c:v>143.59800000000001</c:v>
                </c:pt>
                <c:pt idx="2219">
                  <c:v>143.59800000000001</c:v>
                </c:pt>
                <c:pt idx="2220">
                  <c:v>143.59800000000001</c:v>
                </c:pt>
                <c:pt idx="2221">
                  <c:v>143.76400000000001</c:v>
                </c:pt>
                <c:pt idx="2222">
                  <c:v>143.76400000000001</c:v>
                </c:pt>
                <c:pt idx="2223">
                  <c:v>143.76400000000001</c:v>
                </c:pt>
                <c:pt idx="2224">
                  <c:v>143.76400000000001</c:v>
                </c:pt>
                <c:pt idx="2225">
                  <c:v>143.76400000000001</c:v>
                </c:pt>
                <c:pt idx="2226">
                  <c:v>144.58699999999999</c:v>
                </c:pt>
                <c:pt idx="2227">
                  <c:v>144.58699999999999</c:v>
                </c:pt>
                <c:pt idx="2228">
                  <c:v>144.58699999999999</c:v>
                </c:pt>
                <c:pt idx="2229">
                  <c:v>144.58699999999999</c:v>
                </c:pt>
                <c:pt idx="2230">
                  <c:v>144.58699999999999</c:v>
                </c:pt>
                <c:pt idx="2231">
                  <c:v>143.67400000000001</c:v>
                </c:pt>
                <c:pt idx="2232">
                  <c:v>143.67400000000001</c:v>
                </c:pt>
                <c:pt idx="2233">
                  <c:v>143.67400000000001</c:v>
                </c:pt>
                <c:pt idx="2234">
                  <c:v>143.67400000000001</c:v>
                </c:pt>
                <c:pt idx="2235">
                  <c:v>143.67400000000001</c:v>
                </c:pt>
                <c:pt idx="2236">
                  <c:v>144.58699999999999</c:v>
                </c:pt>
                <c:pt idx="2237">
                  <c:v>144.58699999999999</c:v>
                </c:pt>
                <c:pt idx="2238">
                  <c:v>144.58699999999999</c:v>
                </c:pt>
                <c:pt idx="2239">
                  <c:v>144.58699999999999</c:v>
                </c:pt>
                <c:pt idx="2240">
                  <c:v>144.58699999999999</c:v>
                </c:pt>
                <c:pt idx="2241">
                  <c:v>144.74</c:v>
                </c:pt>
                <c:pt idx="2242">
                  <c:v>144.74</c:v>
                </c:pt>
                <c:pt idx="2243">
                  <c:v>144.74</c:v>
                </c:pt>
                <c:pt idx="2244">
                  <c:v>144.74</c:v>
                </c:pt>
                <c:pt idx="2245">
                  <c:v>144.74</c:v>
                </c:pt>
                <c:pt idx="2246">
                  <c:v>144.893</c:v>
                </c:pt>
                <c:pt idx="2247">
                  <c:v>144.893</c:v>
                </c:pt>
                <c:pt idx="2248">
                  <c:v>144.893</c:v>
                </c:pt>
                <c:pt idx="2249">
                  <c:v>144.893</c:v>
                </c:pt>
                <c:pt idx="2250">
                  <c:v>144.893</c:v>
                </c:pt>
                <c:pt idx="2251">
                  <c:v>145.21899999999999</c:v>
                </c:pt>
                <c:pt idx="2252">
                  <c:v>145.21899999999999</c:v>
                </c:pt>
                <c:pt idx="2253">
                  <c:v>145.21899999999999</c:v>
                </c:pt>
                <c:pt idx="2254">
                  <c:v>145.21899999999999</c:v>
                </c:pt>
                <c:pt idx="2255">
                  <c:v>145.21899999999999</c:v>
                </c:pt>
                <c:pt idx="2256">
                  <c:v>145.845</c:v>
                </c:pt>
                <c:pt idx="2257">
                  <c:v>145.845</c:v>
                </c:pt>
                <c:pt idx="2258">
                  <c:v>145.845</c:v>
                </c:pt>
                <c:pt idx="2259">
                  <c:v>145.845</c:v>
                </c:pt>
                <c:pt idx="2260">
                  <c:v>145.845</c:v>
                </c:pt>
                <c:pt idx="2261">
                  <c:v>144.785</c:v>
                </c:pt>
                <c:pt idx="2262">
                  <c:v>144.785</c:v>
                </c:pt>
                <c:pt idx="2263">
                  <c:v>144.785</c:v>
                </c:pt>
                <c:pt idx="2264">
                  <c:v>144.785</c:v>
                </c:pt>
                <c:pt idx="2265">
                  <c:v>144.785</c:v>
                </c:pt>
                <c:pt idx="2266">
                  <c:v>145.37200000000001</c:v>
                </c:pt>
                <c:pt idx="2267">
                  <c:v>145.37200000000001</c:v>
                </c:pt>
                <c:pt idx="2268">
                  <c:v>145.37200000000001</c:v>
                </c:pt>
                <c:pt idx="2269">
                  <c:v>145.37200000000001</c:v>
                </c:pt>
                <c:pt idx="2270">
                  <c:v>145.37200000000001</c:v>
                </c:pt>
                <c:pt idx="2271">
                  <c:v>145.62700000000001</c:v>
                </c:pt>
                <c:pt idx="2272">
                  <c:v>145.62700000000001</c:v>
                </c:pt>
                <c:pt idx="2273">
                  <c:v>145.62700000000001</c:v>
                </c:pt>
                <c:pt idx="2274">
                  <c:v>145.62700000000001</c:v>
                </c:pt>
                <c:pt idx="2275">
                  <c:v>145.62700000000001</c:v>
                </c:pt>
                <c:pt idx="2276">
                  <c:v>144.53</c:v>
                </c:pt>
                <c:pt idx="2277">
                  <c:v>144.53</c:v>
                </c:pt>
                <c:pt idx="2278">
                  <c:v>144.53</c:v>
                </c:pt>
                <c:pt idx="2279">
                  <c:v>144.53</c:v>
                </c:pt>
                <c:pt idx="2280">
                  <c:v>144.53</c:v>
                </c:pt>
                <c:pt idx="2281">
                  <c:v>145.65899999999999</c:v>
                </c:pt>
                <c:pt idx="2282">
                  <c:v>145.65899999999999</c:v>
                </c:pt>
                <c:pt idx="2283">
                  <c:v>145.65899999999999</c:v>
                </c:pt>
                <c:pt idx="2284">
                  <c:v>145.65899999999999</c:v>
                </c:pt>
                <c:pt idx="2285">
                  <c:v>145.65899999999999</c:v>
                </c:pt>
                <c:pt idx="2286">
                  <c:v>144.57400000000001</c:v>
                </c:pt>
                <c:pt idx="2287">
                  <c:v>144.57400000000001</c:v>
                </c:pt>
                <c:pt idx="2288">
                  <c:v>144.57400000000001</c:v>
                </c:pt>
                <c:pt idx="2289">
                  <c:v>144.57400000000001</c:v>
                </c:pt>
                <c:pt idx="2290">
                  <c:v>144.57400000000001</c:v>
                </c:pt>
                <c:pt idx="2291">
                  <c:v>145.149</c:v>
                </c:pt>
                <c:pt idx="2292">
                  <c:v>145.149</c:v>
                </c:pt>
                <c:pt idx="2293">
                  <c:v>145.149</c:v>
                </c:pt>
                <c:pt idx="2294">
                  <c:v>145.149</c:v>
                </c:pt>
                <c:pt idx="2295">
                  <c:v>145.149</c:v>
                </c:pt>
                <c:pt idx="2296">
                  <c:v>143.95500000000001</c:v>
                </c:pt>
                <c:pt idx="2297">
                  <c:v>143.95500000000001</c:v>
                </c:pt>
                <c:pt idx="2298">
                  <c:v>143.95500000000001</c:v>
                </c:pt>
                <c:pt idx="2299">
                  <c:v>143.95500000000001</c:v>
                </c:pt>
                <c:pt idx="2300">
                  <c:v>143.95500000000001</c:v>
                </c:pt>
                <c:pt idx="2301">
                  <c:v>143.96799999999999</c:v>
                </c:pt>
                <c:pt idx="2302">
                  <c:v>143.96799999999999</c:v>
                </c:pt>
                <c:pt idx="2303">
                  <c:v>143.96799999999999</c:v>
                </c:pt>
                <c:pt idx="2304">
                  <c:v>143.96799999999999</c:v>
                </c:pt>
                <c:pt idx="2305">
                  <c:v>143.96799999999999</c:v>
                </c:pt>
                <c:pt idx="2306">
                  <c:v>144.03800000000001</c:v>
                </c:pt>
                <c:pt idx="2307">
                  <c:v>144.03800000000001</c:v>
                </c:pt>
                <c:pt idx="2308">
                  <c:v>144.03800000000001</c:v>
                </c:pt>
                <c:pt idx="2309">
                  <c:v>144.03800000000001</c:v>
                </c:pt>
                <c:pt idx="2310">
                  <c:v>144.03800000000001</c:v>
                </c:pt>
                <c:pt idx="2311">
                  <c:v>143.898</c:v>
                </c:pt>
                <c:pt idx="2312">
                  <c:v>143.898</c:v>
                </c:pt>
                <c:pt idx="2313">
                  <c:v>143.898</c:v>
                </c:pt>
                <c:pt idx="2314">
                  <c:v>143.898</c:v>
                </c:pt>
                <c:pt idx="2315">
                  <c:v>143.898</c:v>
                </c:pt>
                <c:pt idx="2316">
                  <c:v>143.834</c:v>
                </c:pt>
                <c:pt idx="2317">
                  <c:v>143.834</c:v>
                </c:pt>
                <c:pt idx="2318">
                  <c:v>143.834</c:v>
                </c:pt>
                <c:pt idx="2319">
                  <c:v>143.834</c:v>
                </c:pt>
                <c:pt idx="2320">
                  <c:v>143.834</c:v>
                </c:pt>
                <c:pt idx="2321">
                  <c:v>143.41200000000001</c:v>
                </c:pt>
                <c:pt idx="2322">
                  <c:v>143.41200000000001</c:v>
                </c:pt>
                <c:pt idx="2323">
                  <c:v>143.41200000000001</c:v>
                </c:pt>
                <c:pt idx="2324">
                  <c:v>143.41200000000001</c:v>
                </c:pt>
                <c:pt idx="2325">
                  <c:v>143.41200000000001</c:v>
                </c:pt>
                <c:pt idx="2326">
                  <c:v>142.666</c:v>
                </c:pt>
                <c:pt idx="2327">
                  <c:v>142.666</c:v>
                </c:pt>
                <c:pt idx="2328">
                  <c:v>142.666</c:v>
                </c:pt>
                <c:pt idx="2329">
                  <c:v>142.666</c:v>
                </c:pt>
                <c:pt idx="2330">
                  <c:v>142.666</c:v>
                </c:pt>
                <c:pt idx="2331">
                  <c:v>142.25700000000001</c:v>
                </c:pt>
                <c:pt idx="2332">
                  <c:v>142.25700000000001</c:v>
                </c:pt>
                <c:pt idx="2333">
                  <c:v>142.25700000000001</c:v>
                </c:pt>
                <c:pt idx="2334">
                  <c:v>142.25700000000001</c:v>
                </c:pt>
                <c:pt idx="2335">
                  <c:v>142.25700000000001</c:v>
                </c:pt>
                <c:pt idx="2336">
                  <c:v>142.28299999999999</c:v>
                </c:pt>
                <c:pt idx="2337">
                  <c:v>142.28299999999999</c:v>
                </c:pt>
                <c:pt idx="2338">
                  <c:v>142.28299999999999</c:v>
                </c:pt>
                <c:pt idx="2339">
                  <c:v>142.28299999999999</c:v>
                </c:pt>
                <c:pt idx="2340">
                  <c:v>142.28299999999999</c:v>
                </c:pt>
                <c:pt idx="2341">
                  <c:v>140.86600000000001</c:v>
                </c:pt>
                <c:pt idx="2342">
                  <c:v>140.86600000000001</c:v>
                </c:pt>
                <c:pt idx="2343">
                  <c:v>140.86600000000001</c:v>
                </c:pt>
                <c:pt idx="2344">
                  <c:v>140.86600000000001</c:v>
                </c:pt>
                <c:pt idx="2345">
                  <c:v>140.86600000000001</c:v>
                </c:pt>
                <c:pt idx="2346">
                  <c:v>140.25299999999999</c:v>
                </c:pt>
                <c:pt idx="2347">
                  <c:v>140.25299999999999</c:v>
                </c:pt>
                <c:pt idx="2348">
                  <c:v>140.25299999999999</c:v>
                </c:pt>
                <c:pt idx="2349">
                  <c:v>140.25299999999999</c:v>
                </c:pt>
                <c:pt idx="2350">
                  <c:v>140.25299999999999</c:v>
                </c:pt>
                <c:pt idx="2351">
                  <c:v>143.34200000000001</c:v>
                </c:pt>
                <c:pt idx="2352">
                  <c:v>143.34200000000001</c:v>
                </c:pt>
                <c:pt idx="2353">
                  <c:v>143.34200000000001</c:v>
                </c:pt>
                <c:pt idx="2354">
                  <c:v>143.34200000000001</c:v>
                </c:pt>
                <c:pt idx="2355">
                  <c:v>143.34200000000001</c:v>
                </c:pt>
                <c:pt idx="2356">
                  <c:v>141.721</c:v>
                </c:pt>
                <c:pt idx="2357">
                  <c:v>141.721</c:v>
                </c:pt>
                <c:pt idx="2358">
                  <c:v>141.721</c:v>
                </c:pt>
                <c:pt idx="2359">
                  <c:v>141.721</c:v>
                </c:pt>
                <c:pt idx="2360">
                  <c:v>141.721</c:v>
                </c:pt>
                <c:pt idx="2361">
                  <c:v>141.006</c:v>
                </c:pt>
                <c:pt idx="2362">
                  <c:v>141.006</c:v>
                </c:pt>
                <c:pt idx="2363">
                  <c:v>141.006</c:v>
                </c:pt>
                <c:pt idx="2364">
                  <c:v>141.006</c:v>
                </c:pt>
                <c:pt idx="2365">
                  <c:v>141.006</c:v>
                </c:pt>
                <c:pt idx="2366">
                  <c:v>140.99299999999999</c:v>
                </c:pt>
                <c:pt idx="2367">
                  <c:v>140.99299999999999</c:v>
                </c:pt>
                <c:pt idx="2368">
                  <c:v>140.99299999999999</c:v>
                </c:pt>
                <c:pt idx="2369">
                  <c:v>140.99299999999999</c:v>
                </c:pt>
                <c:pt idx="2370">
                  <c:v>140.99299999999999</c:v>
                </c:pt>
                <c:pt idx="2371">
                  <c:v>141.97</c:v>
                </c:pt>
                <c:pt idx="2372">
                  <c:v>141.97</c:v>
                </c:pt>
                <c:pt idx="2373">
                  <c:v>141.97</c:v>
                </c:pt>
                <c:pt idx="2374">
                  <c:v>141.97</c:v>
                </c:pt>
                <c:pt idx="2375">
                  <c:v>141.97</c:v>
                </c:pt>
                <c:pt idx="2376">
                  <c:v>139.946</c:v>
                </c:pt>
                <c:pt idx="2377">
                  <c:v>139.946</c:v>
                </c:pt>
                <c:pt idx="2378">
                  <c:v>139.946</c:v>
                </c:pt>
                <c:pt idx="2379">
                  <c:v>139.946</c:v>
                </c:pt>
                <c:pt idx="2380">
                  <c:v>139.946</c:v>
                </c:pt>
                <c:pt idx="2381">
                  <c:v>140.52699999999999</c:v>
                </c:pt>
                <c:pt idx="2382">
                  <c:v>140.52699999999999</c:v>
                </c:pt>
                <c:pt idx="2383">
                  <c:v>140.52699999999999</c:v>
                </c:pt>
                <c:pt idx="2384">
                  <c:v>140.52699999999999</c:v>
                </c:pt>
                <c:pt idx="2385">
                  <c:v>140.52699999999999</c:v>
                </c:pt>
                <c:pt idx="2386">
                  <c:v>143.69300000000001</c:v>
                </c:pt>
                <c:pt idx="2387">
                  <c:v>143.69300000000001</c:v>
                </c:pt>
                <c:pt idx="2388">
                  <c:v>143.69300000000001</c:v>
                </c:pt>
                <c:pt idx="2389">
                  <c:v>143.69300000000001</c:v>
                </c:pt>
                <c:pt idx="2390">
                  <c:v>143.69300000000001</c:v>
                </c:pt>
                <c:pt idx="2391">
                  <c:v>148.39099999999999</c:v>
                </c:pt>
                <c:pt idx="2392">
                  <c:v>148.39099999999999</c:v>
                </c:pt>
                <c:pt idx="2393">
                  <c:v>148.39099999999999</c:v>
                </c:pt>
                <c:pt idx="2394">
                  <c:v>148.39099999999999</c:v>
                </c:pt>
                <c:pt idx="2395">
                  <c:v>148.39099999999999</c:v>
                </c:pt>
                <c:pt idx="2396">
                  <c:v>148.52500000000001</c:v>
                </c:pt>
                <c:pt idx="2397">
                  <c:v>148.52500000000001</c:v>
                </c:pt>
                <c:pt idx="2398">
                  <c:v>148.52500000000001</c:v>
                </c:pt>
                <c:pt idx="2399">
                  <c:v>148.52500000000001</c:v>
                </c:pt>
                <c:pt idx="2400">
                  <c:v>148.52500000000001</c:v>
                </c:pt>
                <c:pt idx="2401">
                  <c:v>148.97900000000001</c:v>
                </c:pt>
                <c:pt idx="2402">
                  <c:v>148.97900000000001</c:v>
                </c:pt>
                <c:pt idx="2403">
                  <c:v>148.97900000000001</c:v>
                </c:pt>
                <c:pt idx="2404">
                  <c:v>148.97900000000001</c:v>
                </c:pt>
                <c:pt idx="2405">
                  <c:v>148.97900000000001</c:v>
                </c:pt>
                <c:pt idx="2406">
                  <c:v>149.86000000000001</c:v>
                </c:pt>
                <c:pt idx="2407">
                  <c:v>149.86000000000001</c:v>
                </c:pt>
                <c:pt idx="2408">
                  <c:v>149.86000000000001</c:v>
                </c:pt>
                <c:pt idx="2409">
                  <c:v>149.86000000000001</c:v>
                </c:pt>
                <c:pt idx="2410">
                  <c:v>149.86000000000001</c:v>
                </c:pt>
                <c:pt idx="2411">
                  <c:v>149.86000000000001</c:v>
                </c:pt>
                <c:pt idx="2412">
                  <c:v>149.86000000000001</c:v>
                </c:pt>
                <c:pt idx="2413">
                  <c:v>149.86000000000001</c:v>
                </c:pt>
                <c:pt idx="2414">
                  <c:v>149.86000000000001</c:v>
                </c:pt>
                <c:pt idx="2415">
                  <c:v>149.86000000000001</c:v>
                </c:pt>
                <c:pt idx="2416">
                  <c:v>152.04900000000001</c:v>
                </c:pt>
                <c:pt idx="2417">
                  <c:v>152.04900000000001</c:v>
                </c:pt>
                <c:pt idx="2418">
                  <c:v>152.04900000000001</c:v>
                </c:pt>
                <c:pt idx="2419">
                  <c:v>152.04900000000001</c:v>
                </c:pt>
                <c:pt idx="2420">
                  <c:v>152.04900000000001</c:v>
                </c:pt>
                <c:pt idx="2421">
                  <c:v>152.36799999999999</c:v>
                </c:pt>
                <c:pt idx="2422">
                  <c:v>152.36799999999999</c:v>
                </c:pt>
                <c:pt idx="2423">
                  <c:v>152.36799999999999</c:v>
                </c:pt>
                <c:pt idx="2424">
                  <c:v>152.36799999999999</c:v>
                </c:pt>
                <c:pt idx="2425">
                  <c:v>152.36799999999999</c:v>
                </c:pt>
                <c:pt idx="2426">
                  <c:v>152.49</c:v>
                </c:pt>
                <c:pt idx="2427">
                  <c:v>152.49</c:v>
                </c:pt>
                <c:pt idx="2428">
                  <c:v>152.49</c:v>
                </c:pt>
                <c:pt idx="2429">
                  <c:v>152.49</c:v>
                </c:pt>
                <c:pt idx="2430">
                  <c:v>152.49</c:v>
                </c:pt>
                <c:pt idx="2431">
                  <c:v>152.61699999999999</c:v>
                </c:pt>
                <c:pt idx="2432">
                  <c:v>152.61699999999999</c:v>
                </c:pt>
                <c:pt idx="2433">
                  <c:v>152.61699999999999</c:v>
                </c:pt>
                <c:pt idx="2434">
                  <c:v>152.61699999999999</c:v>
                </c:pt>
                <c:pt idx="2435">
                  <c:v>152.61699999999999</c:v>
                </c:pt>
                <c:pt idx="2436">
                  <c:v>155.809</c:v>
                </c:pt>
                <c:pt idx="2437">
                  <c:v>155.809</c:v>
                </c:pt>
                <c:pt idx="2438">
                  <c:v>155.809</c:v>
                </c:pt>
                <c:pt idx="2439">
                  <c:v>155.809</c:v>
                </c:pt>
                <c:pt idx="2440">
                  <c:v>155.809</c:v>
                </c:pt>
                <c:pt idx="2441">
                  <c:v>157.88300000000001</c:v>
                </c:pt>
                <c:pt idx="2442">
                  <c:v>157.88300000000001</c:v>
                </c:pt>
                <c:pt idx="2443">
                  <c:v>157.88300000000001</c:v>
                </c:pt>
                <c:pt idx="2444">
                  <c:v>157.88300000000001</c:v>
                </c:pt>
                <c:pt idx="2445">
                  <c:v>157.88300000000001</c:v>
                </c:pt>
                <c:pt idx="2446">
                  <c:v>158.23400000000001</c:v>
                </c:pt>
                <c:pt idx="2447">
                  <c:v>158.23400000000001</c:v>
                </c:pt>
                <c:pt idx="2448">
                  <c:v>158.23400000000001</c:v>
                </c:pt>
                <c:pt idx="2449">
                  <c:v>158.23400000000001</c:v>
                </c:pt>
                <c:pt idx="2450">
                  <c:v>158.23400000000001</c:v>
                </c:pt>
                <c:pt idx="2451">
                  <c:v>159.00700000000001</c:v>
                </c:pt>
                <c:pt idx="2452">
                  <c:v>159.00700000000001</c:v>
                </c:pt>
                <c:pt idx="2453">
                  <c:v>159.00700000000001</c:v>
                </c:pt>
                <c:pt idx="2454">
                  <c:v>159.00700000000001</c:v>
                </c:pt>
                <c:pt idx="2455">
                  <c:v>159.00700000000001</c:v>
                </c:pt>
                <c:pt idx="2456">
                  <c:v>162.10300000000001</c:v>
                </c:pt>
                <c:pt idx="2457">
                  <c:v>162.10300000000001</c:v>
                </c:pt>
                <c:pt idx="2458">
                  <c:v>162.10300000000001</c:v>
                </c:pt>
                <c:pt idx="2459">
                  <c:v>162.10300000000001</c:v>
                </c:pt>
                <c:pt idx="2460">
                  <c:v>162.10300000000001</c:v>
                </c:pt>
                <c:pt idx="2461">
                  <c:v>162.47300000000001</c:v>
                </c:pt>
                <c:pt idx="2462">
                  <c:v>162.47300000000001</c:v>
                </c:pt>
                <c:pt idx="2463">
                  <c:v>162.47300000000001</c:v>
                </c:pt>
                <c:pt idx="2464">
                  <c:v>162.47300000000001</c:v>
                </c:pt>
                <c:pt idx="2465">
                  <c:v>162.47300000000001</c:v>
                </c:pt>
                <c:pt idx="2466">
                  <c:v>166.999</c:v>
                </c:pt>
                <c:pt idx="2467">
                  <c:v>166.999</c:v>
                </c:pt>
                <c:pt idx="2468">
                  <c:v>166.999</c:v>
                </c:pt>
                <c:pt idx="2469">
                  <c:v>166.999</c:v>
                </c:pt>
                <c:pt idx="2470">
                  <c:v>166.999</c:v>
                </c:pt>
                <c:pt idx="2471">
                  <c:v>166.309</c:v>
                </c:pt>
                <c:pt idx="2472">
                  <c:v>166.309</c:v>
                </c:pt>
                <c:pt idx="2473">
                  <c:v>166.309</c:v>
                </c:pt>
                <c:pt idx="2474">
                  <c:v>166.309</c:v>
                </c:pt>
                <c:pt idx="2475">
                  <c:v>166.309</c:v>
                </c:pt>
                <c:pt idx="2476">
                  <c:v>166.07900000000001</c:v>
                </c:pt>
                <c:pt idx="2477">
                  <c:v>166.07900000000001</c:v>
                </c:pt>
                <c:pt idx="2478">
                  <c:v>166.07900000000001</c:v>
                </c:pt>
                <c:pt idx="2479">
                  <c:v>166.07900000000001</c:v>
                </c:pt>
                <c:pt idx="2480">
                  <c:v>166.07900000000001</c:v>
                </c:pt>
                <c:pt idx="2481">
                  <c:v>168.779</c:v>
                </c:pt>
                <c:pt idx="2482">
                  <c:v>168.779</c:v>
                </c:pt>
                <c:pt idx="2483">
                  <c:v>168.779</c:v>
                </c:pt>
                <c:pt idx="2484">
                  <c:v>168.779</c:v>
                </c:pt>
                <c:pt idx="2485">
                  <c:v>168.779</c:v>
                </c:pt>
                <c:pt idx="2486">
                  <c:v>168.73500000000001</c:v>
                </c:pt>
                <c:pt idx="2487">
                  <c:v>168.73500000000001</c:v>
                </c:pt>
                <c:pt idx="2488">
                  <c:v>168.73500000000001</c:v>
                </c:pt>
                <c:pt idx="2489">
                  <c:v>168.73500000000001</c:v>
                </c:pt>
                <c:pt idx="2490">
                  <c:v>168.73500000000001</c:v>
                </c:pt>
                <c:pt idx="2491">
                  <c:v>166.845</c:v>
                </c:pt>
                <c:pt idx="2492">
                  <c:v>166.845</c:v>
                </c:pt>
                <c:pt idx="2493">
                  <c:v>166.845</c:v>
                </c:pt>
                <c:pt idx="2494">
                  <c:v>166.845</c:v>
                </c:pt>
                <c:pt idx="2495">
                  <c:v>166.845</c:v>
                </c:pt>
                <c:pt idx="2496">
                  <c:v>168.85</c:v>
                </c:pt>
                <c:pt idx="2497">
                  <c:v>168.85</c:v>
                </c:pt>
                <c:pt idx="2498">
                  <c:v>168.85</c:v>
                </c:pt>
                <c:pt idx="2499">
                  <c:v>168.85</c:v>
                </c:pt>
                <c:pt idx="2500">
                  <c:v>168.85</c:v>
                </c:pt>
                <c:pt idx="2501">
                  <c:v>172.54599999999999</c:v>
                </c:pt>
                <c:pt idx="2502">
                  <c:v>172.54599999999999</c:v>
                </c:pt>
                <c:pt idx="2503">
                  <c:v>172.54599999999999</c:v>
                </c:pt>
                <c:pt idx="2504">
                  <c:v>172.54599999999999</c:v>
                </c:pt>
                <c:pt idx="2505">
                  <c:v>172.54599999999999</c:v>
                </c:pt>
                <c:pt idx="2506">
                  <c:v>173.101</c:v>
                </c:pt>
                <c:pt idx="2507">
                  <c:v>173.101</c:v>
                </c:pt>
                <c:pt idx="2508">
                  <c:v>173.101</c:v>
                </c:pt>
                <c:pt idx="2509">
                  <c:v>173.101</c:v>
                </c:pt>
                <c:pt idx="2510">
                  <c:v>173.101</c:v>
                </c:pt>
                <c:pt idx="2511">
                  <c:v>173.363</c:v>
                </c:pt>
                <c:pt idx="2512">
                  <c:v>173.363</c:v>
                </c:pt>
                <c:pt idx="2513">
                  <c:v>173.363</c:v>
                </c:pt>
                <c:pt idx="2514">
                  <c:v>173.363</c:v>
                </c:pt>
                <c:pt idx="2515">
                  <c:v>173.363</c:v>
                </c:pt>
                <c:pt idx="2516">
                  <c:v>173.84100000000001</c:v>
                </c:pt>
                <c:pt idx="2517">
                  <c:v>173.84100000000001</c:v>
                </c:pt>
                <c:pt idx="2518">
                  <c:v>173.84100000000001</c:v>
                </c:pt>
                <c:pt idx="2519">
                  <c:v>173.84100000000001</c:v>
                </c:pt>
                <c:pt idx="2520">
                  <c:v>173.84100000000001</c:v>
                </c:pt>
                <c:pt idx="2521">
                  <c:v>173.65</c:v>
                </c:pt>
                <c:pt idx="2522">
                  <c:v>173.65</c:v>
                </c:pt>
                <c:pt idx="2523">
                  <c:v>173.65</c:v>
                </c:pt>
                <c:pt idx="2524">
                  <c:v>173.65</c:v>
                </c:pt>
                <c:pt idx="2525">
                  <c:v>173.65</c:v>
                </c:pt>
                <c:pt idx="2526">
                  <c:v>176.12700000000001</c:v>
                </c:pt>
                <c:pt idx="2527">
                  <c:v>176.12700000000001</c:v>
                </c:pt>
                <c:pt idx="2528">
                  <c:v>176.12700000000001</c:v>
                </c:pt>
                <c:pt idx="2529">
                  <c:v>176.12700000000001</c:v>
                </c:pt>
                <c:pt idx="2530">
                  <c:v>176.12700000000001</c:v>
                </c:pt>
                <c:pt idx="2531">
                  <c:v>175.46299999999999</c:v>
                </c:pt>
                <c:pt idx="2532">
                  <c:v>175.46299999999999</c:v>
                </c:pt>
                <c:pt idx="2533">
                  <c:v>175.46299999999999</c:v>
                </c:pt>
                <c:pt idx="2534">
                  <c:v>175.46299999999999</c:v>
                </c:pt>
                <c:pt idx="2535">
                  <c:v>175.46299999999999</c:v>
                </c:pt>
                <c:pt idx="2536">
                  <c:v>175.048</c:v>
                </c:pt>
                <c:pt idx="2537">
                  <c:v>175.048</c:v>
                </c:pt>
                <c:pt idx="2538">
                  <c:v>175.048</c:v>
                </c:pt>
                <c:pt idx="2539">
                  <c:v>175.048</c:v>
                </c:pt>
                <c:pt idx="2540">
                  <c:v>175.048</c:v>
                </c:pt>
                <c:pt idx="2541">
                  <c:v>175.28399999999999</c:v>
                </c:pt>
                <c:pt idx="2542">
                  <c:v>175.28399999999999</c:v>
                </c:pt>
                <c:pt idx="2543">
                  <c:v>175.28399999999999</c:v>
                </c:pt>
                <c:pt idx="2544">
                  <c:v>175.28399999999999</c:v>
                </c:pt>
                <c:pt idx="2545">
                  <c:v>175.28399999999999</c:v>
                </c:pt>
                <c:pt idx="2546">
                  <c:v>178.035</c:v>
                </c:pt>
                <c:pt idx="2547">
                  <c:v>178.035</c:v>
                </c:pt>
                <c:pt idx="2548">
                  <c:v>178.035</c:v>
                </c:pt>
                <c:pt idx="2549">
                  <c:v>178.035</c:v>
                </c:pt>
                <c:pt idx="2550">
                  <c:v>178.035</c:v>
                </c:pt>
                <c:pt idx="2551">
                  <c:v>177.93299999999999</c:v>
                </c:pt>
                <c:pt idx="2552">
                  <c:v>177.93299999999999</c:v>
                </c:pt>
                <c:pt idx="2553">
                  <c:v>177.93299999999999</c:v>
                </c:pt>
                <c:pt idx="2554">
                  <c:v>177.93299999999999</c:v>
                </c:pt>
                <c:pt idx="2555">
                  <c:v>177.93299999999999</c:v>
                </c:pt>
                <c:pt idx="2556">
                  <c:v>177.761</c:v>
                </c:pt>
                <c:pt idx="2557">
                  <c:v>177.761</c:v>
                </c:pt>
                <c:pt idx="2558">
                  <c:v>177.761</c:v>
                </c:pt>
                <c:pt idx="2559">
                  <c:v>177.761</c:v>
                </c:pt>
                <c:pt idx="2560">
                  <c:v>177.761</c:v>
                </c:pt>
                <c:pt idx="2561">
                  <c:v>177.62700000000001</c:v>
                </c:pt>
                <c:pt idx="2562">
                  <c:v>177.62700000000001</c:v>
                </c:pt>
                <c:pt idx="2563">
                  <c:v>177.62700000000001</c:v>
                </c:pt>
                <c:pt idx="2564">
                  <c:v>177.62700000000001</c:v>
                </c:pt>
                <c:pt idx="2565">
                  <c:v>177.62700000000001</c:v>
                </c:pt>
                <c:pt idx="2566">
                  <c:v>180.04599999999999</c:v>
                </c:pt>
                <c:pt idx="2567">
                  <c:v>180.04599999999999</c:v>
                </c:pt>
                <c:pt idx="2568">
                  <c:v>180.04599999999999</c:v>
                </c:pt>
                <c:pt idx="2569">
                  <c:v>180.04599999999999</c:v>
                </c:pt>
                <c:pt idx="2570">
                  <c:v>180.04599999999999</c:v>
                </c:pt>
                <c:pt idx="2571">
                  <c:v>185.50399999999999</c:v>
                </c:pt>
                <c:pt idx="2572">
                  <c:v>185.50399999999999</c:v>
                </c:pt>
                <c:pt idx="2573">
                  <c:v>185.50399999999999</c:v>
                </c:pt>
                <c:pt idx="2574">
                  <c:v>185.50399999999999</c:v>
                </c:pt>
                <c:pt idx="2575">
                  <c:v>185.50399999999999</c:v>
                </c:pt>
                <c:pt idx="2576">
                  <c:v>180.05199999999999</c:v>
                </c:pt>
                <c:pt idx="2577">
                  <c:v>180.05199999999999</c:v>
                </c:pt>
                <c:pt idx="2578">
                  <c:v>180.05199999999999</c:v>
                </c:pt>
                <c:pt idx="2579">
                  <c:v>180.05199999999999</c:v>
                </c:pt>
                <c:pt idx="2580">
                  <c:v>180.05199999999999</c:v>
                </c:pt>
                <c:pt idx="2581">
                  <c:v>179.91200000000001</c:v>
                </c:pt>
                <c:pt idx="2582">
                  <c:v>179.91200000000001</c:v>
                </c:pt>
                <c:pt idx="2583">
                  <c:v>179.91200000000001</c:v>
                </c:pt>
                <c:pt idx="2584">
                  <c:v>179.91200000000001</c:v>
                </c:pt>
                <c:pt idx="2585">
                  <c:v>179.91200000000001</c:v>
                </c:pt>
                <c:pt idx="2586">
                  <c:v>179.74600000000001</c:v>
                </c:pt>
                <c:pt idx="2587">
                  <c:v>179.74600000000001</c:v>
                </c:pt>
                <c:pt idx="2588">
                  <c:v>179.74600000000001</c:v>
                </c:pt>
                <c:pt idx="2589">
                  <c:v>179.74600000000001</c:v>
                </c:pt>
                <c:pt idx="2590">
                  <c:v>179.74600000000001</c:v>
                </c:pt>
                <c:pt idx="2591">
                  <c:v>183.71600000000001</c:v>
                </c:pt>
                <c:pt idx="2592">
                  <c:v>183.71600000000001</c:v>
                </c:pt>
                <c:pt idx="2593">
                  <c:v>183.71600000000001</c:v>
                </c:pt>
                <c:pt idx="2594">
                  <c:v>183.71600000000001</c:v>
                </c:pt>
                <c:pt idx="2595">
                  <c:v>183.71600000000001</c:v>
                </c:pt>
                <c:pt idx="2596">
                  <c:v>183.965</c:v>
                </c:pt>
                <c:pt idx="2597">
                  <c:v>183.965</c:v>
                </c:pt>
                <c:pt idx="2598">
                  <c:v>183.965</c:v>
                </c:pt>
                <c:pt idx="2599">
                  <c:v>183.965</c:v>
                </c:pt>
                <c:pt idx="2600">
                  <c:v>183.965</c:v>
                </c:pt>
                <c:pt idx="2601">
                  <c:v>183.46100000000001</c:v>
                </c:pt>
                <c:pt idx="2602">
                  <c:v>183.46100000000001</c:v>
                </c:pt>
                <c:pt idx="2603">
                  <c:v>183.46100000000001</c:v>
                </c:pt>
                <c:pt idx="2604">
                  <c:v>183.46100000000001</c:v>
                </c:pt>
                <c:pt idx="2605">
                  <c:v>183.46100000000001</c:v>
                </c:pt>
                <c:pt idx="2606">
                  <c:v>183.46100000000001</c:v>
                </c:pt>
                <c:pt idx="2607">
                  <c:v>183.46100000000001</c:v>
                </c:pt>
                <c:pt idx="2608">
                  <c:v>183.46100000000001</c:v>
                </c:pt>
                <c:pt idx="2609">
                  <c:v>183.46100000000001</c:v>
                </c:pt>
                <c:pt idx="2610">
                  <c:v>183.46100000000001</c:v>
                </c:pt>
                <c:pt idx="2611">
                  <c:v>184.46299999999999</c:v>
                </c:pt>
                <c:pt idx="2612">
                  <c:v>184.46299999999999</c:v>
                </c:pt>
                <c:pt idx="2613">
                  <c:v>184.46299999999999</c:v>
                </c:pt>
                <c:pt idx="2614">
                  <c:v>184.46299999999999</c:v>
                </c:pt>
                <c:pt idx="2615">
                  <c:v>184.46299999999999</c:v>
                </c:pt>
                <c:pt idx="2616">
                  <c:v>184.13800000000001</c:v>
                </c:pt>
                <c:pt idx="2617">
                  <c:v>184.13800000000001</c:v>
                </c:pt>
                <c:pt idx="2618">
                  <c:v>184.13800000000001</c:v>
                </c:pt>
                <c:pt idx="2619">
                  <c:v>184.13800000000001</c:v>
                </c:pt>
                <c:pt idx="2620">
                  <c:v>184.13800000000001</c:v>
                </c:pt>
                <c:pt idx="2621">
                  <c:v>184.929</c:v>
                </c:pt>
                <c:pt idx="2622">
                  <c:v>184.929</c:v>
                </c:pt>
                <c:pt idx="2623">
                  <c:v>184.929</c:v>
                </c:pt>
                <c:pt idx="2624">
                  <c:v>184.929</c:v>
                </c:pt>
                <c:pt idx="2625">
                  <c:v>184.929</c:v>
                </c:pt>
                <c:pt idx="2626">
                  <c:v>184.88399999999999</c:v>
                </c:pt>
                <c:pt idx="2627">
                  <c:v>184.88399999999999</c:v>
                </c:pt>
                <c:pt idx="2628">
                  <c:v>184.88399999999999</c:v>
                </c:pt>
                <c:pt idx="2629">
                  <c:v>184.88399999999999</c:v>
                </c:pt>
                <c:pt idx="2630">
                  <c:v>184.88399999999999</c:v>
                </c:pt>
                <c:pt idx="2631">
                  <c:v>186.65299999999999</c:v>
                </c:pt>
                <c:pt idx="2632">
                  <c:v>186.65299999999999</c:v>
                </c:pt>
                <c:pt idx="2633">
                  <c:v>186.65299999999999</c:v>
                </c:pt>
                <c:pt idx="2634">
                  <c:v>186.65299999999999</c:v>
                </c:pt>
                <c:pt idx="2635">
                  <c:v>186.65299999999999</c:v>
                </c:pt>
                <c:pt idx="2636">
                  <c:v>184.89099999999999</c:v>
                </c:pt>
                <c:pt idx="2637">
                  <c:v>184.89099999999999</c:v>
                </c:pt>
                <c:pt idx="2638">
                  <c:v>184.89099999999999</c:v>
                </c:pt>
                <c:pt idx="2639">
                  <c:v>184.89099999999999</c:v>
                </c:pt>
                <c:pt idx="2640">
                  <c:v>184.89099999999999</c:v>
                </c:pt>
                <c:pt idx="2641">
                  <c:v>185.33099999999999</c:v>
                </c:pt>
                <c:pt idx="2642">
                  <c:v>185.33099999999999</c:v>
                </c:pt>
                <c:pt idx="2643">
                  <c:v>185.33099999999999</c:v>
                </c:pt>
                <c:pt idx="2644">
                  <c:v>185.33099999999999</c:v>
                </c:pt>
                <c:pt idx="2645">
                  <c:v>185.33099999999999</c:v>
                </c:pt>
                <c:pt idx="2646">
                  <c:v>184.41200000000001</c:v>
                </c:pt>
                <c:pt idx="2647">
                  <c:v>184.41200000000001</c:v>
                </c:pt>
                <c:pt idx="2648">
                  <c:v>184.41200000000001</c:v>
                </c:pt>
                <c:pt idx="2649">
                  <c:v>184.41200000000001</c:v>
                </c:pt>
                <c:pt idx="2650">
                  <c:v>184.41200000000001</c:v>
                </c:pt>
                <c:pt idx="2651">
                  <c:v>184.76300000000001</c:v>
                </c:pt>
                <c:pt idx="2652">
                  <c:v>184.76300000000001</c:v>
                </c:pt>
                <c:pt idx="2653">
                  <c:v>184.76300000000001</c:v>
                </c:pt>
                <c:pt idx="2654">
                  <c:v>184.76300000000001</c:v>
                </c:pt>
                <c:pt idx="2655">
                  <c:v>184.76300000000001</c:v>
                </c:pt>
                <c:pt idx="2656">
                  <c:v>186.155</c:v>
                </c:pt>
                <c:pt idx="2657">
                  <c:v>186.155</c:v>
                </c:pt>
                <c:pt idx="2658">
                  <c:v>186.155</c:v>
                </c:pt>
                <c:pt idx="2659">
                  <c:v>186.155</c:v>
                </c:pt>
                <c:pt idx="2660">
                  <c:v>186.155</c:v>
                </c:pt>
                <c:pt idx="2661">
                  <c:v>186.00800000000001</c:v>
                </c:pt>
                <c:pt idx="2662">
                  <c:v>186.00800000000001</c:v>
                </c:pt>
                <c:pt idx="2663">
                  <c:v>186.00800000000001</c:v>
                </c:pt>
                <c:pt idx="2664">
                  <c:v>186.00800000000001</c:v>
                </c:pt>
                <c:pt idx="2665">
                  <c:v>186.00800000000001</c:v>
                </c:pt>
                <c:pt idx="2666">
                  <c:v>185.86699999999999</c:v>
                </c:pt>
                <c:pt idx="2667">
                  <c:v>185.86699999999999</c:v>
                </c:pt>
                <c:pt idx="2668">
                  <c:v>185.86699999999999</c:v>
                </c:pt>
                <c:pt idx="2669">
                  <c:v>185.86699999999999</c:v>
                </c:pt>
                <c:pt idx="2670">
                  <c:v>185.86699999999999</c:v>
                </c:pt>
                <c:pt idx="2671">
                  <c:v>185.51599999999999</c:v>
                </c:pt>
                <c:pt idx="2672">
                  <c:v>185.51599999999999</c:v>
                </c:pt>
                <c:pt idx="2673">
                  <c:v>185.51599999999999</c:v>
                </c:pt>
                <c:pt idx="2674">
                  <c:v>185.51599999999999</c:v>
                </c:pt>
                <c:pt idx="2675">
                  <c:v>185.51599999999999</c:v>
                </c:pt>
                <c:pt idx="2676">
                  <c:v>186.691</c:v>
                </c:pt>
                <c:pt idx="2677">
                  <c:v>186.691</c:v>
                </c:pt>
                <c:pt idx="2678">
                  <c:v>186.691</c:v>
                </c:pt>
                <c:pt idx="2679">
                  <c:v>186.691</c:v>
                </c:pt>
                <c:pt idx="2680">
                  <c:v>186.691</c:v>
                </c:pt>
                <c:pt idx="2681">
                  <c:v>186.44200000000001</c:v>
                </c:pt>
                <c:pt idx="2682">
                  <c:v>186.44200000000001</c:v>
                </c:pt>
                <c:pt idx="2683">
                  <c:v>186.44200000000001</c:v>
                </c:pt>
                <c:pt idx="2684">
                  <c:v>186.44200000000001</c:v>
                </c:pt>
                <c:pt idx="2685">
                  <c:v>186.44200000000001</c:v>
                </c:pt>
                <c:pt idx="2686">
                  <c:v>187.25299999999999</c:v>
                </c:pt>
                <c:pt idx="2687">
                  <c:v>187.25299999999999</c:v>
                </c:pt>
                <c:pt idx="2688">
                  <c:v>187.25299999999999</c:v>
                </c:pt>
                <c:pt idx="2689">
                  <c:v>187.25299999999999</c:v>
                </c:pt>
                <c:pt idx="2690">
                  <c:v>187.25299999999999</c:v>
                </c:pt>
                <c:pt idx="2691">
                  <c:v>187.029</c:v>
                </c:pt>
                <c:pt idx="2692">
                  <c:v>187.029</c:v>
                </c:pt>
                <c:pt idx="2693">
                  <c:v>187.029</c:v>
                </c:pt>
                <c:pt idx="2694">
                  <c:v>187.029</c:v>
                </c:pt>
                <c:pt idx="2695">
                  <c:v>187.029</c:v>
                </c:pt>
                <c:pt idx="2696">
                  <c:v>188.38200000000001</c:v>
                </c:pt>
                <c:pt idx="2697">
                  <c:v>188.38200000000001</c:v>
                </c:pt>
                <c:pt idx="2698">
                  <c:v>188.38200000000001</c:v>
                </c:pt>
                <c:pt idx="2699">
                  <c:v>188.38200000000001</c:v>
                </c:pt>
                <c:pt idx="2700">
                  <c:v>188.38200000000001</c:v>
                </c:pt>
                <c:pt idx="2701">
                  <c:v>188.42699999999999</c:v>
                </c:pt>
                <c:pt idx="2702">
                  <c:v>188.42699999999999</c:v>
                </c:pt>
                <c:pt idx="2703">
                  <c:v>188.42699999999999</c:v>
                </c:pt>
                <c:pt idx="2704">
                  <c:v>188.42699999999999</c:v>
                </c:pt>
                <c:pt idx="2705">
                  <c:v>188.42699999999999</c:v>
                </c:pt>
                <c:pt idx="2706">
                  <c:v>188.791</c:v>
                </c:pt>
                <c:pt idx="2707">
                  <c:v>188.791</c:v>
                </c:pt>
                <c:pt idx="2708">
                  <c:v>188.791</c:v>
                </c:pt>
                <c:pt idx="2709">
                  <c:v>188.791</c:v>
                </c:pt>
                <c:pt idx="2710">
                  <c:v>188.791</c:v>
                </c:pt>
                <c:pt idx="2711">
                  <c:v>188.376</c:v>
                </c:pt>
                <c:pt idx="2712">
                  <c:v>188.376</c:v>
                </c:pt>
                <c:pt idx="2713">
                  <c:v>188.376</c:v>
                </c:pt>
                <c:pt idx="2714">
                  <c:v>188.376</c:v>
                </c:pt>
                <c:pt idx="2715">
                  <c:v>188.376</c:v>
                </c:pt>
                <c:pt idx="2716">
                  <c:v>187.14400000000001</c:v>
                </c:pt>
                <c:pt idx="2717">
                  <c:v>187.14400000000001</c:v>
                </c:pt>
                <c:pt idx="2718">
                  <c:v>187.14400000000001</c:v>
                </c:pt>
                <c:pt idx="2719">
                  <c:v>187.14400000000001</c:v>
                </c:pt>
                <c:pt idx="2720">
                  <c:v>187.14400000000001</c:v>
                </c:pt>
                <c:pt idx="2721">
                  <c:v>190.42500000000001</c:v>
                </c:pt>
                <c:pt idx="2722">
                  <c:v>190.42500000000001</c:v>
                </c:pt>
                <c:pt idx="2723">
                  <c:v>190.42500000000001</c:v>
                </c:pt>
                <c:pt idx="2724">
                  <c:v>190.42500000000001</c:v>
                </c:pt>
                <c:pt idx="2725">
                  <c:v>190.42500000000001</c:v>
                </c:pt>
                <c:pt idx="2726">
                  <c:v>191.65100000000001</c:v>
                </c:pt>
                <c:pt idx="2727">
                  <c:v>191.65100000000001</c:v>
                </c:pt>
                <c:pt idx="2728">
                  <c:v>191.65100000000001</c:v>
                </c:pt>
                <c:pt idx="2729">
                  <c:v>191.65100000000001</c:v>
                </c:pt>
                <c:pt idx="2730">
                  <c:v>191.65100000000001</c:v>
                </c:pt>
                <c:pt idx="2731">
                  <c:v>191.65700000000001</c:v>
                </c:pt>
                <c:pt idx="2732">
                  <c:v>191.65700000000001</c:v>
                </c:pt>
                <c:pt idx="2733">
                  <c:v>191.65700000000001</c:v>
                </c:pt>
                <c:pt idx="2734">
                  <c:v>191.65700000000001</c:v>
                </c:pt>
                <c:pt idx="2735">
                  <c:v>191.65700000000001</c:v>
                </c:pt>
                <c:pt idx="2736">
                  <c:v>191.65100000000001</c:v>
                </c:pt>
                <c:pt idx="2737">
                  <c:v>191.65100000000001</c:v>
                </c:pt>
                <c:pt idx="2738">
                  <c:v>191.65100000000001</c:v>
                </c:pt>
                <c:pt idx="2739">
                  <c:v>191.65100000000001</c:v>
                </c:pt>
                <c:pt idx="2740">
                  <c:v>191.65100000000001</c:v>
                </c:pt>
                <c:pt idx="2741">
                  <c:v>192.54400000000001</c:v>
                </c:pt>
                <c:pt idx="2742">
                  <c:v>192.54400000000001</c:v>
                </c:pt>
                <c:pt idx="2743">
                  <c:v>192.54400000000001</c:v>
                </c:pt>
                <c:pt idx="2744">
                  <c:v>192.54400000000001</c:v>
                </c:pt>
                <c:pt idx="2745">
                  <c:v>192.54400000000001</c:v>
                </c:pt>
                <c:pt idx="2746">
                  <c:v>192.44200000000001</c:v>
                </c:pt>
                <c:pt idx="2747">
                  <c:v>192.44200000000001</c:v>
                </c:pt>
                <c:pt idx="2748">
                  <c:v>192.44200000000001</c:v>
                </c:pt>
                <c:pt idx="2749">
                  <c:v>192.44200000000001</c:v>
                </c:pt>
                <c:pt idx="2750">
                  <c:v>192.44200000000001</c:v>
                </c:pt>
                <c:pt idx="2751">
                  <c:v>192.02099999999999</c:v>
                </c:pt>
                <c:pt idx="2752">
                  <c:v>192.02099999999999</c:v>
                </c:pt>
                <c:pt idx="2753">
                  <c:v>192.02099999999999</c:v>
                </c:pt>
                <c:pt idx="2754">
                  <c:v>192.02099999999999</c:v>
                </c:pt>
                <c:pt idx="2755">
                  <c:v>192.02099999999999</c:v>
                </c:pt>
                <c:pt idx="2756">
                  <c:v>192.30799999999999</c:v>
                </c:pt>
                <c:pt idx="2757">
                  <c:v>192.30799999999999</c:v>
                </c:pt>
                <c:pt idx="2758">
                  <c:v>192.30799999999999</c:v>
                </c:pt>
                <c:pt idx="2759">
                  <c:v>192.30799999999999</c:v>
                </c:pt>
                <c:pt idx="2760">
                  <c:v>192.30799999999999</c:v>
                </c:pt>
                <c:pt idx="2761">
                  <c:v>193.78899999999999</c:v>
                </c:pt>
                <c:pt idx="2762">
                  <c:v>193.78899999999999</c:v>
                </c:pt>
                <c:pt idx="2763">
                  <c:v>193.78899999999999</c:v>
                </c:pt>
                <c:pt idx="2764">
                  <c:v>193.78899999999999</c:v>
                </c:pt>
                <c:pt idx="2765">
                  <c:v>193.78899999999999</c:v>
                </c:pt>
                <c:pt idx="2766">
                  <c:v>193.61</c:v>
                </c:pt>
                <c:pt idx="2767">
                  <c:v>193.61</c:v>
                </c:pt>
                <c:pt idx="2768">
                  <c:v>193.61</c:v>
                </c:pt>
                <c:pt idx="2769">
                  <c:v>193.61</c:v>
                </c:pt>
                <c:pt idx="2770">
                  <c:v>193.61</c:v>
                </c:pt>
                <c:pt idx="2771">
                  <c:v>194.04400000000001</c:v>
                </c:pt>
                <c:pt idx="2772">
                  <c:v>194.04400000000001</c:v>
                </c:pt>
                <c:pt idx="2773">
                  <c:v>194.04400000000001</c:v>
                </c:pt>
                <c:pt idx="2774">
                  <c:v>194.04400000000001</c:v>
                </c:pt>
                <c:pt idx="2775">
                  <c:v>194.04400000000001</c:v>
                </c:pt>
                <c:pt idx="2776">
                  <c:v>193.94200000000001</c:v>
                </c:pt>
                <c:pt idx="2777">
                  <c:v>193.94200000000001</c:v>
                </c:pt>
                <c:pt idx="2778">
                  <c:v>193.94200000000001</c:v>
                </c:pt>
                <c:pt idx="2779">
                  <c:v>193.94200000000001</c:v>
                </c:pt>
                <c:pt idx="2780">
                  <c:v>193.94200000000001</c:v>
                </c:pt>
                <c:pt idx="2781">
                  <c:v>193.98099999999999</c:v>
                </c:pt>
                <c:pt idx="2782">
                  <c:v>193.98099999999999</c:v>
                </c:pt>
                <c:pt idx="2783">
                  <c:v>193.98099999999999</c:v>
                </c:pt>
                <c:pt idx="2784">
                  <c:v>193.98099999999999</c:v>
                </c:pt>
                <c:pt idx="2785">
                  <c:v>193.98099999999999</c:v>
                </c:pt>
                <c:pt idx="2786">
                  <c:v>196.17</c:v>
                </c:pt>
                <c:pt idx="2787">
                  <c:v>196.17</c:v>
                </c:pt>
                <c:pt idx="2788">
                  <c:v>196.17</c:v>
                </c:pt>
                <c:pt idx="2789">
                  <c:v>196.17</c:v>
                </c:pt>
                <c:pt idx="2790">
                  <c:v>196.17</c:v>
                </c:pt>
                <c:pt idx="2791">
                  <c:v>195.749</c:v>
                </c:pt>
                <c:pt idx="2792">
                  <c:v>195.749</c:v>
                </c:pt>
                <c:pt idx="2793">
                  <c:v>195.749</c:v>
                </c:pt>
                <c:pt idx="2794">
                  <c:v>195.749</c:v>
                </c:pt>
                <c:pt idx="2795">
                  <c:v>195.749</c:v>
                </c:pt>
                <c:pt idx="2796">
                  <c:v>195.54499999999999</c:v>
                </c:pt>
                <c:pt idx="2797">
                  <c:v>195.54499999999999</c:v>
                </c:pt>
                <c:pt idx="2798">
                  <c:v>195.54499999999999</c:v>
                </c:pt>
                <c:pt idx="2799">
                  <c:v>195.54499999999999</c:v>
                </c:pt>
                <c:pt idx="2800">
                  <c:v>195.54499999999999</c:v>
                </c:pt>
                <c:pt idx="2801">
                  <c:v>195.398</c:v>
                </c:pt>
                <c:pt idx="2802">
                  <c:v>195.398</c:v>
                </c:pt>
                <c:pt idx="2803">
                  <c:v>195.398</c:v>
                </c:pt>
                <c:pt idx="2804">
                  <c:v>195.398</c:v>
                </c:pt>
                <c:pt idx="2805">
                  <c:v>195.398</c:v>
                </c:pt>
                <c:pt idx="2806">
                  <c:v>197.24199999999999</c:v>
                </c:pt>
                <c:pt idx="2807">
                  <c:v>197.24199999999999</c:v>
                </c:pt>
                <c:pt idx="2808">
                  <c:v>197.24199999999999</c:v>
                </c:pt>
                <c:pt idx="2809">
                  <c:v>197.24199999999999</c:v>
                </c:pt>
                <c:pt idx="2810">
                  <c:v>197.24199999999999</c:v>
                </c:pt>
                <c:pt idx="2811">
                  <c:v>197.613</c:v>
                </c:pt>
                <c:pt idx="2812">
                  <c:v>197.613</c:v>
                </c:pt>
                <c:pt idx="2813">
                  <c:v>197.613</c:v>
                </c:pt>
                <c:pt idx="2814">
                  <c:v>197.613</c:v>
                </c:pt>
                <c:pt idx="2815">
                  <c:v>197.613</c:v>
                </c:pt>
                <c:pt idx="2816">
                  <c:v>197.74</c:v>
                </c:pt>
                <c:pt idx="2817">
                  <c:v>197.74</c:v>
                </c:pt>
                <c:pt idx="2818">
                  <c:v>197.74</c:v>
                </c:pt>
                <c:pt idx="2819">
                  <c:v>197.74</c:v>
                </c:pt>
                <c:pt idx="2820">
                  <c:v>197.74</c:v>
                </c:pt>
                <c:pt idx="2821">
                  <c:v>199.86</c:v>
                </c:pt>
                <c:pt idx="2822">
                  <c:v>199.86</c:v>
                </c:pt>
                <c:pt idx="2823">
                  <c:v>199.86</c:v>
                </c:pt>
                <c:pt idx="2824">
                  <c:v>199.86</c:v>
                </c:pt>
                <c:pt idx="2825">
                  <c:v>199.86</c:v>
                </c:pt>
                <c:pt idx="2826">
                  <c:v>200.708</c:v>
                </c:pt>
                <c:pt idx="2827">
                  <c:v>200.708</c:v>
                </c:pt>
                <c:pt idx="2828">
                  <c:v>200.708</c:v>
                </c:pt>
                <c:pt idx="2829">
                  <c:v>200.708</c:v>
                </c:pt>
                <c:pt idx="2830">
                  <c:v>200.708</c:v>
                </c:pt>
                <c:pt idx="2831">
                  <c:v>201.71100000000001</c:v>
                </c:pt>
                <c:pt idx="2832">
                  <c:v>201.71100000000001</c:v>
                </c:pt>
                <c:pt idx="2833">
                  <c:v>201.71100000000001</c:v>
                </c:pt>
                <c:pt idx="2834">
                  <c:v>201.71100000000001</c:v>
                </c:pt>
                <c:pt idx="2835">
                  <c:v>201.71100000000001</c:v>
                </c:pt>
                <c:pt idx="2836">
                  <c:v>203.613</c:v>
                </c:pt>
                <c:pt idx="2837">
                  <c:v>203.613</c:v>
                </c:pt>
                <c:pt idx="2838">
                  <c:v>203.613</c:v>
                </c:pt>
                <c:pt idx="2839">
                  <c:v>203.613</c:v>
                </c:pt>
                <c:pt idx="2840">
                  <c:v>203.613</c:v>
                </c:pt>
                <c:pt idx="2841">
                  <c:v>203.613</c:v>
                </c:pt>
                <c:pt idx="2842">
                  <c:v>203.613</c:v>
                </c:pt>
                <c:pt idx="2843">
                  <c:v>203.613</c:v>
                </c:pt>
              </c:numCache>
            </c:numRef>
          </c:val>
          <c:smooth val="0"/>
          <c:extLst>
            <c:ext xmlns:c16="http://schemas.microsoft.com/office/drawing/2014/chart" uri="{C3380CC4-5D6E-409C-BE32-E72D297353CC}">
              <c16:uniqueId val="{00000000-A4F8-429B-80C0-2940C8EC2CC2}"/>
            </c:ext>
          </c:extLst>
        </c:ser>
        <c:ser>
          <c:idx val="1"/>
          <c:order val="1"/>
          <c:tx>
            <c:strRef>
              <c:f>'Sheet1 (2)'!$M$1</c:f>
              <c:strCache>
                <c:ptCount val="1"/>
                <c:pt idx="0">
                  <c:v>STOXX 600 Banken - Gewinne* (links)</c:v>
                </c:pt>
              </c:strCache>
            </c:strRef>
          </c:tx>
          <c:spPr>
            <a:ln w="28575" cap="rnd">
              <a:solidFill>
                <a:schemeClr val="accent2"/>
              </a:solidFill>
              <a:round/>
            </a:ln>
            <a:effectLst/>
          </c:spPr>
          <c:marker>
            <c:symbol val="none"/>
          </c:marker>
          <c:cat>
            <c:numRef>
              <c:f>'Sheet1 (2)'!$K$4:$K$2847</c:f>
              <c:numCache>
                <c:formatCode>m/d/yyyy</c:formatCode>
                <c:ptCount val="2844"/>
                <c:pt idx="0">
                  <c:v>41640</c:v>
                </c:pt>
                <c:pt idx="1">
                  <c:v>41641</c:v>
                </c:pt>
                <c:pt idx="2">
                  <c:v>41642</c:v>
                </c:pt>
                <c:pt idx="3">
                  <c:v>41645</c:v>
                </c:pt>
                <c:pt idx="4">
                  <c:v>41646</c:v>
                </c:pt>
                <c:pt idx="5">
                  <c:v>41647</c:v>
                </c:pt>
                <c:pt idx="6">
                  <c:v>41648</c:v>
                </c:pt>
                <c:pt idx="7">
                  <c:v>41649</c:v>
                </c:pt>
                <c:pt idx="8">
                  <c:v>41652</c:v>
                </c:pt>
                <c:pt idx="9">
                  <c:v>41653</c:v>
                </c:pt>
                <c:pt idx="10">
                  <c:v>41654</c:v>
                </c:pt>
                <c:pt idx="11">
                  <c:v>41655</c:v>
                </c:pt>
                <c:pt idx="12">
                  <c:v>41656</c:v>
                </c:pt>
                <c:pt idx="13">
                  <c:v>41659</c:v>
                </c:pt>
                <c:pt idx="14">
                  <c:v>41660</c:v>
                </c:pt>
                <c:pt idx="15">
                  <c:v>41661</c:v>
                </c:pt>
                <c:pt idx="16">
                  <c:v>41662</c:v>
                </c:pt>
                <c:pt idx="17">
                  <c:v>41663</c:v>
                </c:pt>
                <c:pt idx="18">
                  <c:v>41666</c:v>
                </c:pt>
                <c:pt idx="19">
                  <c:v>41667</c:v>
                </c:pt>
                <c:pt idx="20">
                  <c:v>41668</c:v>
                </c:pt>
                <c:pt idx="21">
                  <c:v>41669</c:v>
                </c:pt>
                <c:pt idx="22">
                  <c:v>41670</c:v>
                </c:pt>
                <c:pt idx="23">
                  <c:v>41673</c:v>
                </c:pt>
                <c:pt idx="24">
                  <c:v>41674</c:v>
                </c:pt>
                <c:pt idx="25">
                  <c:v>41675</c:v>
                </c:pt>
                <c:pt idx="26">
                  <c:v>41676</c:v>
                </c:pt>
                <c:pt idx="27">
                  <c:v>41677</c:v>
                </c:pt>
                <c:pt idx="28">
                  <c:v>41680</c:v>
                </c:pt>
                <c:pt idx="29">
                  <c:v>41681</c:v>
                </c:pt>
                <c:pt idx="30">
                  <c:v>41682</c:v>
                </c:pt>
                <c:pt idx="31">
                  <c:v>41683</c:v>
                </c:pt>
                <c:pt idx="32">
                  <c:v>41684</c:v>
                </c:pt>
                <c:pt idx="33">
                  <c:v>41687</c:v>
                </c:pt>
                <c:pt idx="34">
                  <c:v>41688</c:v>
                </c:pt>
                <c:pt idx="35">
                  <c:v>41689</c:v>
                </c:pt>
                <c:pt idx="36">
                  <c:v>41690</c:v>
                </c:pt>
                <c:pt idx="37">
                  <c:v>41691</c:v>
                </c:pt>
                <c:pt idx="38">
                  <c:v>41694</c:v>
                </c:pt>
                <c:pt idx="39">
                  <c:v>41695</c:v>
                </c:pt>
                <c:pt idx="40">
                  <c:v>41696</c:v>
                </c:pt>
                <c:pt idx="41">
                  <c:v>41697</c:v>
                </c:pt>
                <c:pt idx="42">
                  <c:v>41698</c:v>
                </c:pt>
                <c:pt idx="43">
                  <c:v>41701</c:v>
                </c:pt>
                <c:pt idx="44">
                  <c:v>41702</c:v>
                </c:pt>
                <c:pt idx="45">
                  <c:v>41703</c:v>
                </c:pt>
                <c:pt idx="46">
                  <c:v>41704</c:v>
                </c:pt>
                <c:pt idx="47">
                  <c:v>41705</c:v>
                </c:pt>
                <c:pt idx="48">
                  <c:v>41708</c:v>
                </c:pt>
                <c:pt idx="49">
                  <c:v>41709</c:v>
                </c:pt>
                <c:pt idx="50">
                  <c:v>41710</c:v>
                </c:pt>
                <c:pt idx="51">
                  <c:v>41711</c:v>
                </c:pt>
                <c:pt idx="52">
                  <c:v>41712</c:v>
                </c:pt>
                <c:pt idx="53">
                  <c:v>41715</c:v>
                </c:pt>
                <c:pt idx="54">
                  <c:v>41716</c:v>
                </c:pt>
                <c:pt idx="55">
                  <c:v>41717</c:v>
                </c:pt>
                <c:pt idx="56">
                  <c:v>41718</c:v>
                </c:pt>
                <c:pt idx="57">
                  <c:v>41719</c:v>
                </c:pt>
                <c:pt idx="58">
                  <c:v>41722</c:v>
                </c:pt>
                <c:pt idx="59">
                  <c:v>41723</c:v>
                </c:pt>
                <c:pt idx="60">
                  <c:v>41724</c:v>
                </c:pt>
                <c:pt idx="61">
                  <c:v>41725</c:v>
                </c:pt>
                <c:pt idx="62">
                  <c:v>41726</c:v>
                </c:pt>
                <c:pt idx="63">
                  <c:v>41729</c:v>
                </c:pt>
                <c:pt idx="64">
                  <c:v>41730</c:v>
                </c:pt>
                <c:pt idx="65">
                  <c:v>41731</c:v>
                </c:pt>
                <c:pt idx="66">
                  <c:v>41732</c:v>
                </c:pt>
                <c:pt idx="67">
                  <c:v>41733</c:v>
                </c:pt>
                <c:pt idx="68">
                  <c:v>41736</c:v>
                </c:pt>
                <c:pt idx="69">
                  <c:v>41737</c:v>
                </c:pt>
                <c:pt idx="70">
                  <c:v>41738</c:v>
                </c:pt>
                <c:pt idx="71">
                  <c:v>41739</c:v>
                </c:pt>
                <c:pt idx="72">
                  <c:v>41740</c:v>
                </c:pt>
                <c:pt idx="73">
                  <c:v>41743</c:v>
                </c:pt>
                <c:pt idx="74">
                  <c:v>41744</c:v>
                </c:pt>
                <c:pt idx="75">
                  <c:v>41745</c:v>
                </c:pt>
                <c:pt idx="76">
                  <c:v>41746</c:v>
                </c:pt>
                <c:pt idx="77">
                  <c:v>41747</c:v>
                </c:pt>
                <c:pt idx="78">
                  <c:v>41750</c:v>
                </c:pt>
                <c:pt idx="79">
                  <c:v>41751</c:v>
                </c:pt>
                <c:pt idx="80">
                  <c:v>41752</c:v>
                </c:pt>
                <c:pt idx="81">
                  <c:v>41753</c:v>
                </c:pt>
                <c:pt idx="82">
                  <c:v>41754</c:v>
                </c:pt>
                <c:pt idx="83">
                  <c:v>41757</c:v>
                </c:pt>
                <c:pt idx="84">
                  <c:v>41758</c:v>
                </c:pt>
                <c:pt idx="85">
                  <c:v>41759</c:v>
                </c:pt>
                <c:pt idx="86">
                  <c:v>41760</c:v>
                </c:pt>
                <c:pt idx="87">
                  <c:v>41761</c:v>
                </c:pt>
                <c:pt idx="88">
                  <c:v>41764</c:v>
                </c:pt>
                <c:pt idx="89">
                  <c:v>41765</c:v>
                </c:pt>
                <c:pt idx="90">
                  <c:v>41766</c:v>
                </c:pt>
                <c:pt idx="91">
                  <c:v>41767</c:v>
                </c:pt>
                <c:pt idx="92">
                  <c:v>41768</c:v>
                </c:pt>
                <c:pt idx="93">
                  <c:v>41771</c:v>
                </c:pt>
                <c:pt idx="94">
                  <c:v>41772</c:v>
                </c:pt>
                <c:pt idx="95">
                  <c:v>41773</c:v>
                </c:pt>
                <c:pt idx="96">
                  <c:v>41774</c:v>
                </c:pt>
                <c:pt idx="97">
                  <c:v>41775</c:v>
                </c:pt>
                <c:pt idx="98">
                  <c:v>41778</c:v>
                </c:pt>
                <c:pt idx="99">
                  <c:v>41779</c:v>
                </c:pt>
                <c:pt idx="100">
                  <c:v>41780</c:v>
                </c:pt>
                <c:pt idx="101">
                  <c:v>41781</c:v>
                </c:pt>
                <c:pt idx="102">
                  <c:v>41782</c:v>
                </c:pt>
                <c:pt idx="103">
                  <c:v>41785</c:v>
                </c:pt>
                <c:pt idx="104">
                  <c:v>41786</c:v>
                </c:pt>
                <c:pt idx="105">
                  <c:v>41787</c:v>
                </c:pt>
                <c:pt idx="106">
                  <c:v>41788</c:v>
                </c:pt>
                <c:pt idx="107">
                  <c:v>41789</c:v>
                </c:pt>
                <c:pt idx="108">
                  <c:v>41792</c:v>
                </c:pt>
                <c:pt idx="109">
                  <c:v>41793</c:v>
                </c:pt>
                <c:pt idx="110">
                  <c:v>41794</c:v>
                </c:pt>
                <c:pt idx="111">
                  <c:v>41795</c:v>
                </c:pt>
                <c:pt idx="112">
                  <c:v>41796</c:v>
                </c:pt>
                <c:pt idx="113">
                  <c:v>41799</c:v>
                </c:pt>
                <c:pt idx="114">
                  <c:v>41800</c:v>
                </c:pt>
                <c:pt idx="115">
                  <c:v>41801</c:v>
                </c:pt>
                <c:pt idx="116">
                  <c:v>41802</c:v>
                </c:pt>
                <c:pt idx="117">
                  <c:v>41803</c:v>
                </c:pt>
                <c:pt idx="118">
                  <c:v>41806</c:v>
                </c:pt>
                <c:pt idx="119">
                  <c:v>41807</c:v>
                </c:pt>
                <c:pt idx="120">
                  <c:v>41808</c:v>
                </c:pt>
                <c:pt idx="121">
                  <c:v>41809</c:v>
                </c:pt>
                <c:pt idx="122">
                  <c:v>41810</c:v>
                </c:pt>
                <c:pt idx="123">
                  <c:v>41813</c:v>
                </c:pt>
                <c:pt idx="124">
                  <c:v>41814</c:v>
                </c:pt>
                <c:pt idx="125">
                  <c:v>41815</c:v>
                </c:pt>
                <c:pt idx="126">
                  <c:v>41816</c:v>
                </c:pt>
                <c:pt idx="127">
                  <c:v>41817</c:v>
                </c:pt>
                <c:pt idx="128">
                  <c:v>41820</c:v>
                </c:pt>
                <c:pt idx="129">
                  <c:v>41821</c:v>
                </c:pt>
                <c:pt idx="130">
                  <c:v>41822</c:v>
                </c:pt>
                <c:pt idx="131">
                  <c:v>41823</c:v>
                </c:pt>
                <c:pt idx="132">
                  <c:v>41824</c:v>
                </c:pt>
                <c:pt idx="133">
                  <c:v>41827</c:v>
                </c:pt>
                <c:pt idx="134">
                  <c:v>41828</c:v>
                </c:pt>
                <c:pt idx="135">
                  <c:v>41829</c:v>
                </c:pt>
                <c:pt idx="136">
                  <c:v>41830</c:v>
                </c:pt>
                <c:pt idx="137">
                  <c:v>41831</c:v>
                </c:pt>
                <c:pt idx="138">
                  <c:v>41834</c:v>
                </c:pt>
                <c:pt idx="139">
                  <c:v>41835</c:v>
                </c:pt>
                <c:pt idx="140">
                  <c:v>41836</c:v>
                </c:pt>
                <c:pt idx="141">
                  <c:v>41837</c:v>
                </c:pt>
                <c:pt idx="142">
                  <c:v>41838</c:v>
                </c:pt>
                <c:pt idx="143">
                  <c:v>41841</c:v>
                </c:pt>
                <c:pt idx="144">
                  <c:v>41842</c:v>
                </c:pt>
                <c:pt idx="145">
                  <c:v>41843</c:v>
                </c:pt>
                <c:pt idx="146">
                  <c:v>41844</c:v>
                </c:pt>
                <c:pt idx="147">
                  <c:v>41845</c:v>
                </c:pt>
                <c:pt idx="148">
                  <c:v>41848</c:v>
                </c:pt>
                <c:pt idx="149">
                  <c:v>41849</c:v>
                </c:pt>
                <c:pt idx="150">
                  <c:v>41850</c:v>
                </c:pt>
                <c:pt idx="151">
                  <c:v>41851</c:v>
                </c:pt>
                <c:pt idx="152">
                  <c:v>41852</c:v>
                </c:pt>
                <c:pt idx="153">
                  <c:v>41855</c:v>
                </c:pt>
                <c:pt idx="154">
                  <c:v>41856</c:v>
                </c:pt>
                <c:pt idx="155">
                  <c:v>41857</c:v>
                </c:pt>
                <c:pt idx="156">
                  <c:v>41858</c:v>
                </c:pt>
                <c:pt idx="157">
                  <c:v>41859</c:v>
                </c:pt>
                <c:pt idx="158">
                  <c:v>41862</c:v>
                </c:pt>
                <c:pt idx="159">
                  <c:v>41863</c:v>
                </c:pt>
                <c:pt idx="160">
                  <c:v>41864</c:v>
                </c:pt>
                <c:pt idx="161">
                  <c:v>41865</c:v>
                </c:pt>
                <c:pt idx="162">
                  <c:v>41866</c:v>
                </c:pt>
                <c:pt idx="163">
                  <c:v>41869</c:v>
                </c:pt>
                <c:pt idx="164">
                  <c:v>41870</c:v>
                </c:pt>
                <c:pt idx="165">
                  <c:v>41871</c:v>
                </c:pt>
                <c:pt idx="166">
                  <c:v>41872</c:v>
                </c:pt>
                <c:pt idx="167">
                  <c:v>41873</c:v>
                </c:pt>
                <c:pt idx="168">
                  <c:v>41876</c:v>
                </c:pt>
                <c:pt idx="169">
                  <c:v>41877</c:v>
                </c:pt>
                <c:pt idx="170">
                  <c:v>41878</c:v>
                </c:pt>
                <c:pt idx="171">
                  <c:v>41879</c:v>
                </c:pt>
                <c:pt idx="172">
                  <c:v>41880</c:v>
                </c:pt>
                <c:pt idx="173">
                  <c:v>41883</c:v>
                </c:pt>
                <c:pt idx="174">
                  <c:v>41884</c:v>
                </c:pt>
                <c:pt idx="175">
                  <c:v>41885</c:v>
                </c:pt>
                <c:pt idx="176">
                  <c:v>41886</c:v>
                </c:pt>
                <c:pt idx="177">
                  <c:v>41887</c:v>
                </c:pt>
                <c:pt idx="178">
                  <c:v>41890</c:v>
                </c:pt>
                <c:pt idx="179">
                  <c:v>41891</c:v>
                </c:pt>
                <c:pt idx="180">
                  <c:v>41892</c:v>
                </c:pt>
                <c:pt idx="181">
                  <c:v>41893</c:v>
                </c:pt>
                <c:pt idx="182">
                  <c:v>41894</c:v>
                </c:pt>
                <c:pt idx="183">
                  <c:v>41897</c:v>
                </c:pt>
                <c:pt idx="184">
                  <c:v>41898</c:v>
                </c:pt>
                <c:pt idx="185">
                  <c:v>41899</c:v>
                </c:pt>
                <c:pt idx="186">
                  <c:v>41900</c:v>
                </c:pt>
                <c:pt idx="187">
                  <c:v>41901</c:v>
                </c:pt>
                <c:pt idx="188">
                  <c:v>41904</c:v>
                </c:pt>
                <c:pt idx="189">
                  <c:v>41905</c:v>
                </c:pt>
                <c:pt idx="190">
                  <c:v>41906</c:v>
                </c:pt>
                <c:pt idx="191">
                  <c:v>41907</c:v>
                </c:pt>
                <c:pt idx="192">
                  <c:v>41908</c:v>
                </c:pt>
                <c:pt idx="193">
                  <c:v>41911</c:v>
                </c:pt>
                <c:pt idx="194">
                  <c:v>41912</c:v>
                </c:pt>
                <c:pt idx="195">
                  <c:v>41913</c:v>
                </c:pt>
                <c:pt idx="196">
                  <c:v>41914</c:v>
                </c:pt>
                <c:pt idx="197">
                  <c:v>41915</c:v>
                </c:pt>
                <c:pt idx="198">
                  <c:v>41918</c:v>
                </c:pt>
                <c:pt idx="199">
                  <c:v>41919</c:v>
                </c:pt>
                <c:pt idx="200">
                  <c:v>41920</c:v>
                </c:pt>
                <c:pt idx="201">
                  <c:v>41921</c:v>
                </c:pt>
                <c:pt idx="202">
                  <c:v>41922</c:v>
                </c:pt>
                <c:pt idx="203">
                  <c:v>41925</c:v>
                </c:pt>
                <c:pt idx="204">
                  <c:v>41926</c:v>
                </c:pt>
                <c:pt idx="205">
                  <c:v>41927</c:v>
                </c:pt>
                <c:pt idx="206">
                  <c:v>41928</c:v>
                </c:pt>
                <c:pt idx="207">
                  <c:v>41929</c:v>
                </c:pt>
                <c:pt idx="208">
                  <c:v>41932</c:v>
                </c:pt>
                <c:pt idx="209">
                  <c:v>41933</c:v>
                </c:pt>
                <c:pt idx="210">
                  <c:v>41934</c:v>
                </c:pt>
                <c:pt idx="211">
                  <c:v>41935</c:v>
                </c:pt>
                <c:pt idx="212">
                  <c:v>41936</c:v>
                </c:pt>
                <c:pt idx="213">
                  <c:v>41939</c:v>
                </c:pt>
                <c:pt idx="214">
                  <c:v>41940</c:v>
                </c:pt>
                <c:pt idx="215">
                  <c:v>41941</c:v>
                </c:pt>
                <c:pt idx="216">
                  <c:v>41942</c:v>
                </c:pt>
                <c:pt idx="217">
                  <c:v>41943</c:v>
                </c:pt>
                <c:pt idx="218">
                  <c:v>41946</c:v>
                </c:pt>
                <c:pt idx="219">
                  <c:v>41947</c:v>
                </c:pt>
                <c:pt idx="220">
                  <c:v>41948</c:v>
                </c:pt>
                <c:pt idx="221">
                  <c:v>41949</c:v>
                </c:pt>
                <c:pt idx="222">
                  <c:v>41950</c:v>
                </c:pt>
                <c:pt idx="223">
                  <c:v>41953</c:v>
                </c:pt>
                <c:pt idx="224">
                  <c:v>41954</c:v>
                </c:pt>
                <c:pt idx="225">
                  <c:v>41955</c:v>
                </c:pt>
                <c:pt idx="226">
                  <c:v>41956</c:v>
                </c:pt>
                <c:pt idx="227">
                  <c:v>41957</c:v>
                </c:pt>
                <c:pt idx="228">
                  <c:v>41960</c:v>
                </c:pt>
                <c:pt idx="229">
                  <c:v>41961</c:v>
                </c:pt>
                <c:pt idx="230">
                  <c:v>41962</c:v>
                </c:pt>
                <c:pt idx="231">
                  <c:v>41963</c:v>
                </c:pt>
                <c:pt idx="232">
                  <c:v>41964</c:v>
                </c:pt>
                <c:pt idx="233">
                  <c:v>41967</c:v>
                </c:pt>
                <c:pt idx="234">
                  <c:v>41968</c:v>
                </c:pt>
                <c:pt idx="235">
                  <c:v>41969</c:v>
                </c:pt>
                <c:pt idx="236">
                  <c:v>41970</c:v>
                </c:pt>
                <c:pt idx="237">
                  <c:v>41971</c:v>
                </c:pt>
                <c:pt idx="238">
                  <c:v>41974</c:v>
                </c:pt>
                <c:pt idx="239">
                  <c:v>41975</c:v>
                </c:pt>
                <c:pt idx="240">
                  <c:v>41976</c:v>
                </c:pt>
                <c:pt idx="241">
                  <c:v>41977</c:v>
                </c:pt>
                <c:pt idx="242">
                  <c:v>41978</c:v>
                </c:pt>
                <c:pt idx="243">
                  <c:v>41981</c:v>
                </c:pt>
                <c:pt idx="244">
                  <c:v>41982</c:v>
                </c:pt>
                <c:pt idx="245">
                  <c:v>41983</c:v>
                </c:pt>
                <c:pt idx="246">
                  <c:v>41984</c:v>
                </c:pt>
                <c:pt idx="247">
                  <c:v>41985</c:v>
                </c:pt>
                <c:pt idx="248">
                  <c:v>41988</c:v>
                </c:pt>
                <c:pt idx="249">
                  <c:v>41989</c:v>
                </c:pt>
                <c:pt idx="250">
                  <c:v>41990</c:v>
                </c:pt>
                <c:pt idx="251">
                  <c:v>41991</c:v>
                </c:pt>
                <c:pt idx="252">
                  <c:v>41992</c:v>
                </c:pt>
                <c:pt idx="253">
                  <c:v>41995</c:v>
                </c:pt>
                <c:pt idx="254">
                  <c:v>41996</c:v>
                </c:pt>
                <c:pt idx="255">
                  <c:v>41997</c:v>
                </c:pt>
                <c:pt idx="256">
                  <c:v>41998</c:v>
                </c:pt>
                <c:pt idx="257">
                  <c:v>41999</c:v>
                </c:pt>
                <c:pt idx="258">
                  <c:v>42002</c:v>
                </c:pt>
                <c:pt idx="259">
                  <c:v>42003</c:v>
                </c:pt>
                <c:pt idx="260">
                  <c:v>42004</c:v>
                </c:pt>
                <c:pt idx="261">
                  <c:v>42005</c:v>
                </c:pt>
                <c:pt idx="262">
                  <c:v>42006</c:v>
                </c:pt>
                <c:pt idx="263">
                  <c:v>42009</c:v>
                </c:pt>
                <c:pt idx="264">
                  <c:v>42010</c:v>
                </c:pt>
                <c:pt idx="265">
                  <c:v>42011</c:v>
                </c:pt>
                <c:pt idx="266">
                  <c:v>42012</c:v>
                </c:pt>
                <c:pt idx="267">
                  <c:v>42013</c:v>
                </c:pt>
                <c:pt idx="268">
                  <c:v>42016</c:v>
                </c:pt>
                <c:pt idx="269">
                  <c:v>42017</c:v>
                </c:pt>
                <c:pt idx="270">
                  <c:v>42018</c:v>
                </c:pt>
                <c:pt idx="271">
                  <c:v>42019</c:v>
                </c:pt>
                <c:pt idx="272">
                  <c:v>42020</c:v>
                </c:pt>
                <c:pt idx="273">
                  <c:v>42023</c:v>
                </c:pt>
                <c:pt idx="274">
                  <c:v>42024</c:v>
                </c:pt>
                <c:pt idx="275">
                  <c:v>42025</c:v>
                </c:pt>
                <c:pt idx="276">
                  <c:v>42026</c:v>
                </c:pt>
                <c:pt idx="277">
                  <c:v>42027</c:v>
                </c:pt>
                <c:pt idx="278">
                  <c:v>42030</c:v>
                </c:pt>
                <c:pt idx="279">
                  <c:v>42031</c:v>
                </c:pt>
                <c:pt idx="280">
                  <c:v>42032</c:v>
                </c:pt>
                <c:pt idx="281">
                  <c:v>42033</c:v>
                </c:pt>
                <c:pt idx="282">
                  <c:v>42034</c:v>
                </c:pt>
                <c:pt idx="283">
                  <c:v>42037</c:v>
                </c:pt>
                <c:pt idx="284">
                  <c:v>42038</c:v>
                </c:pt>
                <c:pt idx="285">
                  <c:v>42039</c:v>
                </c:pt>
                <c:pt idx="286">
                  <c:v>42040</c:v>
                </c:pt>
                <c:pt idx="287">
                  <c:v>42041</c:v>
                </c:pt>
                <c:pt idx="288">
                  <c:v>42044</c:v>
                </c:pt>
                <c:pt idx="289">
                  <c:v>42045</c:v>
                </c:pt>
                <c:pt idx="290">
                  <c:v>42046</c:v>
                </c:pt>
                <c:pt idx="291">
                  <c:v>42047</c:v>
                </c:pt>
                <c:pt idx="292">
                  <c:v>42048</c:v>
                </c:pt>
                <c:pt idx="293">
                  <c:v>42051</c:v>
                </c:pt>
                <c:pt idx="294">
                  <c:v>42052</c:v>
                </c:pt>
                <c:pt idx="295">
                  <c:v>42053</c:v>
                </c:pt>
                <c:pt idx="296">
                  <c:v>42054</c:v>
                </c:pt>
                <c:pt idx="297">
                  <c:v>42055</c:v>
                </c:pt>
                <c:pt idx="298">
                  <c:v>42058</c:v>
                </c:pt>
                <c:pt idx="299">
                  <c:v>42059</c:v>
                </c:pt>
                <c:pt idx="300">
                  <c:v>42060</c:v>
                </c:pt>
                <c:pt idx="301">
                  <c:v>42061</c:v>
                </c:pt>
                <c:pt idx="302">
                  <c:v>42062</c:v>
                </c:pt>
                <c:pt idx="303">
                  <c:v>42065</c:v>
                </c:pt>
                <c:pt idx="304">
                  <c:v>42066</c:v>
                </c:pt>
                <c:pt idx="305">
                  <c:v>42067</c:v>
                </c:pt>
                <c:pt idx="306">
                  <c:v>42068</c:v>
                </c:pt>
                <c:pt idx="307">
                  <c:v>42069</c:v>
                </c:pt>
                <c:pt idx="308">
                  <c:v>42072</c:v>
                </c:pt>
                <c:pt idx="309">
                  <c:v>42073</c:v>
                </c:pt>
                <c:pt idx="310">
                  <c:v>42074</c:v>
                </c:pt>
                <c:pt idx="311">
                  <c:v>42075</c:v>
                </c:pt>
                <c:pt idx="312">
                  <c:v>42076</c:v>
                </c:pt>
                <c:pt idx="313">
                  <c:v>42079</c:v>
                </c:pt>
                <c:pt idx="314">
                  <c:v>42080</c:v>
                </c:pt>
                <c:pt idx="315">
                  <c:v>42081</c:v>
                </c:pt>
                <c:pt idx="316">
                  <c:v>42082</c:v>
                </c:pt>
                <c:pt idx="317">
                  <c:v>42083</c:v>
                </c:pt>
                <c:pt idx="318">
                  <c:v>42086</c:v>
                </c:pt>
                <c:pt idx="319">
                  <c:v>42087</c:v>
                </c:pt>
                <c:pt idx="320">
                  <c:v>42088</c:v>
                </c:pt>
                <c:pt idx="321">
                  <c:v>42089</c:v>
                </c:pt>
                <c:pt idx="322">
                  <c:v>42090</c:v>
                </c:pt>
                <c:pt idx="323">
                  <c:v>42093</c:v>
                </c:pt>
                <c:pt idx="324">
                  <c:v>42094</c:v>
                </c:pt>
                <c:pt idx="325">
                  <c:v>42095</c:v>
                </c:pt>
                <c:pt idx="326">
                  <c:v>42096</c:v>
                </c:pt>
                <c:pt idx="327">
                  <c:v>42097</c:v>
                </c:pt>
                <c:pt idx="328">
                  <c:v>42100</c:v>
                </c:pt>
                <c:pt idx="329">
                  <c:v>42101</c:v>
                </c:pt>
                <c:pt idx="330">
                  <c:v>42102</c:v>
                </c:pt>
                <c:pt idx="331">
                  <c:v>42103</c:v>
                </c:pt>
                <c:pt idx="332">
                  <c:v>42104</c:v>
                </c:pt>
                <c:pt idx="333">
                  <c:v>42107</c:v>
                </c:pt>
                <c:pt idx="334">
                  <c:v>42108</c:v>
                </c:pt>
                <c:pt idx="335">
                  <c:v>42109</c:v>
                </c:pt>
                <c:pt idx="336">
                  <c:v>42110</c:v>
                </c:pt>
                <c:pt idx="337">
                  <c:v>42111</c:v>
                </c:pt>
                <c:pt idx="338">
                  <c:v>42114</c:v>
                </c:pt>
                <c:pt idx="339">
                  <c:v>42115</c:v>
                </c:pt>
                <c:pt idx="340">
                  <c:v>42116</c:v>
                </c:pt>
                <c:pt idx="341">
                  <c:v>42117</c:v>
                </c:pt>
                <c:pt idx="342">
                  <c:v>42118</c:v>
                </c:pt>
                <c:pt idx="343">
                  <c:v>42121</c:v>
                </c:pt>
                <c:pt idx="344">
                  <c:v>42122</c:v>
                </c:pt>
                <c:pt idx="345">
                  <c:v>42123</c:v>
                </c:pt>
                <c:pt idx="346">
                  <c:v>42124</c:v>
                </c:pt>
                <c:pt idx="347">
                  <c:v>42125</c:v>
                </c:pt>
                <c:pt idx="348">
                  <c:v>42128</c:v>
                </c:pt>
                <c:pt idx="349">
                  <c:v>42129</c:v>
                </c:pt>
                <c:pt idx="350">
                  <c:v>42130</c:v>
                </c:pt>
                <c:pt idx="351">
                  <c:v>42131</c:v>
                </c:pt>
                <c:pt idx="352">
                  <c:v>42132</c:v>
                </c:pt>
                <c:pt idx="353">
                  <c:v>42135</c:v>
                </c:pt>
                <c:pt idx="354">
                  <c:v>42136</c:v>
                </c:pt>
                <c:pt idx="355">
                  <c:v>42137</c:v>
                </c:pt>
                <c:pt idx="356">
                  <c:v>42138</c:v>
                </c:pt>
                <c:pt idx="357">
                  <c:v>42139</c:v>
                </c:pt>
                <c:pt idx="358">
                  <c:v>42142</c:v>
                </c:pt>
                <c:pt idx="359">
                  <c:v>42143</c:v>
                </c:pt>
                <c:pt idx="360">
                  <c:v>42144</c:v>
                </c:pt>
                <c:pt idx="361">
                  <c:v>42145</c:v>
                </c:pt>
                <c:pt idx="362">
                  <c:v>42146</c:v>
                </c:pt>
                <c:pt idx="363">
                  <c:v>42149</c:v>
                </c:pt>
                <c:pt idx="364">
                  <c:v>42150</c:v>
                </c:pt>
                <c:pt idx="365">
                  <c:v>42151</c:v>
                </c:pt>
                <c:pt idx="366">
                  <c:v>42152</c:v>
                </c:pt>
                <c:pt idx="367">
                  <c:v>42153</c:v>
                </c:pt>
                <c:pt idx="368">
                  <c:v>42156</c:v>
                </c:pt>
                <c:pt idx="369">
                  <c:v>42157</c:v>
                </c:pt>
                <c:pt idx="370">
                  <c:v>42158</c:v>
                </c:pt>
                <c:pt idx="371">
                  <c:v>42159</c:v>
                </c:pt>
                <c:pt idx="372">
                  <c:v>42160</c:v>
                </c:pt>
                <c:pt idx="373">
                  <c:v>42163</c:v>
                </c:pt>
                <c:pt idx="374">
                  <c:v>42164</c:v>
                </c:pt>
                <c:pt idx="375">
                  <c:v>42165</c:v>
                </c:pt>
                <c:pt idx="376">
                  <c:v>42166</c:v>
                </c:pt>
                <c:pt idx="377">
                  <c:v>42167</c:v>
                </c:pt>
                <c:pt idx="378">
                  <c:v>42170</c:v>
                </c:pt>
                <c:pt idx="379">
                  <c:v>42171</c:v>
                </c:pt>
                <c:pt idx="380">
                  <c:v>42172</c:v>
                </c:pt>
                <c:pt idx="381">
                  <c:v>42173</c:v>
                </c:pt>
                <c:pt idx="382">
                  <c:v>42174</c:v>
                </c:pt>
                <c:pt idx="383">
                  <c:v>42177</c:v>
                </c:pt>
                <c:pt idx="384">
                  <c:v>42178</c:v>
                </c:pt>
                <c:pt idx="385">
                  <c:v>42179</c:v>
                </c:pt>
                <c:pt idx="386">
                  <c:v>42180</c:v>
                </c:pt>
                <c:pt idx="387">
                  <c:v>42181</c:v>
                </c:pt>
                <c:pt idx="388">
                  <c:v>42184</c:v>
                </c:pt>
                <c:pt idx="389">
                  <c:v>42185</c:v>
                </c:pt>
                <c:pt idx="390">
                  <c:v>42186</c:v>
                </c:pt>
                <c:pt idx="391">
                  <c:v>42187</c:v>
                </c:pt>
                <c:pt idx="392">
                  <c:v>42188</c:v>
                </c:pt>
                <c:pt idx="393">
                  <c:v>42191</c:v>
                </c:pt>
                <c:pt idx="394">
                  <c:v>42192</c:v>
                </c:pt>
                <c:pt idx="395">
                  <c:v>42193</c:v>
                </c:pt>
                <c:pt idx="396">
                  <c:v>42194</c:v>
                </c:pt>
                <c:pt idx="397">
                  <c:v>42195</c:v>
                </c:pt>
                <c:pt idx="398">
                  <c:v>42198</c:v>
                </c:pt>
                <c:pt idx="399">
                  <c:v>42199</c:v>
                </c:pt>
                <c:pt idx="400">
                  <c:v>42200</c:v>
                </c:pt>
                <c:pt idx="401">
                  <c:v>42201</c:v>
                </c:pt>
                <c:pt idx="402">
                  <c:v>42202</c:v>
                </c:pt>
                <c:pt idx="403">
                  <c:v>42205</c:v>
                </c:pt>
                <c:pt idx="404">
                  <c:v>42206</c:v>
                </c:pt>
                <c:pt idx="405">
                  <c:v>42207</c:v>
                </c:pt>
                <c:pt idx="406">
                  <c:v>42208</c:v>
                </c:pt>
                <c:pt idx="407">
                  <c:v>42209</c:v>
                </c:pt>
                <c:pt idx="408">
                  <c:v>42212</c:v>
                </c:pt>
                <c:pt idx="409">
                  <c:v>42213</c:v>
                </c:pt>
                <c:pt idx="410">
                  <c:v>42214</c:v>
                </c:pt>
                <c:pt idx="411">
                  <c:v>42215</c:v>
                </c:pt>
                <c:pt idx="412">
                  <c:v>42216</c:v>
                </c:pt>
                <c:pt idx="413">
                  <c:v>42219</c:v>
                </c:pt>
                <c:pt idx="414">
                  <c:v>42220</c:v>
                </c:pt>
                <c:pt idx="415">
                  <c:v>42221</c:v>
                </c:pt>
                <c:pt idx="416">
                  <c:v>42222</c:v>
                </c:pt>
                <c:pt idx="417">
                  <c:v>42223</c:v>
                </c:pt>
                <c:pt idx="418">
                  <c:v>42226</c:v>
                </c:pt>
                <c:pt idx="419">
                  <c:v>42227</c:v>
                </c:pt>
                <c:pt idx="420">
                  <c:v>42228</c:v>
                </c:pt>
                <c:pt idx="421">
                  <c:v>42229</c:v>
                </c:pt>
                <c:pt idx="422">
                  <c:v>42230</c:v>
                </c:pt>
                <c:pt idx="423">
                  <c:v>42233</c:v>
                </c:pt>
                <c:pt idx="424">
                  <c:v>42234</c:v>
                </c:pt>
                <c:pt idx="425">
                  <c:v>42235</c:v>
                </c:pt>
                <c:pt idx="426">
                  <c:v>42236</c:v>
                </c:pt>
                <c:pt idx="427">
                  <c:v>42237</c:v>
                </c:pt>
                <c:pt idx="428">
                  <c:v>42240</c:v>
                </c:pt>
                <c:pt idx="429">
                  <c:v>42241</c:v>
                </c:pt>
                <c:pt idx="430">
                  <c:v>42242</c:v>
                </c:pt>
                <c:pt idx="431">
                  <c:v>42243</c:v>
                </c:pt>
                <c:pt idx="432">
                  <c:v>42244</c:v>
                </c:pt>
                <c:pt idx="433">
                  <c:v>42247</c:v>
                </c:pt>
                <c:pt idx="434">
                  <c:v>42248</c:v>
                </c:pt>
                <c:pt idx="435">
                  <c:v>42249</c:v>
                </c:pt>
                <c:pt idx="436">
                  <c:v>42250</c:v>
                </c:pt>
                <c:pt idx="437">
                  <c:v>42251</c:v>
                </c:pt>
                <c:pt idx="438">
                  <c:v>42254</c:v>
                </c:pt>
                <c:pt idx="439">
                  <c:v>42255</c:v>
                </c:pt>
                <c:pt idx="440">
                  <c:v>42256</c:v>
                </c:pt>
                <c:pt idx="441">
                  <c:v>42257</c:v>
                </c:pt>
                <c:pt idx="442">
                  <c:v>42258</c:v>
                </c:pt>
                <c:pt idx="443">
                  <c:v>42261</c:v>
                </c:pt>
                <c:pt idx="444">
                  <c:v>42262</c:v>
                </c:pt>
                <c:pt idx="445">
                  <c:v>42263</c:v>
                </c:pt>
                <c:pt idx="446">
                  <c:v>42264</c:v>
                </c:pt>
                <c:pt idx="447">
                  <c:v>42265</c:v>
                </c:pt>
                <c:pt idx="448">
                  <c:v>42268</c:v>
                </c:pt>
                <c:pt idx="449">
                  <c:v>42269</c:v>
                </c:pt>
                <c:pt idx="450">
                  <c:v>42270</c:v>
                </c:pt>
                <c:pt idx="451">
                  <c:v>42271</c:v>
                </c:pt>
                <c:pt idx="452">
                  <c:v>42272</c:v>
                </c:pt>
                <c:pt idx="453">
                  <c:v>42275</c:v>
                </c:pt>
                <c:pt idx="454">
                  <c:v>42276</c:v>
                </c:pt>
                <c:pt idx="455">
                  <c:v>42277</c:v>
                </c:pt>
                <c:pt idx="456">
                  <c:v>42278</c:v>
                </c:pt>
                <c:pt idx="457">
                  <c:v>42279</c:v>
                </c:pt>
                <c:pt idx="458">
                  <c:v>42282</c:v>
                </c:pt>
                <c:pt idx="459">
                  <c:v>42283</c:v>
                </c:pt>
                <c:pt idx="460">
                  <c:v>42284</c:v>
                </c:pt>
                <c:pt idx="461">
                  <c:v>42285</c:v>
                </c:pt>
                <c:pt idx="462">
                  <c:v>42286</c:v>
                </c:pt>
                <c:pt idx="463">
                  <c:v>42289</c:v>
                </c:pt>
                <c:pt idx="464">
                  <c:v>42290</c:v>
                </c:pt>
                <c:pt idx="465">
                  <c:v>42291</c:v>
                </c:pt>
                <c:pt idx="466">
                  <c:v>42292</c:v>
                </c:pt>
                <c:pt idx="467">
                  <c:v>42293</c:v>
                </c:pt>
                <c:pt idx="468">
                  <c:v>42296</c:v>
                </c:pt>
                <c:pt idx="469">
                  <c:v>42297</c:v>
                </c:pt>
                <c:pt idx="470">
                  <c:v>42298</c:v>
                </c:pt>
                <c:pt idx="471">
                  <c:v>42299</c:v>
                </c:pt>
                <c:pt idx="472">
                  <c:v>42300</c:v>
                </c:pt>
                <c:pt idx="473">
                  <c:v>42303</c:v>
                </c:pt>
                <c:pt idx="474">
                  <c:v>42304</c:v>
                </c:pt>
                <c:pt idx="475">
                  <c:v>42305</c:v>
                </c:pt>
                <c:pt idx="476">
                  <c:v>42306</c:v>
                </c:pt>
                <c:pt idx="477">
                  <c:v>42307</c:v>
                </c:pt>
                <c:pt idx="478">
                  <c:v>42310</c:v>
                </c:pt>
                <c:pt idx="479">
                  <c:v>42311</c:v>
                </c:pt>
                <c:pt idx="480">
                  <c:v>42312</c:v>
                </c:pt>
                <c:pt idx="481">
                  <c:v>42313</c:v>
                </c:pt>
                <c:pt idx="482">
                  <c:v>42314</c:v>
                </c:pt>
                <c:pt idx="483">
                  <c:v>42317</c:v>
                </c:pt>
                <c:pt idx="484">
                  <c:v>42318</c:v>
                </c:pt>
                <c:pt idx="485">
                  <c:v>42319</c:v>
                </c:pt>
                <c:pt idx="486">
                  <c:v>42320</c:v>
                </c:pt>
                <c:pt idx="487">
                  <c:v>42321</c:v>
                </c:pt>
                <c:pt idx="488">
                  <c:v>42324</c:v>
                </c:pt>
                <c:pt idx="489">
                  <c:v>42325</c:v>
                </c:pt>
                <c:pt idx="490">
                  <c:v>42326</c:v>
                </c:pt>
                <c:pt idx="491">
                  <c:v>42327</c:v>
                </c:pt>
                <c:pt idx="492">
                  <c:v>42328</c:v>
                </c:pt>
                <c:pt idx="493">
                  <c:v>42331</c:v>
                </c:pt>
                <c:pt idx="494">
                  <c:v>42332</c:v>
                </c:pt>
                <c:pt idx="495">
                  <c:v>42333</c:v>
                </c:pt>
                <c:pt idx="496">
                  <c:v>42334</c:v>
                </c:pt>
                <c:pt idx="497">
                  <c:v>42335</c:v>
                </c:pt>
                <c:pt idx="498">
                  <c:v>42338</c:v>
                </c:pt>
                <c:pt idx="499">
                  <c:v>42339</c:v>
                </c:pt>
                <c:pt idx="500">
                  <c:v>42340</c:v>
                </c:pt>
                <c:pt idx="501">
                  <c:v>42341</c:v>
                </c:pt>
                <c:pt idx="502">
                  <c:v>42342</c:v>
                </c:pt>
                <c:pt idx="503">
                  <c:v>42345</c:v>
                </c:pt>
                <c:pt idx="504">
                  <c:v>42346</c:v>
                </c:pt>
                <c:pt idx="505">
                  <c:v>42347</c:v>
                </c:pt>
                <c:pt idx="506">
                  <c:v>42348</c:v>
                </c:pt>
                <c:pt idx="507">
                  <c:v>42349</c:v>
                </c:pt>
                <c:pt idx="508">
                  <c:v>42352</c:v>
                </c:pt>
                <c:pt idx="509">
                  <c:v>42353</c:v>
                </c:pt>
                <c:pt idx="510">
                  <c:v>42354</c:v>
                </c:pt>
                <c:pt idx="511">
                  <c:v>42355</c:v>
                </c:pt>
                <c:pt idx="512">
                  <c:v>42356</c:v>
                </c:pt>
                <c:pt idx="513">
                  <c:v>42359</c:v>
                </c:pt>
                <c:pt idx="514">
                  <c:v>42360</c:v>
                </c:pt>
                <c:pt idx="515">
                  <c:v>42361</c:v>
                </c:pt>
                <c:pt idx="516">
                  <c:v>42362</c:v>
                </c:pt>
                <c:pt idx="517">
                  <c:v>42363</c:v>
                </c:pt>
                <c:pt idx="518">
                  <c:v>42366</c:v>
                </c:pt>
                <c:pt idx="519">
                  <c:v>42367</c:v>
                </c:pt>
                <c:pt idx="520">
                  <c:v>42368</c:v>
                </c:pt>
                <c:pt idx="521">
                  <c:v>42369</c:v>
                </c:pt>
                <c:pt idx="522">
                  <c:v>42370</c:v>
                </c:pt>
                <c:pt idx="523">
                  <c:v>42373</c:v>
                </c:pt>
                <c:pt idx="524">
                  <c:v>42374</c:v>
                </c:pt>
                <c:pt idx="525">
                  <c:v>42375</c:v>
                </c:pt>
                <c:pt idx="526">
                  <c:v>42376</c:v>
                </c:pt>
                <c:pt idx="527">
                  <c:v>42377</c:v>
                </c:pt>
                <c:pt idx="528">
                  <c:v>42380</c:v>
                </c:pt>
                <c:pt idx="529">
                  <c:v>42381</c:v>
                </c:pt>
                <c:pt idx="530">
                  <c:v>42382</c:v>
                </c:pt>
                <c:pt idx="531">
                  <c:v>42383</c:v>
                </c:pt>
                <c:pt idx="532">
                  <c:v>42384</c:v>
                </c:pt>
                <c:pt idx="533">
                  <c:v>42387</c:v>
                </c:pt>
                <c:pt idx="534">
                  <c:v>42388</c:v>
                </c:pt>
                <c:pt idx="535">
                  <c:v>42389</c:v>
                </c:pt>
                <c:pt idx="536">
                  <c:v>42390</c:v>
                </c:pt>
                <c:pt idx="537">
                  <c:v>42391</c:v>
                </c:pt>
                <c:pt idx="538">
                  <c:v>42394</c:v>
                </c:pt>
                <c:pt idx="539">
                  <c:v>42395</c:v>
                </c:pt>
                <c:pt idx="540">
                  <c:v>42396</c:v>
                </c:pt>
                <c:pt idx="541">
                  <c:v>42397</c:v>
                </c:pt>
                <c:pt idx="542">
                  <c:v>42398</c:v>
                </c:pt>
                <c:pt idx="543">
                  <c:v>42401</c:v>
                </c:pt>
                <c:pt idx="544">
                  <c:v>42402</c:v>
                </c:pt>
                <c:pt idx="545">
                  <c:v>42403</c:v>
                </c:pt>
                <c:pt idx="546">
                  <c:v>42404</c:v>
                </c:pt>
                <c:pt idx="547">
                  <c:v>42405</c:v>
                </c:pt>
                <c:pt idx="548">
                  <c:v>42408</c:v>
                </c:pt>
                <c:pt idx="549">
                  <c:v>42409</c:v>
                </c:pt>
                <c:pt idx="550">
                  <c:v>42410</c:v>
                </c:pt>
                <c:pt idx="551">
                  <c:v>42411</c:v>
                </c:pt>
                <c:pt idx="552">
                  <c:v>42412</c:v>
                </c:pt>
                <c:pt idx="553">
                  <c:v>42415</c:v>
                </c:pt>
                <c:pt idx="554">
                  <c:v>42416</c:v>
                </c:pt>
                <c:pt idx="555">
                  <c:v>42417</c:v>
                </c:pt>
                <c:pt idx="556">
                  <c:v>42418</c:v>
                </c:pt>
                <c:pt idx="557">
                  <c:v>42419</c:v>
                </c:pt>
                <c:pt idx="558">
                  <c:v>42422</c:v>
                </c:pt>
                <c:pt idx="559">
                  <c:v>42423</c:v>
                </c:pt>
                <c:pt idx="560">
                  <c:v>42424</c:v>
                </c:pt>
                <c:pt idx="561">
                  <c:v>42425</c:v>
                </c:pt>
                <c:pt idx="562">
                  <c:v>42426</c:v>
                </c:pt>
                <c:pt idx="563">
                  <c:v>42429</c:v>
                </c:pt>
                <c:pt idx="564">
                  <c:v>42430</c:v>
                </c:pt>
                <c:pt idx="565">
                  <c:v>42431</c:v>
                </c:pt>
                <c:pt idx="566">
                  <c:v>42432</c:v>
                </c:pt>
                <c:pt idx="567">
                  <c:v>42433</c:v>
                </c:pt>
                <c:pt idx="568">
                  <c:v>42436</c:v>
                </c:pt>
                <c:pt idx="569">
                  <c:v>42437</c:v>
                </c:pt>
                <c:pt idx="570">
                  <c:v>42438</c:v>
                </c:pt>
                <c:pt idx="571">
                  <c:v>42439</c:v>
                </c:pt>
                <c:pt idx="572">
                  <c:v>42440</c:v>
                </c:pt>
                <c:pt idx="573">
                  <c:v>42443</c:v>
                </c:pt>
                <c:pt idx="574">
                  <c:v>42444</c:v>
                </c:pt>
                <c:pt idx="575">
                  <c:v>42445</c:v>
                </c:pt>
                <c:pt idx="576">
                  <c:v>42446</c:v>
                </c:pt>
                <c:pt idx="577">
                  <c:v>42447</c:v>
                </c:pt>
                <c:pt idx="578">
                  <c:v>42450</c:v>
                </c:pt>
                <c:pt idx="579">
                  <c:v>42451</c:v>
                </c:pt>
                <c:pt idx="580">
                  <c:v>42452</c:v>
                </c:pt>
                <c:pt idx="581">
                  <c:v>42453</c:v>
                </c:pt>
                <c:pt idx="582">
                  <c:v>42454</c:v>
                </c:pt>
                <c:pt idx="583">
                  <c:v>42457</c:v>
                </c:pt>
                <c:pt idx="584">
                  <c:v>42458</c:v>
                </c:pt>
                <c:pt idx="585">
                  <c:v>42459</c:v>
                </c:pt>
                <c:pt idx="586">
                  <c:v>42460</c:v>
                </c:pt>
                <c:pt idx="587">
                  <c:v>42461</c:v>
                </c:pt>
                <c:pt idx="588">
                  <c:v>42464</c:v>
                </c:pt>
                <c:pt idx="589">
                  <c:v>42465</c:v>
                </c:pt>
                <c:pt idx="590">
                  <c:v>42466</c:v>
                </c:pt>
                <c:pt idx="591">
                  <c:v>42467</c:v>
                </c:pt>
                <c:pt idx="592">
                  <c:v>42468</c:v>
                </c:pt>
                <c:pt idx="593">
                  <c:v>42471</c:v>
                </c:pt>
                <c:pt idx="594">
                  <c:v>42472</c:v>
                </c:pt>
                <c:pt idx="595">
                  <c:v>42473</c:v>
                </c:pt>
                <c:pt idx="596">
                  <c:v>42474</c:v>
                </c:pt>
                <c:pt idx="597">
                  <c:v>42475</c:v>
                </c:pt>
                <c:pt idx="598">
                  <c:v>42478</c:v>
                </c:pt>
                <c:pt idx="599">
                  <c:v>42479</c:v>
                </c:pt>
                <c:pt idx="600">
                  <c:v>42480</c:v>
                </c:pt>
                <c:pt idx="601">
                  <c:v>42481</c:v>
                </c:pt>
                <c:pt idx="602">
                  <c:v>42482</c:v>
                </c:pt>
                <c:pt idx="603">
                  <c:v>42485</c:v>
                </c:pt>
                <c:pt idx="604">
                  <c:v>42486</c:v>
                </c:pt>
                <c:pt idx="605">
                  <c:v>42487</c:v>
                </c:pt>
                <c:pt idx="606">
                  <c:v>42488</c:v>
                </c:pt>
                <c:pt idx="607">
                  <c:v>42489</c:v>
                </c:pt>
                <c:pt idx="608">
                  <c:v>42492</c:v>
                </c:pt>
                <c:pt idx="609">
                  <c:v>42493</c:v>
                </c:pt>
                <c:pt idx="610">
                  <c:v>42494</c:v>
                </c:pt>
                <c:pt idx="611">
                  <c:v>42495</c:v>
                </c:pt>
                <c:pt idx="612">
                  <c:v>42496</c:v>
                </c:pt>
                <c:pt idx="613">
                  <c:v>42499</c:v>
                </c:pt>
                <c:pt idx="614">
                  <c:v>42500</c:v>
                </c:pt>
                <c:pt idx="615">
                  <c:v>42501</c:v>
                </c:pt>
                <c:pt idx="616">
                  <c:v>42502</c:v>
                </c:pt>
                <c:pt idx="617">
                  <c:v>42503</c:v>
                </c:pt>
                <c:pt idx="618">
                  <c:v>42506</c:v>
                </c:pt>
                <c:pt idx="619">
                  <c:v>42507</c:v>
                </c:pt>
                <c:pt idx="620">
                  <c:v>42508</c:v>
                </c:pt>
                <c:pt idx="621">
                  <c:v>42509</c:v>
                </c:pt>
                <c:pt idx="622">
                  <c:v>42510</c:v>
                </c:pt>
                <c:pt idx="623">
                  <c:v>42513</c:v>
                </c:pt>
                <c:pt idx="624">
                  <c:v>42514</c:v>
                </c:pt>
                <c:pt idx="625">
                  <c:v>42515</c:v>
                </c:pt>
                <c:pt idx="626">
                  <c:v>42516</c:v>
                </c:pt>
                <c:pt idx="627">
                  <c:v>42517</c:v>
                </c:pt>
                <c:pt idx="628">
                  <c:v>42520</c:v>
                </c:pt>
                <c:pt idx="629">
                  <c:v>42521</c:v>
                </c:pt>
                <c:pt idx="630">
                  <c:v>42522</c:v>
                </c:pt>
                <c:pt idx="631">
                  <c:v>42523</c:v>
                </c:pt>
                <c:pt idx="632">
                  <c:v>42524</c:v>
                </c:pt>
                <c:pt idx="633">
                  <c:v>42527</c:v>
                </c:pt>
                <c:pt idx="634">
                  <c:v>42528</c:v>
                </c:pt>
                <c:pt idx="635">
                  <c:v>42529</c:v>
                </c:pt>
                <c:pt idx="636">
                  <c:v>42530</c:v>
                </c:pt>
                <c:pt idx="637">
                  <c:v>42531</c:v>
                </c:pt>
                <c:pt idx="638">
                  <c:v>42534</c:v>
                </c:pt>
                <c:pt idx="639">
                  <c:v>42535</c:v>
                </c:pt>
                <c:pt idx="640">
                  <c:v>42536</c:v>
                </c:pt>
                <c:pt idx="641">
                  <c:v>42537</c:v>
                </c:pt>
                <c:pt idx="642">
                  <c:v>42538</c:v>
                </c:pt>
                <c:pt idx="643">
                  <c:v>42541</c:v>
                </c:pt>
                <c:pt idx="644">
                  <c:v>42542</c:v>
                </c:pt>
                <c:pt idx="645">
                  <c:v>42543</c:v>
                </c:pt>
                <c:pt idx="646">
                  <c:v>42544</c:v>
                </c:pt>
                <c:pt idx="647">
                  <c:v>42545</c:v>
                </c:pt>
                <c:pt idx="648">
                  <c:v>42548</c:v>
                </c:pt>
                <c:pt idx="649">
                  <c:v>42549</c:v>
                </c:pt>
                <c:pt idx="650">
                  <c:v>42550</c:v>
                </c:pt>
                <c:pt idx="651">
                  <c:v>42551</c:v>
                </c:pt>
                <c:pt idx="652">
                  <c:v>42552</c:v>
                </c:pt>
                <c:pt idx="653">
                  <c:v>42555</c:v>
                </c:pt>
                <c:pt idx="654">
                  <c:v>42556</c:v>
                </c:pt>
                <c:pt idx="655">
                  <c:v>42557</c:v>
                </c:pt>
                <c:pt idx="656">
                  <c:v>42558</c:v>
                </c:pt>
                <c:pt idx="657">
                  <c:v>42559</c:v>
                </c:pt>
                <c:pt idx="658">
                  <c:v>42562</c:v>
                </c:pt>
                <c:pt idx="659">
                  <c:v>42563</c:v>
                </c:pt>
                <c:pt idx="660">
                  <c:v>42564</c:v>
                </c:pt>
                <c:pt idx="661">
                  <c:v>42565</c:v>
                </c:pt>
                <c:pt idx="662">
                  <c:v>42566</c:v>
                </c:pt>
                <c:pt idx="663">
                  <c:v>42569</c:v>
                </c:pt>
                <c:pt idx="664">
                  <c:v>42570</c:v>
                </c:pt>
                <c:pt idx="665">
                  <c:v>42571</c:v>
                </c:pt>
                <c:pt idx="666">
                  <c:v>42572</c:v>
                </c:pt>
                <c:pt idx="667">
                  <c:v>42573</c:v>
                </c:pt>
                <c:pt idx="668">
                  <c:v>42576</c:v>
                </c:pt>
                <c:pt idx="669">
                  <c:v>42577</c:v>
                </c:pt>
                <c:pt idx="670">
                  <c:v>42578</c:v>
                </c:pt>
                <c:pt idx="671">
                  <c:v>42579</c:v>
                </c:pt>
                <c:pt idx="672">
                  <c:v>42580</c:v>
                </c:pt>
                <c:pt idx="673">
                  <c:v>42583</c:v>
                </c:pt>
                <c:pt idx="674">
                  <c:v>42584</c:v>
                </c:pt>
                <c:pt idx="675">
                  <c:v>42585</c:v>
                </c:pt>
                <c:pt idx="676">
                  <c:v>42586</c:v>
                </c:pt>
                <c:pt idx="677">
                  <c:v>42587</c:v>
                </c:pt>
                <c:pt idx="678">
                  <c:v>42590</c:v>
                </c:pt>
                <c:pt idx="679">
                  <c:v>42591</c:v>
                </c:pt>
                <c:pt idx="680">
                  <c:v>42592</c:v>
                </c:pt>
                <c:pt idx="681">
                  <c:v>42593</c:v>
                </c:pt>
                <c:pt idx="682">
                  <c:v>42594</c:v>
                </c:pt>
                <c:pt idx="683">
                  <c:v>42597</c:v>
                </c:pt>
                <c:pt idx="684">
                  <c:v>42598</c:v>
                </c:pt>
                <c:pt idx="685">
                  <c:v>42599</c:v>
                </c:pt>
                <c:pt idx="686">
                  <c:v>42600</c:v>
                </c:pt>
                <c:pt idx="687">
                  <c:v>42601</c:v>
                </c:pt>
                <c:pt idx="688">
                  <c:v>42604</c:v>
                </c:pt>
                <c:pt idx="689">
                  <c:v>42605</c:v>
                </c:pt>
                <c:pt idx="690">
                  <c:v>42606</c:v>
                </c:pt>
                <c:pt idx="691">
                  <c:v>42607</c:v>
                </c:pt>
                <c:pt idx="692">
                  <c:v>42608</c:v>
                </c:pt>
                <c:pt idx="693">
                  <c:v>42611</c:v>
                </c:pt>
                <c:pt idx="694">
                  <c:v>42612</c:v>
                </c:pt>
                <c:pt idx="695">
                  <c:v>42613</c:v>
                </c:pt>
                <c:pt idx="696">
                  <c:v>42614</c:v>
                </c:pt>
                <c:pt idx="697">
                  <c:v>42615</c:v>
                </c:pt>
                <c:pt idx="698">
                  <c:v>42618</c:v>
                </c:pt>
                <c:pt idx="699">
                  <c:v>42619</c:v>
                </c:pt>
                <c:pt idx="700">
                  <c:v>42620</c:v>
                </c:pt>
                <c:pt idx="701">
                  <c:v>42621</c:v>
                </c:pt>
                <c:pt idx="702">
                  <c:v>42622</c:v>
                </c:pt>
                <c:pt idx="703">
                  <c:v>42625</c:v>
                </c:pt>
                <c:pt idx="704">
                  <c:v>42626</c:v>
                </c:pt>
                <c:pt idx="705">
                  <c:v>42627</c:v>
                </c:pt>
                <c:pt idx="706">
                  <c:v>42628</c:v>
                </c:pt>
                <c:pt idx="707">
                  <c:v>42629</c:v>
                </c:pt>
                <c:pt idx="708">
                  <c:v>42632</c:v>
                </c:pt>
                <c:pt idx="709">
                  <c:v>42633</c:v>
                </c:pt>
                <c:pt idx="710">
                  <c:v>42634</c:v>
                </c:pt>
                <c:pt idx="711">
                  <c:v>42635</c:v>
                </c:pt>
                <c:pt idx="712">
                  <c:v>42636</c:v>
                </c:pt>
                <c:pt idx="713">
                  <c:v>42639</c:v>
                </c:pt>
                <c:pt idx="714">
                  <c:v>42640</c:v>
                </c:pt>
                <c:pt idx="715">
                  <c:v>42641</c:v>
                </c:pt>
                <c:pt idx="716">
                  <c:v>42642</c:v>
                </c:pt>
                <c:pt idx="717">
                  <c:v>42643</c:v>
                </c:pt>
                <c:pt idx="718">
                  <c:v>42646</c:v>
                </c:pt>
                <c:pt idx="719">
                  <c:v>42647</c:v>
                </c:pt>
                <c:pt idx="720">
                  <c:v>42648</c:v>
                </c:pt>
                <c:pt idx="721">
                  <c:v>42649</c:v>
                </c:pt>
                <c:pt idx="722">
                  <c:v>42650</c:v>
                </c:pt>
                <c:pt idx="723">
                  <c:v>42653</c:v>
                </c:pt>
                <c:pt idx="724">
                  <c:v>42654</c:v>
                </c:pt>
                <c:pt idx="725">
                  <c:v>42655</c:v>
                </c:pt>
                <c:pt idx="726">
                  <c:v>42656</c:v>
                </c:pt>
                <c:pt idx="727">
                  <c:v>42657</c:v>
                </c:pt>
                <c:pt idx="728">
                  <c:v>42660</c:v>
                </c:pt>
                <c:pt idx="729">
                  <c:v>42661</c:v>
                </c:pt>
                <c:pt idx="730">
                  <c:v>42662</c:v>
                </c:pt>
                <c:pt idx="731">
                  <c:v>42663</c:v>
                </c:pt>
                <c:pt idx="732">
                  <c:v>42664</c:v>
                </c:pt>
                <c:pt idx="733">
                  <c:v>42667</c:v>
                </c:pt>
                <c:pt idx="734">
                  <c:v>42668</c:v>
                </c:pt>
                <c:pt idx="735">
                  <c:v>42669</c:v>
                </c:pt>
                <c:pt idx="736">
                  <c:v>42670</c:v>
                </c:pt>
                <c:pt idx="737">
                  <c:v>42671</c:v>
                </c:pt>
                <c:pt idx="738">
                  <c:v>42674</c:v>
                </c:pt>
                <c:pt idx="739">
                  <c:v>42675</c:v>
                </c:pt>
                <c:pt idx="740">
                  <c:v>42676</c:v>
                </c:pt>
                <c:pt idx="741">
                  <c:v>42677</c:v>
                </c:pt>
                <c:pt idx="742">
                  <c:v>42678</c:v>
                </c:pt>
                <c:pt idx="743">
                  <c:v>42681</c:v>
                </c:pt>
                <c:pt idx="744">
                  <c:v>42682</c:v>
                </c:pt>
                <c:pt idx="745">
                  <c:v>42683</c:v>
                </c:pt>
                <c:pt idx="746">
                  <c:v>42684</c:v>
                </c:pt>
                <c:pt idx="747">
                  <c:v>42685</c:v>
                </c:pt>
                <c:pt idx="748">
                  <c:v>42688</c:v>
                </c:pt>
                <c:pt idx="749">
                  <c:v>42689</c:v>
                </c:pt>
                <c:pt idx="750">
                  <c:v>42690</c:v>
                </c:pt>
                <c:pt idx="751">
                  <c:v>42691</c:v>
                </c:pt>
                <c:pt idx="752">
                  <c:v>42692</c:v>
                </c:pt>
                <c:pt idx="753">
                  <c:v>42695</c:v>
                </c:pt>
                <c:pt idx="754">
                  <c:v>42696</c:v>
                </c:pt>
                <c:pt idx="755">
                  <c:v>42697</c:v>
                </c:pt>
                <c:pt idx="756">
                  <c:v>42698</c:v>
                </c:pt>
                <c:pt idx="757">
                  <c:v>42699</c:v>
                </c:pt>
                <c:pt idx="758">
                  <c:v>42702</c:v>
                </c:pt>
                <c:pt idx="759">
                  <c:v>42703</c:v>
                </c:pt>
                <c:pt idx="760">
                  <c:v>42704</c:v>
                </c:pt>
                <c:pt idx="761">
                  <c:v>42705</c:v>
                </c:pt>
                <c:pt idx="762">
                  <c:v>42706</c:v>
                </c:pt>
                <c:pt idx="763">
                  <c:v>42709</c:v>
                </c:pt>
                <c:pt idx="764">
                  <c:v>42710</c:v>
                </c:pt>
                <c:pt idx="765">
                  <c:v>42711</c:v>
                </c:pt>
                <c:pt idx="766">
                  <c:v>42712</c:v>
                </c:pt>
                <c:pt idx="767">
                  <c:v>42713</c:v>
                </c:pt>
                <c:pt idx="768">
                  <c:v>42716</c:v>
                </c:pt>
                <c:pt idx="769">
                  <c:v>42717</c:v>
                </c:pt>
                <c:pt idx="770">
                  <c:v>42718</c:v>
                </c:pt>
                <c:pt idx="771">
                  <c:v>42719</c:v>
                </c:pt>
                <c:pt idx="772">
                  <c:v>42720</c:v>
                </c:pt>
                <c:pt idx="773">
                  <c:v>42723</c:v>
                </c:pt>
                <c:pt idx="774">
                  <c:v>42724</c:v>
                </c:pt>
                <c:pt idx="775">
                  <c:v>42725</c:v>
                </c:pt>
                <c:pt idx="776">
                  <c:v>42726</c:v>
                </c:pt>
                <c:pt idx="777">
                  <c:v>42727</c:v>
                </c:pt>
                <c:pt idx="778">
                  <c:v>42730</c:v>
                </c:pt>
                <c:pt idx="779">
                  <c:v>42731</c:v>
                </c:pt>
                <c:pt idx="780">
                  <c:v>42732</c:v>
                </c:pt>
                <c:pt idx="781">
                  <c:v>42733</c:v>
                </c:pt>
                <c:pt idx="782">
                  <c:v>42734</c:v>
                </c:pt>
                <c:pt idx="783">
                  <c:v>42737</c:v>
                </c:pt>
                <c:pt idx="784">
                  <c:v>42738</c:v>
                </c:pt>
                <c:pt idx="785">
                  <c:v>42739</c:v>
                </c:pt>
                <c:pt idx="786">
                  <c:v>42740</c:v>
                </c:pt>
                <c:pt idx="787">
                  <c:v>42741</c:v>
                </c:pt>
                <c:pt idx="788">
                  <c:v>42744</c:v>
                </c:pt>
                <c:pt idx="789">
                  <c:v>42745</c:v>
                </c:pt>
                <c:pt idx="790">
                  <c:v>42746</c:v>
                </c:pt>
                <c:pt idx="791">
                  <c:v>42747</c:v>
                </c:pt>
                <c:pt idx="792">
                  <c:v>42748</c:v>
                </c:pt>
                <c:pt idx="793">
                  <c:v>42751</c:v>
                </c:pt>
                <c:pt idx="794">
                  <c:v>42752</c:v>
                </c:pt>
                <c:pt idx="795">
                  <c:v>42753</c:v>
                </c:pt>
                <c:pt idx="796">
                  <c:v>42754</c:v>
                </c:pt>
                <c:pt idx="797">
                  <c:v>42755</c:v>
                </c:pt>
                <c:pt idx="798">
                  <c:v>42758</c:v>
                </c:pt>
                <c:pt idx="799">
                  <c:v>42759</c:v>
                </c:pt>
                <c:pt idx="800">
                  <c:v>42760</c:v>
                </c:pt>
                <c:pt idx="801">
                  <c:v>42761</c:v>
                </c:pt>
                <c:pt idx="802">
                  <c:v>42762</c:v>
                </c:pt>
                <c:pt idx="803">
                  <c:v>42765</c:v>
                </c:pt>
                <c:pt idx="804">
                  <c:v>42766</c:v>
                </c:pt>
                <c:pt idx="805">
                  <c:v>42767</c:v>
                </c:pt>
                <c:pt idx="806">
                  <c:v>42768</c:v>
                </c:pt>
                <c:pt idx="807">
                  <c:v>42769</c:v>
                </c:pt>
                <c:pt idx="808">
                  <c:v>42772</c:v>
                </c:pt>
                <c:pt idx="809">
                  <c:v>42773</c:v>
                </c:pt>
                <c:pt idx="810">
                  <c:v>42774</c:v>
                </c:pt>
                <c:pt idx="811">
                  <c:v>42775</c:v>
                </c:pt>
                <c:pt idx="812">
                  <c:v>42776</c:v>
                </c:pt>
                <c:pt idx="813">
                  <c:v>42779</c:v>
                </c:pt>
                <c:pt idx="814">
                  <c:v>42780</c:v>
                </c:pt>
                <c:pt idx="815">
                  <c:v>42781</c:v>
                </c:pt>
                <c:pt idx="816">
                  <c:v>42782</c:v>
                </c:pt>
                <c:pt idx="817">
                  <c:v>42783</c:v>
                </c:pt>
                <c:pt idx="818">
                  <c:v>42786</c:v>
                </c:pt>
                <c:pt idx="819">
                  <c:v>42787</c:v>
                </c:pt>
                <c:pt idx="820">
                  <c:v>42788</c:v>
                </c:pt>
                <c:pt idx="821">
                  <c:v>42789</c:v>
                </c:pt>
                <c:pt idx="822">
                  <c:v>42790</c:v>
                </c:pt>
                <c:pt idx="823">
                  <c:v>42793</c:v>
                </c:pt>
                <c:pt idx="824">
                  <c:v>42794</c:v>
                </c:pt>
                <c:pt idx="825">
                  <c:v>42795</c:v>
                </c:pt>
                <c:pt idx="826">
                  <c:v>42796</c:v>
                </c:pt>
                <c:pt idx="827">
                  <c:v>42797</c:v>
                </c:pt>
                <c:pt idx="828">
                  <c:v>42800</c:v>
                </c:pt>
                <c:pt idx="829">
                  <c:v>42801</c:v>
                </c:pt>
                <c:pt idx="830">
                  <c:v>42802</c:v>
                </c:pt>
                <c:pt idx="831">
                  <c:v>42803</c:v>
                </c:pt>
                <c:pt idx="832">
                  <c:v>42804</c:v>
                </c:pt>
                <c:pt idx="833">
                  <c:v>42807</c:v>
                </c:pt>
                <c:pt idx="834">
                  <c:v>42808</c:v>
                </c:pt>
                <c:pt idx="835">
                  <c:v>42809</c:v>
                </c:pt>
                <c:pt idx="836">
                  <c:v>42810</c:v>
                </c:pt>
                <c:pt idx="837">
                  <c:v>42811</c:v>
                </c:pt>
                <c:pt idx="838">
                  <c:v>42814</c:v>
                </c:pt>
                <c:pt idx="839">
                  <c:v>42815</c:v>
                </c:pt>
                <c:pt idx="840">
                  <c:v>42816</c:v>
                </c:pt>
                <c:pt idx="841">
                  <c:v>42817</c:v>
                </c:pt>
                <c:pt idx="842">
                  <c:v>42818</c:v>
                </c:pt>
                <c:pt idx="843">
                  <c:v>42821</c:v>
                </c:pt>
                <c:pt idx="844">
                  <c:v>42822</c:v>
                </c:pt>
                <c:pt idx="845">
                  <c:v>42823</c:v>
                </c:pt>
                <c:pt idx="846">
                  <c:v>42824</c:v>
                </c:pt>
                <c:pt idx="847">
                  <c:v>42825</c:v>
                </c:pt>
                <c:pt idx="848">
                  <c:v>42828</c:v>
                </c:pt>
                <c:pt idx="849">
                  <c:v>42829</c:v>
                </c:pt>
                <c:pt idx="850">
                  <c:v>42830</c:v>
                </c:pt>
                <c:pt idx="851">
                  <c:v>42831</c:v>
                </c:pt>
                <c:pt idx="852">
                  <c:v>42832</c:v>
                </c:pt>
                <c:pt idx="853">
                  <c:v>42835</c:v>
                </c:pt>
                <c:pt idx="854">
                  <c:v>42836</c:v>
                </c:pt>
                <c:pt idx="855">
                  <c:v>42837</c:v>
                </c:pt>
                <c:pt idx="856">
                  <c:v>42838</c:v>
                </c:pt>
                <c:pt idx="857">
                  <c:v>42839</c:v>
                </c:pt>
                <c:pt idx="858">
                  <c:v>42842</c:v>
                </c:pt>
                <c:pt idx="859">
                  <c:v>42843</c:v>
                </c:pt>
                <c:pt idx="860">
                  <c:v>42844</c:v>
                </c:pt>
                <c:pt idx="861">
                  <c:v>42845</c:v>
                </c:pt>
                <c:pt idx="862">
                  <c:v>42846</c:v>
                </c:pt>
                <c:pt idx="863">
                  <c:v>42849</c:v>
                </c:pt>
                <c:pt idx="864">
                  <c:v>42850</c:v>
                </c:pt>
                <c:pt idx="865">
                  <c:v>42851</c:v>
                </c:pt>
                <c:pt idx="866">
                  <c:v>42852</c:v>
                </c:pt>
                <c:pt idx="867">
                  <c:v>42853</c:v>
                </c:pt>
                <c:pt idx="868">
                  <c:v>42856</c:v>
                </c:pt>
                <c:pt idx="869">
                  <c:v>42857</c:v>
                </c:pt>
                <c:pt idx="870">
                  <c:v>42858</c:v>
                </c:pt>
                <c:pt idx="871">
                  <c:v>42859</c:v>
                </c:pt>
                <c:pt idx="872">
                  <c:v>42860</c:v>
                </c:pt>
                <c:pt idx="873">
                  <c:v>42863</c:v>
                </c:pt>
                <c:pt idx="874">
                  <c:v>42864</c:v>
                </c:pt>
                <c:pt idx="875">
                  <c:v>42865</c:v>
                </c:pt>
                <c:pt idx="876">
                  <c:v>42866</c:v>
                </c:pt>
                <c:pt idx="877">
                  <c:v>42867</c:v>
                </c:pt>
                <c:pt idx="878">
                  <c:v>42870</c:v>
                </c:pt>
                <c:pt idx="879">
                  <c:v>42871</c:v>
                </c:pt>
                <c:pt idx="880">
                  <c:v>42872</c:v>
                </c:pt>
                <c:pt idx="881">
                  <c:v>42873</c:v>
                </c:pt>
                <c:pt idx="882">
                  <c:v>42874</c:v>
                </c:pt>
                <c:pt idx="883">
                  <c:v>42877</c:v>
                </c:pt>
                <c:pt idx="884">
                  <c:v>42878</c:v>
                </c:pt>
                <c:pt idx="885">
                  <c:v>42879</c:v>
                </c:pt>
                <c:pt idx="886">
                  <c:v>42880</c:v>
                </c:pt>
                <c:pt idx="887">
                  <c:v>42881</c:v>
                </c:pt>
                <c:pt idx="888">
                  <c:v>42884</c:v>
                </c:pt>
                <c:pt idx="889">
                  <c:v>42885</c:v>
                </c:pt>
                <c:pt idx="890">
                  <c:v>42886</c:v>
                </c:pt>
                <c:pt idx="891">
                  <c:v>42887</c:v>
                </c:pt>
                <c:pt idx="892">
                  <c:v>42888</c:v>
                </c:pt>
                <c:pt idx="893">
                  <c:v>42891</c:v>
                </c:pt>
                <c:pt idx="894">
                  <c:v>42892</c:v>
                </c:pt>
                <c:pt idx="895">
                  <c:v>42893</c:v>
                </c:pt>
                <c:pt idx="896">
                  <c:v>42894</c:v>
                </c:pt>
                <c:pt idx="897">
                  <c:v>42895</c:v>
                </c:pt>
                <c:pt idx="898">
                  <c:v>42898</c:v>
                </c:pt>
                <c:pt idx="899">
                  <c:v>42899</c:v>
                </c:pt>
                <c:pt idx="900">
                  <c:v>42900</c:v>
                </c:pt>
                <c:pt idx="901">
                  <c:v>42901</c:v>
                </c:pt>
                <c:pt idx="902">
                  <c:v>42902</c:v>
                </c:pt>
                <c:pt idx="903">
                  <c:v>42905</c:v>
                </c:pt>
                <c:pt idx="904">
                  <c:v>42906</c:v>
                </c:pt>
                <c:pt idx="905">
                  <c:v>42907</c:v>
                </c:pt>
                <c:pt idx="906">
                  <c:v>42908</c:v>
                </c:pt>
                <c:pt idx="907">
                  <c:v>42909</c:v>
                </c:pt>
                <c:pt idx="908">
                  <c:v>42912</c:v>
                </c:pt>
                <c:pt idx="909">
                  <c:v>42913</c:v>
                </c:pt>
                <c:pt idx="910">
                  <c:v>42914</c:v>
                </c:pt>
                <c:pt idx="911">
                  <c:v>42915</c:v>
                </c:pt>
                <c:pt idx="912">
                  <c:v>42916</c:v>
                </c:pt>
                <c:pt idx="913">
                  <c:v>42919</c:v>
                </c:pt>
                <c:pt idx="914">
                  <c:v>42920</c:v>
                </c:pt>
                <c:pt idx="915">
                  <c:v>42921</c:v>
                </c:pt>
                <c:pt idx="916">
                  <c:v>42922</c:v>
                </c:pt>
                <c:pt idx="917">
                  <c:v>42923</c:v>
                </c:pt>
                <c:pt idx="918">
                  <c:v>42926</c:v>
                </c:pt>
                <c:pt idx="919">
                  <c:v>42927</c:v>
                </c:pt>
                <c:pt idx="920">
                  <c:v>42928</c:v>
                </c:pt>
                <c:pt idx="921">
                  <c:v>42929</c:v>
                </c:pt>
                <c:pt idx="922">
                  <c:v>42930</c:v>
                </c:pt>
                <c:pt idx="923">
                  <c:v>42933</c:v>
                </c:pt>
                <c:pt idx="924">
                  <c:v>42934</c:v>
                </c:pt>
                <c:pt idx="925">
                  <c:v>42935</c:v>
                </c:pt>
                <c:pt idx="926">
                  <c:v>42936</c:v>
                </c:pt>
                <c:pt idx="927">
                  <c:v>42937</c:v>
                </c:pt>
                <c:pt idx="928">
                  <c:v>42940</c:v>
                </c:pt>
                <c:pt idx="929">
                  <c:v>42941</c:v>
                </c:pt>
                <c:pt idx="930">
                  <c:v>42942</c:v>
                </c:pt>
                <c:pt idx="931">
                  <c:v>42943</c:v>
                </c:pt>
                <c:pt idx="932">
                  <c:v>42944</c:v>
                </c:pt>
                <c:pt idx="933">
                  <c:v>42947</c:v>
                </c:pt>
                <c:pt idx="934">
                  <c:v>42948</c:v>
                </c:pt>
                <c:pt idx="935">
                  <c:v>42949</c:v>
                </c:pt>
                <c:pt idx="936">
                  <c:v>42950</c:v>
                </c:pt>
                <c:pt idx="937">
                  <c:v>42951</c:v>
                </c:pt>
                <c:pt idx="938">
                  <c:v>42954</c:v>
                </c:pt>
                <c:pt idx="939">
                  <c:v>42955</c:v>
                </c:pt>
                <c:pt idx="940">
                  <c:v>42956</c:v>
                </c:pt>
                <c:pt idx="941">
                  <c:v>42957</c:v>
                </c:pt>
                <c:pt idx="942">
                  <c:v>42958</c:v>
                </c:pt>
                <c:pt idx="943">
                  <c:v>42961</c:v>
                </c:pt>
                <c:pt idx="944">
                  <c:v>42962</c:v>
                </c:pt>
                <c:pt idx="945">
                  <c:v>42963</c:v>
                </c:pt>
                <c:pt idx="946">
                  <c:v>42964</c:v>
                </c:pt>
                <c:pt idx="947">
                  <c:v>42965</c:v>
                </c:pt>
                <c:pt idx="948">
                  <c:v>42968</c:v>
                </c:pt>
                <c:pt idx="949">
                  <c:v>42969</c:v>
                </c:pt>
                <c:pt idx="950">
                  <c:v>42970</c:v>
                </c:pt>
                <c:pt idx="951">
                  <c:v>42971</c:v>
                </c:pt>
                <c:pt idx="952">
                  <c:v>42972</c:v>
                </c:pt>
                <c:pt idx="953">
                  <c:v>42975</c:v>
                </c:pt>
                <c:pt idx="954">
                  <c:v>42976</c:v>
                </c:pt>
                <c:pt idx="955">
                  <c:v>42977</c:v>
                </c:pt>
                <c:pt idx="956">
                  <c:v>42978</c:v>
                </c:pt>
                <c:pt idx="957">
                  <c:v>42979</c:v>
                </c:pt>
                <c:pt idx="958">
                  <c:v>42982</c:v>
                </c:pt>
                <c:pt idx="959">
                  <c:v>42983</c:v>
                </c:pt>
                <c:pt idx="960">
                  <c:v>42984</c:v>
                </c:pt>
                <c:pt idx="961">
                  <c:v>42985</c:v>
                </c:pt>
                <c:pt idx="962">
                  <c:v>42986</c:v>
                </c:pt>
                <c:pt idx="963">
                  <c:v>42989</c:v>
                </c:pt>
                <c:pt idx="964">
                  <c:v>42990</c:v>
                </c:pt>
                <c:pt idx="965">
                  <c:v>42991</c:v>
                </c:pt>
                <c:pt idx="966">
                  <c:v>42992</c:v>
                </c:pt>
                <c:pt idx="967">
                  <c:v>42993</c:v>
                </c:pt>
                <c:pt idx="968">
                  <c:v>42996</c:v>
                </c:pt>
                <c:pt idx="969">
                  <c:v>42997</c:v>
                </c:pt>
                <c:pt idx="970">
                  <c:v>42998</c:v>
                </c:pt>
                <c:pt idx="971">
                  <c:v>42999</c:v>
                </c:pt>
                <c:pt idx="972">
                  <c:v>43000</c:v>
                </c:pt>
                <c:pt idx="973">
                  <c:v>43003</c:v>
                </c:pt>
                <c:pt idx="974">
                  <c:v>43004</c:v>
                </c:pt>
                <c:pt idx="975">
                  <c:v>43005</c:v>
                </c:pt>
                <c:pt idx="976">
                  <c:v>43006</c:v>
                </c:pt>
                <c:pt idx="977">
                  <c:v>43007</c:v>
                </c:pt>
                <c:pt idx="978">
                  <c:v>43010</c:v>
                </c:pt>
                <c:pt idx="979">
                  <c:v>43011</c:v>
                </c:pt>
                <c:pt idx="980">
                  <c:v>43012</c:v>
                </c:pt>
                <c:pt idx="981">
                  <c:v>43013</c:v>
                </c:pt>
                <c:pt idx="982">
                  <c:v>43014</c:v>
                </c:pt>
                <c:pt idx="983">
                  <c:v>43017</c:v>
                </c:pt>
                <c:pt idx="984">
                  <c:v>43018</c:v>
                </c:pt>
                <c:pt idx="985">
                  <c:v>43019</c:v>
                </c:pt>
                <c:pt idx="986">
                  <c:v>43020</c:v>
                </c:pt>
                <c:pt idx="987">
                  <c:v>43021</c:v>
                </c:pt>
                <c:pt idx="988">
                  <c:v>43024</c:v>
                </c:pt>
                <c:pt idx="989">
                  <c:v>43025</c:v>
                </c:pt>
                <c:pt idx="990">
                  <c:v>43026</c:v>
                </c:pt>
                <c:pt idx="991">
                  <c:v>43027</c:v>
                </c:pt>
                <c:pt idx="992">
                  <c:v>43028</c:v>
                </c:pt>
                <c:pt idx="993">
                  <c:v>43031</c:v>
                </c:pt>
                <c:pt idx="994">
                  <c:v>43032</c:v>
                </c:pt>
                <c:pt idx="995">
                  <c:v>43033</c:v>
                </c:pt>
                <c:pt idx="996">
                  <c:v>43034</c:v>
                </c:pt>
                <c:pt idx="997">
                  <c:v>43035</c:v>
                </c:pt>
                <c:pt idx="998">
                  <c:v>43038</c:v>
                </c:pt>
                <c:pt idx="999">
                  <c:v>43039</c:v>
                </c:pt>
                <c:pt idx="1000">
                  <c:v>43040</c:v>
                </c:pt>
                <c:pt idx="1001">
                  <c:v>43041</c:v>
                </c:pt>
                <c:pt idx="1002">
                  <c:v>43042</c:v>
                </c:pt>
                <c:pt idx="1003">
                  <c:v>43045</c:v>
                </c:pt>
                <c:pt idx="1004">
                  <c:v>43046</c:v>
                </c:pt>
                <c:pt idx="1005">
                  <c:v>43047</c:v>
                </c:pt>
                <c:pt idx="1006">
                  <c:v>43048</c:v>
                </c:pt>
                <c:pt idx="1007">
                  <c:v>43049</c:v>
                </c:pt>
                <c:pt idx="1008">
                  <c:v>43052</c:v>
                </c:pt>
                <c:pt idx="1009">
                  <c:v>43053</c:v>
                </c:pt>
                <c:pt idx="1010">
                  <c:v>43054</c:v>
                </c:pt>
                <c:pt idx="1011">
                  <c:v>43055</c:v>
                </c:pt>
                <c:pt idx="1012">
                  <c:v>43056</c:v>
                </c:pt>
                <c:pt idx="1013">
                  <c:v>43059</c:v>
                </c:pt>
                <c:pt idx="1014">
                  <c:v>43060</c:v>
                </c:pt>
                <c:pt idx="1015">
                  <c:v>43061</c:v>
                </c:pt>
                <c:pt idx="1016">
                  <c:v>43062</c:v>
                </c:pt>
                <c:pt idx="1017">
                  <c:v>43063</c:v>
                </c:pt>
                <c:pt idx="1018">
                  <c:v>43066</c:v>
                </c:pt>
                <c:pt idx="1019">
                  <c:v>43067</c:v>
                </c:pt>
                <c:pt idx="1020">
                  <c:v>43068</c:v>
                </c:pt>
                <c:pt idx="1021">
                  <c:v>43069</c:v>
                </c:pt>
                <c:pt idx="1022">
                  <c:v>43070</c:v>
                </c:pt>
                <c:pt idx="1023">
                  <c:v>43073</c:v>
                </c:pt>
                <c:pt idx="1024">
                  <c:v>43074</c:v>
                </c:pt>
                <c:pt idx="1025">
                  <c:v>43075</c:v>
                </c:pt>
                <c:pt idx="1026">
                  <c:v>43076</c:v>
                </c:pt>
                <c:pt idx="1027">
                  <c:v>43077</c:v>
                </c:pt>
                <c:pt idx="1028">
                  <c:v>43080</c:v>
                </c:pt>
                <c:pt idx="1029">
                  <c:v>43081</c:v>
                </c:pt>
                <c:pt idx="1030">
                  <c:v>43082</c:v>
                </c:pt>
                <c:pt idx="1031">
                  <c:v>43083</c:v>
                </c:pt>
                <c:pt idx="1032">
                  <c:v>43084</c:v>
                </c:pt>
                <c:pt idx="1033">
                  <c:v>43087</c:v>
                </c:pt>
                <c:pt idx="1034">
                  <c:v>43088</c:v>
                </c:pt>
                <c:pt idx="1035">
                  <c:v>43089</c:v>
                </c:pt>
                <c:pt idx="1036">
                  <c:v>43090</c:v>
                </c:pt>
                <c:pt idx="1037">
                  <c:v>43091</c:v>
                </c:pt>
                <c:pt idx="1038">
                  <c:v>43094</c:v>
                </c:pt>
                <c:pt idx="1039">
                  <c:v>43095</c:v>
                </c:pt>
                <c:pt idx="1040">
                  <c:v>43096</c:v>
                </c:pt>
                <c:pt idx="1041">
                  <c:v>43097</c:v>
                </c:pt>
                <c:pt idx="1042">
                  <c:v>43098</c:v>
                </c:pt>
                <c:pt idx="1043">
                  <c:v>43101</c:v>
                </c:pt>
                <c:pt idx="1044">
                  <c:v>43102</c:v>
                </c:pt>
                <c:pt idx="1045">
                  <c:v>43103</c:v>
                </c:pt>
                <c:pt idx="1046">
                  <c:v>43104</c:v>
                </c:pt>
                <c:pt idx="1047">
                  <c:v>43105</c:v>
                </c:pt>
                <c:pt idx="1048">
                  <c:v>43108</c:v>
                </c:pt>
                <c:pt idx="1049">
                  <c:v>43109</c:v>
                </c:pt>
                <c:pt idx="1050">
                  <c:v>43110</c:v>
                </c:pt>
                <c:pt idx="1051">
                  <c:v>43111</c:v>
                </c:pt>
                <c:pt idx="1052">
                  <c:v>43112</c:v>
                </c:pt>
                <c:pt idx="1053">
                  <c:v>43115</c:v>
                </c:pt>
                <c:pt idx="1054">
                  <c:v>43116</c:v>
                </c:pt>
                <c:pt idx="1055">
                  <c:v>43117</c:v>
                </c:pt>
                <c:pt idx="1056">
                  <c:v>43118</c:v>
                </c:pt>
                <c:pt idx="1057">
                  <c:v>43119</c:v>
                </c:pt>
                <c:pt idx="1058">
                  <c:v>43122</c:v>
                </c:pt>
                <c:pt idx="1059">
                  <c:v>43123</c:v>
                </c:pt>
                <c:pt idx="1060">
                  <c:v>43124</c:v>
                </c:pt>
                <c:pt idx="1061">
                  <c:v>43125</c:v>
                </c:pt>
                <c:pt idx="1062">
                  <c:v>43126</c:v>
                </c:pt>
                <c:pt idx="1063">
                  <c:v>43129</c:v>
                </c:pt>
                <c:pt idx="1064">
                  <c:v>43130</c:v>
                </c:pt>
                <c:pt idx="1065">
                  <c:v>43131</c:v>
                </c:pt>
                <c:pt idx="1066">
                  <c:v>43132</c:v>
                </c:pt>
                <c:pt idx="1067">
                  <c:v>43133</c:v>
                </c:pt>
                <c:pt idx="1068">
                  <c:v>43136</c:v>
                </c:pt>
                <c:pt idx="1069">
                  <c:v>43137</c:v>
                </c:pt>
                <c:pt idx="1070">
                  <c:v>43138</c:v>
                </c:pt>
                <c:pt idx="1071">
                  <c:v>43139</c:v>
                </c:pt>
                <c:pt idx="1072">
                  <c:v>43140</c:v>
                </c:pt>
                <c:pt idx="1073">
                  <c:v>43143</c:v>
                </c:pt>
                <c:pt idx="1074">
                  <c:v>43144</c:v>
                </c:pt>
                <c:pt idx="1075">
                  <c:v>43145</c:v>
                </c:pt>
                <c:pt idx="1076">
                  <c:v>43146</c:v>
                </c:pt>
                <c:pt idx="1077">
                  <c:v>43147</c:v>
                </c:pt>
                <c:pt idx="1078">
                  <c:v>43150</c:v>
                </c:pt>
                <c:pt idx="1079">
                  <c:v>43151</c:v>
                </c:pt>
                <c:pt idx="1080">
                  <c:v>43152</c:v>
                </c:pt>
                <c:pt idx="1081">
                  <c:v>43153</c:v>
                </c:pt>
                <c:pt idx="1082">
                  <c:v>43154</c:v>
                </c:pt>
                <c:pt idx="1083">
                  <c:v>43157</c:v>
                </c:pt>
                <c:pt idx="1084">
                  <c:v>43158</c:v>
                </c:pt>
                <c:pt idx="1085">
                  <c:v>43159</c:v>
                </c:pt>
                <c:pt idx="1086">
                  <c:v>43160</c:v>
                </c:pt>
                <c:pt idx="1087">
                  <c:v>43161</c:v>
                </c:pt>
                <c:pt idx="1088">
                  <c:v>43164</c:v>
                </c:pt>
                <c:pt idx="1089">
                  <c:v>43165</c:v>
                </c:pt>
                <c:pt idx="1090">
                  <c:v>43166</c:v>
                </c:pt>
                <c:pt idx="1091">
                  <c:v>43167</c:v>
                </c:pt>
                <c:pt idx="1092">
                  <c:v>43168</c:v>
                </c:pt>
                <c:pt idx="1093">
                  <c:v>43171</c:v>
                </c:pt>
                <c:pt idx="1094">
                  <c:v>43172</c:v>
                </c:pt>
                <c:pt idx="1095">
                  <c:v>43173</c:v>
                </c:pt>
                <c:pt idx="1096">
                  <c:v>43174</c:v>
                </c:pt>
                <c:pt idx="1097">
                  <c:v>43175</c:v>
                </c:pt>
                <c:pt idx="1098">
                  <c:v>43178</c:v>
                </c:pt>
                <c:pt idx="1099">
                  <c:v>43179</c:v>
                </c:pt>
                <c:pt idx="1100">
                  <c:v>43180</c:v>
                </c:pt>
                <c:pt idx="1101">
                  <c:v>43181</c:v>
                </c:pt>
                <c:pt idx="1102">
                  <c:v>43182</c:v>
                </c:pt>
                <c:pt idx="1103">
                  <c:v>43185</c:v>
                </c:pt>
                <c:pt idx="1104">
                  <c:v>43186</c:v>
                </c:pt>
                <c:pt idx="1105">
                  <c:v>43187</c:v>
                </c:pt>
                <c:pt idx="1106">
                  <c:v>43188</c:v>
                </c:pt>
                <c:pt idx="1107">
                  <c:v>43189</c:v>
                </c:pt>
                <c:pt idx="1108">
                  <c:v>43192</c:v>
                </c:pt>
                <c:pt idx="1109">
                  <c:v>43193</c:v>
                </c:pt>
                <c:pt idx="1110">
                  <c:v>43194</c:v>
                </c:pt>
                <c:pt idx="1111">
                  <c:v>43195</c:v>
                </c:pt>
                <c:pt idx="1112">
                  <c:v>43196</c:v>
                </c:pt>
                <c:pt idx="1113">
                  <c:v>43199</c:v>
                </c:pt>
                <c:pt idx="1114">
                  <c:v>43200</c:v>
                </c:pt>
                <c:pt idx="1115">
                  <c:v>43201</c:v>
                </c:pt>
                <c:pt idx="1116">
                  <c:v>43202</c:v>
                </c:pt>
                <c:pt idx="1117">
                  <c:v>43203</c:v>
                </c:pt>
                <c:pt idx="1118">
                  <c:v>43206</c:v>
                </c:pt>
                <c:pt idx="1119">
                  <c:v>43207</c:v>
                </c:pt>
                <c:pt idx="1120">
                  <c:v>43208</c:v>
                </c:pt>
                <c:pt idx="1121">
                  <c:v>43209</c:v>
                </c:pt>
                <c:pt idx="1122">
                  <c:v>43210</c:v>
                </c:pt>
                <c:pt idx="1123">
                  <c:v>43213</c:v>
                </c:pt>
                <c:pt idx="1124">
                  <c:v>43214</c:v>
                </c:pt>
                <c:pt idx="1125">
                  <c:v>43215</c:v>
                </c:pt>
                <c:pt idx="1126">
                  <c:v>43216</c:v>
                </c:pt>
                <c:pt idx="1127">
                  <c:v>43217</c:v>
                </c:pt>
                <c:pt idx="1128">
                  <c:v>43220</c:v>
                </c:pt>
                <c:pt idx="1129">
                  <c:v>43221</c:v>
                </c:pt>
                <c:pt idx="1130">
                  <c:v>43222</c:v>
                </c:pt>
                <c:pt idx="1131">
                  <c:v>43223</c:v>
                </c:pt>
                <c:pt idx="1132">
                  <c:v>43224</c:v>
                </c:pt>
                <c:pt idx="1133">
                  <c:v>43227</c:v>
                </c:pt>
                <c:pt idx="1134">
                  <c:v>43228</c:v>
                </c:pt>
                <c:pt idx="1135">
                  <c:v>43229</c:v>
                </c:pt>
                <c:pt idx="1136">
                  <c:v>43230</c:v>
                </c:pt>
                <c:pt idx="1137">
                  <c:v>43231</c:v>
                </c:pt>
                <c:pt idx="1138">
                  <c:v>43234</c:v>
                </c:pt>
                <c:pt idx="1139">
                  <c:v>43235</c:v>
                </c:pt>
                <c:pt idx="1140">
                  <c:v>43236</c:v>
                </c:pt>
                <c:pt idx="1141">
                  <c:v>43237</c:v>
                </c:pt>
                <c:pt idx="1142">
                  <c:v>43238</c:v>
                </c:pt>
                <c:pt idx="1143">
                  <c:v>43241</c:v>
                </c:pt>
                <c:pt idx="1144">
                  <c:v>43242</c:v>
                </c:pt>
                <c:pt idx="1145">
                  <c:v>43243</c:v>
                </c:pt>
                <c:pt idx="1146">
                  <c:v>43244</c:v>
                </c:pt>
                <c:pt idx="1147">
                  <c:v>43245</c:v>
                </c:pt>
                <c:pt idx="1148">
                  <c:v>43248</c:v>
                </c:pt>
                <c:pt idx="1149">
                  <c:v>43249</c:v>
                </c:pt>
                <c:pt idx="1150">
                  <c:v>43250</c:v>
                </c:pt>
                <c:pt idx="1151">
                  <c:v>43251</c:v>
                </c:pt>
                <c:pt idx="1152">
                  <c:v>43252</c:v>
                </c:pt>
                <c:pt idx="1153">
                  <c:v>43255</c:v>
                </c:pt>
                <c:pt idx="1154">
                  <c:v>43256</c:v>
                </c:pt>
                <c:pt idx="1155">
                  <c:v>43257</c:v>
                </c:pt>
                <c:pt idx="1156">
                  <c:v>43258</c:v>
                </c:pt>
                <c:pt idx="1157">
                  <c:v>43259</c:v>
                </c:pt>
                <c:pt idx="1158">
                  <c:v>43262</c:v>
                </c:pt>
                <c:pt idx="1159">
                  <c:v>43263</c:v>
                </c:pt>
                <c:pt idx="1160">
                  <c:v>43264</c:v>
                </c:pt>
                <c:pt idx="1161">
                  <c:v>43265</c:v>
                </c:pt>
                <c:pt idx="1162">
                  <c:v>43266</c:v>
                </c:pt>
                <c:pt idx="1163">
                  <c:v>43269</c:v>
                </c:pt>
                <c:pt idx="1164">
                  <c:v>43270</c:v>
                </c:pt>
                <c:pt idx="1165">
                  <c:v>43271</c:v>
                </c:pt>
                <c:pt idx="1166">
                  <c:v>43272</c:v>
                </c:pt>
                <c:pt idx="1167">
                  <c:v>43273</c:v>
                </c:pt>
                <c:pt idx="1168">
                  <c:v>43276</c:v>
                </c:pt>
                <c:pt idx="1169">
                  <c:v>43277</c:v>
                </c:pt>
                <c:pt idx="1170">
                  <c:v>43278</c:v>
                </c:pt>
                <c:pt idx="1171">
                  <c:v>43279</c:v>
                </c:pt>
                <c:pt idx="1172">
                  <c:v>43280</c:v>
                </c:pt>
                <c:pt idx="1173">
                  <c:v>43283</c:v>
                </c:pt>
                <c:pt idx="1174">
                  <c:v>43284</c:v>
                </c:pt>
                <c:pt idx="1175">
                  <c:v>43285</c:v>
                </c:pt>
                <c:pt idx="1176">
                  <c:v>43286</c:v>
                </c:pt>
                <c:pt idx="1177">
                  <c:v>43287</c:v>
                </c:pt>
                <c:pt idx="1178">
                  <c:v>43290</c:v>
                </c:pt>
                <c:pt idx="1179">
                  <c:v>43291</c:v>
                </c:pt>
                <c:pt idx="1180">
                  <c:v>43292</c:v>
                </c:pt>
                <c:pt idx="1181">
                  <c:v>43293</c:v>
                </c:pt>
                <c:pt idx="1182">
                  <c:v>43294</c:v>
                </c:pt>
                <c:pt idx="1183">
                  <c:v>43297</c:v>
                </c:pt>
                <c:pt idx="1184">
                  <c:v>43298</c:v>
                </c:pt>
                <c:pt idx="1185">
                  <c:v>43299</c:v>
                </c:pt>
                <c:pt idx="1186">
                  <c:v>43300</c:v>
                </c:pt>
                <c:pt idx="1187">
                  <c:v>43301</c:v>
                </c:pt>
                <c:pt idx="1188">
                  <c:v>43304</c:v>
                </c:pt>
                <c:pt idx="1189">
                  <c:v>43305</c:v>
                </c:pt>
                <c:pt idx="1190">
                  <c:v>43306</c:v>
                </c:pt>
                <c:pt idx="1191">
                  <c:v>43307</c:v>
                </c:pt>
                <c:pt idx="1192">
                  <c:v>43308</c:v>
                </c:pt>
                <c:pt idx="1193">
                  <c:v>43311</c:v>
                </c:pt>
                <c:pt idx="1194">
                  <c:v>43312</c:v>
                </c:pt>
                <c:pt idx="1195">
                  <c:v>43313</c:v>
                </c:pt>
                <c:pt idx="1196">
                  <c:v>43314</c:v>
                </c:pt>
                <c:pt idx="1197">
                  <c:v>43315</c:v>
                </c:pt>
                <c:pt idx="1198">
                  <c:v>43318</c:v>
                </c:pt>
                <c:pt idx="1199">
                  <c:v>43319</c:v>
                </c:pt>
                <c:pt idx="1200">
                  <c:v>43320</c:v>
                </c:pt>
                <c:pt idx="1201">
                  <c:v>43321</c:v>
                </c:pt>
                <c:pt idx="1202">
                  <c:v>43322</c:v>
                </c:pt>
                <c:pt idx="1203">
                  <c:v>43325</c:v>
                </c:pt>
                <c:pt idx="1204">
                  <c:v>43326</c:v>
                </c:pt>
                <c:pt idx="1205">
                  <c:v>43327</c:v>
                </c:pt>
                <c:pt idx="1206">
                  <c:v>43328</c:v>
                </c:pt>
                <c:pt idx="1207">
                  <c:v>43329</c:v>
                </c:pt>
                <c:pt idx="1208">
                  <c:v>43332</c:v>
                </c:pt>
                <c:pt idx="1209">
                  <c:v>43333</c:v>
                </c:pt>
                <c:pt idx="1210">
                  <c:v>43334</c:v>
                </c:pt>
                <c:pt idx="1211">
                  <c:v>43335</c:v>
                </c:pt>
                <c:pt idx="1212">
                  <c:v>43336</c:v>
                </c:pt>
                <c:pt idx="1213">
                  <c:v>43339</c:v>
                </c:pt>
                <c:pt idx="1214">
                  <c:v>43340</c:v>
                </c:pt>
                <c:pt idx="1215">
                  <c:v>43341</c:v>
                </c:pt>
                <c:pt idx="1216">
                  <c:v>43342</c:v>
                </c:pt>
                <c:pt idx="1217">
                  <c:v>43343</c:v>
                </c:pt>
                <c:pt idx="1218">
                  <c:v>43346</c:v>
                </c:pt>
                <c:pt idx="1219">
                  <c:v>43347</c:v>
                </c:pt>
                <c:pt idx="1220">
                  <c:v>43348</c:v>
                </c:pt>
                <c:pt idx="1221">
                  <c:v>43349</c:v>
                </c:pt>
                <c:pt idx="1222">
                  <c:v>43350</c:v>
                </c:pt>
                <c:pt idx="1223">
                  <c:v>43353</c:v>
                </c:pt>
                <c:pt idx="1224">
                  <c:v>43354</c:v>
                </c:pt>
                <c:pt idx="1225">
                  <c:v>43355</c:v>
                </c:pt>
                <c:pt idx="1226">
                  <c:v>43356</c:v>
                </c:pt>
                <c:pt idx="1227">
                  <c:v>43357</c:v>
                </c:pt>
                <c:pt idx="1228">
                  <c:v>43360</c:v>
                </c:pt>
                <c:pt idx="1229">
                  <c:v>43361</c:v>
                </c:pt>
                <c:pt idx="1230">
                  <c:v>43362</c:v>
                </c:pt>
                <c:pt idx="1231">
                  <c:v>43363</c:v>
                </c:pt>
                <c:pt idx="1232">
                  <c:v>43364</c:v>
                </c:pt>
                <c:pt idx="1233">
                  <c:v>43367</c:v>
                </c:pt>
                <c:pt idx="1234">
                  <c:v>43368</c:v>
                </c:pt>
                <c:pt idx="1235">
                  <c:v>43369</c:v>
                </c:pt>
                <c:pt idx="1236">
                  <c:v>43370</c:v>
                </c:pt>
                <c:pt idx="1237">
                  <c:v>43371</c:v>
                </c:pt>
                <c:pt idx="1238">
                  <c:v>43374</c:v>
                </c:pt>
                <c:pt idx="1239">
                  <c:v>43375</c:v>
                </c:pt>
                <c:pt idx="1240">
                  <c:v>43376</c:v>
                </c:pt>
                <c:pt idx="1241">
                  <c:v>43377</c:v>
                </c:pt>
                <c:pt idx="1242">
                  <c:v>43378</c:v>
                </c:pt>
                <c:pt idx="1243">
                  <c:v>43381</c:v>
                </c:pt>
                <c:pt idx="1244">
                  <c:v>43382</c:v>
                </c:pt>
                <c:pt idx="1245">
                  <c:v>43383</c:v>
                </c:pt>
                <c:pt idx="1246">
                  <c:v>43384</c:v>
                </c:pt>
                <c:pt idx="1247">
                  <c:v>43385</c:v>
                </c:pt>
                <c:pt idx="1248">
                  <c:v>43388</c:v>
                </c:pt>
                <c:pt idx="1249">
                  <c:v>43389</c:v>
                </c:pt>
                <c:pt idx="1250">
                  <c:v>43390</c:v>
                </c:pt>
                <c:pt idx="1251">
                  <c:v>43391</c:v>
                </c:pt>
                <c:pt idx="1252">
                  <c:v>43392</c:v>
                </c:pt>
                <c:pt idx="1253">
                  <c:v>43395</c:v>
                </c:pt>
                <c:pt idx="1254">
                  <c:v>43396</c:v>
                </c:pt>
                <c:pt idx="1255">
                  <c:v>43397</c:v>
                </c:pt>
                <c:pt idx="1256">
                  <c:v>43398</c:v>
                </c:pt>
                <c:pt idx="1257">
                  <c:v>43399</c:v>
                </c:pt>
                <c:pt idx="1258">
                  <c:v>43402</c:v>
                </c:pt>
                <c:pt idx="1259">
                  <c:v>43403</c:v>
                </c:pt>
                <c:pt idx="1260">
                  <c:v>43404</c:v>
                </c:pt>
                <c:pt idx="1261">
                  <c:v>43405</c:v>
                </c:pt>
                <c:pt idx="1262">
                  <c:v>43406</c:v>
                </c:pt>
                <c:pt idx="1263">
                  <c:v>43409</c:v>
                </c:pt>
                <c:pt idx="1264">
                  <c:v>43410</c:v>
                </c:pt>
                <c:pt idx="1265">
                  <c:v>43411</c:v>
                </c:pt>
                <c:pt idx="1266">
                  <c:v>43412</c:v>
                </c:pt>
                <c:pt idx="1267">
                  <c:v>43413</c:v>
                </c:pt>
                <c:pt idx="1268">
                  <c:v>43416</c:v>
                </c:pt>
                <c:pt idx="1269">
                  <c:v>43417</c:v>
                </c:pt>
                <c:pt idx="1270">
                  <c:v>43418</c:v>
                </c:pt>
                <c:pt idx="1271">
                  <c:v>43419</c:v>
                </c:pt>
                <c:pt idx="1272">
                  <c:v>43420</c:v>
                </c:pt>
                <c:pt idx="1273">
                  <c:v>43423</c:v>
                </c:pt>
                <c:pt idx="1274">
                  <c:v>43424</c:v>
                </c:pt>
                <c:pt idx="1275">
                  <c:v>43425</c:v>
                </c:pt>
                <c:pt idx="1276">
                  <c:v>43426</c:v>
                </c:pt>
                <c:pt idx="1277">
                  <c:v>43427</c:v>
                </c:pt>
                <c:pt idx="1278">
                  <c:v>43430</c:v>
                </c:pt>
                <c:pt idx="1279">
                  <c:v>43431</c:v>
                </c:pt>
                <c:pt idx="1280">
                  <c:v>43432</c:v>
                </c:pt>
                <c:pt idx="1281">
                  <c:v>43433</c:v>
                </c:pt>
                <c:pt idx="1282">
                  <c:v>43434</c:v>
                </c:pt>
                <c:pt idx="1283">
                  <c:v>43437</c:v>
                </c:pt>
                <c:pt idx="1284">
                  <c:v>43438</c:v>
                </c:pt>
                <c:pt idx="1285">
                  <c:v>43439</c:v>
                </c:pt>
                <c:pt idx="1286">
                  <c:v>43440</c:v>
                </c:pt>
                <c:pt idx="1287">
                  <c:v>43441</c:v>
                </c:pt>
                <c:pt idx="1288">
                  <c:v>43444</c:v>
                </c:pt>
                <c:pt idx="1289">
                  <c:v>43445</c:v>
                </c:pt>
                <c:pt idx="1290">
                  <c:v>43446</c:v>
                </c:pt>
                <c:pt idx="1291">
                  <c:v>43447</c:v>
                </c:pt>
                <c:pt idx="1292">
                  <c:v>43448</c:v>
                </c:pt>
                <c:pt idx="1293">
                  <c:v>43451</c:v>
                </c:pt>
                <c:pt idx="1294">
                  <c:v>43452</c:v>
                </c:pt>
                <c:pt idx="1295">
                  <c:v>43453</c:v>
                </c:pt>
                <c:pt idx="1296">
                  <c:v>43454</c:v>
                </c:pt>
                <c:pt idx="1297">
                  <c:v>43455</c:v>
                </c:pt>
                <c:pt idx="1298">
                  <c:v>43458</c:v>
                </c:pt>
                <c:pt idx="1299">
                  <c:v>43459</c:v>
                </c:pt>
                <c:pt idx="1300">
                  <c:v>43460</c:v>
                </c:pt>
                <c:pt idx="1301">
                  <c:v>43461</c:v>
                </c:pt>
                <c:pt idx="1302">
                  <c:v>43462</c:v>
                </c:pt>
                <c:pt idx="1303">
                  <c:v>43465</c:v>
                </c:pt>
                <c:pt idx="1304">
                  <c:v>43466</c:v>
                </c:pt>
                <c:pt idx="1305">
                  <c:v>43467</c:v>
                </c:pt>
                <c:pt idx="1306">
                  <c:v>43468</c:v>
                </c:pt>
                <c:pt idx="1307">
                  <c:v>43469</c:v>
                </c:pt>
                <c:pt idx="1308">
                  <c:v>43472</c:v>
                </c:pt>
                <c:pt idx="1309">
                  <c:v>43473</c:v>
                </c:pt>
                <c:pt idx="1310">
                  <c:v>43474</c:v>
                </c:pt>
                <c:pt idx="1311">
                  <c:v>43475</c:v>
                </c:pt>
                <c:pt idx="1312">
                  <c:v>43476</c:v>
                </c:pt>
                <c:pt idx="1313">
                  <c:v>43479</c:v>
                </c:pt>
                <c:pt idx="1314">
                  <c:v>43480</c:v>
                </c:pt>
                <c:pt idx="1315">
                  <c:v>43481</c:v>
                </c:pt>
                <c:pt idx="1316">
                  <c:v>43482</c:v>
                </c:pt>
                <c:pt idx="1317">
                  <c:v>43483</c:v>
                </c:pt>
                <c:pt idx="1318">
                  <c:v>43486</c:v>
                </c:pt>
                <c:pt idx="1319">
                  <c:v>43487</c:v>
                </c:pt>
                <c:pt idx="1320">
                  <c:v>43488</c:v>
                </c:pt>
                <c:pt idx="1321">
                  <c:v>43489</c:v>
                </c:pt>
                <c:pt idx="1322">
                  <c:v>43490</c:v>
                </c:pt>
                <c:pt idx="1323">
                  <c:v>43493</c:v>
                </c:pt>
                <c:pt idx="1324">
                  <c:v>43494</c:v>
                </c:pt>
                <c:pt idx="1325">
                  <c:v>43495</c:v>
                </c:pt>
                <c:pt idx="1326">
                  <c:v>43496</c:v>
                </c:pt>
                <c:pt idx="1327">
                  <c:v>43497</c:v>
                </c:pt>
                <c:pt idx="1328">
                  <c:v>43500</c:v>
                </c:pt>
                <c:pt idx="1329">
                  <c:v>43501</c:v>
                </c:pt>
                <c:pt idx="1330">
                  <c:v>43502</c:v>
                </c:pt>
                <c:pt idx="1331">
                  <c:v>43503</c:v>
                </c:pt>
                <c:pt idx="1332">
                  <c:v>43504</c:v>
                </c:pt>
                <c:pt idx="1333">
                  <c:v>43507</c:v>
                </c:pt>
                <c:pt idx="1334">
                  <c:v>43508</c:v>
                </c:pt>
                <c:pt idx="1335">
                  <c:v>43509</c:v>
                </c:pt>
                <c:pt idx="1336">
                  <c:v>43510</c:v>
                </c:pt>
                <c:pt idx="1337">
                  <c:v>43511</c:v>
                </c:pt>
                <c:pt idx="1338">
                  <c:v>43514</c:v>
                </c:pt>
                <c:pt idx="1339">
                  <c:v>43515</c:v>
                </c:pt>
                <c:pt idx="1340">
                  <c:v>43516</c:v>
                </c:pt>
                <c:pt idx="1341">
                  <c:v>43517</c:v>
                </c:pt>
                <c:pt idx="1342">
                  <c:v>43518</c:v>
                </c:pt>
                <c:pt idx="1343">
                  <c:v>43521</c:v>
                </c:pt>
                <c:pt idx="1344">
                  <c:v>43522</c:v>
                </c:pt>
                <c:pt idx="1345">
                  <c:v>43523</c:v>
                </c:pt>
                <c:pt idx="1346">
                  <c:v>43524</c:v>
                </c:pt>
                <c:pt idx="1347">
                  <c:v>43525</c:v>
                </c:pt>
                <c:pt idx="1348">
                  <c:v>43528</c:v>
                </c:pt>
                <c:pt idx="1349">
                  <c:v>43529</c:v>
                </c:pt>
                <c:pt idx="1350">
                  <c:v>43530</c:v>
                </c:pt>
                <c:pt idx="1351">
                  <c:v>43531</c:v>
                </c:pt>
                <c:pt idx="1352">
                  <c:v>43532</c:v>
                </c:pt>
                <c:pt idx="1353">
                  <c:v>43535</c:v>
                </c:pt>
                <c:pt idx="1354">
                  <c:v>43536</c:v>
                </c:pt>
                <c:pt idx="1355">
                  <c:v>43537</c:v>
                </c:pt>
                <c:pt idx="1356">
                  <c:v>43538</c:v>
                </c:pt>
                <c:pt idx="1357">
                  <c:v>43539</c:v>
                </c:pt>
                <c:pt idx="1358">
                  <c:v>43542</c:v>
                </c:pt>
                <c:pt idx="1359">
                  <c:v>43543</c:v>
                </c:pt>
                <c:pt idx="1360">
                  <c:v>43544</c:v>
                </c:pt>
                <c:pt idx="1361">
                  <c:v>43545</c:v>
                </c:pt>
                <c:pt idx="1362">
                  <c:v>43546</c:v>
                </c:pt>
                <c:pt idx="1363">
                  <c:v>43549</c:v>
                </c:pt>
                <c:pt idx="1364">
                  <c:v>43550</c:v>
                </c:pt>
                <c:pt idx="1365">
                  <c:v>43551</c:v>
                </c:pt>
                <c:pt idx="1366">
                  <c:v>43552</c:v>
                </c:pt>
                <c:pt idx="1367">
                  <c:v>43553</c:v>
                </c:pt>
                <c:pt idx="1368">
                  <c:v>43556</c:v>
                </c:pt>
                <c:pt idx="1369">
                  <c:v>43557</c:v>
                </c:pt>
                <c:pt idx="1370">
                  <c:v>43558</c:v>
                </c:pt>
                <c:pt idx="1371">
                  <c:v>43559</c:v>
                </c:pt>
                <c:pt idx="1372">
                  <c:v>43560</c:v>
                </c:pt>
                <c:pt idx="1373">
                  <c:v>43563</c:v>
                </c:pt>
                <c:pt idx="1374">
                  <c:v>43564</c:v>
                </c:pt>
                <c:pt idx="1375">
                  <c:v>43565</c:v>
                </c:pt>
                <c:pt idx="1376">
                  <c:v>43566</c:v>
                </c:pt>
                <c:pt idx="1377">
                  <c:v>43567</c:v>
                </c:pt>
                <c:pt idx="1378">
                  <c:v>43570</c:v>
                </c:pt>
                <c:pt idx="1379">
                  <c:v>43571</c:v>
                </c:pt>
                <c:pt idx="1380">
                  <c:v>43572</c:v>
                </c:pt>
                <c:pt idx="1381">
                  <c:v>43573</c:v>
                </c:pt>
                <c:pt idx="1382">
                  <c:v>43574</c:v>
                </c:pt>
                <c:pt idx="1383">
                  <c:v>43577</c:v>
                </c:pt>
                <c:pt idx="1384">
                  <c:v>43578</c:v>
                </c:pt>
                <c:pt idx="1385">
                  <c:v>43579</c:v>
                </c:pt>
                <c:pt idx="1386">
                  <c:v>43580</c:v>
                </c:pt>
                <c:pt idx="1387">
                  <c:v>43581</c:v>
                </c:pt>
                <c:pt idx="1388">
                  <c:v>43584</c:v>
                </c:pt>
                <c:pt idx="1389">
                  <c:v>43585</c:v>
                </c:pt>
                <c:pt idx="1390">
                  <c:v>43586</c:v>
                </c:pt>
                <c:pt idx="1391">
                  <c:v>43587</c:v>
                </c:pt>
                <c:pt idx="1392">
                  <c:v>43588</c:v>
                </c:pt>
                <c:pt idx="1393">
                  <c:v>43591</c:v>
                </c:pt>
                <c:pt idx="1394">
                  <c:v>43592</c:v>
                </c:pt>
                <c:pt idx="1395">
                  <c:v>43593</c:v>
                </c:pt>
                <c:pt idx="1396">
                  <c:v>43594</c:v>
                </c:pt>
                <c:pt idx="1397">
                  <c:v>43595</c:v>
                </c:pt>
                <c:pt idx="1398">
                  <c:v>43598</c:v>
                </c:pt>
                <c:pt idx="1399">
                  <c:v>43599</c:v>
                </c:pt>
                <c:pt idx="1400">
                  <c:v>43600</c:v>
                </c:pt>
                <c:pt idx="1401">
                  <c:v>43601</c:v>
                </c:pt>
                <c:pt idx="1402">
                  <c:v>43602</c:v>
                </c:pt>
                <c:pt idx="1403">
                  <c:v>43605</c:v>
                </c:pt>
                <c:pt idx="1404">
                  <c:v>43606</c:v>
                </c:pt>
                <c:pt idx="1405">
                  <c:v>43607</c:v>
                </c:pt>
                <c:pt idx="1406">
                  <c:v>43608</c:v>
                </c:pt>
                <c:pt idx="1407">
                  <c:v>43609</c:v>
                </c:pt>
                <c:pt idx="1408">
                  <c:v>43612</c:v>
                </c:pt>
                <c:pt idx="1409">
                  <c:v>43613</c:v>
                </c:pt>
                <c:pt idx="1410">
                  <c:v>43614</c:v>
                </c:pt>
                <c:pt idx="1411">
                  <c:v>43615</c:v>
                </c:pt>
                <c:pt idx="1412">
                  <c:v>43616</c:v>
                </c:pt>
                <c:pt idx="1413">
                  <c:v>43619</c:v>
                </c:pt>
                <c:pt idx="1414">
                  <c:v>43620</c:v>
                </c:pt>
                <c:pt idx="1415">
                  <c:v>43621</c:v>
                </c:pt>
                <c:pt idx="1416">
                  <c:v>43622</c:v>
                </c:pt>
                <c:pt idx="1417">
                  <c:v>43623</c:v>
                </c:pt>
                <c:pt idx="1418">
                  <c:v>43626</c:v>
                </c:pt>
                <c:pt idx="1419">
                  <c:v>43627</c:v>
                </c:pt>
                <c:pt idx="1420">
                  <c:v>43628</c:v>
                </c:pt>
                <c:pt idx="1421">
                  <c:v>43629</c:v>
                </c:pt>
                <c:pt idx="1422">
                  <c:v>43630</c:v>
                </c:pt>
                <c:pt idx="1423">
                  <c:v>43633</c:v>
                </c:pt>
                <c:pt idx="1424">
                  <c:v>43634</c:v>
                </c:pt>
                <c:pt idx="1425">
                  <c:v>43635</c:v>
                </c:pt>
                <c:pt idx="1426">
                  <c:v>43636</c:v>
                </c:pt>
                <c:pt idx="1427">
                  <c:v>43637</c:v>
                </c:pt>
                <c:pt idx="1428">
                  <c:v>43640</c:v>
                </c:pt>
                <c:pt idx="1429">
                  <c:v>43641</c:v>
                </c:pt>
                <c:pt idx="1430">
                  <c:v>43642</c:v>
                </c:pt>
                <c:pt idx="1431">
                  <c:v>43643</c:v>
                </c:pt>
                <c:pt idx="1432">
                  <c:v>43644</c:v>
                </c:pt>
                <c:pt idx="1433">
                  <c:v>43647</c:v>
                </c:pt>
                <c:pt idx="1434">
                  <c:v>43648</c:v>
                </c:pt>
                <c:pt idx="1435">
                  <c:v>43649</c:v>
                </c:pt>
                <c:pt idx="1436">
                  <c:v>43650</c:v>
                </c:pt>
                <c:pt idx="1437">
                  <c:v>43651</c:v>
                </c:pt>
                <c:pt idx="1438">
                  <c:v>43654</c:v>
                </c:pt>
                <c:pt idx="1439">
                  <c:v>43655</c:v>
                </c:pt>
                <c:pt idx="1440">
                  <c:v>43656</c:v>
                </c:pt>
                <c:pt idx="1441">
                  <c:v>43657</c:v>
                </c:pt>
                <c:pt idx="1442">
                  <c:v>43658</c:v>
                </c:pt>
                <c:pt idx="1443">
                  <c:v>43661</c:v>
                </c:pt>
                <c:pt idx="1444">
                  <c:v>43662</c:v>
                </c:pt>
                <c:pt idx="1445">
                  <c:v>43663</c:v>
                </c:pt>
                <c:pt idx="1446">
                  <c:v>43664</c:v>
                </c:pt>
                <c:pt idx="1447">
                  <c:v>43665</c:v>
                </c:pt>
                <c:pt idx="1448">
                  <c:v>43668</c:v>
                </c:pt>
                <c:pt idx="1449">
                  <c:v>43669</c:v>
                </c:pt>
                <c:pt idx="1450">
                  <c:v>43670</c:v>
                </c:pt>
                <c:pt idx="1451">
                  <c:v>43671</c:v>
                </c:pt>
                <c:pt idx="1452">
                  <c:v>43672</c:v>
                </c:pt>
                <c:pt idx="1453">
                  <c:v>43675</c:v>
                </c:pt>
                <c:pt idx="1454">
                  <c:v>43676</c:v>
                </c:pt>
                <c:pt idx="1455">
                  <c:v>43677</c:v>
                </c:pt>
                <c:pt idx="1456">
                  <c:v>43678</c:v>
                </c:pt>
                <c:pt idx="1457">
                  <c:v>43679</c:v>
                </c:pt>
                <c:pt idx="1458">
                  <c:v>43682</c:v>
                </c:pt>
                <c:pt idx="1459">
                  <c:v>43683</c:v>
                </c:pt>
                <c:pt idx="1460">
                  <c:v>43684</c:v>
                </c:pt>
                <c:pt idx="1461">
                  <c:v>43685</c:v>
                </c:pt>
                <c:pt idx="1462">
                  <c:v>43686</c:v>
                </c:pt>
                <c:pt idx="1463">
                  <c:v>43689</c:v>
                </c:pt>
                <c:pt idx="1464">
                  <c:v>43690</c:v>
                </c:pt>
                <c:pt idx="1465">
                  <c:v>43691</c:v>
                </c:pt>
                <c:pt idx="1466">
                  <c:v>43692</c:v>
                </c:pt>
                <c:pt idx="1467">
                  <c:v>43693</c:v>
                </c:pt>
                <c:pt idx="1468">
                  <c:v>43696</c:v>
                </c:pt>
                <c:pt idx="1469">
                  <c:v>43697</c:v>
                </c:pt>
                <c:pt idx="1470">
                  <c:v>43698</c:v>
                </c:pt>
                <c:pt idx="1471">
                  <c:v>43699</c:v>
                </c:pt>
                <c:pt idx="1472">
                  <c:v>43700</c:v>
                </c:pt>
                <c:pt idx="1473">
                  <c:v>43703</c:v>
                </c:pt>
                <c:pt idx="1474">
                  <c:v>43704</c:v>
                </c:pt>
                <c:pt idx="1475">
                  <c:v>43705</c:v>
                </c:pt>
                <c:pt idx="1476">
                  <c:v>43706</c:v>
                </c:pt>
                <c:pt idx="1477">
                  <c:v>43707</c:v>
                </c:pt>
                <c:pt idx="1478">
                  <c:v>43710</c:v>
                </c:pt>
                <c:pt idx="1479">
                  <c:v>43711</c:v>
                </c:pt>
                <c:pt idx="1480">
                  <c:v>43712</c:v>
                </c:pt>
                <c:pt idx="1481">
                  <c:v>43713</c:v>
                </c:pt>
                <c:pt idx="1482">
                  <c:v>43714</c:v>
                </c:pt>
                <c:pt idx="1483">
                  <c:v>43717</c:v>
                </c:pt>
                <c:pt idx="1484">
                  <c:v>43718</c:v>
                </c:pt>
                <c:pt idx="1485">
                  <c:v>43719</c:v>
                </c:pt>
                <c:pt idx="1486">
                  <c:v>43720</c:v>
                </c:pt>
                <c:pt idx="1487">
                  <c:v>43721</c:v>
                </c:pt>
                <c:pt idx="1488">
                  <c:v>43724</c:v>
                </c:pt>
                <c:pt idx="1489">
                  <c:v>43725</c:v>
                </c:pt>
                <c:pt idx="1490">
                  <c:v>43726</c:v>
                </c:pt>
                <c:pt idx="1491">
                  <c:v>43727</c:v>
                </c:pt>
                <c:pt idx="1492">
                  <c:v>43728</c:v>
                </c:pt>
                <c:pt idx="1493">
                  <c:v>43731</c:v>
                </c:pt>
                <c:pt idx="1494">
                  <c:v>43732</c:v>
                </c:pt>
                <c:pt idx="1495">
                  <c:v>43733</c:v>
                </c:pt>
                <c:pt idx="1496">
                  <c:v>43734</c:v>
                </c:pt>
                <c:pt idx="1497">
                  <c:v>43735</c:v>
                </c:pt>
                <c:pt idx="1498">
                  <c:v>43738</c:v>
                </c:pt>
                <c:pt idx="1499">
                  <c:v>43739</c:v>
                </c:pt>
                <c:pt idx="1500">
                  <c:v>43740</c:v>
                </c:pt>
                <c:pt idx="1501">
                  <c:v>43741</c:v>
                </c:pt>
                <c:pt idx="1502">
                  <c:v>43742</c:v>
                </c:pt>
                <c:pt idx="1503">
                  <c:v>43745</c:v>
                </c:pt>
                <c:pt idx="1504">
                  <c:v>43746</c:v>
                </c:pt>
                <c:pt idx="1505">
                  <c:v>43747</c:v>
                </c:pt>
                <c:pt idx="1506">
                  <c:v>43748</c:v>
                </c:pt>
                <c:pt idx="1507">
                  <c:v>43749</c:v>
                </c:pt>
                <c:pt idx="1508">
                  <c:v>43752</c:v>
                </c:pt>
                <c:pt idx="1509">
                  <c:v>43753</c:v>
                </c:pt>
                <c:pt idx="1510">
                  <c:v>43754</c:v>
                </c:pt>
                <c:pt idx="1511">
                  <c:v>43755</c:v>
                </c:pt>
                <c:pt idx="1512">
                  <c:v>43756</c:v>
                </c:pt>
                <c:pt idx="1513">
                  <c:v>43759</c:v>
                </c:pt>
                <c:pt idx="1514">
                  <c:v>43760</c:v>
                </c:pt>
                <c:pt idx="1515">
                  <c:v>43761</c:v>
                </c:pt>
                <c:pt idx="1516">
                  <c:v>43762</c:v>
                </c:pt>
                <c:pt idx="1517">
                  <c:v>43763</c:v>
                </c:pt>
                <c:pt idx="1518">
                  <c:v>43766</c:v>
                </c:pt>
                <c:pt idx="1519">
                  <c:v>43767</c:v>
                </c:pt>
                <c:pt idx="1520">
                  <c:v>43768</c:v>
                </c:pt>
                <c:pt idx="1521">
                  <c:v>43769</c:v>
                </c:pt>
                <c:pt idx="1522">
                  <c:v>43770</c:v>
                </c:pt>
                <c:pt idx="1523">
                  <c:v>43773</c:v>
                </c:pt>
                <c:pt idx="1524">
                  <c:v>43774</c:v>
                </c:pt>
                <c:pt idx="1525">
                  <c:v>43775</c:v>
                </c:pt>
                <c:pt idx="1526">
                  <c:v>43776</c:v>
                </c:pt>
                <c:pt idx="1527">
                  <c:v>43777</c:v>
                </c:pt>
                <c:pt idx="1528">
                  <c:v>43780</c:v>
                </c:pt>
                <c:pt idx="1529">
                  <c:v>43781</c:v>
                </c:pt>
                <c:pt idx="1530">
                  <c:v>43782</c:v>
                </c:pt>
                <c:pt idx="1531">
                  <c:v>43783</c:v>
                </c:pt>
                <c:pt idx="1532">
                  <c:v>43784</c:v>
                </c:pt>
                <c:pt idx="1533">
                  <c:v>43787</c:v>
                </c:pt>
                <c:pt idx="1534">
                  <c:v>43788</c:v>
                </c:pt>
                <c:pt idx="1535">
                  <c:v>43789</c:v>
                </c:pt>
                <c:pt idx="1536">
                  <c:v>43790</c:v>
                </c:pt>
                <c:pt idx="1537">
                  <c:v>43791</c:v>
                </c:pt>
                <c:pt idx="1538">
                  <c:v>43794</c:v>
                </c:pt>
                <c:pt idx="1539">
                  <c:v>43795</c:v>
                </c:pt>
                <c:pt idx="1540">
                  <c:v>43796</c:v>
                </c:pt>
                <c:pt idx="1541">
                  <c:v>43797</c:v>
                </c:pt>
                <c:pt idx="1542">
                  <c:v>43798</c:v>
                </c:pt>
                <c:pt idx="1543">
                  <c:v>43801</c:v>
                </c:pt>
                <c:pt idx="1544">
                  <c:v>43802</c:v>
                </c:pt>
                <c:pt idx="1545">
                  <c:v>43803</c:v>
                </c:pt>
                <c:pt idx="1546">
                  <c:v>43804</c:v>
                </c:pt>
                <c:pt idx="1547">
                  <c:v>43805</c:v>
                </c:pt>
                <c:pt idx="1548">
                  <c:v>43808</c:v>
                </c:pt>
                <c:pt idx="1549">
                  <c:v>43809</c:v>
                </c:pt>
                <c:pt idx="1550">
                  <c:v>43810</c:v>
                </c:pt>
                <c:pt idx="1551">
                  <c:v>43811</c:v>
                </c:pt>
                <c:pt idx="1552">
                  <c:v>43812</c:v>
                </c:pt>
                <c:pt idx="1553">
                  <c:v>43815</c:v>
                </c:pt>
                <c:pt idx="1554">
                  <c:v>43816</c:v>
                </c:pt>
                <c:pt idx="1555">
                  <c:v>43817</c:v>
                </c:pt>
                <c:pt idx="1556">
                  <c:v>43818</c:v>
                </c:pt>
                <c:pt idx="1557">
                  <c:v>43819</c:v>
                </c:pt>
                <c:pt idx="1558">
                  <c:v>43822</c:v>
                </c:pt>
                <c:pt idx="1559">
                  <c:v>43823</c:v>
                </c:pt>
                <c:pt idx="1560">
                  <c:v>43824</c:v>
                </c:pt>
                <c:pt idx="1561">
                  <c:v>43825</c:v>
                </c:pt>
                <c:pt idx="1562">
                  <c:v>43826</c:v>
                </c:pt>
                <c:pt idx="1563">
                  <c:v>43829</c:v>
                </c:pt>
                <c:pt idx="1564">
                  <c:v>43830</c:v>
                </c:pt>
                <c:pt idx="1565">
                  <c:v>43831</c:v>
                </c:pt>
                <c:pt idx="1566">
                  <c:v>43832</c:v>
                </c:pt>
                <c:pt idx="1567">
                  <c:v>43833</c:v>
                </c:pt>
                <c:pt idx="1568">
                  <c:v>43836</c:v>
                </c:pt>
                <c:pt idx="1569">
                  <c:v>43837</c:v>
                </c:pt>
                <c:pt idx="1570">
                  <c:v>43838</c:v>
                </c:pt>
                <c:pt idx="1571">
                  <c:v>43839</c:v>
                </c:pt>
                <c:pt idx="1572">
                  <c:v>43840</c:v>
                </c:pt>
                <c:pt idx="1573">
                  <c:v>43843</c:v>
                </c:pt>
                <c:pt idx="1574">
                  <c:v>43844</c:v>
                </c:pt>
                <c:pt idx="1575">
                  <c:v>43845</c:v>
                </c:pt>
                <c:pt idx="1576">
                  <c:v>43846</c:v>
                </c:pt>
                <c:pt idx="1577">
                  <c:v>43847</c:v>
                </c:pt>
                <c:pt idx="1578">
                  <c:v>43850</c:v>
                </c:pt>
                <c:pt idx="1579">
                  <c:v>43851</c:v>
                </c:pt>
                <c:pt idx="1580">
                  <c:v>43852</c:v>
                </c:pt>
                <c:pt idx="1581">
                  <c:v>43853</c:v>
                </c:pt>
                <c:pt idx="1582">
                  <c:v>43854</c:v>
                </c:pt>
                <c:pt idx="1583">
                  <c:v>43857</c:v>
                </c:pt>
                <c:pt idx="1584">
                  <c:v>43858</c:v>
                </c:pt>
                <c:pt idx="1585">
                  <c:v>43859</c:v>
                </c:pt>
                <c:pt idx="1586">
                  <c:v>43860</c:v>
                </c:pt>
                <c:pt idx="1587">
                  <c:v>43861</c:v>
                </c:pt>
                <c:pt idx="1588">
                  <c:v>43864</c:v>
                </c:pt>
                <c:pt idx="1589">
                  <c:v>43865</c:v>
                </c:pt>
                <c:pt idx="1590">
                  <c:v>43866</c:v>
                </c:pt>
                <c:pt idx="1591">
                  <c:v>43867</c:v>
                </c:pt>
                <c:pt idx="1592">
                  <c:v>43868</c:v>
                </c:pt>
                <c:pt idx="1593">
                  <c:v>43871</c:v>
                </c:pt>
                <c:pt idx="1594">
                  <c:v>43872</c:v>
                </c:pt>
                <c:pt idx="1595">
                  <c:v>43873</c:v>
                </c:pt>
                <c:pt idx="1596">
                  <c:v>43874</c:v>
                </c:pt>
                <c:pt idx="1597">
                  <c:v>43875</c:v>
                </c:pt>
                <c:pt idx="1598">
                  <c:v>43878</c:v>
                </c:pt>
                <c:pt idx="1599">
                  <c:v>43879</c:v>
                </c:pt>
                <c:pt idx="1600">
                  <c:v>43880</c:v>
                </c:pt>
                <c:pt idx="1601">
                  <c:v>43881</c:v>
                </c:pt>
                <c:pt idx="1602">
                  <c:v>43882</c:v>
                </c:pt>
                <c:pt idx="1603">
                  <c:v>43885</c:v>
                </c:pt>
                <c:pt idx="1604">
                  <c:v>43886</c:v>
                </c:pt>
                <c:pt idx="1605">
                  <c:v>43887</c:v>
                </c:pt>
                <c:pt idx="1606">
                  <c:v>43888</c:v>
                </c:pt>
                <c:pt idx="1607">
                  <c:v>43889</c:v>
                </c:pt>
                <c:pt idx="1608">
                  <c:v>43892</c:v>
                </c:pt>
                <c:pt idx="1609">
                  <c:v>43893</c:v>
                </c:pt>
                <c:pt idx="1610">
                  <c:v>43894</c:v>
                </c:pt>
                <c:pt idx="1611">
                  <c:v>43895</c:v>
                </c:pt>
                <c:pt idx="1612">
                  <c:v>43896</c:v>
                </c:pt>
                <c:pt idx="1613">
                  <c:v>43899</c:v>
                </c:pt>
                <c:pt idx="1614">
                  <c:v>43900</c:v>
                </c:pt>
                <c:pt idx="1615">
                  <c:v>43901</c:v>
                </c:pt>
                <c:pt idx="1616">
                  <c:v>43902</c:v>
                </c:pt>
                <c:pt idx="1617">
                  <c:v>43903</c:v>
                </c:pt>
                <c:pt idx="1618">
                  <c:v>43906</c:v>
                </c:pt>
                <c:pt idx="1619">
                  <c:v>43907</c:v>
                </c:pt>
                <c:pt idx="1620">
                  <c:v>43908</c:v>
                </c:pt>
                <c:pt idx="1621">
                  <c:v>43909</c:v>
                </c:pt>
                <c:pt idx="1622">
                  <c:v>43910</c:v>
                </c:pt>
                <c:pt idx="1623">
                  <c:v>43913</c:v>
                </c:pt>
                <c:pt idx="1624">
                  <c:v>43914</c:v>
                </c:pt>
                <c:pt idx="1625">
                  <c:v>43915</c:v>
                </c:pt>
                <c:pt idx="1626">
                  <c:v>43916</c:v>
                </c:pt>
                <c:pt idx="1627">
                  <c:v>43917</c:v>
                </c:pt>
                <c:pt idx="1628">
                  <c:v>43920</c:v>
                </c:pt>
                <c:pt idx="1629">
                  <c:v>43921</c:v>
                </c:pt>
                <c:pt idx="1630">
                  <c:v>43922</c:v>
                </c:pt>
                <c:pt idx="1631">
                  <c:v>43923</c:v>
                </c:pt>
                <c:pt idx="1632">
                  <c:v>43924</c:v>
                </c:pt>
                <c:pt idx="1633">
                  <c:v>43927</c:v>
                </c:pt>
                <c:pt idx="1634">
                  <c:v>43928</c:v>
                </c:pt>
                <c:pt idx="1635">
                  <c:v>43929</c:v>
                </c:pt>
                <c:pt idx="1636">
                  <c:v>43930</c:v>
                </c:pt>
                <c:pt idx="1637">
                  <c:v>43931</c:v>
                </c:pt>
                <c:pt idx="1638">
                  <c:v>43934</c:v>
                </c:pt>
                <c:pt idx="1639">
                  <c:v>43935</c:v>
                </c:pt>
                <c:pt idx="1640">
                  <c:v>43936</c:v>
                </c:pt>
                <c:pt idx="1641">
                  <c:v>43937</c:v>
                </c:pt>
                <c:pt idx="1642">
                  <c:v>43938</c:v>
                </c:pt>
                <c:pt idx="1643">
                  <c:v>43941</c:v>
                </c:pt>
                <c:pt idx="1644">
                  <c:v>43942</c:v>
                </c:pt>
                <c:pt idx="1645">
                  <c:v>43943</c:v>
                </c:pt>
                <c:pt idx="1646">
                  <c:v>43944</c:v>
                </c:pt>
                <c:pt idx="1647">
                  <c:v>43945</c:v>
                </c:pt>
                <c:pt idx="1648">
                  <c:v>43948</c:v>
                </c:pt>
                <c:pt idx="1649">
                  <c:v>43949</c:v>
                </c:pt>
                <c:pt idx="1650">
                  <c:v>43950</c:v>
                </c:pt>
                <c:pt idx="1651">
                  <c:v>43951</c:v>
                </c:pt>
                <c:pt idx="1652">
                  <c:v>43952</c:v>
                </c:pt>
                <c:pt idx="1653">
                  <c:v>43955</c:v>
                </c:pt>
                <c:pt idx="1654">
                  <c:v>43956</c:v>
                </c:pt>
                <c:pt idx="1655">
                  <c:v>43957</c:v>
                </c:pt>
                <c:pt idx="1656">
                  <c:v>43958</c:v>
                </c:pt>
                <c:pt idx="1657">
                  <c:v>43959</c:v>
                </c:pt>
                <c:pt idx="1658">
                  <c:v>43962</c:v>
                </c:pt>
                <c:pt idx="1659">
                  <c:v>43963</c:v>
                </c:pt>
                <c:pt idx="1660">
                  <c:v>43964</c:v>
                </c:pt>
                <c:pt idx="1661">
                  <c:v>43965</c:v>
                </c:pt>
                <c:pt idx="1662">
                  <c:v>43966</c:v>
                </c:pt>
                <c:pt idx="1663">
                  <c:v>43969</c:v>
                </c:pt>
                <c:pt idx="1664">
                  <c:v>43970</c:v>
                </c:pt>
                <c:pt idx="1665">
                  <c:v>43971</c:v>
                </c:pt>
                <c:pt idx="1666">
                  <c:v>43972</c:v>
                </c:pt>
                <c:pt idx="1667">
                  <c:v>43973</c:v>
                </c:pt>
                <c:pt idx="1668">
                  <c:v>43976</c:v>
                </c:pt>
                <c:pt idx="1669">
                  <c:v>43977</c:v>
                </c:pt>
                <c:pt idx="1670">
                  <c:v>43978</c:v>
                </c:pt>
                <c:pt idx="1671">
                  <c:v>43979</c:v>
                </c:pt>
                <c:pt idx="1672">
                  <c:v>43980</c:v>
                </c:pt>
                <c:pt idx="1673">
                  <c:v>43983</c:v>
                </c:pt>
                <c:pt idx="1674">
                  <c:v>43984</c:v>
                </c:pt>
                <c:pt idx="1675">
                  <c:v>43985</c:v>
                </c:pt>
                <c:pt idx="1676">
                  <c:v>43986</c:v>
                </c:pt>
                <c:pt idx="1677">
                  <c:v>43987</c:v>
                </c:pt>
                <c:pt idx="1678">
                  <c:v>43990</c:v>
                </c:pt>
                <c:pt idx="1679">
                  <c:v>43991</c:v>
                </c:pt>
                <c:pt idx="1680">
                  <c:v>43992</c:v>
                </c:pt>
                <c:pt idx="1681">
                  <c:v>43993</c:v>
                </c:pt>
                <c:pt idx="1682">
                  <c:v>43994</c:v>
                </c:pt>
                <c:pt idx="1683">
                  <c:v>43997</c:v>
                </c:pt>
                <c:pt idx="1684">
                  <c:v>43998</c:v>
                </c:pt>
                <c:pt idx="1685">
                  <c:v>43999</c:v>
                </c:pt>
                <c:pt idx="1686">
                  <c:v>44000</c:v>
                </c:pt>
                <c:pt idx="1687">
                  <c:v>44001</c:v>
                </c:pt>
                <c:pt idx="1688">
                  <c:v>44004</c:v>
                </c:pt>
                <c:pt idx="1689">
                  <c:v>44005</c:v>
                </c:pt>
                <c:pt idx="1690">
                  <c:v>44006</c:v>
                </c:pt>
                <c:pt idx="1691">
                  <c:v>44007</c:v>
                </c:pt>
                <c:pt idx="1692">
                  <c:v>44008</c:v>
                </c:pt>
                <c:pt idx="1693">
                  <c:v>44011</c:v>
                </c:pt>
                <c:pt idx="1694">
                  <c:v>44012</c:v>
                </c:pt>
                <c:pt idx="1695">
                  <c:v>44013</c:v>
                </c:pt>
                <c:pt idx="1696">
                  <c:v>44014</c:v>
                </c:pt>
                <c:pt idx="1697">
                  <c:v>44015</c:v>
                </c:pt>
                <c:pt idx="1698">
                  <c:v>44018</c:v>
                </c:pt>
                <c:pt idx="1699">
                  <c:v>44019</c:v>
                </c:pt>
                <c:pt idx="1700">
                  <c:v>44020</c:v>
                </c:pt>
                <c:pt idx="1701">
                  <c:v>44021</c:v>
                </c:pt>
                <c:pt idx="1702">
                  <c:v>44022</c:v>
                </c:pt>
                <c:pt idx="1703">
                  <c:v>44025</c:v>
                </c:pt>
                <c:pt idx="1704">
                  <c:v>44026</c:v>
                </c:pt>
                <c:pt idx="1705">
                  <c:v>44027</c:v>
                </c:pt>
                <c:pt idx="1706">
                  <c:v>44028</c:v>
                </c:pt>
                <c:pt idx="1707">
                  <c:v>44029</c:v>
                </c:pt>
                <c:pt idx="1708">
                  <c:v>44032</c:v>
                </c:pt>
                <c:pt idx="1709">
                  <c:v>44033</c:v>
                </c:pt>
                <c:pt idx="1710">
                  <c:v>44034</c:v>
                </c:pt>
                <c:pt idx="1711">
                  <c:v>44035</c:v>
                </c:pt>
                <c:pt idx="1712">
                  <c:v>44036</c:v>
                </c:pt>
                <c:pt idx="1713">
                  <c:v>44039</c:v>
                </c:pt>
                <c:pt idx="1714">
                  <c:v>44040</c:v>
                </c:pt>
                <c:pt idx="1715">
                  <c:v>44041</c:v>
                </c:pt>
                <c:pt idx="1716">
                  <c:v>44042</c:v>
                </c:pt>
                <c:pt idx="1717">
                  <c:v>44043</c:v>
                </c:pt>
                <c:pt idx="1718">
                  <c:v>44046</c:v>
                </c:pt>
                <c:pt idx="1719">
                  <c:v>44047</c:v>
                </c:pt>
                <c:pt idx="1720">
                  <c:v>44048</c:v>
                </c:pt>
                <c:pt idx="1721">
                  <c:v>44049</c:v>
                </c:pt>
                <c:pt idx="1722">
                  <c:v>44050</c:v>
                </c:pt>
                <c:pt idx="1723">
                  <c:v>44053</c:v>
                </c:pt>
                <c:pt idx="1724">
                  <c:v>44054</c:v>
                </c:pt>
                <c:pt idx="1725">
                  <c:v>44055</c:v>
                </c:pt>
                <c:pt idx="1726">
                  <c:v>44056</c:v>
                </c:pt>
                <c:pt idx="1727">
                  <c:v>44057</c:v>
                </c:pt>
                <c:pt idx="1728">
                  <c:v>44060</c:v>
                </c:pt>
                <c:pt idx="1729">
                  <c:v>44061</c:v>
                </c:pt>
                <c:pt idx="1730">
                  <c:v>44062</c:v>
                </c:pt>
                <c:pt idx="1731">
                  <c:v>44063</c:v>
                </c:pt>
                <c:pt idx="1732">
                  <c:v>44064</c:v>
                </c:pt>
                <c:pt idx="1733">
                  <c:v>44067</c:v>
                </c:pt>
                <c:pt idx="1734">
                  <c:v>44068</c:v>
                </c:pt>
                <c:pt idx="1735">
                  <c:v>44069</c:v>
                </c:pt>
                <c:pt idx="1736">
                  <c:v>44070</c:v>
                </c:pt>
                <c:pt idx="1737">
                  <c:v>44071</c:v>
                </c:pt>
                <c:pt idx="1738">
                  <c:v>44074</c:v>
                </c:pt>
                <c:pt idx="1739">
                  <c:v>44075</c:v>
                </c:pt>
                <c:pt idx="1740">
                  <c:v>44076</c:v>
                </c:pt>
                <c:pt idx="1741">
                  <c:v>44077</c:v>
                </c:pt>
                <c:pt idx="1742">
                  <c:v>44078</c:v>
                </c:pt>
                <c:pt idx="1743">
                  <c:v>44081</c:v>
                </c:pt>
                <c:pt idx="1744">
                  <c:v>44082</c:v>
                </c:pt>
                <c:pt idx="1745">
                  <c:v>44083</c:v>
                </c:pt>
                <c:pt idx="1746">
                  <c:v>44084</c:v>
                </c:pt>
                <c:pt idx="1747">
                  <c:v>44085</c:v>
                </c:pt>
                <c:pt idx="1748">
                  <c:v>44088</c:v>
                </c:pt>
                <c:pt idx="1749">
                  <c:v>44089</c:v>
                </c:pt>
                <c:pt idx="1750">
                  <c:v>44090</c:v>
                </c:pt>
                <c:pt idx="1751">
                  <c:v>44091</c:v>
                </c:pt>
                <c:pt idx="1752">
                  <c:v>44092</c:v>
                </c:pt>
                <c:pt idx="1753">
                  <c:v>44095</c:v>
                </c:pt>
                <c:pt idx="1754">
                  <c:v>44096</c:v>
                </c:pt>
                <c:pt idx="1755">
                  <c:v>44097</c:v>
                </c:pt>
                <c:pt idx="1756">
                  <c:v>44098</c:v>
                </c:pt>
                <c:pt idx="1757">
                  <c:v>44099</c:v>
                </c:pt>
                <c:pt idx="1758">
                  <c:v>44102</c:v>
                </c:pt>
                <c:pt idx="1759">
                  <c:v>44103</c:v>
                </c:pt>
                <c:pt idx="1760">
                  <c:v>44104</c:v>
                </c:pt>
                <c:pt idx="1761">
                  <c:v>44105</c:v>
                </c:pt>
                <c:pt idx="1762">
                  <c:v>44106</c:v>
                </c:pt>
                <c:pt idx="1763">
                  <c:v>44109</c:v>
                </c:pt>
                <c:pt idx="1764">
                  <c:v>44110</c:v>
                </c:pt>
                <c:pt idx="1765">
                  <c:v>44111</c:v>
                </c:pt>
                <c:pt idx="1766">
                  <c:v>44112</c:v>
                </c:pt>
                <c:pt idx="1767">
                  <c:v>44113</c:v>
                </c:pt>
                <c:pt idx="1768">
                  <c:v>44116</c:v>
                </c:pt>
                <c:pt idx="1769">
                  <c:v>44117</c:v>
                </c:pt>
                <c:pt idx="1770">
                  <c:v>44118</c:v>
                </c:pt>
                <c:pt idx="1771">
                  <c:v>44119</c:v>
                </c:pt>
                <c:pt idx="1772">
                  <c:v>44120</c:v>
                </c:pt>
                <c:pt idx="1773">
                  <c:v>44123</c:v>
                </c:pt>
                <c:pt idx="1774">
                  <c:v>44124</c:v>
                </c:pt>
                <c:pt idx="1775">
                  <c:v>44125</c:v>
                </c:pt>
                <c:pt idx="1776">
                  <c:v>44126</c:v>
                </c:pt>
                <c:pt idx="1777">
                  <c:v>44127</c:v>
                </c:pt>
                <c:pt idx="1778">
                  <c:v>44130</c:v>
                </c:pt>
                <c:pt idx="1779">
                  <c:v>44131</c:v>
                </c:pt>
                <c:pt idx="1780">
                  <c:v>44132</c:v>
                </c:pt>
                <c:pt idx="1781">
                  <c:v>44133</c:v>
                </c:pt>
                <c:pt idx="1782">
                  <c:v>44134</c:v>
                </c:pt>
                <c:pt idx="1783">
                  <c:v>44137</c:v>
                </c:pt>
                <c:pt idx="1784">
                  <c:v>44138</c:v>
                </c:pt>
                <c:pt idx="1785">
                  <c:v>44139</c:v>
                </c:pt>
                <c:pt idx="1786">
                  <c:v>44140</c:v>
                </c:pt>
                <c:pt idx="1787">
                  <c:v>44141</c:v>
                </c:pt>
                <c:pt idx="1788">
                  <c:v>44144</c:v>
                </c:pt>
                <c:pt idx="1789">
                  <c:v>44145</c:v>
                </c:pt>
                <c:pt idx="1790">
                  <c:v>44146</c:v>
                </c:pt>
                <c:pt idx="1791">
                  <c:v>44147</c:v>
                </c:pt>
                <c:pt idx="1792">
                  <c:v>44148</c:v>
                </c:pt>
                <c:pt idx="1793">
                  <c:v>44151</c:v>
                </c:pt>
                <c:pt idx="1794">
                  <c:v>44152</c:v>
                </c:pt>
                <c:pt idx="1795">
                  <c:v>44153</c:v>
                </c:pt>
                <c:pt idx="1796">
                  <c:v>44154</c:v>
                </c:pt>
                <c:pt idx="1797">
                  <c:v>44155</c:v>
                </c:pt>
                <c:pt idx="1798">
                  <c:v>44158</c:v>
                </c:pt>
                <c:pt idx="1799">
                  <c:v>44159</c:v>
                </c:pt>
                <c:pt idx="1800">
                  <c:v>44160</c:v>
                </c:pt>
                <c:pt idx="1801">
                  <c:v>44161</c:v>
                </c:pt>
                <c:pt idx="1802">
                  <c:v>44162</c:v>
                </c:pt>
                <c:pt idx="1803">
                  <c:v>44165</c:v>
                </c:pt>
                <c:pt idx="1804">
                  <c:v>44166</c:v>
                </c:pt>
                <c:pt idx="1805">
                  <c:v>44167</c:v>
                </c:pt>
                <c:pt idx="1806">
                  <c:v>44168</c:v>
                </c:pt>
                <c:pt idx="1807">
                  <c:v>44169</c:v>
                </c:pt>
                <c:pt idx="1808">
                  <c:v>44172</c:v>
                </c:pt>
                <c:pt idx="1809">
                  <c:v>44173</c:v>
                </c:pt>
                <c:pt idx="1810">
                  <c:v>44174</c:v>
                </c:pt>
                <c:pt idx="1811">
                  <c:v>44175</c:v>
                </c:pt>
                <c:pt idx="1812">
                  <c:v>44176</c:v>
                </c:pt>
                <c:pt idx="1813">
                  <c:v>44179</c:v>
                </c:pt>
                <c:pt idx="1814">
                  <c:v>44180</c:v>
                </c:pt>
                <c:pt idx="1815">
                  <c:v>44181</c:v>
                </c:pt>
                <c:pt idx="1816">
                  <c:v>44182</c:v>
                </c:pt>
                <c:pt idx="1817">
                  <c:v>44183</c:v>
                </c:pt>
                <c:pt idx="1818">
                  <c:v>44186</c:v>
                </c:pt>
                <c:pt idx="1819">
                  <c:v>44187</c:v>
                </c:pt>
                <c:pt idx="1820">
                  <c:v>44188</c:v>
                </c:pt>
                <c:pt idx="1821">
                  <c:v>44189</c:v>
                </c:pt>
                <c:pt idx="1822">
                  <c:v>44190</c:v>
                </c:pt>
                <c:pt idx="1823">
                  <c:v>44193</c:v>
                </c:pt>
                <c:pt idx="1824">
                  <c:v>44194</c:v>
                </c:pt>
                <c:pt idx="1825">
                  <c:v>44195</c:v>
                </c:pt>
                <c:pt idx="1826">
                  <c:v>44196</c:v>
                </c:pt>
                <c:pt idx="1827">
                  <c:v>44197</c:v>
                </c:pt>
                <c:pt idx="1828">
                  <c:v>44200</c:v>
                </c:pt>
                <c:pt idx="1829">
                  <c:v>44201</c:v>
                </c:pt>
                <c:pt idx="1830">
                  <c:v>44202</c:v>
                </c:pt>
                <c:pt idx="1831">
                  <c:v>44203</c:v>
                </c:pt>
                <c:pt idx="1832">
                  <c:v>44204</c:v>
                </c:pt>
                <c:pt idx="1833">
                  <c:v>44207</c:v>
                </c:pt>
                <c:pt idx="1834">
                  <c:v>44208</c:v>
                </c:pt>
                <c:pt idx="1835">
                  <c:v>44209</c:v>
                </c:pt>
                <c:pt idx="1836">
                  <c:v>44210</c:v>
                </c:pt>
                <c:pt idx="1837">
                  <c:v>44211</c:v>
                </c:pt>
                <c:pt idx="1838">
                  <c:v>44214</c:v>
                </c:pt>
                <c:pt idx="1839">
                  <c:v>44215</c:v>
                </c:pt>
                <c:pt idx="1840">
                  <c:v>44216</c:v>
                </c:pt>
                <c:pt idx="1841">
                  <c:v>44217</c:v>
                </c:pt>
                <c:pt idx="1842">
                  <c:v>44218</c:v>
                </c:pt>
                <c:pt idx="1843">
                  <c:v>44221</c:v>
                </c:pt>
                <c:pt idx="1844">
                  <c:v>44222</c:v>
                </c:pt>
                <c:pt idx="1845">
                  <c:v>44223</c:v>
                </c:pt>
                <c:pt idx="1846">
                  <c:v>44224</c:v>
                </c:pt>
                <c:pt idx="1847">
                  <c:v>44225</c:v>
                </c:pt>
                <c:pt idx="1848">
                  <c:v>44228</c:v>
                </c:pt>
                <c:pt idx="1849">
                  <c:v>44229</c:v>
                </c:pt>
                <c:pt idx="1850">
                  <c:v>44230</c:v>
                </c:pt>
                <c:pt idx="1851">
                  <c:v>44231</c:v>
                </c:pt>
                <c:pt idx="1852">
                  <c:v>44232</c:v>
                </c:pt>
                <c:pt idx="1853">
                  <c:v>44235</c:v>
                </c:pt>
                <c:pt idx="1854">
                  <c:v>44236</c:v>
                </c:pt>
                <c:pt idx="1855">
                  <c:v>44237</c:v>
                </c:pt>
                <c:pt idx="1856">
                  <c:v>44238</c:v>
                </c:pt>
                <c:pt idx="1857">
                  <c:v>44239</c:v>
                </c:pt>
                <c:pt idx="1858">
                  <c:v>44242</c:v>
                </c:pt>
                <c:pt idx="1859">
                  <c:v>44243</c:v>
                </c:pt>
                <c:pt idx="1860">
                  <c:v>44244</c:v>
                </c:pt>
                <c:pt idx="1861">
                  <c:v>44245</c:v>
                </c:pt>
                <c:pt idx="1862">
                  <c:v>44246</c:v>
                </c:pt>
                <c:pt idx="1863">
                  <c:v>44249</c:v>
                </c:pt>
                <c:pt idx="1864">
                  <c:v>44250</c:v>
                </c:pt>
                <c:pt idx="1865">
                  <c:v>44251</c:v>
                </c:pt>
                <c:pt idx="1866">
                  <c:v>44252</c:v>
                </c:pt>
                <c:pt idx="1867">
                  <c:v>44253</c:v>
                </c:pt>
                <c:pt idx="1868">
                  <c:v>44256</c:v>
                </c:pt>
                <c:pt idx="1869">
                  <c:v>44257</c:v>
                </c:pt>
                <c:pt idx="1870">
                  <c:v>44258</c:v>
                </c:pt>
                <c:pt idx="1871">
                  <c:v>44259</c:v>
                </c:pt>
                <c:pt idx="1872">
                  <c:v>44260</c:v>
                </c:pt>
                <c:pt idx="1873">
                  <c:v>44263</c:v>
                </c:pt>
                <c:pt idx="1874">
                  <c:v>44264</c:v>
                </c:pt>
                <c:pt idx="1875">
                  <c:v>44265</c:v>
                </c:pt>
                <c:pt idx="1876">
                  <c:v>44266</c:v>
                </c:pt>
                <c:pt idx="1877">
                  <c:v>44267</c:v>
                </c:pt>
                <c:pt idx="1878">
                  <c:v>44270</c:v>
                </c:pt>
                <c:pt idx="1879">
                  <c:v>44271</c:v>
                </c:pt>
                <c:pt idx="1880">
                  <c:v>44272</c:v>
                </c:pt>
                <c:pt idx="1881">
                  <c:v>44273</c:v>
                </c:pt>
                <c:pt idx="1882">
                  <c:v>44274</c:v>
                </c:pt>
                <c:pt idx="1883">
                  <c:v>44277</c:v>
                </c:pt>
                <c:pt idx="1884">
                  <c:v>44278</c:v>
                </c:pt>
                <c:pt idx="1885">
                  <c:v>44279</c:v>
                </c:pt>
                <c:pt idx="1886">
                  <c:v>44280</c:v>
                </c:pt>
                <c:pt idx="1887">
                  <c:v>44281</c:v>
                </c:pt>
                <c:pt idx="1888">
                  <c:v>44284</c:v>
                </c:pt>
                <c:pt idx="1889">
                  <c:v>44285</c:v>
                </c:pt>
                <c:pt idx="1890">
                  <c:v>44286</c:v>
                </c:pt>
                <c:pt idx="1891">
                  <c:v>44287</c:v>
                </c:pt>
                <c:pt idx="1892">
                  <c:v>44288</c:v>
                </c:pt>
                <c:pt idx="1893">
                  <c:v>44291</c:v>
                </c:pt>
                <c:pt idx="1894">
                  <c:v>44292</c:v>
                </c:pt>
                <c:pt idx="1895">
                  <c:v>44293</c:v>
                </c:pt>
                <c:pt idx="1896">
                  <c:v>44294</c:v>
                </c:pt>
                <c:pt idx="1897">
                  <c:v>44295</c:v>
                </c:pt>
                <c:pt idx="1898">
                  <c:v>44298</c:v>
                </c:pt>
                <c:pt idx="1899">
                  <c:v>44299</c:v>
                </c:pt>
                <c:pt idx="1900">
                  <c:v>44300</c:v>
                </c:pt>
                <c:pt idx="1901">
                  <c:v>44301</c:v>
                </c:pt>
                <c:pt idx="1902">
                  <c:v>44302</c:v>
                </c:pt>
                <c:pt idx="1903">
                  <c:v>44305</c:v>
                </c:pt>
                <c:pt idx="1904">
                  <c:v>44306</c:v>
                </c:pt>
                <c:pt idx="1905">
                  <c:v>44307</c:v>
                </c:pt>
                <c:pt idx="1906">
                  <c:v>44308</c:v>
                </c:pt>
                <c:pt idx="1907">
                  <c:v>44309</c:v>
                </c:pt>
                <c:pt idx="1908">
                  <c:v>44312</c:v>
                </c:pt>
                <c:pt idx="1909">
                  <c:v>44313</c:v>
                </c:pt>
                <c:pt idx="1910">
                  <c:v>44314</c:v>
                </c:pt>
                <c:pt idx="1911">
                  <c:v>44315</c:v>
                </c:pt>
                <c:pt idx="1912">
                  <c:v>44316</c:v>
                </c:pt>
                <c:pt idx="1913">
                  <c:v>44319</c:v>
                </c:pt>
                <c:pt idx="1914">
                  <c:v>44320</c:v>
                </c:pt>
                <c:pt idx="1915">
                  <c:v>44321</c:v>
                </c:pt>
                <c:pt idx="1916">
                  <c:v>44322</c:v>
                </c:pt>
                <c:pt idx="1917">
                  <c:v>44323</c:v>
                </c:pt>
                <c:pt idx="1918">
                  <c:v>44326</c:v>
                </c:pt>
                <c:pt idx="1919">
                  <c:v>44327</c:v>
                </c:pt>
                <c:pt idx="1920">
                  <c:v>44328</c:v>
                </c:pt>
                <c:pt idx="1921">
                  <c:v>44329</c:v>
                </c:pt>
                <c:pt idx="1922">
                  <c:v>44330</c:v>
                </c:pt>
                <c:pt idx="1923">
                  <c:v>44333</c:v>
                </c:pt>
                <c:pt idx="1924">
                  <c:v>44334</c:v>
                </c:pt>
                <c:pt idx="1925">
                  <c:v>44335</c:v>
                </c:pt>
                <c:pt idx="1926">
                  <c:v>44336</c:v>
                </c:pt>
                <c:pt idx="1927">
                  <c:v>44337</c:v>
                </c:pt>
                <c:pt idx="1928">
                  <c:v>44340</c:v>
                </c:pt>
                <c:pt idx="1929">
                  <c:v>44341</c:v>
                </c:pt>
                <c:pt idx="1930">
                  <c:v>44342</c:v>
                </c:pt>
                <c:pt idx="1931">
                  <c:v>44343</c:v>
                </c:pt>
                <c:pt idx="1932">
                  <c:v>44344</c:v>
                </c:pt>
                <c:pt idx="1933">
                  <c:v>44347</c:v>
                </c:pt>
                <c:pt idx="1934">
                  <c:v>44348</c:v>
                </c:pt>
                <c:pt idx="1935">
                  <c:v>44349</c:v>
                </c:pt>
                <c:pt idx="1936">
                  <c:v>44350</c:v>
                </c:pt>
                <c:pt idx="1937">
                  <c:v>44351</c:v>
                </c:pt>
                <c:pt idx="1938">
                  <c:v>44354</c:v>
                </c:pt>
                <c:pt idx="1939">
                  <c:v>44355</c:v>
                </c:pt>
                <c:pt idx="1940">
                  <c:v>44356</c:v>
                </c:pt>
                <c:pt idx="1941">
                  <c:v>44357</c:v>
                </c:pt>
                <c:pt idx="1942">
                  <c:v>44358</c:v>
                </c:pt>
                <c:pt idx="1943">
                  <c:v>44361</c:v>
                </c:pt>
                <c:pt idx="1944">
                  <c:v>44362</c:v>
                </c:pt>
                <c:pt idx="1945">
                  <c:v>44363</c:v>
                </c:pt>
                <c:pt idx="1946">
                  <c:v>44364</c:v>
                </c:pt>
                <c:pt idx="1947">
                  <c:v>44365</c:v>
                </c:pt>
                <c:pt idx="1948">
                  <c:v>44368</c:v>
                </c:pt>
                <c:pt idx="1949">
                  <c:v>44369</c:v>
                </c:pt>
                <c:pt idx="1950">
                  <c:v>44370</c:v>
                </c:pt>
                <c:pt idx="1951">
                  <c:v>44371</c:v>
                </c:pt>
                <c:pt idx="1952">
                  <c:v>44372</c:v>
                </c:pt>
                <c:pt idx="1953">
                  <c:v>44375</c:v>
                </c:pt>
                <c:pt idx="1954">
                  <c:v>44376</c:v>
                </c:pt>
                <c:pt idx="1955">
                  <c:v>44377</c:v>
                </c:pt>
                <c:pt idx="1956">
                  <c:v>44378</c:v>
                </c:pt>
                <c:pt idx="1957">
                  <c:v>44379</c:v>
                </c:pt>
                <c:pt idx="1958">
                  <c:v>44382</c:v>
                </c:pt>
                <c:pt idx="1959">
                  <c:v>44383</c:v>
                </c:pt>
                <c:pt idx="1960">
                  <c:v>44384</c:v>
                </c:pt>
                <c:pt idx="1961">
                  <c:v>44385</c:v>
                </c:pt>
                <c:pt idx="1962">
                  <c:v>44386</c:v>
                </c:pt>
                <c:pt idx="1963">
                  <c:v>44389</c:v>
                </c:pt>
                <c:pt idx="1964">
                  <c:v>44390</c:v>
                </c:pt>
                <c:pt idx="1965">
                  <c:v>44391</c:v>
                </c:pt>
                <c:pt idx="1966">
                  <c:v>44392</c:v>
                </c:pt>
                <c:pt idx="1967">
                  <c:v>44393</c:v>
                </c:pt>
                <c:pt idx="1968">
                  <c:v>44396</c:v>
                </c:pt>
                <c:pt idx="1969">
                  <c:v>44397</c:v>
                </c:pt>
                <c:pt idx="1970">
                  <c:v>44398</c:v>
                </c:pt>
                <c:pt idx="1971">
                  <c:v>44399</c:v>
                </c:pt>
                <c:pt idx="1972">
                  <c:v>44400</c:v>
                </c:pt>
                <c:pt idx="1973">
                  <c:v>44403</c:v>
                </c:pt>
                <c:pt idx="1974">
                  <c:v>44404</c:v>
                </c:pt>
                <c:pt idx="1975">
                  <c:v>44405</c:v>
                </c:pt>
                <c:pt idx="1976">
                  <c:v>44406</c:v>
                </c:pt>
                <c:pt idx="1977">
                  <c:v>44407</c:v>
                </c:pt>
                <c:pt idx="1978">
                  <c:v>44410</c:v>
                </c:pt>
                <c:pt idx="1979">
                  <c:v>44411</c:v>
                </c:pt>
                <c:pt idx="1980">
                  <c:v>44412</c:v>
                </c:pt>
                <c:pt idx="1981">
                  <c:v>44413</c:v>
                </c:pt>
                <c:pt idx="1982">
                  <c:v>44414</c:v>
                </c:pt>
                <c:pt idx="1983">
                  <c:v>44417</c:v>
                </c:pt>
                <c:pt idx="1984">
                  <c:v>44418</c:v>
                </c:pt>
                <c:pt idx="1985">
                  <c:v>44419</c:v>
                </c:pt>
                <c:pt idx="1986">
                  <c:v>44420</c:v>
                </c:pt>
                <c:pt idx="1987">
                  <c:v>44421</c:v>
                </c:pt>
                <c:pt idx="1988">
                  <c:v>44424</c:v>
                </c:pt>
                <c:pt idx="1989">
                  <c:v>44425</c:v>
                </c:pt>
                <c:pt idx="1990">
                  <c:v>44426</c:v>
                </c:pt>
                <c:pt idx="1991">
                  <c:v>44427</c:v>
                </c:pt>
                <c:pt idx="1992">
                  <c:v>44428</c:v>
                </c:pt>
                <c:pt idx="1993">
                  <c:v>44431</c:v>
                </c:pt>
                <c:pt idx="1994">
                  <c:v>44432</c:v>
                </c:pt>
                <c:pt idx="1995">
                  <c:v>44433</c:v>
                </c:pt>
                <c:pt idx="1996">
                  <c:v>44434</c:v>
                </c:pt>
                <c:pt idx="1997">
                  <c:v>44435</c:v>
                </c:pt>
                <c:pt idx="1998">
                  <c:v>44438</c:v>
                </c:pt>
                <c:pt idx="1999">
                  <c:v>44439</c:v>
                </c:pt>
                <c:pt idx="2000">
                  <c:v>44440</c:v>
                </c:pt>
                <c:pt idx="2001">
                  <c:v>44441</c:v>
                </c:pt>
                <c:pt idx="2002">
                  <c:v>44442</c:v>
                </c:pt>
                <c:pt idx="2003">
                  <c:v>44445</c:v>
                </c:pt>
                <c:pt idx="2004">
                  <c:v>44446</c:v>
                </c:pt>
                <c:pt idx="2005">
                  <c:v>44447</c:v>
                </c:pt>
                <c:pt idx="2006">
                  <c:v>44448</c:v>
                </c:pt>
                <c:pt idx="2007">
                  <c:v>44449</c:v>
                </c:pt>
                <c:pt idx="2008">
                  <c:v>44452</c:v>
                </c:pt>
                <c:pt idx="2009">
                  <c:v>44453</c:v>
                </c:pt>
                <c:pt idx="2010">
                  <c:v>44454</c:v>
                </c:pt>
                <c:pt idx="2011">
                  <c:v>44455</c:v>
                </c:pt>
                <c:pt idx="2012">
                  <c:v>44456</c:v>
                </c:pt>
                <c:pt idx="2013">
                  <c:v>44459</c:v>
                </c:pt>
                <c:pt idx="2014">
                  <c:v>44460</c:v>
                </c:pt>
                <c:pt idx="2015">
                  <c:v>44461</c:v>
                </c:pt>
                <c:pt idx="2016">
                  <c:v>44462</c:v>
                </c:pt>
                <c:pt idx="2017">
                  <c:v>44463</c:v>
                </c:pt>
                <c:pt idx="2018">
                  <c:v>44466</c:v>
                </c:pt>
                <c:pt idx="2019">
                  <c:v>44467</c:v>
                </c:pt>
                <c:pt idx="2020">
                  <c:v>44468</c:v>
                </c:pt>
                <c:pt idx="2021">
                  <c:v>44469</c:v>
                </c:pt>
                <c:pt idx="2022">
                  <c:v>44470</c:v>
                </c:pt>
                <c:pt idx="2023">
                  <c:v>44473</c:v>
                </c:pt>
                <c:pt idx="2024">
                  <c:v>44474</c:v>
                </c:pt>
                <c:pt idx="2025">
                  <c:v>44475</c:v>
                </c:pt>
                <c:pt idx="2026">
                  <c:v>44476</c:v>
                </c:pt>
                <c:pt idx="2027">
                  <c:v>44477</c:v>
                </c:pt>
                <c:pt idx="2028">
                  <c:v>44480</c:v>
                </c:pt>
                <c:pt idx="2029">
                  <c:v>44481</c:v>
                </c:pt>
                <c:pt idx="2030">
                  <c:v>44482</c:v>
                </c:pt>
                <c:pt idx="2031">
                  <c:v>44483</c:v>
                </c:pt>
                <c:pt idx="2032">
                  <c:v>44484</c:v>
                </c:pt>
                <c:pt idx="2033">
                  <c:v>44487</c:v>
                </c:pt>
                <c:pt idx="2034">
                  <c:v>44488</c:v>
                </c:pt>
                <c:pt idx="2035">
                  <c:v>44489</c:v>
                </c:pt>
                <c:pt idx="2036">
                  <c:v>44490</c:v>
                </c:pt>
                <c:pt idx="2037">
                  <c:v>44491</c:v>
                </c:pt>
                <c:pt idx="2038">
                  <c:v>44494</c:v>
                </c:pt>
                <c:pt idx="2039">
                  <c:v>44495</c:v>
                </c:pt>
                <c:pt idx="2040">
                  <c:v>44496</c:v>
                </c:pt>
                <c:pt idx="2041">
                  <c:v>44497</c:v>
                </c:pt>
                <c:pt idx="2042">
                  <c:v>44498</c:v>
                </c:pt>
                <c:pt idx="2043">
                  <c:v>44501</c:v>
                </c:pt>
                <c:pt idx="2044">
                  <c:v>44502</c:v>
                </c:pt>
                <c:pt idx="2045">
                  <c:v>44503</c:v>
                </c:pt>
                <c:pt idx="2046">
                  <c:v>44504</c:v>
                </c:pt>
                <c:pt idx="2047">
                  <c:v>44505</c:v>
                </c:pt>
                <c:pt idx="2048">
                  <c:v>44508</c:v>
                </c:pt>
                <c:pt idx="2049">
                  <c:v>44509</c:v>
                </c:pt>
                <c:pt idx="2050">
                  <c:v>44510</c:v>
                </c:pt>
                <c:pt idx="2051">
                  <c:v>44511</c:v>
                </c:pt>
                <c:pt idx="2052">
                  <c:v>44512</c:v>
                </c:pt>
                <c:pt idx="2053">
                  <c:v>44515</c:v>
                </c:pt>
                <c:pt idx="2054">
                  <c:v>44516</c:v>
                </c:pt>
                <c:pt idx="2055">
                  <c:v>44517</c:v>
                </c:pt>
                <c:pt idx="2056">
                  <c:v>44518</c:v>
                </c:pt>
                <c:pt idx="2057">
                  <c:v>44519</c:v>
                </c:pt>
                <c:pt idx="2058">
                  <c:v>44522</c:v>
                </c:pt>
                <c:pt idx="2059">
                  <c:v>44523</c:v>
                </c:pt>
                <c:pt idx="2060">
                  <c:v>44524</c:v>
                </c:pt>
                <c:pt idx="2061">
                  <c:v>44525</c:v>
                </c:pt>
                <c:pt idx="2062">
                  <c:v>44526</c:v>
                </c:pt>
                <c:pt idx="2063">
                  <c:v>44529</c:v>
                </c:pt>
                <c:pt idx="2064">
                  <c:v>44530</c:v>
                </c:pt>
                <c:pt idx="2065">
                  <c:v>44531</c:v>
                </c:pt>
                <c:pt idx="2066">
                  <c:v>44532</c:v>
                </c:pt>
                <c:pt idx="2067">
                  <c:v>44533</c:v>
                </c:pt>
                <c:pt idx="2068">
                  <c:v>44536</c:v>
                </c:pt>
                <c:pt idx="2069">
                  <c:v>44537</c:v>
                </c:pt>
                <c:pt idx="2070">
                  <c:v>44538</c:v>
                </c:pt>
                <c:pt idx="2071">
                  <c:v>44539</c:v>
                </c:pt>
                <c:pt idx="2072">
                  <c:v>44540</c:v>
                </c:pt>
                <c:pt idx="2073">
                  <c:v>44543</c:v>
                </c:pt>
                <c:pt idx="2074">
                  <c:v>44544</c:v>
                </c:pt>
                <c:pt idx="2075">
                  <c:v>44545</c:v>
                </c:pt>
                <c:pt idx="2076">
                  <c:v>44546</c:v>
                </c:pt>
                <c:pt idx="2077">
                  <c:v>44547</c:v>
                </c:pt>
                <c:pt idx="2078">
                  <c:v>44550</c:v>
                </c:pt>
                <c:pt idx="2079">
                  <c:v>44551</c:v>
                </c:pt>
                <c:pt idx="2080">
                  <c:v>44552</c:v>
                </c:pt>
                <c:pt idx="2081">
                  <c:v>44553</c:v>
                </c:pt>
                <c:pt idx="2082">
                  <c:v>44554</c:v>
                </c:pt>
                <c:pt idx="2083">
                  <c:v>44557</c:v>
                </c:pt>
                <c:pt idx="2084">
                  <c:v>44558</c:v>
                </c:pt>
                <c:pt idx="2085">
                  <c:v>44559</c:v>
                </c:pt>
                <c:pt idx="2086">
                  <c:v>44560</c:v>
                </c:pt>
                <c:pt idx="2087">
                  <c:v>44561</c:v>
                </c:pt>
                <c:pt idx="2088">
                  <c:v>44564</c:v>
                </c:pt>
                <c:pt idx="2089">
                  <c:v>44565</c:v>
                </c:pt>
                <c:pt idx="2090">
                  <c:v>44566</c:v>
                </c:pt>
                <c:pt idx="2091">
                  <c:v>44567</c:v>
                </c:pt>
                <c:pt idx="2092">
                  <c:v>44568</c:v>
                </c:pt>
                <c:pt idx="2093">
                  <c:v>44571</c:v>
                </c:pt>
                <c:pt idx="2094">
                  <c:v>44572</c:v>
                </c:pt>
                <c:pt idx="2095">
                  <c:v>44573</c:v>
                </c:pt>
                <c:pt idx="2096">
                  <c:v>44574</c:v>
                </c:pt>
                <c:pt idx="2097">
                  <c:v>44575</c:v>
                </c:pt>
                <c:pt idx="2098">
                  <c:v>44578</c:v>
                </c:pt>
                <c:pt idx="2099">
                  <c:v>44579</c:v>
                </c:pt>
                <c:pt idx="2100">
                  <c:v>44580</c:v>
                </c:pt>
                <c:pt idx="2101">
                  <c:v>44581</c:v>
                </c:pt>
                <c:pt idx="2102">
                  <c:v>44582</c:v>
                </c:pt>
                <c:pt idx="2103">
                  <c:v>44585</c:v>
                </c:pt>
                <c:pt idx="2104">
                  <c:v>44586</c:v>
                </c:pt>
                <c:pt idx="2105">
                  <c:v>44587</c:v>
                </c:pt>
                <c:pt idx="2106">
                  <c:v>44588</c:v>
                </c:pt>
                <c:pt idx="2107">
                  <c:v>44589</c:v>
                </c:pt>
                <c:pt idx="2108">
                  <c:v>44592</c:v>
                </c:pt>
                <c:pt idx="2109">
                  <c:v>44593</c:v>
                </c:pt>
                <c:pt idx="2110">
                  <c:v>44594</c:v>
                </c:pt>
                <c:pt idx="2111">
                  <c:v>44595</c:v>
                </c:pt>
                <c:pt idx="2112">
                  <c:v>44596</c:v>
                </c:pt>
                <c:pt idx="2113">
                  <c:v>44599</c:v>
                </c:pt>
                <c:pt idx="2114">
                  <c:v>44600</c:v>
                </c:pt>
                <c:pt idx="2115">
                  <c:v>44601</c:v>
                </c:pt>
                <c:pt idx="2116">
                  <c:v>44602</c:v>
                </c:pt>
                <c:pt idx="2117">
                  <c:v>44603</c:v>
                </c:pt>
                <c:pt idx="2118">
                  <c:v>44606</c:v>
                </c:pt>
                <c:pt idx="2119">
                  <c:v>44607</c:v>
                </c:pt>
                <c:pt idx="2120">
                  <c:v>44608</c:v>
                </c:pt>
                <c:pt idx="2121">
                  <c:v>44609</c:v>
                </c:pt>
                <c:pt idx="2122">
                  <c:v>44610</c:v>
                </c:pt>
                <c:pt idx="2123">
                  <c:v>44613</c:v>
                </c:pt>
                <c:pt idx="2124">
                  <c:v>44614</c:v>
                </c:pt>
                <c:pt idx="2125">
                  <c:v>44615</c:v>
                </c:pt>
                <c:pt idx="2126">
                  <c:v>44616</c:v>
                </c:pt>
                <c:pt idx="2127">
                  <c:v>44617</c:v>
                </c:pt>
                <c:pt idx="2128">
                  <c:v>44620</c:v>
                </c:pt>
                <c:pt idx="2129">
                  <c:v>44621</c:v>
                </c:pt>
                <c:pt idx="2130">
                  <c:v>44622</c:v>
                </c:pt>
                <c:pt idx="2131">
                  <c:v>44623</c:v>
                </c:pt>
                <c:pt idx="2132">
                  <c:v>44624</c:v>
                </c:pt>
                <c:pt idx="2133">
                  <c:v>44627</c:v>
                </c:pt>
                <c:pt idx="2134">
                  <c:v>44628</c:v>
                </c:pt>
                <c:pt idx="2135">
                  <c:v>44629</c:v>
                </c:pt>
                <c:pt idx="2136">
                  <c:v>44630</c:v>
                </c:pt>
                <c:pt idx="2137">
                  <c:v>44631</c:v>
                </c:pt>
                <c:pt idx="2138">
                  <c:v>44634</c:v>
                </c:pt>
                <c:pt idx="2139">
                  <c:v>44635</c:v>
                </c:pt>
                <c:pt idx="2140">
                  <c:v>44636</c:v>
                </c:pt>
                <c:pt idx="2141">
                  <c:v>44637</c:v>
                </c:pt>
                <c:pt idx="2142">
                  <c:v>44638</c:v>
                </c:pt>
                <c:pt idx="2143">
                  <c:v>44641</c:v>
                </c:pt>
                <c:pt idx="2144">
                  <c:v>44642</c:v>
                </c:pt>
                <c:pt idx="2145">
                  <c:v>44643</c:v>
                </c:pt>
                <c:pt idx="2146">
                  <c:v>44644</c:v>
                </c:pt>
                <c:pt idx="2147">
                  <c:v>44645</c:v>
                </c:pt>
                <c:pt idx="2148">
                  <c:v>44648</c:v>
                </c:pt>
                <c:pt idx="2149">
                  <c:v>44649</c:v>
                </c:pt>
                <c:pt idx="2150">
                  <c:v>44650</c:v>
                </c:pt>
                <c:pt idx="2151">
                  <c:v>44651</c:v>
                </c:pt>
                <c:pt idx="2152">
                  <c:v>44652</c:v>
                </c:pt>
                <c:pt idx="2153">
                  <c:v>44655</c:v>
                </c:pt>
                <c:pt idx="2154">
                  <c:v>44656</c:v>
                </c:pt>
                <c:pt idx="2155">
                  <c:v>44657</c:v>
                </c:pt>
                <c:pt idx="2156">
                  <c:v>44658</c:v>
                </c:pt>
                <c:pt idx="2157">
                  <c:v>44659</c:v>
                </c:pt>
                <c:pt idx="2158">
                  <c:v>44662</c:v>
                </c:pt>
                <c:pt idx="2159">
                  <c:v>44663</c:v>
                </c:pt>
                <c:pt idx="2160">
                  <c:v>44664</c:v>
                </c:pt>
                <c:pt idx="2161">
                  <c:v>44665</c:v>
                </c:pt>
                <c:pt idx="2162">
                  <c:v>44666</c:v>
                </c:pt>
                <c:pt idx="2163">
                  <c:v>44669</c:v>
                </c:pt>
                <c:pt idx="2164">
                  <c:v>44670</c:v>
                </c:pt>
                <c:pt idx="2165">
                  <c:v>44671</c:v>
                </c:pt>
                <c:pt idx="2166">
                  <c:v>44672</c:v>
                </c:pt>
                <c:pt idx="2167">
                  <c:v>44673</c:v>
                </c:pt>
                <c:pt idx="2168">
                  <c:v>44676</c:v>
                </c:pt>
                <c:pt idx="2169">
                  <c:v>44677</c:v>
                </c:pt>
                <c:pt idx="2170">
                  <c:v>44678</c:v>
                </c:pt>
                <c:pt idx="2171">
                  <c:v>44679</c:v>
                </c:pt>
                <c:pt idx="2172">
                  <c:v>44680</c:v>
                </c:pt>
                <c:pt idx="2173">
                  <c:v>44683</c:v>
                </c:pt>
                <c:pt idx="2174">
                  <c:v>44684</c:v>
                </c:pt>
                <c:pt idx="2175">
                  <c:v>44685</c:v>
                </c:pt>
                <c:pt idx="2176">
                  <c:v>44686</c:v>
                </c:pt>
                <c:pt idx="2177">
                  <c:v>44687</c:v>
                </c:pt>
                <c:pt idx="2178">
                  <c:v>44690</c:v>
                </c:pt>
                <c:pt idx="2179">
                  <c:v>44691</c:v>
                </c:pt>
                <c:pt idx="2180">
                  <c:v>44692</c:v>
                </c:pt>
                <c:pt idx="2181">
                  <c:v>44693</c:v>
                </c:pt>
                <c:pt idx="2182">
                  <c:v>44694</c:v>
                </c:pt>
                <c:pt idx="2183">
                  <c:v>44697</c:v>
                </c:pt>
                <c:pt idx="2184">
                  <c:v>44698</c:v>
                </c:pt>
                <c:pt idx="2185">
                  <c:v>44699</c:v>
                </c:pt>
                <c:pt idx="2186">
                  <c:v>44700</c:v>
                </c:pt>
                <c:pt idx="2187">
                  <c:v>44701</c:v>
                </c:pt>
                <c:pt idx="2188">
                  <c:v>44704</c:v>
                </c:pt>
                <c:pt idx="2189">
                  <c:v>44705</c:v>
                </c:pt>
                <c:pt idx="2190">
                  <c:v>44706</c:v>
                </c:pt>
                <c:pt idx="2191">
                  <c:v>44707</c:v>
                </c:pt>
                <c:pt idx="2192">
                  <c:v>44708</c:v>
                </c:pt>
                <c:pt idx="2193">
                  <c:v>44711</c:v>
                </c:pt>
                <c:pt idx="2194">
                  <c:v>44712</c:v>
                </c:pt>
                <c:pt idx="2195">
                  <c:v>44713</c:v>
                </c:pt>
                <c:pt idx="2196">
                  <c:v>44714</c:v>
                </c:pt>
                <c:pt idx="2197">
                  <c:v>44715</c:v>
                </c:pt>
                <c:pt idx="2198">
                  <c:v>44718</c:v>
                </c:pt>
                <c:pt idx="2199">
                  <c:v>44719</c:v>
                </c:pt>
                <c:pt idx="2200">
                  <c:v>44720</c:v>
                </c:pt>
                <c:pt idx="2201">
                  <c:v>44721</c:v>
                </c:pt>
                <c:pt idx="2202">
                  <c:v>44722</c:v>
                </c:pt>
                <c:pt idx="2203">
                  <c:v>44725</c:v>
                </c:pt>
                <c:pt idx="2204">
                  <c:v>44726</c:v>
                </c:pt>
                <c:pt idx="2205">
                  <c:v>44727</c:v>
                </c:pt>
                <c:pt idx="2206">
                  <c:v>44728</c:v>
                </c:pt>
                <c:pt idx="2207">
                  <c:v>44729</c:v>
                </c:pt>
                <c:pt idx="2208">
                  <c:v>44732</c:v>
                </c:pt>
                <c:pt idx="2209">
                  <c:v>44733</c:v>
                </c:pt>
                <c:pt idx="2210">
                  <c:v>44734</c:v>
                </c:pt>
                <c:pt idx="2211">
                  <c:v>44735</c:v>
                </c:pt>
                <c:pt idx="2212">
                  <c:v>44736</c:v>
                </c:pt>
                <c:pt idx="2213">
                  <c:v>44739</c:v>
                </c:pt>
                <c:pt idx="2214">
                  <c:v>44740</c:v>
                </c:pt>
                <c:pt idx="2215">
                  <c:v>44741</c:v>
                </c:pt>
                <c:pt idx="2216">
                  <c:v>44742</c:v>
                </c:pt>
                <c:pt idx="2217">
                  <c:v>44743</c:v>
                </c:pt>
                <c:pt idx="2218">
                  <c:v>44746</c:v>
                </c:pt>
                <c:pt idx="2219">
                  <c:v>44747</c:v>
                </c:pt>
                <c:pt idx="2220">
                  <c:v>44748</c:v>
                </c:pt>
                <c:pt idx="2221">
                  <c:v>44749</c:v>
                </c:pt>
                <c:pt idx="2222">
                  <c:v>44750</c:v>
                </c:pt>
                <c:pt idx="2223">
                  <c:v>44753</c:v>
                </c:pt>
                <c:pt idx="2224">
                  <c:v>44754</c:v>
                </c:pt>
                <c:pt idx="2225">
                  <c:v>44755</c:v>
                </c:pt>
                <c:pt idx="2226">
                  <c:v>44756</c:v>
                </c:pt>
                <c:pt idx="2227">
                  <c:v>44757</c:v>
                </c:pt>
                <c:pt idx="2228">
                  <c:v>44760</c:v>
                </c:pt>
                <c:pt idx="2229">
                  <c:v>44761</c:v>
                </c:pt>
                <c:pt idx="2230">
                  <c:v>44762</c:v>
                </c:pt>
                <c:pt idx="2231">
                  <c:v>44763</c:v>
                </c:pt>
                <c:pt idx="2232">
                  <c:v>44764</c:v>
                </c:pt>
                <c:pt idx="2233">
                  <c:v>44767</c:v>
                </c:pt>
                <c:pt idx="2234">
                  <c:v>44768</c:v>
                </c:pt>
                <c:pt idx="2235">
                  <c:v>44769</c:v>
                </c:pt>
                <c:pt idx="2236">
                  <c:v>44770</c:v>
                </c:pt>
                <c:pt idx="2237">
                  <c:v>44771</c:v>
                </c:pt>
                <c:pt idx="2238">
                  <c:v>44774</c:v>
                </c:pt>
                <c:pt idx="2239">
                  <c:v>44775</c:v>
                </c:pt>
                <c:pt idx="2240">
                  <c:v>44776</c:v>
                </c:pt>
                <c:pt idx="2241">
                  <c:v>44777</c:v>
                </c:pt>
                <c:pt idx="2242">
                  <c:v>44778</c:v>
                </c:pt>
                <c:pt idx="2243">
                  <c:v>44781</c:v>
                </c:pt>
                <c:pt idx="2244">
                  <c:v>44782</c:v>
                </c:pt>
                <c:pt idx="2245">
                  <c:v>44783</c:v>
                </c:pt>
                <c:pt idx="2246">
                  <c:v>44784</c:v>
                </c:pt>
                <c:pt idx="2247">
                  <c:v>44785</c:v>
                </c:pt>
                <c:pt idx="2248">
                  <c:v>44788</c:v>
                </c:pt>
                <c:pt idx="2249">
                  <c:v>44789</c:v>
                </c:pt>
                <c:pt idx="2250">
                  <c:v>44790</c:v>
                </c:pt>
                <c:pt idx="2251">
                  <c:v>44791</c:v>
                </c:pt>
                <c:pt idx="2252">
                  <c:v>44792</c:v>
                </c:pt>
                <c:pt idx="2253">
                  <c:v>44795</c:v>
                </c:pt>
                <c:pt idx="2254">
                  <c:v>44796</c:v>
                </c:pt>
                <c:pt idx="2255">
                  <c:v>44797</c:v>
                </c:pt>
                <c:pt idx="2256">
                  <c:v>44798</c:v>
                </c:pt>
                <c:pt idx="2257">
                  <c:v>44799</c:v>
                </c:pt>
                <c:pt idx="2258">
                  <c:v>44802</c:v>
                </c:pt>
                <c:pt idx="2259">
                  <c:v>44803</c:v>
                </c:pt>
                <c:pt idx="2260">
                  <c:v>44804</c:v>
                </c:pt>
                <c:pt idx="2261">
                  <c:v>44805</c:v>
                </c:pt>
                <c:pt idx="2262">
                  <c:v>44806</c:v>
                </c:pt>
                <c:pt idx="2263">
                  <c:v>44809</c:v>
                </c:pt>
                <c:pt idx="2264">
                  <c:v>44810</c:v>
                </c:pt>
                <c:pt idx="2265">
                  <c:v>44811</c:v>
                </c:pt>
                <c:pt idx="2266">
                  <c:v>44812</c:v>
                </c:pt>
                <c:pt idx="2267">
                  <c:v>44813</c:v>
                </c:pt>
                <c:pt idx="2268">
                  <c:v>44816</c:v>
                </c:pt>
                <c:pt idx="2269">
                  <c:v>44817</c:v>
                </c:pt>
                <c:pt idx="2270">
                  <c:v>44818</c:v>
                </c:pt>
                <c:pt idx="2271">
                  <c:v>44819</c:v>
                </c:pt>
                <c:pt idx="2272">
                  <c:v>44820</c:v>
                </c:pt>
                <c:pt idx="2273">
                  <c:v>44823</c:v>
                </c:pt>
                <c:pt idx="2274">
                  <c:v>44824</c:v>
                </c:pt>
                <c:pt idx="2275">
                  <c:v>44825</c:v>
                </c:pt>
                <c:pt idx="2276">
                  <c:v>44826</c:v>
                </c:pt>
                <c:pt idx="2277">
                  <c:v>44827</c:v>
                </c:pt>
                <c:pt idx="2278">
                  <c:v>44830</c:v>
                </c:pt>
                <c:pt idx="2279">
                  <c:v>44831</c:v>
                </c:pt>
                <c:pt idx="2280">
                  <c:v>44832</c:v>
                </c:pt>
                <c:pt idx="2281">
                  <c:v>44833</c:v>
                </c:pt>
                <c:pt idx="2282">
                  <c:v>44834</c:v>
                </c:pt>
                <c:pt idx="2283">
                  <c:v>44837</c:v>
                </c:pt>
                <c:pt idx="2284">
                  <c:v>44838</c:v>
                </c:pt>
                <c:pt idx="2285">
                  <c:v>44839</c:v>
                </c:pt>
                <c:pt idx="2286">
                  <c:v>44840</c:v>
                </c:pt>
                <c:pt idx="2287">
                  <c:v>44841</c:v>
                </c:pt>
                <c:pt idx="2288">
                  <c:v>44844</c:v>
                </c:pt>
                <c:pt idx="2289">
                  <c:v>44845</c:v>
                </c:pt>
                <c:pt idx="2290">
                  <c:v>44846</c:v>
                </c:pt>
                <c:pt idx="2291">
                  <c:v>44847</c:v>
                </c:pt>
                <c:pt idx="2292">
                  <c:v>44848</c:v>
                </c:pt>
                <c:pt idx="2293">
                  <c:v>44851</c:v>
                </c:pt>
                <c:pt idx="2294">
                  <c:v>44852</c:v>
                </c:pt>
                <c:pt idx="2295">
                  <c:v>44853</c:v>
                </c:pt>
                <c:pt idx="2296">
                  <c:v>44854</c:v>
                </c:pt>
                <c:pt idx="2297">
                  <c:v>44855</c:v>
                </c:pt>
                <c:pt idx="2298">
                  <c:v>44858</c:v>
                </c:pt>
                <c:pt idx="2299">
                  <c:v>44859</c:v>
                </c:pt>
                <c:pt idx="2300">
                  <c:v>44860</c:v>
                </c:pt>
                <c:pt idx="2301">
                  <c:v>44861</c:v>
                </c:pt>
                <c:pt idx="2302">
                  <c:v>44862</c:v>
                </c:pt>
                <c:pt idx="2303">
                  <c:v>44865</c:v>
                </c:pt>
                <c:pt idx="2304">
                  <c:v>44866</c:v>
                </c:pt>
                <c:pt idx="2305">
                  <c:v>44867</c:v>
                </c:pt>
                <c:pt idx="2306">
                  <c:v>44868</c:v>
                </c:pt>
                <c:pt idx="2307">
                  <c:v>44869</c:v>
                </c:pt>
                <c:pt idx="2308">
                  <c:v>44872</c:v>
                </c:pt>
                <c:pt idx="2309">
                  <c:v>44873</c:v>
                </c:pt>
                <c:pt idx="2310">
                  <c:v>44874</c:v>
                </c:pt>
                <c:pt idx="2311">
                  <c:v>44875</c:v>
                </c:pt>
                <c:pt idx="2312">
                  <c:v>44876</c:v>
                </c:pt>
                <c:pt idx="2313">
                  <c:v>44879</c:v>
                </c:pt>
                <c:pt idx="2314">
                  <c:v>44880</c:v>
                </c:pt>
                <c:pt idx="2315">
                  <c:v>44881</c:v>
                </c:pt>
                <c:pt idx="2316">
                  <c:v>44882</c:v>
                </c:pt>
                <c:pt idx="2317">
                  <c:v>44883</c:v>
                </c:pt>
                <c:pt idx="2318">
                  <c:v>44886</c:v>
                </c:pt>
                <c:pt idx="2319">
                  <c:v>44887</c:v>
                </c:pt>
                <c:pt idx="2320">
                  <c:v>44888</c:v>
                </c:pt>
                <c:pt idx="2321">
                  <c:v>44889</c:v>
                </c:pt>
                <c:pt idx="2322">
                  <c:v>44890</c:v>
                </c:pt>
                <c:pt idx="2323">
                  <c:v>44893</c:v>
                </c:pt>
                <c:pt idx="2324">
                  <c:v>44894</c:v>
                </c:pt>
                <c:pt idx="2325">
                  <c:v>44895</c:v>
                </c:pt>
                <c:pt idx="2326">
                  <c:v>44896</c:v>
                </c:pt>
                <c:pt idx="2327">
                  <c:v>44897</c:v>
                </c:pt>
                <c:pt idx="2328">
                  <c:v>44900</c:v>
                </c:pt>
                <c:pt idx="2329">
                  <c:v>44901</c:v>
                </c:pt>
                <c:pt idx="2330">
                  <c:v>44902</c:v>
                </c:pt>
                <c:pt idx="2331">
                  <c:v>44903</c:v>
                </c:pt>
                <c:pt idx="2332">
                  <c:v>44904</c:v>
                </c:pt>
                <c:pt idx="2333">
                  <c:v>44907</c:v>
                </c:pt>
                <c:pt idx="2334">
                  <c:v>44908</c:v>
                </c:pt>
                <c:pt idx="2335">
                  <c:v>44909</c:v>
                </c:pt>
                <c:pt idx="2336">
                  <c:v>44910</c:v>
                </c:pt>
                <c:pt idx="2337">
                  <c:v>44911</c:v>
                </c:pt>
                <c:pt idx="2338">
                  <c:v>44914</c:v>
                </c:pt>
                <c:pt idx="2339">
                  <c:v>44915</c:v>
                </c:pt>
                <c:pt idx="2340">
                  <c:v>44916</c:v>
                </c:pt>
                <c:pt idx="2341">
                  <c:v>44917</c:v>
                </c:pt>
                <c:pt idx="2342">
                  <c:v>44918</c:v>
                </c:pt>
                <c:pt idx="2343">
                  <c:v>44921</c:v>
                </c:pt>
                <c:pt idx="2344">
                  <c:v>44922</c:v>
                </c:pt>
                <c:pt idx="2345">
                  <c:v>44923</c:v>
                </c:pt>
                <c:pt idx="2346">
                  <c:v>44924</c:v>
                </c:pt>
                <c:pt idx="2347">
                  <c:v>44925</c:v>
                </c:pt>
                <c:pt idx="2348">
                  <c:v>44928</c:v>
                </c:pt>
                <c:pt idx="2349">
                  <c:v>44929</c:v>
                </c:pt>
                <c:pt idx="2350">
                  <c:v>44930</c:v>
                </c:pt>
                <c:pt idx="2351">
                  <c:v>44931</c:v>
                </c:pt>
                <c:pt idx="2352">
                  <c:v>44932</c:v>
                </c:pt>
                <c:pt idx="2353">
                  <c:v>44935</c:v>
                </c:pt>
                <c:pt idx="2354">
                  <c:v>44936</c:v>
                </c:pt>
                <c:pt idx="2355">
                  <c:v>44937</c:v>
                </c:pt>
                <c:pt idx="2356">
                  <c:v>44938</c:v>
                </c:pt>
                <c:pt idx="2357">
                  <c:v>44939</c:v>
                </c:pt>
                <c:pt idx="2358">
                  <c:v>44942</c:v>
                </c:pt>
                <c:pt idx="2359">
                  <c:v>44943</c:v>
                </c:pt>
                <c:pt idx="2360">
                  <c:v>44944</c:v>
                </c:pt>
                <c:pt idx="2361">
                  <c:v>44945</c:v>
                </c:pt>
                <c:pt idx="2362">
                  <c:v>44946</c:v>
                </c:pt>
                <c:pt idx="2363">
                  <c:v>44949</c:v>
                </c:pt>
                <c:pt idx="2364">
                  <c:v>44950</c:v>
                </c:pt>
                <c:pt idx="2365">
                  <c:v>44951</c:v>
                </c:pt>
                <c:pt idx="2366">
                  <c:v>44952</c:v>
                </c:pt>
                <c:pt idx="2367">
                  <c:v>44953</c:v>
                </c:pt>
                <c:pt idx="2368">
                  <c:v>44956</c:v>
                </c:pt>
                <c:pt idx="2369">
                  <c:v>44957</c:v>
                </c:pt>
                <c:pt idx="2370">
                  <c:v>44958</c:v>
                </c:pt>
                <c:pt idx="2371">
                  <c:v>44959</c:v>
                </c:pt>
                <c:pt idx="2372">
                  <c:v>44960</c:v>
                </c:pt>
                <c:pt idx="2373">
                  <c:v>44963</c:v>
                </c:pt>
                <c:pt idx="2374">
                  <c:v>44964</c:v>
                </c:pt>
                <c:pt idx="2375">
                  <c:v>44965</c:v>
                </c:pt>
                <c:pt idx="2376">
                  <c:v>44966</c:v>
                </c:pt>
                <c:pt idx="2377">
                  <c:v>44967</c:v>
                </c:pt>
                <c:pt idx="2378">
                  <c:v>44970</c:v>
                </c:pt>
                <c:pt idx="2379">
                  <c:v>44971</c:v>
                </c:pt>
                <c:pt idx="2380">
                  <c:v>44972</c:v>
                </c:pt>
                <c:pt idx="2381">
                  <c:v>44973</c:v>
                </c:pt>
                <c:pt idx="2382">
                  <c:v>44974</c:v>
                </c:pt>
                <c:pt idx="2383">
                  <c:v>44977</c:v>
                </c:pt>
                <c:pt idx="2384">
                  <c:v>44978</c:v>
                </c:pt>
                <c:pt idx="2385">
                  <c:v>44979</c:v>
                </c:pt>
                <c:pt idx="2386">
                  <c:v>44980</c:v>
                </c:pt>
                <c:pt idx="2387">
                  <c:v>44981</c:v>
                </c:pt>
                <c:pt idx="2388">
                  <c:v>44984</c:v>
                </c:pt>
                <c:pt idx="2389">
                  <c:v>44985</c:v>
                </c:pt>
                <c:pt idx="2390">
                  <c:v>44986</c:v>
                </c:pt>
                <c:pt idx="2391">
                  <c:v>44987</c:v>
                </c:pt>
                <c:pt idx="2392">
                  <c:v>44988</c:v>
                </c:pt>
                <c:pt idx="2393">
                  <c:v>44991</c:v>
                </c:pt>
                <c:pt idx="2394">
                  <c:v>44992</c:v>
                </c:pt>
                <c:pt idx="2395">
                  <c:v>44993</c:v>
                </c:pt>
                <c:pt idx="2396">
                  <c:v>44994</c:v>
                </c:pt>
                <c:pt idx="2397">
                  <c:v>44995</c:v>
                </c:pt>
                <c:pt idx="2398">
                  <c:v>44998</c:v>
                </c:pt>
                <c:pt idx="2399">
                  <c:v>44999</c:v>
                </c:pt>
                <c:pt idx="2400">
                  <c:v>45000</c:v>
                </c:pt>
                <c:pt idx="2401">
                  <c:v>45001</c:v>
                </c:pt>
                <c:pt idx="2402">
                  <c:v>45002</c:v>
                </c:pt>
                <c:pt idx="2403">
                  <c:v>45005</c:v>
                </c:pt>
                <c:pt idx="2404">
                  <c:v>45006</c:v>
                </c:pt>
                <c:pt idx="2405">
                  <c:v>45007</c:v>
                </c:pt>
                <c:pt idx="2406">
                  <c:v>45008</c:v>
                </c:pt>
                <c:pt idx="2407">
                  <c:v>45009</c:v>
                </c:pt>
                <c:pt idx="2408">
                  <c:v>45012</c:v>
                </c:pt>
                <c:pt idx="2409">
                  <c:v>45013</c:v>
                </c:pt>
                <c:pt idx="2410">
                  <c:v>45014</c:v>
                </c:pt>
                <c:pt idx="2411">
                  <c:v>45015</c:v>
                </c:pt>
                <c:pt idx="2412">
                  <c:v>45016</c:v>
                </c:pt>
                <c:pt idx="2413">
                  <c:v>45019</c:v>
                </c:pt>
                <c:pt idx="2414">
                  <c:v>45020</c:v>
                </c:pt>
                <c:pt idx="2415">
                  <c:v>45021</c:v>
                </c:pt>
                <c:pt idx="2416">
                  <c:v>45022</c:v>
                </c:pt>
                <c:pt idx="2417">
                  <c:v>45023</c:v>
                </c:pt>
                <c:pt idx="2418">
                  <c:v>45026</c:v>
                </c:pt>
                <c:pt idx="2419">
                  <c:v>45027</c:v>
                </c:pt>
                <c:pt idx="2420">
                  <c:v>45028</c:v>
                </c:pt>
                <c:pt idx="2421">
                  <c:v>45029</c:v>
                </c:pt>
                <c:pt idx="2422">
                  <c:v>45030</c:v>
                </c:pt>
                <c:pt idx="2423">
                  <c:v>45033</c:v>
                </c:pt>
                <c:pt idx="2424">
                  <c:v>45034</c:v>
                </c:pt>
                <c:pt idx="2425">
                  <c:v>45035</c:v>
                </c:pt>
                <c:pt idx="2426">
                  <c:v>45036</c:v>
                </c:pt>
                <c:pt idx="2427">
                  <c:v>45037</c:v>
                </c:pt>
                <c:pt idx="2428">
                  <c:v>45040</c:v>
                </c:pt>
                <c:pt idx="2429">
                  <c:v>45041</c:v>
                </c:pt>
                <c:pt idx="2430">
                  <c:v>45042</c:v>
                </c:pt>
                <c:pt idx="2431">
                  <c:v>45043</c:v>
                </c:pt>
                <c:pt idx="2432">
                  <c:v>45044</c:v>
                </c:pt>
                <c:pt idx="2433">
                  <c:v>45047</c:v>
                </c:pt>
                <c:pt idx="2434">
                  <c:v>45048</c:v>
                </c:pt>
                <c:pt idx="2435">
                  <c:v>45049</c:v>
                </c:pt>
                <c:pt idx="2436">
                  <c:v>45050</c:v>
                </c:pt>
                <c:pt idx="2437">
                  <c:v>45051</c:v>
                </c:pt>
                <c:pt idx="2438">
                  <c:v>45054</c:v>
                </c:pt>
                <c:pt idx="2439">
                  <c:v>45055</c:v>
                </c:pt>
                <c:pt idx="2440">
                  <c:v>45056</c:v>
                </c:pt>
                <c:pt idx="2441">
                  <c:v>45057</c:v>
                </c:pt>
                <c:pt idx="2442">
                  <c:v>45058</c:v>
                </c:pt>
                <c:pt idx="2443">
                  <c:v>45061</c:v>
                </c:pt>
                <c:pt idx="2444">
                  <c:v>45062</c:v>
                </c:pt>
                <c:pt idx="2445">
                  <c:v>45063</c:v>
                </c:pt>
                <c:pt idx="2446">
                  <c:v>45064</c:v>
                </c:pt>
                <c:pt idx="2447">
                  <c:v>45065</c:v>
                </c:pt>
                <c:pt idx="2448">
                  <c:v>45068</c:v>
                </c:pt>
                <c:pt idx="2449">
                  <c:v>45069</c:v>
                </c:pt>
                <c:pt idx="2450">
                  <c:v>45070</c:v>
                </c:pt>
                <c:pt idx="2451">
                  <c:v>45071</c:v>
                </c:pt>
                <c:pt idx="2452">
                  <c:v>45072</c:v>
                </c:pt>
                <c:pt idx="2453">
                  <c:v>45075</c:v>
                </c:pt>
                <c:pt idx="2454">
                  <c:v>45076</c:v>
                </c:pt>
                <c:pt idx="2455">
                  <c:v>45077</c:v>
                </c:pt>
                <c:pt idx="2456">
                  <c:v>45078</c:v>
                </c:pt>
                <c:pt idx="2457">
                  <c:v>45079</c:v>
                </c:pt>
                <c:pt idx="2458">
                  <c:v>45082</c:v>
                </c:pt>
                <c:pt idx="2459">
                  <c:v>45083</c:v>
                </c:pt>
                <c:pt idx="2460">
                  <c:v>45084</c:v>
                </c:pt>
                <c:pt idx="2461">
                  <c:v>45085</c:v>
                </c:pt>
                <c:pt idx="2462">
                  <c:v>45086</c:v>
                </c:pt>
                <c:pt idx="2463">
                  <c:v>45089</c:v>
                </c:pt>
                <c:pt idx="2464">
                  <c:v>45090</c:v>
                </c:pt>
                <c:pt idx="2465">
                  <c:v>45091</c:v>
                </c:pt>
                <c:pt idx="2466">
                  <c:v>45092</c:v>
                </c:pt>
                <c:pt idx="2467">
                  <c:v>45093</c:v>
                </c:pt>
                <c:pt idx="2468">
                  <c:v>45096</c:v>
                </c:pt>
                <c:pt idx="2469">
                  <c:v>45097</c:v>
                </c:pt>
                <c:pt idx="2470">
                  <c:v>45098</c:v>
                </c:pt>
                <c:pt idx="2471">
                  <c:v>45099</c:v>
                </c:pt>
                <c:pt idx="2472">
                  <c:v>45100</c:v>
                </c:pt>
                <c:pt idx="2473">
                  <c:v>45103</c:v>
                </c:pt>
                <c:pt idx="2474">
                  <c:v>45104</c:v>
                </c:pt>
                <c:pt idx="2475">
                  <c:v>45105</c:v>
                </c:pt>
                <c:pt idx="2476">
                  <c:v>45106</c:v>
                </c:pt>
                <c:pt idx="2477">
                  <c:v>45107</c:v>
                </c:pt>
                <c:pt idx="2478">
                  <c:v>45110</c:v>
                </c:pt>
                <c:pt idx="2479">
                  <c:v>45111</c:v>
                </c:pt>
                <c:pt idx="2480">
                  <c:v>45112</c:v>
                </c:pt>
                <c:pt idx="2481">
                  <c:v>45113</c:v>
                </c:pt>
                <c:pt idx="2482">
                  <c:v>45114</c:v>
                </c:pt>
                <c:pt idx="2483">
                  <c:v>45117</c:v>
                </c:pt>
                <c:pt idx="2484">
                  <c:v>45118</c:v>
                </c:pt>
                <c:pt idx="2485">
                  <c:v>45119</c:v>
                </c:pt>
                <c:pt idx="2486">
                  <c:v>45120</c:v>
                </c:pt>
                <c:pt idx="2487">
                  <c:v>45121</c:v>
                </c:pt>
                <c:pt idx="2488">
                  <c:v>45124</c:v>
                </c:pt>
                <c:pt idx="2489">
                  <c:v>45125</c:v>
                </c:pt>
                <c:pt idx="2490">
                  <c:v>45126</c:v>
                </c:pt>
                <c:pt idx="2491">
                  <c:v>45127</c:v>
                </c:pt>
                <c:pt idx="2492">
                  <c:v>45128</c:v>
                </c:pt>
                <c:pt idx="2493">
                  <c:v>45131</c:v>
                </c:pt>
                <c:pt idx="2494">
                  <c:v>45132</c:v>
                </c:pt>
                <c:pt idx="2495">
                  <c:v>45133</c:v>
                </c:pt>
                <c:pt idx="2496">
                  <c:v>45134</c:v>
                </c:pt>
                <c:pt idx="2497">
                  <c:v>45135</c:v>
                </c:pt>
                <c:pt idx="2498">
                  <c:v>45138</c:v>
                </c:pt>
                <c:pt idx="2499">
                  <c:v>45139</c:v>
                </c:pt>
                <c:pt idx="2500">
                  <c:v>45140</c:v>
                </c:pt>
                <c:pt idx="2501">
                  <c:v>45141</c:v>
                </c:pt>
                <c:pt idx="2502">
                  <c:v>45142</c:v>
                </c:pt>
                <c:pt idx="2503">
                  <c:v>45145</c:v>
                </c:pt>
                <c:pt idx="2504">
                  <c:v>45146</c:v>
                </c:pt>
                <c:pt idx="2505">
                  <c:v>45147</c:v>
                </c:pt>
                <c:pt idx="2506">
                  <c:v>45148</c:v>
                </c:pt>
                <c:pt idx="2507">
                  <c:v>45149</c:v>
                </c:pt>
                <c:pt idx="2508">
                  <c:v>45152</c:v>
                </c:pt>
                <c:pt idx="2509">
                  <c:v>45153</c:v>
                </c:pt>
                <c:pt idx="2510">
                  <c:v>45154</c:v>
                </c:pt>
                <c:pt idx="2511">
                  <c:v>45155</c:v>
                </c:pt>
                <c:pt idx="2512">
                  <c:v>45156</c:v>
                </c:pt>
                <c:pt idx="2513">
                  <c:v>45159</c:v>
                </c:pt>
                <c:pt idx="2514">
                  <c:v>45160</c:v>
                </c:pt>
                <c:pt idx="2515">
                  <c:v>45161</c:v>
                </c:pt>
                <c:pt idx="2516">
                  <c:v>45162</c:v>
                </c:pt>
                <c:pt idx="2517">
                  <c:v>45163</c:v>
                </c:pt>
                <c:pt idx="2518">
                  <c:v>45166</c:v>
                </c:pt>
                <c:pt idx="2519">
                  <c:v>45167</c:v>
                </c:pt>
                <c:pt idx="2520">
                  <c:v>45168</c:v>
                </c:pt>
                <c:pt idx="2521">
                  <c:v>45169</c:v>
                </c:pt>
                <c:pt idx="2522">
                  <c:v>45170</c:v>
                </c:pt>
                <c:pt idx="2523">
                  <c:v>45173</c:v>
                </c:pt>
                <c:pt idx="2524">
                  <c:v>45174</c:v>
                </c:pt>
                <c:pt idx="2525">
                  <c:v>45175</c:v>
                </c:pt>
                <c:pt idx="2526">
                  <c:v>45176</c:v>
                </c:pt>
                <c:pt idx="2527">
                  <c:v>45177</c:v>
                </c:pt>
                <c:pt idx="2528">
                  <c:v>45180</c:v>
                </c:pt>
                <c:pt idx="2529">
                  <c:v>45181</c:v>
                </c:pt>
                <c:pt idx="2530">
                  <c:v>45182</c:v>
                </c:pt>
                <c:pt idx="2531">
                  <c:v>45183</c:v>
                </c:pt>
                <c:pt idx="2532">
                  <c:v>45184</c:v>
                </c:pt>
                <c:pt idx="2533">
                  <c:v>45187</c:v>
                </c:pt>
                <c:pt idx="2534">
                  <c:v>45188</c:v>
                </c:pt>
                <c:pt idx="2535">
                  <c:v>45189</c:v>
                </c:pt>
                <c:pt idx="2536">
                  <c:v>45190</c:v>
                </c:pt>
                <c:pt idx="2537">
                  <c:v>45191</c:v>
                </c:pt>
                <c:pt idx="2538">
                  <c:v>45194</c:v>
                </c:pt>
                <c:pt idx="2539">
                  <c:v>45195</c:v>
                </c:pt>
                <c:pt idx="2540">
                  <c:v>45196</c:v>
                </c:pt>
                <c:pt idx="2541">
                  <c:v>45197</c:v>
                </c:pt>
                <c:pt idx="2542">
                  <c:v>45198</c:v>
                </c:pt>
                <c:pt idx="2543">
                  <c:v>45201</c:v>
                </c:pt>
                <c:pt idx="2544">
                  <c:v>45202</c:v>
                </c:pt>
                <c:pt idx="2545">
                  <c:v>45203</c:v>
                </c:pt>
                <c:pt idx="2546">
                  <c:v>45204</c:v>
                </c:pt>
                <c:pt idx="2547">
                  <c:v>45205</c:v>
                </c:pt>
                <c:pt idx="2548">
                  <c:v>45208</c:v>
                </c:pt>
                <c:pt idx="2549">
                  <c:v>45209</c:v>
                </c:pt>
                <c:pt idx="2550">
                  <c:v>45210</c:v>
                </c:pt>
                <c:pt idx="2551">
                  <c:v>45211</c:v>
                </c:pt>
                <c:pt idx="2552">
                  <c:v>45212</c:v>
                </c:pt>
                <c:pt idx="2553">
                  <c:v>45215</c:v>
                </c:pt>
                <c:pt idx="2554">
                  <c:v>45216</c:v>
                </c:pt>
                <c:pt idx="2555">
                  <c:v>45217</c:v>
                </c:pt>
                <c:pt idx="2556">
                  <c:v>45218</c:v>
                </c:pt>
                <c:pt idx="2557">
                  <c:v>45219</c:v>
                </c:pt>
                <c:pt idx="2558">
                  <c:v>45222</c:v>
                </c:pt>
                <c:pt idx="2559">
                  <c:v>45223</c:v>
                </c:pt>
                <c:pt idx="2560">
                  <c:v>45224</c:v>
                </c:pt>
                <c:pt idx="2561">
                  <c:v>45225</c:v>
                </c:pt>
                <c:pt idx="2562">
                  <c:v>45226</c:v>
                </c:pt>
                <c:pt idx="2563">
                  <c:v>45229</c:v>
                </c:pt>
                <c:pt idx="2564">
                  <c:v>45230</c:v>
                </c:pt>
                <c:pt idx="2565">
                  <c:v>45231</c:v>
                </c:pt>
                <c:pt idx="2566">
                  <c:v>45232</c:v>
                </c:pt>
                <c:pt idx="2567">
                  <c:v>45233</c:v>
                </c:pt>
                <c:pt idx="2568">
                  <c:v>45236</c:v>
                </c:pt>
                <c:pt idx="2569">
                  <c:v>45237</c:v>
                </c:pt>
                <c:pt idx="2570">
                  <c:v>45238</c:v>
                </c:pt>
                <c:pt idx="2571">
                  <c:v>45239</c:v>
                </c:pt>
                <c:pt idx="2572">
                  <c:v>45240</c:v>
                </c:pt>
                <c:pt idx="2573">
                  <c:v>45243</c:v>
                </c:pt>
                <c:pt idx="2574">
                  <c:v>45244</c:v>
                </c:pt>
                <c:pt idx="2575">
                  <c:v>45245</c:v>
                </c:pt>
                <c:pt idx="2576">
                  <c:v>45246</c:v>
                </c:pt>
                <c:pt idx="2577">
                  <c:v>45247</c:v>
                </c:pt>
                <c:pt idx="2578">
                  <c:v>45250</c:v>
                </c:pt>
                <c:pt idx="2579">
                  <c:v>45251</c:v>
                </c:pt>
                <c:pt idx="2580">
                  <c:v>45252</c:v>
                </c:pt>
                <c:pt idx="2581">
                  <c:v>45253</c:v>
                </c:pt>
                <c:pt idx="2582">
                  <c:v>45254</c:v>
                </c:pt>
                <c:pt idx="2583">
                  <c:v>45257</c:v>
                </c:pt>
                <c:pt idx="2584">
                  <c:v>45258</c:v>
                </c:pt>
                <c:pt idx="2585">
                  <c:v>45259</c:v>
                </c:pt>
                <c:pt idx="2586">
                  <c:v>45260</c:v>
                </c:pt>
                <c:pt idx="2587">
                  <c:v>45261</c:v>
                </c:pt>
                <c:pt idx="2588">
                  <c:v>45264</c:v>
                </c:pt>
                <c:pt idx="2589">
                  <c:v>45265</c:v>
                </c:pt>
                <c:pt idx="2590">
                  <c:v>45266</c:v>
                </c:pt>
                <c:pt idx="2591">
                  <c:v>45267</c:v>
                </c:pt>
                <c:pt idx="2592">
                  <c:v>45268</c:v>
                </c:pt>
                <c:pt idx="2593">
                  <c:v>45271</c:v>
                </c:pt>
                <c:pt idx="2594">
                  <c:v>45272</c:v>
                </c:pt>
                <c:pt idx="2595">
                  <c:v>45273</c:v>
                </c:pt>
                <c:pt idx="2596">
                  <c:v>45274</c:v>
                </c:pt>
                <c:pt idx="2597">
                  <c:v>45275</c:v>
                </c:pt>
                <c:pt idx="2598">
                  <c:v>45278</c:v>
                </c:pt>
                <c:pt idx="2599">
                  <c:v>45279</c:v>
                </c:pt>
                <c:pt idx="2600">
                  <c:v>45280</c:v>
                </c:pt>
                <c:pt idx="2601">
                  <c:v>45281</c:v>
                </c:pt>
                <c:pt idx="2602">
                  <c:v>45282</c:v>
                </c:pt>
                <c:pt idx="2603">
                  <c:v>45285</c:v>
                </c:pt>
                <c:pt idx="2604">
                  <c:v>45286</c:v>
                </c:pt>
                <c:pt idx="2605">
                  <c:v>45287</c:v>
                </c:pt>
                <c:pt idx="2606">
                  <c:v>45288</c:v>
                </c:pt>
                <c:pt idx="2607">
                  <c:v>45289</c:v>
                </c:pt>
                <c:pt idx="2608">
                  <c:v>45292</c:v>
                </c:pt>
                <c:pt idx="2609">
                  <c:v>45293</c:v>
                </c:pt>
                <c:pt idx="2610">
                  <c:v>45294</c:v>
                </c:pt>
                <c:pt idx="2611">
                  <c:v>45295</c:v>
                </c:pt>
                <c:pt idx="2612">
                  <c:v>45296</c:v>
                </c:pt>
                <c:pt idx="2613">
                  <c:v>45299</c:v>
                </c:pt>
                <c:pt idx="2614">
                  <c:v>45300</c:v>
                </c:pt>
                <c:pt idx="2615">
                  <c:v>45301</c:v>
                </c:pt>
                <c:pt idx="2616">
                  <c:v>45302</c:v>
                </c:pt>
                <c:pt idx="2617">
                  <c:v>45303</c:v>
                </c:pt>
                <c:pt idx="2618">
                  <c:v>45306</c:v>
                </c:pt>
                <c:pt idx="2619">
                  <c:v>45307</c:v>
                </c:pt>
                <c:pt idx="2620">
                  <c:v>45308</c:v>
                </c:pt>
                <c:pt idx="2621">
                  <c:v>45309</c:v>
                </c:pt>
                <c:pt idx="2622">
                  <c:v>45310</c:v>
                </c:pt>
                <c:pt idx="2623">
                  <c:v>45313</c:v>
                </c:pt>
                <c:pt idx="2624">
                  <c:v>45314</c:v>
                </c:pt>
                <c:pt idx="2625">
                  <c:v>45315</c:v>
                </c:pt>
                <c:pt idx="2626">
                  <c:v>45316</c:v>
                </c:pt>
                <c:pt idx="2627">
                  <c:v>45317</c:v>
                </c:pt>
                <c:pt idx="2628">
                  <c:v>45320</c:v>
                </c:pt>
                <c:pt idx="2629">
                  <c:v>45321</c:v>
                </c:pt>
                <c:pt idx="2630">
                  <c:v>45322</c:v>
                </c:pt>
                <c:pt idx="2631">
                  <c:v>45323</c:v>
                </c:pt>
                <c:pt idx="2632">
                  <c:v>45324</c:v>
                </c:pt>
                <c:pt idx="2633">
                  <c:v>45327</c:v>
                </c:pt>
                <c:pt idx="2634">
                  <c:v>45328</c:v>
                </c:pt>
                <c:pt idx="2635">
                  <c:v>45329</c:v>
                </c:pt>
                <c:pt idx="2636">
                  <c:v>45330</c:v>
                </c:pt>
                <c:pt idx="2637">
                  <c:v>45331</c:v>
                </c:pt>
                <c:pt idx="2638">
                  <c:v>45334</c:v>
                </c:pt>
                <c:pt idx="2639">
                  <c:v>45335</c:v>
                </c:pt>
                <c:pt idx="2640">
                  <c:v>45336</c:v>
                </c:pt>
                <c:pt idx="2641">
                  <c:v>45337</c:v>
                </c:pt>
                <c:pt idx="2642">
                  <c:v>45338</c:v>
                </c:pt>
                <c:pt idx="2643">
                  <c:v>45341</c:v>
                </c:pt>
                <c:pt idx="2644">
                  <c:v>45342</c:v>
                </c:pt>
                <c:pt idx="2645">
                  <c:v>45343</c:v>
                </c:pt>
                <c:pt idx="2646">
                  <c:v>45344</c:v>
                </c:pt>
                <c:pt idx="2647">
                  <c:v>45345</c:v>
                </c:pt>
                <c:pt idx="2648">
                  <c:v>45348</c:v>
                </c:pt>
                <c:pt idx="2649">
                  <c:v>45349</c:v>
                </c:pt>
                <c:pt idx="2650">
                  <c:v>45350</c:v>
                </c:pt>
                <c:pt idx="2651">
                  <c:v>45351</c:v>
                </c:pt>
                <c:pt idx="2652">
                  <c:v>45352</c:v>
                </c:pt>
                <c:pt idx="2653">
                  <c:v>45355</c:v>
                </c:pt>
                <c:pt idx="2654">
                  <c:v>45356</c:v>
                </c:pt>
                <c:pt idx="2655">
                  <c:v>45357</c:v>
                </c:pt>
                <c:pt idx="2656">
                  <c:v>45358</c:v>
                </c:pt>
                <c:pt idx="2657">
                  <c:v>45359</c:v>
                </c:pt>
                <c:pt idx="2658">
                  <c:v>45362</c:v>
                </c:pt>
                <c:pt idx="2659">
                  <c:v>45363</c:v>
                </c:pt>
                <c:pt idx="2660">
                  <c:v>45364</c:v>
                </c:pt>
                <c:pt idx="2661">
                  <c:v>45365</c:v>
                </c:pt>
                <c:pt idx="2662">
                  <c:v>45366</c:v>
                </c:pt>
                <c:pt idx="2663">
                  <c:v>45369</c:v>
                </c:pt>
                <c:pt idx="2664">
                  <c:v>45370</c:v>
                </c:pt>
                <c:pt idx="2665">
                  <c:v>45371</c:v>
                </c:pt>
                <c:pt idx="2666">
                  <c:v>45372</c:v>
                </c:pt>
                <c:pt idx="2667">
                  <c:v>45373</c:v>
                </c:pt>
                <c:pt idx="2668">
                  <c:v>45376</c:v>
                </c:pt>
                <c:pt idx="2669">
                  <c:v>45377</c:v>
                </c:pt>
                <c:pt idx="2670">
                  <c:v>45378</c:v>
                </c:pt>
                <c:pt idx="2671">
                  <c:v>45379</c:v>
                </c:pt>
                <c:pt idx="2672">
                  <c:v>45380</c:v>
                </c:pt>
                <c:pt idx="2673">
                  <c:v>45383</c:v>
                </c:pt>
                <c:pt idx="2674">
                  <c:v>45384</c:v>
                </c:pt>
                <c:pt idx="2675">
                  <c:v>45385</c:v>
                </c:pt>
                <c:pt idx="2676">
                  <c:v>45386</c:v>
                </c:pt>
                <c:pt idx="2677">
                  <c:v>45387</c:v>
                </c:pt>
                <c:pt idx="2678">
                  <c:v>45390</c:v>
                </c:pt>
                <c:pt idx="2679">
                  <c:v>45391</c:v>
                </c:pt>
                <c:pt idx="2680">
                  <c:v>45392</c:v>
                </c:pt>
                <c:pt idx="2681">
                  <c:v>45393</c:v>
                </c:pt>
                <c:pt idx="2682">
                  <c:v>45394</c:v>
                </c:pt>
                <c:pt idx="2683">
                  <c:v>45397</c:v>
                </c:pt>
                <c:pt idx="2684">
                  <c:v>45398</c:v>
                </c:pt>
                <c:pt idx="2685">
                  <c:v>45399</c:v>
                </c:pt>
                <c:pt idx="2686">
                  <c:v>45400</c:v>
                </c:pt>
                <c:pt idx="2687">
                  <c:v>45401</c:v>
                </c:pt>
                <c:pt idx="2688">
                  <c:v>45404</c:v>
                </c:pt>
                <c:pt idx="2689">
                  <c:v>45405</c:v>
                </c:pt>
                <c:pt idx="2690">
                  <c:v>45406</c:v>
                </c:pt>
                <c:pt idx="2691">
                  <c:v>45407</c:v>
                </c:pt>
                <c:pt idx="2692">
                  <c:v>45408</c:v>
                </c:pt>
                <c:pt idx="2693">
                  <c:v>45411</c:v>
                </c:pt>
                <c:pt idx="2694">
                  <c:v>45412</c:v>
                </c:pt>
                <c:pt idx="2695">
                  <c:v>45413</c:v>
                </c:pt>
                <c:pt idx="2696">
                  <c:v>45414</c:v>
                </c:pt>
                <c:pt idx="2697">
                  <c:v>45415</c:v>
                </c:pt>
                <c:pt idx="2698">
                  <c:v>45418</c:v>
                </c:pt>
                <c:pt idx="2699">
                  <c:v>45419</c:v>
                </c:pt>
                <c:pt idx="2700">
                  <c:v>45420</c:v>
                </c:pt>
                <c:pt idx="2701">
                  <c:v>45421</c:v>
                </c:pt>
                <c:pt idx="2702">
                  <c:v>45422</c:v>
                </c:pt>
                <c:pt idx="2703">
                  <c:v>45425</c:v>
                </c:pt>
                <c:pt idx="2704">
                  <c:v>45426</c:v>
                </c:pt>
                <c:pt idx="2705">
                  <c:v>45427</c:v>
                </c:pt>
                <c:pt idx="2706">
                  <c:v>45428</c:v>
                </c:pt>
                <c:pt idx="2707">
                  <c:v>45429</c:v>
                </c:pt>
                <c:pt idx="2708">
                  <c:v>45432</c:v>
                </c:pt>
                <c:pt idx="2709">
                  <c:v>45433</c:v>
                </c:pt>
                <c:pt idx="2710">
                  <c:v>45434</c:v>
                </c:pt>
                <c:pt idx="2711">
                  <c:v>45435</c:v>
                </c:pt>
                <c:pt idx="2712">
                  <c:v>45436</c:v>
                </c:pt>
                <c:pt idx="2713">
                  <c:v>45439</c:v>
                </c:pt>
                <c:pt idx="2714">
                  <c:v>45440</c:v>
                </c:pt>
                <c:pt idx="2715">
                  <c:v>45441</c:v>
                </c:pt>
                <c:pt idx="2716">
                  <c:v>45442</c:v>
                </c:pt>
                <c:pt idx="2717">
                  <c:v>45443</c:v>
                </c:pt>
                <c:pt idx="2718">
                  <c:v>45446</c:v>
                </c:pt>
                <c:pt idx="2719">
                  <c:v>45447</c:v>
                </c:pt>
                <c:pt idx="2720">
                  <c:v>45448</c:v>
                </c:pt>
                <c:pt idx="2721">
                  <c:v>45449</c:v>
                </c:pt>
                <c:pt idx="2722">
                  <c:v>45450</c:v>
                </c:pt>
                <c:pt idx="2723">
                  <c:v>45453</c:v>
                </c:pt>
                <c:pt idx="2724">
                  <c:v>45454</c:v>
                </c:pt>
                <c:pt idx="2725">
                  <c:v>45455</c:v>
                </c:pt>
                <c:pt idx="2726">
                  <c:v>45456</c:v>
                </c:pt>
                <c:pt idx="2727">
                  <c:v>45457</c:v>
                </c:pt>
                <c:pt idx="2728">
                  <c:v>45460</c:v>
                </c:pt>
                <c:pt idx="2729">
                  <c:v>45461</c:v>
                </c:pt>
                <c:pt idx="2730">
                  <c:v>45462</c:v>
                </c:pt>
                <c:pt idx="2731">
                  <c:v>45463</c:v>
                </c:pt>
                <c:pt idx="2732">
                  <c:v>45464</c:v>
                </c:pt>
                <c:pt idx="2733">
                  <c:v>45467</c:v>
                </c:pt>
                <c:pt idx="2734">
                  <c:v>45468</c:v>
                </c:pt>
                <c:pt idx="2735">
                  <c:v>45469</c:v>
                </c:pt>
                <c:pt idx="2736">
                  <c:v>45470</c:v>
                </c:pt>
                <c:pt idx="2737">
                  <c:v>45471</c:v>
                </c:pt>
                <c:pt idx="2738">
                  <c:v>45474</c:v>
                </c:pt>
                <c:pt idx="2739">
                  <c:v>45475</c:v>
                </c:pt>
                <c:pt idx="2740">
                  <c:v>45476</c:v>
                </c:pt>
                <c:pt idx="2741">
                  <c:v>45477</c:v>
                </c:pt>
                <c:pt idx="2742">
                  <c:v>45478</c:v>
                </c:pt>
                <c:pt idx="2743">
                  <c:v>45481</c:v>
                </c:pt>
                <c:pt idx="2744">
                  <c:v>45482</c:v>
                </c:pt>
                <c:pt idx="2745">
                  <c:v>45483</c:v>
                </c:pt>
                <c:pt idx="2746">
                  <c:v>45484</c:v>
                </c:pt>
                <c:pt idx="2747">
                  <c:v>45485</c:v>
                </c:pt>
                <c:pt idx="2748">
                  <c:v>45488</c:v>
                </c:pt>
                <c:pt idx="2749">
                  <c:v>45489</c:v>
                </c:pt>
                <c:pt idx="2750">
                  <c:v>45490</c:v>
                </c:pt>
                <c:pt idx="2751">
                  <c:v>45491</c:v>
                </c:pt>
                <c:pt idx="2752">
                  <c:v>45492</c:v>
                </c:pt>
                <c:pt idx="2753">
                  <c:v>45495</c:v>
                </c:pt>
                <c:pt idx="2754">
                  <c:v>45496</c:v>
                </c:pt>
                <c:pt idx="2755">
                  <c:v>45497</c:v>
                </c:pt>
                <c:pt idx="2756">
                  <c:v>45498</c:v>
                </c:pt>
                <c:pt idx="2757">
                  <c:v>45499</c:v>
                </c:pt>
                <c:pt idx="2758">
                  <c:v>45502</c:v>
                </c:pt>
                <c:pt idx="2759">
                  <c:v>45503</c:v>
                </c:pt>
                <c:pt idx="2760">
                  <c:v>45504</c:v>
                </c:pt>
                <c:pt idx="2761">
                  <c:v>45505</c:v>
                </c:pt>
                <c:pt idx="2762">
                  <c:v>45506</c:v>
                </c:pt>
                <c:pt idx="2763">
                  <c:v>45509</c:v>
                </c:pt>
                <c:pt idx="2764">
                  <c:v>45510</c:v>
                </c:pt>
                <c:pt idx="2765">
                  <c:v>45511</c:v>
                </c:pt>
                <c:pt idx="2766">
                  <c:v>45512</c:v>
                </c:pt>
                <c:pt idx="2767">
                  <c:v>45513</c:v>
                </c:pt>
                <c:pt idx="2768">
                  <c:v>45516</c:v>
                </c:pt>
                <c:pt idx="2769">
                  <c:v>45517</c:v>
                </c:pt>
                <c:pt idx="2770">
                  <c:v>45518</c:v>
                </c:pt>
                <c:pt idx="2771">
                  <c:v>45519</c:v>
                </c:pt>
                <c:pt idx="2772">
                  <c:v>45520</c:v>
                </c:pt>
                <c:pt idx="2773">
                  <c:v>45523</c:v>
                </c:pt>
                <c:pt idx="2774">
                  <c:v>45524</c:v>
                </c:pt>
                <c:pt idx="2775">
                  <c:v>45525</c:v>
                </c:pt>
                <c:pt idx="2776">
                  <c:v>45526</c:v>
                </c:pt>
                <c:pt idx="2777">
                  <c:v>45527</c:v>
                </c:pt>
                <c:pt idx="2778">
                  <c:v>45530</c:v>
                </c:pt>
                <c:pt idx="2779">
                  <c:v>45531</c:v>
                </c:pt>
                <c:pt idx="2780">
                  <c:v>45532</c:v>
                </c:pt>
                <c:pt idx="2781">
                  <c:v>45533</c:v>
                </c:pt>
                <c:pt idx="2782">
                  <c:v>45534</c:v>
                </c:pt>
                <c:pt idx="2783">
                  <c:v>45537</c:v>
                </c:pt>
                <c:pt idx="2784">
                  <c:v>45538</c:v>
                </c:pt>
                <c:pt idx="2785">
                  <c:v>45539</c:v>
                </c:pt>
                <c:pt idx="2786">
                  <c:v>45540</c:v>
                </c:pt>
                <c:pt idx="2787">
                  <c:v>45541</c:v>
                </c:pt>
                <c:pt idx="2788">
                  <c:v>45544</c:v>
                </c:pt>
                <c:pt idx="2789">
                  <c:v>45545</c:v>
                </c:pt>
                <c:pt idx="2790">
                  <c:v>45546</c:v>
                </c:pt>
                <c:pt idx="2791">
                  <c:v>45547</c:v>
                </c:pt>
                <c:pt idx="2792">
                  <c:v>45548</c:v>
                </c:pt>
                <c:pt idx="2793">
                  <c:v>45551</c:v>
                </c:pt>
                <c:pt idx="2794">
                  <c:v>45552</c:v>
                </c:pt>
                <c:pt idx="2795">
                  <c:v>45553</c:v>
                </c:pt>
                <c:pt idx="2796">
                  <c:v>45554</c:v>
                </c:pt>
                <c:pt idx="2797">
                  <c:v>45555</c:v>
                </c:pt>
                <c:pt idx="2798">
                  <c:v>45558</c:v>
                </c:pt>
                <c:pt idx="2799">
                  <c:v>45559</c:v>
                </c:pt>
                <c:pt idx="2800">
                  <c:v>45560</c:v>
                </c:pt>
                <c:pt idx="2801">
                  <c:v>45561</c:v>
                </c:pt>
                <c:pt idx="2802">
                  <c:v>45562</c:v>
                </c:pt>
                <c:pt idx="2803">
                  <c:v>45565</c:v>
                </c:pt>
                <c:pt idx="2804">
                  <c:v>45566</c:v>
                </c:pt>
                <c:pt idx="2805">
                  <c:v>45567</c:v>
                </c:pt>
                <c:pt idx="2806">
                  <c:v>45568</c:v>
                </c:pt>
                <c:pt idx="2807">
                  <c:v>45569</c:v>
                </c:pt>
                <c:pt idx="2808">
                  <c:v>45572</c:v>
                </c:pt>
                <c:pt idx="2809">
                  <c:v>45573</c:v>
                </c:pt>
                <c:pt idx="2810">
                  <c:v>45574</c:v>
                </c:pt>
                <c:pt idx="2811">
                  <c:v>45575</c:v>
                </c:pt>
                <c:pt idx="2812">
                  <c:v>45576</c:v>
                </c:pt>
                <c:pt idx="2813">
                  <c:v>45579</c:v>
                </c:pt>
                <c:pt idx="2814">
                  <c:v>45580</c:v>
                </c:pt>
                <c:pt idx="2815">
                  <c:v>45581</c:v>
                </c:pt>
                <c:pt idx="2816">
                  <c:v>45582</c:v>
                </c:pt>
                <c:pt idx="2817">
                  <c:v>45583</c:v>
                </c:pt>
                <c:pt idx="2818">
                  <c:v>45586</c:v>
                </c:pt>
                <c:pt idx="2819">
                  <c:v>45587</c:v>
                </c:pt>
                <c:pt idx="2820">
                  <c:v>45588</c:v>
                </c:pt>
                <c:pt idx="2821">
                  <c:v>45589</c:v>
                </c:pt>
                <c:pt idx="2822">
                  <c:v>45590</c:v>
                </c:pt>
                <c:pt idx="2823">
                  <c:v>45593</c:v>
                </c:pt>
                <c:pt idx="2824">
                  <c:v>45594</c:v>
                </c:pt>
                <c:pt idx="2825">
                  <c:v>45595</c:v>
                </c:pt>
                <c:pt idx="2826">
                  <c:v>45596</c:v>
                </c:pt>
                <c:pt idx="2827">
                  <c:v>45597</c:v>
                </c:pt>
                <c:pt idx="2828">
                  <c:v>45600</c:v>
                </c:pt>
                <c:pt idx="2829">
                  <c:v>45601</c:v>
                </c:pt>
                <c:pt idx="2830">
                  <c:v>45602</c:v>
                </c:pt>
                <c:pt idx="2831">
                  <c:v>45603</c:v>
                </c:pt>
                <c:pt idx="2832">
                  <c:v>45604</c:v>
                </c:pt>
                <c:pt idx="2833">
                  <c:v>45607</c:v>
                </c:pt>
                <c:pt idx="2834">
                  <c:v>45608</c:v>
                </c:pt>
                <c:pt idx="2835">
                  <c:v>45609</c:v>
                </c:pt>
                <c:pt idx="2836">
                  <c:v>45610</c:v>
                </c:pt>
                <c:pt idx="2837">
                  <c:v>45611</c:v>
                </c:pt>
                <c:pt idx="2838">
                  <c:v>45614</c:v>
                </c:pt>
                <c:pt idx="2839">
                  <c:v>45615</c:v>
                </c:pt>
                <c:pt idx="2840">
                  <c:v>45616</c:v>
                </c:pt>
                <c:pt idx="2841">
                  <c:v>45617</c:v>
                </c:pt>
                <c:pt idx="2842">
                  <c:v>45618</c:v>
                </c:pt>
                <c:pt idx="2843">
                  <c:v>45621</c:v>
                </c:pt>
              </c:numCache>
            </c:numRef>
          </c:cat>
          <c:val>
            <c:numRef>
              <c:f>'Sheet1 (2)'!$M$4:$M$2847</c:f>
              <c:numCache>
                <c:formatCode>General</c:formatCode>
                <c:ptCount val="2844"/>
                <c:pt idx="0">
                  <c:v>100</c:v>
                </c:pt>
                <c:pt idx="1">
                  <c:v>102.41500000000001</c:v>
                </c:pt>
                <c:pt idx="2">
                  <c:v>102.41500000000001</c:v>
                </c:pt>
                <c:pt idx="3">
                  <c:v>102.41500000000001</c:v>
                </c:pt>
                <c:pt idx="4">
                  <c:v>102.41500000000001</c:v>
                </c:pt>
                <c:pt idx="5">
                  <c:v>102.41500000000001</c:v>
                </c:pt>
                <c:pt idx="6">
                  <c:v>102.726</c:v>
                </c:pt>
                <c:pt idx="7">
                  <c:v>102.726</c:v>
                </c:pt>
                <c:pt idx="8">
                  <c:v>102.726</c:v>
                </c:pt>
                <c:pt idx="9">
                  <c:v>102.726</c:v>
                </c:pt>
                <c:pt idx="10">
                  <c:v>102.726</c:v>
                </c:pt>
                <c:pt idx="11">
                  <c:v>104.313</c:v>
                </c:pt>
                <c:pt idx="12">
                  <c:v>104.313</c:v>
                </c:pt>
                <c:pt idx="13">
                  <c:v>104.313</c:v>
                </c:pt>
                <c:pt idx="14">
                  <c:v>104.313</c:v>
                </c:pt>
                <c:pt idx="15">
                  <c:v>104.313</c:v>
                </c:pt>
                <c:pt idx="16">
                  <c:v>103.083</c:v>
                </c:pt>
                <c:pt idx="17">
                  <c:v>103.083</c:v>
                </c:pt>
                <c:pt idx="18">
                  <c:v>103.083</c:v>
                </c:pt>
                <c:pt idx="19">
                  <c:v>103.083</c:v>
                </c:pt>
                <c:pt idx="20">
                  <c:v>103.083</c:v>
                </c:pt>
                <c:pt idx="21">
                  <c:v>101.20699999999999</c:v>
                </c:pt>
                <c:pt idx="22">
                  <c:v>101.20699999999999</c:v>
                </c:pt>
                <c:pt idx="23">
                  <c:v>101.20699999999999</c:v>
                </c:pt>
                <c:pt idx="24">
                  <c:v>101.20699999999999</c:v>
                </c:pt>
                <c:pt idx="25">
                  <c:v>101.20699999999999</c:v>
                </c:pt>
                <c:pt idx="26">
                  <c:v>106.401</c:v>
                </c:pt>
                <c:pt idx="27">
                  <c:v>106.401</c:v>
                </c:pt>
                <c:pt idx="28">
                  <c:v>106.401</c:v>
                </c:pt>
                <c:pt idx="29">
                  <c:v>106.401</c:v>
                </c:pt>
                <c:pt idx="30">
                  <c:v>106.401</c:v>
                </c:pt>
                <c:pt idx="31">
                  <c:v>105.96899999999999</c:v>
                </c:pt>
                <c:pt idx="32">
                  <c:v>105.96899999999999</c:v>
                </c:pt>
                <c:pt idx="33">
                  <c:v>105.96899999999999</c:v>
                </c:pt>
                <c:pt idx="34">
                  <c:v>105.96899999999999</c:v>
                </c:pt>
                <c:pt idx="35">
                  <c:v>105.96899999999999</c:v>
                </c:pt>
                <c:pt idx="36">
                  <c:v>105.422</c:v>
                </c:pt>
                <c:pt idx="37">
                  <c:v>105.422</c:v>
                </c:pt>
                <c:pt idx="38">
                  <c:v>105.422</c:v>
                </c:pt>
                <c:pt idx="39">
                  <c:v>105.422</c:v>
                </c:pt>
                <c:pt idx="40">
                  <c:v>105.422</c:v>
                </c:pt>
                <c:pt idx="41">
                  <c:v>103.136</c:v>
                </c:pt>
                <c:pt idx="42">
                  <c:v>103.136</c:v>
                </c:pt>
                <c:pt idx="43">
                  <c:v>103.136</c:v>
                </c:pt>
                <c:pt idx="44">
                  <c:v>103.136</c:v>
                </c:pt>
                <c:pt idx="45">
                  <c:v>103.136</c:v>
                </c:pt>
                <c:pt idx="46">
                  <c:v>104.42700000000001</c:v>
                </c:pt>
                <c:pt idx="47">
                  <c:v>104.42700000000001</c:v>
                </c:pt>
                <c:pt idx="48">
                  <c:v>104.42700000000001</c:v>
                </c:pt>
                <c:pt idx="49">
                  <c:v>104.42700000000001</c:v>
                </c:pt>
                <c:pt idx="50">
                  <c:v>104.42700000000001</c:v>
                </c:pt>
                <c:pt idx="51">
                  <c:v>97.114000000000004</c:v>
                </c:pt>
                <c:pt idx="52">
                  <c:v>97.114000000000004</c:v>
                </c:pt>
                <c:pt idx="53">
                  <c:v>97.114000000000004</c:v>
                </c:pt>
                <c:pt idx="54">
                  <c:v>97.114000000000004</c:v>
                </c:pt>
                <c:pt idx="55">
                  <c:v>97.114000000000004</c:v>
                </c:pt>
                <c:pt idx="56">
                  <c:v>96.849000000000004</c:v>
                </c:pt>
                <c:pt idx="57">
                  <c:v>96.849000000000004</c:v>
                </c:pt>
                <c:pt idx="58">
                  <c:v>96.849000000000004</c:v>
                </c:pt>
                <c:pt idx="59">
                  <c:v>96.849000000000004</c:v>
                </c:pt>
                <c:pt idx="60">
                  <c:v>96.849000000000004</c:v>
                </c:pt>
                <c:pt idx="61">
                  <c:v>96.492000000000004</c:v>
                </c:pt>
                <c:pt idx="62">
                  <c:v>96.492000000000004</c:v>
                </c:pt>
                <c:pt idx="63">
                  <c:v>96.492000000000004</c:v>
                </c:pt>
                <c:pt idx="64">
                  <c:v>96.492000000000004</c:v>
                </c:pt>
                <c:pt idx="65">
                  <c:v>96.492000000000004</c:v>
                </c:pt>
                <c:pt idx="66">
                  <c:v>99.111999999999995</c:v>
                </c:pt>
                <c:pt idx="67">
                  <c:v>99.111999999999995</c:v>
                </c:pt>
                <c:pt idx="68">
                  <c:v>99.111999999999995</c:v>
                </c:pt>
                <c:pt idx="69">
                  <c:v>99.111999999999995</c:v>
                </c:pt>
                <c:pt idx="70">
                  <c:v>99.111999999999995</c:v>
                </c:pt>
                <c:pt idx="71">
                  <c:v>99.134</c:v>
                </c:pt>
                <c:pt idx="72">
                  <c:v>99.134</c:v>
                </c:pt>
                <c:pt idx="73">
                  <c:v>99.134</c:v>
                </c:pt>
                <c:pt idx="74">
                  <c:v>99.134</c:v>
                </c:pt>
                <c:pt idx="75">
                  <c:v>99.134</c:v>
                </c:pt>
                <c:pt idx="76">
                  <c:v>98.572000000000003</c:v>
                </c:pt>
                <c:pt idx="77">
                  <c:v>98.572000000000003</c:v>
                </c:pt>
                <c:pt idx="78">
                  <c:v>98.572000000000003</c:v>
                </c:pt>
                <c:pt idx="79">
                  <c:v>98.572000000000003</c:v>
                </c:pt>
                <c:pt idx="80">
                  <c:v>98.572000000000003</c:v>
                </c:pt>
                <c:pt idx="81">
                  <c:v>98.480999999999995</c:v>
                </c:pt>
                <c:pt idx="82">
                  <c:v>98.480999999999995</c:v>
                </c:pt>
                <c:pt idx="83">
                  <c:v>98.480999999999995</c:v>
                </c:pt>
                <c:pt idx="84">
                  <c:v>98.480999999999995</c:v>
                </c:pt>
                <c:pt idx="85">
                  <c:v>98.480999999999995</c:v>
                </c:pt>
                <c:pt idx="86">
                  <c:v>100.402</c:v>
                </c:pt>
                <c:pt idx="87">
                  <c:v>100.402</c:v>
                </c:pt>
                <c:pt idx="88">
                  <c:v>100.402</c:v>
                </c:pt>
                <c:pt idx="89">
                  <c:v>100.402</c:v>
                </c:pt>
                <c:pt idx="90">
                  <c:v>100.402</c:v>
                </c:pt>
                <c:pt idx="91">
                  <c:v>99.97</c:v>
                </c:pt>
                <c:pt idx="92">
                  <c:v>99.97</c:v>
                </c:pt>
                <c:pt idx="93">
                  <c:v>99.97</c:v>
                </c:pt>
                <c:pt idx="94">
                  <c:v>99.97</c:v>
                </c:pt>
                <c:pt idx="95">
                  <c:v>99.97</c:v>
                </c:pt>
                <c:pt idx="96">
                  <c:v>100.182</c:v>
                </c:pt>
                <c:pt idx="97">
                  <c:v>100.182</c:v>
                </c:pt>
                <c:pt idx="98">
                  <c:v>100.182</c:v>
                </c:pt>
                <c:pt idx="99">
                  <c:v>100.182</c:v>
                </c:pt>
                <c:pt idx="100">
                  <c:v>100.182</c:v>
                </c:pt>
                <c:pt idx="101">
                  <c:v>101.131</c:v>
                </c:pt>
                <c:pt idx="102">
                  <c:v>101.131</c:v>
                </c:pt>
                <c:pt idx="103">
                  <c:v>101.131</c:v>
                </c:pt>
                <c:pt idx="104">
                  <c:v>101.131</c:v>
                </c:pt>
                <c:pt idx="105">
                  <c:v>101.131</c:v>
                </c:pt>
                <c:pt idx="106">
                  <c:v>100.858</c:v>
                </c:pt>
                <c:pt idx="107">
                  <c:v>100.858</c:v>
                </c:pt>
                <c:pt idx="108">
                  <c:v>100.858</c:v>
                </c:pt>
                <c:pt idx="109">
                  <c:v>100.858</c:v>
                </c:pt>
                <c:pt idx="110">
                  <c:v>100.858</c:v>
                </c:pt>
                <c:pt idx="111">
                  <c:v>103.51600000000001</c:v>
                </c:pt>
                <c:pt idx="112">
                  <c:v>103.51600000000001</c:v>
                </c:pt>
                <c:pt idx="113">
                  <c:v>103.51600000000001</c:v>
                </c:pt>
                <c:pt idx="114">
                  <c:v>103.51600000000001</c:v>
                </c:pt>
                <c:pt idx="115">
                  <c:v>103.51600000000001</c:v>
                </c:pt>
                <c:pt idx="116">
                  <c:v>101.762</c:v>
                </c:pt>
                <c:pt idx="117">
                  <c:v>101.762</c:v>
                </c:pt>
                <c:pt idx="118">
                  <c:v>101.762</c:v>
                </c:pt>
                <c:pt idx="119">
                  <c:v>101.762</c:v>
                </c:pt>
                <c:pt idx="120">
                  <c:v>101.762</c:v>
                </c:pt>
                <c:pt idx="121">
                  <c:v>101.929</c:v>
                </c:pt>
                <c:pt idx="122">
                  <c:v>101.929</c:v>
                </c:pt>
                <c:pt idx="123">
                  <c:v>101.929</c:v>
                </c:pt>
                <c:pt idx="124">
                  <c:v>101.929</c:v>
                </c:pt>
                <c:pt idx="125">
                  <c:v>101.929</c:v>
                </c:pt>
                <c:pt idx="126">
                  <c:v>100.04600000000001</c:v>
                </c:pt>
                <c:pt idx="127">
                  <c:v>100.04600000000001</c:v>
                </c:pt>
                <c:pt idx="128">
                  <c:v>100.04600000000001</c:v>
                </c:pt>
                <c:pt idx="129">
                  <c:v>100.04600000000001</c:v>
                </c:pt>
                <c:pt idx="130">
                  <c:v>100.04600000000001</c:v>
                </c:pt>
                <c:pt idx="131">
                  <c:v>100.79</c:v>
                </c:pt>
                <c:pt idx="132">
                  <c:v>100.79</c:v>
                </c:pt>
                <c:pt idx="133">
                  <c:v>100.79</c:v>
                </c:pt>
                <c:pt idx="134">
                  <c:v>100.79</c:v>
                </c:pt>
                <c:pt idx="135">
                  <c:v>100.79</c:v>
                </c:pt>
                <c:pt idx="136">
                  <c:v>100.26600000000001</c:v>
                </c:pt>
                <c:pt idx="137">
                  <c:v>100.26600000000001</c:v>
                </c:pt>
                <c:pt idx="138">
                  <c:v>100.26600000000001</c:v>
                </c:pt>
                <c:pt idx="139">
                  <c:v>100.26600000000001</c:v>
                </c:pt>
                <c:pt idx="140">
                  <c:v>100.26600000000001</c:v>
                </c:pt>
                <c:pt idx="141">
                  <c:v>100.197</c:v>
                </c:pt>
                <c:pt idx="142">
                  <c:v>100.197</c:v>
                </c:pt>
                <c:pt idx="143">
                  <c:v>100.197</c:v>
                </c:pt>
                <c:pt idx="144">
                  <c:v>100.197</c:v>
                </c:pt>
                <c:pt idx="145">
                  <c:v>100.197</c:v>
                </c:pt>
                <c:pt idx="146">
                  <c:v>100.09099999999999</c:v>
                </c:pt>
                <c:pt idx="147">
                  <c:v>100.09099999999999</c:v>
                </c:pt>
                <c:pt idx="148">
                  <c:v>100.09099999999999</c:v>
                </c:pt>
                <c:pt idx="149">
                  <c:v>100.09099999999999</c:v>
                </c:pt>
                <c:pt idx="150">
                  <c:v>100.09099999999999</c:v>
                </c:pt>
                <c:pt idx="151">
                  <c:v>99.953999999999994</c:v>
                </c:pt>
                <c:pt idx="152">
                  <c:v>99.953999999999994</c:v>
                </c:pt>
                <c:pt idx="153">
                  <c:v>99.953999999999994</c:v>
                </c:pt>
                <c:pt idx="154">
                  <c:v>99.953999999999994</c:v>
                </c:pt>
                <c:pt idx="155">
                  <c:v>99.953999999999994</c:v>
                </c:pt>
                <c:pt idx="156">
                  <c:v>101.511</c:v>
                </c:pt>
                <c:pt idx="157">
                  <c:v>101.511</c:v>
                </c:pt>
                <c:pt idx="158">
                  <c:v>101.511</c:v>
                </c:pt>
                <c:pt idx="159">
                  <c:v>101.511</c:v>
                </c:pt>
                <c:pt idx="160">
                  <c:v>101.511</c:v>
                </c:pt>
                <c:pt idx="161">
                  <c:v>101.883</c:v>
                </c:pt>
                <c:pt idx="162">
                  <c:v>101.883</c:v>
                </c:pt>
                <c:pt idx="163">
                  <c:v>101.883</c:v>
                </c:pt>
                <c:pt idx="164">
                  <c:v>101.883</c:v>
                </c:pt>
                <c:pt idx="165">
                  <c:v>101.883</c:v>
                </c:pt>
                <c:pt idx="166">
                  <c:v>102.02</c:v>
                </c:pt>
                <c:pt idx="167">
                  <c:v>102.02</c:v>
                </c:pt>
                <c:pt idx="168">
                  <c:v>102.02</c:v>
                </c:pt>
                <c:pt idx="169">
                  <c:v>102.02</c:v>
                </c:pt>
                <c:pt idx="170">
                  <c:v>102.02</c:v>
                </c:pt>
                <c:pt idx="171">
                  <c:v>102.331</c:v>
                </c:pt>
                <c:pt idx="172">
                  <c:v>102.331</c:v>
                </c:pt>
                <c:pt idx="173">
                  <c:v>102.331</c:v>
                </c:pt>
                <c:pt idx="174">
                  <c:v>102.331</c:v>
                </c:pt>
                <c:pt idx="175">
                  <c:v>102.331</c:v>
                </c:pt>
                <c:pt idx="176">
                  <c:v>104.078</c:v>
                </c:pt>
                <c:pt idx="177">
                  <c:v>104.078</c:v>
                </c:pt>
                <c:pt idx="178">
                  <c:v>104.078</c:v>
                </c:pt>
                <c:pt idx="179">
                  <c:v>104.078</c:v>
                </c:pt>
                <c:pt idx="180">
                  <c:v>104.078</c:v>
                </c:pt>
                <c:pt idx="181">
                  <c:v>104.42700000000001</c:v>
                </c:pt>
                <c:pt idx="182">
                  <c:v>104.42700000000001</c:v>
                </c:pt>
                <c:pt idx="183">
                  <c:v>104.42700000000001</c:v>
                </c:pt>
                <c:pt idx="184">
                  <c:v>104.42700000000001</c:v>
                </c:pt>
                <c:pt idx="185">
                  <c:v>104.42700000000001</c:v>
                </c:pt>
                <c:pt idx="186">
                  <c:v>104.321</c:v>
                </c:pt>
                <c:pt idx="187">
                  <c:v>104.321</c:v>
                </c:pt>
                <c:pt idx="188">
                  <c:v>104.321</c:v>
                </c:pt>
                <c:pt idx="189">
                  <c:v>104.321</c:v>
                </c:pt>
                <c:pt idx="190">
                  <c:v>104.321</c:v>
                </c:pt>
                <c:pt idx="191">
                  <c:v>104.693</c:v>
                </c:pt>
                <c:pt idx="192">
                  <c:v>104.693</c:v>
                </c:pt>
                <c:pt idx="193">
                  <c:v>104.693</c:v>
                </c:pt>
                <c:pt idx="194">
                  <c:v>104.693</c:v>
                </c:pt>
                <c:pt idx="195">
                  <c:v>104.693</c:v>
                </c:pt>
                <c:pt idx="196">
                  <c:v>107.062</c:v>
                </c:pt>
                <c:pt idx="197">
                  <c:v>107.062</c:v>
                </c:pt>
                <c:pt idx="198">
                  <c:v>107.062</c:v>
                </c:pt>
                <c:pt idx="199">
                  <c:v>107.062</c:v>
                </c:pt>
                <c:pt idx="200">
                  <c:v>107.062</c:v>
                </c:pt>
                <c:pt idx="201">
                  <c:v>106.5</c:v>
                </c:pt>
                <c:pt idx="202">
                  <c:v>106.5</c:v>
                </c:pt>
                <c:pt idx="203">
                  <c:v>106.5</c:v>
                </c:pt>
                <c:pt idx="204">
                  <c:v>106.5</c:v>
                </c:pt>
                <c:pt idx="205">
                  <c:v>106.5</c:v>
                </c:pt>
                <c:pt idx="206">
                  <c:v>105.961</c:v>
                </c:pt>
                <c:pt idx="207">
                  <c:v>105.961</c:v>
                </c:pt>
                <c:pt idx="208">
                  <c:v>105.961</c:v>
                </c:pt>
                <c:pt idx="209">
                  <c:v>105.961</c:v>
                </c:pt>
                <c:pt idx="210">
                  <c:v>105.961</c:v>
                </c:pt>
                <c:pt idx="211">
                  <c:v>105.39100000000001</c:v>
                </c:pt>
                <c:pt idx="212">
                  <c:v>105.39100000000001</c:v>
                </c:pt>
                <c:pt idx="213">
                  <c:v>105.39100000000001</c:v>
                </c:pt>
                <c:pt idx="214">
                  <c:v>105.39100000000001</c:v>
                </c:pt>
                <c:pt idx="215">
                  <c:v>105.39100000000001</c:v>
                </c:pt>
                <c:pt idx="216">
                  <c:v>105.11</c:v>
                </c:pt>
                <c:pt idx="217">
                  <c:v>105.11</c:v>
                </c:pt>
                <c:pt idx="218">
                  <c:v>105.11</c:v>
                </c:pt>
                <c:pt idx="219">
                  <c:v>105.11</c:v>
                </c:pt>
                <c:pt idx="220">
                  <c:v>105.11</c:v>
                </c:pt>
                <c:pt idx="221">
                  <c:v>107.146</c:v>
                </c:pt>
                <c:pt idx="222">
                  <c:v>107.146</c:v>
                </c:pt>
                <c:pt idx="223">
                  <c:v>107.146</c:v>
                </c:pt>
                <c:pt idx="224">
                  <c:v>107.146</c:v>
                </c:pt>
                <c:pt idx="225">
                  <c:v>107.146</c:v>
                </c:pt>
                <c:pt idx="226">
                  <c:v>107.351</c:v>
                </c:pt>
                <c:pt idx="227">
                  <c:v>107.351</c:v>
                </c:pt>
                <c:pt idx="228">
                  <c:v>107.351</c:v>
                </c:pt>
                <c:pt idx="229">
                  <c:v>107.351</c:v>
                </c:pt>
                <c:pt idx="230">
                  <c:v>107.351</c:v>
                </c:pt>
                <c:pt idx="231">
                  <c:v>106.53</c:v>
                </c:pt>
                <c:pt idx="232">
                  <c:v>106.53</c:v>
                </c:pt>
                <c:pt idx="233">
                  <c:v>106.53</c:v>
                </c:pt>
                <c:pt idx="234">
                  <c:v>106.53</c:v>
                </c:pt>
                <c:pt idx="235">
                  <c:v>106.53</c:v>
                </c:pt>
                <c:pt idx="236">
                  <c:v>106.74299999999999</c:v>
                </c:pt>
                <c:pt idx="237">
                  <c:v>106.74299999999999</c:v>
                </c:pt>
                <c:pt idx="238">
                  <c:v>106.74299999999999</c:v>
                </c:pt>
                <c:pt idx="239">
                  <c:v>106.74299999999999</c:v>
                </c:pt>
                <c:pt idx="240">
                  <c:v>106.74299999999999</c:v>
                </c:pt>
                <c:pt idx="241">
                  <c:v>107.905</c:v>
                </c:pt>
                <c:pt idx="242">
                  <c:v>107.905</c:v>
                </c:pt>
                <c:pt idx="243">
                  <c:v>107.905</c:v>
                </c:pt>
                <c:pt idx="244">
                  <c:v>107.905</c:v>
                </c:pt>
                <c:pt idx="245">
                  <c:v>107.905</c:v>
                </c:pt>
                <c:pt idx="246">
                  <c:v>107.366</c:v>
                </c:pt>
                <c:pt idx="247">
                  <c:v>107.366</c:v>
                </c:pt>
                <c:pt idx="248">
                  <c:v>107.366</c:v>
                </c:pt>
                <c:pt idx="249">
                  <c:v>107.366</c:v>
                </c:pt>
                <c:pt idx="250">
                  <c:v>107.366</c:v>
                </c:pt>
                <c:pt idx="251">
                  <c:v>105.316</c:v>
                </c:pt>
                <c:pt idx="252">
                  <c:v>105.316</c:v>
                </c:pt>
                <c:pt idx="253">
                  <c:v>105.316</c:v>
                </c:pt>
                <c:pt idx="254">
                  <c:v>105.316</c:v>
                </c:pt>
                <c:pt idx="255">
                  <c:v>105.316</c:v>
                </c:pt>
                <c:pt idx="256">
                  <c:v>107.11499999999999</c:v>
                </c:pt>
                <c:pt idx="257">
                  <c:v>107.11499999999999</c:v>
                </c:pt>
                <c:pt idx="258">
                  <c:v>107.11499999999999</c:v>
                </c:pt>
                <c:pt idx="259">
                  <c:v>107.11499999999999</c:v>
                </c:pt>
                <c:pt idx="260">
                  <c:v>107.11499999999999</c:v>
                </c:pt>
                <c:pt idx="261">
                  <c:v>109.598</c:v>
                </c:pt>
                <c:pt idx="262">
                  <c:v>109.598</c:v>
                </c:pt>
                <c:pt idx="263">
                  <c:v>109.598</c:v>
                </c:pt>
                <c:pt idx="264">
                  <c:v>109.598</c:v>
                </c:pt>
                <c:pt idx="265">
                  <c:v>109.598</c:v>
                </c:pt>
                <c:pt idx="266">
                  <c:v>110.008</c:v>
                </c:pt>
                <c:pt idx="267">
                  <c:v>110.008</c:v>
                </c:pt>
                <c:pt idx="268">
                  <c:v>110.008</c:v>
                </c:pt>
                <c:pt idx="269">
                  <c:v>110.008</c:v>
                </c:pt>
                <c:pt idx="270">
                  <c:v>110.008</c:v>
                </c:pt>
                <c:pt idx="271">
                  <c:v>109.727</c:v>
                </c:pt>
                <c:pt idx="272">
                  <c:v>109.727</c:v>
                </c:pt>
                <c:pt idx="273">
                  <c:v>109.727</c:v>
                </c:pt>
                <c:pt idx="274">
                  <c:v>109.727</c:v>
                </c:pt>
                <c:pt idx="275">
                  <c:v>109.727</c:v>
                </c:pt>
                <c:pt idx="276">
                  <c:v>110.40300000000001</c:v>
                </c:pt>
                <c:pt idx="277">
                  <c:v>110.40300000000001</c:v>
                </c:pt>
                <c:pt idx="278">
                  <c:v>110.40300000000001</c:v>
                </c:pt>
                <c:pt idx="279">
                  <c:v>110.40300000000001</c:v>
                </c:pt>
                <c:pt idx="280">
                  <c:v>110.40300000000001</c:v>
                </c:pt>
                <c:pt idx="281">
                  <c:v>112.036</c:v>
                </c:pt>
                <c:pt idx="282">
                  <c:v>112.036</c:v>
                </c:pt>
                <c:pt idx="283">
                  <c:v>112.036</c:v>
                </c:pt>
                <c:pt idx="284">
                  <c:v>112.036</c:v>
                </c:pt>
                <c:pt idx="285">
                  <c:v>112.036</c:v>
                </c:pt>
                <c:pt idx="286">
                  <c:v>113.09099999999999</c:v>
                </c:pt>
                <c:pt idx="287">
                  <c:v>113.09099999999999</c:v>
                </c:pt>
                <c:pt idx="288">
                  <c:v>113.09099999999999</c:v>
                </c:pt>
                <c:pt idx="289">
                  <c:v>113.09099999999999</c:v>
                </c:pt>
                <c:pt idx="290">
                  <c:v>113.09099999999999</c:v>
                </c:pt>
                <c:pt idx="291">
                  <c:v>105.596</c:v>
                </c:pt>
                <c:pt idx="292">
                  <c:v>105.596</c:v>
                </c:pt>
                <c:pt idx="293">
                  <c:v>105.596</c:v>
                </c:pt>
                <c:pt idx="294">
                  <c:v>105.596</c:v>
                </c:pt>
                <c:pt idx="295">
                  <c:v>105.596</c:v>
                </c:pt>
                <c:pt idx="296">
                  <c:v>104.404</c:v>
                </c:pt>
                <c:pt idx="297">
                  <c:v>104.404</c:v>
                </c:pt>
                <c:pt idx="298">
                  <c:v>104.404</c:v>
                </c:pt>
                <c:pt idx="299">
                  <c:v>104.404</c:v>
                </c:pt>
                <c:pt idx="300">
                  <c:v>104.404</c:v>
                </c:pt>
                <c:pt idx="301">
                  <c:v>100.26600000000001</c:v>
                </c:pt>
                <c:pt idx="302">
                  <c:v>100.26600000000001</c:v>
                </c:pt>
                <c:pt idx="303">
                  <c:v>100.26600000000001</c:v>
                </c:pt>
                <c:pt idx="304">
                  <c:v>100.26600000000001</c:v>
                </c:pt>
                <c:pt idx="305">
                  <c:v>100.26600000000001</c:v>
                </c:pt>
                <c:pt idx="306">
                  <c:v>103.02200000000001</c:v>
                </c:pt>
                <c:pt idx="307">
                  <c:v>103.02200000000001</c:v>
                </c:pt>
                <c:pt idx="308">
                  <c:v>103.02200000000001</c:v>
                </c:pt>
                <c:pt idx="309">
                  <c:v>103.02200000000001</c:v>
                </c:pt>
                <c:pt idx="310">
                  <c:v>103.02200000000001</c:v>
                </c:pt>
                <c:pt idx="311">
                  <c:v>104.336</c:v>
                </c:pt>
                <c:pt idx="312">
                  <c:v>104.336</c:v>
                </c:pt>
                <c:pt idx="313">
                  <c:v>104.336</c:v>
                </c:pt>
                <c:pt idx="314">
                  <c:v>104.336</c:v>
                </c:pt>
                <c:pt idx="315">
                  <c:v>104.336</c:v>
                </c:pt>
                <c:pt idx="316">
                  <c:v>103.93300000000001</c:v>
                </c:pt>
                <c:pt idx="317">
                  <c:v>103.93300000000001</c:v>
                </c:pt>
                <c:pt idx="318">
                  <c:v>103.93300000000001</c:v>
                </c:pt>
                <c:pt idx="319">
                  <c:v>103.93300000000001</c:v>
                </c:pt>
                <c:pt idx="320">
                  <c:v>103.93300000000001</c:v>
                </c:pt>
                <c:pt idx="321">
                  <c:v>103.949</c:v>
                </c:pt>
                <c:pt idx="322">
                  <c:v>103.949</c:v>
                </c:pt>
                <c:pt idx="323">
                  <c:v>103.949</c:v>
                </c:pt>
                <c:pt idx="324">
                  <c:v>103.949</c:v>
                </c:pt>
                <c:pt idx="325">
                  <c:v>103.949</c:v>
                </c:pt>
                <c:pt idx="326">
                  <c:v>107.791</c:v>
                </c:pt>
                <c:pt idx="327">
                  <c:v>107.791</c:v>
                </c:pt>
                <c:pt idx="328">
                  <c:v>107.791</c:v>
                </c:pt>
                <c:pt idx="329">
                  <c:v>107.791</c:v>
                </c:pt>
                <c:pt idx="330">
                  <c:v>107.791</c:v>
                </c:pt>
                <c:pt idx="331">
                  <c:v>107.434</c:v>
                </c:pt>
                <c:pt idx="332">
                  <c:v>107.434</c:v>
                </c:pt>
                <c:pt idx="333">
                  <c:v>107.434</c:v>
                </c:pt>
                <c:pt idx="334">
                  <c:v>107.434</c:v>
                </c:pt>
                <c:pt idx="335">
                  <c:v>107.434</c:v>
                </c:pt>
                <c:pt idx="336">
                  <c:v>107.563</c:v>
                </c:pt>
                <c:pt idx="337">
                  <c:v>107.563</c:v>
                </c:pt>
                <c:pt idx="338">
                  <c:v>107.563</c:v>
                </c:pt>
                <c:pt idx="339">
                  <c:v>107.563</c:v>
                </c:pt>
                <c:pt idx="340">
                  <c:v>107.563</c:v>
                </c:pt>
                <c:pt idx="341">
                  <c:v>107.396</c:v>
                </c:pt>
                <c:pt idx="342">
                  <c:v>107.396</c:v>
                </c:pt>
                <c:pt idx="343">
                  <c:v>107.396</c:v>
                </c:pt>
                <c:pt idx="344">
                  <c:v>107.396</c:v>
                </c:pt>
                <c:pt idx="345">
                  <c:v>107.396</c:v>
                </c:pt>
                <c:pt idx="346">
                  <c:v>106.682</c:v>
                </c:pt>
                <c:pt idx="347">
                  <c:v>106.682</c:v>
                </c:pt>
                <c:pt idx="348">
                  <c:v>106.682</c:v>
                </c:pt>
                <c:pt idx="349">
                  <c:v>106.682</c:v>
                </c:pt>
                <c:pt idx="350">
                  <c:v>106.682</c:v>
                </c:pt>
                <c:pt idx="351">
                  <c:v>109.226</c:v>
                </c:pt>
                <c:pt idx="352">
                  <c:v>109.226</c:v>
                </c:pt>
                <c:pt idx="353">
                  <c:v>109.226</c:v>
                </c:pt>
                <c:pt idx="354">
                  <c:v>109.226</c:v>
                </c:pt>
                <c:pt idx="355">
                  <c:v>109.226</c:v>
                </c:pt>
                <c:pt idx="356">
                  <c:v>109.773</c:v>
                </c:pt>
                <c:pt idx="357">
                  <c:v>109.773</c:v>
                </c:pt>
                <c:pt idx="358">
                  <c:v>109.773</c:v>
                </c:pt>
                <c:pt idx="359">
                  <c:v>109.773</c:v>
                </c:pt>
                <c:pt idx="360">
                  <c:v>109.773</c:v>
                </c:pt>
                <c:pt idx="361">
                  <c:v>110.001</c:v>
                </c:pt>
                <c:pt idx="362">
                  <c:v>110.001</c:v>
                </c:pt>
                <c:pt idx="363">
                  <c:v>110.001</c:v>
                </c:pt>
                <c:pt idx="364">
                  <c:v>110.001</c:v>
                </c:pt>
                <c:pt idx="365">
                  <c:v>110.001</c:v>
                </c:pt>
                <c:pt idx="366">
                  <c:v>118.096</c:v>
                </c:pt>
                <c:pt idx="367">
                  <c:v>118.096</c:v>
                </c:pt>
                <c:pt idx="368">
                  <c:v>118.096</c:v>
                </c:pt>
                <c:pt idx="369">
                  <c:v>118.096</c:v>
                </c:pt>
                <c:pt idx="370">
                  <c:v>118.096</c:v>
                </c:pt>
                <c:pt idx="371">
                  <c:v>119.03700000000001</c:v>
                </c:pt>
                <c:pt idx="372">
                  <c:v>119.03700000000001</c:v>
                </c:pt>
                <c:pt idx="373">
                  <c:v>119.03700000000001</c:v>
                </c:pt>
                <c:pt idx="374">
                  <c:v>119.03700000000001</c:v>
                </c:pt>
                <c:pt idx="375">
                  <c:v>119.03700000000001</c:v>
                </c:pt>
                <c:pt idx="376">
                  <c:v>118.619</c:v>
                </c:pt>
                <c:pt idx="377">
                  <c:v>118.619</c:v>
                </c:pt>
                <c:pt idx="378">
                  <c:v>118.619</c:v>
                </c:pt>
                <c:pt idx="379">
                  <c:v>118.619</c:v>
                </c:pt>
                <c:pt idx="380">
                  <c:v>118.619</c:v>
                </c:pt>
                <c:pt idx="381">
                  <c:v>119.121</c:v>
                </c:pt>
                <c:pt idx="382">
                  <c:v>119.121</c:v>
                </c:pt>
                <c:pt idx="383">
                  <c:v>119.121</c:v>
                </c:pt>
                <c:pt idx="384">
                  <c:v>119.121</c:v>
                </c:pt>
                <c:pt idx="385">
                  <c:v>119.121</c:v>
                </c:pt>
                <c:pt idx="386">
                  <c:v>119.842</c:v>
                </c:pt>
                <c:pt idx="387">
                  <c:v>119.842</c:v>
                </c:pt>
                <c:pt idx="388">
                  <c:v>119.842</c:v>
                </c:pt>
                <c:pt idx="389">
                  <c:v>119.842</c:v>
                </c:pt>
                <c:pt idx="390">
                  <c:v>119.842</c:v>
                </c:pt>
                <c:pt idx="391">
                  <c:v>122.50700000000001</c:v>
                </c:pt>
                <c:pt idx="392">
                  <c:v>122.50700000000001</c:v>
                </c:pt>
                <c:pt idx="393">
                  <c:v>122.50700000000001</c:v>
                </c:pt>
                <c:pt idx="394">
                  <c:v>122.50700000000001</c:v>
                </c:pt>
                <c:pt idx="395">
                  <c:v>122.50700000000001</c:v>
                </c:pt>
                <c:pt idx="396">
                  <c:v>122.45399999999999</c:v>
                </c:pt>
                <c:pt idx="397">
                  <c:v>122.45399999999999</c:v>
                </c:pt>
                <c:pt idx="398">
                  <c:v>122.45399999999999</c:v>
                </c:pt>
                <c:pt idx="399">
                  <c:v>122.45399999999999</c:v>
                </c:pt>
                <c:pt idx="400">
                  <c:v>122.45399999999999</c:v>
                </c:pt>
                <c:pt idx="401">
                  <c:v>122.568</c:v>
                </c:pt>
                <c:pt idx="402">
                  <c:v>122.568</c:v>
                </c:pt>
                <c:pt idx="403">
                  <c:v>122.568</c:v>
                </c:pt>
                <c:pt idx="404">
                  <c:v>122.568</c:v>
                </c:pt>
                <c:pt idx="405">
                  <c:v>122.568</c:v>
                </c:pt>
                <c:pt idx="406">
                  <c:v>122.697</c:v>
                </c:pt>
                <c:pt idx="407">
                  <c:v>122.697</c:v>
                </c:pt>
                <c:pt idx="408">
                  <c:v>122.697</c:v>
                </c:pt>
                <c:pt idx="409">
                  <c:v>122.697</c:v>
                </c:pt>
                <c:pt idx="410">
                  <c:v>122.697</c:v>
                </c:pt>
                <c:pt idx="411">
                  <c:v>122.128</c:v>
                </c:pt>
                <c:pt idx="412">
                  <c:v>122.128</c:v>
                </c:pt>
                <c:pt idx="413">
                  <c:v>122.128</c:v>
                </c:pt>
                <c:pt idx="414">
                  <c:v>122.128</c:v>
                </c:pt>
                <c:pt idx="415">
                  <c:v>122.128</c:v>
                </c:pt>
                <c:pt idx="416">
                  <c:v>125.11199999999999</c:v>
                </c:pt>
                <c:pt idx="417">
                  <c:v>125.11199999999999</c:v>
                </c:pt>
                <c:pt idx="418">
                  <c:v>125.11199999999999</c:v>
                </c:pt>
                <c:pt idx="419">
                  <c:v>125.11199999999999</c:v>
                </c:pt>
                <c:pt idx="420">
                  <c:v>125.11199999999999</c:v>
                </c:pt>
                <c:pt idx="421">
                  <c:v>124.26900000000001</c:v>
                </c:pt>
                <c:pt idx="422">
                  <c:v>124.26900000000001</c:v>
                </c:pt>
                <c:pt idx="423">
                  <c:v>124.26900000000001</c:v>
                </c:pt>
                <c:pt idx="424">
                  <c:v>124.26900000000001</c:v>
                </c:pt>
                <c:pt idx="425">
                  <c:v>124.26900000000001</c:v>
                </c:pt>
                <c:pt idx="426">
                  <c:v>124.337</c:v>
                </c:pt>
                <c:pt idx="427">
                  <c:v>124.337</c:v>
                </c:pt>
                <c:pt idx="428">
                  <c:v>124.337</c:v>
                </c:pt>
                <c:pt idx="429">
                  <c:v>124.337</c:v>
                </c:pt>
                <c:pt idx="430">
                  <c:v>124.337</c:v>
                </c:pt>
                <c:pt idx="431">
                  <c:v>122.857</c:v>
                </c:pt>
                <c:pt idx="432">
                  <c:v>122.857</c:v>
                </c:pt>
                <c:pt idx="433">
                  <c:v>122.857</c:v>
                </c:pt>
                <c:pt idx="434">
                  <c:v>122.857</c:v>
                </c:pt>
                <c:pt idx="435">
                  <c:v>122.857</c:v>
                </c:pt>
                <c:pt idx="436">
                  <c:v>125.52200000000001</c:v>
                </c:pt>
                <c:pt idx="437">
                  <c:v>125.52200000000001</c:v>
                </c:pt>
                <c:pt idx="438">
                  <c:v>125.52200000000001</c:v>
                </c:pt>
                <c:pt idx="439">
                  <c:v>125.52200000000001</c:v>
                </c:pt>
                <c:pt idx="440">
                  <c:v>125.52200000000001</c:v>
                </c:pt>
                <c:pt idx="441">
                  <c:v>125.651</c:v>
                </c:pt>
                <c:pt idx="442">
                  <c:v>125.651</c:v>
                </c:pt>
                <c:pt idx="443">
                  <c:v>125.651</c:v>
                </c:pt>
                <c:pt idx="444">
                  <c:v>125.651</c:v>
                </c:pt>
                <c:pt idx="445">
                  <c:v>125.651</c:v>
                </c:pt>
                <c:pt idx="446">
                  <c:v>123.996</c:v>
                </c:pt>
                <c:pt idx="447">
                  <c:v>123.996</c:v>
                </c:pt>
                <c:pt idx="448">
                  <c:v>123.996</c:v>
                </c:pt>
                <c:pt idx="449">
                  <c:v>123.996</c:v>
                </c:pt>
                <c:pt idx="450">
                  <c:v>123.996</c:v>
                </c:pt>
                <c:pt idx="451">
                  <c:v>125.871</c:v>
                </c:pt>
                <c:pt idx="452">
                  <c:v>125.871</c:v>
                </c:pt>
                <c:pt idx="453">
                  <c:v>125.871</c:v>
                </c:pt>
                <c:pt idx="454">
                  <c:v>125.871</c:v>
                </c:pt>
                <c:pt idx="455">
                  <c:v>125.871</c:v>
                </c:pt>
                <c:pt idx="456">
                  <c:v>127.16200000000001</c:v>
                </c:pt>
                <c:pt idx="457">
                  <c:v>127.16200000000001</c:v>
                </c:pt>
                <c:pt idx="458">
                  <c:v>127.16200000000001</c:v>
                </c:pt>
                <c:pt idx="459">
                  <c:v>127.16200000000001</c:v>
                </c:pt>
                <c:pt idx="460">
                  <c:v>127.16200000000001</c:v>
                </c:pt>
                <c:pt idx="461">
                  <c:v>126.16</c:v>
                </c:pt>
                <c:pt idx="462">
                  <c:v>126.16</c:v>
                </c:pt>
                <c:pt idx="463">
                  <c:v>126.16</c:v>
                </c:pt>
                <c:pt idx="464">
                  <c:v>126.16</c:v>
                </c:pt>
                <c:pt idx="465">
                  <c:v>126.16</c:v>
                </c:pt>
                <c:pt idx="466">
                  <c:v>126.631</c:v>
                </c:pt>
                <c:pt idx="467">
                  <c:v>126.631</c:v>
                </c:pt>
                <c:pt idx="468">
                  <c:v>126.631</c:v>
                </c:pt>
                <c:pt idx="469">
                  <c:v>126.631</c:v>
                </c:pt>
                <c:pt idx="470">
                  <c:v>126.631</c:v>
                </c:pt>
                <c:pt idx="471">
                  <c:v>126.22799999999999</c:v>
                </c:pt>
                <c:pt idx="472">
                  <c:v>126.22799999999999</c:v>
                </c:pt>
                <c:pt idx="473">
                  <c:v>126.22799999999999</c:v>
                </c:pt>
                <c:pt idx="474">
                  <c:v>126.22799999999999</c:v>
                </c:pt>
                <c:pt idx="475">
                  <c:v>126.22799999999999</c:v>
                </c:pt>
                <c:pt idx="476">
                  <c:v>126.517</c:v>
                </c:pt>
                <c:pt idx="477">
                  <c:v>126.517</c:v>
                </c:pt>
                <c:pt idx="478">
                  <c:v>126.517</c:v>
                </c:pt>
                <c:pt idx="479">
                  <c:v>126.517</c:v>
                </c:pt>
                <c:pt idx="480">
                  <c:v>126.517</c:v>
                </c:pt>
                <c:pt idx="481">
                  <c:v>128.63499999999999</c:v>
                </c:pt>
                <c:pt idx="482">
                  <c:v>128.63499999999999</c:v>
                </c:pt>
                <c:pt idx="483">
                  <c:v>128.63499999999999</c:v>
                </c:pt>
                <c:pt idx="484">
                  <c:v>128.63499999999999</c:v>
                </c:pt>
                <c:pt idx="485">
                  <c:v>128.63499999999999</c:v>
                </c:pt>
                <c:pt idx="486">
                  <c:v>129.964</c:v>
                </c:pt>
                <c:pt idx="487">
                  <c:v>129.964</c:v>
                </c:pt>
                <c:pt idx="488">
                  <c:v>129.964</c:v>
                </c:pt>
                <c:pt idx="489">
                  <c:v>129.964</c:v>
                </c:pt>
                <c:pt idx="490">
                  <c:v>129.964</c:v>
                </c:pt>
                <c:pt idx="491">
                  <c:v>129.98699999999999</c:v>
                </c:pt>
                <c:pt idx="492">
                  <c:v>129.98699999999999</c:v>
                </c:pt>
                <c:pt idx="493">
                  <c:v>129.98699999999999</c:v>
                </c:pt>
                <c:pt idx="494">
                  <c:v>129.98699999999999</c:v>
                </c:pt>
                <c:pt idx="495">
                  <c:v>129.98699999999999</c:v>
                </c:pt>
                <c:pt idx="496">
                  <c:v>129.577</c:v>
                </c:pt>
                <c:pt idx="497">
                  <c:v>129.577</c:v>
                </c:pt>
                <c:pt idx="498">
                  <c:v>129.577</c:v>
                </c:pt>
                <c:pt idx="499">
                  <c:v>129.577</c:v>
                </c:pt>
                <c:pt idx="500">
                  <c:v>129.577</c:v>
                </c:pt>
                <c:pt idx="501">
                  <c:v>131.149</c:v>
                </c:pt>
                <c:pt idx="502">
                  <c:v>131.149</c:v>
                </c:pt>
                <c:pt idx="503">
                  <c:v>131.149</c:v>
                </c:pt>
                <c:pt idx="504">
                  <c:v>131.149</c:v>
                </c:pt>
                <c:pt idx="505">
                  <c:v>131.149</c:v>
                </c:pt>
                <c:pt idx="506">
                  <c:v>129.691</c:v>
                </c:pt>
                <c:pt idx="507">
                  <c:v>129.691</c:v>
                </c:pt>
                <c:pt idx="508">
                  <c:v>129.691</c:v>
                </c:pt>
                <c:pt idx="509">
                  <c:v>129.691</c:v>
                </c:pt>
                <c:pt idx="510">
                  <c:v>129.691</c:v>
                </c:pt>
                <c:pt idx="511">
                  <c:v>129.19</c:v>
                </c:pt>
                <c:pt idx="512">
                  <c:v>129.19</c:v>
                </c:pt>
                <c:pt idx="513">
                  <c:v>129.19</c:v>
                </c:pt>
                <c:pt idx="514">
                  <c:v>129.19</c:v>
                </c:pt>
                <c:pt idx="515">
                  <c:v>129.19</c:v>
                </c:pt>
                <c:pt idx="516">
                  <c:v>128.803</c:v>
                </c:pt>
                <c:pt idx="517">
                  <c:v>128.803</c:v>
                </c:pt>
                <c:pt idx="518">
                  <c:v>128.803</c:v>
                </c:pt>
                <c:pt idx="519">
                  <c:v>128.803</c:v>
                </c:pt>
                <c:pt idx="520">
                  <c:v>128.803</c:v>
                </c:pt>
                <c:pt idx="521">
                  <c:v>129.053</c:v>
                </c:pt>
                <c:pt idx="522">
                  <c:v>129.053</c:v>
                </c:pt>
                <c:pt idx="523">
                  <c:v>129.053</c:v>
                </c:pt>
                <c:pt idx="524">
                  <c:v>129.053</c:v>
                </c:pt>
                <c:pt idx="525">
                  <c:v>129.053</c:v>
                </c:pt>
                <c:pt idx="526">
                  <c:v>129.774</c:v>
                </c:pt>
                <c:pt idx="527">
                  <c:v>129.774</c:v>
                </c:pt>
                <c:pt idx="528">
                  <c:v>129.774</c:v>
                </c:pt>
                <c:pt idx="529">
                  <c:v>129.774</c:v>
                </c:pt>
                <c:pt idx="530">
                  <c:v>129.774</c:v>
                </c:pt>
                <c:pt idx="531">
                  <c:v>128.24100000000001</c:v>
                </c:pt>
                <c:pt idx="532">
                  <c:v>128.24100000000001</c:v>
                </c:pt>
                <c:pt idx="533">
                  <c:v>128.24100000000001</c:v>
                </c:pt>
                <c:pt idx="534">
                  <c:v>128.24100000000001</c:v>
                </c:pt>
                <c:pt idx="535">
                  <c:v>128.24100000000001</c:v>
                </c:pt>
                <c:pt idx="536">
                  <c:v>126.70699999999999</c:v>
                </c:pt>
                <c:pt idx="537">
                  <c:v>126.70699999999999</c:v>
                </c:pt>
                <c:pt idx="538">
                  <c:v>126.70699999999999</c:v>
                </c:pt>
                <c:pt idx="539">
                  <c:v>126.70699999999999</c:v>
                </c:pt>
                <c:pt idx="540">
                  <c:v>126.70699999999999</c:v>
                </c:pt>
                <c:pt idx="541">
                  <c:v>126.38</c:v>
                </c:pt>
                <c:pt idx="542">
                  <c:v>126.38</c:v>
                </c:pt>
                <c:pt idx="543">
                  <c:v>126.38</c:v>
                </c:pt>
                <c:pt idx="544">
                  <c:v>126.38</c:v>
                </c:pt>
                <c:pt idx="545">
                  <c:v>126.38</c:v>
                </c:pt>
                <c:pt idx="546">
                  <c:v>125.52200000000001</c:v>
                </c:pt>
                <c:pt idx="547">
                  <c:v>125.52200000000001</c:v>
                </c:pt>
                <c:pt idx="548">
                  <c:v>125.52200000000001</c:v>
                </c:pt>
                <c:pt idx="549">
                  <c:v>125.52200000000001</c:v>
                </c:pt>
                <c:pt idx="550">
                  <c:v>125.52200000000001</c:v>
                </c:pt>
                <c:pt idx="551">
                  <c:v>123.646</c:v>
                </c:pt>
                <c:pt idx="552">
                  <c:v>123.646</c:v>
                </c:pt>
                <c:pt idx="553">
                  <c:v>123.646</c:v>
                </c:pt>
                <c:pt idx="554">
                  <c:v>123.646</c:v>
                </c:pt>
                <c:pt idx="555">
                  <c:v>123.646</c:v>
                </c:pt>
                <c:pt idx="556">
                  <c:v>123.259</c:v>
                </c:pt>
                <c:pt idx="557">
                  <c:v>123.259</c:v>
                </c:pt>
                <c:pt idx="558">
                  <c:v>123.259</c:v>
                </c:pt>
                <c:pt idx="559">
                  <c:v>123.259</c:v>
                </c:pt>
                <c:pt idx="560">
                  <c:v>123.259</c:v>
                </c:pt>
                <c:pt idx="561">
                  <c:v>118.908</c:v>
                </c:pt>
                <c:pt idx="562">
                  <c:v>118.908</c:v>
                </c:pt>
                <c:pt idx="563">
                  <c:v>118.908</c:v>
                </c:pt>
                <c:pt idx="564">
                  <c:v>118.908</c:v>
                </c:pt>
                <c:pt idx="565">
                  <c:v>118.908</c:v>
                </c:pt>
                <c:pt idx="566">
                  <c:v>118.07299999999999</c:v>
                </c:pt>
                <c:pt idx="567">
                  <c:v>118.07299999999999</c:v>
                </c:pt>
                <c:pt idx="568">
                  <c:v>118.07299999999999</c:v>
                </c:pt>
                <c:pt idx="569">
                  <c:v>118.07299999999999</c:v>
                </c:pt>
                <c:pt idx="570">
                  <c:v>118.07299999999999</c:v>
                </c:pt>
                <c:pt idx="571">
                  <c:v>117.473</c:v>
                </c:pt>
                <c:pt idx="572">
                  <c:v>117.473</c:v>
                </c:pt>
                <c:pt idx="573">
                  <c:v>117.473</c:v>
                </c:pt>
                <c:pt idx="574">
                  <c:v>117.473</c:v>
                </c:pt>
                <c:pt idx="575">
                  <c:v>117.473</c:v>
                </c:pt>
                <c:pt idx="576">
                  <c:v>117.321</c:v>
                </c:pt>
                <c:pt idx="577">
                  <c:v>117.321</c:v>
                </c:pt>
                <c:pt idx="578">
                  <c:v>117.321</c:v>
                </c:pt>
                <c:pt idx="579">
                  <c:v>117.321</c:v>
                </c:pt>
                <c:pt idx="580">
                  <c:v>117.321</c:v>
                </c:pt>
                <c:pt idx="581">
                  <c:v>116.417</c:v>
                </c:pt>
                <c:pt idx="582">
                  <c:v>116.417</c:v>
                </c:pt>
                <c:pt idx="583">
                  <c:v>116.417</c:v>
                </c:pt>
                <c:pt idx="584">
                  <c:v>116.417</c:v>
                </c:pt>
                <c:pt idx="585">
                  <c:v>116.417</c:v>
                </c:pt>
                <c:pt idx="586">
                  <c:v>116.038</c:v>
                </c:pt>
                <c:pt idx="587">
                  <c:v>116.038</c:v>
                </c:pt>
                <c:pt idx="588">
                  <c:v>116.038</c:v>
                </c:pt>
                <c:pt idx="589">
                  <c:v>116.038</c:v>
                </c:pt>
                <c:pt idx="590">
                  <c:v>116.038</c:v>
                </c:pt>
                <c:pt idx="591">
                  <c:v>114.85299999999999</c:v>
                </c:pt>
                <c:pt idx="592">
                  <c:v>114.85299999999999</c:v>
                </c:pt>
                <c:pt idx="593">
                  <c:v>114.85299999999999</c:v>
                </c:pt>
                <c:pt idx="594">
                  <c:v>114.85299999999999</c:v>
                </c:pt>
                <c:pt idx="595">
                  <c:v>114.85299999999999</c:v>
                </c:pt>
                <c:pt idx="596">
                  <c:v>114.572</c:v>
                </c:pt>
                <c:pt idx="597">
                  <c:v>114.572</c:v>
                </c:pt>
                <c:pt idx="598">
                  <c:v>114.572</c:v>
                </c:pt>
                <c:pt idx="599">
                  <c:v>114.572</c:v>
                </c:pt>
                <c:pt idx="600">
                  <c:v>114.572</c:v>
                </c:pt>
                <c:pt idx="601">
                  <c:v>114.8</c:v>
                </c:pt>
                <c:pt idx="602">
                  <c:v>114.8</c:v>
                </c:pt>
                <c:pt idx="603">
                  <c:v>114.8</c:v>
                </c:pt>
                <c:pt idx="604">
                  <c:v>114.8</c:v>
                </c:pt>
                <c:pt idx="605">
                  <c:v>114.8</c:v>
                </c:pt>
                <c:pt idx="606">
                  <c:v>114.785</c:v>
                </c:pt>
                <c:pt idx="607">
                  <c:v>114.785</c:v>
                </c:pt>
                <c:pt idx="608">
                  <c:v>114.785</c:v>
                </c:pt>
                <c:pt idx="609">
                  <c:v>114.785</c:v>
                </c:pt>
                <c:pt idx="610">
                  <c:v>114.785</c:v>
                </c:pt>
                <c:pt idx="611">
                  <c:v>113.35</c:v>
                </c:pt>
                <c:pt idx="612">
                  <c:v>113.35</c:v>
                </c:pt>
                <c:pt idx="613">
                  <c:v>113.35</c:v>
                </c:pt>
                <c:pt idx="614">
                  <c:v>113.35</c:v>
                </c:pt>
                <c:pt idx="615">
                  <c:v>113.35</c:v>
                </c:pt>
                <c:pt idx="616">
                  <c:v>112.92400000000001</c:v>
                </c:pt>
                <c:pt idx="617">
                  <c:v>112.92400000000001</c:v>
                </c:pt>
                <c:pt idx="618">
                  <c:v>112.92400000000001</c:v>
                </c:pt>
                <c:pt idx="619">
                  <c:v>112.92400000000001</c:v>
                </c:pt>
                <c:pt idx="620">
                  <c:v>112.92400000000001</c:v>
                </c:pt>
                <c:pt idx="621">
                  <c:v>112.70399999999999</c:v>
                </c:pt>
                <c:pt idx="622">
                  <c:v>112.70399999999999</c:v>
                </c:pt>
                <c:pt idx="623">
                  <c:v>112.70399999999999</c:v>
                </c:pt>
                <c:pt idx="624">
                  <c:v>112.70399999999999</c:v>
                </c:pt>
                <c:pt idx="625">
                  <c:v>112.70399999999999</c:v>
                </c:pt>
                <c:pt idx="626">
                  <c:v>112.97</c:v>
                </c:pt>
                <c:pt idx="627">
                  <c:v>112.97</c:v>
                </c:pt>
                <c:pt idx="628">
                  <c:v>112.97</c:v>
                </c:pt>
                <c:pt idx="629">
                  <c:v>112.97</c:v>
                </c:pt>
                <c:pt idx="630">
                  <c:v>112.97</c:v>
                </c:pt>
                <c:pt idx="631">
                  <c:v>112.081</c:v>
                </c:pt>
                <c:pt idx="632">
                  <c:v>112.081</c:v>
                </c:pt>
                <c:pt idx="633">
                  <c:v>112.081</c:v>
                </c:pt>
                <c:pt idx="634">
                  <c:v>112.081</c:v>
                </c:pt>
                <c:pt idx="635">
                  <c:v>112.081</c:v>
                </c:pt>
                <c:pt idx="636">
                  <c:v>110.191</c:v>
                </c:pt>
                <c:pt idx="637">
                  <c:v>110.191</c:v>
                </c:pt>
                <c:pt idx="638">
                  <c:v>110.191</c:v>
                </c:pt>
                <c:pt idx="639">
                  <c:v>110.191</c:v>
                </c:pt>
                <c:pt idx="640">
                  <c:v>110.191</c:v>
                </c:pt>
                <c:pt idx="641">
                  <c:v>109.79600000000001</c:v>
                </c:pt>
                <c:pt idx="642">
                  <c:v>109.79600000000001</c:v>
                </c:pt>
                <c:pt idx="643">
                  <c:v>109.79600000000001</c:v>
                </c:pt>
                <c:pt idx="644">
                  <c:v>109.79600000000001</c:v>
                </c:pt>
                <c:pt idx="645">
                  <c:v>109.79600000000001</c:v>
                </c:pt>
                <c:pt idx="646">
                  <c:v>108.854</c:v>
                </c:pt>
                <c:pt idx="647">
                  <c:v>108.854</c:v>
                </c:pt>
                <c:pt idx="648">
                  <c:v>108.854</c:v>
                </c:pt>
                <c:pt idx="649">
                  <c:v>108.854</c:v>
                </c:pt>
                <c:pt idx="650">
                  <c:v>108.854</c:v>
                </c:pt>
                <c:pt idx="651">
                  <c:v>106.69799999999999</c:v>
                </c:pt>
                <c:pt idx="652">
                  <c:v>106.69799999999999</c:v>
                </c:pt>
                <c:pt idx="653">
                  <c:v>106.69799999999999</c:v>
                </c:pt>
                <c:pt idx="654">
                  <c:v>106.69799999999999</c:v>
                </c:pt>
                <c:pt idx="655">
                  <c:v>106.69799999999999</c:v>
                </c:pt>
                <c:pt idx="656">
                  <c:v>104.39700000000001</c:v>
                </c:pt>
                <c:pt idx="657">
                  <c:v>104.39700000000001</c:v>
                </c:pt>
                <c:pt idx="658">
                  <c:v>104.39700000000001</c:v>
                </c:pt>
                <c:pt idx="659">
                  <c:v>104.39700000000001</c:v>
                </c:pt>
                <c:pt idx="660">
                  <c:v>104.39700000000001</c:v>
                </c:pt>
                <c:pt idx="661">
                  <c:v>104.116</c:v>
                </c:pt>
                <c:pt idx="662">
                  <c:v>104.116</c:v>
                </c:pt>
                <c:pt idx="663">
                  <c:v>104.116</c:v>
                </c:pt>
                <c:pt idx="664">
                  <c:v>104.116</c:v>
                </c:pt>
                <c:pt idx="665">
                  <c:v>104.116</c:v>
                </c:pt>
                <c:pt idx="666">
                  <c:v>103.964</c:v>
                </c:pt>
                <c:pt idx="667">
                  <c:v>103.964</c:v>
                </c:pt>
                <c:pt idx="668">
                  <c:v>103.964</c:v>
                </c:pt>
                <c:pt idx="669">
                  <c:v>103.964</c:v>
                </c:pt>
                <c:pt idx="670">
                  <c:v>103.964</c:v>
                </c:pt>
                <c:pt idx="671">
                  <c:v>103.539</c:v>
                </c:pt>
                <c:pt idx="672">
                  <c:v>103.539</c:v>
                </c:pt>
                <c:pt idx="673">
                  <c:v>103.539</c:v>
                </c:pt>
                <c:pt idx="674">
                  <c:v>103.539</c:v>
                </c:pt>
                <c:pt idx="675">
                  <c:v>103.539</c:v>
                </c:pt>
                <c:pt idx="676">
                  <c:v>100.83499999999999</c:v>
                </c:pt>
                <c:pt idx="677">
                  <c:v>100.83499999999999</c:v>
                </c:pt>
                <c:pt idx="678">
                  <c:v>100.83499999999999</c:v>
                </c:pt>
                <c:pt idx="679">
                  <c:v>100.83499999999999</c:v>
                </c:pt>
                <c:pt idx="680">
                  <c:v>100.83499999999999</c:v>
                </c:pt>
                <c:pt idx="681">
                  <c:v>100.51600000000001</c:v>
                </c:pt>
                <c:pt idx="682">
                  <c:v>100.51600000000001</c:v>
                </c:pt>
                <c:pt idx="683">
                  <c:v>100.51600000000001</c:v>
                </c:pt>
                <c:pt idx="684">
                  <c:v>100.51600000000001</c:v>
                </c:pt>
                <c:pt idx="685">
                  <c:v>100.51600000000001</c:v>
                </c:pt>
                <c:pt idx="686">
                  <c:v>99.97</c:v>
                </c:pt>
                <c:pt idx="687">
                  <c:v>99.97</c:v>
                </c:pt>
                <c:pt idx="688">
                  <c:v>99.97</c:v>
                </c:pt>
                <c:pt idx="689">
                  <c:v>99.97</c:v>
                </c:pt>
                <c:pt idx="690">
                  <c:v>99.97</c:v>
                </c:pt>
                <c:pt idx="691">
                  <c:v>99.900999999999996</c:v>
                </c:pt>
                <c:pt idx="692">
                  <c:v>99.900999999999996</c:v>
                </c:pt>
                <c:pt idx="693">
                  <c:v>99.900999999999996</c:v>
                </c:pt>
                <c:pt idx="694">
                  <c:v>99.900999999999996</c:v>
                </c:pt>
                <c:pt idx="695">
                  <c:v>99.900999999999996</c:v>
                </c:pt>
                <c:pt idx="696">
                  <c:v>98.322000000000003</c:v>
                </c:pt>
                <c:pt idx="697">
                  <c:v>98.322000000000003</c:v>
                </c:pt>
                <c:pt idx="698">
                  <c:v>98.322000000000003</c:v>
                </c:pt>
                <c:pt idx="699">
                  <c:v>98.322000000000003</c:v>
                </c:pt>
                <c:pt idx="700">
                  <c:v>98.322000000000003</c:v>
                </c:pt>
                <c:pt idx="701">
                  <c:v>98.313999999999993</c:v>
                </c:pt>
                <c:pt idx="702">
                  <c:v>98.313999999999993</c:v>
                </c:pt>
                <c:pt idx="703">
                  <c:v>98.313999999999993</c:v>
                </c:pt>
                <c:pt idx="704">
                  <c:v>98.313999999999993</c:v>
                </c:pt>
                <c:pt idx="705">
                  <c:v>98.313999999999993</c:v>
                </c:pt>
                <c:pt idx="706">
                  <c:v>97.79</c:v>
                </c:pt>
                <c:pt idx="707">
                  <c:v>97.79</c:v>
                </c:pt>
                <c:pt idx="708">
                  <c:v>97.79</c:v>
                </c:pt>
                <c:pt idx="709">
                  <c:v>97.79</c:v>
                </c:pt>
                <c:pt idx="710">
                  <c:v>97.79</c:v>
                </c:pt>
                <c:pt idx="711">
                  <c:v>97.122</c:v>
                </c:pt>
                <c:pt idx="712">
                  <c:v>97.122</c:v>
                </c:pt>
                <c:pt idx="713">
                  <c:v>97.122</c:v>
                </c:pt>
                <c:pt idx="714">
                  <c:v>97.122</c:v>
                </c:pt>
                <c:pt idx="715">
                  <c:v>97.122</c:v>
                </c:pt>
                <c:pt idx="716">
                  <c:v>97.046000000000006</c:v>
                </c:pt>
                <c:pt idx="717">
                  <c:v>97.046000000000006</c:v>
                </c:pt>
                <c:pt idx="718">
                  <c:v>97.046000000000006</c:v>
                </c:pt>
                <c:pt idx="719">
                  <c:v>97.046000000000006</c:v>
                </c:pt>
                <c:pt idx="720">
                  <c:v>97.046000000000006</c:v>
                </c:pt>
                <c:pt idx="721">
                  <c:v>94.616</c:v>
                </c:pt>
                <c:pt idx="722">
                  <c:v>94.616</c:v>
                </c:pt>
                <c:pt idx="723">
                  <c:v>94.616</c:v>
                </c:pt>
                <c:pt idx="724">
                  <c:v>94.616</c:v>
                </c:pt>
                <c:pt idx="725">
                  <c:v>94.616</c:v>
                </c:pt>
                <c:pt idx="726">
                  <c:v>94.076999999999998</c:v>
                </c:pt>
                <c:pt idx="727">
                  <c:v>94.076999999999998</c:v>
                </c:pt>
                <c:pt idx="728">
                  <c:v>94.076999999999998</c:v>
                </c:pt>
                <c:pt idx="729">
                  <c:v>94.076999999999998</c:v>
                </c:pt>
                <c:pt idx="730">
                  <c:v>94.076999999999998</c:v>
                </c:pt>
                <c:pt idx="731">
                  <c:v>94.161000000000001</c:v>
                </c:pt>
                <c:pt idx="732">
                  <c:v>94.161000000000001</c:v>
                </c:pt>
                <c:pt idx="733">
                  <c:v>94.161000000000001</c:v>
                </c:pt>
                <c:pt idx="734">
                  <c:v>94.161000000000001</c:v>
                </c:pt>
                <c:pt idx="735">
                  <c:v>94.161000000000001</c:v>
                </c:pt>
                <c:pt idx="736">
                  <c:v>94.396000000000001</c:v>
                </c:pt>
                <c:pt idx="737">
                  <c:v>94.396000000000001</c:v>
                </c:pt>
                <c:pt idx="738">
                  <c:v>94.396000000000001</c:v>
                </c:pt>
                <c:pt idx="739">
                  <c:v>94.396000000000001</c:v>
                </c:pt>
                <c:pt idx="740">
                  <c:v>94.396000000000001</c:v>
                </c:pt>
                <c:pt idx="741">
                  <c:v>92.588999999999999</c:v>
                </c:pt>
                <c:pt idx="742">
                  <c:v>92.588999999999999</c:v>
                </c:pt>
                <c:pt idx="743">
                  <c:v>92.588999999999999</c:v>
                </c:pt>
                <c:pt idx="744">
                  <c:v>92.588999999999999</c:v>
                </c:pt>
                <c:pt idx="745">
                  <c:v>92.588999999999999</c:v>
                </c:pt>
                <c:pt idx="746">
                  <c:v>92.703000000000003</c:v>
                </c:pt>
                <c:pt idx="747">
                  <c:v>92.703000000000003</c:v>
                </c:pt>
                <c:pt idx="748">
                  <c:v>92.703000000000003</c:v>
                </c:pt>
                <c:pt idx="749">
                  <c:v>92.703000000000003</c:v>
                </c:pt>
                <c:pt idx="750">
                  <c:v>92.703000000000003</c:v>
                </c:pt>
                <c:pt idx="751">
                  <c:v>93.218999999999994</c:v>
                </c:pt>
                <c:pt idx="752">
                  <c:v>93.218999999999994</c:v>
                </c:pt>
                <c:pt idx="753">
                  <c:v>93.218999999999994</c:v>
                </c:pt>
                <c:pt idx="754">
                  <c:v>93.218999999999994</c:v>
                </c:pt>
                <c:pt idx="755">
                  <c:v>93.218999999999994</c:v>
                </c:pt>
                <c:pt idx="756">
                  <c:v>94.039000000000001</c:v>
                </c:pt>
                <c:pt idx="757">
                  <c:v>94.039000000000001</c:v>
                </c:pt>
                <c:pt idx="758">
                  <c:v>94.039000000000001</c:v>
                </c:pt>
                <c:pt idx="759">
                  <c:v>94.039000000000001</c:v>
                </c:pt>
                <c:pt idx="760">
                  <c:v>94.039000000000001</c:v>
                </c:pt>
                <c:pt idx="761">
                  <c:v>92.102999999999994</c:v>
                </c:pt>
                <c:pt idx="762">
                  <c:v>92.102999999999994</c:v>
                </c:pt>
                <c:pt idx="763">
                  <c:v>92.102999999999994</c:v>
                </c:pt>
                <c:pt idx="764">
                  <c:v>92.102999999999994</c:v>
                </c:pt>
                <c:pt idx="765">
                  <c:v>92.102999999999994</c:v>
                </c:pt>
                <c:pt idx="766">
                  <c:v>92.694999999999993</c:v>
                </c:pt>
                <c:pt idx="767">
                  <c:v>92.694999999999993</c:v>
                </c:pt>
                <c:pt idx="768">
                  <c:v>92.694999999999993</c:v>
                </c:pt>
                <c:pt idx="769">
                  <c:v>92.694999999999993</c:v>
                </c:pt>
                <c:pt idx="770">
                  <c:v>92.694999999999993</c:v>
                </c:pt>
                <c:pt idx="771">
                  <c:v>92.042000000000002</c:v>
                </c:pt>
                <c:pt idx="772">
                  <c:v>92.042000000000002</c:v>
                </c:pt>
                <c:pt idx="773">
                  <c:v>92.042000000000002</c:v>
                </c:pt>
                <c:pt idx="774">
                  <c:v>92.042000000000002</c:v>
                </c:pt>
                <c:pt idx="775">
                  <c:v>92.042000000000002</c:v>
                </c:pt>
                <c:pt idx="776">
                  <c:v>92.49</c:v>
                </c:pt>
                <c:pt idx="777">
                  <c:v>92.49</c:v>
                </c:pt>
                <c:pt idx="778">
                  <c:v>92.49</c:v>
                </c:pt>
                <c:pt idx="779">
                  <c:v>92.49</c:v>
                </c:pt>
                <c:pt idx="780">
                  <c:v>92.49</c:v>
                </c:pt>
                <c:pt idx="781">
                  <c:v>92.064999999999998</c:v>
                </c:pt>
                <c:pt idx="782">
                  <c:v>92.064999999999998</c:v>
                </c:pt>
                <c:pt idx="783">
                  <c:v>92.064999999999998</c:v>
                </c:pt>
                <c:pt idx="784">
                  <c:v>92.064999999999998</c:v>
                </c:pt>
                <c:pt idx="785">
                  <c:v>92.064999999999998</c:v>
                </c:pt>
                <c:pt idx="786">
                  <c:v>93.317999999999998</c:v>
                </c:pt>
                <c:pt idx="787">
                  <c:v>93.317999999999998</c:v>
                </c:pt>
                <c:pt idx="788">
                  <c:v>93.317999999999998</c:v>
                </c:pt>
                <c:pt idx="789">
                  <c:v>93.317999999999998</c:v>
                </c:pt>
                <c:pt idx="790">
                  <c:v>93.317999999999998</c:v>
                </c:pt>
                <c:pt idx="791">
                  <c:v>92.634</c:v>
                </c:pt>
                <c:pt idx="792">
                  <c:v>92.634</c:v>
                </c:pt>
                <c:pt idx="793">
                  <c:v>92.634</c:v>
                </c:pt>
                <c:pt idx="794">
                  <c:v>92.634</c:v>
                </c:pt>
                <c:pt idx="795">
                  <c:v>92.634</c:v>
                </c:pt>
                <c:pt idx="796">
                  <c:v>92.649000000000001</c:v>
                </c:pt>
                <c:pt idx="797">
                  <c:v>92.649000000000001</c:v>
                </c:pt>
                <c:pt idx="798">
                  <c:v>92.649000000000001</c:v>
                </c:pt>
                <c:pt idx="799">
                  <c:v>92.649000000000001</c:v>
                </c:pt>
                <c:pt idx="800">
                  <c:v>92.649000000000001</c:v>
                </c:pt>
                <c:pt idx="801">
                  <c:v>92.656999999999996</c:v>
                </c:pt>
                <c:pt idx="802">
                  <c:v>92.656999999999996</c:v>
                </c:pt>
                <c:pt idx="803">
                  <c:v>92.656999999999996</c:v>
                </c:pt>
                <c:pt idx="804">
                  <c:v>92.656999999999996</c:v>
                </c:pt>
                <c:pt idx="805">
                  <c:v>92.656999999999996</c:v>
                </c:pt>
                <c:pt idx="806">
                  <c:v>96.567999999999998</c:v>
                </c:pt>
                <c:pt idx="807">
                  <c:v>96.567999999999998</c:v>
                </c:pt>
                <c:pt idx="808">
                  <c:v>96.567999999999998</c:v>
                </c:pt>
                <c:pt idx="809">
                  <c:v>96.567999999999998</c:v>
                </c:pt>
                <c:pt idx="810">
                  <c:v>96.567999999999998</c:v>
                </c:pt>
                <c:pt idx="811">
                  <c:v>97.426000000000002</c:v>
                </c:pt>
                <c:pt idx="812">
                  <c:v>97.426000000000002</c:v>
                </c:pt>
                <c:pt idx="813">
                  <c:v>97.426000000000002</c:v>
                </c:pt>
                <c:pt idx="814">
                  <c:v>97.426000000000002</c:v>
                </c:pt>
                <c:pt idx="815">
                  <c:v>97.426000000000002</c:v>
                </c:pt>
                <c:pt idx="816">
                  <c:v>96.727000000000004</c:v>
                </c:pt>
                <c:pt idx="817">
                  <c:v>96.727000000000004</c:v>
                </c:pt>
                <c:pt idx="818">
                  <c:v>96.727000000000004</c:v>
                </c:pt>
                <c:pt idx="819">
                  <c:v>96.727000000000004</c:v>
                </c:pt>
                <c:pt idx="820">
                  <c:v>96.727000000000004</c:v>
                </c:pt>
                <c:pt idx="821">
                  <c:v>99.103999999999999</c:v>
                </c:pt>
                <c:pt idx="822">
                  <c:v>99.103999999999999</c:v>
                </c:pt>
                <c:pt idx="823">
                  <c:v>99.103999999999999</c:v>
                </c:pt>
                <c:pt idx="824">
                  <c:v>99.103999999999999</c:v>
                </c:pt>
                <c:pt idx="825">
                  <c:v>99.103999999999999</c:v>
                </c:pt>
                <c:pt idx="826">
                  <c:v>99.909000000000006</c:v>
                </c:pt>
                <c:pt idx="827">
                  <c:v>99.909000000000006</c:v>
                </c:pt>
                <c:pt idx="828">
                  <c:v>99.909000000000006</c:v>
                </c:pt>
                <c:pt idx="829">
                  <c:v>99.909000000000006</c:v>
                </c:pt>
                <c:pt idx="830">
                  <c:v>99.909000000000006</c:v>
                </c:pt>
                <c:pt idx="831">
                  <c:v>99.613</c:v>
                </c:pt>
                <c:pt idx="832">
                  <c:v>99.613</c:v>
                </c:pt>
                <c:pt idx="833">
                  <c:v>99.613</c:v>
                </c:pt>
                <c:pt idx="834">
                  <c:v>99.613</c:v>
                </c:pt>
                <c:pt idx="835">
                  <c:v>99.613</c:v>
                </c:pt>
                <c:pt idx="836">
                  <c:v>99.468000000000004</c:v>
                </c:pt>
                <c:pt idx="837">
                  <c:v>99.468000000000004</c:v>
                </c:pt>
                <c:pt idx="838">
                  <c:v>99.468000000000004</c:v>
                </c:pt>
                <c:pt idx="839">
                  <c:v>99.468000000000004</c:v>
                </c:pt>
                <c:pt idx="840">
                  <c:v>99.468000000000004</c:v>
                </c:pt>
                <c:pt idx="841">
                  <c:v>99.628</c:v>
                </c:pt>
                <c:pt idx="842">
                  <c:v>99.628</c:v>
                </c:pt>
                <c:pt idx="843">
                  <c:v>99.628</c:v>
                </c:pt>
                <c:pt idx="844">
                  <c:v>99.628</c:v>
                </c:pt>
                <c:pt idx="845">
                  <c:v>99.628</c:v>
                </c:pt>
                <c:pt idx="846">
                  <c:v>99.643000000000001</c:v>
                </c:pt>
                <c:pt idx="847">
                  <c:v>99.643000000000001</c:v>
                </c:pt>
                <c:pt idx="848">
                  <c:v>99.643000000000001</c:v>
                </c:pt>
                <c:pt idx="849">
                  <c:v>99.643000000000001</c:v>
                </c:pt>
                <c:pt idx="850">
                  <c:v>99.643000000000001</c:v>
                </c:pt>
                <c:pt idx="851">
                  <c:v>100.88800000000001</c:v>
                </c:pt>
                <c:pt idx="852">
                  <c:v>100.88800000000001</c:v>
                </c:pt>
                <c:pt idx="853">
                  <c:v>100.88800000000001</c:v>
                </c:pt>
                <c:pt idx="854">
                  <c:v>100.88800000000001</c:v>
                </c:pt>
                <c:pt idx="855">
                  <c:v>100.88800000000001</c:v>
                </c:pt>
                <c:pt idx="856">
                  <c:v>101.116</c:v>
                </c:pt>
                <c:pt idx="857">
                  <c:v>101.116</c:v>
                </c:pt>
                <c:pt idx="858">
                  <c:v>101.116</c:v>
                </c:pt>
                <c:pt idx="859">
                  <c:v>101.116</c:v>
                </c:pt>
                <c:pt idx="860">
                  <c:v>101.116</c:v>
                </c:pt>
                <c:pt idx="861">
                  <c:v>101.071</c:v>
                </c:pt>
                <c:pt idx="862">
                  <c:v>101.071</c:v>
                </c:pt>
                <c:pt idx="863">
                  <c:v>101.071</c:v>
                </c:pt>
                <c:pt idx="864">
                  <c:v>101.071</c:v>
                </c:pt>
                <c:pt idx="865">
                  <c:v>101.071</c:v>
                </c:pt>
                <c:pt idx="866">
                  <c:v>100.858</c:v>
                </c:pt>
                <c:pt idx="867">
                  <c:v>100.858</c:v>
                </c:pt>
                <c:pt idx="868">
                  <c:v>100.858</c:v>
                </c:pt>
                <c:pt idx="869">
                  <c:v>100.858</c:v>
                </c:pt>
                <c:pt idx="870">
                  <c:v>100.858</c:v>
                </c:pt>
                <c:pt idx="871">
                  <c:v>102.233</c:v>
                </c:pt>
                <c:pt idx="872">
                  <c:v>102.233</c:v>
                </c:pt>
                <c:pt idx="873">
                  <c:v>102.233</c:v>
                </c:pt>
                <c:pt idx="874">
                  <c:v>102.233</c:v>
                </c:pt>
                <c:pt idx="875">
                  <c:v>102.233</c:v>
                </c:pt>
                <c:pt idx="876">
                  <c:v>102.673</c:v>
                </c:pt>
                <c:pt idx="877">
                  <c:v>102.673</c:v>
                </c:pt>
                <c:pt idx="878">
                  <c:v>102.673</c:v>
                </c:pt>
                <c:pt idx="879">
                  <c:v>102.673</c:v>
                </c:pt>
                <c:pt idx="880">
                  <c:v>102.673</c:v>
                </c:pt>
                <c:pt idx="881">
                  <c:v>102.41500000000001</c:v>
                </c:pt>
                <c:pt idx="882">
                  <c:v>102.41500000000001</c:v>
                </c:pt>
                <c:pt idx="883">
                  <c:v>102.41500000000001</c:v>
                </c:pt>
                <c:pt idx="884">
                  <c:v>102.41500000000001</c:v>
                </c:pt>
                <c:pt idx="885">
                  <c:v>102.41500000000001</c:v>
                </c:pt>
                <c:pt idx="886">
                  <c:v>101.83799999999999</c:v>
                </c:pt>
                <c:pt idx="887">
                  <c:v>101.83799999999999</c:v>
                </c:pt>
                <c:pt idx="888">
                  <c:v>101.83799999999999</c:v>
                </c:pt>
                <c:pt idx="889">
                  <c:v>101.83799999999999</c:v>
                </c:pt>
                <c:pt idx="890">
                  <c:v>101.83799999999999</c:v>
                </c:pt>
                <c:pt idx="891">
                  <c:v>103.00700000000001</c:v>
                </c:pt>
                <c:pt idx="892">
                  <c:v>103.00700000000001</c:v>
                </c:pt>
                <c:pt idx="893">
                  <c:v>103.00700000000001</c:v>
                </c:pt>
                <c:pt idx="894">
                  <c:v>103.00700000000001</c:v>
                </c:pt>
                <c:pt idx="895">
                  <c:v>103.00700000000001</c:v>
                </c:pt>
                <c:pt idx="896">
                  <c:v>102.779</c:v>
                </c:pt>
                <c:pt idx="897">
                  <c:v>102.779</c:v>
                </c:pt>
                <c:pt idx="898">
                  <c:v>102.779</c:v>
                </c:pt>
                <c:pt idx="899">
                  <c:v>102.779</c:v>
                </c:pt>
                <c:pt idx="900">
                  <c:v>102.779</c:v>
                </c:pt>
                <c:pt idx="901">
                  <c:v>105.718</c:v>
                </c:pt>
                <c:pt idx="902">
                  <c:v>105.718</c:v>
                </c:pt>
                <c:pt idx="903">
                  <c:v>105.718</c:v>
                </c:pt>
                <c:pt idx="904">
                  <c:v>105.718</c:v>
                </c:pt>
                <c:pt idx="905">
                  <c:v>105.718</c:v>
                </c:pt>
                <c:pt idx="906">
                  <c:v>105.733</c:v>
                </c:pt>
                <c:pt idx="907">
                  <c:v>105.733</c:v>
                </c:pt>
                <c:pt idx="908">
                  <c:v>105.733</c:v>
                </c:pt>
                <c:pt idx="909">
                  <c:v>105.733</c:v>
                </c:pt>
                <c:pt idx="910">
                  <c:v>105.733</c:v>
                </c:pt>
                <c:pt idx="911">
                  <c:v>105.999</c:v>
                </c:pt>
                <c:pt idx="912">
                  <c:v>105.999</c:v>
                </c:pt>
                <c:pt idx="913">
                  <c:v>105.999</c:v>
                </c:pt>
                <c:pt idx="914">
                  <c:v>105.999</c:v>
                </c:pt>
                <c:pt idx="915">
                  <c:v>105.999</c:v>
                </c:pt>
                <c:pt idx="916">
                  <c:v>106.705</c:v>
                </c:pt>
                <c:pt idx="917">
                  <c:v>106.705</c:v>
                </c:pt>
                <c:pt idx="918">
                  <c:v>106.705</c:v>
                </c:pt>
                <c:pt idx="919">
                  <c:v>106.705</c:v>
                </c:pt>
                <c:pt idx="920">
                  <c:v>106.705</c:v>
                </c:pt>
                <c:pt idx="921">
                  <c:v>106.31</c:v>
                </c:pt>
                <c:pt idx="922">
                  <c:v>106.31</c:v>
                </c:pt>
                <c:pt idx="923">
                  <c:v>106.31</c:v>
                </c:pt>
                <c:pt idx="924">
                  <c:v>106.31</c:v>
                </c:pt>
                <c:pt idx="925">
                  <c:v>106.31</c:v>
                </c:pt>
                <c:pt idx="926">
                  <c:v>105.938</c:v>
                </c:pt>
                <c:pt idx="927">
                  <c:v>105.938</c:v>
                </c:pt>
                <c:pt idx="928">
                  <c:v>105.938</c:v>
                </c:pt>
                <c:pt idx="929">
                  <c:v>105.938</c:v>
                </c:pt>
                <c:pt idx="930">
                  <c:v>105.938</c:v>
                </c:pt>
                <c:pt idx="931">
                  <c:v>105.756</c:v>
                </c:pt>
                <c:pt idx="932">
                  <c:v>105.756</c:v>
                </c:pt>
                <c:pt idx="933">
                  <c:v>105.756</c:v>
                </c:pt>
                <c:pt idx="934">
                  <c:v>105.756</c:v>
                </c:pt>
                <c:pt idx="935">
                  <c:v>105.756</c:v>
                </c:pt>
                <c:pt idx="936">
                  <c:v>106.90300000000001</c:v>
                </c:pt>
                <c:pt idx="937">
                  <c:v>106.90300000000001</c:v>
                </c:pt>
                <c:pt idx="938">
                  <c:v>106.90300000000001</c:v>
                </c:pt>
                <c:pt idx="939">
                  <c:v>106.90300000000001</c:v>
                </c:pt>
                <c:pt idx="940">
                  <c:v>106.90300000000001</c:v>
                </c:pt>
                <c:pt idx="941">
                  <c:v>107.52500000000001</c:v>
                </c:pt>
                <c:pt idx="942">
                  <c:v>107.52500000000001</c:v>
                </c:pt>
                <c:pt idx="943">
                  <c:v>107.52500000000001</c:v>
                </c:pt>
                <c:pt idx="944">
                  <c:v>107.52500000000001</c:v>
                </c:pt>
                <c:pt idx="945">
                  <c:v>107.52500000000001</c:v>
                </c:pt>
                <c:pt idx="946">
                  <c:v>107.745</c:v>
                </c:pt>
                <c:pt idx="947">
                  <c:v>107.745</c:v>
                </c:pt>
                <c:pt idx="948">
                  <c:v>107.745</c:v>
                </c:pt>
                <c:pt idx="949">
                  <c:v>107.745</c:v>
                </c:pt>
                <c:pt idx="950">
                  <c:v>107.745</c:v>
                </c:pt>
                <c:pt idx="951">
                  <c:v>107.84399999999999</c:v>
                </c:pt>
                <c:pt idx="952">
                  <c:v>107.84399999999999</c:v>
                </c:pt>
                <c:pt idx="953">
                  <c:v>107.84399999999999</c:v>
                </c:pt>
                <c:pt idx="954">
                  <c:v>107.84399999999999</c:v>
                </c:pt>
                <c:pt idx="955">
                  <c:v>107.84399999999999</c:v>
                </c:pt>
                <c:pt idx="956">
                  <c:v>107.282</c:v>
                </c:pt>
                <c:pt idx="957">
                  <c:v>107.282</c:v>
                </c:pt>
                <c:pt idx="958">
                  <c:v>107.282</c:v>
                </c:pt>
                <c:pt idx="959">
                  <c:v>107.282</c:v>
                </c:pt>
                <c:pt idx="960">
                  <c:v>107.282</c:v>
                </c:pt>
                <c:pt idx="961">
                  <c:v>108.474</c:v>
                </c:pt>
                <c:pt idx="962">
                  <c:v>108.474</c:v>
                </c:pt>
                <c:pt idx="963">
                  <c:v>108.474</c:v>
                </c:pt>
                <c:pt idx="964">
                  <c:v>108.474</c:v>
                </c:pt>
                <c:pt idx="965">
                  <c:v>108.474</c:v>
                </c:pt>
                <c:pt idx="966">
                  <c:v>108.801</c:v>
                </c:pt>
                <c:pt idx="967">
                  <c:v>108.801</c:v>
                </c:pt>
                <c:pt idx="968">
                  <c:v>108.801</c:v>
                </c:pt>
                <c:pt idx="969">
                  <c:v>108.801</c:v>
                </c:pt>
                <c:pt idx="970">
                  <c:v>108.801</c:v>
                </c:pt>
                <c:pt idx="971">
                  <c:v>109.06699999999999</c:v>
                </c:pt>
                <c:pt idx="972">
                  <c:v>109.06699999999999</c:v>
                </c:pt>
                <c:pt idx="973">
                  <c:v>109.06699999999999</c:v>
                </c:pt>
                <c:pt idx="974">
                  <c:v>109.06699999999999</c:v>
                </c:pt>
                <c:pt idx="975">
                  <c:v>109.06699999999999</c:v>
                </c:pt>
                <c:pt idx="976">
                  <c:v>109.5</c:v>
                </c:pt>
                <c:pt idx="977">
                  <c:v>109.5</c:v>
                </c:pt>
                <c:pt idx="978">
                  <c:v>109.5</c:v>
                </c:pt>
                <c:pt idx="979">
                  <c:v>109.5</c:v>
                </c:pt>
                <c:pt idx="980">
                  <c:v>109.5</c:v>
                </c:pt>
                <c:pt idx="981">
                  <c:v>110.312</c:v>
                </c:pt>
                <c:pt idx="982">
                  <c:v>110.312</c:v>
                </c:pt>
                <c:pt idx="983">
                  <c:v>110.312</c:v>
                </c:pt>
                <c:pt idx="984">
                  <c:v>110.312</c:v>
                </c:pt>
                <c:pt idx="985">
                  <c:v>110.312</c:v>
                </c:pt>
                <c:pt idx="986">
                  <c:v>109.819</c:v>
                </c:pt>
                <c:pt idx="987">
                  <c:v>109.819</c:v>
                </c:pt>
                <c:pt idx="988">
                  <c:v>109.819</c:v>
                </c:pt>
                <c:pt idx="989">
                  <c:v>109.819</c:v>
                </c:pt>
                <c:pt idx="990">
                  <c:v>109.819</c:v>
                </c:pt>
                <c:pt idx="991">
                  <c:v>109.97799999999999</c:v>
                </c:pt>
                <c:pt idx="992">
                  <c:v>109.97799999999999</c:v>
                </c:pt>
                <c:pt idx="993">
                  <c:v>109.97799999999999</c:v>
                </c:pt>
                <c:pt idx="994">
                  <c:v>109.97799999999999</c:v>
                </c:pt>
                <c:pt idx="995">
                  <c:v>109.97799999999999</c:v>
                </c:pt>
                <c:pt idx="996">
                  <c:v>109.78100000000001</c:v>
                </c:pt>
                <c:pt idx="997">
                  <c:v>109.78100000000001</c:v>
                </c:pt>
                <c:pt idx="998">
                  <c:v>109.78100000000001</c:v>
                </c:pt>
                <c:pt idx="999">
                  <c:v>109.78100000000001</c:v>
                </c:pt>
                <c:pt idx="1000">
                  <c:v>109.78100000000001</c:v>
                </c:pt>
                <c:pt idx="1001">
                  <c:v>110.89700000000001</c:v>
                </c:pt>
                <c:pt idx="1002">
                  <c:v>110.89700000000001</c:v>
                </c:pt>
                <c:pt idx="1003">
                  <c:v>110.89700000000001</c:v>
                </c:pt>
                <c:pt idx="1004">
                  <c:v>110.89700000000001</c:v>
                </c:pt>
                <c:pt idx="1005">
                  <c:v>110.89700000000001</c:v>
                </c:pt>
                <c:pt idx="1006">
                  <c:v>110.517</c:v>
                </c:pt>
                <c:pt idx="1007">
                  <c:v>110.517</c:v>
                </c:pt>
                <c:pt idx="1008">
                  <c:v>110.517</c:v>
                </c:pt>
                <c:pt idx="1009">
                  <c:v>110.517</c:v>
                </c:pt>
                <c:pt idx="1010">
                  <c:v>110.517</c:v>
                </c:pt>
                <c:pt idx="1011">
                  <c:v>109.94</c:v>
                </c:pt>
                <c:pt idx="1012">
                  <c:v>109.94</c:v>
                </c:pt>
                <c:pt idx="1013">
                  <c:v>109.94</c:v>
                </c:pt>
                <c:pt idx="1014">
                  <c:v>109.94</c:v>
                </c:pt>
                <c:pt idx="1015">
                  <c:v>109.94</c:v>
                </c:pt>
                <c:pt idx="1016">
                  <c:v>110.137</c:v>
                </c:pt>
                <c:pt idx="1017">
                  <c:v>110.137</c:v>
                </c:pt>
                <c:pt idx="1018">
                  <c:v>110.137</c:v>
                </c:pt>
                <c:pt idx="1019">
                  <c:v>110.137</c:v>
                </c:pt>
                <c:pt idx="1020">
                  <c:v>110.137</c:v>
                </c:pt>
                <c:pt idx="1021">
                  <c:v>109.735</c:v>
                </c:pt>
                <c:pt idx="1022">
                  <c:v>109.735</c:v>
                </c:pt>
                <c:pt idx="1023">
                  <c:v>109.735</c:v>
                </c:pt>
                <c:pt idx="1024">
                  <c:v>109.735</c:v>
                </c:pt>
                <c:pt idx="1025">
                  <c:v>109.735</c:v>
                </c:pt>
                <c:pt idx="1026">
                  <c:v>111.04900000000001</c:v>
                </c:pt>
                <c:pt idx="1027">
                  <c:v>111.04900000000001</c:v>
                </c:pt>
                <c:pt idx="1028">
                  <c:v>111.04900000000001</c:v>
                </c:pt>
                <c:pt idx="1029">
                  <c:v>111.04900000000001</c:v>
                </c:pt>
                <c:pt idx="1030">
                  <c:v>111.04900000000001</c:v>
                </c:pt>
                <c:pt idx="1031">
                  <c:v>111.071</c:v>
                </c:pt>
                <c:pt idx="1032">
                  <c:v>111.071</c:v>
                </c:pt>
                <c:pt idx="1033">
                  <c:v>111.071</c:v>
                </c:pt>
                <c:pt idx="1034">
                  <c:v>111.071</c:v>
                </c:pt>
                <c:pt idx="1035">
                  <c:v>111.071</c:v>
                </c:pt>
                <c:pt idx="1036">
                  <c:v>110.783</c:v>
                </c:pt>
                <c:pt idx="1037">
                  <c:v>110.783</c:v>
                </c:pt>
                <c:pt idx="1038">
                  <c:v>110.783</c:v>
                </c:pt>
                <c:pt idx="1039">
                  <c:v>110.783</c:v>
                </c:pt>
                <c:pt idx="1040">
                  <c:v>110.783</c:v>
                </c:pt>
                <c:pt idx="1041">
                  <c:v>110.699</c:v>
                </c:pt>
                <c:pt idx="1042">
                  <c:v>110.699</c:v>
                </c:pt>
                <c:pt idx="1043">
                  <c:v>110.699</c:v>
                </c:pt>
                <c:pt idx="1044">
                  <c:v>110.699</c:v>
                </c:pt>
                <c:pt idx="1045">
                  <c:v>110.699</c:v>
                </c:pt>
                <c:pt idx="1046">
                  <c:v>111.23099999999999</c:v>
                </c:pt>
                <c:pt idx="1047">
                  <c:v>111.23099999999999</c:v>
                </c:pt>
                <c:pt idx="1048">
                  <c:v>111.23099999999999</c:v>
                </c:pt>
                <c:pt idx="1049">
                  <c:v>111.23099999999999</c:v>
                </c:pt>
                <c:pt idx="1050">
                  <c:v>111.23099999999999</c:v>
                </c:pt>
                <c:pt idx="1051">
                  <c:v>111.041</c:v>
                </c:pt>
                <c:pt idx="1052">
                  <c:v>111.041</c:v>
                </c:pt>
                <c:pt idx="1053">
                  <c:v>111.041</c:v>
                </c:pt>
                <c:pt idx="1054">
                  <c:v>111.041</c:v>
                </c:pt>
                <c:pt idx="1055">
                  <c:v>111.041</c:v>
                </c:pt>
                <c:pt idx="1056">
                  <c:v>110.38800000000001</c:v>
                </c:pt>
                <c:pt idx="1057">
                  <c:v>110.38800000000001</c:v>
                </c:pt>
                <c:pt idx="1058">
                  <c:v>110.38800000000001</c:v>
                </c:pt>
                <c:pt idx="1059">
                  <c:v>110.38800000000001</c:v>
                </c:pt>
                <c:pt idx="1060">
                  <c:v>110.38800000000001</c:v>
                </c:pt>
                <c:pt idx="1061">
                  <c:v>110.52500000000001</c:v>
                </c:pt>
                <c:pt idx="1062">
                  <c:v>110.52500000000001</c:v>
                </c:pt>
                <c:pt idx="1063">
                  <c:v>110.52500000000001</c:v>
                </c:pt>
                <c:pt idx="1064">
                  <c:v>110.52500000000001</c:v>
                </c:pt>
                <c:pt idx="1065">
                  <c:v>110.52500000000001</c:v>
                </c:pt>
                <c:pt idx="1066">
                  <c:v>110.267</c:v>
                </c:pt>
                <c:pt idx="1067">
                  <c:v>110.267</c:v>
                </c:pt>
                <c:pt idx="1068">
                  <c:v>110.267</c:v>
                </c:pt>
                <c:pt idx="1069">
                  <c:v>110.267</c:v>
                </c:pt>
                <c:pt idx="1070">
                  <c:v>110.267</c:v>
                </c:pt>
                <c:pt idx="1071">
                  <c:v>109.378</c:v>
                </c:pt>
                <c:pt idx="1072">
                  <c:v>109.378</c:v>
                </c:pt>
                <c:pt idx="1073">
                  <c:v>109.378</c:v>
                </c:pt>
                <c:pt idx="1074">
                  <c:v>109.378</c:v>
                </c:pt>
                <c:pt idx="1075">
                  <c:v>109.378</c:v>
                </c:pt>
                <c:pt idx="1076">
                  <c:v>109.492</c:v>
                </c:pt>
                <c:pt idx="1077">
                  <c:v>109.492</c:v>
                </c:pt>
                <c:pt idx="1078">
                  <c:v>109.492</c:v>
                </c:pt>
                <c:pt idx="1079">
                  <c:v>109.492</c:v>
                </c:pt>
                <c:pt idx="1080">
                  <c:v>109.492</c:v>
                </c:pt>
                <c:pt idx="1081">
                  <c:v>110.282</c:v>
                </c:pt>
                <c:pt idx="1082">
                  <c:v>110.282</c:v>
                </c:pt>
                <c:pt idx="1083">
                  <c:v>110.282</c:v>
                </c:pt>
                <c:pt idx="1084">
                  <c:v>110.282</c:v>
                </c:pt>
                <c:pt idx="1085">
                  <c:v>110.282</c:v>
                </c:pt>
                <c:pt idx="1086">
                  <c:v>109.667</c:v>
                </c:pt>
                <c:pt idx="1087">
                  <c:v>109.667</c:v>
                </c:pt>
                <c:pt idx="1088">
                  <c:v>109.667</c:v>
                </c:pt>
                <c:pt idx="1089">
                  <c:v>109.667</c:v>
                </c:pt>
                <c:pt idx="1090">
                  <c:v>109.667</c:v>
                </c:pt>
                <c:pt idx="1091">
                  <c:v>109.08199999999999</c:v>
                </c:pt>
                <c:pt idx="1092">
                  <c:v>109.08199999999999</c:v>
                </c:pt>
                <c:pt idx="1093">
                  <c:v>109.08199999999999</c:v>
                </c:pt>
                <c:pt idx="1094">
                  <c:v>109.08199999999999</c:v>
                </c:pt>
                <c:pt idx="1095">
                  <c:v>109.08199999999999</c:v>
                </c:pt>
                <c:pt idx="1096">
                  <c:v>109.31</c:v>
                </c:pt>
                <c:pt idx="1097">
                  <c:v>109.31</c:v>
                </c:pt>
                <c:pt idx="1098">
                  <c:v>109.31</c:v>
                </c:pt>
                <c:pt idx="1099">
                  <c:v>109.31</c:v>
                </c:pt>
                <c:pt idx="1100">
                  <c:v>109.31</c:v>
                </c:pt>
                <c:pt idx="1101">
                  <c:v>109.758</c:v>
                </c:pt>
                <c:pt idx="1102">
                  <c:v>109.758</c:v>
                </c:pt>
                <c:pt idx="1103">
                  <c:v>109.758</c:v>
                </c:pt>
                <c:pt idx="1104">
                  <c:v>109.758</c:v>
                </c:pt>
                <c:pt idx="1105">
                  <c:v>109.758</c:v>
                </c:pt>
                <c:pt idx="1106">
                  <c:v>109.477</c:v>
                </c:pt>
                <c:pt idx="1107">
                  <c:v>109.477</c:v>
                </c:pt>
                <c:pt idx="1108">
                  <c:v>109.477</c:v>
                </c:pt>
                <c:pt idx="1109">
                  <c:v>109.477</c:v>
                </c:pt>
                <c:pt idx="1110">
                  <c:v>109.477</c:v>
                </c:pt>
                <c:pt idx="1111">
                  <c:v>110.874</c:v>
                </c:pt>
                <c:pt idx="1112">
                  <c:v>110.874</c:v>
                </c:pt>
                <c:pt idx="1113">
                  <c:v>110.874</c:v>
                </c:pt>
                <c:pt idx="1114">
                  <c:v>110.874</c:v>
                </c:pt>
                <c:pt idx="1115">
                  <c:v>110.874</c:v>
                </c:pt>
                <c:pt idx="1116">
                  <c:v>110.73</c:v>
                </c:pt>
                <c:pt idx="1117">
                  <c:v>110.73</c:v>
                </c:pt>
                <c:pt idx="1118">
                  <c:v>110.73</c:v>
                </c:pt>
                <c:pt idx="1119">
                  <c:v>110.73</c:v>
                </c:pt>
                <c:pt idx="1120">
                  <c:v>110.73</c:v>
                </c:pt>
                <c:pt idx="1121">
                  <c:v>111.13200000000001</c:v>
                </c:pt>
                <c:pt idx="1122">
                  <c:v>111.13200000000001</c:v>
                </c:pt>
                <c:pt idx="1123">
                  <c:v>111.13200000000001</c:v>
                </c:pt>
                <c:pt idx="1124">
                  <c:v>111.13200000000001</c:v>
                </c:pt>
                <c:pt idx="1125">
                  <c:v>111.13200000000001</c:v>
                </c:pt>
                <c:pt idx="1126">
                  <c:v>110.92</c:v>
                </c:pt>
                <c:pt idx="1127">
                  <c:v>110.92</c:v>
                </c:pt>
                <c:pt idx="1128">
                  <c:v>110.92</c:v>
                </c:pt>
                <c:pt idx="1129">
                  <c:v>110.92</c:v>
                </c:pt>
                <c:pt idx="1130">
                  <c:v>110.92</c:v>
                </c:pt>
                <c:pt idx="1131">
                  <c:v>112.066</c:v>
                </c:pt>
                <c:pt idx="1132">
                  <c:v>112.066</c:v>
                </c:pt>
                <c:pt idx="1133">
                  <c:v>112.066</c:v>
                </c:pt>
                <c:pt idx="1134">
                  <c:v>112.066</c:v>
                </c:pt>
                <c:pt idx="1135">
                  <c:v>112.066</c:v>
                </c:pt>
                <c:pt idx="1136">
                  <c:v>112.355</c:v>
                </c:pt>
                <c:pt idx="1137">
                  <c:v>112.355</c:v>
                </c:pt>
                <c:pt idx="1138">
                  <c:v>112.355</c:v>
                </c:pt>
                <c:pt idx="1139">
                  <c:v>112.355</c:v>
                </c:pt>
                <c:pt idx="1140">
                  <c:v>112.355</c:v>
                </c:pt>
                <c:pt idx="1141">
                  <c:v>112.423</c:v>
                </c:pt>
                <c:pt idx="1142">
                  <c:v>112.423</c:v>
                </c:pt>
                <c:pt idx="1143">
                  <c:v>112.423</c:v>
                </c:pt>
                <c:pt idx="1144">
                  <c:v>112.423</c:v>
                </c:pt>
                <c:pt idx="1145">
                  <c:v>112.423</c:v>
                </c:pt>
                <c:pt idx="1146">
                  <c:v>112.491</c:v>
                </c:pt>
                <c:pt idx="1147">
                  <c:v>112.491</c:v>
                </c:pt>
                <c:pt idx="1148">
                  <c:v>112.491</c:v>
                </c:pt>
                <c:pt idx="1149">
                  <c:v>112.491</c:v>
                </c:pt>
                <c:pt idx="1150">
                  <c:v>112.491</c:v>
                </c:pt>
                <c:pt idx="1151">
                  <c:v>112.75</c:v>
                </c:pt>
                <c:pt idx="1152">
                  <c:v>112.75</c:v>
                </c:pt>
                <c:pt idx="1153">
                  <c:v>112.75</c:v>
                </c:pt>
                <c:pt idx="1154">
                  <c:v>112.75</c:v>
                </c:pt>
                <c:pt idx="1155">
                  <c:v>112.75</c:v>
                </c:pt>
                <c:pt idx="1156">
                  <c:v>113.494</c:v>
                </c:pt>
                <c:pt idx="1157">
                  <c:v>113.494</c:v>
                </c:pt>
                <c:pt idx="1158">
                  <c:v>113.494</c:v>
                </c:pt>
                <c:pt idx="1159">
                  <c:v>113.494</c:v>
                </c:pt>
                <c:pt idx="1160">
                  <c:v>113.494</c:v>
                </c:pt>
                <c:pt idx="1161">
                  <c:v>113.182</c:v>
                </c:pt>
                <c:pt idx="1162">
                  <c:v>113.182</c:v>
                </c:pt>
                <c:pt idx="1163">
                  <c:v>113.182</c:v>
                </c:pt>
                <c:pt idx="1164">
                  <c:v>113.182</c:v>
                </c:pt>
                <c:pt idx="1165">
                  <c:v>113.182</c:v>
                </c:pt>
                <c:pt idx="1166">
                  <c:v>113.55500000000001</c:v>
                </c:pt>
                <c:pt idx="1167">
                  <c:v>113.55500000000001</c:v>
                </c:pt>
                <c:pt idx="1168">
                  <c:v>113.55500000000001</c:v>
                </c:pt>
                <c:pt idx="1169">
                  <c:v>113.55500000000001</c:v>
                </c:pt>
                <c:pt idx="1170">
                  <c:v>113.55500000000001</c:v>
                </c:pt>
                <c:pt idx="1171">
                  <c:v>113.19799999999999</c:v>
                </c:pt>
                <c:pt idx="1172">
                  <c:v>113.19799999999999</c:v>
                </c:pt>
                <c:pt idx="1173">
                  <c:v>113.19799999999999</c:v>
                </c:pt>
                <c:pt idx="1174">
                  <c:v>113.19799999999999</c:v>
                </c:pt>
                <c:pt idx="1175">
                  <c:v>113.19799999999999</c:v>
                </c:pt>
                <c:pt idx="1176">
                  <c:v>114.253</c:v>
                </c:pt>
                <c:pt idx="1177">
                  <c:v>114.253</c:v>
                </c:pt>
                <c:pt idx="1178">
                  <c:v>114.253</c:v>
                </c:pt>
                <c:pt idx="1179">
                  <c:v>114.253</c:v>
                </c:pt>
                <c:pt idx="1180">
                  <c:v>114.253</c:v>
                </c:pt>
                <c:pt idx="1181">
                  <c:v>113.82</c:v>
                </c:pt>
                <c:pt idx="1182">
                  <c:v>113.82</c:v>
                </c:pt>
                <c:pt idx="1183">
                  <c:v>113.82</c:v>
                </c:pt>
                <c:pt idx="1184">
                  <c:v>113.82</c:v>
                </c:pt>
                <c:pt idx="1185">
                  <c:v>113.82</c:v>
                </c:pt>
                <c:pt idx="1186">
                  <c:v>113.441</c:v>
                </c:pt>
                <c:pt idx="1187">
                  <c:v>113.441</c:v>
                </c:pt>
                <c:pt idx="1188">
                  <c:v>113.441</c:v>
                </c:pt>
                <c:pt idx="1189">
                  <c:v>113.441</c:v>
                </c:pt>
                <c:pt idx="1190">
                  <c:v>113.441</c:v>
                </c:pt>
                <c:pt idx="1191">
                  <c:v>113.22799999999999</c:v>
                </c:pt>
                <c:pt idx="1192">
                  <c:v>113.22799999999999</c:v>
                </c:pt>
                <c:pt idx="1193">
                  <c:v>113.22799999999999</c:v>
                </c:pt>
                <c:pt idx="1194">
                  <c:v>113.22799999999999</c:v>
                </c:pt>
                <c:pt idx="1195">
                  <c:v>113.22799999999999</c:v>
                </c:pt>
                <c:pt idx="1196">
                  <c:v>114.291</c:v>
                </c:pt>
                <c:pt idx="1197">
                  <c:v>114.291</c:v>
                </c:pt>
                <c:pt idx="1198">
                  <c:v>114.291</c:v>
                </c:pt>
                <c:pt idx="1199">
                  <c:v>114.291</c:v>
                </c:pt>
                <c:pt idx="1200">
                  <c:v>114.291</c:v>
                </c:pt>
                <c:pt idx="1201">
                  <c:v>114.602</c:v>
                </c:pt>
                <c:pt idx="1202">
                  <c:v>114.602</c:v>
                </c:pt>
                <c:pt idx="1203">
                  <c:v>114.602</c:v>
                </c:pt>
                <c:pt idx="1204">
                  <c:v>114.602</c:v>
                </c:pt>
                <c:pt idx="1205">
                  <c:v>114.602</c:v>
                </c:pt>
                <c:pt idx="1206">
                  <c:v>115.05800000000001</c:v>
                </c:pt>
                <c:pt idx="1207">
                  <c:v>115.05800000000001</c:v>
                </c:pt>
                <c:pt idx="1208">
                  <c:v>115.05800000000001</c:v>
                </c:pt>
                <c:pt idx="1209">
                  <c:v>115.05800000000001</c:v>
                </c:pt>
                <c:pt idx="1210">
                  <c:v>115.05800000000001</c:v>
                </c:pt>
                <c:pt idx="1211">
                  <c:v>114.587</c:v>
                </c:pt>
                <c:pt idx="1212">
                  <c:v>114.587</c:v>
                </c:pt>
                <c:pt idx="1213">
                  <c:v>114.587</c:v>
                </c:pt>
                <c:pt idx="1214">
                  <c:v>114.587</c:v>
                </c:pt>
                <c:pt idx="1215">
                  <c:v>114.587</c:v>
                </c:pt>
                <c:pt idx="1216">
                  <c:v>113.934</c:v>
                </c:pt>
                <c:pt idx="1217">
                  <c:v>113.934</c:v>
                </c:pt>
                <c:pt idx="1218">
                  <c:v>113.934</c:v>
                </c:pt>
                <c:pt idx="1219">
                  <c:v>113.934</c:v>
                </c:pt>
                <c:pt idx="1220">
                  <c:v>113.934</c:v>
                </c:pt>
                <c:pt idx="1221">
                  <c:v>115.438</c:v>
                </c:pt>
                <c:pt idx="1222">
                  <c:v>115.438</c:v>
                </c:pt>
                <c:pt idx="1223">
                  <c:v>115.438</c:v>
                </c:pt>
                <c:pt idx="1224">
                  <c:v>115.438</c:v>
                </c:pt>
                <c:pt idx="1225">
                  <c:v>115.438</c:v>
                </c:pt>
                <c:pt idx="1226">
                  <c:v>115.65</c:v>
                </c:pt>
                <c:pt idx="1227">
                  <c:v>115.65</c:v>
                </c:pt>
                <c:pt idx="1228">
                  <c:v>115.65</c:v>
                </c:pt>
                <c:pt idx="1229">
                  <c:v>115.65</c:v>
                </c:pt>
                <c:pt idx="1230">
                  <c:v>115.65</c:v>
                </c:pt>
                <c:pt idx="1231">
                  <c:v>115.605</c:v>
                </c:pt>
                <c:pt idx="1232">
                  <c:v>115.605</c:v>
                </c:pt>
                <c:pt idx="1233">
                  <c:v>115.605</c:v>
                </c:pt>
                <c:pt idx="1234">
                  <c:v>115.605</c:v>
                </c:pt>
                <c:pt idx="1235">
                  <c:v>115.605</c:v>
                </c:pt>
                <c:pt idx="1236">
                  <c:v>115.324</c:v>
                </c:pt>
                <c:pt idx="1237">
                  <c:v>115.324</c:v>
                </c:pt>
                <c:pt idx="1238">
                  <c:v>115.324</c:v>
                </c:pt>
                <c:pt idx="1239">
                  <c:v>115.324</c:v>
                </c:pt>
                <c:pt idx="1240">
                  <c:v>115.324</c:v>
                </c:pt>
                <c:pt idx="1241">
                  <c:v>116.402</c:v>
                </c:pt>
                <c:pt idx="1242">
                  <c:v>116.402</c:v>
                </c:pt>
                <c:pt idx="1243">
                  <c:v>116.402</c:v>
                </c:pt>
                <c:pt idx="1244">
                  <c:v>116.402</c:v>
                </c:pt>
                <c:pt idx="1245">
                  <c:v>116.402</c:v>
                </c:pt>
                <c:pt idx="1246">
                  <c:v>116.455</c:v>
                </c:pt>
                <c:pt idx="1247">
                  <c:v>116.455</c:v>
                </c:pt>
                <c:pt idx="1248">
                  <c:v>116.455</c:v>
                </c:pt>
                <c:pt idx="1249">
                  <c:v>116.455</c:v>
                </c:pt>
                <c:pt idx="1250">
                  <c:v>116.455</c:v>
                </c:pt>
                <c:pt idx="1251">
                  <c:v>116.577</c:v>
                </c:pt>
                <c:pt idx="1252">
                  <c:v>116.577</c:v>
                </c:pt>
                <c:pt idx="1253">
                  <c:v>116.577</c:v>
                </c:pt>
                <c:pt idx="1254">
                  <c:v>116.577</c:v>
                </c:pt>
                <c:pt idx="1255">
                  <c:v>116.577</c:v>
                </c:pt>
                <c:pt idx="1256">
                  <c:v>116</c:v>
                </c:pt>
                <c:pt idx="1257">
                  <c:v>116</c:v>
                </c:pt>
                <c:pt idx="1258">
                  <c:v>116</c:v>
                </c:pt>
                <c:pt idx="1259">
                  <c:v>116</c:v>
                </c:pt>
                <c:pt idx="1260">
                  <c:v>116</c:v>
                </c:pt>
                <c:pt idx="1261">
                  <c:v>116.554</c:v>
                </c:pt>
                <c:pt idx="1262">
                  <c:v>116.554</c:v>
                </c:pt>
                <c:pt idx="1263">
                  <c:v>116.554</c:v>
                </c:pt>
                <c:pt idx="1264">
                  <c:v>116.554</c:v>
                </c:pt>
                <c:pt idx="1265">
                  <c:v>116.554</c:v>
                </c:pt>
                <c:pt idx="1266">
                  <c:v>116.71299999999999</c:v>
                </c:pt>
                <c:pt idx="1267">
                  <c:v>116.71299999999999</c:v>
                </c:pt>
                <c:pt idx="1268">
                  <c:v>116.71299999999999</c:v>
                </c:pt>
                <c:pt idx="1269">
                  <c:v>116.71299999999999</c:v>
                </c:pt>
                <c:pt idx="1270">
                  <c:v>116.71299999999999</c:v>
                </c:pt>
                <c:pt idx="1271">
                  <c:v>117.367</c:v>
                </c:pt>
                <c:pt idx="1272">
                  <c:v>117.367</c:v>
                </c:pt>
                <c:pt idx="1273">
                  <c:v>117.367</c:v>
                </c:pt>
                <c:pt idx="1274">
                  <c:v>117.367</c:v>
                </c:pt>
                <c:pt idx="1275">
                  <c:v>117.367</c:v>
                </c:pt>
                <c:pt idx="1276">
                  <c:v>116.51600000000001</c:v>
                </c:pt>
                <c:pt idx="1277">
                  <c:v>116.51600000000001</c:v>
                </c:pt>
                <c:pt idx="1278">
                  <c:v>116.51600000000001</c:v>
                </c:pt>
                <c:pt idx="1279">
                  <c:v>116.51600000000001</c:v>
                </c:pt>
                <c:pt idx="1280">
                  <c:v>116.51600000000001</c:v>
                </c:pt>
                <c:pt idx="1281">
                  <c:v>117.01</c:v>
                </c:pt>
                <c:pt idx="1282">
                  <c:v>117.01</c:v>
                </c:pt>
                <c:pt idx="1283">
                  <c:v>117.01</c:v>
                </c:pt>
                <c:pt idx="1284">
                  <c:v>117.01</c:v>
                </c:pt>
                <c:pt idx="1285">
                  <c:v>117.01</c:v>
                </c:pt>
                <c:pt idx="1286">
                  <c:v>117.518</c:v>
                </c:pt>
                <c:pt idx="1287">
                  <c:v>117.518</c:v>
                </c:pt>
                <c:pt idx="1288">
                  <c:v>117.518</c:v>
                </c:pt>
                <c:pt idx="1289">
                  <c:v>117.518</c:v>
                </c:pt>
                <c:pt idx="1290">
                  <c:v>117.518</c:v>
                </c:pt>
                <c:pt idx="1291">
                  <c:v>117.291</c:v>
                </c:pt>
                <c:pt idx="1292">
                  <c:v>117.291</c:v>
                </c:pt>
                <c:pt idx="1293">
                  <c:v>117.291</c:v>
                </c:pt>
                <c:pt idx="1294">
                  <c:v>117.291</c:v>
                </c:pt>
                <c:pt idx="1295">
                  <c:v>117.291</c:v>
                </c:pt>
                <c:pt idx="1296">
                  <c:v>117.17700000000001</c:v>
                </c:pt>
                <c:pt idx="1297">
                  <c:v>117.17700000000001</c:v>
                </c:pt>
                <c:pt idx="1298">
                  <c:v>117.17700000000001</c:v>
                </c:pt>
                <c:pt idx="1299">
                  <c:v>117.17700000000001</c:v>
                </c:pt>
                <c:pt idx="1300">
                  <c:v>117.17700000000001</c:v>
                </c:pt>
                <c:pt idx="1301">
                  <c:v>117.002</c:v>
                </c:pt>
                <c:pt idx="1302">
                  <c:v>117.002</c:v>
                </c:pt>
                <c:pt idx="1303">
                  <c:v>117.002</c:v>
                </c:pt>
                <c:pt idx="1304">
                  <c:v>117.002</c:v>
                </c:pt>
                <c:pt idx="1305">
                  <c:v>117.002</c:v>
                </c:pt>
                <c:pt idx="1306">
                  <c:v>117.556</c:v>
                </c:pt>
                <c:pt idx="1307">
                  <c:v>117.556</c:v>
                </c:pt>
                <c:pt idx="1308">
                  <c:v>117.556</c:v>
                </c:pt>
                <c:pt idx="1309">
                  <c:v>117.556</c:v>
                </c:pt>
                <c:pt idx="1310">
                  <c:v>117.556</c:v>
                </c:pt>
                <c:pt idx="1311">
                  <c:v>117.496</c:v>
                </c:pt>
                <c:pt idx="1312">
                  <c:v>117.496</c:v>
                </c:pt>
                <c:pt idx="1313">
                  <c:v>117.496</c:v>
                </c:pt>
                <c:pt idx="1314">
                  <c:v>117.496</c:v>
                </c:pt>
                <c:pt idx="1315">
                  <c:v>117.496</c:v>
                </c:pt>
                <c:pt idx="1316">
                  <c:v>116.782</c:v>
                </c:pt>
                <c:pt idx="1317">
                  <c:v>116.782</c:v>
                </c:pt>
                <c:pt idx="1318">
                  <c:v>116.782</c:v>
                </c:pt>
                <c:pt idx="1319">
                  <c:v>116.782</c:v>
                </c:pt>
                <c:pt idx="1320">
                  <c:v>116.782</c:v>
                </c:pt>
                <c:pt idx="1321">
                  <c:v>116.43300000000001</c:v>
                </c:pt>
                <c:pt idx="1322">
                  <c:v>116.43300000000001</c:v>
                </c:pt>
                <c:pt idx="1323">
                  <c:v>116.43300000000001</c:v>
                </c:pt>
                <c:pt idx="1324">
                  <c:v>116.43300000000001</c:v>
                </c:pt>
                <c:pt idx="1325">
                  <c:v>116.43300000000001</c:v>
                </c:pt>
                <c:pt idx="1326">
                  <c:v>115.673</c:v>
                </c:pt>
                <c:pt idx="1327">
                  <c:v>115.673</c:v>
                </c:pt>
                <c:pt idx="1328">
                  <c:v>115.673</c:v>
                </c:pt>
                <c:pt idx="1329">
                  <c:v>115.673</c:v>
                </c:pt>
                <c:pt idx="1330">
                  <c:v>115.673</c:v>
                </c:pt>
                <c:pt idx="1331">
                  <c:v>115.43</c:v>
                </c:pt>
                <c:pt idx="1332">
                  <c:v>115.43</c:v>
                </c:pt>
                <c:pt idx="1333">
                  <c:v>115.43</c:v>
                </c:pt>
                <c:pt idx="1334">
                  <c:v>115.43</c:v>
                </c:pt>
                <c:pt idx="1335">
                  <c:v>115.43</c:v>
                </c:pt>
                <c:pt idx="1336">
                  <c:v>115.742</c:v>
                </c:pt>
                <c:pt idx="1337">
                  <c:v>115.742</c:v>
                </c:pt>
                <c:pt idx="1338">
                  <c:v>115.742</c:v>
                </c:pt>
                <c:pt idx="1339">
                  <c:v>115.742</c:v>
                </c:pt>
                <c:pt idx="1340">
                  <c:v>115.742</c:v>
                </c:pt>
                <c:pt idx="1341">
                  <c:v>117.154</c:v>
                </c:pt>
                <c:pt idx="1342">
                  <c:v>117.154</c:v>
                </c:pt>
                <c:pt idx="1343">
                  <c:v>117.154</c:v>
                </c:pt>
                <c:pt idx="1344">
                  <c:v>117.154</c:v>
                </c:pt>
                <c:pt idx="1345">
                  <c:v>117.154</c:v>
                </c:pt>
                <c:pt idx="1346">
                  <c:v>116.896</c:v>
                </c:pt>
                <c:pt idx="1347">
                  <c:v>116.896</c:v>
                </c:pt>
                <c:pt idx="1348">
                  <c:v>116.896</c:v>
                </c:pt>
                <c:pt idx="1349">
                  <c:v>116.896</c:v>
                </c:pt>
                <c:pt idx="1350">
                  <c:v>116.896</c:v>
                </c:pt>
                <c:pt idx="1351">
                  <c:v>117.131</c:v>
                </c:pt>
                <c:pt idx="1352">
                  <c:v>117.131</c:v>
                </c:pt>
                <c:pt idx="1353">
                  <c:v>117.131</c:v>
                </c:pt>
                <c:pt idx="1354">
                  <c:v>117.131</c:v>
                </c:pt>
                <c:pt idx="1355">
                  <c:v>117.131</c:v>
                </c:pt>
                <c:pt idx="1356">
                  <c:v>117.245</c:v>
                </c:pt>
                <c:pt idx="1357">
                  <c:v>117.245</c:v>
                </c:pt>
                <c:pt idx="1358">
                  <c:v>117.245</c:v>
                </c:pt>
                <c:pt idx="1359">
                  <c:v>117.245</c:v>
                </c:pt>
                <c:pt idx="1360">
                  <c:v>117.245</c:v>
                </c:pt>
                <c:pt idx="1361">
                  <c:v>117.27500000000001</c:v>
                </c:pt>
                <c:pt idx="1362">
                  <c:v>117.27500000000001</c:v>
                </c:pt>
                <c:pt idx="1363">
                  <c:v>117.27500000000001</c:v>
                </c:pt>
                <c:pt idx="1364">
                  <c:v>117.27500000000001</c:v>
                </c:pt>
                <c:pt idx="1365">
                  <c:v>117.27500000000001</c:v>
                </c:pt>
                <c:pt idx="1366">
                  <c:v>117.89100000000001</c:v>
                </c:pt>
                <c:pt idx="1367">
                  <c:v>117.89100000000001</c:v>
                </c:pt>
                <c:pt idx="1368">
                  <c:v>117.89100000000001</c:v>
                </c:pt>
                <c:pt idx="1369">
                  <c:v>117.89100000000001</c:v>
                </c:pt>
                <c:pt idx="1370">
                  <c:v>117.89100000000001</c:v>
                </c:pt>
                <c:pt idx="1371">
                  <c:v>117.883</c:v>
                </c:pt>
                <c:pt idx="1372">
                  <c:v>117.883</c:v>
                </c:pt>
                <c:pt idx="1373">
                  <c:v>117.883</c:v>
                </c:pt>
                <c:pt idx="1374">
                  <c:v>117.883</c:v>
                </c:pt>
                <c:pt idx="1375">
                  <c:v>117.883</c:v>
                </c:pt>
                <c:pt idx="1376">
                  <c:v>117.617</c:v>
                </c:pt>
                <c:pt idx="1377">
                  <c:v>117.617</c:v>
                </c:pt>
                <c:pt idx="1378">
                  <c:v>117.617</c:v>
                </c:pt>
                <c:pt idx="1379">
                  <c:v>117.617</c:v>
                </c:pt>
                <c:pt idx="1380">
                  <c:v>117.617</c:v>
                </c:pt>
                <c:pt idx="1381">
                  <c:v>117.39700000000001</c:v>
                </c:pt>
                <c:pt idx="1382">
                  <c:v>117.39700000000001</c:v>
                </c:pt>
                <c:pt idx="1383">
                  <c:v>117.39700000000001</c:v>
                </c:pt>
                <c:pt idx="1384">
                  <c:v>117.39700000000001</c:v>
                </c:pt>
                <c:pt idx="1385">
                  <c:v>117.39700000000001</c:v>
                </c:pt>
                <c:pt idx="1386">
                  <c:v>117.245</c:v>
                </c:pt>
                <c:pt idx="1387">
                  <c:v>117.245</c:v>
                </c:pt>
                <c:pt idx="1388">
                  <c:v>117.245</c:v>
                </c:pt>
                <c:pt idx="1389">
                  <c:v>117.245</c:v>
                </c:pt>
                <c:pt idx="1390">
                  <c:v>117.245</c:v>
                </c:pt>
                <c:pt idx="1391">
                  <c:v>117.19199999999999</c:v>
                </c:pt>
                <c:pt idx="1392">
                  <c:v>117.19199999999999</c:v>
                </c:pt>
                <c:pt idx="1393">
                  <c:v>117.19199999999999</c:v>
                </c:pt>
                <c:pt idx="1394">
                  <c:v>117.19199999999999</c:v>
                </c:pt>
                <c:pt idx="1395">
                  <c:v>117.19199999999999</c:v>
                </c:pt>
                <c:pt idx="1396">
                  <c:v>116.88800000000001</c:v>
                </c:pt>
                <c:pt idx="1397">
                  <c:v>116.88800000000001</c:v>
                </c:pt>
                <c:pt idx="1398">
                  <c:v>116.88800000000001</c:v>
                </c:pt>
                <c:pt idx="1399">
                  <c:v>116.88800000000001</c:v>
                </c:pt>
                <c:pt idx="1400">
                  <c:v>116.88800000000001</c:v>
                </c:pt>
                <c:pt idx="1401">
                  <c:v>116.706</c:v>
                </c:pt>
                <c:pt idx="1402">
                  <c:v>116.706</c:v>
                </c:pt>
                <c:pt idx="1403">
                  <c:v>116.706</c:v>
                </c:pt>
                <c:pt idx="1404">
                  <c:v>116.706</c:v>
                </c:pt>
                <c:pt idx="1405">
                  <c:v>116.706</c:v>
                </c:pt>
                <c:pt idx="1406">
                  <c:v>116.645</c:v>
                </c:pt>
                <c:pt idx="1407">
                  <c:v>116.645</c:v>
                </c:pt>
                <c:pt idx="1408">
                  <c:v>116.645</c:v>
                </c:pt>
                <c:pt idx="1409">
                  <c:v>116.645</c:v>
                </c:pt>
                <c:pt idx="1410">
                  <c:v>116.645</c:v>
                </c:pt>
                <c:pt idx="1411">
                  <c:v>116.584</c:v>
                </c:pt>
                <c:pt idx="1412">
                  <c:v>116.584</c:v>
                </c:pt>
                <c:pt idx="1413">
                  <c:v>116.584</c:v>
                </c:pt>
                <c:pt idx="1414">
                  <c:v>116.584</c:v>
                </c:pt>
                <c:pt idx="1415">
                  <c:v>116.584</c:v>
                </c:pt>
                <c:pt idx="1416">
                  <c:v>116.645</c:v>
                </c:pt>
                <c:pt idx="1417">
                  <c:v>116.645</c:v>
                </c:pt>
                <c:pt idx="1418">
                  <c:v>116.645</c:v>
                </c:pt>
                <c:pt idx="1419">
                  <c:v>116.645</c:v>
                </c:pt>
                <c:pt idx="1420">
                  <c:v>116.645</c:v>
                </c:pt>
                <c:pt idx="1421">
                  <c:v>116.372</c:v>
                </c:pt>
                <c:pt idx="1422">
                  <c:v>116.372</c:v>
                </c:pt>
                <c:pt idx="1423">
                  <c:v>116.372</c:v>
                </c:pt>
                <c:pt idx="1424">
                  <c:v>116.372</c:v>
                </c:pt>
                <c:pt idx="1425">
                  <c:v>116.372</c:v>
                </c:pt>
                <c:pt idx="1426">
                  <c:v>116.82</c:v>
                </c:pt>
                <c:pt idx="1427">
                  <c:v>116.82</c:v>
                </c:pt>
                <c:pt idx="1428">
                  <c:v>116.82</c:v>
                </c:pt>
                <c:pt idx="1429">
                  <c:v>116.82</c:v>
                </c:pt>
                <c:pt idx="1430">
                  <c:v>116.82</c:v>
                </c:pt>
                <c:pt idx="1431">
                  <c:v>116.09099999999999</c:v>
                </c:pt>
                <c:pt idx="1432">
                  <c:v>116.09099999999999</c:v>
                </c:pt>
                <c:pt idx="1433">
                  <c:v>116.09099999999999</c:v>
                </c:pt>
                <c:pt idx="1434">
                  <c:v>116.09099999999999</c:v>
                </c:pt>
                <c:pt idx="1435">
                  <c:v>116.09099999999999</c:v>
                </c:pt>
                <c:pt idx="1436">
                  <c:v>115.962</c:v>
                </c:pt>
                <c:pt idx="1437">
                  <c:v>115.962</c:v>
                </c:pt>
                <c:pt idx="1438">
                  <c:v>115.962</c:v>
                </c:pt>
                <c:pt idx="1439">
                  <c:v>115.962</c:v>
                </c:pt>
                <c:pt idx="1440">
                  <c:v>115.962</c:v>
                </c:pt>
                <c:pt idx="1441">
                  <c:v>116.053</c:v>
                </c:pt>
                <c:pt idx="1442">
                  <c:v>116.053</c:v>
                </c:pt>
                <c:pt idx="1443">
                  <c:v>116.053</c:v>
                </c:pt>
                <c:pt idx="1444">
                  <c:v>116.053</c:v>
                </c:pt>
                <c:pt idx="1445">
                  <c:v>116.053</c:v>
                </c:pt>
                <c:pt idx="1446">
                  <c:v>115.81699999999999</c:v>
                </c:pt>
                <c:pt idx="1447">
                  <c:v>115.81699999999999</c:v>
                </c:pt>
                <c:pt idx="1448">
                  <c:v>115.81699999999999</c:v>
                </c:pt>
                <c:pt idx="1449">
                  <c:v>115.81699999999999</c:v>
                </c:pt>
                <c:pt idx="1450">
                  <c:v>115.81699999999999</c:v>
                </c:pt>
                <c:pt idx="1451">
                  <c:v>115.711</c:v>
                </c:pt>
                <c:pt idx="1452">
                  <c:v>115.711</c:v>
                </c:pt>
                <c:pt idx="1453">
                  <c:v>115.711</c:v>
                </c:pt>
                <c:pt idx="1454">
                  <c:v>115.711</c:v>
                </c:pt>
                <c:pt idx="1455">
                  <c:v>115.711</c:v>
                </c:pt>
                <c:pt idx="1456">
                  <c:v>114.67100000000001</c:v>
                </c:pt>
                <c:pt idx="1457">
                  <c:v>114.67100000000001</c:v>
                </c:pt>
                <c:pt idx="1458">
                  <c:v>114.67100000000001</c:v>
                </c:pt>
                <c:pt idx="1459">
                  <c:v>114.67100000000001</c:v>
                </c:pt>
                <c:pt idx="1460">
                  <c:v>114.67100000000001</c:v>
                </c:pt>
                <c:pt idx="1461">
                  <c:v>114.35899999999999</c:v>
                </c:pt>
                <c:pt idx="1462">
                  <c:v>114.35899999999999</c:v>
                </c:pt>
                <c:pt idx="1463">
                  <c:v>114.35899999999999</c:v>
                </c:pt>
                <c:pt idx="1464">
                  <c:v>114.35899999999999</c:v>
                </c:pt>
                <c:pt idx="1465">
                  <c:v>114.35899999999999</c:v>
                </c:pt>
                <c:pt idx="1466">
                  <c:v>114.139</c:v>
                </c:pt>
                <c:pt idx="1467">
                  <c:v>114.139</c:v>
                </c:pt>
                <c:pt idx="1468">
                  <c:v>114.139</c:v>
                </c:pt>
                <c:pt idx="1469">
                  <c:v>114.139</c:v>
                </c:pt>
                <c:pt idx="1470">
                  <c:v>114.139</c:v>
                </c:pt>
                <c:pt idx="1471">
                  <c:v>114.435</c:v>
                </c:pt>
                <c:pt idx="1472">
                  <c:v>114.435</c:v>
                </c:pt>
                <c:pt idx="1473">
                  <c:v>114.435</c:v>
                </c:pt>
                <c:pt idx="1474">
                  <c:v>114.435</c:v>
                </c:pt>
                <c:pt idx="1475">
                  <c:v>114.435</c:v>
                </c:pt>
                <c:pt idx="1476">
                  <c:v>114.565</c:v>
                </c:pt>
                <c:pt idx="1477">
                  <c:v>114.565</c:v>
                </c:pt>
                <c:pt idx="1478">
                  <c:v>114.565</c:v>
                </c:pt>
                <c:pt idx="1479">
                  <c:v>114.565</c:v>
                </c:pt>
                <c:pt idx="1480">
                  <c:v>114.565</c:v>
                </c:pt>
                <c:pt idx="1481">
                  <c:v>114.754</c:v>
                </c:pt>
                <c:pt idx="1482">
                  <c:v>114.754</c:v>
                </c:pt>
                <c:pt idx="1483">
                  <c:v>114.754</c:v>
                </c:pt>
                <c:pt idx="1484">
                  <c:v>114.754</c:v>
                </c:pt>
                <c:pt idx="1485">
                  <c:v>114.754</c:v>
                </c:pt>
                <c:pt idx="1486">
                  <c:v>114.67100000000001</c:v>
                </c:pt>
                <c:pt idx="1487">
                  <c:v>114.67100000000001</c:v>
                </c:pt>
                <c:pt idx="1488">
                  <c:v>114.67100000000001</c:v>
                </c:pt>
                <c:pt idx="1489">
                  <c:v>114.67100000000001</c:v>
                </c:pt>
                <c:pt idx="1490">
                  <c:v>114.67100000000001</c:v>
                </c:pt>
                <c:pt idx="1491">
                  <c:v>114.587</c:v>
                </c:pt>
                <c:pt idx="1492">
                  <c:v>114.587</c:v>
                </c:pt>
                <c:pt idx="1493">
                  <c:v>114.587</c:v>
                </c:pt>
                <c:pt idx="1494">
                  <c:v>114.587</c:v>
                </c:pt>
                <c:pt idx="1495">
                  <c:v>114.587</c:v>
                </c:pt>
                <c:pt idx="1496">
                  <c:v>114.367</c:v>
                </c:pt>
                <c:pt idx="1497">
                  <c:v>114.367</c:v>
                </c:pt>
                <c:pt idx="1498">
                  <c:v>114.367</c:v>
                </c:pt>
                <c:pt idx="1499">
                  <c:v>114.367</c:v>
                </c:pt>
                <c:pt idx="1500">
                  <c:v>114.367</c:v>
                </c:pt>
                <c:pt idx="1501">
                  <c:v>113.752</c:v>
                </c:pt>
                <c:pt idx="1502">
                  <c:v>113.752</c:v>
                </c:pt>
                <c:pt idx="1503">
                  <c:v>113.752</c:v>
                </c:pt>
                <c:pt idx="1504">
                  <c:v>113.752</c:v>
                </c:pt>
                <c:pt idx="1505">
                  <c:v>113.752</c:v>
                </c:pt>
                <c:pt idx="1506">
                  <c:v>113.813</c:v>
                </c:pt>
                <c:pt idx="1507">
                  <c:v>113.813</c:v>
                </c:pt>
                <c:pt idx="1508">
                  <c:v>113.813</c:v>
                </c:pt>
                <c:pt idx="1509">
                  <c:v>113.813</c:v>
                </c:pt>
                <c:pt idx="1510">
                  <c:v>113.813</c:v>
                </c:pt>
                <c:pt idx="1511">
                  <c:v>114.07899999999999</c:v>
                </c:pt>
                <c:pt idx="1512">
                  <c:v>114.07899999999999</c:v>
                </c:pt>
                <c:pt idx="1513">
                  <c:v>114.07899999999999</c:v>
                </c:pt>
                <c:pt idx="1514">
                  <c:v>114.07899999999999</c:v>
                </c:pt>
                <c:pt idx="1515">
                  <c:v>114.07899999999999</c:v>
                </c:pt>
                <c:pt idx="1516">
                  <c:v>113.80500000000001</c:v>
                </c:pt>
                <c:pt idx="1517">
                  <c:v>113.80500000000001</c:v>
                </c:pt>
                <c:pt idx="1518">
                  <c:v>113.80500000000001</c:v>
                </c:pt>
                <c:pt idx="1519">
                  <c:v>113.80500000000001</c:v>
                </c:pt>
                <c:pt idx="1520">
                  <c:v>113.80500000000001</c:v>
                </c:pt>
                <c:pt idx="1521">
                  <c:v>112.803</c:v>
                </c:pt>
                <c:pt idx="1522">
                  <c:v>112.803</c:v>
                </c:pt>
                <c:pt idx="1523">
                  <c:v>112.803</c:v>
                </c:pt>
                <c:pt idx="1524">
                  <c:v>112.803</c:v>
                </c:pt>
                <c:pt idx="1525">
                  <c:v>112.803</c:v>
                </c:pt>
                <c:pt idx="1526">
                  <c:v>112.01300000000001</c:v>
                </c:pt>
                <c:pt idx="1527">
                  <c:v>112.01300000000001</c:v>
                </c:pt>
                <c:pt idx="1528">
                  <c:v>112.01300000000001</c:v>
                </c:pt>
                <c:pt idx="1529">
                  <c:v>112.01300000000001</c:v>
                </c:pt>
                <c:pt idx="1530">
                  <c:v>112.01300000000001</c:v>
                </c:pt>
                <c:pt idx="1531">
                  <c:v>111.97499999999999</c:v>
                </c:pt>
                <c:pt idx="1532">
                  <c:v>111.97499999999999</c:v>
                </c:pt>
                <c:pt idx="1533">
                  <c:v>111.97499999999999</c:v>
                </c:pt>
                <c:pt idx="1534">
                  <c:v>111.97499999999999</c:v>
                </c:pt>
                <c:pt idx="1535">
                  <c:v>111.97499999999999</c:v>
                </c:pt>
                <c:pt idx="1536">
                  <c:v>111.535</c:v>
                </c:pt>
                <c:pt idx="1537">
                  <c:v>111.535</c:v>
                </c:pt>
                <c:pt idx="1538">
                  <c:v>111.535</c:v>
                </c:pt>
                <c:pt idx="1539">
                  <c:v>111.535</c:v>
                </c:pt>
                <c:pt idx="1540">
                  <c:v>111.535</c:v>
                </c:pt>
                <c:pt idx="1541">
                  <c:v>111.58</c:v>
                </c:pt>
                <c:pt idx="1542">
                  <c:v>111.58</c:v>
                </c:pt>
                <c:pt idx="1543">
                  <c:v>111.58</c:v>
                </c:pt>
                <c:pt idx="1544">
                  <c:v>111.58</c:v>
                </c:pt>
                <c:pt idx="1545">
                  <c:v>111.58</c:v>
                </c:pt>
                <c:pt idx="1546">
                  <c:v>110.904</c:v>
                </c:pt>
                <c:pt idx="1547">
                  <c:v>110.904</c:v>
                </c:pt>
                <c:pt idx="1548">
                  <c:v>110.904</c:v>
                </c:pt>
                <c:pt idx="1549">
                  <c:v>110.904</c:v>
                </c:pt>
                <c:pt idx="1550">
                  <c:v>110.904</c:v>
                </c:pt>
                <c:pt idx="1551">
                  <c:v>111.04900000000001</c:v>
                </c:pt>
                <c:pt idx="1552">
                  <c:v>111.04900000000001</c:v>
                </c:pt>
                <c:pt idx="1553">
                  <c:v>111.04900000000001</c:v>
                </c:pt>
                <c:pt idx="1554">
                  <c:v>111.04900000000001</c:v>
                </c:pt>
                <c:pt idx="1555">
                  <c:v>111.04900000000001</c:v>
                </c:pt>
                <c:pt idx="1556">
                  <c:v>110.608</c:v>
                </c:pt>
                <c:pt idx="1557">
                  <c:v>110.608</c:v>
                </c:pt>
                <c:pt idx="1558">
                  <c:v>110.608</c:v>
                </c:pt>
                <c:pt idx="1559">
                  <c:v>110.608</c:v>
                </c:pt>
                <c:pt idx="1560">
                  <c:v>110.608</c:v>
                </c:pt>
                <c:pt idx="1561">
                  <c:v>110.753</c:v>
                </c:pt>
                <c:pt idx="1562">
                  <c:v>110.753</c:v>
                </c:pt>
                <c:pt idx="1563">
                  <c:v>110.753</c:v>
                </c:pt>
                <c:pt idx="1564">
                  <c:v>110.753</c:v>
                </c:pt>
                <c:pt idx="1565">
                  <c:v>110.753</c:v>
                </c:pt>
                <c:pt idx="1566">
                  <c:v>111.041</c:v>
                </c:pt>
                <c:pt idx="1567">
                  <c:v>111.041</c:v>
                </c:pt>
                <c:pt idx="1568">
                  <c:v>111.041</c:v>
                </c:pt>
                <c:pt idx="1569">
                  <c:v>111.041</c:v>
                </c:pt>
                <c:pt idx="1570">
                  <c:v>111.041</c:v>
                </c:pt>
                <c:pt idx="1571">
                  <c:v>111.125</c:v>
                </c:pt>
                <c:pt idx="1572">
                  <c:v>111.125</c:v>
                </c:pt>
                <c:pt idx="1573">
                  <c:v>111.125</c:v>
                </c:pt>
                <c:pt idx="1574">
                  <c:v>111.125</c:v>
                </c:pt>
                <c:pt idx="1575">
                  <c:v>111.125</c:v>
                </c:pt>
                <c:pt idx="1576">
                  <c:v>111.23099999999999</c:v>
                </c:pt>
                <c:pt idx="1577">
                  <c:v>111.23099999999999</c:v>
                </c:pt>
                <c:pt idx="1578">
                  <c:v>111.23099999999999</c:v>
                </c:pt>
                <c:pt idx="1579">
                  <c:v>111.23099999999999</c:v>
                </c:pt>
                <c:pt idx="1580">
                  <c:v>111.23099999999999</c:v>
                </c:pt>
                <c:pt idx="1581">
                  <c:v>111.352</c:v>
                </c:pt>
                <c:pt idx="1582">
                  <c:v>111.352</c:v>
                </c:pt>
                <c:pt idx="1583">
                  <c:v>111.352</c:v>
                </c:pt>
                <c:pt idx="1584">
                  <c:v>111.352</c:v>
                </c:pt>
                <c:pt idx="1585">
                  <c:v>111.352</c:v>
                </c:pt>
                <c:pt idx="1586">
                  <c:v>110.342</c:v>
                </c:pt>
                <c:pt idx="1587">
                  <c:v>110.342</c:v>
                </c:pt>
                <c:pt idx="1588">
                  <c:v>110.342</c:v>
                </c:pt>
                <c:pt idx="1589">
                  <c:v>110.342</c:v>
                </c:pt>
                <c:pt idx="1590">
                  <c:v>110.342</c:v>
                </c:pt>
                <c:pt idx="1591">
                  <c:v>108.877</c:v>
                </c:pt>
                <c:pt idx="1592">
                  <c:v>108.877</c:v>
                </c:pt>
                <c:pt idx="1593">
                  <c:v>108.877</c:v>
                </c:pt>
                <c:pt idx="1594">
                  <c:v>108.877</c:v>
                </c:pt>
                <c:pt idx="1595">
                  <c:v>108.877</c:v>
                </c:pt>
                <c:pt idx="1596">
                  <c:v>109.902</c:v>
                </c:pt>
                <c:pt idx="1597">
                  <c:v>109.902</c:v>
                </c:pt>
                <c:pt idx="1598">
                  <c:v>109.902</c:v>
                </c:pt>
                <c:pt idx="1599">
                  <c:v>109.902</c:v>
                </c:pt>
                <c:pt idx="1600">
                  <c:v>109.902</c:v>
                </c:pt>
                <c:pt idx="1601">
                  <c:v>112.70399999999999</c:v>
                </c:pt>
                <c:pt idx="1602">
                  <c:v>112.70399999999999</c:v>
                </c:pt>
                <c:pt idx="1603">
                  <c:v>112.70399999999999</c:v>
                </c:pt>
                <c:pt idx="1604">
                  <c:v>112.70399999999999</c:v>
                </c:pt>
                <c:pt idx="1605">
                  <c:v>112.70399999999999</c:v>
                </c:pt>
                <c:pt idx="1606">
                  <c:v>111.96</c:v>
                </c:pt>
                <c:pt idx="1607">
                  <c:v>111.96</c:v>
                </c:pt>
                <c:pt idx="1608">
                  <c:v>111.96</c:v>
                </c:pt>
                <c:pt idx="1609">
                  <c:v>111.96</c:v>
                </c:pt>
                <c:pt idx="1610">
                  <c:v>111.96</c:v>
                </c:pt>
                <c:pt idx="1611">
                  <c:v>110.646</c:v>
                </c:pt>
                <c:pt idx="1612">
                  <c:v>110.646</c:v>
                </c:pt>
                <c:pt idx="1613">
                  <c:v>110.646</c:v>
                </c:pt>
                <c:pt idx="1614">
                  <c:v>110.646</c:v>
                </c:pt>
                <c:pt idx="1615">
                  <c:v>110.646</c:v>
                </c:pt>
                <c:pt idx="1616">
                  <c:v>109.393</c:v>
                </c:pt>
                <c:pt idx="1617">
                  <c:v>109.393</c:v>
                </c:pt>
                <c:pt idx="1618">
                  <c:v>109.393</c:v>
                </c:pt>
                <c:pt idx="1619">
                  <c:v>109.393</c:v>
                </c:pt>
                <c:pt idx="1620">
                  <c:v>109.393</c:v>
                </c:pt>
                <c:pt idx="1621">
                  <c:v>107.821</c:v>
                </c:pt>
                <c:pt idx="1622">
                  <c:v>107.821</c:v>
                </c:pt>
                <c:pt idx="1623">
                  <c:v>107.821</c:v>
                </c:pt>
                <c:pt idx="1624">
                  <c:v>107.821</c:v>
                </c:pt>
                <c:pt idx="1625">
                  <c:v>107.821</c:v>
                </c:pt>
                <c:pt idx="1626">
                  <c:v>108.292</c:v>
                </c:pt>
                <c:pt idx="1627">
                  <c:v>108.292</c:v>
                </c:pt>
                <c:pt idx="1628">
                  <c:v>108.292</c:v>
                </c:pt>
                <c:pt idx="1629">
                  <c:v>108.292</c:v>
                </c:pt>
                <c:pt idx="1630">
                  <c:v>108.292</c:v>
                </c:pt>
                <c:pt idx="1631">
                  <c:v>103.85</c:v>
                </c:pt>
                <c:pt idx="1632">
                  <c:v>103.85</c:v>
                </c:pt>
                <c:pt idx="1633">
                  <c:v>103.85</c:v>
                </c:pt>
                <c:pt idx="1634">
                  <c:v>103.85</c:v>
                </c:pt>
                <c:pt idx="1635">
                  <c:v>103.85</c:v>
                </c:pt>
                <c:pt idx="1636">
                  <c:v>101.116</c:v>
                </c:pt>
                <c:pt idx="1637">
                  <c:v>101.116</c:v>
                </c:pt>
                <c:pt idx="1638">
                  <c:v>101.116</c:v>
                </c:pt>
                <c:pt idx="1639">
                  <c:v>101.116</c:v>
                </c:pt>
                <c:pt idx="1640">
                  <c:v>101.116</c:v>
                </c:pt>
                <c:pt idx="1641">
                  <c:v>98.686000000000007</c:v>
                </c:pt>
                <c:pt idx="1642">
                  <c:v>98.686000000000007</c:v>
                </c:pt>
                <c:pt idx="1643">
                  <c:v>98.686000000000007</c:v>
                </c:pt>
                <c:pt idx="1644">
                  <c:v>98.686000000000007</c:v>
                </c:pt>
                <c:pt idx="1645">
                  <c:v>98.686000000000007</c:v>
                </c:pt>
                <c:pt idx="1646">
                  <c:v>96.316999999999993</c:v>
                </c:pt>
                <c:pt idx="1647">
                  <c:v>96.316999999999993</c:v>
                </c:pt>
                <c:pt idx="1648">
                  <c:v>96.316999999999993</c:v>
                </c:pt>
                <c:pt idx="1649">
                  <c:v>96.316999999999993</c:v>
                </c:pt>
                <c:pt idx="1650">
                  <c:v>96.316999999999993</c:v>
                </c:pt>
                <c:pt idx="1651">
                  <c:v>94.706999999999994</c:v>
                </c:pt>
                <c:pt idx="1652">
                  <c:v>94.706999999999994</c:v>
                </c:pt>
                <c:pt idx="1653">
                  <c:v>94.706999999999994</c:v>
                </c:pt>
                <c:pt idx="1654">
                  <c:v>94.706999999999994</c:v>
                </c:pt>
                <c:pt idx="1655">
                  <c:v>94.706999999999994</c:v>
                </c:pt>
                <c:pt idx="1656">
                  <c:v>88.632000000000005</c:v>
                </c:pt>
                <c:pt idx="1657">
                  <c:v>88.632000000000005</c:v>
                </c:pt>
                <c:pt idx="1658">
                  <c:v>88.632000000000005</c:v>
                </c:pt>
                <c:pt idx="1659">
                  <c:v>88.632000000000005</c:v>
                </c:pt>
                <c:pt idx="1660">
                  <c:v>88.632000000000005</c:v>
                </c:pt>
                <c:pt idx="1661">
                  <c:v>87.546999999999997</c:v>
                </c:pt>
                <c:pt idx="1662">
                  <c:v>87.546999999999997</c:v>
                </c:pt>
                <c:pt idx="1663">
                  <c:v>87.546999999999997</c:v>
                </c:pt>
                <c:pt idx="1664">
                  <c:v>87.546999999999997</c:v>
                </c:pt>
                <c:pt idx="1665">
                  <c:v>87.546999999999997</c:v>
                </c:pt>
                <c:pt idx="1666">
                  <c:v>86.051000000000002</c:v>
                </c:pt>
                <c:pt idx="1667">
                  <c:v>86.051000000000002</c:v>
                </c:pt>
                <c:pt idx="1668">
                  <c:v>86.051000000000002</c:v>
                </c:pt>
                <c:pt idx="1669">
                  <c:v>86.051000000000002</c:v>
                </c:pt>
                <c:pt idx="1670">
                  <c:v>86.051000000000002</c:v>
                </c:pt>
                <c:pt idx="1671">
                  <c:v>86.156999999999996</c:v>
                </c:pt>
                <c:pt idx="1672">
                  <c:v>86.156999999999996</c:v>
                </c:pt>
                <c:pt idx="1673">
                  <c:v>86.156999999999996</c:v>
                </c:pt>
                <c:pt idx="1674">
                  <c:v>86.156999999999996</c:v>
                </c:pt>
                <c:pt idx="1675">
                  <c:v>86.156999999999996</c:v>
                </c:pt>
                <c:pt idx="1676">
                  <c:v>80.917000000000002</c:v>
                </c:pt>
                <c:pt idx="1677">
                  <c:v>80.917000000000002</c:v>
                </c:pt>
                <c:pt idx="1678">
                  <c:v>80.917000000000002</c:v>
                </c:pt>
                <c:pt idx="1679">
                  <c:v>80.917000000000002</c:v>
                </c:pt>
                <c:pt idx="1680">
                  <c:v>80.917000000000002</c:v>
                </c:pt>
                <c:pt idx="1681">
                  <c:v>80.295000000000002</c:v>
                </c:pt>
                <c:pt idx="1682">
                  <c:v>80.295000000000002</c:v>
                </c:pt>
                <c:pt idx="1683">
                  <c:v>80.295000000000002</c:v>
                </c:pt>
                <c:pt idx="1684">
                  <c:v>80.295000000000002</c:v>
                </c:pt>
                <c:pt idx="1685">
                  <c:v>80.295000000000002</c:v>
                </c:pt>
                <c:pt idx="1686">
                  <c:v>80.400999999999996</c:v>
                </c:pt>
                <c:pt idx="1687">
                  <c:v>80.400999999999996</c:v>
                </c:pt>
                <c:pt idx="1688">
                  <c:v>80.400999999999996</c:v>
                </c:pt>
                <c:pt idx="1689">
                  <c:v>80.400999999999996</c:v>
                </c:pt>
                <c:pt idx="1690">
                  <c:v>80.400999999999996</c:v>
                </c:pt>
                <c:pt idx="1691">
                  <c:v>80.135000000000005</c:v>
                </c:pt>
                <c:pt idx="1692">
                  <c:v>80.135000000000005</c:v>
                </c:pt>
                <c:pt idx="1693">
                  <c:v>80.135000000000005</c:v>
                </c:pt>
                <c:pt idx="1694">
                  <c:v>80.135000000000005</c:v>
                </c:pt>
                <c:pt idx="1695">
                  <c:v>80.135000000000005</c:v>
                </c:pt>
                <c:pt idx="1696">
                  <c:v>74.918000000000006</c:v>
                </c:pt>
                <c:pt idx="1697">
                  <c:v>74.918000000000006</c:v>
                </c:pt>
                <c:pt idx="1698">
                  <c:v>74.918000000000006</c:v>
                </c:pt>
                <c:pt idx="1699">
                  <c:v>74.918000000000006</c:v>
                </c:pt>
                <c:pt idx="1700">
                  <c:v>74.918000000000006</c:v>
                </c:pt>
                <c:pt idx="1701">
                  <c:v>74.697999999999993</c:v>
                </c:pt>
                <c:pt idx="1702">
                  <c:v>74.697999999999993</c:v>
                </c:pt>
                <c:pt idx="1703">
                  <c:v>74.697999999999993</c:v>
                </c:pt>
                <c:pt idx="1704">
                  <c:v>74.697999999999993</c:v>
                </c:pt>
                <c:pt idx="1705">
                  <c:v>74.697999999999993</c:v>
                </c:pt>
                <c:pt idx="1706">
                  <c:v>74.507999999999996</c:v>
                </c:pt>
                <c:pt idx="1707">
                  <c:v>74.507999999999996</c:v>
                </c:pt>
                <c:pt idx="1708">
                  <c:v>74.507999999999996</c:v>
                </c:pt>
                <c:pt idx="1709">
                  <c:v>74.507999999999996</c:v>
                </c:pt>
                <c:pt idx="1710">
                  <c:v>74.507999999999996</c:v>
                </c:pt>
                <c:pt idx="1711">
                  <c:v>74.781999999999996</c:v>
                </c:pt>
                <c:pt idx="1712">
                  <c:v>74.781999999999996</c:v>
                </c:pt>
                <c:pt idx="1713">
                  <c:v>74.781999999999996</c:v>
                </c:pt>
                <c:pt idx="1714">
                  <c:v>74.781999999999996</c:v>
                </c:pt>
                <c:pt idx="1715">
                  <c:v>74.781999999999996</c:v>
                </c:pt>
                <c:pt idx="1716">
                  <c:v>73.126000000000005</c:v>
                </c:pt>
                <c:pt idx="1717">
                  <c:v>73.126000000000005</c:v>
                </c:pt>
                <c:pt idx="1718">
                  <c:v>73.126000000000005</c:v>
                </c:pt>
                <c:pt idx="1719">
                  <c:v>73.126000000000005</c:v>
                </c:pt>
                <c:pt idx="1720">
                  <c:v>73.126000000000005</c:v>
                </c:pt>
                <c:pt idx="1721">
                  <c:v>63.732999999999997</c:v>
                </c:pt>
                <c:pt idx="1722">
                  <c:v>63.732999999999997</c:v>
                </c:pt>
                <c:pt idx="1723">
                  <c:v>63.732999999999997</c:v>
                </c:pt>
                <c:pt idx="1724">
                  <c:v>63.732999999999997</c:v>
                </c:pt>
                <c:pt idx="1725">
                  <c:v>63.732999999999997</c:v>
                </c:pt>
                <c:pt idx="1726">
                  <c:v>63.634</c:v>
                </c:pt>
                <c:pt idx="1727">
                  <c:v>63.634</c:v>
                </c:pt>
                <c:pt idx="1728">
                  <c:v>63.634</c:v>
                </c:pt>
                <c:pt idx="1729">
                  <c:v>63.634</c:v>
                </c:pt>
                <c:pt idx="1730">
                  <c:v>63.634</c:v>
                </c:pt>
                <c:pt idx="1731">
                  <c:v>63.481999999999999</c:v>
                </c:pt>
                <c:pt idx="1732">
                  <c:v>63.481999999999999</c:v>
                </c:pt>
                <c:pt idx="1733">
                  <c:v>63.481999999999999</c:v>
                </c:pt>
                <c:pt idx="1734">
                  <c:v>63.481999999999999</c:v>
                </c:pt>
                <c:pt idx="1735">
                  <c:v>63.481999999999999</c:v>
                </c:pt>
                <c:pt idx="1736">
                  <c:v>63.08</c:v>
                </c:pt>
                <c:pt idx="1737">
                  <c:v>63.08</c:v>
                </c:pt>
                <c:pt idx="1738">
                  <c:v>63.08</c:v>
                </c:pt>
                <c:pt idx="1739">
                  <c:v>63.08</c:v>
                </c:pt>
                <c:pt idx="1740">
                  <c:v>63.08</c:v>
                </c:pt>
                <c:pt idx="1741">
                  <c:v>57.438000000000002</c:v>
                </c:pt>
                <c:pt idx="1742">
                  <c:v>57.438000000000002</c:v>
                </c:pt>
                <c:pt idx="1743">
                  <c:v>57.438000000000002</c:v>
                </c:pt>
                <c:pt idx="1744">
                  <c:v>57.438000000000002</c:v>
                </c:pt>
                <c:pt idx="1745">
                  <c:v>57.438000000000002</c:v>
                </c:pt>
                <c:pt idx="1746">
                  <c:v>57.088999999999999</c:v>
                </c:pt>
                <c:pt idx="1747">
                  <c:v>57.088999999999999</c:v>
                </c:pt>
                <c:pt idx="1748">
                  <c:v>57.088999999999999</c:v>
                </c:pt>
                <c:pt idx="1749">
                  <c:v>57.088999999999999</c:v>
                </c:pt>
                <c:pt idx="1750">
                  <c:v>57.088999999999999</c:v>
                </c:pt>
                <c:pt idx="1751">
                  <c:v>55.326999999999998</c:v>
                </c:pt>
                <c:pt idx="1752">
                  <c:v>55.326999999999998</c:v>
                </c:pt>
                <c:pt idx="1753">
                  <c:v>55.326999999999998</c:v>
                </c:pt>
                <c:pt idx="1754">
                  <c:v>55.326999999999998</c:v>
                </c:pt>
                <c:pt idx="1755">
                  <c:v>55.326999999999998</c:v>
                </c:pt>
                <c:pt idx="1756">
                  <c:v>55.478999999999999</c:v>
                </c:pt>
                <c:pt idx="1757">
                  <c:v>55.478999999999999</c:v>
                </c:pt>
                <c:pt idx="1758">
                  <c:v>55.478999999999999</c:v>
                </c:pt>
                <c:pt idx="1759">
                  <c:v>55.478999999999999</c:v>
                </c:pt>
                <c:pt idx="1760">
                  <c:v>55.478999999999999</c:v>
                </c:pt>
                <c:pt idx="1761">
                  <c:v>51.058999999999997</c:v>
                </c:pt>
                <c:pt idx="1762">
                  <c:v>51.058999999999997</c:v>
                </c:pt>
                <c:pt idx="1763">
                  <c:v>51.058999999999997</c:v>
                </c:pt>
                <c:pt idx="1764">
                  <c:v>51.058999999999997</c:v>
                </c:pt>
                <c:pt idx="1765">
                  <c:v>51.058999999999997</c:v>
                </c:pt>
                <c:pt idx="1766">
                  <c:v>51.447000000000003</c:v>
                </c:pt>
                <c:pt idx="1767">
                  <c:v>51.447000000000003</c:v>
                </c:pt>
                <c:pt idx="1768">
                  <c:v>51.447000000000003</c:v>
                </c:pt>
                <c:pt idx="1769">
                  <c:v>51.447000000000003</c:v>
                </c:pt>
                <c:pt idx="1770">
                  <c:v>51.447000000000003</c:v>
                </c:pt>
                <c:pt idx="1771">
                  <c:v>50.793999999999997</c:v>
                </c:pt>
                <c:pt idx="1772">
                  <c:v>50.793999999999997</c:v>
                </c:pt>
                <c:pt idx="1773">
                  <c:v>50.793999999999997</c:v>
                </c:pt>
                <c:pt idx="1774">
                  <c:v>50.793999999999997</c:v>
                </c:pt>
                <c:pt idx="1775">
                  <c:v>50.793999999999997</c:v>
                </c:pt>
                <c:pt idx="1776">
                  <c:v>50.573</c:v>
                </c:pt>
                <c:pt idx="1777">
                  <c:v>50.573</c:v>
                </c:pt>
                <c:pt idx="1778">
                  <c:v>50.573</c:v>
                </c:pt>
                <c:pt idx="1779">
                  <c:v>50.573</c:v>
                </c:pt>
                <c:pt idx="1780">
                  <c:v>50.573</c:v>
                </c:pt>
                <c:pt idx="1781">
                  <c:v>53.420999999999999</c:v>
                </c:pt>
                <c:pt idx="1782">
                  <c:v>53.420999999999999</c:v>
                </c:pt>
                <c:pt idx="1783">
                  <c:v>53.420999999999999</c:v>
                </c:pt>
                <c:pt idx="1784">
                  <c:v>53.420999999999999</c:v>
                </c:pt>
                <c:pt idx="1785">
                  <c:v>53.420999999999999</c:v>
                </c:pt>
                <c:pt idx="1786">
                  <c:v>49.313000000000002</c:v>
                </c:pt>
                <c:pt idx="1787">
                  <c:v>49.313000000000002</c:v>
                </c:pt>
                <c:pt idx="1788">
                  <c:v>49.313000000000002</c:v>
                </c:pt>
                <c:pt idx="1789">
                  <c:v>49.313000000000002</c:v>
                </c:pt>
                <c:pt idx="1790">
                  <c:v>49.313000000000002</c:v>
                </c:pt>
                <c:pt idx="1791">
                  <c:v>50.619</c:v>
                </c:pt>
                <c:pt idx="1792">
                  <c:v>50.619</c:v>
                </c:pt>
                <c:pt idx="1793">
                  <c:v>50.619</c:v>
                </c:pt>
                <c:pt idx="1794">
                  <c:v>50.619</c:v>
                </c:pt>
                <c:pt idx="1795">
                  <c:v>50.619</c:v>
                </c:pt>
                <c:pt idx="1796">
                  <c:v>51.591000000000001</c:v>
                </c:pt>
                <c:pt idx="1797">
                  <c:v>51.591000000000001</c:v>
                </c:pt>
                <c:pt idx="1798">
                  <c:v>51.591000000000001</c:v>
                </c:pt>
                <c:pt idx="1799">
                  <c:v>51.591000000000001</c:v>
                </c:pt>
                <c:pt idx="1800">
                  <c:v>51.591000000000001</c:v>
                </c:pt>
                <c:pt idx="1801">
                  <c:v>53.997999999999998</c:v>
                </c:pt>
                <c:pt idx="1802">
                  <c:v>53.997999999999998</c:v>
                </c:pt>
                <c:pt idx="1803">
                  <c:v>53.997999999999998</c:v>
                </c:pt>
                <c:pt idx="1804">
                  <c:v>53.997999999999998</c:v>
                </c:pt>
                <c:pt idx="1805">
                  <c:v>53.997999999999998</c:v>
                </c:pt>
                <c:pt idx="1806">
                  <c:v>48.317999999999998</c:v>
                </c:pt>
                <c:pt idx="1807">
                  <c:v>48.317999999999998</c:v>
                </c:pt>
                <c:pt idx="1808">
                  <c:v>48.317999999999998</c:v>
                </c:pt>
                <c:pt idx="1809">
                  <c:v>48.317999999999998</c:v>
                </c:pt>
                <c:pt idx="1810">
                  <c:v>48.317999999999998</c:v>
                </c:pt>
                <c:pt idx="1811">
                  <c:v>48.197000000000003</c:v>
                </c:pt>
                <c:pt idx="1812">
                  <c:v>48.197000000000003</c:v>
                </c:pt>
                <c:pt idx="1813">
                  <c:v>48.197000000000003</c:v>
                </c:pt>
                <c:pt idx="1814">
                  <c:v>48.197000000000003</c:v>
                </c:pt>
                <c:pt idx="1815">
                  <c:v>48.197000000000003</c:v>
                </c:pt>
                <c:pt idx="1816">
                  <c:v>48.834000000000003</c:v>
                </c:pt>
                <c:pt idx="1817">
                  <c:v>48.834000000000003</c:v>
                </c:pt>
                <c:pt idx="1818">
                  <c:v>48.834000000000003</c:v>
                </c:pt>
                <c:pt idx="1819">
                  <c:v>48.834000000000003</c:v>
                </c:pt>
                <c:pt idx="1820">
                  <c:v>48.834000000000003</c:v>
                </c:pt>
                <c:pt idx="1821">
                  <c:v>48.88</c:v>
                </c:pt>
                <c:pt idx="1822">
                  <c:v>48.88</c:v>
                </c:pt>
                <c:pt idx="1823">
                  <c:v>48.88</c:v>
                </c:pt>
                <c:pt idx="1824">
                  <c:v>48.88</c:v>
                </c:pt>
                <c:pt idx="1825">
                  <c:v>48.88</c:v>
                </c:pt>
                <c:pt idx="1826">
                  <c:v>48.970999999999997</c:v>
                </c:pt>
                <c:pt idx="1827">
                  <c:v>48.970999999999997</c:v>
                </c:pt>
                <c:pt idx="1828">
                  <c:v>48.970999999999997</c:v>
                </c:pt>
                <c:pt idx="1829">
                  <c:v>48.970999999999997</c:v>
                </c:pt>
                <c:pt idx="1830">
                  <c:v>48.970999999999997</c:v>
                </c:pt>
                <c:pt idx="1831">
                  <c:v>51.021000000000001</c:v>
                </c:pt>
                <c:pt idx="1832">
                  <c:v>51.021000000000001</c:v>
                </c:pt>
                <c:pt idx="1833">
                  <c:v>51.021000000000001</c:v>
                </c:pt>
                <c:pt idx="1834">
                  <c:v>51.021000000000001</c:v>
                </c:pt>
                <c:pt idx="1835">
                  <c:v>51.021000000000001</c:v>
                </c:pt>
                <c:pt idx="1836">
                  <c:v>51.28</c:v>
                </c:pt>
                <c:pt idx="1837">
                  <c:v>51.28</c:v>
                </c:pt>
                <c:pt idx="1838">
                  <c:v>51.28</c:v>
                </c:pt>
                <c:pt idx="1839">
                  <c:v>51.28</c:v>
                </c:pt>
                <c:pt idx="1840">
                  <c:v>51.28</c:v>
                </c:pt>
                <c:pt idx="1841">
                  <c:v>51.043999999999997</c:v>
                </c:pt>
                <c:pt idx="1842">
                  <c:v>51.043999999999997</c:v>
                </c:pt>
                <c:pt idx="1843">
                  <c:v>51.043999999999997</c:v>
                </c:pt>
                <c:pt idx="1844">
                  <c:v>51.043999999999997</c:v>
                </c:pt>
                <c:pt idx="1845">
                  <c:v>51.043999999999997</c:v>
                </c:pt>
                <c:pt idx="1846">
                  <c:v>55.531999999999996</c:v>
                </c:pt>
                <c:pt idx="1847">
                  <c:v>55.531999999999996</c:v>
                </c:pt>
                <c:pt idx="1848">
                  <c:v>55.531999999999996</c:v>
                </c:pt>
                <c:pt idx="1849">
                  <c:v>55.531999999999996</c:v>
                </c:pt>
                <c:pt idx="1850">
                  <c:v>55.531999999999996</c:v>
                </c:pt>
                <c:pt idx="1851">
                  <c:v>60.976999999999997</c:v>
                </c:pt>
                <c:pt idx="1852">
                  <c:v>60.976999999999997</c:v>
                </c:pt>
                <c:pt idx="1853">
                  <c:v>60.976999999999997</c:v>
                </c:pt>
                <c:pt idx="1854">
                  <c:v>60.976999999999997</c:v>
                </c:pt>
                <c:pt idx="1855">
                  <c:v>60.976999999999997</c:v>
                </c:pt>
                <c:pt idx="1856">
                  <c:v>63.671999999999997</c:v>
                </c:pt>
                <c:pt idx="1857">
                  <c:v>63.671999999999997</c:v>
                </c:pt>
                <c:pt idx="1858">
                  <c:v>63.671999999999997</c:v>
                </c:pt>
                <c:pt idx="1859">
                  <c:v>63.671999999999997</c:v>
                </c:pt>
                <c:pt idx="1860">
                  <c:v>63.671999999999997</c:v>
                </c:pt>
                <c:pt idx="1861">
                  <c:v>64.841999999999999</c:v>
                </c:pt>
                <c:pt idx="1862">
                  <c:v>64.841999999999999</c:v>
                </c:pt>
                <c:pt idx="1863">
                  <c:v>64.841999999999999</c:v>
                </c:pt>
                <c:pt idx="1864">
                  <c:v>64.841999999999999</c:v>
                </c:pt>
                <c:pt idx="1865">
                  <c:v>64.841999999999999</c:v>
                </c:pt>
                <c:pt idx="1866">
                  <c:v>65.852000000000004</c:v>
                </c:pt>
                <c:pt idx="1867">
                  <c:v>65.852000000000004</c:v>
                </c:pt>
                <c:pt idx="1868">
                  <c:v>65.852000000000004</c:v>
                </c:pt>
                <c:pt idx="1869">
                  <c:v>65.852000000000004</c:v>
                </c:pt>
                <c:pt idx="1870">
                  <c:v>65.852000000000004</c:v>
                </c:pt>
                <c:pt idx="1871">
                  <c:v>67.992999999999995</c:v>
                </c:pt>
                <c:pt idx="1872">
                  <c:v>67.992999999999995</c:v>
                </c:pt>
                <c:pt idx="1873">
                  <c:v>67.992999999999995</c:v>
                </c:pt>
                <c:pt idx="1874">
                  <c:v>67.992999999999995</c:v>
                </c:pt>
                <c:pt idx="1875">
                  <c:v>67.992999999999995</c:v>
                </c:pt>
                <c:pt idx="1876">
                  <c:v>68.373000000000005</c:v>
                </c:pt>
                <c:pt idx="1877">
                  <c:v>68.373000000000005</c:v>
                </c:pt>
                <c:pt idx="1878">
                  <c:v>68.373000000000005</c:v>
                </c:pt>
                <c:pt idx="1879">
                  <c:v>68.373000000000005</c:v>
                </c:pt>
                <c:pt idx="1880">
                  <c:v>68.373000000000005</c:v>
                </c:pt>
                <c:pt idx="1881">
                  <c:v>68.448999999999998</c:v>
                </c:pt>
                <c:pt idx="1882">
                  <c:v>68.448999999999998</c:v>
                </c:pt>
                <c:pt idx="1883">
                  <c:v>68.448999999999998</c:v>
                </c:pt>
                <c:pt idx="1884">
                  <c:v>68.448999999999998</c:v>
                </c:pt>
                <c:pt idx="1885">
                  <c:v>68.448999999999998</c:v>
                </c:pt>
                <c:pt idx="1886">
                  <c:v>68.304000000000002</c:v>
                </c:pt>
                <c:pt idx="1887">
                  <c:v>68.304000000000002</c:v>
                </c:pt>
                <c:pt idx="1888">
                  <c:v>68.304000000000002</c:v>
                </c:pt>
                <c:pt idx="1889">
                  <c:v>68.304000000000002</c:v>
                </c:pt>
                <c:pt idx="1890">
                  <c:v>68.304000000000002</c:v>
                </c:pt>
                <c:pt idx="1891">
                  <c:v>69.983000000000004</c:v>
                </c:pt>
                <c:pt idx="1892">
                  <c:v>69.983000000000004</c:v>
                </c:pt>
                <c:pt idx="1893">
                  <c:v>69.983000000000004</c:v>
                </c:pt>
                <c:pt idx="1894">
                  <c:v>69.983000000000004</c:v>
                </c:pt>
                <c:pt idx="1895">
                  <c:v>69.983000000000004</c:v>
                </c:pt>
                <c:pt idx="1896">
                  <c:v>70.438000000000002</c:v>
                </c:pt>
                <c:pt idx="1897">
                  <c:v>70.438000000000002</c:v>
                </c:pt>
                <c:pt idx="1898">
                  <c:v>70.438000000000002</c:v>
                </c:pt>
                <c:pt idx="1899">
                  <c:v>70.438000000000002</c:v>
                </c:pt>
                <c:pt idx="1900">
                  <c:v>70.438000000000002</c:v>
                </c:pt>
                <c:pt idx="1901">
                  <c:v>70.036000000000001</c:v>
                </c:pt>
                <c:pt idx="1902">
                  <c:v>70.036000000000001</c:v>
                </c:pt>
                <c:pt idx="1903">
                  <c:v>70.036000000000001</c:v>
                </c:pt>
                <c:pt idx="1904">
                  <c:v>70.036000000000001</c:v>
                </c:pt>
                <c:pt idx="1905">
                  <c:v>70.036000000000001</c:v>
                </c:pt>
                <c:pt idx="1906">
                  <c:v>70.241</c:v>
                </c:pt>
                <c:pt idx="1907">
                  <c:v>70.241</c:v>
                </c:pt>
                <c:pt idx="1908">
                  <c:v>70.241</c:v>
                </c:pt>
                <c:pt idx="1909">
                  <c:v>70.241</c:v>
                </c:pt>
                <c:pt idx="1910">
                  <c:v>70.241</c:v>
                </c:pt>
                <c:pt idx="1911">
                  <c:v>71.364999999999995</c:v>
                </c:pt>
                <c:pt idx="1912">
                  <c:v>71.364999999999995</c:v>
                </c:pt>
                <c:pt idx="1913">
                  <c:v>71.364999999999995</c:v>
                </c:pt>
                <c:pt idx="1914">
                  <c:v>71.364999999999995</c:v>
                </c:pt>
                <c:pt idx="1915">
                  <c:v>71.364999999999995</c:v>
                </c:pt>
                <c:pt idx="1916">
                  <c:v>75.168999999999997</c:v>
                </c:pt>
                <c:pt idx="1917">
                  <c:v>75.168999999999997</c:v>
                </c:pt>
                <c:pt idx="1918">
                  <c:v>75.168999999999997</c:v>
                </c:pt>
                <c:pt idx="1919">
                  <c:v>75.168999999999997</c:v>
                </c:pt>
                <c:pt idx="1920">
                  <c:v>75.168999999999997</c:v>
                </c:pt>
                <c:pt idx="1921">
                  <c:v>76.436999999999998</c:v>
                </c:pt>
                <c:pt idx="1922">
                  <c:v>76.436999999999998</c:v>
                </c:pt>
                <c:pt idx="1923">
                  <c:v>76.436999999999998</c:v>
                </c:pt>
                <c:pt idx="1924">
                  <c:v>76.436999999999998</c:v>
                </c:pt>
                <c:pt idx="1925">
                  <c:v>76.436999999999998</c:v>
                </c:pt>
                <c:pt idx="1926">
                  <c:v>76.908000000000001</c:v>
                </c:pt>
                <c:pt idx="1927">
                  <c:v>76.908000000000001</c:v>
                </c:pt>
                <c:pt idx="1928">
                  <c:v>76.908000000000001</c:v>
                </c:pt>
                <c:pt idx="1929">
                  <c:v>76.908000000000001</c:v>
                </c:pt>
                <c:pt idx="1930">
                  <c:v>76.908000000000001</c:v>
                </c:pt>
                <c:pt idx="1931">
                  <c:v>77.022000000000006</c:v>
                </c:pt>
                <c:pt idx="1932">
                  <c:v>77.022000000000006</c:v>
                </c:pt>
                <c:pt idx="1933">
                  <c:v>77.022000000000006</c:v>
                </c:pt>
                <c:pt idx="1934">
                  <c:v>77.022000000000006</c:v>
                </c:pt>
                <c:pt idx="1935">
                  <c:v>77.022000000000006</c:v>
                </c:pt>
                <c:pt idx="1936">
                  <c:v>80.278999999999996</c:v>
                </c:pt>
                <c:pt idx="1937">
                  <c:v>80.278999999999996</c:v>
                </c:pt>
                <c:pt idx="1938">
                  <c:v>80.278999999999996</c:v>
                </c:pt>
                <c:pt idx="1939">
                  <c:v>80.278999999999996</c:v>
                </c:pt>
                <c:pt idx="1940">
                  <c:v>80.278999999999996</c:v>
                </c:pt>
                <c:pt idx="1941">
                  <c:v>80.834000000000003</c:v>
                </c:pt>
                <c:pt idx="1942">
                  <c:v>80.834000000000003</c:v>
                </c:pt>
                <c:pt idx="1943">
                  <c:v>80.834000000000003</c:v>
                </c:pt>
                <c:pt idx="1944">
                  <c:v>80.834000000000003</c:v>
                </c:pt>
                <c:pt idx="1945">
                  <c:v>80.834000000000003</c:v>
                </c:pt>
                <c:pt idx="1946">
                  <c:v>81.084000000000003</c:v>
                </c:pt>
                <c:pt idx="1947">
                  <c:v>81.084000000000003</c:v>
                </c:pt>
                <c:pt idx="1948">
                  <c:v>81.084000000000003</c:v>
                </c:pt>
                <c:pt idx="1949">
                  <c:v>81.084000000000003</c:v>
                </c:pt>
                <c:pt idx="1950">
                  <c:v>81.084000000000003</c:v>
                </c:pt>
                <c:pt idx="1951">
                  <c:v>81.463999999999999</c:v>
                </c:pt>
                <c:pt idx="1952">
                  <c:v>81.463999999999999</c:v>
                </c:pt>
                <c:pt idx="1953">
                  <c:v>81.463999999999999</c:v>
                </c:pt>
                <c:pt idx="1954">
                  <c:v>81.463999999999999</c:v>
                </c:pt>
                <c:pt idx="1955">
                  <c:v>81.463999999999999</c:v>
                </c:pt>
                <c:pt idx="1956">
                  <c:v>84.561999999999998</c:v>
                </c:pt>
                <c:pt idx="1957">
                  <c:v>84.561999999999998</c:v>
                </c:pt>
                <c:pt idx="1958">
                  <c:v>84.561999999999998</c:v>
                </c:pt>
                <c:pt idx="1959">
                  <c:v>84.561999999999998</c:v>
                </c:pt>
                <c:pt idx="1960">
                  <c:v>84.561999999999998</c:v>
                </c:pt>
                <c:pt idx="1961">
                  <c:v>85.191999999999993</c:v>
                </c:pt>
                <c:pt idx="1962">
                  <c:v>85.191999999999993</c:v>
                </c:pt>
                <c:pt idx="1963">
                  <c:v>85.191999999999993</c:v>
                </c:pt>
                <c:pt idx="1964">
                  <c:v>85.191999999999993</c:v>
                </c:pt>
                <c:pt idx="1965">
                  <c:v>85.191999999999993</c:v>
                </c:pt>
                <c:pt idx="1966">
                  <c:v>85.914000000000001</c:v>
                </c:pt>
                <c:pt idx="1967">
                  <c:v>85.914000000000001</c:v>
                </c:pt>
                <c:pt idx="1968">
                  <c:v>85.914000000000001</c:v>
                </c:pt>
                <c:pt idx="1969">
                  <c:v>85.914000000000001</c:v>
                </c:pt>
                <c:pt idx="1970">
                  <c:v>85.914000000000001</c:v>
                </c:pt>
                <c:pt idx="1971">
                  <c:v>86.385000000000005</c:v>
                </c:pt>
                <c:pt idx="1972">
                  <c:v>86.385000000000005</c:v>
                </c:pt>
                <c:pt idx="1973">
                  <c:v>86.385000000000005</c:v>
                </c:pt>
                <c:pt idx="1974">
                  <c:v>86.385000000000005</c:v>
                </c:pt>
                <c:pt idx="1975">
                  <c:v>86.385000000000005</c:v>
                </c:pt>
                <c:pt idx="1976">
                  <c:v>87.843000000000004</c:v>
                </c:pt>
                <c:pt idx="1977">
                  <c:v>87.843000000000004</c:v>
                </c:pt>
                <c:pt idx="1978">
                  <c:v>87.843000000000004</c:v>
                </c:pt>
                <c:pt idx="1979">
                  <c:v>87.843000000000004</c:v>
                </c:pt>
                <c:pt idx="1980">
                  <c:v>87.843000000000004</c:v>
                </c:pt>
                <c:pt idx="1981">
                  <c:v>94.578000000000003</c:v>
                </c:pt>
                <c:pt idx="1982">
                  <c:v>94.578000000000003</c:v>
                </c:pt>
                <c:pt idx="1983">
                  <c:v>94.578000000000003</c:v>
                </c:pt>
                <c:pt idx="1984">
                  <c:v>94.578000000000003</c:v>
                </c:pt>
                <c:pt idx="1985">
                  <c:v>94.578000000000003</c:v>
                </c:pt>
                <c:pt idx="1986">
                  <c:v>96.887</c:v>
                </c:pt>
                <c:pt idx="1987">
                  <c:v>96.887</c:v>
                </c:pt>
                <c:pt idx="1988">
                  <c:v>96.887</c:v>
                </c:pt>
                <c:pt idx="1989">
                  <c:v>96.887</c:v>
                </c:pt>
                <c:pt idx="1990">
                  <c:v>96.887</c:v>
                </c:pt>
                <c:pt idx="1991">
                  <c:v>97.212999999999994</c:v>
                </c:pt>
                <c:pt idx="1992">
                  <c:v>97.212999999999994</c:v>
                </c:pt>
                <c:pt idx="1993">
                  <c:v>97.212999999999994</c:v>
                </c:pt>
                <c:pt idx="1994">
                  <c:v>97.212999999999994</c:v>
                </c:pt>
                <c:pt idx="1995">
                  <c:v>97.212999999999994</c:v>
                </c:pt>
                <c:pt idx="1996">
                  <c:v>97.251000000000005</c:v>
                </c:pt>
                <c:pt idx="1997">
                  <c:v>97.251000000000005</c:v>
                </c:pt>
                <c:pt idx="1998">
                  <c:v>97.251000000000005</c:v>
                </c:pt>
                <c:pt idx="1999">
                  <c:v>97.251000000000005</c:v>
                </c:pt>
                <c:pt idx="2000">
                  <c:v>97.251000000000005</c:v>
                </c:pt>
                <c:pt idx="2001">
                  <c:v>101.488</c:v>
                </c:pt>
                <c:pt idx="2002">
                  <c:v>101.488</c:v>
                </c:pt>
                <c:pt idx="2003">
                  <c:v>101.488</c:v>
                </c:pt>
                <c:pt idx="2004">
                  <c:v>101.488</c:v>
                </c:pt>
                <c:pt idx="2005">
                  <c:v>101.488</c:v>
                </c:pt>
                <c:pt idx="2006">
                  <c:v>102.21</c:v>
                </c:pt>
                <c:pt idx="2007">
                  <c:v>102.21</c:v>
                </c:pt>
                <c:pt idx="2008">
                  <c:v>102.21</c:v>
                </c:pt>
                <c:pt idx="2009">
                  <c:v>102.21</c:v>
                </c:pt>
                <c:pt idx="2010">
                  <c:v>102.21</c:v>
                </c:pt>
                <c:pt idx="2011">
                  <c:v>103.10599999999999</c:v>
                </c:pt>
                <c:pt idx="2012">
                  <c:v>103.10599999999999</c:v>
                </c:pt>
                <c:pt idx="2013">
                  <c:v>103.10599999999999</c:v>
                </c:pt>
                <c:pt idx="2014">
                  <c:v>103.10599999999999</c:v>
                </c:pt>
                <c:pt idx="2015">
                  <c:v>103.10599999999999</c:v>
                </c:pt>
                <c:pt idx="2016">
                  <c:v>103.129</c:v>
                </c:pt>
                <c:pt idx="2017">
                  <c:v>103.129</c:v>
                </c:pt>
                <c:pt idx="2018">
                  <c:v>103.129</c:v>
                </c:pt>
                <c:pt idx="2019">
                  <c:v>103.129</c:v>
                </c:pt>
                <c:pt idx="2020">
                  <c:v>103.129</c:v>
                </c:pt>
                <c:pt idx="2021">
                  <c:v>103.797</c:v>
                </c:pt>
                <c:pt idx="2022">
                  <c:v>103.797</c:v>
                </c:pt>
                <c:pt idx="2023">
                  <c:v>103.797</c:v>
                </c:pt>
                <c:pt idx="2024">
                  <c:v>103.797</c:v>
                </c:pt>
                <c:pt idx="2025">
                  <c:v>103.797</c:v>
                </c:pt>
                <c:pt idx="2026">
                  <c:v>109.128</c:v>
                </c:pt>
                <c:pt idx="2027">
                  <c:v>109.128</c:v>
                </c:pt>
                <c:pt idx="2028">
                  <c:v>109.128</c:v>
                </c:pt>
                <c:pt idx="2029">
                  <c:v>109.128</c:v>
                </c:pt>
                <c:pt idx="2030">
                  <c:v>109.128</c:v>
                </c:pt>
                <c:pt idx="2031">
                  <c:v>109.735</c:v>
                </c:pt>
                <c:pt idx="2032">
                  <c:v>109.735</c:v>
                </c:pt>
                <c:pt idx="2033">
                  <c:v>109.735</c:v>
                </c:pt>
                <c:pt idx="2034">
                  <c:v>109.735</c:v>
                </c:pt>
                <c:pt idx="2035">
                  <c:v>109.735</c:v>
                </c:pt>
                <c:pt idx="2036">
                  <c:v>110.373</c:v>
                </c:pt>
                <c:pt idx="2037">
                  <c:v>110.373</c:v>
                </c:pt>
                <c:pt idx="2038">
                  <c:v>110.373</c:v>
                </c:pt>
                <c:pt idx="2039">
                  <c:v>110.373</c:v>
                </c:pt>
                <c:pt idx="2040">
                  <c:v>110.373</c:v>
                </c:pt>
                <c:pt idx="2041">
                  <c:v>112.416</c:v>
                </c:pt>
                <c:pt idx="2042">
                  <c:v>112.416</c:v>
                </c:pt>
                <c:pt idx="2043">
                  <c:v>112.416</c:v>
                </c:pt>
                <c:pt idx="2044">
                  <c:v>112.416</c:v>
                </c:pt>
                <c:pt idx="2045">
                  <c:v>112.416</c:v>
                </c:pt>
                <c:pt idx="2046">
                  <c:v>120.009</c:v>
                </c:pt>
                <c:pt idx="2047">
                  <c:v>120.009</c:v>
                </c:pt>
                <c:pt idx="2048">
                  <c:v>120.009</c:v>
                </c:pt>
                <c:pt idx="2049">
                  <c:v>120.009</c:v>
                </c:pt>
                <c:pt idx="2050">
                  <c:v>120.009</c:v>
                </c:pt>
                <c:pt idx="2051">
                  <c:v>121.277</c:v>
                </c:pt>
                <c:pt idx="2052">
                  <c:v>121.277</c:v>
                </c:pt>
                <c:pt idx="2053">
                  <c:v>121.277</c:v>
                </c:pt>
                <c:pt idx="2054">
                  <c:v>121.277</c:v>
                </c:pt>
                <c:pt idx="2055">
                  <c:v>121.277</c:v>
                </c:pt>
                <c:pt idx="2056">
                  <c:v>123.45699999999999</c:v>
                </c:pt>
                <c:pt idx="2057">
                  <c:v>123.45699999999999</c:v>
                </c:pt>
                <c:pt idx="2058">
                  <c:v>123.45699999999999</c:v>
                </c:pt>
                <c:pt idx="2059">
                  <c:v>123.45699999999999</c:v>
                </c:pt>
                <c:pt idx="2060">
                  <c:v>123.45699999999999</c:v>
                </c:pt>
                <c:pt idx="2061">
                  <c:v>123.791</c:v>
                </c:pt>
                <c:pt idx="2062">
                  <c:v>123.791</c:v>
                </c:pt>
                <c:pt idx="2063">
                  <c:v>123.791</c:v>
                </c:pt>
                <c:pt idx="2064">
                  <c:v>123.791</c:v>
                </c:pt>
                <c:pt idx="2065">
                  <c:v>123.791</c:v>
                </c:pt>
                <c:pt idx="2066">
                  <c:v>129.37200000000001</c:v>
                </c:pt>
                <c:pt idx="2067">
                  <c:v>129.37200000000001</c:v>
                </c:pt>
                <c:pt idx="2068">
                  <c:v>129.37200000000001</c:v>
                </c:pt>
                <c:pt idx="2069">
                  <c:v>129.37200000000001</c:v>
                </c:pt>
                <c:pt idx="2070">
                  <c:v>129.37200000000001</c:v>
                </c:pt>
                <c:pt idx="2071">
                  <c:v>130.245</c:v>
                </c:pt>
                <c:pt idx="2072">
                  <c:v>130.245</c:v>
                </c:pt>
                <c:pt idx="2073">
                  <c:v>130.245</c:v>
                </c:pt>
                <c:pt idx="2074">
                  <c:v>130.245</c:v>
                </c:pt>
                <c:pt idx="2075">
                  <c:v>130.245</c:v>
                </c:pt>
                <c:pt idx="2076">
                  <c:v>131.49100000000001</c:v>
                </c:pt>
                <c:pt idx="2077">
                  <c:v>131.49100000000001</c:v>
                </c:pt>
                <c:pt idx="2078">
                  <c:v>131.49100000000001</c:v>
                </c:pt>
                <c:pt idx="2079">
                  <c:v>131.49100000000001</c:v>
                </c:pt>
                <c:pt idx="2080">
                  <c:v>131.49100000000001</c:v>
                </c:pt>
                <c:pt idx="2081">
                  <c:v>131.21700000000001</c:v>
                </c:pt>
                <c:pt idx="2082">
                  <c:v>131.21700000000001</c:v>
                </c:pt>
                <c:pt idx="2083">
                  <c:v>131.21700000000001</c:v>
                </c:pt>
                <c:pt idx="2084">
                  <c:v>131.21700000000001</c:v>
                </c:pt>
                <c:pt idx="2085">
                  <c:v>131.21700000000001</c:v>
                </c:pt>
                <c:pt idx="2086">
                  <c:v>131.54400000000001</c:v>
                </c:pt>
                <c:pt idx="2087">
                  <c:v>131.54400000000001</c:v>
                </c:pt>
                <c:pt idx="2088">
                  <c:v>131.54400000000001</c:v>
                </c:pt>
                <c:pt idx="2089">
                  <c:v>131.54400000000001</c:v>
                </c:pt>
                <c:pt idx="2090">
                  <c:v>131.54400000000001</c:v>
                </c:pt>
                <c:pt idx="2091">
                  <c:v>131.43799999999999</c:v>
                </c:pt>
                <c:pt idx="2092">
                  <c:v>131.43799999999999</c:v>
                </c:pt>
                <c:pt idx="2093">
                  <c:v>131.43799999999999</c:v>
                </c:pt>
                <c:pt idx="2094">
                  <c:v>131.43799999999999</c:v>
                </c:pt>
                <c:pt idx="2095">
                  <c:v>131.43799999999999</c:v>
                </c:pt>
                <c:pt idx="2096">
                  <c:v>131.65799999999999</c:v>
                </c:pt>
                <c:pt idx="2097">
                  <c:v>131.65799999999999</c:v>
                </c:pt>
                <c:pt idx="2098">
                  <c:v>131.65799999999999</c:v>
                </c:pt>
                <c:pt idx="2099">
                  <c:v>131.65799999999999</c:v>
                </c:pt>
                <c:pt idx="2100">
                  <c:v>131.65799999999999</c:v>
                </c:pt>
                <c:pt idx="2101">
                  <c:v>131.37700000000001</c:v>
                </c:pt>
                <c:pt idx="2102">
                  <c:v>131.37700000000001</c:v>
                </c:pt>
                <c:pt idx="2103">
                  <c:v>131.37700000000001</c:v>
                </c:pt>
                <c:pt idx="2104">
                  <c:v>131.37700000000001</c:v>
                </c:pt>
                <c:pt idx="2105">
                  <c:v>131.37700000000001</c:v>
                </c:pt>
                <c:pt idx="2106">
                  <c:v>131.559</c:v>
                </c:pt>
                <c:pt idx="2107">
                  <c:v>131.559</c:v>
                </c:pt>
                <c:pt idx="2108">
                  <c:v>131.559</c:v>
                </c:pt>
                <c:pt idx="2109">
                  <c:v>131.559</c:v>
                </c:pt>
                <c:pt idx="2110">
                  <c:v>131.559</c:v>
                </c:pt>
                <c:pt idx="2111">
                  <c:v>132.971</c:v>
                </c:pt>
                <c:pt idx="2112">
                  <c:v>132.971</c:v>
                </c:pt>
                <c:pt idx="2113">
                  <c:v>132.971</c:v>
                </c:pt>
                <c:pt idx="2114">
                  <c:v>132.971</c:v>
                </c:pt>
                <c:pt idx="2115">
                  <c:v>132.971</c:v>
                </c:pt>
                <c:pt idx="2116">
                  <c:v>134.96899999999999</c:v>
                </c:pt>
                <c:pt idx="2117">
                  <c:v>134.96899999999999</c:v>
                </c:pt>
                <c:pt idx="2118">
                  <c:v>134.96899999999999</c:v>
                </c:pt>
                <c:pt idx="2119">
                  <c:v>134.96899999999999</c:v>
                </c:pt>
                <c:pt idx="2120">
                  <c:v>134.96899999999999</c:v>
                </c:pt>
                <c:pt idx="2121">
                  <c:v>133.08500000000001</c:v>
                </c:pt>
                <c:pt idx="2122">
                  <c:v>133.08500000000001</c:v>
                </c:pt>
                <c:pt idx="2123">
                  <c:v>133.08500000000001</c:v>
                </c:pt>
                <c:pt idx="2124">
                  <c:v>133.08500000000001</c:v>
                </c:pt>
                <c:pt idx="2125">
                  <c:v>133.08500000000001</c:v>
                </c:pt>
                <c:pt idx="2126">
                  <c:v>133.92099999999999</c:v>
                </c:pt>
                <c:pt idx="2127">
                  <c:v>133.92099999999999</c:v>
                </c:pt>
                <c:pt idx="2128">
                  <c:v>133.92099999999999</c:v>
                </c:pt>
                <c:pt idx="2129">
                  <c:v>133.92099999999999</c:v>
                </c:pt>
                <c:pt idx="2130">
                  <c:v>133.92099999999999</c:v>
                </c:pt>
                <c:pt idx="2131">
                  <c:v>133.571</c:v>
                </c:pt>
                <c:pt idx="2132">
                  <c:v>133.571</c:v>
                </c:pt>
                <c:pt idx="2133">
                  <c:v>133.571</c:v>
                </c:pt>
                <c:pt idx="2134">
                  <c:v>133.571</c:v>
                </c:pt>
                <c:pt idx="2135">
                  <c:v>133.571</c:v>
                </c:pt>
                <c:pt idx="2136">
                  <c:v>133.45699999999999</c:v>
                </c:pt>
                <c:pt idx="2137">
                  <c:v>133.45699999999999</c:v>
                </c:pt>
                <c:pt idx="2138">
                  <c:v>133.45699999999999</c:v>
                </c:pt>
                <c:pt idx="2139">
                  <c:v>133.45699999999999</c:v>
                </c:pt>
                <c:pt idx="2140">
                  <c:v>133.45699999999999</c:v>
                </c:pt>
                <c:pt idx="2141">
                  <c:v>133.22200000000001</c:v>
                </c:pt>
                <c:pt idx="2142">
                  <c:v>133.22200000000001</c:v>
                </c:pt>
                <c:pt idx="2143">
                  <c:v>133.22200000000001</c:v>
                </c:pt>
                <c:pt idx="2144">
                  <c:v>133.22200000000001</c:v>
                </c:pt>
                <c:pt idx="2145">
                  <c:v>133.22200000000001</c:v>
                </c:pt>
                <c:pt idx="2146">
                  <c:v>133.31299999999999</c:v>
                </c:pt>
                <c:pt idx="2147">
                  <c:v>133.31299999999999</c:v>
                </c:pt>
                <c:pt idx="2148">
                  <c:v>133.31299999999999</c:v>
                </c:pt>
                <c:pt idx="2149">
                  <c:v>133.31299999999999</c:v>
                </c:pt>
                <c:pt idx="2150">
                  <c:v>133.31299999999999</c:v>
                </c:pt>
                <c:pt idx="2151">
                  <c:v>133.08500000000001</c:v>
                </c:pt>
                <c:pt idx="2152">
                  <c:v>133.08500000000001</c:v>
                </c:pt>
                <c:pt idx="2153">
                  <c:v>133.08500000000001</c:v>
                </c:pt>
                <c:pt idx="2154">
                  <c:v>133.08500000000001</c:v>
                </c:pt>
                <c:pt idx="2155">
                  <c:v>133.08500000000001</c:v>
                </c:pt>
                <c:pt idx="2156">
                  <c:v>132.44</c:v>
                </c:pt>
                <c:pt idx="2157">
                  <c:v>132.44</c:v>
                </c:pt>
                <c:pt idx="2158">
                  <c:v>132.44</c:v>
                </c:pt>
                <c:pt idx="2159">
                  <c:v>132.44</c:v>
                </c:pt>
                <c:pt idx="2160">
                  <c:v>132.44</c:v>
                </c:pt>
                <c:pt idx="2161">
                  <c:v>132.303</c:v>
                </c:pt>
                <c:pt idx="2162">
                  <c:v>132.303</c:v>
                </c:pt>
                <c:pt idx="2163">
                  <c:v>132.303</c:v>
                </c:pt>
                <c:pt idx="2164">
                  <c:v>132.303</c:v>
                </c:pt>
                <c:pt idx="2165">
                  <c:v>132.303</c:v>
                </c:pt>
                <c:pt idx="2166">
                  <c:v>132.577</c:v>
                </c:pt>
                <c:pt idx="2167">
                  <c:v>132.577</c:v>
                </c:pt>
                <c:pt idx="2168">
                  <c:v>132.577</c:v>
                </c:pt>
                <c:pt idx="2169">
                  <c:v>132.577</c:v>
                </c:pt>
                <c:pt idx="2170">
                  <c:v>132.577</c:v>
                </c:pt>
                <c:pt idx="2171">
                  <c:v>132.42500000000001</c:v>
                </c:pt>
                <c:pt idx="2172">
                  <c:v>132.42500000000001</c:v>
                </c:pt>
                <c:pt idx="2173">
                  <c:v>132.42500000000001</c:v>
                </c:pt>
                <c:pt idx="2174">
                  <c:v>132.42500000000001</c:v>
                </c:pt>
                <c:pt idx="2175">
                  <c:v>132.42500000000001</c:v>
                </c:pt>
                <c:pt idx="2176">
                  <c:v>132.166</c:v>
                </c:pt>
                <c:pt idx="2177">
                  <c:v>132.166</c:v>
                </c:pt>
                <c:pt idx="2178">
                  <c:v>132.166</c:v>
                </c:pt>
                <c:pt idx="2179">
                  <c:v>132.166</c:v>
                </c:pt>
                <c:pt idx="2180">
                  <c:v>132.166</c:v>
                </c:pt>
                <c:pt idx="2181">
                  <c:v>132.35599999999999</c:v>
                </c:pt>
                <c:pt idx="2182">
                  <c:v>132.35599999999999</c:v>
                </c:pt>
                <c:pt idx="2183">
                  <c:v>132.35599999999999</c:v>
                </c:pt>
                <c:pt idx="2184">
                  <c:v>132.35599999999999</c:v>
                </c:pt>
                <c:pt idx="2185">
                  <c:v>132.35599999999999</c:v>
                </c:pt>
                <c:pt idx="2186">
                  <c:v>133.435</c:v>
                </c:pt>
                <c:pt idx="2187">
                  <c:v>133.435</c:v>
                </c:pt>
                <c:pt idx="2188">
                  <c:v>133.435</c:v>
                </c:pt>
                <c:pt idx="2189">
                  <c:v>133.435</c:v>
                </c:pt>
                <c:pt idx="2190">
                  <c:v>133.435</c:v>
                </c:pt>
                <c:pt idx="2191">
                  <c:v>132.97900000000001</c:v>
                </c:pt>
                <c:pt idx="2192">
                  <c:v>132.97900000000001</c:v>
                </c:pt>
                <c:pt idx="2193">
                  <c:v>132.97900000000001</c:v>
                </c:pt>
                <c:pt idx="2194">
                  <c:v>132.97900000000001</c:v>
                </c:pt>
                <c:pt idx="2195">
                  <c:v>132.97900000000001</c:v>
                </c:pt>
                <c:pt idx="2196">
                  <c:v>132.387</c:v>
                </c:pt>
                <c:pt idx="2197">
                  <c:v>132.387</c:v>
                </c:pt>
                <c:pt idx="2198">
                  <c:v>132.387</c:v>
                </c:pt>
                <c:pt idx="2199">
                  <c:v>132.387</c:v>
                </c:pt>
                <c:pt idx="2200">
                  <c:v>132.387</c:v>
                </c:pt>
                <c:pt idx="2201">
                  <c:v>132.32599999999999</c:v>
                </c:pt>
                <c:pt idx="2202">
                  <c:v>132.32599999999999</c:v>
                </c:pt>
                <c:pt idx="2203">
                  <c:v>132.32599999999999</c:v>
                </c:pt>
                <c:pt idx="2204">
                  <c:v>132.32599999999999</c:v>
                </c:pt>
                <c:pt idx="2205">
                  <c:v>132.32599999999999</c:v>
                </c:pt>
                <c:pt idx="2206">
                  <c:v>132.56899999999999</c:v>
                </c:pt>
                <c:pt idx="2207">
                  <c:v>132.56899999999999</c:v>
                </c:pt>
                <c:pt idx="2208">
                  <c:v>132.56899999999999</c:v>
                </c:pt>
                <c:pt idx="2209">
                  <c:v>132.56899999999999</c:v>
                </c:pt>
                <c:pt idx="2210">
                  <c:v>132.56899999999999</c:v>
                </c:pt>
                <c:pt idx="2211">
                  <c:v>132.751</c:v>
                </c:pt>
                <c:pt idx="2212">
                  <c:v>132.751</c:v>
                </c:pt>
                <c:pt idx="2213">
                  <c:v>132.751</c:v>
                </c:pt>
                <c:pt idx="2214">
                  <c:v>132.751</c:v>
                </c:pt>
                <c:pt idx="2215">
                  <c:v>132.751</c:v>
                </c:pt>
                <c:pt idx="2216">
                  <c:v>132.70599999999999</c:v>
                </c:pt>
                <c:pt idx="2217">
                  <c:v>132.70599999999999</c:v>
                </c:pt>
                <c:pt idx="2218">
                  <c:v>132.70599999999999</c:v>
                </c:pt>
                <c:pt idx="2219">
                  <c:v>132.70599999999999</c:v>
                </c:pt>
                <c:pt idx="2220">
                  <c:v>132.70599999999999</c:v>
                </c:pt>
                <c:pt idx="2221">
                  <c:v>132.34899999999999</c:v>
                </c:pt>
                <c:pt idx="2222">
                  <c:v>132.34899999999999</c:v>
                </c:pt>
                <c:pt idx="2223">
                  <c:v>132.34899999999999</c:v>
                </c:pt>
                <c:pt idx="2224">
                  <c:v>132.34899999999999</c:v>
                </c:pt>
                <c:pt idx="2225">
                  <c:v>132.34899999999999</c:v>
                </c:pt>
                <c:pt idx="2226">
                  <c:v>133.17599999999999</c:v>
                </c:pt>
                <c:pt idx="2227">
                  <c:v>133.17599999999999</c:v>
                </c:pt>
                <c:pt idx="2228">
                  <c:v>133.17599999999999</c:v>
                </c:pt>
                <c:pt idx="2229">
                  <c:v>133.17599999999999</c:v>
                </c:pt>
                <c:pt idx="2230">
                  <c:v>133.17599999999999</c:v>
                </c:pt>
                <c:pt idx="2231">
                  <c:v>132.56100000000001</c:v>
                </c:pt>
                <c:pt idx="2232">
                  <c:v>132.56100000000001</c:v>
                </c:pt>
                <c:pt idx="2233">
                  <c:v>132.56100000000001</c:v>
                </c:pt>
                <c:pt idx="2234">
                  <c:v>132.56100000000001</c:v>
                </c:pt>
                <c:pt idx="2235">
                  <c:v>132.56100000000001</c:v>
                </c:pt>
                <c:pt idx="2236">
                  <c:v>133.75399999999999</c:v>
                </c:pt>
                <c:pt idx="2237">
                  <c:v>133.75399999999999</c:v>
                </c:pt>
                <c:pt idx="2238">
                  <c:v>133.75399999999999</c:v>
                </c:pt>
                <c:pt idx="2239">
                  <c:v>133.75399999999999</c:v>
                </c:pt>
                <c:pt idx="2240">
                  <c:v>133.75399999999999</c:v>
                </c:pt>
                <c:pt idx="2241">
                  <c:v>136.47999999999999</c:v>
                </c:pt>
                <c:pt idx="2242">
                  <c:v>136.47999999999999</c:v>
                </c:pt>
                <c:pt idx="2243">
                  <c:v>136.47999999999999</c:v>
                </c:pt>
                <c:pt idx="2244">
                  <c:v>136.47999999999999</c:v>
                </c:pt>
                <c:pt idx="2245">
                  <c:v>136.47999999999999</c:v>
                </c:pt>
                <c:pt idx="2246">
                  <c:v>137.52699999999999</c:v>
                </c:pt>
                <c:pt idx="2247">
                  <c:v>137.52699999999999</c:v>
                </c:pt>
                <c:pt idx="2248">
                  <c:v>137.52699999999999</c:v>
                </c:pt>
                <c:pt idx="2249">
                  <c:v>137.52699999999999</c:v>
                </c:pt>
                <c:pt idx="2250">
                  <c:v>137.52699999999999</c:v>
                </c:pt>
                <c:pt idx="2251">
                  <c:v>137.733</c:v>
                </c:pt>
                <c:pt idx="2252">
                  <c:v>137.733</c:v>
                </c:pt>
                <c:pt idx="2253">
                  <c:v>137.733</c:v>
                </c:pt>
                <c:pt idx="2254">
                  <c:v>137.733</c:v>
                </c:pt>
                <c:pt idx="2255">
                  <c:v>137.733</c:v>
                </c:pt>
                <c:pt idx="2256">
                  <c:v>138.08199999999999</c:v>
                </c:pt>
                <c:pt idx="2257">
                  <c:v>138.08199999999999</c:v>
                </c:pt>
                <c:pt idx="2258">
                  <c:v>138.08199999999999</c:v>
                </c:pt>
                <c:pt idx="2259">
                  <c:v>138.08199999999999</c:v>
                </c:pt>
                <c:pt idx="2260">
                  <c:v>138.08199999999999</c:v>
                </c:pt>
                <c:pt idx="2261">
                  <c:v>138.23400000000001</c:v>
                </c:pt>
                <c:pt idx="2262">
                  <c:v>138.23400000000001</c:v>
                </c:pt>
                <c:pt idx="2263">
                  <c:v>138.23400000000001</c:v>
                </c:pt>
                <c:pt idx="2264">
                  <c:v>138.23400000000001</c:v>
                </c:pt>
                <c:pt idx="2265">
                  <c:v>138.23400000000001</c:v>
                </c:pt>
                <c:pt idx="2266">
                  <c:v>138.65100000000001</c:v>
                </c:pt>
                <c:pt idx="2267">
                  <c:v>138.65100000000001</c:v>
                </c:pt>
                <c:pt idx="2268">
                  <c:v>138.65100000000001</c:v>
                </c:pt>
                <c:pt idx="2269">
                  <c:v>138.65100000000001</c:v>
                </c:pt>
                <c:pt idx="2270">
                  <c:v>138.65100000000001</c:v>
                </c:pt>
                <c:pt idx="2271">
                  <c:v>139.53200000000001</c:v>
                </c:pt>
                <c:pt idx="2272">
                  <c:v>139.53200000000001</c:v>
                </c:pt>
                <c:pt idx="2273">
                  <c:v>139.53200000000001</c:v>
                </c:pt>
                <c:pt idx="2274">
                  <c:v>139.53200000000001</c:v>
                </c:pt>
                <c:pt idx="2275">
                  <c:v>139.53200000000001</c:v>
                </c:pt>
                <c:pt idx="2276">
                  <c:v>138.76499999999999</c:v>
                </c:pt>
                <c:pt idx="2277">
                  <c:v>138.76499999999999</c:v>
                </c:pt>
                <c:pt idx="2278">
                  <c:v>138.76499999999999</c:v>
                </c:pt>
                <c:pt idx="2279">
                  <c:v>138.76499999999999</c:v>
                </c:pt>
                <c:pt idx="2280">
                  <c:v>138.76499999999999</c:v>
                </c:pt>
                <c:pt idx="2281">
                  <c:v>139.547</c:v>
                </c:pt>
                <c:pt idx="2282">
                  <c:v>139.547</c:v>
                </c:pt>
                <c:pt idx="2283">
                  <c:v>139.547</c:v>
                </c:pt>
                <c:pt idx="2284">
                  <c:v>139.547</c:v>
                </c:pt>
                <c:pt idx="2285">
                  <c:v>139.547</c:v>
                </c:pt>
                <c:pt idx="2286">
                  <c:v>139.03100000000001</c:v>
                </c:pt>
                <c:pt idx="2287">
                  <c:v>139.03100000000001</c:v>
                </c:pt>
                <c:pt idx="2288">
                  <c:v>139.03100000000001</c:v>
                </c:pt>
                <c:pt idx="2289">
                  <c:v>139.03100000000001</c:v>
                </c:pt>
                <c:pt idx="2290">
                  <c:v>139.03100000000001</c:v>
                </c:pt>
                <c:pt idx="2291">
                  <c:v>140.16200000000001</c:v>
                </c:pt>
                <c:pt idx="2292">
                  <c:v>140.16200000000001</c:v>
                </c:pt>
                <c:pt idx="2293">
                  <c:v>140.16200000000001</c:v>
                </c:pt>
                <c:pt idx="2294">
                  <c:v>140.16200000000001</c:v>
                </c:pt>
                <c:pt idx="2295">
                  <c:v>140.16200000000001</c:v>
                </c:pt>
                <c:pt idx="2296">
                  <c:v>139.31200000000001</c:v>
                </c:pt>
                <c:pt idx="2297">
                  <c:v>139.31200000000001</c:v>
                </c:pt>
                <c:pt idx="2298">
                  <c:v>139.31200000000001</c:v>
                </c:pt>
                <c:pt idx="2299">
                  <c:v>139.31200000000001</c:v>
                </c:pt>
                <c:pt idx="2300">
                  <c:v>139.31200000000001</c:v>
                </c:pt>
                <c:pt idx="2301">
                  <c:v>140.71700000000001</c:v>
                </c:pt>
                <c:pt idx="2302">
                  <c:v>140.71700000000001</c:v>
                </c:pt>
                <c:pt idx="2303">
                  <c:v>140.71700000000001</c:v>
                </c:pt>
                <c:pt idx="2304">
                  <c:v>140.71700000000001</c:v>
                </c:pt>
                <c:pt idx="2305">
                  <c:v>140.71700000000001</c:v>
                </c:pt>
                <c:pt idx="2306">
                  <c:v>141.393</c:v>
                </c:pt>
                <c:pt idx="2307">
                  <c:v>141.393</c:v>
                </c:pt>
                <c:pt idx="2308">
                  <c:v>141.393</c:v>
                </c:pt>
                <c:pt idx="2309">
                  <c:v>141.393</c:v>
                </c:pt>
                <c:pt idx="2310">
                  <c:v>141.393</c:v>
                </c:pt>
                <c:pt idx="2311">
                  <c:v>141.643</c:v>
                </c:pt>
                <c:pt idx="2312">
                  <c:v>141.643</c:v>
                </c:pt>
                <c:pt idx="2313">
                  <c:v>141.643</c:v>
                </c:pt>
                <c:pt idx="2314">
                  <c:v>141.643</c:v>
                </c:pt>
                <c:pt idx="2315">
                  <c:v>141.643</c:v>
                </c:pt>
                <c:pt idx="2316">
                  <c:v>141.89400000000001</c:v>
                </c:pt>
                <c:pt idx="2317">
                  <c:v>141.89400000000001</c:v>
                </c:pt>
                <c:pt idx="2318">
                  <c:v>141.89400000000001</c:v>
                </c:pt>
                <c:pt idx="2319">
                  <c:v>141.89400000000001</c:v>
                </c:pt>
                <c:pt idx="2320">
                  <c:v>141.89400000000001</c:v>
                </c:pt>
                <c:pt idx="2321">
                  <c:v>141.75</c:v>
                </c:pt>
                <c:pt idx="2322">
                  <c:v>141.75</c:v>
                </c:pt>
                <c:pt idx="2323">
                  <c:v>141.75</c:v>
                </c:pt>
                <c:pt idx="2324">
                  <c:v>141.75</c:v>
                </c:pt>
                <c:pt idx="2325">
                  <c:v>141.75</c:v>
                </c:pt>
                <c:pt idx="2326">
                  <c:v>142.19</c:v>
                </c:pt>
                <c:pt idx="2327">
                  <c:v>142.19</c:v>
                </c:pt>
                <c:pt idx="2328">
                  <c:v>142.19</c:v>
                </c:pt>
                <c:pt idx="2329">
                  <c:v>142.19</c:v>
                </c:pt>
                <c:pt idx="2330">
                  <c:v>142.19</c:v>
                </c:pt>
                <c:pt idx="2331">
                  <c:v>141.79499999999999</c:v>
                </c:pt>
                <c:pt idx="2332">
                  <c:v>141.79499999999999</c:v>
                </c:pt>
                <c:pt idx="2333">
                  <c:v>141.79499999999999</c:v>
                </c:pt>
                <c:pt idx="2334">
                  <c:v>141.79499999999999</c:v>
                </c:pt>
                <c:pt idx="2335">
                  <c:v>141.79499999999999</c:v>
                </c:pt>
                <c:pt idx="2336">
                  <c:v>141.84800000000001</c:v>
                </c:pt>
                <c:pt idx="2337">
                  <c:v>141.84800000000001</c:v>
                </c:pt>
                <c:pt idx="2338">
                  <c:v>141.84800000000001</c:v>
                </c:pt>
                <c:pt idx="2339">
                  <c:v>141.84800000000001</c:v>
                </c:pt>
                <c:pt idx="2340">
                  <c:v>141.84800000000001</c:v>
                </c:pt>
                <c:pt idx="2341">
                  <c:v>141.82599999999999</c:v>
                </c:pt>
                <c:pt idx="2342">
                  <c:v>141.82599999999999</c:v>
                </c:pt>
                <c:pt idx="2343">
                  <c:v>141.82599999999999</c:v>
                </c:pt>
                <c:pt idx="2344">
                  <c:v>141.82599999999999</c:v>
                </c:pt>
                <c:pt idx="2345">
                  <c:v>141.82599999999999</c:v>
                </c:pt>
                <c:pt idx="2346">
                  <c:v>141.68100000000001</c:v>
                </c:pt>
                <c:pt idx="2347">
                  <c:v>141.68100000000001</c:v>
                </c:pt>
                <c:pt idx="2348">
                  <c:v>141.68100000000001</c:v>
                </c:pt>
                <c:pt idx="2349">
                  <c:v>141.68100000000001</c:v>
                </c:pt>
                <c:pt idx="2350">
                  <c:v>141.68100000000001</c:v>
                </c:pt>
                <c:pt idx="2351">
                  <c:v>144.07300000000001</c:v>
                </c:pt>
                <c:pt idx="2352">
                  <c:v>144.07300000000001</c:v>
                </c:pt>
                <c:pt idx="2353">
                  <c:v>144.07300000000001</c:v>
                </c:pt>
                <c:pt idx="2354">
                  <c:v>144.07300000000001</c:v>
                </c:pt>
                <c:pt idx="2355">
                  <c:v>144.07300000000001</c:v>
                </c:pt>
                <c:pt idx="2356">
                  <c:v>143.49600000000001</c:v>
                </c:pt>
                <c:pt idx="2357">
                  <c:v>143.49600000000001</c:v>
                </c:pt>
                <c:pt idx="2358">
                  <c:v>143.49600000000001</c:v>
                </c:pt>
                <c:pt idx="2359">
                  <c:v>143.49600000000001</c:v>
                </c:pt>
                <c:pt idx="2360">
                  <c:v>143.49600000000001</c:v>
                </c:pt>
                <c:pt idx="2361">
                  <c:v>144.78700000000001</c:v>
                </c:pt>
                <c:pt idx="2362">
                  <c:v>144.78700000000001</c:v>
                </c:pt>
                <c:pt idx="2363">
                  <c:v>144.78700000000001</c:v>
                </c:pt>
                <c:pt idx="2364">
                  <c:v>144.78700000000001</c:v>
                </c:pt>
                <c:pt idx="2365">
                  <c:v>144.78700000000001</c:v>
                </c:pt>
                <c:pt idx="2366">
                  <c:v>144.43</c:v>
                </c:pt>
                <c:pt idx="2367">
                  <c:v>144.43</c:v>
                </c:pt>
                <c:pt idx="2368">
                  <c:v>144.43</c:v>
                </c:pt>
                <c:pt idx="2369">
                  <c:v>144.43</c:v>
                </c:pt>
                <c:pt idx="2370">
                  <c:v>144.43</c:v>
                </c:pt>
                <c:pt idx="2371">
                  <c:v>145.774</c:v>
                </c:pt>
                <c:pt idx="2372">
                  <c:v>145.774</c:v>
                </c:pt>
                <c:pt idx="2373">
                  <c:v>145.774</c:v>
                </c:pt>
                <c:pt idx="2374">
                  <c:v>145.774</c:v>
                </c:pt>
                <c:pt idx="2375">
                  <c:v>145.774</c:v>
                </c:pt>
                <c:pt idx="2376">
                  <c:v>144.43</c:v>
                </c:pt>
                <c:pt idx="2377">
                  <c:v>144.43</c:v>
                </c:pt>
                <c:pt idx="2378">
                  <c:v>144.43</c:v>
                </c:pt>
                <c:pt idx="2379">
                  <c:v>144.43</c:v>
                </c:pt>
                <c:pt idx="2380">
                  <c:v>144.43</c:v>
                </c:pt>
                <c:pt idx="2381">
                  <c:v>146.351</c:v>
                </c:pt>
                <c:pt idx="2382">
                  <c:v>146.351</c:v>
                </c:pt>
                <c:pt idx="2383">
                  <c:v>146.351</c:v>
                </c:pt>
                <c:pt idx="2384">
                  <c:v>146.351</c:v>
                </c:pt>
                <c:pt idx="2385">
                  <c:v>146.351</c:v>
                </c:pt>
                <c:pt idx="2386">
                  <c:v>151.81100000000001</c:v>
                </c:pt>
                <c:pt idx="2387">
                  <c:v>151.81100000000001</c:v>
                </c:pt>
                <c:pt idx="2388">
                  <c:v>151.81100000000001</c:v>
                </c:pt>
                <c:pt idx="2389">
                  <c:v>151.81100000000001</c:v>
                </c:pt>
                <c:pt idx="2390">
                  <c:v>151.81100000000001</c:v>
                </c:pt>
                <c:pt idx="2391">
                  <c:v>156.19999999999999</c:v>
                </c:pt>
                <c:pt idx="2392">
                  <c:v>156.19999999999999</c:v>
                </c:pt>
                <c:pt idx="2393">
                  <c:v>156.19999999999999</c:v>
                </c:pt>
                <c:pt idx="2394">
                  <c:v>156.19999999999999</c:v>
                </c:pt>
                <c:pt idx="2395">
                  <c:v>156.19999999999999</c:v>
                </c:pt>
                <c:pt idx="2396">
                  <c:v>155.76</c:v>
                </c:pt>
                <c:pt idx="2397">
                  <c:v>155.76</c:v>
                </c:pt>
                <c:pt idx="2398">
                  <c:v>155.76</c:v>
                </c:pt>
                <c:pt idx="2399">
                  <c:v>155.76</c:v>
                </c:pt>
                <c:pt idx="2400">
                  <c:v>155.76</c:v>
                </c:pt>
                <c:pt idx="2401">
                  <c:v>156.86099999999999</c:v>
                </c:pt>
                <c:pt idx="2402">
                  <c:v>156.86099999999999</c:v>
                </c:pt>
                <c:pt idx="2403">
                  <c:v>156.86099999999999</c:v>
                </c:pt>
                <c:pt idx="2404">
                  <c:v>156.86099999999999</c:v>
                </c:pt>
                <c:pt idx="2405">
                  <c:v>156.86099999999999</c:v>
                </c:pt>
                <c:pt idx="2406">
                  <c:v>156.458</c:v>
                </c:pt>
                <c:pt idx="2407">
                  <c:v>156.458</c:v>
                </c:pt>
                <c:pt idx="2408">
                  <c:v>156.458</c:v>
                </c:pt>
                <c:pt idx="2409">
                  <c:v>156.458</c:v>
                </c:pt>
                <c:pt idx="2410">
                  <c:v>156.458</c:v>
                </c:pt>
                <c:pt idx="2411">
                  <c:v>156.60300000000001</c:v>
                </c:pt>
                <c:pt idx="2412">
                  <c:v>156.60300000000001</c:v>
                </c:pt>
                <c:pt idx="2413">
                  <c:v>156.60300000000001</c:v>
                </c:pt>
                <c:pt idx="2414">
                  <c:v>156.60300000000001</c:v>
                </c:pt>
                <c:pt idx="2415">
                  <c:v>156.60300000000001</c:v>
                </c:pt>
                <c:pt idx="2416">
                  <c:v>158.10599999999999</c:v>
                </c:pt>
                <c:pt idx="2417">
                  <c:v>158.10599999999999</c:v>
                </c:pt>
                <c:pt idx="2418">
                  <c:v>158.10599999999999</c:v>
                </c:pt>
                <c:pt idx="2419">
                  <c:v>158.10599999999999</c:v>
                </c:pt>
                <c:pt idx="2420">
                  <c:v>158.10599999999999</c:v>
                </c:pt>
                <c:pt idx="2421">
                  <c:v>158.14400000000001</c:v>
                </c:pt>
                <c:pt idx="2422">
                  <c:v>158.14400000000001</c:v>
                </c:pt>
                <c:pt idx="2423">
                  <c:v>158.14400000000001</c:v>
                </c:pt>
                <c:pt idx="2424">
                  <c:v>158.14400000000001</c:v>
                </c:pt>
                <c:pt idx="2425">
                  <c:v>158.14400000000001</c:v>
                </c:pt>
                <c:pt idx="2426">
                  <c:v>158.81200000000001</c:v>
                </c:pt>
                <c:pt idx="2427">
                  <c:v>158.81200000000001</c:v>
                </c:pt>
                <c:pt idx="2428">
                  <c:v>158.81200000000001</c:v>
                </c:pt>
                <c:pt idx="2429">
                  <c:v>158.81200000000001</c:v>
                </c:pt>
                <c:pt idx="2430">
                  <c:v>158.81200000000001</c:v>
                </c:pt>
                <c:pt idx="2431">
                  <c:v>158.39500000000001</c:v>
                </c:pt>
                <c:pt idx="2432">
                  <c:v>158.39500000000001</c:v>
                </c:pt>
                <c:pt idx="2433">
                  <c:v>158.39500000000001</c:v>
                </c:pt>
                <c:pt idx="2434">
                  <c:v>158.39500000000001</c:v>
                </c:pt>
                <c:pt idx="2435">
                  <c:v>158.39500000000001</c:v>
                </c:pt>
                <c:pt idx="2436">
                  <c:v>160.99199999999999</c:v>
                </c:pt>
                <c:pt idx="2437">
                  <c:v>160.99199999999999</c:v>
                </c:pt>
                <c:pt idx="2438">
                  <c:v>160.99199999999999</c:v>
                </c:pt>
                <c:pt idx="2439">
                  <c:v>160.99199999999999</c:v>
                </c:pt>
                <c:pt idx="2440">
                  <c:v>160.99199999999999</c:v>
                </c:pt>
                <c:pt idx="2441">
                  <c:v>163.33799999999999</c:v>
                </c:pt>
                <c:pt idx="2442">
                  <c:v>163.33799999999999</c:v>
                </c:pt>
                <c:pt idx="2443">
                  <c:v>163.33799999999999</c:v>
                </c:pt>
                <c:pt idx="2444">
                  <c:v>163.33799999999999</c:v>
                </c:pt>
                <c:pt idx="2445">
                  <c:v>163.33799999999999</c:v>
                </c:pt>
                <c:pt idx="2446">
                  <c:v>163.923</c:v>
                </c:pt>
                <c:pt idx="2447">
                  <c:v>163.923</c:v>
                </c:pt>
                <c:pt idx="2448">
                  <c:v>163.923</c:v>
                </c:pt>
                <c:pt idx="2449">
                  <c:v>163.923</c:v>
                </c:pt>
                <c:pt idx="2450">
                  <c:v>163.923</c:v>
                </c:pt>
                <c:pt idx="2451">
                  <c:v>164.523</c:v>
                </c:pt>
                <c:pt idx="2452">
                  <c:v>164.523</c:v>
                </c:pt>
                <c:pt idx="2453">
                  <c:v>164.523</c:v>
                </c:pt>
                <c:pt idx="2454">
                  <c:v>164.523</c:v>
                </c:pt>
                <c:pt idx="2455">
                  <c:v>164.523</c:v>
                </c:pt>
                <c:pt idx="2456">
                  <c:v>166.96799999999999</c:v>
                </c:pt>
                <c:pt idx="2457">
                  <c:v>166.96799999999999</c:v>
                </c:pt>
                <c:pt idx="2458">
                  <c:v>166.96799999999999</c:v>
                </c:pt>
                <c:pt idx="2459">
                  <c:v>166.96799999999999</c:v>
                </c:pt>
                <c:pt idx="2460">
                  <c:v>166.96799999999999</c:v>
                </c:pt>
                <c:pt idx="2461">
                  <c:v>167.31</c:v>
                </c:pt>
                <c:pt idx="2462">
                  <c:v>167.31</c:v>
                </c:pt>
                <c:pt idx="2463">
                  <c:v>167.31</c:v>
                </c:pt>
                <c:pt idx="2464">
                  <c:v>167.31</c:v>
                </c:pt>
                <c:pt idx="2465">
                  <c:v>167.31</c:v>
                </c:pt>
                <c:pt idx="2466">
                  <c:v>166.953</c:v>
                </c:pt>
                <c:pt idx="2467">
                  <c:v>166.953</c:v>
                </c:pt>
                <c:pt idx="2468">
                  <c:v>166.953</c:v>
                </c:pt>
                <c:pt idx="2469">
                  <c:v>166.953</c:v>
                </c:pt>
                <c:pt idx="2470">
                  <c:v>166.953</c:v>
                </c:pt>
                <c:pt idx="2471">
                  <c:v>166.93700000000001</c:v>
                </c:pt>
                <c:pt idx="2472">
                  <c:v>166.93700000000001</c:v>
                </c:pt>
                <c:pt idx="2473">
                  <c:v>166.93700000000001</c:v>
                </c:pt>
                <c:pt idx="2474">
                  <c:v>166.93700000000001</c:v>
                </c:pt>
                <c:pt idx="2475">
                  <c:v>166.93700000000001</c:v>
                </c:pt>
                <c:pt idx="2476">
                  <c:v>167.279</c:v>
                </c:pt>
                <c:pt idx="2477">
                  <c:v>167.279</c:v>
                </c:pt>
                <c:pt idx="2478">
                  <c:v>167.279</c:v>
                </c:pt>
                <c:pt idx="2479">
                  <c:v>167.279</c:v>
                </c:pt>
                <c:pt idx="2480">
                  <c:v>167.279</c:v>
                </c:pt>
                <c:pt idx="2481">
                  <c:v>170.02099999999999</c:v>
                </c:pt>
                <c:pt idx="2482">
                  <c:v>170.02099999999999</c:v>
                </c:pt>
                <c:pt idx="2483">
                  <c:v>170.02099999999999</c:v>
                </c:pt>
                <c:pt idx="2484">
                  <c:v>170.02099999999999</c:v>
                </c:pt>
                <c:pt idx="2485">
                  <c:v>170.02099999999999</c:v>
                </c:pt>
                <c:pt idx="2486">
                  <c:v>170.46100000000001</c:v>
                </c:pt>
                <c:pt idx="2487">
                  <c:v>170.46100000000001</c:v>
                </c:pt>
                <c:pt idx="2488">
                  <c:v>170.46100000000001</c:v>
                </c:pt>
                <c:pt idx="2489">
                  <c:v>170.46100000000001</c:v>
                </c:pt>
                <c:pt idx="2490">
                  <c:v>170.46100000000001</c:v>
                </c:pt>
                <c:pt idx="2491">
                  <c:v>169.041</c:v>
                </c:pt>
                <c:pt idx="2492">
                  <c:v>169.041</c:v>
                </c:pt>
                <c:pt idx="2493">
                  <c:v>169.041</c:v>
                </c:pt>
                <c:pt idx="2494">
                  <c:v>169.041</c:v>
                </c:pt>
                <c:pt idx="2495">
                  <c:v>169.041</c:v>
                </c:pt>
                <c:pt idx="2496">
                  <c:v>171.501</c:v>
                </c:pt>
                <c:pt idx="2497">
                  <c:v>171.501</c:v>
                </c:pt>
                <c:pt idx="2498">
                  <c:v>171.501</c:v>
                </c:pt>
                <c:pt idx="2499">
                  <c:v>171.501</c:v>
                </c:pt>
                <c:pt idx="2500">
                  <c:v>171.501</c:v>
                </c:pt>
                <c:pt idx="2501">
                  <c:v>176.65</c:v>
                </c:pt>
                <c:pt idx="2502">
                  <c:v>176.65</c:v>
                </c:pt>
                <c:pt idx="2503">
                  <c:v>176.65</c:v>
                </c:pt>
                <c:pt idx="2504">
                  <c:v>176.65</c:v>
                </c:pt>
                <c:pt idx="2505">
                  <c:v>176.65</c:v>
                </c:pt>
                <c:pt idx="2506">
                  <c:v>177.614</c:v>
                </c:pt>
                <c:pt idx="2507">
                  <c:v>177.614</c:v>
                </c:pt>
                <c:pt idx="2508">
                  <c:v>177.614</c:v>
                </c:pt>
                <c:pt idx="2509">
                  <c:v>177.614</c:v>
                </c:pt>
                <c:pt idx="2510">
                  <c:v>177.614</c:v>
                </c:pt>
                <c:pt idx="2511">
                  <c:v>178.41900000000001</c:v>
                </c:pt>
                <c:pt idx="2512">
                  <c:v>178.41900000000001</c:v>
                </c:pt>
                <c:pt idx="2513">
                  <c:v>178.41900000000001</c:v>
                </c:pt>
                <c:pt idx="2514">
                  <c:v>178.41900000000001</c:v>
                </c:pt>
                <c:pt idx="2515">
                  <c:v>178.41900000000001</c:v>
                </c:pt>
                <c:pt idx="2516">
                  <c:v>178.77600000000001</c:v>
                </c:pt>
                <c:pt idx="2517">
                  <c:v>178.77600000000001</c:v>
                </c:pt>
                <c:pt idx="2518">
                  <c:v>178.77600000000001</c:v>
                </c:pt>
                <c:pt idx="2519">
                  <c:v>178.77600000000001</c:v>
                </c:pt>
                <c:pt idx="2520">
                  <c:v>178.77600000000001</c:v>
                </c:pt>
                <c:pt idx="2521">
                  <c:v>178.67699999999999</c:v>
                </c:pt>
                <c:pt idx="2522">
                  <c:v>178.67699999999999</c:v>
                </c:pt>
                <c:pt idx="2523">
                  <c:v>178.67699999999999</c:v>
                </c:pt>
                <c:pt idx="2524">
                  <c:v>178.67699999999999</c:v>
                </c:pt>
                <c:pt idx="2525">
                  <c:v>178.67699999999999</c:v>
                </c:pt>
                <c:pt idx="2526">
                  <c:v>182.58</c:v>
                </c:pt>
                <c:pt idx="2527">
                  <c:v>182.58</c:v>
                </c:pt>
                <c:pt idx="2528">
                  <c:v>182.58</c:v>
                </c:pt>
                <c:pt idx="2529">
                  <c:v>182.58</c:v>
                </c:pt>
                <c:pt idx="2530">
                  <c:v>182.58</c:v>
                </c:pt>
                <c:pt idx="2531">
                  <c:v>182.06399999999999</c:v>
                </c:pt>
                <c:pt idx="2532">
                  <c:v>182.06399999999999</c:v>
                </c:pt>
                <c:pt idx="2533">
                  <c:v>182.06399999999999</c:v>
                </c:pt>
                <c:pt idx="2534">
                  <c:v>182.06399999999999</c:v>
                </c:pt>
                <c:pt idx="2535">
                  <c:v>182.06399999999999</c:v>
                </c:pt>
                <c:pt idx="2536">
                  <c:v>182.57300000000001</c:v>
                </c:pt>
                <c:pt idx="2537">
                  <c:v>182.57300000000001</c:v>
                </c:pt>
                <c:pt idx="2538">
                  <c:v>182.57300000000001</c:v>
                </c:pt>
                <c:pt idx="2539">
                  <c:v>182.57300000000001</c:v>
                </c:pt>
                <c:pt idx="2540">
                  <c:v>182.57300000000001</c:v>
                </c:pt>
                <c:pt idx="2541">
                  <c:v>182.97499999999999</c:v>
                </c:pt>
                <c:pt idx="2542">
                  <c:v>182.97499999999999</c:v>
                </c:pt>
                <c:pt idx="2543">
                  <c:v>182.97499999999999</c:v>
                </c:pt>
                <c:pt idx="2544">
                  <c:v>182.97499999999999</c:v>
                </c:pt>
                <c:pt idx="2545">
                  <c:v>182.97499999999999</c:v>
                </c:pt>
                <c:pt idx="2546">
                  <c:v>186.29400000000001</c:v>
                </c:pt>
                <c:pt idx="2547">
                  <c:v>186.29400000000001</c:v>
                </c:pt>
                <c:pt idx="2548">
                  <c:v>186.29400000000001</c:v>
                </c:pt>
                <c:pt idx="2549">
                  <c:v>186.29400000000001</c:v>
                </c:pt>
                <c:pt idx="2550">
                  <c:v>186.29400000000001</c:v>
                </c:pt>
                <c:pt idx="2551">
                  <c:v>186.696</c:v>
                </c:pt>
                <c:pt idx="2552">
                  <c:v>186.696</c:v>
                </c:pt>
                <c:pt idx="2553">
                  <c:v>186.696</c:v>
                </c:pt>
                <c:pt idx="2554">
                  <c:v>186.696</c:v>
                </c:pt>
                <c:pt idx="2555">
                  <c:v>186.696</c:v>
                </c:pt>
                <c:pt idx="2556">
                  <c:v>186.84</c:v>
                </c:pt>
                <c:pt idx="2557">
                  <c:v>186.84</c:v>
                </c:pt>
                <c:pt idx="2558">
                  <c:v>186.84</c:v>
                </c:pt>
                <c:pt idx="2559">
                  <c:v>186.84</c:v>
                </c:pt>
                <c:pt idx="2560">
                  <c:v>186.84</c:v>
                </c:pt>
                <c:pt idx="2561">
                  <c:v>187.41</c:v>
                </c:pt>
                <c:pt idx="2562">
                  <c:v>187.41</c:v>
                </c:pt>
                <c:pt idx="2563">
                  <c:v>187.41</c:v>
                </c:pt>
                <c:pt idx="2564">
                  <c:v>187.41</c:v>
                </c:pt>
                <c:pt idx="2565">
                  <c:v>187.41</c:v>
                </c:pt>
                <c:pt idx="2566">
                  <c:v>191.17599999999999</c:v>
                </c:pt>
                <c:pt idx="2567">
                  <c:v>191.17599999999999</c:v>
                </c:pt>
                <c:pt idx="2568">
                  <c:v>191.17599999999999</c:v>
                </c:pt>
                <c:pt idx="2569">
                  <c:v>191.17599999999999</c:v>
                </c:pt>
                <c:pt idx="2570">
                  <c:v>191.17599999999999</c:v>
                </c:pt>
                <c:pt idx="2571">
                  <c:v>191.852</c:v>
                </c:pt>
                <c:pt idx="2572">
                  <c:v>191.852</c:v>
                </c:pt>
                <c:pt idx="2573">
                  <c:v>191.852</c:v>
                </c:pt>
                <c:pt idx="2574">
                  <c:v>191.852</c:v>
                </c:pt>
                <c:pt idx="2575">
                  <c:v>191.852</c:v>
                </c:pt>
                <c:pt idx="2576">
                  <c:v>191.88200000000001</c:v>
                </c:pt>
                <c:pt idx="2577">
                  <c:v>191.88200000000001</c:v>
                </c:pt>
                <c:pt idx="2578">
                  <c:v>191.88200000000001</c:v>
                </c:pt>
                <c:pt idx="2579">
                  <c:v>191.88200000000001</c:v>
                </c:pt>
                <c:pt idx="2580">
                  <c:v>191.88200000000001</c:v>
                </c:pt>
                <c:pt idx="2581">
                  <c:v>192.05699999999999</c:v>
                </c:pt>
                <c:pt idx="2582">
                  <c:v>192.05699999999999</c:v>
                </c:pt>
                <c:pt idx="2583">
                  <c:v>192.05699999999999</c:v>
                </c:pt>
                <c:pt idx="2584">
                  <c:v>192.05699999999999</c:v>
                </c:pt>
                <c:pt idx="2585">
                  <c:v>192.05699999999999</c:v>
                </c:pt>
                <c:pt idx="2586">
                  <c:v>191.89</c:v>
                </c:pt>
                <c:pt idx="2587">
                  <c:v>191.89</c:v>
                </c:pt>
                <c:pt idx="2588">
                  <c:v>191.89</c:v>
                </c:pt>
                <c:pt idx="2589">
                  <c:v>191.89</c:v>
                </c:pt>
                <c:pt idx="2590">
                  <c:v>191.89</c:v>
                </c:pt>
                <c:pt idx="2591">
                  <c:v>197.054</c:v>
                </c:pt>
                <c:pt idx="2592">
                  <c:v>197.054</c:v>
                </c:pt>
                <c:pt idx="2593">
                  <c:v>197.054</c:v>
                </c:pt>
                <c:pt idx="2594">
                  <c:v>197.054</c:v>
                </c:pt>
                <c:pt idx="2595">
                  <c:v>197.054</c:v>
                </c:pt>
                <c:pt idx="2596">
                  <c:v>197.25899999999999</c:v>
                </c:pt>
                <c:pt idx="2597">
                  <c:v>197.25899999999999</c:v>
                </c:pt>
                <c:pt idx="2598">
                  <c:v>197.25899999999999</c:v>
                </c:pt>
                <c:pt idx="2599">
                  <c:v>197.25899999999999</c:v>
                </c:pt>
                <c:pt idx="2600">
                  <c:v>197.25899999999999</c:v>
                </c:pt>
                <c:pt idx="2601">
                  <c:v>197.20599999999999</c:v>
                </c:pt>
                <c:pt idx="2602">
                  <c:v>197.20599999999999</c:v>
                </c:pt>
                <c:pt idx="2603">
                  <c:v>197.20599999999999</c:v>
                </c:pt>
                <c:pt idx="2604">
                  <c:v>197.20599999999999</c:v>
                </c:pt>
                <c:pt idx="2605">
                  <c:v>197.20599999999999</c:v>
                </c:pt>
                <c:pt idx="2606">
                  <c:v>197.03100000000001</c:v>
                </c:pt>
                <c:pt idx="2607">
                  <c:v>197.03100000000001</c:v>
                </c:pt>
                <c:pt idx="2608">
                  <c:v>197.03100000000001</c:v>
                </c:pt>
                <c:pt idx="2609">
                  <c:v>197.03100000000001</c:v>
                </c:pt>
                <c:pt idx="2610">
                  <c:v>197.03100000000001</c:v>
                </c:pt>
                <c:pt idx="2611">
                  <c:v>197.39500000000001</c:v>
                </c:pt>
                <c:pt idx="2612">
                  <c:v>197.39500000000001</c:v>
                </c:pt>
                <c:pt idx="2613">
                  <c:v>197.39500000000001</c:v>
                </c:pt>
                <c:pt idx="2614">
                  <c:v>197.39500000000001</c:v>
                </c:pt>
                <c:pt idx="2615">
                  <c:v>197.39500000000001</c:v>
                </c:pt>
                <c:pt idx="2616">
                  <c:v>196.87100000000001</c:v>
                </c:pt>
                <c:pt idx="2617">
                  <c:v>196.87100000000001</c:v>
                </c:pt>
                <c:pt idx="2618">
                  <c:v>196.87100000000001</c:v>
                </c:pt>
                <c:pt idx="2619">
                  <c:v>196.87100000000001</c:v>
                </c:pt>
                <c:pt idx="2620">
                  <c:v>196.87100000000001</c:v>
                </c:pt>
                <c:pt idx="2621">
                  <c:v>198.29900000000001</c:v>
                </c:pt>
                <c:pt idx="2622">
                  <c:v>198.29900000000001</c:v>
                </c:pt>
                <c:pt idx="2623">
                  <c:v>198.29900000000001</c:v>
                </c:pt>
                <c:pt idx="2624">
                  <c:v>198.29900000000001</c:v>
                </c:pt>
                <c:pt idx="2625">
                  <c:v>198.29900000000001</c:v>
                </c:pt>
                <c:pt idx="2626">
                  <c:v>198.22300000000001</c:v>
                </c:pt>
                <c:pt idx="2627">
                  <c:v>198.22300000000001</c:v>
                </c:pt>
                <c:pt idx="2628">
                  <c:v>198.22300000000001</c:v>
                </c:pt>
                <c:pt idx="2629">
                  <c:v>198.22300000000001</c:v>
                </c:pt>
                <c:pt idx="2630">
                  <c:v>198.22300000000001</c:v>
                </c:pt>
                <c:pt idx="2631">
                  <c:v>201.018</c:v>
                </c:pt>
                <c:pt idx="2632">
                  <c:v>201.018</c:v>
                </c:pt>
                <c:pt idx="2633">
                  <c:v>201.018</c:v>
                </c:pt>
                <c:pt idx="2634">
                  <c:v>201.018</c:v>
                </c:pt>
                <c:pt idx="2635">
                  <c:v>201.018</c:v>
                </c:pt>
                <c:pt idx="2636">
                  <c:v>201.815</c:v>
                </c:pt>
                <c:pt idx="2637">
                  <c:v>201.815</c:v>
                </c:pt>
                <c:pt idx="2638">
                  <c:v>201.815</c:v>
                </c:pt>
                <c:pt idx="2639">
                  <c:v>201.815</c:v>
                </c:pt>
                <c:pt idx="2640">
                  <c:v>201.815</c:v>
                </c:pt>
                <c:pt idx="2641">
                  <c:v>202.73400000000001</c:v>
                </c:pt>
                <c:pt idx="2642">
                  <c:v>202.73400000000001</c:v>
                </c:pt>
                <c:pt idx="2643">
                  <c:v>202.73400000000001</c:v>
                </c:pt>
                <c:pt idx="2644">
                  <c:v>202.73400000000001</c:v>
                </c:pt>
                <c:pt idx="2645">
                  <c:v>202.73400000000001</c:v>
                </c:pt>
                <c:pt idx="2646">
                  <c:v>202.506</c:v>
                </c:pt>
                <c:pt idx="2647">
                  <c:v>202.506</c:v>
                </c:pt>
                <c:pt idx="2648">
                  <c:v>202.506</c:v>
                </c:pt>
                <c:pt idx="2649">
                  <c:v>202.506</c:v>
                </c:pt>
                <c:pt idx="2650">
                  <c:v>202.506</c:v>
                </c:pt>
                <c:pt idx="2651">
                  <c:v>203.691</c:v>
                </c:pt>
                <c:pt idx="2652">
                  <c:v>203.691</c:v>
                </c:pt>
                <c:pt idx="2653">
                  <c:v>203.691</c:v>
                </c:pt>
                <c:pt idx="2654">
                  <c:v>203.691</c:v>
                </c:pt>
                <c:pt idx="2655">
                  <c:v>203.691</c:v>
                </c:pt>
                <c:pt idx="2656">
                  <c:v>202.36199999999999</c:v>
                </c:pt>
                <c:pt idx="2657">
                  <c:v>202.36199999999999</c:v>
                </c:pt>
                <c:pt idx="2658">
                  <c:v>202.36199999999999</c:v>
                </c:pt>
                <c:pt idx="2659">
                  <c:v>202.36199999999999</c:v>
                </c:pt>
                <c:pt idx="2660">
                  <c:v>202.36199999999999</c:v>
                </c:pt>
                <c:pt idx="2661">
                  <c:v>202.02</c:v>
                </c:pt>
                <c:pt idx="2662">
                  <c:v>202.02</c:v>
                </c:pt>
                <c:pt idx="2663">
                  <c:v>202.02</c:v>
                </c:pt>
                <c:pt idx="2664">
                  <c:v>202.02</c:v>
                </c:pt>
                <c:pt idx="2665">
                  <c:v>202.02</c:v>
                </c:pt>
                <c:pt idx="2666">
                  <c:v>202.62</c:v>
                </c:pt>
                <c:pt idx="2667">
                  <c:v>202.62</c:v>
                </c:pt>
                <c:pt idx="2668">
                  <c:v>202.62</c:v>
                </c:pt>
                <c:pt idx="2669">
                  <c:v>202.62</c:v>
                </c:pt>
                <c:pt idx="2670">
                  <c:v>202.62</c:v>
                </c:pt>
                <c:pt idx="2671">
                  <c:v>202.74100000000001</c:v>
                </c:pt>
                <c:pt idx="2672">
                  <c:v>202.74100000000001</c:v>
                </c:pt>
                <c:pt idx="2673">
                  <c:v>202.74100000000001</c:v>
                </c:pt>
                <c:pt idx="2674">
                  <c:v>202.74100000000001</c:v>
                </c:pt>
                <c:pt idx="2675">
                  <c:v>202.74100000000001</c:v>
                </c:pt>
                <c:pt idx="2676">
                  <c:v>203.04499999999999</c:v>
                </c:pt>
                <c:pt idx="2677">
                  <c:v>203.04499999999999</c:v>
                </c:pt>
                <c:pt idx="2678">
                  <c:v>203.04499999999999</c:v>
                </c:pt>
                <c:pt idx="2679">
                  <c:v>203.04499999999999</c:v>
                </c:pt>
                <c:pt idx="2680">
                  <c:v>203.04499999999999</c:v>
                </c:pt>
                <c:pt idx="2681">
                  <c:v>202.68</c:v>
                </c:pt>
                <c:pt idx="2682">
                  <c:v>202.68</c:v>
                </c:pt>
                <c:pt idx="2683">
                  <c:v>202.68</c:v>
                </c:pt>
                <c:pt idx="2684">
                  <c:v>202.68</c:v>
                </c:pt>
                <c:pt idx="2685">
                  <c:v>202.68</c:v>
                </c:pt>
                <c:pt idx="2686">
                  <c:v>203.37899999999999</c:v>
                </c:pt>
                <c:pt idx="2687">
                  <c:v>203.37899999999999</c:v>
                </c:pt>
                <c:pt idx="2688">
                  <c:v>203.37899999999999</c:v>
                </c:pt>
                <c:pt idx="2689">
                  <c:v>203.37899999999999</c:v>
                </c:pt>
                <c:pt idx="2690">
                  <c:v>203.37899999999999</c:v>
                </c:pt>
                <c:pt idx="2691">
                  <c:v>203.07499999999999</c:v>
                </c:pt>
                <c:pt idx="2692">
                  <c:v>203.07499999999999</c:v>
                </c:pt>
                <c:pt idx="2693">
                  <c:v>203.07499999999999</c:v>
                </c:pt>
                <c:pt idx="2694">
                  <c:v>203.07499999999999</c:v>
                </c:pt>
                <c:pt idx="2695">
                  <c:v>203.07499999999999</c:v>
                </c:pt>
                <c:pt idx="2696">
                  <c:v>203.50800000000001</c:v>
                </c:pt>
                <c:pt idx="2697">
                  <c:v>203.50800000000001</c:v>
                </c:pt>
                <c:pt idx="2698">
                  <c:v>203.50800000000001</c:v>
                </c:pt>
                <c:pt idx="2699">
                  <c:v>203.50800000000001</c:v>
                </c:pt>
                <c:pt idx="2700">
                  <c:v>203.50800000000001</c:v>
                </c:pt>
                <c:pt idx="2701">
                  <c:v>203.73599999999999</c:v>
                </c:pt>
                <c:pt idx="2702">
                  <c:v>203.73599999999999</c:v>
                </c:pt>
                <c:pt idx="2703">
                  <c:v>203.73599999999999</c:v>
                </c:pt>
                <c:pt idx="2704">
                  <c:v>203.73599999999999</c:v>
                </c:pt>
                <c:pt idx="2705">
                  <c:v>203.73599999999999</c:v>
                </c:pt>
                <c:pt idx="2706">
                  <c:v>204.351</c:v>
                </c:pt>
                <c:pt idx="2707">
                  <c:v>204.351</c:v>
                </c:pt>
                <c:pt idx="2708">
                  <c:v>204.351</c:v>
                </c:pt>
                <c:pt idx="2709">
                  <c:v>204.351</c:v>
                </c:pt>
                <c:pt idx="2710">
                  <c:v>204.351</c:v>
                </c:pt>
                <c:pt idx="2711">
                  <c:v>203.721</c:v>
                </c:pt>
                <c:pt idx="2712">
                  <c:v>203.721</c:v>
                </c:pt>
                <c:pt idx="2713">
                  <c:v>203.721</c:v>
                </c:pt>
                <c:pt idx="2714">
                  <c:v>203.721</c:v>
                </c:pt>
                <c:pt idx="2715">
                  <c:v>203.721</c:v>
                </c:pt>
                <c:pt idx="2716">
                  <c:v>205.953</c:v>
                </c:pt>
                <c:pt idx="2717">
                  <c:v>205.953</c:v>
                </c:pt>
                <c:pt idx="2718">
                  <c:v>205.953</c:v>
                </c:pt>
                <c:pt idx="2719">
                  <c:v>205.953</c:v>
                </c:pt>
                <c:pt idx="2720">
                  <c:v>205.953</c:v>
                </c:pt>
                <c:pt idx="2721">
                  <c:v>205.08</c:v>
                </c:pt>
                <c:pt idx="2722">
                  <c:v>205.08</c:v>
                </c:pt>
                <c:pt idx="2723">
                  <c:v>205.08</c:v>
                </c:pt>
                <c:pt idx="2724">
                  <c:v>205.08</c:v>
                </c:pt>
                <c:pt idx="2725">
                  <c:v>205.08</c:v>
                </c:pt>
                <c:pt idx="2726">
                  <c:v>206.12799999999999</c:v>
                </c:pt>
                <c:pt idx="2727">
                  <c:v>206.12799999999999</c:v>
                </c:pt>
                <c:pt idx="2728">
                  <c:v>206.12799999999999</c:v>
                </c:pt>
                <c:pt idx="2729">
                  <c:v>206.12799999999999</c:v>
                </c:pt>
                <c:pt idx="2730">
                  <c:v>206.12799999999999</c:v>
                </c:pt>
                <c:pt idx="2731">
                  <c:v>206.20400000000001</c:v>
                </c:pt>
                <c:pt idx="2732">
                  <c:v>206.20400000000001</c:v>
                </c:pt>
                <c:pt idx="2733">
                  <c:v>206.20400000000001</c:v>
                </c:pt>
                <c:pt idx="2734">
                  <c:v>206.20400000000001</c:v>
                </c:pt>
                <c:pt idx="2735">
                  <c:v>206.20400000000001</c:v>
                </c:pt>
                <c:pt idx="2736">
                  <c:v>206.87200000000001</c:v>
                </c:pt>
                <c:pt idx="2737">
                  <c:v>206.87200000000001</c:v>
                </c:pt>
                <c:pt idx="2738">
                  <c:v>206.87200000000001</c:v>
                </c:pt>
                <c:pt idx="2739">
                  <c:v>206.87200000000001</c:v>
                </c:pt>
                <c:pt idx="2740">
                  <c:v>206.87200000000001</c:v>
                </c:pt>
                <c:pt idx="2741">
                  <c:v>207.1</c:v>
                </c:pt>
                <c:pt idx="2742">
                  <c:v>207.1</c:v>
                </c:pt>
                <c:pt idx="2743">
                  <c:v>207.1</c:v>
                </c:pt>
                <c:pt idx="2744">
                  <c:v>207.1</c:v>
                </c:pt>
                <c:pt idx="2745">
                  <c:v>207.1</c:v>
                </c:pt>
                <c:pt idx="2746">
                  <c:v>207.518</c:v>
                </c:pt>
                <c:pt idx="2747">
                  <c:v>207.518</c:v>
                </c:pt>
                <c:pt idx="2748">
                  <c:v>207.518</c:v>
                </c:pt>
                <c:pt idx="2749">
                  <c:v>207.518</c:v>
                </c:pt>
                <c:pt idx="2750">
                  <c:v>207.518</c:v>
                </c:pt>
                <c:pt idx="2751">
                  <c:v>206.994</c:v>
                </c:pt>
                <c:pt idx="2752">
                  <c:v>206.994</c:v>
                </c:pt>
                <c:pt idx="2753">
                  <c:v>206.994</c:v>
                </c:pt>
                <c:pt idx="2754">
                  <c:v>206.994</c:v>
                </c:pt>
                <c:pt idx="2755">
                  <c:v>206.994</c:v>
                </c:pt>
                <c:pt idx="2756">
                  <c:v>207.44200000000001</c:v>
                </c:pt>
                <c:pt idx="2757">
                  <c:v>207.44200000000001</c:v>
                </c:pt>
                <c:pt idx="2758">
                  <c:v>207.44200000000001</c:v>
                </c:pt>
                <c:pt idx="2759">
                  <c:v>207.44200000000001</c:v>
                </c:pt>
                <c:pt idx="2760">
                  <c:v>207.44200000000001</c:v>
                </c:pt>
                <c:pt idx="2761">
                  <c:v>208.596</c:v>
                </c:pt>
                <c:pt idx="2762">
                  <c:v>208.596</c:v>
                </c:pt>
                <c:pt idx="2763">
                  <c:v>208.596</c:v>
                </c:pt>
                <c:pt idx="2764">
                  <c:v>208.596</c:v>
                </c:pt>
                <c:pt idx="2765">
                  <c:v>208.596</c:v>
                </c:pt>
                <c:pt idx="2766">
                  <c:v>208.672</c:v>
                </c:pt>
                <c:pt idx="2767">
                  <c:v>208.672</c:v>
                </c:pt>
                <c:pt idx="2768">
                  <c:v>208.672</c:v>
                </c:pt>
                <c:pt idx="2769">
                  <c:v>208.672</c:v>
                </c:pt>
                <c:pt idx="2770">
                  <c:v>208.672</c:v>
                </c:pt>
                <c:pt idx="2771">
                  <c:v>209.196</c:v>
                </c:pt>
                <c:pt idx="2772">
                  <c:v>209.196</c:v>
                </c:pt>
                <c:pt idx="2773">
                  <c:v>209.196</c:v>
                </c:pt>
                <c:pt idx="2774">
                  <c:v>209.196</c:v>
                </c:pt>
                <c:pt idx="2775">
                  <c:v>209.196</c:v>
                </c:pt>
                <c:pt idx="2776">
                  <c:v>209.43100000000001</c:v>
                </c:pt>
                <c:pt idx="2777">
                  <c:v>209.43100000000001</c:v>
                </c:pt>
                <c:pt idx="2778">
                  <c:v>209.43100000000001</c:v>
                </c:pt>
                <c:pt idx="2779">
                  <c:v>209.43100000000001</c:v>
                </c:pt>
                <c:pt idx="2780">
                  <c:v>209.43100000000001</c:v>
                </c:pt>
                <c:pt idx="2781">
                  <c:v>209.37100000000001</c:v>
                </c:pt>
                <c:pt idx="2782">
                  <c:v>209.37100000000001</c:v>
                </c:pt>
                <c:pt idx="2783">
                  <c:v>209.37100000000001</c:v>
                </c:pt>
                <c:pt idx="2784">
                  <c:v>209.37100000000001</c:v>
                </c:pt>
                <c:pt idx="2785">
                  <c:v>209.37100000000001</c:v>
                </c:pt>
                <c:pt idx="2786">
                  <c:v>211.261</c:v>
                </c:pt>
                <c:pt idx="2787">
                  <c:v>211.261</c:v>
                </c:pt>
                <c:pt idx="2788">
                  <c:v>211.261</c:v>
                </c:pt>
                <c:pt idx="2789">
                  <c:v>211.261</c:v>
                </c:pt>
                <c:pt idx="2790">
                  <c:v>211.261</c:v>
                </c:pt>
                <c:pt idx="2791">
                  <c:v>211.08699999999999</c:v>
                </c:pt>
                <c:pt idx="2792">
                  <c:v>211.08699999999999</c:v>
                </c:pt>
                <c:pt idx="2793">
                  <c:v>211.08699999999999</c:v>
                </c:pt>
                <c:pt idx="2794">
                  <c:v>211.08699999999999</c:v>
                </c:pt>
                <c:pt idx="2795">
                  <c:v>211.08699999999999</c:v>
                </c:pt>
                <c:pt idx="2796">
                  <c:v>210.73</c:v>
                </c:pt>
                <c:pt idx="2797">
                  <c:v>210.73</c:v>
                </c:pt>
                <c:pt idx="2798">
                  <c:v>210.73</c:v>
                </c:pt>
                <c:pt idx="2799">
                  <c:v>210.73</c:v>
                </c:pt>
                <c:pt idx="2800">
                  <c:v>210.73</c:v>
                </c:pt>
                <c:pt idx="2801">
                  <c:v>210.84399999999999</c:v>
                </c:pt>
                <c:pt idx="2802">
                  <c:v>210.84399999999999</c:v>
                </c:pt>
                <c:pt idx="2803">
                  <c:v>210.84399999999999</c:v>
                </c:pt>
                <c:pt idx="2804">
                  <c:v>210.84399999999999</c:v>
                </c:pt>
                <c:pt idx="2805">
                  <c:v>210.84399999999999</c:v>
                </c:pt>
                <c:pt idx="2806">
                  <c:v>212.35499999999999</c:v>
                </c:pt>
                <c:pt idx="2807">
                  <c:v>212.35499999999999</c:v>
                </c:pt>
                <c:pt idx="2808">
                  <c:v>212.35499999999999</c:v>
                </c:pt>
                <c:pt idx="2809">
                  <c:v>212.35499999999999</c:v>
                </c:pt>
                <c:pt idx="2810">
                  <c:v>212.35499999999999</c:v>
                </c:pt>
                <c:pt idx="2811">
                  <c:v>213.01499999999999</c:v>
                </c:pt>
                <c:pt idx="2812">
                  <c:v>213.01499999999999</c:v>
                </c:pt>
                <c:pt idx="2813">
                  <c:v>213.01499999999999</c:v>
                </c:pt>
                <c:pt idx="2814">
                  <c:v>213.01499999999999</c:v>
                </c:pt>
                <c:pt idx="2815">
                  <c:v>213.01499999999999</c:v>
                </c:pt>
                <c:pt idx="2816">
                  <c:v>213.858</c:v>
                </c:pt>
                <c:pt idx="2817">
                  <c:v>213.858</c:v>
                </c:pt>
                <c:pt idx="2818">
                  <c:v>213.858</c:v>
                </c:pt>
                <c:pt idx="2819">
                  <c:v>213.858</c:v>
                </c:pt>
                <c:pt idx="2820">
                  <c:v>213.858</c:v>
                </c:pt>
                <c:pt idx="2821">
                  <c:v>214.23</c:v>
                </c:pt>
                <c:pt idx="2822">
                  <c:v>214.23</c:v>
                </c:pt>
                <c:pt idx="2823">
                  <c:v>214.23</c:v>
                </c:pt>
                <c:pt idx="2824">
                  <c:v>214.23</c:v>
                </c:pt>
                <c:pt idx="2825">
                  <c:v>214.23</c:v>
                </c:pt>
                <c:pt idx="2826">
                  <c:v>215.84800000000001</c:v>
                </c:pt>
                <c:pt idx="2827">
                  <c:v>215.84800000000001</c:v>
                </c:pt>
                <c:pt idx="2828">
                  <c:v>215.84800000000001</c:v>
                </c:pt>
                <c:pt idx="2829">
                  <c:v>215.84800000000001</c:v>
                </c:pt>
                <c:pt idx="2830">
                  <c:v>215.84800000000001</c:v>
                </c:pt>
                <c:pt idx="2831">
                  <c:v>216.48599999999999</c:v>
                </c:pt>
                <c:pt idx="2832">
                  <c:v>216.48599999999999</c:v>
                </c:pt>
                <c:pt idx="2833">
                  <c:v>216.48599999999999</c:v>
                </c:pt>
                <c:pt idx="2834">
                  <c:v>216.48599999999999</c:v>
                </c:pt>
                <c:pt idx="2835">
                  <c:v>216.48599999999999</c:v>
                </c:pt>
                <c:pt idx="2836">
                  <c:v>218.59700000000001</c:v>
                </c:pt>
                <c:pt idx="2837">
                  <c:v>218.59700000000001</c:v>
                </c:pt>
                <c:pt idx="2838">
                  <c:v>218.59700000000001</c:v>
                </c:pt>
                <c:pt idx="2839">
                  <c:v>218.59700000000001</c:v>
                </c:pt>
                <c:pt idx="2840">
                  <c:v>218.59700000000001</c:v>
                </c:pt>
                <c:pt idx="2841">
                  <c:v>218.59700000000001</c:v>
                </c:pt>
                <c:pt idx="2842">
                  <c:v>218.59700000000001</c:v>
                </c:pt>
                <c:pt idx="2843">
                  <c:v>218.59700000000001</c:v>
                </c:pt>
              </c:numCache>
            </c:numRef>
          </c:val>
          <c:smooth val="0"/>
          <c:extLst>
            <c:ext xmlns:c16="http://schemas.microsoft.com/office/drawing/2014/chart" uri="{C3380CC4-5D6E-409C-BE32-E72D297353CC}">
              <c16:uniqueId val="{00000001-A4F8-429B-80C0-2940C8EC2CC2}"/>
            </c:ext>
          </c:extLst>
        </c:ser>
        <c:dLbls>
          <c:showLegendKey val="0"/>
          <c:showVal val="0"/>
          <c:showCatName val="0"/>
          <c:showSerName val="0"/>
          <c:showPercent val="0"/>
          <c:showBubbleSize val="0"/>
        </c:dLbls>
        <c:marker val="1"/>
        <c:smooth val="0"/>
        <c:axId val="107220416"/>
        <c:axId val="107218976"/>
      </c:lineChart>
      <c:lineChart>
        <c:grouping val="standard"/>
        <c:varyColors val="0"/>
        <c:ser>
          <c:idx val="2"/>
          <c:order val="2"/>
          <c:tx>
            <c:strRef>
              <c:f>'Sheet1 (2)'!$N$1</c:f>
              <c:strCache>
                <c:ptCount val="1"/>
                <c:pt idx="0">
                  <c:v>Rendite 10J Bundesanleihen (rechts)</c:v>
                </c:pt>
              </c:strCache>
            </c:strRef>
          </c:tx>
          <c:spPr>
            <a:ln w="28575" cap="rnd">
              <a:solidFill>
                <a:schemeClr val="accent3"/>
              </a:solidFill>
              <a:round/>
            </a:ln>
            <a:effectLst/>
          </c:spPr>
          <c:marker>
            <c:symbol val="none"/>
          </c:marker>
          <c:cat>
            <c:numRef>
              <c:f>'Sheet1 (2)'!$K$4:$K$2847</c:f>
              <c:numCache>
                <c:formatCode>m/d/yyyy</c:formatCode>
                <c:ptCount val="2844"/>
                <c:pt idx="0">
                  <c:v>41640</c:v>
                </c:pt>
                <c:pt idx="1">
                  <c:v>41641</c:v>
                </c:pt>
                <c:pt idx="2">
                  <c:v>41642</c:v>
                </c:pt>
                <c:pt idx="3">
                  <c:v>41645</c:v>
                </c:pt>
                <c:pt idx="4">
                  <c:v>41646</c:v>
                </c:pt>
                <c:pt idx="5">
                  <c:v>41647</c:v>
                </c:pt>
                <c:pt idx="6">
                  <c:v>41648</c:v>
                </c:pt>
                <c:pt idx="7">
                  <c:v>41649</c:v>
                </c:pt>
                <c:pt idx="8">
                  <c:v>41652</c:v>
                </c:pt>
                <c:pt idx="9">
                  <c:v>41653</c:v>
                </c:pt>
                <c:pt idx="10">
                  <c:v>41654</c:v>
                </c:pt>
                <c:pt idx="11">
                  <c:v>41655</c:v>
                </c:pt>
                <c:pt idx="12">
                  <c:v>41656</c:v>
                </c:pt>
                <c:pt idx="13">
                  <c:v>41659</c:v>
                </c:pt>
                <c:pt idx="14">
                  <c:v>41660</c:v>
                </c:pt>
                <c:pt idx="15">
                  <c:v>41661</c:v>
                </c:pt>
                <c:pt idx="16">
                  <c:v>41662</c:v>
                </c:pt>
                <c:pt idx="17">
                  <c:v>41663</c:v>
                </c:pt>
                <c:pt idx="18">
                  <c:v>41666</c:v>
                </c:pt>
                <c:pt idx="19">
                  <c:v>41667</c:v>
                </c:pt>
                <c:pt idx="20">
                  <c:v>41668</c:v>
                </c:pt>
                <c:pt idx="21">
                  <c:v>41669</c:v>
                </c:pt>
                <c:pt idx="22">
                  <c:v>41670</c:v>
                </c:pt>
                <c:pt idx="23">
                  <c:v>41673</c:v>
                </c:pt>
                <c:pt idx="24">
                  <c:v>41674</c:v>
                </c:pt>
                <c:pt idx="25">
                  <c:v>41675</c:v>
                </c:pt>
                <c:pt idx="26">
                  <c:v>41676</c:v>
                </c:pt>
                <c:pt idx="27">
                  <c:v>41677</c:v>
                </c:pt>
                <c:pt idx="28">
                  <c:v>41680</c:v>
                </c:pt>
                <c:pt idx="29">
                  <c:v>41681</c:v>
                </c:pt>
                <c:pt idx="30">
                  <c:v>41682</c:v>
                </c:pt>
                <c:pt idx="31">
                  <c:v>41683</c:v>
                </c:pt>
                <c:pt idx="32">
                  <c:v>41684</c:v>
                </c:pt>
                <c:pt idx="33">
                  <c:v>41687</c:v>
                </c:pt>
                <c:pt idx="34">
                  <c:v>41688</c:v>
                </c:pt>
                <c:pt idx="35">
                  <c:v>41689</c:v>
                </c:pt>
                <c:pt idx="36">
                  <c:v>41690</c:v>
                </c:pt>
                <c:pt idx="37">
                  <c:v>41691</c:v>
                </c:pt>
                <c:pt idx="38">
                  <c:v>41694</c:v>
                </c:pt>
                <c:pt idx="39">
                  <c:v>41695</c:v>
                </c:pt>
                <c:pt idx="40">
                  <c:v>41696</c:v>
                </c:pt>
                <c:pt idx="41">
                  <c:v>41697</c:v>
                </c:pt>
                <c:pt idx="42">
                  <c:v>41698</c:v>
                </c:pt>
                <c:pt idx="43">
                  <c:v>41701</c:v>
                </c:pt>
                <c:pt idx="44">
                  <c:v>41702</c:v>
                </c:pt>
                <c:pt idx="45">
                  <c:v>41703</c:v>
                </c:pt>
                <c:pt idx="46">
                  <c:v>41704</c:v>
                </c:pt>
                <c:pt idx="47">
                  <c:v>41705</c:v>
                </c:pt>
                <c:pt idx="48">
                  <c:v>41708</c:v>
                </c:pt>
                <c:pt idx="49">
                  <c:v>41709</c:v>
                </c:pt>
                <c:pt idx="50">
                  <c:v>41710</c:v>
                </c:pt>
                <c:pt idx="51">
                  <c:v>41711</c:v>
                </c:pt>
                <c:pt idx="52">
                  <c:v>41712</c:v>
                </c:pt>
                <c:pt idx="53">
                  <c:v>41715</c:v>
                </c:pt>
                <c:pt idx="54">
                  <c:v>41716</c:v>
                </c:pt>
                <c:pt idx="55">
                  <c:v>41717</c:v>
                </c:pt>
                <c:pt idx="56">
                  <c:v>41718</c:v>
                </c:pt>
                <c:pt idx="57">
                  <c:v>41719</c:v>
                </c:pt>
                <c:pt idx="58">
                  <c:v>41722</c:v>
                </c:pt>
                <c:pt idx="59">
                  <c:v>41723</c:v>
                </c:pt>
                <c:pt idx="60">
                  <c:v>41724</c:v>
                </c:pt>
                <c:pt idx="61">
                  <c:v>41725</c:v>
                </c:pt>
                <c:pt idx="62">
                  <c:v>41726</c:v>
                </c:pt>
                <c:pt idx="63">
                  <c:v>41729</c:v>
                </c:pt>
                <c:pt idx="64">
                  <c:v>41730</c:v>
                </c:pt>
                <c:pt idx="65">
                  <c:v>41731</c:v>
                </c:pt>
                <c:pt idx="66">
                  <c:v>41732</c:v>
                </c:pt>
                <c:pt idx="67">
                  <c:v>41733</c:v>
                </c:pt>
                <c:pt idx="68">
                  <c:v>41736</c:v>
                </c:pt>
                <c:pt idx="69">
                  <c:v>41737</c:v>
                </c:pt>
                <c:pt idx="70">
                  <c:v>41738</c:v>
                </c:pt>
                <c:pt idx="71">
                  <c:v>41739</c:v>
                </c:pt>
                <c:pt idx="72">
                  <c:v>41740</c:v>
                </c:pt>
                <c:pt idx="73">
                  <c:v>41743</c:v>
                </c:pt>
                <c:pt idx="74">
                  <c:v>41744</c:v>
                </c:pt>
                <c:pt idx="75">
                  <c:v>41745</c:v>
                </c:pt>
                <c:pt idx="76">
                  <c:v>41746</c:v>
                </c:pt>
                <c:pt idx="77">
                  <c:v>41747</c:v>
                </c:pt>
                <c:pt idx="78">
                  <c:v>41750</c:v>
                </c:pt>
                <c:pt idx="79">
                  <c:v>41751</c:v>
                </c:pt>
                <c:pt idx="80">
                  <c:v>41752</c:v>
                </c:pt>
                <c:pt idx="81">
                  <c:v>41753</c:v>
                </c:pt>
                <c:pt idx="82">
                  <c:v>41754</c:v>
                </c:pt>
                <c:pt idx="83">
                  <c:v>41757</c:v>
                </c:pt>
                <c:pt idx="84">
                  <c:v>41758</c:v>
                </c:pt>
                <c:pt idx="85">
                  <c:v>41759</c:v>
                </c:pt>
                <c:pt idx="86">
                  <c:v>41760</c:v>
                </c:pt>
                <c:pt idx="87">
                  <c:v>41761</c:v>
                </c:pt>
                <c:pt idx="88">
                  <c:v>41764</c:v>
                </c:pt>
                <c:pt idx="89">
                  <c:v>41765</c:v>
                </c:pt>
                <c:pt idx="90">
                  <c:v>41766</c:v>
                </c:pt>
                <c:pt idx="91">
                  <c:v>41767</c:v>
                </c:pt>
                <c:pt idx="92">
                  <c:v>41768</c:v>
                </c:pt>
                <c:pt idx="93">
                  <c:v>41771</c:v>
                </c:pt>
                <c:pt idx="94">
                  <c:v>41772</c:v>
                </c:pt>
                <c:pt idx="95">
                  <c:v>41773</c:v>
                </c:pt>
                <c:pt idx="96">
                  <c:v>41774</c:v>
                </c:pt>
                <c:pt idx="97">
                  <c:v>41775</c:v>
                </c:pt>
                <c:pt idx="98">
                  <c:v>41778</c:v>
                </c:pt>
                <c:pt idx="99">
                  <c:v>41779</c:v>
                </c:pt>
                <c:pt idx="100">
                  <c:v>41780</c:v>
                </c:pt>
                <c:pt idx="101">
                  <c:v>41781</c:v>
                </c:pt>
                <c:pt idx="102">
                  <c:v>41782</c:v>
                </c:pt>
                <c:pt idx="103">
                  <c:v>41785</c:v>
                </c:pt>
                <c:pt idx="104">
                  <c:v>41786</c:v>
                </c:pt>
                <c:pt idx="105">
                  <c:v>41787</c:v>
                </c:pt>
                <c:pt idx="106">
                  <c:v>41788</c:v>
                </c:pt>
                <c:pt idx="107">
                  <c:v>41789</c:v>
                </c:pt>
                <c:pt idx="108">
                  <c:v>41792</c:v>
                </c:pt>
                <c:pt idx="109">
                  <c:v>41793</c:v>
                </c:pt>
                <c:pt idx="110">
                  <c:v>41794</c:v>
                </c:pt>
                <c:pt idx="111">
                  <c:v>41795</c:v>
                </c:pt>
                <c:pt idx="112">
                  <c:v>41796</c:v>
                </c:pt>
                <c:pt idx="113">
                  <c:v>41799</c:v>
                </c:pt>
                <c:pt idx="114">
                  <c:v>41800</c:v>
                </c:pt>
                <c:pt idx="115">
                  <c:v>41801</c:v>
                </c:pt>
                <c:pt idx="116">
                  <c:v>41802</c:v>
                </c:pt>
                <c:pt idx="117">
                  <c:v>41803</c:v>
                </c:pt>
                <c:pt idx="118">
                  <c:v>41806</c:v>
                </c:pt>
                <c:pt idx="119">
                  <c:v>41807</c:v>
                </c:pt>
                <c:pt idx="120">
                  <c:v>41808</c:v>
                </c:pt>
                <c:pt idx="121">
                  <c:v>41809</c:v>
                </c:pt>
                <c:pt idx="122">
                  <c:v>41810</c:v>
                </c:pt>
                <c:pt idx="123">
                  <c:v>41813</c:v>
                </c:pt>
                <c:pt idx="124">
                  <c:v>41814</c:v>
                </c:pt>
                <c:pt idx="125">
                  <c:v>41815</c:v>
                </c:pt>
                <c:pt idx="126">
                  <c:v>41816</c:v>
                </c:pt>
                <c:pt idx="127">
                  <c:v>41817</c:v>
                </c:pt>
                <c:pt idx="128">
                  <c:v>41820</c:v>
                </c:pt>
                <c:pt idx="129">
                  <c:v>41821</c:v>
                </c:pt>
                <c:pt idx="130">
                  <c:v>41822</c:v>
                </c:pt>
                <c:pt idx="131">
                  <c:v>41823</c:v>
                </c:pt>
                <c:pt idx="132">
                  <c:v>41824</c:v>
                </c:pt>
                <c:pt idx="133">
                  <c:v>41827</c:v>
                </c:pt>
                <c:pt idx="134">
                  <c:v>41828</c:v>
                </c:pt>
                <c:pt idx="135">
                  <c:v>41829</c:v>
                </c:pt>
                <c:pt idx="136">
                  <c:v>41830</c:v>
                </c:pt>
                <c:pt idx="137">
                  <c:v>41831</c:v>
                </c:pt>
                <c:pt idx="138">
                  <c:v>41834</c:v>
                </c:pt>
                <c:pt idx="139">
                  <c:v>41835</c:v>
                </c:pt>
                <c:pt idx="140">
                  <c:v>41836</c:v>
                </c:pt>
                <c:pt idx="141">
                  <c:v>41837</c:v>
                </c:pt>
                <c:pt idx="142">
                  <c:v>41838</c:v>
                </c:pt>
                <c:pt idx="143">
                  <c:v>41841</c:v>
                </c:pt>
                <c:pt idx="144">
                  <c:v>41842</c:v>
                </c:pt>
                <c:pt idx="145">
                  <c:v>41843</c:v>
                </c:pt>
                <c:pt idx="146">
                  <c:v>41844</c:v>
                </c:pt>
                <c:pt idx="147">
                  <c:v>41845</c:v>
                </c:pt>
                <c:pt idx="148">
                  <c:v>41848</c:v>
                </c:pt>
                <c:pt idx="149">
                  <c:v>41849</c:v>
                </c:pt>
                <c:pt idx="150">
                  <c:v>41850</c:v>
                </c:pt>
                <c:pt idx="151">
                  <c:v>41851</c:v>
                </c:pt>
                <c:pt idx="152">
                  <c:v>41852</c:v>
                </c:pt>
                <c:pt idx="153">
                  <c:v>41855</c:v>
                </c:pt>
                <c:pt idx="154">
                  <c:v>41856</c:v>
                </c:pt>
                <c:pt idx="155">
                  <c:v>41857</c:v>
                </c:pt>
                <c:pt idx="156">
                  <c:v>41858</c:v>
                </c:pt>
                <c:pt idx="157">
                  <c:v>41859</c:v>
                </c:pt>
                <c:pt idx="158">
                  <c:v>41862</c:v>
                </c:pt>
                <c:pt idx="159">
                  <c:v>41863</c:v>
                </c:pt>
                <c:pt idx="160">
                  <c:v>41864</c:v>
                </c:pt>
                <c:pt idx="161">
                  <c:v>41865</c:v>
                </c:pt>
                <c:pt idx="162">
                  <c:v>41866</c:v>
                </c:pt>
                <c:pt idx="163">
                  <c:v>41869</c:v>
                </c:pt>
                <c:pt idx="164">
                  <c:v>41870</c:v>
                </c:pt>
                <c:pt idx="165">
                  <c:v>41871</c:v>
                </c:pt>
                <c:pt idx="166">
                  <c:v>41872</c:v>
                </c:pt>
                <c:pt idx="167">
                  <c:v>41873</c:v>
                </c:pt>
                <c:pt idx="168">
                  <c:v>41876</c:v>
                </c:pt>
                <c:pt idx="169">
                  <c:v>41877</c:v>
                </c:pt>
                <c:pt idx="170">
                  <c:v>41878</c:v>
                </c:pt>
                <c:pt idx="171">
                  <c:v>41879</c:v>
                </c:pt>
                <c:pt idx="172">
                  <c:v>41880</c:v>
                </c:pt>
                <c:pt idx="173">
                  <c:v>41883</c:v>
                </c:pt>
                <c:pt idx="174">
                  <c:v>41884</c:v>
                </c:pt>
                <c:pt idx="175">
                  <c:v>41885</c:v>
                </c:pt>
                <c:pt idx="176">
                  <c:v>41886</c:v>
                </c:pt>
                <c:pt idx="177">
                  <c:v>41887</c:v>
                </c:pt>
                <c:pt idx="178">
                  <c:v>41890</c:v>
                </c:pt>
                <c:pt idx="179">
                  <c:v>41891</c:v>
                </c:pt>
                <c:pt idx="180">
                  <c:v>41892</c:v>
                </c:pt>
                <c:pt idx="181">
                  <c:v>41893</c:v>
                </c:pt>
                <c:pt idx="182">
                  <c:v>41894</c:v>
                </c:pt>
                <c:pt idx="183">
                  <c:v>41897</c:v>
                </c:pt>
                <c:pt idx="184">
                  <c:v>41898</c:v>
                </c:pt>
                <c:pt idx="185">
                  <c:v>41899</c:v>
                </c:pt>
                <c:pt idx="186">
                  <c:v>41900</c:v>
                </c:pt>
                <c:pt idx="187">
                  <c:v>41901</c:v>
                </c:pt>
                <c:pt idx="188">
                  <c:v>41904</c:v>
                </c:pt>
                <c:pt idx="189">
                  <c:v>41905</c:v>
                </c:pt>
                <c:pt idx="190">
                  <c:v>41906</c:v>
                </c:pt>
                <c:pt idx="191">
                  <c:v>41907</c:v>
                </c:pt>
                <c:pt idx="192">
                  <c:v>41908</c:v>
                </c:pt>
                <c:pt idx="193">
                  <c:v>41911</c:v>
                </c:pt>
                <c:pt idx="194">
                  <c:v>41912</c:v>
                </c:pt>
                <c:pt idx="195">
                  <c:v>41913</c:v>
                </c:pt>
                <c:pt idx="196">
                  <c:v>41914</c:v>
                </c:pt>
                <c:pt idx="197">
                  <c:v>41915</c:v>
                </c:pt>
                <c:pt idx="198">
                  <c:v>41918</c:v>
                </c:pt>
                <c:pt idx="199">
                  <c:v>41919</c:v>
                </c:pt>
                <c:pt idx="200">
                  <c:v>41920</c:v>
                </c:pt>
                <c:pt idx="201">
                  <c:v>41921</c:v>
                </c:pt>
                <c:pt idx="202">
                  <c:v>41922</c:v>
                </c:pt>
                <c:pt idx="203">
                  <c:v>41925</c:v>
                </c:pt>
                <c:pt idx="204">
                  <c:v>41926</c:v>
                </c:pt>
                <c:pt idx="205">
                  <c:v>41927</c:v>
                </c:pt>
                <c:pt idx="206">
                  <c:v>41928</c:v>
                </c:pt>
                <c:pt idx="207">
                  <c:v>41929</c:v>
                </c:pt>
                <c:pt idx="208">
                  <c:v>41932</c:v>
                </c:pt>
                <c:pt idx="209">
                  <c:v>41933</c:v>
                </c:pt>
                <c:pt idx="210">
                  <c:v>41934</c:v>
                </c:pt>
                <c:pt idx="211">
                  <c:v>41935</c:v>
                </c:pt>
                <c:pt idx="212">
                  <c:v>41936</c:v>
                </c:pt>
                <c:pt idx="213">
                  <c:v>41939</c:v>
                </c:pt>
                <c:pt idx="214">
                  <c:v>41940</c:v>
                </c:pt>
                <c:pt idx="215">
                  <c:v>41941</c:v>
                </c:pt>
                <c:pt idx="216">
                  <c:v>41942</c:v>
                </c:pt>
                <c:pt idx="217">
                  <c:v>41943</c:v>
                </c:pt>
                <c:pt idx="218">
                  <c:v>41946</c:v>
                </c:pt>
                <c:pt idx="219">
                  <c:v>41947</c:v>
                </c:pt>
                <c:pt idx="220">
                  <c:v>41948</c:v>
                </c:pt>
                <c:pt idx="221">
                  <c:v>41949</c:v>
                </c:pt>
                <c:pt idx="222">
                  <c:v>41950</c:v>
                </c:pt>
                <c:pt idx="223">
                  <c:v>41953</c:v>
                </c:pt>
                <c:pt idx="224">
                  <c:v>41954</c:v>
                </c:pt>
                <c:pt idx="225">
                  <c:v>41955</c:v>
                </c:pt>
                <c:pt idx="226">
                  <c:v>41956</c:v>
                </c:pt>
                <c:pt idx="227">
                  <c:v>41957</c:v>
                </c:pt>
                <c:pt idx="228">
                  <c:v>41960</c:v>
                </c:pt>
                <c:pt idx="229">
                  <c:v>41961</c:v>
                </c:pt>
                <c:pt idx="230">
                  <c:v>41962</c:v>
                </c:pt>
                <c:pt idx="231">
                  <c:v>41963</c:v>
                </c:pt>
                <c:pt idx="232">
                  <c:v>41964</c:v>
                </c:pt>
                <c:pt idx="233">
                  <c:v>41967</c:v>
                </c:pt>
                <c:pt idx="234">
                  <c:v>41968</c:v>
                </c:pt>
                <c:pt idx="235">
                  <c:v>41969</c:v>
                </c:pt>
                <c:pt idx="236">
                  <c:v>41970</c:v>
                </c:pt>
                <c:pt idx="237">
                  <c:v>41971</c:v>
                </c:pt>
                <c:pt idx="238">
                  <c:v>41974</c:v>
                </c:pt>
                <c:pt idx="239">
                  <c:v>41975</c:v>
                </c:pt>
                <c:pt idx="240">
                  <c:v>41976</c:v>
                </c:pt>
                <c:pt idx="241">
                  <c:v>41977</c:v>
                </c:pt>
                <c:pt idx="242">
                  <c:v>41978</c:v>
                </c:pt>
                <c:pt idx="243">
                  <c:v>41981</c:v>
                </c:pt>
                <c:pt idx="244">
                  <c:v>41982</c:v>
                </c:pt>
                <c:pt idx="245">
                  <c:v>41983</c:v>
                </c:pt>
                <c:pt idx="246">
                  <c:v>41984</c:v>
                </c:pt>
                <c:pt idx="247">
                  <c:v>41985</c:v>
                </c:pt>
                <c:pt idx="248">
                  <c:v>41988</c:v>
                </c:pt>
                <c:pt idx="249">
                  <c:v>41989</c:v>
                </c:pt>
                <c:pt idx="250">
                  <c:v>41990</c:v>
                </c:pt>
                <c:pt idx="251">
                  <c:v>41991</c:v>
                </c:pt>
                <c:pt idx="252">
                  <c:v>41992</c:v>
                </c:pt>
                <c:pt idx="253">
                  <c:v>41995</c:v>
                </c:pt>
                <c:pt idx="254">
                  <c:v>41996</c:v>
                </c:pt>
                <c:pt idx="255">
                  <c:v>41997</c:v>
                </c:pt>
                <c:pt idx="256">
                  <c:v>41998</c:v>
                </c:pt>
                <c:pt idx="257">
                  <c:v>41999</c:v>
                </c:pt>
                <c:pt idx="258">
                  <c:v>42002</c:v>
                </c:pt>
                <c:pt idx="259">
                  <c:v>42003</c:v>
                </c:pt>
                <c:pt idx="260">
                  <c:v>42004</c:v>
                </c:pt>
                <c:pt idx="261">
                  <c:v>42005</c:v>
                </c:pt>
                <c:pt idx="262">
                  <c:v>42006</c:v>
                </c:pt>
                <c:pt idx="263">
                  <c:v>42009</c:v>
                </c:pt>
                <c:pt idx="264">
                  <c:v>42010</c:v>
                </c:pt>
                <c:pt idx="265">
                  <c:v>42011</c:v>
                </c:pt>
                <c:pt idx="266">
                  <c:v>42012</c:v>
                </c:pt>
                <c:pt idx="267">
                  <c:v>42013</c:v>
                </c:pt>
                <c:pt idx="268">
                  <c:v>42016</c:v>
                </c:pt>
                <c:pt idx="269">
                  <c:v>42017</c:v>
                </c:pt>
                <c:pt idx="270">
                  <c:v>42018</c:v>
                </c:pt>
                <c:pt idx="271">
                  <c:v>42019</c:v>
                </c:pt>
                <c:pt idx="272">
                  <c:v>42020</c:v>
                </c:pt>
                <c:pt idx="273">
                  <c:v>42023</c:v>
                </c:pt>
                <c:pt idx="274">
                  <c:v>42024</c:v>
                </c:pt>
                <c:pt idx="275">
                  <c:v>42025</c:v>
                </c:pt>
                <c:pt idx="276">
                  <c:v>42026</c:v>
                </c:pt>
                <c:pt idx="277">
                  <c:v>42027</c:v>
                </c:pt>
                <c:pt idx="278">
                  <c:v>42030</c:v>
                </c:pt>
                <c:pt idx="279">
                  <c:v>42031</c:v>
                </c:pt>
                <c:pt idx="280">
                  <c:v>42032</c:v>
                </c:pt>
                <c:pt idx="281">
                  <c:v>42033</c:v>
                </c:pt>
                <c:pt idx="282">
                  <c:v>42034</c:v>
                </c:pt>
                <c:pt idx="283">
                  <c:v>42037</c:v>
                </c:pt>
                <c:pt idx="284">
                  <c:v>42038</c:v>
                </c:pt>
                <c:pt idx="285">
                  <c:v>42039</c:v>
                </c:pt>
                <c:pt idx="286">
                  <c:v>42040</c:v>
                </c:pt>
                <c:pt idx="287">
                  <c:v>42041</c:v>
                </c:pt>
                <c:pt idx="288">
                  <c:v>42044</c:v>
                </c:pt>
                <c:pt idx="289">
                  <c:v>42045</c:v>
                </c:pt>
                <c:pt idx="290">
                  <c:v>42046</c:v>
                </c:pt>
                <c:pt idx="291">
                  <c:v>42047</c:v>
                </c:pt>
                <c:pt idx="292">
                  <c:v>42048</c:v>
                </c:pt>
                <c:pt idx="293">
                  <c:v>42051</c:v>
                </c:pt>
                <c:pt idx="294">
                  <c:v>42052</c:v>
                </c:pt>
                <c:pt idx="295">
                  <c:v>42053</c:v>
                </c:pt>
                <c:pt idx="296">
                  <c:v>42054</c:v>
                </c:pt>
                <c:pt idx="297">
                  <c:v>42055</c:v>
                </c:pt>
                <c:pt idx="298">
                  <c:v>42058</c:v>
                </c:pt>
                <c:pt idx="299">
                  <c:v>42059</c:v>
                </c:pt>
                <c:pt idx="300">
                  <c:v>42060</c:v>
                </c:pt>
                <c:pt idx="301">
                  <c:v>42061</c:v>
                </c:pt>
                <c:pt idx="302">
                  <c:v>42062</c:v>
                </c:pt>
                <c:pt idx="303">
                  <c:v>42065</c:v>
                </c:pt>
                <c:pt idx="304">
                  <c:v>42066</c:v>
                </c:pt>
                <c:pt idx="305">
                  <c:v>42067</c:v>
                </c:pt>
                <c:pt idx="306">
                  <c:v>42068</c:v>
                </c:pt>
                <c:pt idx="307">
                  <c:v>42069</c:v>
                </c:pt>
                <c:pt idx="308">
                  <c:v>42072</c:v>
                </c:pt>
                <c:pt idx="309">
                  <c:v>42073</c:v>
                </c:pt>
                <c:pt idx="310">
                  <c:v>42074</c:v>
                </c:pt>
                <c:pt idx="311">
                  <c:v>42075</c:v>
                </c:pt>
                <c:pt idx="312">
                  <c:v>42076</c:v>
                </c:pt>
                <c:pt idx="313">
                  <c:v>42079</c:v>
                </c:pt>
                <c:pt idx="314">
                  <c:v>42080</c:v>
                </c:pt>
                <c:pt idx="315">
                  <c:v>42081</c:v>
                </c:pt>
                <c:pt idx="316">
                  <c:v>42082</c:v>
                </c:pt>
                <c:pt idx="317">
                  <c:v>42083</c:v>
                </c:pt>
                <c:pt idx="318">
                  <c:v>42086</c:v>
                </c:pt>
                <c:pt idx="319">
                  <c:v>42087</c:v>
                </c:pt>
                <c:pt idx="320">
                  <c:v>42088</c:v>
                </c:pt>
                <c:pt idx="321">
                  <c:v>42089</c:v>
                </c:pt>
                <c:pt idx="322">
                  <c:v>42090</c:v>
                </c:pt>
                <c:pt idx="323">
                  <c:v>42093</c:v>
                </c:pt>
                <c:pt idx="324">
                  <c:v>42094</c:v>
                </c:pt>
                <c:pt idx="325">
                  <c:v>42095</c:v>
                </c:pt>
                <c:pt idx="326">
                  <c:v>42096</c:v>
                </c:pt>
                <c:pt idx="327">
                  <c:v>42097</c:v>
                </c:pt>
                <c:pt idx="328">
                  <c:v>42100</c:v>
                </c:pt>
                <c:pt idx="329">
                  <c:v>42101</c:v>
                </c:pt>
                <c:pt idx="330">
                  <c:v>42102</c:v>
                </c:pt>
                <c:pt idx="331">
                  <c:v>42103</c:v>
                </c:pt>
                <c:pt idx="332">
                  <c:v>42104</c:v>
                </c:pt>
                <c:pt idx="333">
                  <c:v>42107</c:v>
                </c:pt>
                <c:pt idx="334">
                  <c:v>42108</c:v>
                </c:pt>
                <c:pt idx="335">
                  <c:v>42109</c:v>
                </c:pt>
                <c:pt idx="336">
                  <c:v>42110</c:v>
                </c:pt>
                <c:pt idx="337">
                  <c:v>42111</c:v>
                </c:pt>
                <c:pt idx="338">
                  <c:v>42114</c:v>
                </c:pt>
                <c:pt idx="339">
                  <c:v>42115</c:v>
                </c:pt>
                <c:pt idx="340">
                  <c:v>42116</c:v>
                </c:pt>
                <c:pt idx="341">
                  <c:v>42117</c:v>
                </c:pt>
                <c:pt idx="342">
                  <c:v>42118</c:v>
                </c:pt>
                <c:pt idx="343">
                  <c:v>42121</c:v>
                </c:pt>
                <c:pt idx="344">
                  <c:v>42122</c:v>
                </c:pt>
                <c:pt idx="345">
                  <c:v>42123</c:v>
                </c:pt>
                <c:pt idx="346">
                  <c:v>42124</c:v>
                </c:pt>
                <c:pt idx="347">
                  <c:v>42125</c:v>
                </c:pt>
                <c:pt idx="348">
                  <c:v>42128</c:v>
                </c:pt>
                <c:pt idx="349">
                  <c:v>42129</c:v>
                </c:pt>
                <c:pt idx="350">
                  <c:v>42130</c:v>
                </c:pt>
                <c:pt idx="351">
                  <c:v>42131</c:v>
                </c:pt>
                <c:pt idx="352">
                  <c:v>42132</c:v>
                </c:pt>
                <c:pt idx="353">
                  <c:v>42135</c:v>
                </c:pt>
                <c:pt idx="354">
                  <c:v>42136</c:v>
                </c:pt>
                <c:pt idx="355">
                  <c:v>42137</c:v>
                </c:pt>
                <c:pt idx="356">
                  <c:v>42138</c:v>
                </c:pt>
                <c:pt idx="357">
                  <c:v>42139</c:v>
                </c:pt>
                <c:pt idx="358">
                  <c:v>42142</c:v>
                </c:pt>
                <c:pt idx="359">
                  <c:v>42143</c:v>
                </c:pt>
                <c:pt idx="360">
                  <c:v>42144</c:v>
                </c:pt>
                <c:pt idx="361">
                  <c:v>42145</c:v>
                </c:pt>
                <c:pt idx="362">
                  <c:v>42146</c:v>
                </c:pt>
                <c:pt idx="363">
                  <c:v>42149</c:v>
                </c:pt>
                <c:pt idx="364">
                  <c:v>42150</c:v>
                </c:pt>
                <c:pt idx="365">
                  <c:v>42151</c:v>
                </c:pt>
                <c:pt idx="366">
                  <c:v>42152</c:v>
                </c:pt>
                <c:pt idx="367">
                  <c:v>42153</c:v>
                </c:pt>
                <c:pt idx="368">
                  <c:v>42156</c:v>
                </c:pt>
                <c:pt idx="369">
                  <c:v>42157</c:v>
                </c:pt>
                <c:pt idx="370">
                  <c:v>42158</c:v>
                </c:pt>
                <c:pt idx="371">
                  <c:v>42159</c:v>
                </c:pt>
                <c:pt idx="372">
                  <c:v>42160</c:v>
                </c:pt>
                <c:pt idx="373">
                  <c:v>42163</c:v>
                </c:pt>
                <c:pt idx="374">
                  <c:v>42164</c:v>
                </c:pt>
                <c:pt idx="375">
                  <c:v>42165</c:v>
                </c:pt>
                <c:pt idx="376">
                  <c:v>42166</c:v>
                </c:pt>
                <c:pt idx="377">
                  <c:v>42167</c:v>
                </c:pt>
                <c:pt idx="378">
                  <c:v>42170</c:v>
                </c:pt>
                <c:pt idx="379">
                  <c:v>42171</c:v>
                </c:pt>
                <c:pt idx="380">
                  <c:v>42172</c:v>
                </c:pt>
                <c:pt idx="381">
                  <c:v>42173</c:v>
                </c:pt>
                <c:pt idx="382">
                  <c:v>42174</c:v>
                </c:pt>
                <c:pt idx="383">
                  <c:v>42177</c:v>
                </c:pt>
                <c:pt idx="384">
                  <c:v>42178</c:v>
                </c:pt>
                <c:pt idx="385">
                  <c:v>42179</c:v>
                </c:pt>
                <c:pt idx="386">
                  <c:v>42180</c:v>
                </c:pt>
                <c:pt idx="387">
                  <c:v>42181</c:v>
                </c:pt>
                <c:pt idx="388">
                  <c:v>42184</c:v>
                </c:pt>
                <c:pt idx="389">
                  <c:v>42185</c:v>
                </c:pt>
                <c:pt idx="390">
                  <c:v>42186</c:v>
                </c:pt>
                <c:pt idx="391">
                  <c:v>42187</c:v>
                </c:pt>
                <c:pt idx="392">
                  <c:v>42188</c:v>
                </c:pt>
                <c:pt idx="393">
                  <c:v>42191</c:v>
                </c:pt>
                <c:pt idx="394">
                  <c:v>42192</c:v>
                </c:pt>
                <c:pt idx="395">
                  <c:v>42193</c:v>
                </c:pt>
                <c:pt idx="396">
                  <c:v>42194</c:v>
                </c:pt>
                <c:pt idx="397">
                  <c:v>42195</c:v>
                </c:pt>
                <c:pt idx="398">
                  <c:v>42198</c:v>
                </c:pt>
                <c:pt idx="399">
                  <c:v>42199</c:v>
                </c:pt>
                <c:pt idx="400">
                  <c:v>42200</c:v>
                </c:pt>
                <c:pt idx="401">
                  <c:v>42201</c:v>
                </c:pt>
                <c:pt idx="402">
                  <c:v>42202</c:v>
                </c:pt>
                <c:pt idx="403">
                  <c:v>42205</c:v>
                </c:pt>
                <c:pt idx="404">
                  <c:v>42206</c:v>
                </c:pt>
                <c:pt idx="405">
                  <c:v>42207</c:v>
                </c:pt>
                <c:pt idx="406">
                  <c:v>42208</c:v>
                </c:pt>
                <c:pt idx="407">
                  <c:v>42209</c:v>
                </c:pt>
                <c:pt idx="408">
                  <c:v>42212</c:v>
                </c:pt>
                <c:pt idx="409">
                  <c:v>42213</c:v>
                </c:pt>
                <c:pt idx="410">
                  <c:v>42214</c:v>
                </c:pt>
                <c:pt idx="411">
                  <c:v>42215</c:v>
                </c:pt>
                <c:pt idx="412">
                  <c:v>42216</c:v>
                </c:pt>
                <c:pt idx="413">
                  <c:v>42219</c:v>
                </c:pt>
                <c:pt idx="414">
                  <c:v>42220</c:v>
                </c:pt>
                <c:pt idx="415">
                  <c:v>42221</c:v>
                </c:pt>
                <c:pt idx="416">
                  <c:v>42222</c:v>
                </c:pt>
                <c:pt idx="417">
                  <c:v>42223</c:v>
                </c:pt>
                <c:pt idx="418">
                  <c:v>42226</c:v>
                </c:pt>
                <c:pt idx="419">
                  <c:v>42227</c:v>
                </c:pt>
                <c:pt idx="420">
                  <c:v>42228</c:v>
                </c:pt>
                <c:pt idx="421">
                  <c:v>42229</c:v>
                </c:pt>
                <c:pt idx="422">
                  <c:v>42230</c:v>
                </c:pt>
                <c:pt idx="423">
                  <c:v>42233</c:v>
                </c:pt>
                <c:pt idx="424">
                  <c:v>42234</c:v>
                </c:pt>
                <c:pt idx="425">
                  <c:v>42235</c:v>
                </c:pt>
                <c:pt idx="426">
                  <c:v>42236</c:v>
                </c:pt>
                <c:pt idx="427">
                  <c:v>42237</c:v>
                </c:pt>
                <c:pt idx="428">
                  <c:v>42240</c:v>
                </c:pt>
                <c:pt idx="429">
                  <c:v>42241</c:v>
                </c:pt>
                <c:pt idx="430">
                  <c:v>42242</c:v>
                </c:pt>
                <c:pt idx="431">
                  <c:v>42243</c:v>
                </c:pt>
                <c:pt idx="432">
                  <c:v>42244</c:v>
                </c:pt>
                <c:pt idx="433">
                  <c:v>42247</c:v>
                </c:pt>
                <c:pt idx="434">
                  <c:v>42248</c:v>
                </c:pt>
                <c:pt idx="435">
                  <c:v>42249</c:v>
                </c:pt>
                <c:pt idx="436">
                  <c:v>42250</c:v>
                </c:pt>
                <c:pt idx="437">
                  <c:v>42251</c:v>
                </c:pt>
                <c:pt idx="438">
                  <c:v>42254</c:v>
                </c:pt>
                <c:pt idx="439">
                  <c:v>42255</c:v>
                </c:pt>
                <c:pt idx="440">
                  <c:v>42256</c:v>
                </c:pt>
                <c:pt idx="441">
                  <c:v>42257</c:v>
                </c:pt>
                <c:pt idx="442">
                  <c:v>42258</c:v>
                </c:pt>
                <c:pt idx="443">
                  <c:v>42261</c:v>
                </c:pt>
                <c:pt idx="444">
                  <c:v>42262</c:v>
                </c:pt>
                <c:pt idx="445">
                  <c:v>42263</c:v>
                </c:pt>
                <c:pt idx="446">
                  <c:v>42264</c:v>
                </c:pt>
                <c:pt idx="447">
                  <c:v>42265</c:v>
                </c:pt>
                <c:pt idx="448">
                  <c:v>42268</c:v>
                </c:pt>
                <c:pt idx="449">
                  <c:v>42269</c:v>
                </c:pt>
                <c:pt idx="450">
                  <c:v>42270</c:v>
                </c:pt>
                <c:pt idx="451">
                  <c:v>42271</c:v>
                </c:pt>
                <c:pt idx="452">
                  <c:v>42272</c:v>
                </c:pt>
                <c:pt idx="453">
                  <c:v>42275</c:v>
                </c:pt>
                <c:pt idx="454">
                  <c:v>42276</c:v>
                </c:pt>
                <c:pt idx="455">
                  <c:v>42277</c:v>
                </c:pt>
                <c:pt idx="456">
                  <c:v>42278</c:v>
                </c:pt>
                <c:pt idx="457">
                  <c:v>42279</c:v>
                </c:pt>
                <c:pt idx="458">
                  <c:v>42282</c:v>
                </c:pt>
                <c:pt idx="459">
                  <c:v>42283</c:v>
                </c:pt>
                <c:pt idx="460">
                  <c:v>42284</c:v>
                </c:pt>
                <c:pt idx="461">
                  <c:v>42285</c:v>
                </c:pt>
                <c:pt idx="462">
                  <c:v>42286</c:v>
                </c:pt>
                <c:pt idx="463">
                  <c:v>42289</c:v>
                </c:pt>
                <c:pt idx="464">
                  <c:v>42290</c:v>
                </c:pt>
                <c:pt idx="465">
                  <c:v>42291</c:v>
                </c:pt>
                <c:pt idx="466">
                  <c:v>42292</c:v>
                </c:pt>
                <c:pt idx="467">
                  <c:v>42293</c:v>
                </c:pt>
                <c:pt idx="468">
                  <c:v>42296</c:v>
                </c:pt>
                <c:pt idx="469">
                  <c:v>42297</c:v>
                </c:pt>
                <c:pt idx="470">
                  <c:v>42298</c:v>
                </c:pt>
                <c:pt idx="471">
                  <c:v>42299</c:v>
                </c:pt>
                <c:pt idx="472">
                  <c:v>42300</c:v>
                </c:pt>
                <c:pt idx="473">
                  <c:v>42303</c:v>
                </c:pt>
                <c:pt idx="474">
                  <c:v>42304</c:v>
                </c:pt>
                <c:pt idx="475">
                  <c:v>42305</c:v>
                </c:pt>
                <c:pt idx="476">
                  <c:v>42306</c:v>
                </c:pt>
                <c:pt idx="477">
                  <c:v>42307</c:v>
                </c:pt>
                <c:pt idx="478">
                  <c:v>42310</c:v>
                </c:pt>
                <c:pt idx="479">
                  <c:v>42311</c:v>
                </c:pt>
                <c:pt idx="480">
                  <c:v>42312</c:v>
                </c:pt>
                <c:pt idx="481">
                  <c:v>42313</c:v>
                </c:pt>
                <c:pt idx="482">
                  <c:v>42314</c:v>
                </c:pt>
                <c:pt idx="483">
                  <c:v>42317</c:v>
                </c:pt>
                <c:pt idx="484">
                  <c:v>42318</c:v>
                </c:pt>
                <c:pt idx="485">
                  <c:v>42319</c:v>
                </c:pt>
                <c:pt idx="486">
                  <c:v>42320</c:v>
                </c:pt>
                <c:pt idx="487">
                  <c:v>42321</c:v>
                </c:pt>
                <c:pt idx="488">
                  <c:v>42324</c:v>
                </c:pt>
                <c:pt idx="489">
                  <c:v>42325</c:v>
                </c:pt>
                <c:pt idx="490">
                  <c:v>42326</c:v>
                </c:pt>
                <c:pt idx="491">
                  <c:v>42327</c:v>
                </c:pt>
                <c:pt idx="492">
                  <c:v>42328</c:v>
                </c:pt>
                <c:pt idx="493">
                  <c:v>42331</c:v>
                </c:pt>
                <c:pt idx="494">
                  <c:v>42332</c:v>
                </c:pt>
                <c:pt idx="495">
                  <c:v>42333</c:v>
                </c:pt>
                <c:pt idx="496">
                  <c:v>42334</c:v>
                </c:pt>
                <c:pt idx="497">
                  <c:v>42335</c:v>
                </c:pt>
                <c:pt idx="498">
                  <c:v>42338</c:v>
                </c:pt>
                <c:pt idx="499">
                  <c:v>42339</c:v>
                </c:pt>
                <c:pt idx="500">
                  <c:v>42340</c:v>
                </c:pt>
                <c:pt idx="501">
                  <c:v>42341</c:v>
                </c:pt>
                <c:pt idx="502">
                  <c:v>42342</c:v>
                </c:pt>
                <c:pt idx="503">
                  <c:v>42345</c:v>
                </c:pt>
                <c:pt idx="504">
                  <c:v>42346</c:v>
                </c:pt>
                <c:pt idx="505">
                  <c:v>42347</c:v>
                </c:pt>
                <c:pt idx="506">
                  <c:v>42348</c:v>
                </c:pt>
                <c:pt idx="507">
                  <c:v>42349</c:v>
                </c:pt>
                <c:pt idx="508">
                  <c:v>42352</c:v>
                </c:pt>
                <c:pt idx="509">
                  <c:v>42353</c:v>
                </c:pt>
                <c:pt idx="510">
                  <c:v>42354</c:v>
                </c:pt>
                <c:pt idx="511">
                  <c:v>42355</c:v>
                </c:pt>
                <c:pt idx="512">
                  <c:v>42356</c:v>
                </c:pt>
                <c:pt idx="513">
                  <c:v>42359</c:v>
                </c:pt>
                <c:pt idx="514">
                  <c:v>42360</c:v>
                </c:pt>
                <c:pt idx="515">
                  <c:v>42361</c:v>
                </c:pt>
                <c:pt idx="516">
                  <c:v>42362</c:v>
                </c:pt>
                <c:pt idx="517">
                  <c:v>42363</c:v>
                </c:pt>
                <c:pt idx="518">
                  <c:v>42366</c:v>
                </c:pt>
                <c:pt idx="519">
                  <c:v>42367</c:v>
                </c:pt>
                <c:pt idx="520">
                  <c:v>42368</c:v>
                </c:pt>
                <c:pt idx="521">
                  <c:v>42369</c:v>
                </c:pt>
                <c:pt idx="522">
                  <c:v>42370</c:v>
                </c:pt>
                <c:pt idx="523">
                  <c:v>42373</c:v>
                </c:pt>
                <c:pt idx="524">
                  <c:v>42374</c:v>
                </c:pt>
                <c:pt idx="525">
                  <c:v>42375</c:v>
                </c:pt>
                <c:pt idx="526">
                  <c:v>42376</c:v>
                </c:pt>
                <c:pt idx="527">
                  <c:v>42377</c:v>
                </c:pt>
                <c:pt idx="528">
                  <c:v>42380</c:v>
                </c:pt>
                <c:pt idx="529">
                  <c:v>42381</c:v>
                </c:pt>
                <c:pt idx="530">
                  <c:v>42382</c:v>
                </c:pt>
                <c:pt idx="531">
                  <c:v>42383</c:v>
                </c:pt>
                <c:pt idx="532">
                  <c:v>42384</c:v>
                </c:pt>
                <c:pt idx="533">
                  <c:v>42387</c:v>
                </c:pt>
                <c:pt idx="534">
                  <c:v>42388</c:v>
                </c:pt>
                <c:pt idx="535">
                  <c:v>42389</c:v>
                </c:pt>
                <c:pt idx="536">
                  <c:v>42390</c:v>
                </c:pt>
                <c:pt idx="537">
                  <c:v>42391</c:v>
                </c:pt>
                <c:pt idx="538">
                  <c:v>42394</c:v>
                </c:pt>
                <c:pt idx="539">
                  <c:v>42395</c:v>
                </c:pt>
                <c:pt idx="540">
                  <c:v>42396</c:v>
                </c:pt>
                <c:pt idx="541">
                  <c:v>42397</c:v>
                </c:pt>
                <c:pt idx="542">
                  <c:v>42398</c:v>
                </c:pt>
                <c:pt idx="543">
                  <c:v>42401</c:v>
                </c:pt>
                <c:pt idx="544">
                  <c:v>42402</c:v>
                </c:pt>
                <c:pt idx="545">
                  <c:v>42403</c:v>
                </c:pt>
                <c:pt idx="546">
                  <c:v>42404</c:v>
                </c:pt>
                <c:pt idx="547">
                  <c:v>42405</c:v>
                </c:pt>
                <c:pt idx="548">
                  <c:v>42408</c:v>
                </c:pt>
                <c:pt idx="549">
                  <c:v>42409</c:v>
                </c:pt>
                <c:pt idx="550">
                  <c:v>42410</c:v>
                </c:pt>
                <c:pt idx="551">
                  <c:v>42411</c:v>
                </c:pt>
                <c:pt idx="552">
                  <c:v>42412</c:v>
                </c:pt>
                <c:pt idx="553">
                  <c:v>42415</c:v>
                </c:pt>
                <c:pt idx="554">
                  <c:v>42416</c:v>
                </c:pt>
                <c:pt idx="555">
                  <c:v>42417</c:v>
                </c:pt>
                <c:pt idx="556">
                  <c:v>42418</c:v>
                </c:pt>
                <c:pt idx="557">
                  <c:v>42419</c:v>
                </c:pt>
                <c:pt idx="558">
                  <c:v>42422</c:v>
                </c:pt>
                <c:pt idx="559">
                  <c:v>42423</c:v>
                </c:pt>
                <c:pt idx="560">
                  <c:v>42424</c:v>
                </c:pt>
                <c:pt idx="561">
                  <c:v>42425</c:v>
                </c:pt>
                <c:pt idx="562">
                  <c:v>42426</c:v>
                </c:pt>
                <c:pt idx="563">
                  <c:v>42429</c:v>
                </c:pt>
                <c:pt idx="564">
                  <c:v>42430</c:v>
                </c:pt>
                <c:pt idx="565">
                  <c:v>42431</c:v>
                </c:pt>
                <c:pt idx="566">
                  <c:v>42432</c:v>
                </c:pt>
                <c:pt idx="567">
                  <c:v>42433</c:v>
                </c:pt>
                <c:pt idx="568">
                  <c:v>42436</c:v>
                </c:pt>
                <c:pt idx="569">
                  <c:v>42437</c:v>
                </c:pt>
                <c:pt idx="570">
                  <c:v>42438</c:v>
                </c:pt>
                <c:pt idx="571">
                  <c:v>42439</c:v>
                </c:pt>
                <c:pt idx="572">
                  <c:v>42440</c:v>
                </c:pt>
                <c:pt idx="573">
                  <c:v>42443</c:v>
                </c:pt>
                <c:pt idx="574">
                  <c:v>42444</c:v>
                </c:pt>
                <c:pt idx="575">
                  <c:v>42445</c:v>
                </c:pt>
                <c:pt idx="576">
                  <c:v>42446</c:v>
                </c:pt>
                <c:pt idx="577">
                  <c:v>42447</c:v>
                </c:pt>
                <c:pt idx="578">
                  <c:v>42450</c:v>
                </c:pt>
                <c:pt idx="579">
                  <c:v>42451</c:v>
                </c:pt>
                <c:pt idx="580">
                  <c:v>42452</c:v>
                </c:pt>
                <c:pt idx="581">
                  <c:v>42453</c:v>
                </c:pt>
                <c:pt idx="582">
                  <c:v>42454</c:v>
                </c:pt>
                <c:pt idx="583">
                  <c:v>42457</c:v>
                </c:pt>
                <c:pt idx="584">
                  <c:v>42458</c:v>
                </c:pt>
                <c:pt idx="585">
                  <c:v>42459</c:v>
                </c:pt>
                <c:pt idx="586">
                  <c:v>42460</c:v>
                </c:pt>
                <c:pt idx="587">
                  <c:v>42461</c:v>
                </c:pt>
                <c:pt idx="588">
                  <c:v>42464</c:v>
                </c:pt>
                <c:pt idx="589">
                  <c:v>42465</c:v>
                </c:pt>
                <c:pt idx="590">
                  <c:v>42466</c:v>
                </c:pt>
                <c:pt idx="591">
                  <c:v>42467</c:v>
                </c:pt>
                <c:pt idx="592">
                  <c:v>42468</c:v>
                </c:pt>
                <c:pt idx="593">
                  <c:v>42471</c:v>
                </c:pt>
                <c:pt idx="594">
                  <c:v>42472</c:v>
                </c:pt>
                <c:pt idx="595">
                  <c:v>42473</c:v>
                </c:pt>
                <c:pt idx="596">
                  <c:v>42474</c:v>
                </c:pt>
                <c:pt idx="597">
                  <c:v>42475</c:v>
                </c:pt>
                <c:pt idx="598">
                  <c:v>42478</c:v>
                </c:pt>
                <c:pt idx="599">
                  <c:v>42479</c:v>
                </c:pt>
                <c:pt idx="600">
                  <c:v>42480</c:v>
                </c:pt>
                <c:pt idx="601">
                  <c:v>42481</c:v>
                </c:pt>
                <c:pt idx="602">
                  <c:v>42482</c:v>
                </c:pt>
                <c:pt idx="603">
                  <c:v>42485</c:v>
                </c:pt>
                <c:pt idx="604">
                  <c:v>42486</c:v>
                </c:pt>
                <c:pt idx="605">
                  <c:v>42487</c:v>
                </c:pt>
                <c:pt idx="606">
                  <c:v>42488</c:v>
                </c:pt>
                <c:pt idx="607">
                  <c:v>42489</c:v>
                </c:pt>
                <c:pt idx="608">
                  <c:v>42492</c:v>
                </c:pt>
                <c:pt idx="609">
                  <c:v>42493</c:v>
                </c:pt>
                <c:pt idx="610">
                  <c:v>42494</c:v>
                </c:pt>
                <c:pt idx="611">
                  <c:v>42495</c:v>
                </c:pt>
                <c:pt idx="612">
                  <c:v>42496</c:v>
                </c:pt>
                <c:pt idx="613">
                  <c:v>42499</c:v>
                </c:pt>
                <c:pt idx="614">
                  <c:v>42500</c:v>
                </c:pt>
                <c:pt idx="615">
                  <c:v>42501</c:v>
                </c:pt>
                <c:pt idx="616">
                  <c:v>42502</c:v>
                </c:pt>
                <c:pt idx="617">
                  <c:v>42503</c:v>
                </c:pt>
                <c:pt idx="618">
                  <c:v>42506</c:v>
                </c:pt>
                <c:pt idx="619">
                  <c:v>42507</c:v>
                </c:pt>
                <c:pt idx="620">
                  <c:v>42508</c:v>
                </c:pt>
                <c:pt idx="621">
                  <c:v>42509</c:v>
                </c:pt>
                <c:pt idx="622">
                  <c:v>42510</c:v>
                </c:pt>
                <c:pt idx="623">
                  <c:v>42513</c:v>
                </c:pt>
                <c:pt idx="624">
                  <c:v>42514</c:v>
                </c:pt>
                <c:pt idx="625">
                  <c:v>42515</c:v>
                </c:pt>
                <c:pt idx="626">
                  <c:v>42516</c:v>
                </c:pt>
                <c:pt idx="627">
                  <c:v>42517</c:v>
                </c:pt>
                <c:pt idx="628">
                  <c:v>42520</c:v>
                </c:pt>
                <c:pt idx="629">
                  <c:v>42521</c:v>
                </c:pt>
                <c:pt idx="630">
                  <c:v>42522</c:v>
                </c:pt>
                <c:pt idx="631">
                  <c:v>42523</c:v>
                </c:pt>
                <c:pt idx="632">
                  <c:v>42524</c:v>
                </c:pt>
                <c:pt idx="633">
                  <c:v>42527</c:v>
                </c:pt>
                <c:pt idx="634">
                  <c:v>42528</c:v>
                </c:pt>
                <c:pt idx="635">
                  <c:v>42529</c:v>
                </c:pt>
                <c:pt idx="636">
                  <c:v>42530</c:v>
                </c:pt>
                <c:pt idx="637">
                  <c:v>42531</c:v>
                </c:pt>
                <c:pt idx="638">
                  <c:v>42534</c:v>
                </c:pt>
                <c:pt idx="639">
                  <c:v>42535</c:v>
                </c:pt>
                <c:pt idx="640">
                  <c:v>42536</c:v>
                </c:pt>
                <c:pt idx="641">
                  <c:v>42537</c:v>
                </c:pt>
                <c:pt idx="642">
                  <c:v>42538</c:v>
                </c:pt>
                <c:pt idx="643">
                  <c:v>42541</c:v>
                </c:pt>
                <c:pt idx="644">
                  <c:v>42542</c:v>
                </c:pt>
                <c:pt idx="645">
                  <c:v>42543</c:v>
                </c:pt>
                <c:pt idx="646">
                  <c:v>42544</c:v>
                </c:pt>
                <c:pt idx="647">
                  <c:v>42545</c:v>
                </c:pt>
                <c:pt idx="648">
                  <c:v>42548</c:v>
                </c:pt>
                <c:pt idx="649">
                  <c:v>42549</c:v>
                </c:pt>
                <c:pt idx="650">
                  <c:v>42550</c:v>
                </c:pt>
                <c:pt idx="651">
                  <c:v>42551</c:v>
                </c:pt>
                <c:pt idx="652">
                  <c:v>42552</c:v>
                </c:pt>
                <c:pt idx="653">
                  <c:v>42555</c:v>
                </c:pt>
                <c:pt idx="654">
                  <c:v>42556</c:v>
                </c:pt>
                <c:pt idx="655">
                  <c:v>42557</c:v>
                </c:pt>
                <c:pt idx="656">
                  <c:v>42558</c:v>
                </c:pt>
                <c:pt idx="657">
                  <c:v>42559</c:v>
                </c:pt>
                <c:pt idx="658">
                  <c:v>42562</c:v>
                </c:pt>
                <c:pt idx="659">
                  <c:v>42563</c:v>
                </c:pt>
                <c:pt idx="660">
                  <c:v>42564</c:v>
                </c:pt>
                <c:pt idx="661">
                  <c:v>42565</c:v>
                </c:pt>
                <c:pt idx="662">
                  <c:v>42566</c:v>
                </c:pt>
                <c:pt idx="663">
                  <c:v>42569</c:v>
                </c:pt>
                <c:pt idx="664">
                  <c:v>42570</c:v>
                </c:pt>
                <c:pt idx="665">
                  <c:v>42571</c:v>
                </c:pt>
                <c:pt idx="666">
                  <c:v>42572</c:v>
                </c:pt>
                <c:pt idx="667">
                  <c:v>42573</c:v>
                </c:pt>
                <c:pt idx="668">
                  <c:v>42576</c:v>
                </c:pt>
                <c:pt idx="669">
                  <c:v>42577</c:v>
                </c:pt>
                <c:pt idx="670">
                  <c:v>42578</c:v>
                </c:pt>
                <c:pt idx="671">
                  <c:v>42579</c:v>
                </c:pt>
                <c:pt idx="672">
                  <c:v>42580</c:v>
                </c:pt>
                <c:pt idx="673">
                  <c:v>42583</c:v>
                </c:pt>
                <c:pt idx="674">
                  <c:v>42584</c:v>
                </c:pt>
                <c:pt idx="675">
                  <c:v>42585</c:v>
                </c:pt>
                <c:pt idx="676">
                  <c:v>42586</c:v>
                </c:pt>
                <c:pt idx="677">
                  <c:v>42587</c:v>
                </c:pt>
                <c:pt idx="678">
                  <c:v>42590</c:v>
                </c:pt>
                <c:pt idx="679">
                  <c:v>42591</c:v>
                </c:pt>
                <c:pt idx="680">
                  <c:v>42592</c:v>
                </c:pt>
                <c:pt idx="681">
                  <c:v>42593</c:v>
                </c:pt>
                <c:pt idx="682">
                  <c:v>42594</c:v>
                </c:pt>
                <c:pt idx="683">
                  <c:v>42597</c:v>
                </c:pt>
                <c:pt idx="684">
                  <c:v>42598</c:v>
                </c:pt>
                <c:pt idx="685">
                  <c:v>42599</c:v>
                </c:pt>
                <c:pt idx="686">
                  <c:v>42600</c:v>
                </c:pt>
                <c:pt idx="687">
                  <c:v>42601</c:v>
                </c:pt>
                <c:pt idx="688">
                  <c:v>42604</c:v>
                </c:pt>
                <c:pt idx="689">
                  <c:v>42605</c:v>
                </c:pt>
                <c:pt idx="690">
                  <c:v>42606</c:v>
                </c:pt>
                <c:pt idx="691">
                  <c:v>42607</c:v>
                </c:pt>
                <c:pt idx="692">
                  <c:v>42608</c:v>
                </c:pt>
                <c:pt idx="693">
                  <c:v>42611</c:v>
                </c:pt>
                <c:pt idx="694">
                  <c:v>42612</c:v>
                </c:pt>
                <c:pt idx="695">
                  <c:v>42613</c:v>
                </c:pt>
                <c:pt idx="696">
                  <c:v>42614</c:v>
                </c:pt>
                <c:pt idx="697">
                  <c:v>42615</c:v>
                </c:pt>
                <c:pt idx="698">
                  <c:v>42618</c:v>
                </c:pt>
                <c:pt idx="699">
                  <c:v>42619</c:v>
                </c:pt>
                <c:pt idx="700">
                  <c:v>42620</c:v>
                </c:pt>
                <c:pt idx="701">
                  <c:v>42621</c:v>
                </c:pt>
                <c:pt idx="702">
                  <c:v>42622</c:v>
                </c:pt>
                <c:pt idx="703">
                  <c:v>42625</c:v>
                </c:pt>
                <c:pt idx="704">
                  <c:v>42626</c:v>
                </c:pt>
                <c:pt idx="705">
                  <c:v>42627</c:v>
                </c:pt>
                <c:pt idx="706">
                  <c:v>42628</c:v>
                </c:pt>
                <c:pt idx="707">
                  <c:v>42629</c:v>
                </c:pt>
                <c:pt idx="708">
                  <c:v>42632</c:v>
                </c:pt>
                <c:pt idx="709">
                  <c:v>42633</c:v>
                </c:pt>
                <c:pt idx="710">
                  <c:v>42634</c:v>
                </c:pt>
                <c:pt idx="711">
                  <c:v>42635</c:v>
                </c:pt>
                <c:pt idx="712">
                  <c:v>42636</c:v>
                </c:pt>
                <c:pt idx="713">
                  <c:v>42639</c:v>
                </c:pt>
                <c:pt idx="714">
                  <c:v>42640</c:v>
                </c:pt>
                <c:pt idx="715">
                  <c:v>42641</c:v>
                </c:pt>
                <c:pt idx="716">
                  <c:v>42642</c:v>
                </c:pt>
                <c:pt idx="717">
                  <c:v>42643</c:v>
                </c:pt>
                <c:pt idx="718">
                  <c:v>42646</c:v>
                </c:pt>
                <c:pt idx="719">
                  <c:v>42647</c:v>
                </c:pt>
                <c:pt idx="720">
                  <c:v>42648</c:v>
                </c:pt>
                <c:pt idx="721">
                  <c:v>42649</c:v>
                </c:pt>
                <c:pt idx="722">
                  <c:v>42650</c:v>
                </c:pt>
                <c:pt idx="723">
                  <c:v>42653</c:v>
                </c:pt>
                <c:pt idx="724">
                  <c:v>42654</c:v>
                </c:pt>
                <c:pt idx="725">
                  <c:v>42655</c:v>
                </c:pt>
                <c:pt idx="726">
                  <c:v>42656</c:v>
                </c:pt>
                <c:pt idx="727">
                  <c:v>42657</c:v>
                </c:pt>
                <c:pt idx="728">
                  <c:v>42660</c:v>
                </c:pt>
                <c:pt idx="729">
                  <c:v>42661</c:v>
                </c:pt>
                <c:pt idx="730">
                  <c:v>42662</c:v>
                </c:pt>
                <c:pt idx="731">
                  <c:v>42663</c:v>
                </c:pt>
                <c:pt idx="732">
                  <c:v>42664</c:v>
                </c:pt>
                <c:pt idx="733">
                  <c:v>42667</c:v>
                </c:pt>
                <c:pt idx="734">
                  <c:v>42668</c:v>
                </c:pt>
                <c:pt idx="735">
                  <c:v>42669</c:v>
                </c:pt>
                <c:pt idx="736">
                  <c:v>42670</c:v>
                </c:pt>
                <c:pt idx="737">
                  <c:v>42671</c:v>
                </c:pt>
                <c:pt idx="738">
                  <c:v>42674</c:v>
                </c:pt>
                <c:pt idx="739">
                  <c:v>42675</c:v>
                </c:pt>
                <c:pt idx="740">
                  <c:v>42676</c:v>
                </c:pt>
                <c:pt idx="741">
                  <c:v>42677</c:v>
                </c:pt>
                <c:pt idx="742">
                  <c:v>42678</c:v>
                </c:pt>
                <c:pt idx="743">
                  <c:v>42681</c:v>
                </c:pt>
                <c:pt idx="744">
                  <c:v>42682</c:v>
                </c:pt>
                <c:pt idx="745">
                  <c:v>42683</c:v>
                </c:pt>
                <c:pt idx="746">
                  <c:v>42684</c:v>
                </c:pt>
                <c:pt idx="747">
                  <c:v>42685</c:v>
                </c:pt>
                <c:pt idx="748">
                  <c:v>42688</c:v>
                </c:pt>
                <c:pt idx="749">
                  <c:v>42689</c:v>
                </c:pt>
                <c:pt idx="750">
                  <c:v>42690</c:v>
                </c:pt>
                <c:pt idx="751">
                  <c:v>42691</c:v>
                </c:pt>
                <c:pt idx="752">
                  <c:v>42692</c:v>
                </c:pt>
                <c:pt idx="753">
                  <c:v>42695</c:v>
                </c:pt>
                <c:pt idx="754">
                  <c:v>42696</c:v>
                </c:pt>
                <c:pt idx="755">
                  <c:v>42697</c:v>
                </c:pt>
                <c:pt idx="756">
                  <c:v>42698</c:v>
                </c:pt>
                <c:pt idx="757">
                  <c:v>42699</c:v>
                </c:pt>
                <c:pt idx="758">
                  <c:v>42702</c:v>
                </c:pt>
                <c:pt idx="759">
                  <c:v>42703</c:v>
                </c:pt>
                <c:pt idx="760">
                  <c:v>42704</c:v>
                </c:pt>
                <c:pt idx="761">
                  <c:v>42705</c:v>
                </c:pt>
                <c:pt idx="762">
                  <c:v>42706</c:v>
                </c:pt>
                <c:pt idx="763">
                  <c:v>42709</c:v>
                </c:pt>
                <c:pt idx="764">
                  <c:v>42710</c:v>
                </c:pt>
                <c:pt idx="765">
                  <c:v>42711</c:v>
                </c:pt>
                <c:pt idx="766">
                  <c:v>42712</c:v>
                </c:pt>
                <c:pt idx="767">
                  <c:v>42713</c:v>
                </c:pt>
                <c:pt idx="768">
                  <c:v>42716</c:v>
                </c:pt>
                <c:pt idx="769">
                  <c:v>42717</c:v>
                </c:pt>
                <c:pt idx="770">
                  <c:v>42718</c:v>
                </c:pt>
                <c:pt idx="771">
                  <c:v>42719</c:v>
                </c:pt>
                <c:pt idx="772">
                  <c:v>42720</c:v>
                </c:pt>
                <c:pt idx="773">
                  <c:v>42723</c:v>
                </c:pt>
                <c:pt idx="774">
                  <c:v>42724</c:v>
                </c:pt>
                <c:pt idx="775">
                  <c:v>42725</c:v>
                </c:pt>
                <c:pt idx="776">
                  <c:v>42726</c:v>
                </c:pt>
                <c:pt idx="777">
                  <c:v>42727</c:v>
                </c:pt>
                <c:pt idx="778">
                  <c:v>42730</c:v>
                </c:pt>
                <c:pt idx="779">
                  <c:v>42731</c:v>
                </c:pt>
                <c:pt idx="780">
                  <c:v>42732</c:v>
                </c:pt>
                <c:pt idx="781">
                  <c:v>42733</c:v>
                </c:pt>
                <c:pt idx="782">
                  <c:v>42734</c:v>
                </c:pt>
                <c:pt idx="783">
                  <c:v>42737</c:v>
                </c:pt>
                <c:pt idx="784">
                  <c:v>42738</c:v>
                </c:pt>
                <c:pt idx="785">
                  <c:v>42739</c:v>
                </c:pt>
                <c:pt idx="786">
                  <c:v>42740</c:v>
                </c:pt>
                <c:pt idx="787">
                  <c:v>42741</c:v>
                </c:pt>
                <c:pt idx="788">
                  <c:v>42744</c:v>
                </c:pt>
                <c:pt idx="789">
                  <c:v>42745</c:v>
                </c:pt>
                <c:pt idx="790">
                  <c:v>42746</c:v>
                </c:pt>
                <c:pt idx="791">
                  <c:v>42747</c:v>
                </c:pt>
                <c:pt idx="792">
                  <c:v>42748</c:v>
                </c:pt>
                <c:pt idx="793">
                  <c:v>42751</c:v>
                </c:pt>
                <c:pt idx="794">
                  <c:v>42752</c:v>
                </c:pt>
                <c:pt idx="795">
                  <c:v>42753</c:v>
                </c:pt>
                <c:pt idx="796">
                  <c:v>42754</c:v>
                </c:pt>
                <c:pt idx="797">
                  <c:v>42755</c:v>
                </c:pt>
                <c:pt idx="798">
                  <c:v>42758</c:v>
                </c:pt>
                <c:pt idx="799">
                  <c:v>42759</c:v>
                </c:pt>
                <c:pt idx="800">
                  <c:v>42760</c:v>
                </c:pt>
                <c:pt idx="801">
                  <c:v>42761</c:v>
                </c:pt>
                <c:pt idx="802">
                  <c:v>42762</c:v>
                </c:pt>
                <c:pt idx="803">
                  <c:v>42765</c:v>
                </c:pt>
                <c:pt idx="804">
                  <c:v>42766</c:v>
                </c:pt>
                <c:pt idx="805">
                  <c:v>42767</c:v>
                </c:pt>
                <c:pt idx="806">
                  <c:v>42768</c:v>
                </c:pt>
                <c:pt idx="807">
                  <c:v>42769</c:v>
                </c:pt>
                <c:pt idx="808">
                  <c:v>42772</c:v>
                </c:pt>
                <c:pt idx="809">
                  <c:v>42773</c:v>
                </c:pt>
                <c:pt idx="810">
                  <c:v>42774</c:v>
                </c:pt>
                <c:pt idx="811">
                  <c:v>42775</c:v>
                </c:pt>
                <c:pt idx="812">
                  <c:v>42776</c:v>
                </c:pt>
                <c:pt idx="813">
                  <c:v>42779</c:v>
                </c:pt>
                <c:pt idx="814">
                  <c:v>42780</c:v>
                </c:pt>
                <c:pt idx="815">
                  <c:v>42781</c:v>
                </c:pt>
                <c:pt idx="816">
                  <c:v>42782</c:v>
                </c:pt>
                <c:pt idx="817">
                  <c:v>42783</c:v>
                </c:pt>
                <c:pt idx="818">
                  <c:v>42786</c:v>
                </c:pt>
                <c:pt idx="819">
                  <c:v>42787</c:v>
                </c:pt>
                <c:pt idx="820">
                  <c:v>42788</c:v>
                </c:pt>
                <c:pt idx="821">
                  <c:v>42789</c:v>
                </c:pt>
                <c:pt idx="822">
                  <c:v>42790</c:v>
                </c:pt>
                <c:pt idx="823">
                  <c:v>42793</c:v>
                </c:pt>
                <c:pt idx="824">
                  <c:v>42794</c:v>
                </c:pt>
                <c:pt idx="825">
                  <c:v>42795</c:v>
                </c:pt>
                <c:pt idx="826">
                  <c:v>42796</c:v>
                </c:pt>
                <c:pt idx="827">
                  <c:v>42797</c:v>
                </c:pt>
                <c:pt idx="828">
                  <c:v>42800</c:v>
                </c:pt>
                <c:pt idx="829">
                  <c:v>42801</c:v>
                </c:pt>
                <c:pt idx="830">
                  <c:v>42802</c:v>
                </c:pt>
                <c:pt idx="831">
                  <c:v>42803</c:v>
                </c:pt>
                <c:pt idx="832">
                  <c:v>42804</c:v>
                </c:pt>
                <c:pt idx="833">
                  <c:v>42807</c:v>
                </c:pt>
                <c:pt idx="834">
                  <c:v>42808</c:v>
                </c:pt>
                <c:pt idx="835">
                  <c:v>42809</c:v>
                </c:pt>
                <c:pt idx="836">
                  <c:v>42810</c:v>
                </c:pt>
                <c:pt idx="837">
                  <c:v>42811</c:v>
                </c:pt>
                <c:pt idx="838">
                  <c:v>42814</c:v>
                </c:pt>
                <c:pt idx="839">
                  <c:v>42815</c:v>
                </c:pt>
                <c:pt idx="840">
                  <c:v>42816</c:v>
                </c:pt>
                <c:pt idx="841">
                  <c:v>42817</c:v>
                </c:pt>
                <c:pt idx="842">
                  <c:v>42818</c:v>
                </c:pt>
                <c:pt idx="843">
                  <c:v>42821</c:v>
                </c:pt>
                <c:pt idx="844">
                  <c:v>42822</c:v>
                </c:pt>
                <c:pt idx="845">
                  <c:v>42823</c:v>
                </c:pt>
                <c:pt idx="846">
                  <c:v>42824</c:v>
                </c:pt>
                <c:pt idx="847">
                  <c:v>42825</c:v>
                </c:pt>
                <c:pt idx="848">
                  <c:v>42828</c:v>
                </c:pt>
                <c:pt idx="849">
                  <c:v>42829</c:v>
                </c:pt>
                <c:pt idx="850">
                  <c:v>42830</c:v>
                </c:pt>
                <c:pt idx="851">
                  <c:v>42831</c:v>
                </c:pt>
                <c:pt idx="852">
                  <c:v>42832</c:v>
                </c:pt>
                <c:pt idx="853">
                  <c:v>42835</c:v>
                </c:pt>
                <c:pt idx="854">
                  <c:v>42836</c:v>
                </c:pt>
                <c:pt idx="855">
                  <c:v>42837</c:v>
                </c:pt>
                <c:pt idx="856">
                  <c:v>42838</c:v>
                </c:pt>
                <c:pt idx="857">
                  <c:v>42839</c:v>
                </c:pt>
                <c:pt idx="858">
                  <c:v>42842</c:v>
                </c:pt>
                <c:pt idx="859">
                  <c:v>42843</c:v>
                </c:pt>
                <c:pt idx="860">
                  <c:v>42844</c:v>
                </c:pt>
                <c:pt idx="861">
                  <c:v>42845</c:v>
                </c:pt>
                <c:pt idx="862">
                  <c:v>42846</c:v>
                </c:pt>
                <c:pt idx="863">
                  <c:v>42849</c:v>
                </c:pt>
                <c:pt idx="864">
                  <c:v>42850</c:v>
                </c:pt>
                <c:pt idx="865">
                  <c:v>42851</c:v>
                </c:pt>
                <c:pt idx="866">
                  <c:v>42852</c:v>
                </c:pt>
                <c:pt idx="867">
                  <c:v>42853</c:v>
                </c:pt>
                <c:pt idx="868">
                  <c:v>42856</c:v>
                </c:pt>
                <c:pt idx="869">
                  <c:v>42857</c:v>
                </c:pt>
                <c:pt idx="870">
                  <c:v>42858</c:v>
                </c:pt>
                <c:pt idx="871">
                  <c:v>42859</c:v>
                </c:pt>
                <c:pt idx="872">
                  <c:v>42860</c:v>
                </c:pt>
                <c:pt idx="873">
                  <c:v>42863</c:v>
                </c:pt>
                <c:pt idx="874">
                  <c:v>42864</c:v>
                </c:pt>
                <c:pt idx="875">
                  <c:v>42865</c:v>
                </c:pt>
                <c:pt idx="876">
                  <c:v>42866</c:v>
                </c:pt>
                <c:pt idx="877">
                  <c:v>42867</c:v>
                </c:pt>
                <c:pt idx="878">
                  <c:v>42870</c:v>
                </c:pt>
                <c:pt idx="879">
                  <c:v>42871</c:v>
                </c:pt>
                <c:pt idx="880">
                  <c:v>42872</c:v>
                </c:pt>
                <c:pt idx="881">
                  <c:v>42873</c:v>
                </c:pt>
                <c:pt idx="882">
                  <c:v>42874</c:v>
                </c:pt>
                <c:pt idx="883">
                  <c:v>42877</c:v>
                </c:pt>
                <c:pt idx="884">
                  <c:v>42878</c:v>
                </c:pt>
                <c:pt idx="885">
                  <c:v>42879</c:v>
                </c:pt>
                <c:pt idx="886">
                  <c:v>42880</c:v>
                </c:pt>
                <c:pt idx="887">
                  <c:v>42881</c:v>
                </c:pt>
                <c:pt idx="888">
                  <c:v>42884</c:v>
                </c:pt>
                <c:pt idx="889">
                  <c:v>42885</c:v>
                </c:pt>
                <c:pt idx="890">
                  <c:v>42886</c:v>
                </c:pt>
                <c:pt idx="891">
                  <c:v>42887</c:v>
                </c:pt>
                <c:pt idx="892">
                  <c:v>42888</c:v>
                </c:pt>
                <c:pt idx="893">
                  <c:v>42891</c:v>
                </c:pt>
                <c:pt idx="894">
                  <c:v>42892</c:v>
                </c:pt>
                <c:pt idx="895">
                  <c:v>42893</c:v>
                </c:pt>
                <c:pt idx="896">
                  <c:v>42894</c:v>
                </c:pt>
                <c:pt idx="897">
                  <c:v>42895</c:v>
                </c:pt>
                <c:pt idx="898">
                  <c:v>42898</c:v>
                </c:pt>
                <c:pt idx="899">
                  <c:v>42899</c:v>
                </c:pt>
                <c:pt idx="900">
                  <c:v>42900</c:v>
                </c:pt>
                <c:pt idx="901">
                  <c:v>42901</c:v>
                </c:pt>
                <c:pt idx="902">
                  <c:v>42902</c:v>
                </c:pt>
                <c:pt idx="903">
                  <c:v>42905</c:v>
                </c:pt>
                <c:pt idx="904">
                  <c:v>42906</c:v>
                </c:pt>
                <c:pt idx="905">
                  <c:v>42907</c:v>
                </c:pt>
                <c:pt idx="906">
                  <c:v>42908</c:v>
                </c:pt>
                <c:pt idx="907">
                  <c:v>42909</c:v>
                </c:pt>
                <c:pt idx="908">
                  <c:v>42912</c:v>
                </c:pt>
                <c:pt idx="909">
                  <c:v>42913</c:v>
                </c:pt>
                <c:pt idx="910">
                  <c:v>42914</c:v>
                </c:pt>
                <c:pt idx="911">
                  <c:v>42915</c:v>
                </c:pt>
                <c:pt idx="912">
                  <c:v>42916</c:v>
                </c:pt>
                <c:pt idx="913">
                  <c:v>42919</c:v>
                </c:pt>
                <c:pt idx="914">
                  <c:v>42920</c:v>
                </c:pt>
                <c:pt idx="915">
                  <c:v>42921</c:v>
                </c:pt>
                <c:pt idx="916">
                  <c:v>42922</c:v>
                </c:pt>
                <c:pt idx="917">
                  <c:v>42923</c:v>
                </c:pt>
                <c:pt idx="918">
                  <c:v>42926</c:v>
                </c:pt>
                <c:pt idx="919">
                  <c:v>42927</c:v>
                </c:pt>
                <c:pt idx="920">
                  <c:v>42928</c:v>
                </c:pt>
                <c:pt idx="921">
                  <c:v>42929</c:v>
                </c:pt>
                <c:pt idx="922">
                  <c:v>42930</c:v>
                </c:pt>
                <c:pt idx="923">
                  <c:v>42933</c:v>
                </c:pt>
                <c:pt idx="924">
                  <c:v>42934</c:v>
                </c:pt>
                <c:pt idx="925">
                  <c:v>42935</c:v>
                </c:pt>
                <c:pt idx="926">
                  <c:v>42936</c:v>
                </c:pt>
                <c:pt idx="927">
                  <c:v>42937</c:v>
                </c:pt>
                <c:pt idx="928">
                  <c:v>42940</c:v>
                </c:pt>
                <c:pt idx="929">
                  <c:v>42941</c:v>
                </c:pt>
                <c:pt idx="930">
                  <c:v>42942</c:v>
                </c:pt>
                <c:pt idx="931">
                  <c:v>42943</c:v>
                </c:pt>
                <c:pt idx="932">
                  <c:v>42944</c:v>
                </c:pt>
                <c:pt idx="933">
                  <c:v>42947</c:v>
                </c:pt>
                <c:pt idx="934">
                  <c:v>42948</c:v>
                </c:pt>
                <c:pt idx="935">
                  <c:v>42949</c:v>
                </c:pt>
                <c:pt idx="936">
                  <c:v>42950</c:v>
                </c:pt>
                <c:pt idx="937">
                  <c:v>42951</c:v>
                </c:pt>
                <c:pt idx="938">
                  <c:v>42954</c:v>
                </c:pt>
                <c:pt idx="939">
                  <c:v>42955</c:v>
                </c:pt>
                <c:pt idx="940">
                  <c:v>42956</c:v>
                </c:pt>
                <c:pt idx="941">
                  <c:v>42957</c:v>
                </c:pt>
                <c:pt idx="942">
                  <c:v>42958</c:v>
                </c:pt>
                <c:pt idx="943">
                  <c:v>42961</c:v>
                </c:pt>
                <c:pt idx="944">
                  <c:v>42962</c:v>
                </c:pt>
                <c:pt idx="945">
                  <c:v>42963</c:v>
                </c:pt>
                <c:pt idx="946">
                  <c:v>42964</c:v>
                </c:pt>
                <c:pt idx="947">
                  <c:v>42965</c:v>
                </c:pt>
                <c:pt idx="948">
                  <c:v>42968</c:v>
                </c:pt>
                <c:pt idx="949">
                  <c:v>42969</c:v>
                </c:pt>
                <c:pt idx="950">
                  <c:v>42970</c:v>
                </c:pt>
                <c:pt idx="951">
                  <c:v>42971</c:v>
                </c:pt>
                <c:pt idx="952">
                  <c:v>42972</c:v>
                </c:pt>
                <c:pt idx="953">
                  <c:v>42975</c:v>
                </c:pt>
                <c:pt idx="954">
                  <c:v>42976</c:v>
                </c:pt>
                <c:pt idx="955">
                  <c:v>42977</c:v>
                </c:pt>
                <c:pt idx="956">
                  <c:v>42978</c:v>
                </c:pt>
                <c:pt idx="957">
                  <c:v>42979</c:v>
                </c:pt>
                <c:pt idx="958">
                  <c:v>42982</c:v>
                </c:pt>
                <c:pt idx="959">
                  <c:v>42983</c:v>
                </c:pt>
                <c:pt idx="960">
                  <c:v>42984</c:v>
                </c:pt>
                <c:pt idx="961">
                  <c:v>42985</c:v>
                </c:pt>
                <c:pt idx="962">
                  <c:v>42986</c:v>
                </c:pt>
                <c:pt idx="963">
                  <c:v>42989</c:v>
                </c:pt>
                <c:pt idx="964">
                  <c:v>42990</c:v>
                </c:pt>
                <c:pt idx="965">
                  <c:v>42991</c:v>
                </c:pt>
                <c:pt idx="966">
                  <c:v>42992</c:v>
                </c:pt>
                <c:pt idx="967">
                  <c:v>42993</c:v>
                </c:pt>
                <c:pt idx="968">
                  <c:v>42996</c:v>
                </c:pt>
                <c:pt idx="969">
                  <c:v>42997</c:v>
                </c:pt>
                <c:pt idx="970">
                  <c:v>42998</c:v>
                </c:pt>
                <c:pt idx="971">
                  <c:v>42999</c:v>
                </c:pt>
                <c:pt idx="972">
                  <c:v>43000</c:v>
                </c:pt>
                <c:pt idx="973">
                  <c:v>43003</c:v>
                </c:pt>
                <c:pt idx="974">
                  <c:v>43004</c:v>
                </c:pt>
                <c:pt idx="975">
                  <c:v>43005</c:v>
                </c:pt>
                <c:pt idx="976">
                  <c:v>43006</c:v>
                </c:pt>
                <c:pt idx="977">
                  <c:v>43007</c:v>
                </c:pt>
                <c:pt idx="978">
                  <c:v>43010</c:v>
                </c:pt>
                <c:pt idx="979">
                  <c:v>43011</c:v>
                </c:pt>
                <c:pt idx="980">
                  <c:v>43012</c:v>
                </c:pt>
                <c:pt idx="981">
                  <c:v>43013</c:v>
                </c:pt>
                <c:pt idx="982">
                  <c:v>43014</c:v>
                </c:pt>
                <c:pt idx="983">
                  <c:v>43017</c:v>
                </c:pt>
                <c:pt idx="984">
                  <c:v>43018</c:v>
                </c:pt>
                <c:pt idx="985">
                  <c:v>43019</c:v>
                </c:pt>
                <c:pt idx="986">
                  <c:v>43020</c:v>
                </c:pt>
                <c:pt idx="987">
                  <c:v>43021</c:v>
                </c:pt>
                <c:pt idx="988">
                  <c:v>43024</c:v>
                </c:pt>
                <c:pt idx="989">
                  <c:v>43025</c:v>
                </c:pt>
                <c:pt idx="990">
                  <c:v>43026</c:v>
                </c:pt>
                <c:pt idx="991">
                  <c:v>43027</c:v>
                </c:pt>
                <c:pt idx="992">
                  <c:v>43028</c:v>
                </c:pt>
                <c:pt idx="993">
                  <c:v>43031</c:v>
                </c:pt>
                <c:pt idx="994">
                  <c:v>43032</c:v>
                </c:pt>
                <c:pt idx="995">
                  <c:v>43033</c:v>
                </c:pt>
                <c:pt idx="996">
                  <c:v>43034</c:v>
                </c:pt>
                <c:pt idx="997">
                  <c:v>43035</c:v>
                </c:pt>
                <c:pt idx="998">
                  <c:v>43038</c:v>
                </c:pt>
                <c:pt idx="999">
                  <c:v>43039</c:v>
                </c:pt>
                <c:pt idx="1000">
                  <c:v>43040</c:v>
                </c:pt>
                <c:pt idx="1001">
                  <c:v>43041</c:v>
                </c:pt>
                <c:pt idx="1002">
                  <c:v>43042</c:v>
                </c:pt>
                <c:pt idx="1003">
                  <c:v>43045</c:v>
                </c:pt>
                <c:pt idx="1004">
                  <c:v>43046</c:v>
                </c:pt>
                <c:pt idx="1005">
                  <c:v>43047</c:v>
                </c:pt>
                <c:pt idx="1006">
                  <c:v>43048</c:v>
                </c:pt>
                <c:pt idx="1007">
                  <c:v>43049</c:v>
                </c:pt>
                <c:pt idx="1008">
                  <c:v>43052</c:v>
                </c:pt>
                <c:pt idx="1009">
                  <c:v>43053</c:v>
                </c:pt>
                <c:pt idx="1010">
                  <c:v>43054</c:v>
                </c:pt>
                <c:pt idx="1011">
                  <c:v>43055</c:v>
                </c:pt>
                <c:pt idx="1012">
                  <c:v>43056</c:v>
                </c:pt>
                <c:pt idx="1013">
                  <c:v>43059</c:v>
                </c:pt>
                <c:pt idx="1014">
                  <c:v>43060</c:v>
                </c:pt>
                <c:pt idx="1015">
                  <c:v>43061</c:v>
                </c:pt>
                <c:pt idx="1016">
                  <c:v>43062</c:v>
                </c:pt>
                <c:pt idx="1017">
                  <c:v>43063</c:v>
                </c:pt>
                <c:pt idx="1018">
                  <c:v>43066</c:v>
                </c:pt>
                <c:pt idx="1019">
                  <c:v>43067</c:v>
                </c:pt>
                <c:pt idx="1020">
                  <c:v>43068</c:v>
                </c:pt>
                <c:pt idx="1021">
                  <c:v>43069</c:v>
                </c:pt>
                <c:pt idx="1022">
                  <c:v>43070</c:v>
                </c:pt>
                <c:pt idx="1023">
                  <c:v>43073</c:v>
                </c:pt>
                <c:pt idx="1024">
                  <c:v>43074</c:v>
                </c:pt>
                <c:pt idx="1025">
                  <c:v>43075</c:v>
                </c:pt>
                <c:pt idx="1026">
                  <c:v>43076</c:v>
                </c:pt>
                <c:pt idx="1027">
                  <c:v>43077</c:v>
                </c:pt>
                <c:pt idx="1028">
                  <c:v>43080</c:v>
                </c:pt>
                <c:pt idx="1029">
                  <c:v>43081</c:v>
                </c:pt>
                <c:pt idx="1030">
                  <c:v>43082</c:v>
                </c:pt>
                <c:pt idx="1031">
                  <c:v>43083</c:v>
                </c:pt>
                <c:pt idx="1032">
                  <c:v>43084</c:v>
                </c:pt>
                <c:pt idx="1033">
                  <c:v>43087</c:v>
                </c:pt>
                <c:pt idx="1034">
                  <c:v>43088</c:v>
                </c:pt>
                <c:pt idx="1035">
                  <c:v>43089</c:v>
                </c:pt>
                <c:pt idx="1036">
                  <c:v>43090</c:v>
                </c:pt>
                <c:pt idx="1037">
                  <c:v>43091</c:v>
                </c:pt>
                <c:pt idx="1038">
                  <c:v>43094</c:v>
                </c:pt>
                <c:pt idx="1039">
                  <c:v>43095</c:v>
                </c:pt>
                <c:pt idx="1040">
                  <c:v>43096</c:v>
                </c:pt>
                <c:pt idx="1041">
                  <c:v>43097</c:v>
                </c:pt>
                <c:pt idx="1042">
                  <c:v>43098</c:v>
                </c:pt>
                <c:pt idx="1043">
                  <c:v>43101</c:v>
                </c:pt>
                <c:pt idx="1044">
                  <c:v>43102</c:v>
                </c:pt>
                <c:pt idx="1045">
                  <c:v>43103</c:v>
                </c:pt>
                <c:pt idx="1046">
                  <c:v>43104</c:v>
                </c:pt>
                <c:pt idx="1047">
                  <c:v>43105</c:v>
                </c:pt>
                <c:pt idx="1048">
                  <c:v>43108</c:v>
                </c:pt>
                <c:pt idx="1049">
                  <c:v>43109</c:v>
                </c:pt>
                <c:pt idx="1050">
                  <c:v>43110</c:v>
                </c:pt>
                <c:pt idx="1051">
                  <c:v>43111</c:v>
                </c:pt>
                <c:pt idx="1052">
                  <c:v>43112</c:v>
                </c:pt>
                <c:pt idx="1053">
                  <c:v>43115</c:v>
                </c:pt>
                <c:pt idx="1054">
                  <c:v>43116</c:v>
                </c:pt>
                <c:pt idx="1055">
                  <c:v>43117</c:v>
                </c:pt>
                <c:pt idx="1056">
                  <c:v>43118</c:v>
                </c:pt>
                <c:pt idx="1057">
                  <c:v>43119</c:v>
                </c:pt>
                <c:pt idx="1058">
                  <c:v>43122</c:v>
                </c:pt>
                <c:pt idx="1059">
                  <c:v>43123</c:v>
                </c:pt>
                <c:pt idx="1060">
                  <c:v>43124</c:v>
                </c:pt>
                <c:pt idx="1061">
                  <c:v>43125</c:v>
                </c:pt>
                <c:pt idx="1062">
                  <c:v>43126</c:v>
                </c:pt>
                <c:pt idx="1063">
                  <c:v>43129</c:v>
                </c:pt>
                <c:pt idx="1064">
                  <c:v>43130</c:v>
                </c:pt>
                <c:pt idx="1065">
                  <c:v>43131</c:v>
                </c:pt>
                <c:pt idx="1066">
                  <c:v>43132</c:v>
                </c:pt>
                <c:pt idx="1067">
                  <c:v>43133</c:v>
                </c:pt>
                <c:pt idx="1068">
                  <c:v>43136</c:v>
                </c:pt>
                <c:pt idx="1069">
                  <c:v>43137</c:v>
                </c:pt>
                <c:pt idx="1070">
                  <c:v>43138</c:v>
                </c:pt>
                <c:pt idx="1071">
                  <c:v>43139</c:v>
                </c:pt>
                <c:pt idx="1072">
                  <c:v>43140</c:v>
                </c:pt>
                <c:pt idx="1073">
                  <c:v>43143</c:v>
                </c:pt>
                <c:pt idx="1074">
                  <c:v>43144</c:v>
                </c:pt>
                <c:pt idx="1075">
                  <c:v>43145</c:v>
                </c:pt>
                <c:pt idx="1076">
                  <c:v>43146</c:v>
                </c:pt>
                <c:pt idx="1077">
                  <c:v>43147</c:v>
                </c:pt>
                <c:pt idx="1078">
                  <c:v>43150</c:v>
                </c:pt>
                <c:pt idx="1079">
                  <c:v>43151</c:v>
                </c:pt>
                <c:pt idx="1080">
                  <c:v>43152</c:v>
                </c:pt>
                <c:pt idx="1081">
                  <c:v>43153</c:v>
                </c:pt>
                <c:pt idx="1082">
                  <c:v>43154</c:v>
                </c:pt>
                <c:pt idx="1083">
                  <c:v>43157</c:v>
                </c:pt>
                <c:pt idx="1084">
                  <c:v>43158</c:v>
                </c:pt>
                <c:pt idx="1085">
                  <c:v>43159</c:v>
                </c:pt>
                <c:pt idx="1086">
                  <c:v>43160</c:v>
                </c:pt>
                <c:pt idx="1087">
                  <c:v>43161</c:v>
                </c:pt>
                <c:pt idx="1088">
                  <c:v>43164</c:v>
                </c:pt>
                <c:pt idx="1089">
                  <c:v>43165</c:v>
                </c:pt>
                <c:pt idx="1090">
                  <c:v>43166</c:v>
                </c:pt>
                <c:pt idx="1091">
                  <c:v>43167</c:v>
                </c:pt>
                <c:pt idx="1092">
                  <c:v>43168</c:v>
                </c:pt>
                <c:pt idx="1093">
                  <c:v>43171</c:v>
                </c:pt>
                <c:pt idx="1094">
                  <c:v>43172</c:v>
                </c:pt>
                <c:pt idx="1095">
                  <c:v>43173</c:v>
                </c:pt>
                <c:pt idx="1096">
                  <c:v>43174</c:v>
                </c:pt>
                <c:pt idx="1097">
                  <c:v>43175</c:v>
                </c:pt>
                <c:pt idx="1098">
                  <c:v>43178</c:v>
                </c:pt>
                <c:pt idx="1099">
                  <c:v>43179</c:v>
                </c:pt>
                <c:pt idx="1100">
                  <c:v>43180</c:v>
                </c:pt>
                <c:pt idx="1101">
                  <c:v>43181</c:v>
                </c:pt>
                <c:pt idx="1102">
                  <c:v>43182</c:v>
                </c:pt>
                <c:pt idx="1103">
                  <c:v>43185</c:v>
                </c:pt>
                <c:pt idx="1104">
                  <c:v>43186</c:v>
                </c:pt>
                <c:pt idx="1105">
                  <c:v>43187</c:v>
                </c:pt>
                <c:pt idx="1106">
                  <c:v>43188</c:v>
                </c:pt>
                <c:pt idx="1107">
                  <c:v>43189</c:v>
                </c:pt>
                <c:pt idx="1108">
                  <c:v>43192</c:v>
                </c:pt>
                <c:pt idx="1109">
                  <c:v>43193</c:v>
                </c:pt>
                <c:pt idx="1110">
                  <c:v>43194</c:v>
                </c:pt>
                <c:pt idx="1111">
                  <c:v>43195</c:v>
                </c:pt>
                <c:pt idx="1112">
                  <c:v>43196</c:v>
                </c:pt>
                <c:pt idx="1113">
                  <c:v>43199</c:v>
                </c:pt>
                <c:pt idx="1114">
                  <c:v>43200</c:v>
                </c:pt>
                <c:pt idx="1115">
                  <c:v>43201</c:v>
                </c:pt>
                <c:pt idx="1116">
                  <c:v>43202</c:v>
                </c:pt>
                <c:pt idx="1117">
                  <c:v>43203</c:v>
                </c:pt>
                <c:pt idx="1118">
                  <c:v>43206</c:v>
                </c:pt>
                <c:pt idx="1119">
                  <c:v>43207</c:v>
                </c:pt>
                <c:pt idx="1120">
                  <c:v>43208</c:v>
                </c:pt>
                <c:pt idx="1121">
                  <c:v>43209</c:v>
                </c:pt>
                <c:pt idx="1122">
                  <c:v>43210</c:v>
                </c:pt>
                <c:pt idx="1123">
                  <c:v>43213</c:v>
                </c:pt>
                <c:pt idx="1124">
                  <c:v>43214</c:v>
                </c:pt>
                <c:pt idx="1125">
                  <c:v>43215</c:v>
                </c:pt>
                <c:pt idx="1126">
                  <c:v>43216</c:v>
                </c:pt>
                <c:pt idx="1127">
                  <c:v>43217</c:v>
                </c:pt>
                <c:pt idx="1128">
                  <c:v>43220</c:v>
                </c:pt>
                <c:pt idx="1129">
                  <c:v>43221</c:v>
                </c:pt>
                <c:pt idx="1130">
                  <c:v>43222</c:v>
                </c:pt>
                <c:pt idx="1131">
                  <c:v>43223</c:v>
                </c:pt>
                <c:pt idx="1132">
                  <c:v>43224</c:v>
                </c:pt>
                <c:pt idx="1133">
                  <c:v>43227</c:v>
                </c:pt>
                <c:pt idx="1134">
                  <c:v>43228</c:v>
                </c:pt>
                <c:pt idx="1135">
                  <c:v>43229</c:v>
                </c:pt>
                <c:pt idx="1136">
                  <c:v>43230</c:v>
                </c:pt>
                <c:pt idx="1137">
                  <c:v>43231</c:v>
                </c:pt>
                <c:pt idx="1138">
                  <c:v>43234</c:v>
                </c:pt>
                <c:pt idx="1139">
                  <c:v>43235</c:v>
                </c:pt>
                <c:pt idx="1140">
                  <c:v>43236</c:v>
                </c:pt>
                <c:pt idx="1141">
                  <c:v>43237</c:v>
                </c:pt>
                <c:pt idx="1142">
                  <c:v>43238</c:v>
                </c:pt>
                <c:pt idx="1143">
                  <c:v>43241</c:v>
                </c:pt>
                <c:pt idx="1144">
                  <c:v>43242</c:v>
                </c:pt>
                <c:pt idx="1145">
                  <c:v>43243</c:v>
                </c:pt>
                <c:pt idx="1146">
                  <c:v>43244</c:v>
                </c:pt>
                <c:pt idx="1147">
                  <c:v>43245</c:v>
                </c:pt>
                <c:pt idx="1148">
                  <c:v>43248</c:v>
                </c:pt>
                <c:pt idx="1149">
                  <c:v>43249</c:v>
                </c:pt>
                <c:pt idx="1150">
                  <c:v>43250</c:v>
                </c:pt>
                <c:pt idx="1151">
                  <c:v>43251</c:v>
                </c:pt>
                <c:pt idx="1152">
                  <c:v>43252</c:v>
                </c:pt>
                <c:pt idx="1153">
                  <c:v>43255</c:v>
                </c:pt>
                <c:pt idx="1154">
                  <c:v>43256</c:v>
                </c:pt>
                <c:pt idx="1155">
                  <c:v>43257</c:v>
                </c:pt>
                <c:pt idx="1156">
                  <c:v>43258</c:v>
                </c:pt>
                <c:pt idx="1157">
                  <c:v>43259</c:v>
                </c:pt>
                <c:pt idx="1158">
                  <c:v>43262</c:v>
                </c:pt>
                <c:pt idx="1159">
                  <c:v>43263</c:v>
                </c:pt>
                <c:pt idx="1160">
                  <c:v>43264</c:v>
                </c:pt>
                <c:pt idx="1161">
                  <c:v>43265</c:v>
                </c:pt>
                <c:pt idx="1162">
                  <c:v>43266</c:v>
                </c:pt>
                <c:pt idx="1163">
                  <c:v>43269</c:v>
                </c:pt>
                <c:pt idx="1164">
                  <c:v>43270</c:v>
                </c:pt>
                <c:pt idx="1165">
                  <c:v>43271</c:v>
                </c:pt>
                <c:pt idx="1166">
                  <c:v>43272</c:v>
                </c:pt>
                <c:pt idx="1167">
                  <c:v>43273</c:v>
                </c:pt>
                <c:pt idx="1168">
                  <c:v>43276</c:v>
                </c:pt>
                <c:pt idx="1169">
                  <c:v>43277</c:v>
                </c:pt>
                <c:pt idx="1170">
                  <c:v>43278</c:v>
                </c:pt>
                <c:pt idx="1171">
                  <c:v>43279</c:v>
                </c:pt>
                <c:pt idx="1172">
                  <c:v>43280</c:v>
                </c:pt>
                <c:pt idx="1173">
                  <c:v>43283</c:v>
                </c:pt>
                <c:pt idx="1174">
                  <c:v>43284</c:v>
                </c:pt>
                <c:pt idx="1175">
                  <c:v>43285</c:v>
                </c:pt>
                <c:pt idx="1176">
                  <c:v>43286</c:v>
                </c:pt>
                <c:pt idx="1177">
                  <c:v>43287</c:v>
                </c:pt>
                <c:pt idx="1178">
                  <c:v>43290</c:v>
                </c:pt>
                <c:pt idx="1179">
                  <c:v>43291</c:v>
                </c:pt>
                <c:pt idx="1180">
                  <c:v>43292</c:v>
                </c:pt>
                <c:pt idx="1181">
                  <c:v>43293</c:v>
                </c:pt>
                <c:pt idx="1182">
                  <c:v>43294</c:v>
                </c:pt>
                <c:pt idx="1183">
                  <c:v>43297</c:v>
                </c:pt>
                <c:pt idx="1184">
                  <c:v>43298</c:v>
                </c:pt>
                <c:pt idx="1185">
                  <c:v>43299</c:v>
                </c:pt>
                <c:pt idx="1186">
                  <c:v>43300</c:v>
                </c:pt>
                <c:pt idx="1187">
                  <c:v>43301</c:v>
                </c:pt>
                <c:pt idx="1188">
                  <c:v>43304</c:v>
                </c:pt>
                <c:pt idx="1189">
                  <c:v>43305</c:v>
                </c:pt>
                <c:pt idx="1190">
                  <c:v>43306</c:v>
                </c:pt>
                <c:pt idx="1191">
                  <c:v>43307</c:v>
                </c:pt>
                <c:pt idx="1192">
                  <c:v>43308</c:v>
                </c:pt>
                <c:pt idx="1193">
                  <c:v>43311</c:v>
                </c:pt>
                <c:pt idx="1194">
                  <c:v>43312</c:v>
                </c:pt>
                <c:pt idx="1195">
                  <c:v>43313</c:v>
                </c:pt>
                <c:pt idx="1196">
                  <c:v>43314</c:v>
                </c:pt>
                <c:pt idx="1197">
                  <c:v>43315</c:v>
                </c:pt>
                <c:pt idx="1198">
                  <c:v>43318</c:v>
                </c:pt>
                <c:pt idx="1199">
                  <c:v>43319</c:v>
                </c:pt>
                <c:pt idx="1200">
                  <c:v>43320</c:v>
                </c:pt>
                <c:pt idx="1201">
                  <c:v>43321</c:v>
                </c:pt>
                <c:pt idx="1202">
                  <c:v>43322</c:v>
                </c:pt>
                <c:pt idx="1203">
                  <c:v>43325</c:v>
                </c:pt>
                <c:pt idx="1204">
                  <c:v>43326</c:v>
                </c:pt>
                <c:pt idx="1205">
                  <c:v>43327</c:v>
                </c:pt>
                <c:pt idx="1206">
                  <c:v>43328</c:v>
                </c:pt>
                <c:pt idx="1207">
                  <c:v>43329</c:v>
                </c:pt>
                <c:pt idx="1208">
                  <c:v>43332</c:v>
                </c:pt>
                <c:pt idx="1209">
                  <c:v>43333</c:v>
                </c:pt>
                <c:pt idx="1210">
                  <c:v>43334</c:v>
                </c:pt>
                <c:pt idx="1211">
                  <c:v>43335</c:v>
                </c:pt>
                <c:pt idx="1212">
                  <c:v>43336</c:v>
                </c:pt>
                <c:pt idx="1213">
                  <c:v>43339</c:v>
                </c:pt>
                <c:pt idx="1214">
                  <c:v>43340</c:v>
                </c:pt>
                <c:pt idx="1215">
                  <c:v>43341</c:v>
                </c:pt>
                <c:pt idx="1216">
                  <c:v>43342</c:v>
                </c:pt>
                <c:pt idx="1217">
                  <c:v>43343</c:v>
                </c:pt>
                <c:pt idx="1218">
                  <c:v>43346</c:v>
                </c:pt>
                <c:pt idx="1219">
                  <c:v>43347</c:v>
                </c:pt>
                <c:pt idx="1220">
                  <c:v>43348</c:v>
                </c:pt>
                <c:pt idx="1221">
                  <c:v>43349</c:v>
                </c:pt>
                <c:pt idx="1222">
                  <c:v>43350</c:v>
                </c:pt>
                <c:pt idx="1223">
                  <c:v>43353</c:v>
                </c:pt>
                <c:pt idx="1224">
                  <c:v>43354</c:v>
                </c:pt>
                <c:pt idx="1225">
                  <c:v>43355</c:v>
                </c:pt>
                <c:pt idx="1226">
                  <c:v>43356</c:v>
                </c:pt>
                <c:pt idx="1227">
                  <c:v>43357</c:v>
                </c:pt>
                <c:pt idx="1228">
                  <c:v>43360</c:v>
                </c:pt>
                <c:pt idx="1229">
                  <c:v>43361</c:v>
                </c:pt>
                <c:pt idx="1230">
                  <c:v>43362</c:v>
                </c:pt>
                <c:pt idx="1231">
                  <c:v>43363</c:v>
                </c:pt>
                <c:pt idx="1232">
                  <c:v>43364</c:v>
                </c:pt>
                <c:pt idx="1233">
                  <c:v>43367</c:v>
                </c:pt>
                <c:pt idx="1234">
                  <c:v>43368</c:v>
                </c:pt>
                <c:pt idx="1235">
                  <c:v>43369</c:v>
                </c:pt>
                <c:pt idx="1236">
                  <c:v>43370</c:v>
                </c:pt>
                <c:pt idx="1237">
                  <c:v>43371</c:v>
                </c:pt>
                <c:pt idx="1238">
                  <c:v>43374</c:v>
                </c:pt>
                <c:pt idx="1239">
                  <c:v>43375</c:v>
                </c:pt>
                <c:pt idx="1240">
                  <c:v>43376</c:v>
                </c:pt>
                <c:pt idx="1241">
                  <c:v>43377</c:v>
                </c:pt>
                <c:pt idx="1242">
                  <c:v>43378</c:v>
                </c:pt>
                <c:pt idx="1243">
                  <c:v>43381</c:v>
                </c:pt>
                <c:pt idx="1244">
                  <c:v>43382</c:v>
                </c:pt>
                <c:pt idx="1245">
                  <c:v>43383</c:v>
                </c:pt>
                <c:pt idx="1246">
                  <c:v>43384</c:v>
                </c:pt>
                <c:pt idx="1247">
                  <c:v>43385</c:v>
                </c:pt>
                <c:pt idx="1248">
                  <c:v>43388</c:v>
                </c:pt>
                <c:pt idx="1249">
                  <c:v>43389</c:v>
                </c:pt>
                <c:pt idx="1250">
                  <c:v>43390</c:v>
                </c:pt>
                <c:pt idx="1251">
                  <c:v>43391</c:v>
                </c:pt>
                <c:pt idx="1252">
                  <c:v>43392</c:v>
                </c:pt>
                <c:pt idx="1253">
                  <c:v>43395</c:v>
                </c:pt>
                <c:pt idx="1254">
                  <c:v>43396</c:v>
                </c:pt>
                <c:pt idx="1255">
                  <c:v>43397</c:v>
                </c:pt>
                <c:pt idx="1256">
                  <c:v>43398</c:v>
                </c:pt>
                <c:pt idx="1257">
                  <c:v>43399</c:v>
                </c:pt>
                <c:pt idx="1258">
                  <c:v>43402</c:v>
                </c:pt>
                <c:pt idx="1259">
                  <c:v>43403</c:v>
                </c:pt>
                <c:pt idx="1260">
                  <c:v>43404</c:v>
                </c:pt>
                <c:pt idx="1261">
                  <c:v>43405</c:v>
                </c:pt>
                <c:pt idx="1262">
                  <c:v>43406</c:v>
                </c:pt>
                <c:pt idx="1263">
                  <c:v>43409</c:v>
                </c:pt>
                <c:pt idx="1264">
                  <c:v>43410</c:v>
                </c:pt>
                <c:pt idx="1265">
                  <c:v>43411</c:v>
                </c:pt>
                <c:pt idx="1266">
                  <c:v>43412</c:v>
                </c:pt>
                <c:pt idx="1267">
                  <c:v>43413</c:v>
                </c:pt>
                <c:pt idx="1268">
                  <c:v>43416</c:v>
                </c:pt>
                <c:pt idx="1269">
                  <c:v>43417</c:v>
                </c:pt>
                <c:pt idx="1270">
                  <c:v>43418</c:v>
                </c:pt>
                <c:pt idx="1271">
                  <c:v>43419</c:v>
                </c:pt>
                <c:pt idx="1272">
                  <c:v>43420</c:v>
                </c:pt>
                <c:pt idx="1273">
                  <c:v>43423</c:v>
                </c:pt>
                <c:pt idx="1274">
                  <c:v>43424</c:v>
                </c:pt>
                <c:pt idx="1275">
                  <c:v>43425</c:v>
                </c:pt>
                <c:pt idx="1276">
                  <c:v>43426</c:v>
                </c:pt>
                <c:pt idx="1277">
                  <c:v>43427</c:v>
                </c:pt>
                <c:pt idx="1278">
                  <c:v>43430</c:v>
                </c:pt>
                <c:pt idx="1279">
                  <c:v>43431</c:v>
                </c:pt>
                <c:pt idx="1280">
                  <c:v>43432</c:v>
                </c:pt>
                <c:pt idx="1281">
                  <c:v>43433</c:v>
                </c:pt>
                <c:pt idx="1282">
                  <c:v>43434</c:v>
                </c:pt>
                <c:pt idx="1283">
                  <c:v>43437</c:v>
                </c:pt>
                <c:pt idx="1284">
                  <c:v>43438</c:v>
                </c:pt>
                <c:pt idx="1285">
                  <c:v>43439</c:v>
                </c:pt>
                <c:pt idx="1286">
                  <c:v>43440</c:v>
                </c:pt>
                <c:pt idx="1287">
                  <c:v>43441</c:v>
                </c:pt>
                <c:pt idx="1288">
                  <c:v>43444</c:v>
                </c:pt>
                <c:pt idx="1289">
                  <c:v>43445</c:v>
                </c:pt>
                <c:pt idx="1290">
                  <c:v>43446</c:v>
                </c:pt>
                <c:pt idx="1291">
                  <c:v>43447</c:v>
                </c:pt>
                <c:pt idx="1292">
                  <c:v>43448</c:v>
                </c:pt>
                <c:pt idx="1293">
                  <c:v>43451</c:v>
                </c:pt>
                <c:pt idx="1294">
                  <c:v>43452</c:v>
                </c:pt>
                <c:pt idx="1295">
                  <c:v>43453</c:v>
                </c:pt>
                <c:pt idx="1296">
                  <c:v>43454</c:v>
                </c:pt>
                <c:pt idx="1297">
                  <c:v>43455</c:v>
                </c:pt>
                <c:pt idx="1298">
                  <c:v>43458</c:v>
                </c:pt>
                <c:pt idx="1299">
                  <c:v>43459</c:v>
                </c:pt>
                <c:pt idx="1300">
                  <c:v>43460</c:v>
                </c:pt>
                <c:pt idx="1301">
                  <c:v>43461</c:v>
                </c:pt>
                <c:pt idx="1302">
                  <c:v>43462</c:v>
                </c:pt>
                <c:pt idx="1303">
                  <c:v>43465</c:v>
                </c:pt>
                <c:pt idx="1304">
                  <c:v>43466</c:v>
                </c:pt>
                <c:pt idx="1305">
                  <c:v>43467</c:v>
                </c:pt>
                <c:pt idx="1306">
                  <c:v>43468</c:v>
                </c:pt>
                <c:pt idx="1307">
                  <c:v>43469</c:v>
                </c:pt>
                <c:pt idx="1308">
                  <c:v>43472</c:v>
                </c:pt>
                <c:pt idx="1309">
                  <c:v>43473</c:v>
                </c:pt>
                <c:pt idx="1310">
                  <c:v>43474</c:v>
                </c:pt>
                <c:pt idx="1311">
                  <c:v>43475</c:v>
                </c:pt>
                <c:pt idx="1312">
                  <c:v>43476</c:v>
                </c:pt>
                <c:pt idx="1313">
                  <c:v>43479</c:v>
                </c:pt>
                <c:pt idx="1314">
                  <c:v>43480</c:v>
                </c:pt>
                <c:pt idx="1315">
                  <c:v>43481</c:v>
                </c:pt>
                <c:pt idx="1316">
                  <c:v>43482</c:v>
                </c:pt>
                <c:pt idx="1317">
                  <c:v>43483</c:v>
                </c:pt>
                <c:pt idx="1318">
                  <c:v>43486</c:v>
                </c:pt>
                <c:pt idx="1319">
                  <c:v>43487</c:v>
                </c:pt>
                <c:pt idx="1320">
                  <c:v>43488</c:v>
                </c:pt>
                <c:pt idx="1321">
                  <c:v>43489</c:v>
                </c:pt>
                <c:pt idx="1322">
                  <c:v>43490</c:v>
                </c:pt>
                <c:pt idx="1323">
                  <c:v>43493</c:v>
                </c:pt>
                <c:pt idx="1324">
                  <c:v>43494</c:v>
                </c:pt>
                <c:pt idx="1325">
                  <c:v>43495</c:v>
                </c:pt>
                <c:pt idx="1326">
                  <c:v>43496</c:v>
                </c:pt>
                <c:pt idx="1327">
                  <c:v>43497</c:v>
                </c:pt>
                <c:pt idx="1328">
                  <c:v>43500</c:v>
                </c:pt>
                <c:pt idx="1329">
                  <c:v>43501</c:v>
                </c:pt>
                <c:pt idx="1330">
                  <c:v>43502</c:v>
                </c:pt>
                <c:pt idx="1331">
                  <c:v>43503</c:v>
                </c:pt>
                <c:pt idx="1332">
                  <c:v>43504</c:v>
                </c:pt>
                <c:pt idx="1333">
                  <c:v>43507</c:v>
                </c:pt>
                <c:pt idx="1334">
                  <c:v>43508</c:v>
                </c:pt>
                <c:pt idx="1335">
                  <c:v>43509</c:v>
                </c:pt>
                <c:pt idx="1336">
                  <c:v>43510</c:v>
                </c:pt>
                <c:pt idx="1337">
                  <c:v>43511</c:v>
                </c:pt>
                <c:pt idx="1338">
                  <c:v>43514</c:v>
                </c:pt>
                <c:pt idx="1339">
                  <c:v>43515</c:v>
                </c:pt>
                <c:pt idx="1340">
                  <c:v>43516</c:v>
                </c:pt>
                <c:pt idx="1341">
                  <c:v>43517</c:v>
                </c:pt>
                <c:pt idx="1342">
                  <c:v>43518</c:v>
                </c:pt>
                <c:pt idx="1343">
                  <c:v>43521</c:v>
                </c:pt>
                <c:pt idx="1344">
                  <c:v>43522</c:v>
                </c:pt>
                <c:pt idx="1345">
                  <c:v>43523</c:v>
                </c:pt>
                <c:pt idx="1346">
                  <c:v>43524</c:v>
                </c:pt>
                <c:pt idx="1347">
                  <c:v>43525</c:v>
                </c:pt>
                <c:pt idx="1348">
                  <c:v>43528</c:v>
                </c:pt>
                <c:pt idx="1349">
                  <c:v>43529</c:v>
                </c:pt>
                <c:pt idx="1350">
                  <c:v>43530</c:v>
                </c:pt>
                <c:pt idx="1351">
                  <c:v>43531</c:v>
                </c:pt>
                <c:pt idx="1352">
                  <c:v>43532</c:v>
                </c:pt>
                <c:pt idx="1353">
                  <c:v>43535</c:v>
                </c:pt>
                <c:pt idx="1354">
                  <c:v>43536</c:v>
                </c:pt>
                <c:pt idx="1355">
                  <c:v>43537</c:v>
                </c:pt>
                <c:pt idx="1356">
                  <c:v>43538</c:v>
                </c:pt>
                <c:pt idx="1357">
                  <c:v>43539</c:v>
                </c:pt>
                <c:pt idx="1358">
                  <c:v>43542</c:v>
                </c:pt>
                <c:pt idx="1359">
                  <c:v>43543</c:v>
                </c:pt>
                <c:pt idx="1360">
                  <c:v>43544</c:v>
                </c:pt>
                <c:pt idx="1361">
                  <c:v>43545</c:v>
                </c:pt>
                <c:pt idx="1362">
                  <c:v>43546</c:v>
                </c:pt>
                <c:pt idx="1363">
                  <c:v>43549</c:v>
                </c:pt>
                <c:pt idx="1364">
                  <c:v>43550</c:v>
                </c:pt>
                <c:pt idx="1365">
                  <c:v>43551</c:v>
                </c:pt>
                <c:pt idx="1366">
                  <c:v>43552</c:v>
                </c:pt>
                <c:pt idx="1367">
                  <c:v>43553</c:v>
                </c:pt>
                <c:pt idx="1368">
                  <c:v>43556</c:v>
                </c:pt>
                <c:pt idx="1369">
                  <c:v>43557</c:v>
                </c:pt>
                <c:pt idx="1370">
                  <c:v>43558</c:v>
                </c:pt>
                <c:pt idx="1371">
                  <c:v>43559</c:v>
                </c:pt>
                <c:pt idx="1372">
                  <c:v>43560</c:v>
                </c:pt>
                <c:pt idx="1373">
                  <c:v>43563</c:v>
                </c:pt>
                <c:pt idx="1374">
                  <c:v>43564</c:v>
                </c:pt>
                <c:pt idx="1375">
                  <c:v>43565</c:v>
                </c:pt>
                <c:pt idx="1376">
                  <c:v>43566</c:v>
                </c:pt>
                <c:pt idx="1377">
                  <c:v>43567</c:v>
                </c:pt>
                <c:pt idx="1378">
                  <c:v>43570</c:v>
                </c:pt>
                <c:pt idx="1379">
                  <c:v>43571</c:v>
                </c:pt>
                <c:pt idx="1380">
                  <c:v>43572</c:v>
                </c:pt>
                <c:pt idx="1381">
                  <c:v>43573</c:v>
                </c:pt>
                <c:pt idx="1382">
                  <c:v>43574</c:v>
                </c:pt>
                <c:pt idx="1383">
                  <c:v>43577</c:v>
                </c:pt>
                <c:pt idx="1384">
                  <c:v>43578</c:v>
                </c:pt>
                <c:pt idx="1385">
                  <c:v>43579</c:v>
                </c:pt>
                <c:pt idx="1386">
                  <c:v>43580</c:v>
                </c:pt>
                <c:pt idx="1387">
                  <c:v>43581</c:v>
                </c:pt>
                <c:pt idx="1388">
                  <c:v>43584</c:v>
                </c:pt>
                <c:pt idx="1389">
                  <c:v>43585</c:v>
                </c:pt>
                <c:pt idx="1390">
                  <c:v>43586</c:v>
                </c:pt>
                <c:pt idx="1391">
                  <c:v>43587</c:v>
                </c:pt>
                <c:pt idx="1392">
                  <c:v>43588</c:v>
                </c:pt>
                <c:pt idx="1393">
                  <c:v>43591</c:v>
                </c:pt>
                <c:pt idx="1394">
                  <c:v>43592</c:v>
                </c:pt>
                <c:pt idx="1395">
                  <c:v>43593</c:v>
                </c:pt>
                <c:pt idx="1396">
                  <c:v>43594</c:v>
                </c:pt>
                <c:pt idx="1397">
                  <c:v>43595</c:v>
                </c:pt>
                <c:pt idx="1398">
                  <c:v>43598</c:v>
                </c:pt>
                <c:pt idx="1399">
                  <c:v>43599</c:v>
                </c:pt>
                <c:pt idx="1400">
                  <c:v>43600</c:v>
                </c:pt>
                <c:pt idx="1401">
                  <c:v>43601</c:v>
                </c:pt>
                <c:pt idx="1402">
                  <c:v>43602</c:v>
                </c:pt>
                <c:pt idx="1403">
                  <c:v>43605</c:v>
                </c:pt>
                <c:pt idx="1404">
                  <c:v>43606</c:v>
                </c:pt>
                <c:pt idx="1405">
                  <c:v>43607</c:v>
                </c:pt>
                <c:pt idx="1406">
                  <c:v>43608</c:v>
                </c:pt>
                <c:pt idx="1407">
                  <c:v>43609</c:v>
                </c:pt>
                <c:pt idx="1408">
                  <c:v>43612</c:v>
                </c:pt>
                <c:pt idx="1409">
                  <c:v>43613</c:v>
                </c:pt>
                <c:pt idx="1410">
                  <c:v>43614</c:v>
                </c:pt>
                <c:pt idx="1411">
                  <c:v>43615</c:v>
                </c:pt>
                <c:pt idx="1412">
                  <c:v>43616</c:v>
                </c:pt>
                <c:pt idx="1413">
                  <c:v>43619</c:v>
                </c:pt>
                <c:pt idx="1414">
                  <c:v>43620</c:v>
                </c:pt>
                <c:pt idx="1415">
                  <c:v>43621</c:v>
                </c:pt>
                <c:pt idx="1416">
                  <c:v>43622</c:v>
                </c:pt>
                <c:pt idx="1417">
                  <c:v>43623</c:v>
                </c:pt>
                <c:pt idx="1418">
                  <c:v>43626</c:v>
                </c:pt>
                <c:pt idx="1419">
                  <c:v>43627</c:v>
                </c:pt>
                <c:pt idx="1420">
                  <c:v>43628</c:v>
                </c:pt>
                <c:pt idx="1421">
                  <c:v>43629</c:v>
                </c:pt>
                <c:pt idx="1422">
                  <c:v>43630</c:v>
                </c:pt>
                <c:pt idx="1423">
                  <c:v>43633</c:v>
                </c:pt>
                <c:pt idx="1424">
                  <c:v>43634</c:v>
                </c:pt>
                <c:pt idx="1425">
                  <c:v>43635</c:v>
                </c:pt>
                <c:pt idx="1426">
                  <c:v>43636</c:v>
                </c:pt>
                <c:pt idx="1427">
                  <c:v>43637</c:v>
                </c:pt>
                <c:pt idx="1428">
                  <c:v>43640</c:v>
                </c:pt>
                <c:pt idx="1429">
                  <c:v>43641</c:v>
                </c:pt>
                <c:pt idx="1430">
                  <c:v>43642</c:v>
                </c:pt>
                <c:pt idx="1431">
                  <c:v>43643</c:v>
                </c:pt>
                <c:pt idx="1432">
                  <c:v>43644</c:v>
                </c:pt>
                <c:pt idx="1433">
                  <c:v>43647</c:v>
                </c:pt>
                <c:pt idx="1434">
                  <c:v>43648</c:v>
                </c:pt>
                <c:pt idx="1435">
                  <c:v>43649</c:v>
                </c:pt>
                <c:pt idx="1436">
                  <c:v>43650</c:v>
                </c:pt>
                <c:pt idx="1437">
                  <c:v>43651</c:v>
                </c:pt>
                <c:pt idx="1438">
                  <c:v>43654</c:v>
                </c:pt>
                <c:pt idx="1439">
                  <c:v>43655</c:v>
                </c:pt>
                <c:pt idx="1440">
                  <c:v>43656</c:v>
                </c:pt>
                <c:pt idx="1441">
                  <c:v>43657</c:v>
                </c:pt>
                <c:pt idx="1442">
                  <c:v>43658</c:v>
                </c:pt>
                <c:pt idx="1443">
                  <c:v>43661</c:v>
                </c:pt>
                <c:pt idx="1444">
                  <c:v>43662</c:v>
                </c:pt>
                <c:pt idx="1445">
                  <c:v>43663</c:v>
                </c:pt>
                <c:pt idx="1446">
                  <c:v>43664</c:v>
                </c:pt>
                <c:pt idx="1447">
                  <c:v>43665</c:v>
                </c:pt>
                <c:pt idx="1448">
                  <c:v>43668</c:v>
                </c:pt>
                <c:pt idx="1449">
                  <c:v>43669</c:v>
                </c:pt>
                <c:pt idx="1450">
                  <c:v>43670</c:v>
                </c:pt>
                <c:pt idx="1451">
                  <c:v>43671</c:v>
                </c:pt>
                <c:pt idx="1452">
                  <c:v>43672</c:v>
                </c:pt>
                <c:pt idx="1453">
                  <c:v>43675</c:v>
                </c:pt>
                <c:pt idx="1454">
                  <c:v>43676</c:v>
                </c:pt>
                <c:pt idx="1455">
                  <c:v>43677</c:v>
                </c:pt>
                <c:pt idx="1456">
                  <c:v>43678</c:v>
                </c:pt>
                <c:pt idx="1457">
                  <c:v>43679</c:v>
                </c:pt>
                <c:pt idx="1458">
                  <c:v>43682</c:v>
                </c:pt>
                <c:pt idx="1459">
                  <c:v>43683</c:v>
                </c:pt>
                <c:pt idx="1460">
                  <c:v>43684</c:v>
                </c:pt>
                <c:pt idx="1461">
                  <c:v>43685</c:v>
                </c:pt>
                <c:pt idx="1462">
                  <c:v>43686</c:v>
                </c:pt>
                <c:pt idx="1463">
                  <c:v>43689</c:v>
                </c:pt>
                <c:pt idx="1464">
                  <c:v>43690</c:v>
                </c:pt>
                <c:pt idx="1465">
                  <c:v>43691</c:v>
                </c:pt>
                <c:pt idx="1466">
                  <c:v>43692</c:v>
                </c:pt>
                <c:pt idx="1467">
                  <c:v>43693</c:v>
                </c:pt>
                <c:pt idx="1468">
                  <c:v>43696</c:v>
                </c:pt>
                <c:pt idx="1469">
                  <c:v>43697</c:v>
                </c:pt>
                <c:pt idx="1470">
                  <c:v>43698</c:v>
                </c:pt>
                <c:pt idx="1471">
                  <c:v>43699</c:v>
                </c:pt>
                <c:pt idx="1472">
                  <c:v>43700</c:v>
                </c:pt>
                <c:pt idx="1473">
                  <c:v>43703</c:v>
                </c:pt>
                <c:pt idx="1474">
                  <c:v>43704</c:v>
                </c:pt>
                <c:pt idx="1475">
                  <c:v>43705</c:v>
                </c:pt>
                <c:pt idx="1476">
                  <c:v>43706</c:v>
                </c:pt>
                <c:pt idx="1477">
                  <c:v>43707</c:v>
                </c:pt>
                <c:pt idx="1478">
                  <c:v>43710</c:v>
                </c:pt>
                <c:pt idx="1479">
                  <c:v>43711</c:v>
                </c:pt>
                <c:pt idx="1480">
                  <c:v>43712</c:v>
                </c:pt>
                <c:pt idx="1481">
                  <c:v>43713</c:v>
                </c:pt>
                <c:pt idx="1482">
                  <c:v>43714</c:v>
                </c:pt>
                <c:pt idx="1483">
                  <c:v>43717</c:v>
                </c:pt>
                <c:pt idx="1484">
                  <c:v>43718</c:v>
                </c:pt>
                <c:pt idx="1485">
                  <c:v>43719</c:v>
                </c:pt>
                <c:pt idx="1486">
                  <c:v>43720</c:v>
                </c:pt>
                <c:pt idx="1487">
                  <c:v>43721</c:v>
                </c:pt>
                <c:pt idx="1488">
                  <c:v>43724</c:v>
                </c:pt>
                <c:pt idx="1489">
                  <c:v>43725</c:v>
                </c:pt>
                <c:pt idx="1490">
                  <c:v>43726</c:v>
                </c:pt>
                <c:pt idx="1491">
                  <c:v>43727</c:v>
                </c:pt>
                <c:pt idx="1492">
                  <c:v>43728</c:v>
                </c:pt>
                <c:pt idx="1493">
                  <c:v>43731</c:v>
                </c:pt>
                <c:pt idx="1494">
                  <c:v>43732</c:v>
                </c:pt>
                <c:pt idx="1495">
                  <c:v>43733</c:v>
                </c:pt>
                <c:pt idx="1496">
                  <c:v>43734</c:v>
                </c:pt>
                <c:pt idx="1497">
                  <c:v>43735</c:v>
                </c:pt>
                <c:pt idx="1498">
                  <c:v>43738</c:v>
                </c:pt>
                <c:pt idx="1499">
                  <c:v>43739</c:v>
                </c:pt>
                <c:pt idx="1500">
                  <c:v>43740</c:v>
                </c:pt>
                <c:pt idx="1501">
                  <c:v>43741</c:v>
                </c:pt>
                <c:pt idx="1502">
                  <c:v>43742</c:v>
                </c:pt>
                <c:pt idx="1503">
                  <c:v>43745</c:v>
                </c:pt>
                <c:pt idx="1504">
                  <c:v>43746</c:v>
                </c:pt>
                <c:pt idx="1505">
                  <c:v>43747</c:v>
                </c:pt>
                <c:pt idx="1506">
                  <c:v>43748</c:v>
                </c:pt>
                <c:pt idx="1507">
                  <c:v>43749</c:v>
                </c:pt>
                <c:pt idx="1508">
                  <c:v>43752</c:v>
                </c:pt>
                <c:pt idx="1509">
                  <c:v>43753</c:v>
                </c:pt>
                <c:pt idx="1510">
                  <c:v>43754</c:v>
                </c:pt>
                <c:pt idx="1511">
                  <c:v>43755</c:v>
                </c:pt>
                <c:pt idx="1512">
                  <c:v>43756</c:v>
                </c:pt>
                <c:pt idx="1513">
                  <c:v>43759</c:v>
                </c:pt>
                <c:pt idx="1514">
                  <c:v>43760</c:v>
                </c:pt>
                <c:pt idx="1515">
                  <c:v>43761</c:v>
                </c:pt>
                <c:pt idx="1516">
                  <c:v>43762</c:v>
                </c:pt>
                <c:pt idx="1517">
                  <c:v>43763</c:v>
                </c:pt>
                <c:pt idx="1518">
                  <c:v>43766</c:v>
                </c:pt>
                <c:pt idx="1519">
                  <c:v>43767</c:v>
                </c:pt>
                <c:pt idx="1520">
                  <c:v>43768</c:v>
                </c:pt>
                <c:pt idx="1521">
                  <c:v>43769</c:v>
                </c:pt>
                <c:pt idx="1522">
                  <c:v>43770</c:v>
                </c:pt>
                <c:pt idx="1523">
                  <c:v>43773</c:v>
                </c:pt>
                <c:pt idx="1524">
                  <c:v>43774</c:v>
                </c:pt>
                <c:pt idx="1525">
                  <c:v>43775</c:v>
                </c:pt>
                <c:pt idx="1526">
                  <c:v>43776</c:v>
                </c:pt>
                <c:pt idx="1527">
                  <c:v>43777</c:v>
                </c:pt>
                <c:pt idx="1528">
                  <c:v>43780</c:v>
                </c:pt>
                <c:pt idx="1529">
                  <c:v>43781</c:v>
                </c:pt>
                <c:pt idx="1530">
                  <c:v>43782</c:v>
                </c:pt>
                <c:pt idx="1531">
                  <c:v>43783</c:v>
                </c:pt>
                <c:pt idx="1532">
                  <c:v>43784</c:v>
                </c:pt>
                <c:pt idx="1533">
                  <c:v>43787</c:v>
                </c:pt>
                <c:pt idx="1534">
                  <c:v>43788</c:v>
                </c:pt>
                <c:pt idx="1535">
                  <c:v>43789</c:v>
                </c:pt>
                <c:pt idx="1536">
                  <c:v>43790</c:v>
                </c:pt>
                <c:pt idx="1537">
                  <c:v>43791</c:v>
                </c:pt>
                <c:pt idx="1538">
                  <c:v>43794</c:v>
                </c:pt>
                <c:pt idx="1539">
                  <c:v>43795</c:v>
                </c:pt>
                <c:pt idx="1540">
                  <c:v>43796</c:v>
                </c:pt>
                <c:pt idx="1541">
                  <c:v>43797</c:v>
                </c:pt>
                <c:pt idx="1542">
                  <c:v>43798</c:v>
                </c:pt>
                <c:pt idx="1543">
                  <c:v>43801</c:v>
                </c:pt>
                <c:pt idx="1544">
                  <c:v>43802</c:v>
                </c:pt>
                <c:pt idx="1545">
                  <c:v>43803</c:v>
                </c:pt>
                <c:pt idx="1546">
                  <c:v>43804</c:v>
                </c:pt>
                <c:pt idx="1547">
                  <c:v>43805</c:v>
                </c:pt>
                <c:pt idx="1548">
                  <c:v>43808</c:v>
                </c:pt>
                <c:pt idx="1549">
                  <c:v>43809</c:v>
                </c:pt>
                <c:pt idx="1550">
                  <c:v>43810</c:v>
                </c:pt>
                <c:pt idx="1551">
                  <c:v>43811</c:v>
                </c:pt>
                <c:pt idx="1552">
                  <c:v>43812</c:v>
                </c:pt>
                <c:pt idx="1553">
                  <c:v>43815</c:v>
                </c:pt>
                <c:pt idx="1554">
                  <c:v>43816</c:v>
                </c:pt>
                <c:pt idx="1555">
                  <c:v>43817</c:v>
                </c:pt>
                <c:pt idx="1556">
                  <c:v>43818</c:v>
                </c:pt>
                <c:pt idx="1557">
                  <c:v>43819</c:v>
                </c:pt>
                <c:pt idx="1558">
                  <c:v>43822</c:v>
                </c:pt>
                <c:pt idx="1559">
                  <c:v>43823</c:v>
                </c:pt>
                <c:pt idx="1560">
                  <c:v>43824</c:v>
                </c:pt>
                <c:pt idx="1561">
                  <c:v>43825</c:v>
                </c:pt>
                <c:pt idx="1562">
                  <c:v>43826</c:v>
                </c:pt>
                <c:pt idx="1563">
                  <c:v>43829</c:v>
                </c:pt>
                <c:pt idx="1564">
                  <c:v>43830</c:v>
                </c:pt>
                <c:pt idx="1565">
                  <c:v>43831</c:v>
                </c:pt>
                <c:pt idx="1566">
                  <c:v>43832</c:v>
                </c:pt>
                <c:pt idx="1567">
                  <c:v>43833</c:v>
                </c:pt>
                <c:pt idx="1568">
                  <c:v>43836</c:v>
                </c:pt>
                <c:pt idx="1569">
                  <c:v>43837</c:v>
                </c:pt>
                <c:pt idx="1570">
                  <c:v>43838</c:v>
                </c:pt>
                <c:pt idx="1571">
                  <c:v>43839</c:v>
                </c:pt>
                <c:pt idx="1572">
                  <c:v>43840</c:v>
                </c:pt>
                <c:pt idx="1573">
                  <c:v>43843</c:v>
                </c:pt>
                <c:pt idx="1574">
                  <c:v>43844</c:v>
                </c:pt>
                <c:pt idx="1575">
                  <c:v>43845</c:v>
                </c:pt>
                <c:pt idx="1576">
                  <c:v>43846</c:v>
                </c:pt>
                <c:pt idx="1577">
                  <c:v>43847</c:v>
                </c:pt>
                <c:pt idx="1578">
                  <c:v>43850</c:v>
                </c:pt>
                <c:pt idx="1579">
                  <c:v>43851</c:v>
                </c:pt>
                <c:pt idx="1580">
                  <c:v>43852</c:v>
                </c:pt>
                <c:pt idx="1581">
                  <c:v>43853</c:v>
                </c:pt>
                <c:pt idx="1582">
                  <c:v>43854</c:v>
                </c:pt>
                <c:pt idx="1583">
                  <c:v>43857</c:v>
                </c:pt>
                <c:pt idx="1584">
                  <c:v>43858</c:v>
                </c:pt>
                <c:pt idx="1585">
                  <c:v>43859</c:v>
                </c:pt>
                <c:pt idx="1586">
                  <c:v>43860</c:v>
                </c:pt>
                <c:pt idx="1587">
                  <c:v>43861</c:v>
                </c:pt>
                <c:pt idx="1588">
                  <c:v>43864</c:v>
                </c:pt>
                <c:pt idx="1589">
                  <c:v>43865</c:v>
                </c:pt>
                <c:pt idx="1590">
                  <c:v>43866</c:v>
                </c:pt>
                <c:pt idx="1591">
                  <c:v>43867</c:v>
                </c:pt>
                <c:pt idx="1592">
                  <c:v>43868</c:v>
                </c:pt>
                <c:pt idx="1593">
                  <c:v>43871</c:v>
                </c:pt>
                <c:pt idx="1594">
                  <c:v>43872</c:v>
                </c:pt>
                <c:pt idx="1595">
                  <c:v>43873</c:v>
                </c:pt>
                <c:pt idx="1596">
                  <c:v>43874</c:v>
                </c:pt>
                <c:pt idx="1597">
                  <c:v>43875</c:v>
                </c:pt>
                <c:pt idx="1598">
                  <c:v>43878</c:v>
                </c:pt>
                <c:pt idx="1599">
                  <c:v>43879</c:v>
                </c:pt>
                <c:pt idx="1600">
                  <c:v>43880</c:v>
                </c:pt>
                <c:pt idx="1601">
                  <c:v>43881</c:v>
                </c:pt>
                <c:pt idx="1602">
                  <c:v>43882</c:v>
                </c:pt>
                <c:pt idx="1603">
                  <c:v>43885</c:v>
                </c:pt>
                <c:pt idx="1604">
                  <c:v>43886</c:v>
                </c:pt>
                <c:pt idx="1605">
                  <c:v>43887</c:v>
                </c:pt>
                <c:pt idx="1606">
                  <c:v>43888</c:v>
                </c:pt>
                <c:pt idx="1607">
                  <c:v>43889</c:v>
                </c:pt>
                <c:pt idx="1608">
                  <c:v>43892</c:v>
                </c:pt>
                <c:pt idx="1609">
                  <c:v>43893</c:v>
                </c:pt>
                <c:pt idx="1610">
                  <c:v>43894</c:v>
                </c:pt>
                <c:pt idx="1611">
                  <c:v>43895</c:v>
                </c:pt>
                <c:pt idx="1612">
                  <c:v>43896</c:v>
                </c:pt>
                <c:pt idx="1613">
                  <c:v>43899</c:v>
                </c:pt>
                <c:pt idx="1614">
                  <c:v>43900</c:v>
                </c:pt>
                <c:pt idx="1615">
                  <c:v>43901</c:v>
                </c:pt>
                <c:pt idx="1616">
                  <c:v>43902</c:v>
                </c:pt>
                <c:pt idx="1617">
                  <c:v>43903</c:v>
                </c:pt>
                <c:pt idx="1618">
                  <c:v>43906</c:v>
                </c:pt>
                <c:pt idx="1619">
                  <c:v>43907</c:v>
                </c:pt>
                <c:pt idx="1620">
                  <c:v>43908</c:v>
                </c:pt>
                <c:pt idx="1621">
                  <c:v>43909</c:v>
                </c:pt>
                <c:pt idx="1622">
                  <c:v>43910</c:v>
                </c:pt>
                <c:pt idx="1623">
                  <c:v>43913</c:v>
                </c:pt>
                <c:pt idx="1624">
                  <c:v>43914</c:v>
                </c:pt>
                <c:pt idx="1625">
                  <c:v>43915</c:v>
                </c:pt>
                <c:pt idx="1626">
                  <c:v>43916</c:v>
                </c:pt>
                <c:pt idx="1627">
                  <c:v>43917</c:v>
                </c:pt>
                <c:pt idx="1628">
                  <c:v>43920</c:v>
                </c:pt>
                <c:pt idx="1629">
                  <c:v>43921</c:v>
                </c:pt>
                <c:pt idx="1630">
                  <c:v>43922</c:v>
                </c:pt>
                <c:pt idx="1631">
                  <c:v>43923</c:v>
                </c:pt>
                <c:pt idx="1632">
                  <c:v>43924</c:v>
                </c:pt>
                <c:pt idx="1633">
                  <c:v>43927</c:v>
                </c:pt>
                <c:pt idx="1634">
                  <c:v>43928</c:v>
                </c:pt>
                <c:pt idx="1635">
                  <c:v>43929</c:v>
                </c:pt>
                <c:pt idx="1636">
                  <c:v>43930</c:v>
                </c:pt>
                <c:pt idx="1637">
                  <c:v>43931</c:v>
                </c:pt>
                <c:pt idx="1638">
                  <c:v>43934</c:v>
                </c:pt>
                <c:pt idx="1639">
                  <c:v>43935</c:v>
                </c:pt>
                <c:pt idx="1640">
                  <c:v>43936</c:v>
                </c:pt>
                <c:pt idx="1641">
                  <c:v>43937</c:v>
                </c:pt>
                <c:pt idx="1642">
                  <c:v>43938</c:v>
                </c:pt>
                <c:pt idx="1643">
                  <c:v>43941</c:v>
                </c:pt>
                <c:pt idx="1644">
                  <c:v>43942</c:v>
                </c:pt>
                <c:pt idx="1645">
                  <c:v>43943</c:v>
                </c:pt>
                <c:pt idx="1646">
                  <c:v>43944</c:v>
                </c:pt>
                <c:pt idx="1647">
                  <c:v>43945</c:v>
                </c:pt>
                <c:pt idx="1648">
                  <c:v>43948</c:v>
                </c:pt>
                <c:pt idx="1649">
                  <c:v>43949</c:v>
                </c:pt>
                <c:pt idx="1650">
                  <c:v>43950</c:v>
                </c:pt>
                <c:pt idx="1651">
                  <c:v>43951</c:v>
                </c:pt>
                <c:pt idx="1652">
                  <c:v>43952</c:v>
                </c:pt>
                <c:pt idx="1653">
                  <c:v>43955</c:v>
                </c:pt>
                <c:pt idx="1654">
                  <c:v>43956</c:v>
                </c:pt>
                <c:pt idx="1655">
                  <c:v>43957</c:v>
                </c:pt>
                <c:pt idx="1656">
                  <c:v>43958</c:v>
                </c:pt>
                <c:pt idx="1657">
                  <c:v>43959</c:v>
                </c:pt>
                <c:pt idx="1658">
                  <c:v>43962</c:v>
                </c:pt>
                <c:pt idx="1659">
                  <c:v>43963</c:v>
                </c:pt>
                <c:pt idx="1660">
                  <c:v>43964</c:v>
                </c:pt>
                <c:pt idx="1661">
                  <c:v>43965</c:v>
                </c:pt>
                <c:pt idx="1662">
                  <c:v>43966</c:v>
                </c:pt>
                <c:pt idx="1663">
                  <c:v>43969</c:v>
                </c:pt>
                <c:pt idx="1664">
                  <c:v>43970</c:v>
                </c:pt>
                <c:pt idx="1665">
                  <c:v>43971</c:v>
                </c:pt>
                <c:pt idx="1666">
                  <c:v>43972</c:v>
                </c:pt>
                <c:pt idx="1667">
                  <c:v>43973</c:v>
                </c:pt>
                <c:pt idx="1668">
                  <c:v>43976</c:v>
                </c:pt>
                <c:pt idx="1669">
                  <c:v>43977</c:v>
                </c:pt>
                <c:pt idx="1670">
                  <c:v>43978</c:v>
                </c:pt>
                <c:pt idx="1671">
                  <c:v>43979</c:v>
                </c:pt>
                <c:pt idx="1672">
                  <c:v>43980</c:v>
                </c:pt>
                <c:pt idx="1673">
                  <c:v>43983</c:v>
                </c:pt>
                <c:pt idx="1674">
                  <c:v>43984</c:v>
                </c:pt>
                <c:pt idx="1675">
                  <c:v>43985</c:v>
                </c:pt>
                <c:pt idx="1676">
                  <c:v>43986</c:v>
                </c:pt>
                <c:pt idx="1677">
                  <c:v>43987</c:v>
                </c:pt>
                <c:pt idx="1678">
                  <c:v>43990</c:v>
                </c:pt>
                <c:pt idx="1679">
                  <c:v>43991</c:v>
                </c:pt>
                <c:pt idx="1680">
                  <c:v>43992</c:v>
                </c:pt>
                <c:pt idx="1681">
                  <c:v>43993</c:v>
                </c:pt>
                <c:pt idx="1682">
                  <c:v>43994</c:v>
                </c:pt>
                <c:pt idx="1683">
                  <c:v>43997</c:v>
                </c:pt>
                <c:pt idx="1684">
                  <c:v>43998</c:v>
                </c:pt>
                <c:pt idx="1685">
                  <c:v>43999</c:v>
                </c:pt>
                <c:pt idx="1686">
                  <c:v>44000</c:v>
                </c:pt>
                <c:pt idx="1687">
                  <c:v>44001</c:v>
                </c:pt>
                <c:pt idx="1688">
                  <c:v>44004</c:v>
                </c:pt>
                <c:pt idx="1689">
                  <c:v>44005</c:v>
                </c:pt>
                <c:pt idx="1690">
                  <c:v>44006</c:v>
                </c:pt>
                <c:pt idx="1691">
                  <c:v>44007</c:v>
                </c:pt>
                <c:pt idx="1692">
                  <c:v>44008</c:v>
                </c:pt>
                <c:pt idx="1693">
                  <c:v>44011</c:v>
                </c:pt>
                <c:pt idx="1694">
                  <c:v>44012</c:v>
                </c:pt>
                <c:pt idx="1695">
                  <c:v>44013</c:v>
                </c:pt>
                <c:pt idx="1696">
                  <c:v>44014</c:v>
                </c:pt>
                <c:pt idx="1697">
                  <c:v>44015</c:v>
                </c:pt>
                <c:pt idx="1698">
                  <c:v>44018</c:v>
                </c:pt>
                <c:pt idx="1699">
                  <c:v>44019</c:v>
                </c:pt>
                <c:pt idx="1700">
                  <c:v>44020</c:v>
                </c:pt>
                <c:pt idx="1701">
                  <c:v>44021</c:v>
                </c:pt>
                <c:pt idx="1702">
                  <c:v>44022</c:v>
                </c:pt>
                <c:pt idx="1703">
                  <c:v>44025</c:v>
                </c:pt>
                <c:pt idx="1704">
                  <c:v>44026</c:v>
                </c:pt>
                <c:pt idx="1705">
                  <c:v>44027</c:v>
                </c:pt>
                <c:pt idx="1706">
                  <c:v>44028</c:v>
                </c:pt>
                <c:pt idx="1707">
                  <c:v>44029</c:v>
                </c:pt>
                <c:pt idx="1708">
                  <c:v>44032</c:v>
                </c:pt>
                <c:pt idx="1709">
                  <c:v>44033</c:v>
                </c:pt>
                <c:pt idx="1710">
                  <c:v>44034</c:v>
                </c:pt>
                <c:pt idx="1711">
                  <c:v>44035</c:v>
                </c:pt>
                <c:pt idx="1712">
                  <c:v>44036</c:v>
                </c:pt>
                <c:pt idx="1713">
                  <c:v>44039</c:v>
                </c:pt>
                <c:pt idx="1714">
                  <c:v>44040</c:v>
                </c:pt>
                <c:pt idx="1715">
                  <c:v>44041</c:v>
                </c:pt>
                <c:pt idx="1716">
                  <c:v>44042</c:v>
                </c:pt>
                <c:pt idx="1717">
                  <c:v>44043</c:v>
                </c:pt>
                <c:pt idx="1718">
                  <c:v>44046</c:v>
                </c:pt>
                <c:pt idx="1719">
                  <c:v>44047</c:v>
                </c:pt>
                <c:pt idx="1720">
                  <c:v>44048</c:v>
                </c:pt>
                <c:pt idx="1721">
                  <c:v>44049</c:v>
                </c:pt>
                <c:pt idx="1722">
                  <c:v>44050</c:v>
                </c:pt>
                <c:pt idx="1723">
                  <c:v>44053</c:v>
                </c:pt>
                <c:pt idx="1724">
                  <c:v>44054</c:v>
                </c:pt>
                <c:pt idx="1725">
                  <c:v>44055</c:v>
                </c:pt>
                <c:pt idx="1726">
                  <c:v>44056</c:v>
                </c:pt>
                <c:pt idx="1727">
                  <c:v>44057</c:v>
                </c:pt>
                <c:pt idx="1728">
                  <c:v>44060</c:v>
                </c:pt>
                <c:pt idx="1729">
                  <c:v>44061</c:v>
                </c:pt>
                <c:pt idx="1730">
                  <c:v>44062</c:v>
                </c:pt>
                <c:pt idx="1731">
                  <c:v>44063</c:v>
                </c:pt>
                <c:pt idx="1732">
                  <c:v>44064</c:v>
                </c:pt>
                <c:pt idx="1733">
                  <c:v>44067</c:v>
                </c:pt>
                <c:pt idx="1734">
                  <c:v>44068</c:v>
                </c:pt>
                <c:pt idx="1735">
                  <c:v>44069</c:v>
                </c:pt>
                <c:pt idx="1736">
                  <c:v>44070</c:v>
                </c:pt>
                <c:pt idx="1737">
                  <c:v>44071</c:v>
                </c:pt>
                <c:pt idx="1738">
                  <c:v>44074</c:v>
                </c:pt>
                <c:pt idx="1739">
                  <c:v>44075</c:v>
                </c:pt>
                <c:pt idx="1740">
                  <c:v>44076</c:v>
                </c:pt>
                <c:pt idx="1741">
                  <c:v>44077</c:v>
                </c:pt>
                <c:pt idx="1742">
                  <c:v>44078</c:v>
                </c:pt>
                <c:pt idx="1743">
                  <c:v>44081</c:v>
                </c:pt>
                <c:pt idx="1744">
                  <c:v>44082</c:v>
                </c:pt>
                <c:pt idx="1745">
                  <c:v>44083</c:v>
                </c:pt>
                <c:pt idx="1746">
                  <c:v>44084</c:v>
                </c:pt>
                <c:pt idx="1747">
                  <c:v>44085</c:v>
                </c:pt>
                <c:pt idx="1748">
                  <c:v>44088</c:v>
                </c:pt>
                <c:pt idx="1749">
                  <c:v>44089</c:v>
                </c:pt>
                <c:pt idx="1750">
                  <c:v>44090</c:v>
                </c:pt>
                <c:pt idx="1751">
                  <c:v>44091</c:v>
                </c:pt>
                <c:pt idx="1752">
                  <c:v>44092</c:v>
                </c:pt>
                <c:pt idx="1753">
                  <c:v>44095</c:v>
                </c:pt>
                <c:pt idx="1754">
                  <c:v>44096</c:v>
                </c:pt>
                <c:pt idx="1755">
                  <c:v>44097</c:v>
                </c:pt>
                <c:pt idx="1756">
                  <c:v>44098</c:v>
                </c:pt>
                <c:pt idx="1757">
                  <c:v>44099</c:v>
                </c:pt>
                <c:pt idx="1758">
                  <c:v>44102</c:v>
                </c:pt>
                <c:pt idx="1759">
                  <c:v>44103</c:v>
                </c:pt>
                <c:pt idx="1760">
                  <c:v>44104</c:v>
                </c:pt>
                <c:pt idx="1761">
                  <c:v>44105</c:v>
                </c:pt>
                <c:pt idx="1762">
                  <c:v>44106</c:v>
                </c:pt>
                <c:pt idx="1763">
                  <c:v>44109</c:v>
                </c:pt>
                <c:pt idx="1764">
                  <c:v>44110</c:v>
                </c:pt>
                <c:pt idx="1765">
                  <c:v>44111</c:v>
                </c:pt>
                <c:pt idx="1766">
                  <c:v>44112</c:v>
                </c:pt>
                <c:pt idx="1767">
                  <c:v>44113</c:v>
                </c:pt>
                <c:pt idx="1768">
                  <c:v>44116</c:v>
                </c:pt>
                <c:pt idx="1769">
                  <c:v>44117</c:v>
                </c:pt>
                <c:pt idx="1770">
                  <c:v>44118</c:v>
                </c:pt>
                <c:pt idx="1771">
                  <c:v>44119</c:v>
                </c:pt>
                <c:pt idx="1772">
                  <c:v>44120</c:v>
                </c:pt>
                <c:pt idx="1773">
                  <c:v>44123</c:v>
                </c:pt>
                <c:pt idx="1774">
                  <c:v>44124</c:v>
                </c:pt>
                <c:pt idx="1775">
                  <c:v>44125</c:v>
                </c:pt>
                <c:pt idx="1776">
                  <c:v>44126</c:v>
                </c:pt>
                <c:pt idx="1777">
                  <c:v>44127</c:v>
                </c:pt>
                <c:pt idx="1778">
                  <c:v>44130</c:v>
                </c:pt>
                <c:pt idx="1779">
                  <c:v>44131</c:v>
                </c:pt>
                <c:pt idx="1780">
                  <c:v>44132</c:v>
                </c:pt>
                <c:pt idx="1781">
                  <c:v>44133</c:v>
                </c:pt>
                <c:pt idx="1782">
                  <c:v>44134</c:v>
                </c:pt>
                <c:pt idx="1783">
                  <c:v>44137</c:v>
                </c:pt>
                <c:pt idx="1784">
                  <c:v>44138</c:v>
                </c:pt>
                <c:pt idx="1785">
                  <c:v>44139</c:v>
                </c:pt>
                <c:pt idx="1786">
                  <c:v>44140</c:v>
                </c:pt>
                <c:pt idx="1787">
                  <c:v>44141</c:v>
                </c:pt>
                <c:pt idx="1788">
                  <c:v>44144</c:v>
                </c:pt>
                <c:pt idx="1789">
                  <c:v>44145</c:v>
                </c:pt>
                <c:pt idx="1790">
                  <c:v>44146</c:v>
                </c:pt>
                <c:pt idx="1791">
                  <c:v>44147</c:v>
                </c:pt>
                <c:pt idx="1792">
                  <c:v>44148</c:v>
                </c:pt>
                <c:pt idx="1793">
                  <c:v>44151</c:v>
                </c:pt>
                <c:pt idx="1794">
                  <c:v>44152</c:v>
                </c:pt>
                <c:pt idx="1795">
                  <c:v>44153</c:v>
                </c:pt>
                <c:pt idx="1796">
                  <c:v>44154</c:v>
                </c:pt>
                <c:pt idx="1797">
                  <c:v>44155</c:v>
                </c:pt>
                <c:pt idx="1798">
                  <c:v>44158</c:v>
                </c:pt>
                <c:pt idx="1799">
                  <c:v>44159</c:v>
                </c:pt>
                <c:pt idx="1800">
                  <c:v>44160</c:v>
                </c:pt>
                <c:pt idx="1801">
                  <c:v>44161</c:v>
                </c:pt>
                <c:pt idx="1802">
                  <c:v>44162</c:v>
                </c:pt>
                <c:pt idx="1803">
                  <c:v>44165</c:v>
                </c:pt>
                <c:pt idx="1804">
                  <c:v>44166</c:v>
                </c:pt>
                <c:pt idx="1805">
                  <c:v>44167</c:v>
                </c:pt>
                <c:pt idx="1806">
                  <c:v>44168</c:v>
                </c:pt>
                <c:pt idx="1807">
                  <c:v>44169</c:v>
                </c:pt>
                <c:pt idx="1808">
                  <c:v>44172</c:v>
                </c:pt>
                <c:pt idx="1809">
                  <c:v>44173</c:v>
                </c:pt>
                <c:pt idx="1810">
                  <c:v>44174</c:v>
                </c:pt>
                <c:pt idx="1811">
                  <c:v>44175</c:v>
                </c:pt>
                <c:pt idx="1812">
                  <c:v>44176</c:v>
                </c:pt>
                <c:pt idx="1813">
                  <c:v>44179</c:v>
                </c:pt>
                <c:pt idx="1814">
                  <c:v>44180</c:v>
                </c:pt>
                <c:pt idx="1815">
                  <c:v>44181</c:v>
                </c:pt>
                <c:pt idx="1816">
                  <c:v>44182</c:v>
                </c:pt>
                <c:pt idx="1817">
                  <c:v>44183</c:v>
                </c:pt>
                <c:pt idx="1818">
                  <c:v>44186</c:v>
                </c:pt>
                <c:pt idx="1819">
                  <c:v>44187</c:v>
                </c:pt>
                <c:pt idx="1820">
                  <c:v>44188</c:v>
                </c:pt>
                <c:pt idx="1821">
                  <c:v>44189</c:v>
                </c:pt>
                <c:pt idx="1822">
                  <c:v>44190</c:v>
                </c:pt>
                <c:pt idx="1823">
                  <c:v>44193</c:v>
                </c:pt>
                <c:pt idx="1824">
                  <c:v>44194</c:v>
                </c:pt>
                <c:pt idx="1825">
                  <c:v>44195</c:v>
                </c:pt>
                <c:pt idx="1826">
                  <c:v>44196</c:v>
                </c:pt>
                <c:pt idx="1827">
                  <c:v>44197</c:v>
                </c:pt>
                <c:pt idx="1828">
                  <c:v>44200</c:v>
                </c:pt>
                <c:pt idx="1829">
                  <c:v>44201</c:v>
                </c:pt>
                <c:pt idx="1830">
                  <c:v>44202</c:v>
                </c:pt>
                <c:pt idx="1831">
                  <c:v>44203</c:v>
                </c:pt>
                <c:pt idx="1832">
                  <c:v>44204</c:v>
                </c:pt>
                <c:pt idx="1833">
                  <c:v>44207</c:v>
                </c:pt>
                <c:pt idx="1834">
                  <c:v>44208</c:v>
                </c:pt>
                <c:pt idx="1835">
                  <c:v>44209</c:v>
                </c:pt>
                <c:pt idx="1836">
                  <c:v>44210</c:v>
                </c:pt>
                <c:pt idx="1837">
                  <c:v>44211</c:v>
                </c:pt>
                <c:pt idx="1838">
                  <c:v>44214</c:v>
                </c:pt>
                <c:pt idx="1839">
                  <c:v>44215</c:v>
                </c:pt>
                <c:pt idx="1840">
                  <c:v>44216</c:v>
                </c:pt>
                <c:pt idx="1841">
                  <c:v>44217</c:v>
                </c:pt>
                <c:pt idx="1842">
                  <c:v>44218</c:v>
                </c:pt>
                <c:pt idx="1843">
                  <c:v>44221</c:v>
                </c:pt>
                <c:pt idx="1844">
                  <c:v>44222</c:v>
                </c:pt>
                <c:pt idx="1845">
                  <c:v>44223</c:v>
                </c:pt>
                <c:pt idx="1846">
                  <c:v>44224</c:v>
                </c:pt>
                <c:pt idx="1847">
                  <c:v>44225</c:v>
                </c:pt>
                <c:pt idx="1848">
                  <c:v>44228</c:v>
                </c:pt>
                <c:pt idx="1849">
                  <c:v>44229</c:v>
                </c:pt>
                <c:pt idx="1850">
                  <c:v>44230</c:v>
                </c:pt>
                <c:pt idx="1851">
                  <c:v>44231</c:v>
                </c:pt>
                <c:pt idx="1852">
                  <c:v>44232</c:v>
                </c:pt>
                <c:pt idx="1853">
                  <c:v>44235</c:v>
                </c:pt>
                <c:pt idx="1854">
                  <c:v>44236</c:v>
                </c:pt>
                <c:pt idx="1855">
                  <c:v>44237</c:v>
                </c:pt>
                <c:pt idx="1856">
                  <c:v>44238</c:v>
                </c:pt>
                <c:pt idx="1857">
                  <c:v>44239</c:v>
                </c:pt>
                <c:pt idx="1858">
                  <c:v>44242</c:v>
                </c:pt>
                <c:pt idx="1859">
                  <c:v>44243</c:v>
                </c:pt>
                <c:pt idx="1860">
                  <c:v>44244</c:v>
                </c:pt>
                <c:pt idx="1861">
                  <c:v>44245</c:v>
                </c:pt>
                <c:pt idx="1862">
                  <c:v>44246</c:v>
                </c:pt>
                <c:pt idx="1863">
                  <c:v>44249</c:v>
                </c:pt>
                <c:pt idx="1864">
                  <c:v>44250</c:v>
                </c:pt>
                <c:pt idx="1865">
                  <c:v>44251</c:v>
                </c:pt>
                <c:pt idx="1866">
                  <c:v>44252</c:v>
                </c:pt>
                <c:pt idx="1867">
                  <c:v>44253</c:v>
                </c:pt>
                <c:pt idx="1868">
                  <c:v>44256</c:v>
                </c:pt>
                <c:pt idx="1869">
                  <c:v>44257</c:v>
                </c:pt>
                <c:pt idx="1870">
                  <c:v>44258</c:v>
                </c:pt>
                <c:pt idx="1871">
                  <c:v>44259</c:v>
                </c:pt>
                <c:pt idx="1872">
                  <c:v>44260</c:v>
                </c:pt>
                <c:pt idx="1873">
                  <c:v>44263</c:v>
                </c:pt>
                <c:pt idx="1874">
                  <c:v>44264</c:v>
                </c:pt>
                <c:pt idx="1875">
                  <c:v>44265</c:v>
                </c:pt>
                <c:pt idx="1876">
                  <c:v>44266</c:v>
                </c:pt>
                <c:pt idx="1877">
                  <c:v>44267</c:v>
                </c:pt>
                <c:pt idx="1878">
                  <c:v>44270</c:v>
                </c:pt>
                <c:pt idx="1879">
                  <c:v>44271</c:v>
                </c:pt>
                <c:pt idx="1880">
                  <c:v>44272</c:v>
                </c:pt>
                <c:pt idx="1881">
                  <c:v>44273</c:v>
                </c:pt>
                <c:pt idx="1882">
                  <c:v>44274</c:v>
                </c:pt>
                <c:pt idx="1883">
                  <c:v>44277</c:v>
                </c:pt>
                <c:pt idx="1884">
                  <c:v>44278</c:v>
                </c:pt>
                <c:pt idx="1885">
                  <c:v>44279</c:v>
                </c:pt>
                <c:pt idx="1886">
                  <c:v>44280</c:v>
                </c:pt>
                <c:pt idx="1887">
                  <c:v>44281</c:v>
                </c:pt>
                <c:pt idx="1888">
                  <c:v>44284</c:v>
                </c:pt>
                <c:pt idx="1889">
                  <c:v>44285</c:v>
                </c:pt>
                <c:pt idx="1890">
                  <c:v>44286</c:v>
                </c:pt>
                <c:pt idx="1891">
                  <c:v>44287</c:v>
                </c:pt>
                <c:pt idx="1892">
                  <c:v>44288</c:v>
                </c:pt>
                <c:pt idx="1893">
                  <c:v>44291</c:v>
                </c:pt>
                <c:pt idx="1894">
                  <c:v>44292</c:v>
                </c:pt>
                <c:pt idx="1895">
                  <c:v>44293</c:v>
                </c:pt>
                <c:pt idx="1896">
                  <c:v>44294</c:v>
                </c:pt>
                <c:pt idx="1897">
                  <c:v>44295</c:v>
                </c:pt>
                <c:pt idx="1898">
                  <c:v>44298</c:v>
                </c:pt>
                <c:pt idx="1899">
                  <c:v>44299</c:v>
                </c:pt>
                <c:pt idx="1900">
                  <c:v>44300</c:v>
                </c:pt>
                <c:pt idx="1901">
                  <c:v>44301</c:v>
                </c:pt>
                <c:pt idx="1902">
                  <c:v>44302</c:v>
                </c:pt>
                <c:pt idx="1903">
                  <c:v>44305</c:v>
                </c:pt>
                <c:pt idx="1904">
                  <c:v>44306</c:v>
                </c:pt>
                <c:pt idx="1905">
                  <c:v>44307</c:v>
                </c:pt>
                <c:pt idx="1906">
                  <c:v>44308</c:v>
                </c:pt>
                <c:pt idx="1907">
                  <c:v>44309</c:v>
                </c:pt>
                <c:pt idx="1908">
                  <c:v>44312</c:v>
                </c:pt>
                <c:pt idx="1909">
                  <c:v>44313</c:v>
                </c:pt>
                <c:pt idx="1910">
                  <c:v>44314</c:v>
                </c:pt>
                <c:pt idx="1911">
                  <c:v>44315</c:v>
                </c:pt>
                <c:pt idx="1912">
                  <c:v>44316</c:v>
                </c:pt>
                <c:pt idx="1913">
                  <c:v>44319</c:v>
                </c:pt>
                <c:pt idx="1914">
                  <c:v>44320</c:v>
                </c:pt>
                <c:pt idx="1915">
                  <c:v>44321</c:v>
                </c:pt>
                <c:pt idx="1916">
                  <c:v>44322</c:v>
                </c:pt>
                <c:pt idx="1917">
                  <c:v>44323</c:v>
                </c:pt>
                <c:pt idx="1918">
                  <c:v>44326</c:v>
                </c:pt>
                <c:pt idx="1919">
                  <c:v>44327</c:v>
                </c:pt>
                <c:pt idx="1920">
                  <c:v>44328</c:v>
                </c:pt>
                <c:pt idx="1921">
                  <c:v>44329</c:v>
                </c:pt>
                <c:pt idx="1922">
                  <c:v>44330</c:v>
                </c:pt>
                <c:pt idx="1923">
                  <c:v>44333</c:v>
                </c:pt>
                <c:pt idx="1924">
                  <c:v>44334</c:v>
                </c:pt>
                <c:pt idx="1925">
                  <c:v>44335</c:v>
                </c:pt>
                <c:pt idx="1926">
                  <c:v>44336</c:v>
                </c:pt>
                <c:pt idx="1927">
                  <c:v>44337</c:v>
                </c:pt>
                <c:pt idx="1928">
                  <c:v>44340</c:v>
                </c:pt>
                <c:pt idx="1929">
                  <c:v>44341</c:v>
                </c:pt>
                <c:pt idx="1930">
                  <c:v>44342</c:v>
                </c:pt>
                <c:pt idx="1931">
                  <c:v>44343</c:v>
                </c:pt>
                <c:pt idx="1932">
                  <c:v>44344</c:v>
                </c:pt>
                <c:pt idx="1933">
                  <c:v>44347</c:v>
                </c:pt>
                <c:pt idx="1934">
                  <c:v>44348</c:v>
                </c:pt>
                <c:pt idx="1935">
                  <c:v>44349</c:v>
                </c:pt>
                <c:pt idx="1936">
                  <c:v>44350</c:v>
                </c:pt>
                <c:pt idx="1937">
                  <c:v>44351</c:v>
                </c:pt>
                <c:pt idx="1938">
                  <c:v>44354</c:v>
                </c:pt>
                <c:pt idx="1939">
                  <c:v>44355</c:v>
                </c:pt>
                <c:pt idx="1940">
                  <c:v>44356</c:v>
                </c:pt>
                <c:pt idx="1941">
                  <c:v>44357</c:v>
                </c:pt>
                <c:pt idx="1942">
                  <c:v>44358</c:v>
                </c:pt>
                <c:pt idx="1943">
                  <c:v>44361</c:v>
                </c:pt>
                <c:pt idx="1944">
                  <c:v>44362</c:v>
                </c:pt>
                <c:pt idx="1945">
                  <c:v>44363</c:v>
                </c:pt>
                <c:pt idx="1946">
                  <c:v>44364</c:v>
                </c:pt>
                <c:pt idx="1947">
                  <c:v>44365</c:v>
                </c:pt>
                <c:pt idx="1948">
                  <c:v>44368</c:v>
                </c:pt>
                <c:pt idx="1949">
                  <c:v>44369</c:v>
                </c:pt>
                <c:pt idx="1950">
                  <c:v>44370</c:v>
                </c:pt>
                <c:pt idx="1951">
                  <c:v>44371</c:v>
                </c:pt>
                <c:pt idx="1952">
                  <c:v>44372</c:v>
                </c:pt>
                <c:pt idx="1953">
                  <c:v>44375</c:v>
                </c:pt>
                <c:pt idx="1954">
                  <c:v>44376</c:v>
                </c:pt>
                <c:pt idx="1955">
                  <c:v>44377</c:v>
                </c:pt>
                <c:pt idx="1956">
                  <c:v>44378</c:v>
                </c:pt>
                <c:pt idx="1957">
                  <c:v>44379</c:v>
                </c:pt>
                <c:pt idx="1958">
                  <c:v>44382</c:v>
                </c:pt>
                <c:pt idx="1959">
                  <c:v>44383</c:v>
                </c:pt>
                <c:pt idx="1960">
                  <c:v>44384</c:v>
                </c:pt>
                <c:pt idx="1961">
                  <c:v>44385</c:v>
                </c:pt>
                <c:pt idx="1962">
                  <c:v>44386</c:v>
                </c:pt>
                <c:pt idx="1963">
                  <c:v>44389</c:v>
                </c:pt>
                <c:pt idx="1964">
                  <c:v>44390</c:v>
                </c:pt>
                <c:pt idx="1965">
                  <c:v>44391</c:v>
                </c:pt>
                <c:pt idx="1966">
                  <c:v>44392</c:v>
                </c:pt>
                <c:pt idx="1967">
                  <c:v>44393</c:v>
                </c:pt>
                <c:pt idx="1968">
                  <c:v>44396</c:v>
                </c:pt>
                <c:pt idx="1969">
                  <c:v>44397</c:v>
                </c:pt>
                <c:pt idx="1970">
                  <c:v>44398</c:v>
                </c:pt>
                <c:pt idx="1971">
                  <c:v>44399</c:v>
                </c:pt>
                <c:pt idx="1972">
                  <c:v>44400</c:v>
                </c:pt>
                <c:pt idx="1973">
                  <c:v>44403</c:v>
                </c:pt>
                <c:pt idx="1974">
                  <c:v>44404</c:v>
                </c:pt>
                <c:pt idx="1975">
                  <c:v>44405</c:v>
                </c:pt>
                <c:pt idx="1976">
                  <c:v>44406</c:v>
                </c:pt>
                <c:pt idx="1977">
                  <c:v>44407</c:v>
                </c:pt>
                <c:pt idx="1978">
                  <c:v>44410</c:v>
                </c:pt>
                <c:pt idx="1979">
                  <c:v>44411</c:v>
                </c:pt>
                <c:pt idx="1980">
                  <c:v>44412</c:v>
                </c:pt>
                <c:pt idx="1981">
                  <c:v>44413</c:v>
                </c:pt>
                <c:pt idx="1982">
                  <c:v>44414</c:v>
                </c:pt>
                <c:pt idx="1983">
                  <c:v>44417</c:v>
                </c:pt>
                <c:pt idx="1984">
                  <c:v>44418</c:v>
                </c:pt>
                <c:pt idx="1985">
                  <c:v>44419</c:v>
                </c:pt>
                <c:pt idx="1986">
                  <c:v>44420</c:v>
                </c:pt>
                <c:pt idx="1987">
                  <c:v>44421</c:v>
                </c:pt>
                <c:pt idx="1988">
                  <c:v>44424</c:v>
                </c:pt>
                <c:pt idx="1989">
                  <c:v>44425</c:v>
                </c:pt>
                <c:pt idx="1990">
                  <c:v>44426</c:v>
                </c:pt>
                <c:pt idx="1991">
                  <c:v>44427</c:v>
                </c:pt>
                <c:pt idx="1992">
                  <c:v>44428</c:v>
                </c:pt>
                <c:pt idx="1993">
                  <c:v>44431</c:v>
                </c:pt>
                <c:pt idx="1994">
                  <c:v>44432</c:v>
                </c:pt>
                <c:pt idx="1995">
                  <c:v>44433</c:v>
                </c:pt>
                <c:pt idx="1996">
                  <c:v>44434</c:v>
                </c:pt>
                <c:pt idx="1997">
                  <c:v>44435</c:v>
                </c:pt>
                <c:pt idx="1998">
                  <c:v>44438</c:v>
                </c:pt>
                <c:pt idx="1999">
                  <c:v>44439</c:v>
                </c:pt>
                <c:pt idx="2000">
                  <c:v>44440</c:v>
                </c:pt>
                <c:pt idx="2001">
                  <c:v>44441</c:v>
                </c:pt>
                <c:pt idx="2002">
                  <c:v>44442</c:v>
                </c:pt>
                <c:pt idx="2003">
                  <c:v>44445</c:v>
                </c:pt>
                <c:pt idx="2004">
                  <c:v>44446</c:v>
                </c:pt>
                <c:pt idx="2005">
                  <c:v>44447</c:v>
                </c:pt>
                <c:pt idx="2006">
                  <c:v>44448</c:v>
                </c:pt>
                <c:pt idx="2007">
                  <c:v>44449</c:v>
                </c:pt>
                <c:pt idx="2008">
                  <c:v>44452</c:v>
                </c:pt>
                <c:pt idx="2009">
                  <c:v>44453</c:v>
                </c:pt>
                <c:pt idx="2010">
                  <c:v>44454</c:v>
                </c:pt>
                <c:pt idx="2011">
                  <c:v>44455</c:v>
                </c:pt>
                <c:pt idx="2012">
                  <c:v>44456</c:v>
                </c:pt>
                <c:pt idx="2013">
                  <c:v>44459</c:v>
                </c:pt>
                <c:pt idx="2014">
                  <c:v>44460</c:v>
                </c:pt>
                <c:pt idx="2015">
                  <c:v>44461</c:v>
                </c:pt>
                <c:pt idx="2016">
                  <c:v>44462</c:v>
                </c:pt>
                <c:pt idx="2017">
                  <c:v>44463</c:v>
                </c:pt>
                <c:pt idx="2018">
                  <c:v>44466</c:v>
                </c:pt>
                <c:pt idx="2019">
                  <c:v>44467</c:v>
                </c:pt>
                <c:pt idx="2020">
                  <c:v>44468</c:v>
                </c:pt>
                <c:pt idx="2021">
                  <c:v>44469</c:v>
                </c:pt>
                <c:pt idx="2022">
                  <c:v>44470</c:v>
                </c:pt>
                <c:pt idx="2023">
                  <c:v>44473</c:v>
                </c:pt>
                <c:pt idx="2024">
                  <c:v>44474</c:v>
                </c:pt>
                <c:pt idx="2025">
                  <c:v>44475</c:v>
                </c:pt>
                <c:pt idx="2026">
                  <c:v>44476</c:v>
                </c:pt>
                <c:pt idx="2027">
                  <c:v>44477</c:v>
                </c:pt>
                <c:pt idx="2028">
                  <c:v>44480</c:v>
                </c:pt>
                <c:pt idx="2029">
                  <c:v>44481</c:v>
                </c:pt>
                <c:pt idx="2030">
                  <c:v>44482</c:v>
                </c:pt>
                <c:pt idx="2031">
                  <c:v>44483</c:v>
                </c:pt>
                <c:pt idx="2032">
                  <c:v>44484</c:v>
                </c:pt>
                <c:pt idx="2033">
                  <c:v>44487</c:v>
                </c:pt>
                <c:pt idx="2034">
                  <c:v>44488</c:v>
                </c:pt>
                <c:pt idx="2035">
                  <c:v>44489</c:v>
                </c:pt>
                <c:pt idx="2036">
                  <c:v>44490</c:v>
                </c:pt>
                <c:pt idx="2037">
                  <c:v>44491</c:v>
                </c:pt>
                <c:pt idx="2038">
                  <c:v>44494</c:v>
                </c:pt>
                <c:pt idx="2039">
                  <c:v>44495</c:v>
                </c:pt>
                <c:pt idx="2040">
                  <c:v>44496</c:v>
                </c:pt>
                <c:pt idx="2041">
                  <c:v>44497</c:v>
                </c:pt>
                <c:pt idx="2042">
                  <c:v>44498</c:v>
                </c:pt>
                <c:pt idx="2043">
                  <c:v>44501</c:v>
                </c:pt>
                <c:pt idx="2044">
                  <c:v>44502</c:v>
                </c:pt>
                <c:pt idx="2045">
                  <c:v>44503</c:v>
                </c:pt>
                <c:pt idx="2046">
                  <c:v>44504</c:v>
                </c:pt>
                <c:pt idx="2047">
                  <c:v>44505</c:v>
                </c:pt>
                <c:pt idx="2048">
                  <c:v>44508</c:v>
                </c:pt>
                <c:pt idx="2049">
                  <c:v>44509</c:v>
                </c:pt>
                <c:pt idx="2050">
                  <c:v>44510</c:v>
                </c:pt>
                <c:pt idx="2051">
                  <c:v>44511</c:v>
                </c:pt>
                <c:pt idx="2052">
                  <c:v>44512</c:v>
                </c:pt>
                <c:pt idx="2053">
                  <c:v>44515</c:v>
                </c:pt>
                <c:pt idx="2054">
                  <c:v>44516</c:v>
                </c:pt>
                <c:pt idx="2055">
                  <c:v>44517</c:v>
                </c:pt>
                <c:pt idx="2056">
                  <c:v>44518</c:v>
                </c:pt>
                <c:pt idx="2057">
                  <c:v>44519</c:v>
                </c:pt>
                <c:pt idx="2058">
                  <c:v>44522</c:v>
                </c:pt>
                <c:pt idx="2059">
                  <c:v>44523</c:v>
                </c:pt>
                <c:pt idx="2060">
                  <c:v>44524</c:v>
                </c:pt>
                <c:pt idx="2061">
                  <c:v>44525</c:v>
                </c:pt>
                <c:pt idx="2062">
                  <c:v>44526</c:v>
                </c:pt>
                <c:pt idx="2063">
                  <c:v>44529</c:v>
                </c:pt>
                <c:pt idx="2064">
                  <c:v>44530</c:v>
                </c:pt>
                <c:pt idx="2065">
                  <c:v>44531</c:v>
                </c:pt>
                <c:pt idx="2066">
                  <c:v>44532</c:v>
                </c:pt>
                <c:pt idx="2067">
                  <c:v>44533</c:v>
                </c:pt>
                <c:pt idx="2068">
                  <c:v>44536</c:v>
                </c:pt>
                <c:pt idx="2069">
                  <c:v>44537</c:v>
                </c:pt>
                <c:pt idx="2070">
                  <c:v>44538</c:v>
                </c:pt>
                <c:pt idx="2071">
                  <c:v>44539</c:v>
                </c:pt>
                <c:pt idx="2072">
                  <c:v>44540</c:v>
                </c:pt>
                <c:pt idx="2073">
                  <c:v>44543</c:v>
                </c:pt>
                <c:pt idx="2074">
                  <c:v>44544</c:v>
                </c:pt>
                <c:pt idx="2075">
                  <c:v>44545</c:v>
                </c:pt>
                <c:pt idx="2076">
                  <c:v>44546</c:v>
                </c:pt>
                <c:pt idx="2077">
                  <c:v>44547</c:v>
                </c:pt>
                <c:pt idx="2078">
                  <c:v>44550</c:v>
                </c:pt>
                <c:pt idx="2079">
                  <c:v>44551</c:v>
                </c:pt>
                <c:pt idx="2080">
                  <c:v>44552</c:v>
                </c:pt>
                <c:pt idx="2081">
                  <c:v>44553</c:v>
                </c:pt>
                <c:pt idx="2082">
                  <c:v>44554</c:v>
                </c:pt>
                <c:pt idx="2083">
                  <c:v>44557</c:v>
                </c:pt>
                <c:pt idx="2084">
                  <c:v>44558</c:v>
                </c:pt>
                <c:pt idx="2085">
                  <c:v>44559</c:v>
                </c:pt>
                <c:pt idx="2086">
                  <c:v>44560</c:v>
                </c:pt>
                <c:pt idx="2087">
                  <c:v>44561</c:v>
                </c:pt>
                <c:pt idx="2088">
                  <c:v>44564</c:v>
                </c:pt>
                <c:pt idx="2089">
                  <c:v>44565</c:v>
                </c:pt>
                <c:pt idx="2090">
                  <c:v>44566</c:v>
                </c:pt>
                <c:pt idx="2091">
                  <c:v>44567</c:v>
                </c:pt>
                <c:pt idx="2092">
                  <c:v>44568</c:v>
                </c:pt>
                <c:pt idx="2093">
                  <c:v>44571</c:v>
                </c:pt>
                <c:pt idx="2094">
                  <c:v>44572</c:v>
                </c:pt>
                <c:pt idx="2095">
                  <c:v>44573</c:v>
                </c:pt>
                <c:pt idx="2096">
                  <c:v>44574</c:v>
                </c:pt>
                <c:pt idx="2097">
                  <c:v>44575</c:v>
                </c:pt>
                <c:pt idx="2098">
                  <c:v>44578</c:v>
                </c:pt>
                <c:pt idx="2099">
                  <c:v>44579</c:v>
                </c:pt>
                <c:pt idx="2100">
                  <c:v>44580</c:v>
                </c:pt>
                <c:pt idx="2101">
                  <c:v>44581</c:v>
                </c:pt>
                <c:pt idx="2102">
                  <c:v>44582</c:v>
                </c:pt>
                <c:pt idx="2103">
                  <c:v>44585</c:v>
                </c:pt>
                <c:pt idx="2104">
                  <c:v>44586</c:v>
                </c:pt>
                <c:pt idx="2105">
                  <c:v>44587</c:v>
                </c:pt>
                <c:pt idx="2106">
                  <c:v>44588</c:v>
                </c:pt>
                <c:pt idx="2107">
                  <c:v>44589</c:v>
                </c:pt>
                <c:pt idx="2108">
                  <c:v>44592</c:v>
                </c:pt>
                <c:pt idx="2109">
                  <c:v>44593</c:v>
                </c:pt>
                <c:pt idx="2110">
                  <c:v>44594</c:v>
                </c:pt>
                <c:pt idx="2111">
                  <c:v>44595</c:v>
                </c:pt>
                <c:pt idx="2112">
                  <c:v>44596</c:v>
                </c:pt>
                <c:pt idx="2113">
                  <c:v>44599</c:v>
                </c:pt>
                <c:pt idx="2114">
                  <c:v>44600</c:v>
                </c:pt>
                <c:pt idx="2115">
                  <c:v>44601</c:v>
                </c:pt>
                <c:pt idx="2116">
                  <c:v>44602</c:v>
                </c:pt>
                <c:pt idx="2117">
                  <c:v>44603</c:v>
                </c:pt>
                <c:pt idx="2118">
                  <c:v>44606</c:v>
                </c:pt>
                <c:pt idx="2119">
                  <c:v>44607</c:v>
                </c:pt>
                <c:pt idx="2120">
                  <c:v>44608</c:v>
                </c:pt>
                <c:pt idx="2121">
                  <c:v>44609</c:v>
                </c:pt>
                <c:pt idx="2122">
                  <c:v>44610</c:v>
                </c:pt>
                <c:pt idx="2123">
                  <c:v>44613</c:v>
                </c:pt>
                <c:pt idx="2124">
                  <c:v>44614</c:v>
                </c:pt>
                <c:pt idx="2125">
                  <c:v>44615</c:v>
                </c:pt>
                <c:pt idx="2126">
                  <c:v>44616</c:v>
                </c:pt>
                <c:pt idx="2127">
                  <c:v>44617</c:v>
                </c:pt>
                <c:pt idx="2128">
                  <c:v>44620</c:v>
                </c:pt>
                <c:pt idx="2129">
                  <c:v>44621</c:v>
                </c:pt>
                <c:pt idx="2130">
                  <c:v>44622</c:v>
                </c:pt>
                <c:pt idx="2131">
                  <c:v>44623</c:v>
                </c:pt>
                <c:pt idx="2132">
                  <c:v>44624</c:v>
                </c:pt>
                <c:pt idx="2133">
                  <c:v>44627</c:v>
                </c:pt>
                <c:pt idx="2134">
                  <c:v>44628</c:v>
                </c:pt>
                <c:pt idx="2135">
                  <c:v>44629</c:v>
                </c:pt>
                <c:pt idx="2136">
                  <c:v>44630</c:v>
                </c:pt>
                <c:pt idx="2137">
                  <c:v>44631</c:v>
                </c:pt>
                <c:pt idx="2138">
                  <c:v>44634</c:v>
                </c:pt>
                <c:pt idx="2139">
                  <c:v>44635</c:v>
                </c:pt>
                <c:pt idx="2140">
                  <c:v>44636</c:v>
                </c:pt>
                <c:pt idx="2141">
                  <c:v>44637</c:v>
                </c:pt>
                <c:pt idx="2142">
                  <c:v>44638</c:v>
                </c:pt>
                <c:pt idx="2143">
                  <c:v>44641</c:v>
                </c:pt>
                <c:pt idx="2144">
                  <c:v>44642</c:v>
                </c:pt>
                <c:pt idx="2145">
                  <c:v>44643</c:v>
                </c:pt>
                <c:pt idx="2146">
                  <c:v>44644</c:v>
                </c:pt>
                <c:pt idx="2147">
                  <c:v>44645</c:v>
                </c:pt>
                <c:pt idx="2148">
                  <c:v>44648</c:v>
                </c:pt>
                <c:pt idx="2149">
                  <c:v>44649</c:v>
                </c:pt>
                <c:pt idx="2150">
                  <c:v>44650</c:v>
                </c:pt>
                <c:pt idx="2151">
                  <c:v>44651</c:v>
                </c:pt>
                <c:pt idx="2152">
                  <c:v>44652</c:v>
                </c:pt>
                <c:pt idx="2153">
                  <c:v>44655</c:v>
                </c:pt>
                <c:pt idx="2154">
                  <c:v>44656</c:v>
                </c:pt>
                <c:pt idx="2155">
                  <c:v>44657</c:v>
                </c:pt>
                <c:pt idx="2156">
                  <c:v>44658</c:v>
                </c:pt>
                <c:pt idx="2157">
                  <c:v>44659</c:v>
                </c:pt>
                <c:pt idx="2158">
                  <c:v>44662</c:v>
                </c:pt>
                <c:pt idx="2159">
                  <c:v>44663</c:v>
                </c:pt>
                <c:pt idx="2160">
                  <c:v>44664</c:v>
                </c:pt>
                <c:pt idx="2161">
                  <c:v>44665</c:v>
                </c:pt>
                <c:pt idx="2162">
                  <c:v>44666</c:v>
                </c:pt>
                <c:pt idx="2163">
                  <c:v>44669</c:v>
                </c:pt>
                <c:pt idx="2164">
                  <c:v>44670</c:v>
                </c:pt>
                <c:pt idx="2165">
                  <c:v>44671</c:v>
                </c:pt>
                <c:pt idx="2166">
                  <c:v>44672</c:v>
                </c:pt>
                <c:pt idx="2167">
                  <c:v>44673</c:v>
                </c:pt>
                <c:pt idx="2168">
                  <c:v>44676</c:v>
                </c:pt>
                <c:pt idx="2169">
                  <c:v>44677</c:v>
                </c:pt>
                <c:pt idx="2170">
                  <c:v>44678</c:v>
                </c:pt>
                <c:pt idx="2171">
                  <c:v>44679</c:v>
                </c:pt>
                <c:pt idx="2172">
                  <c:v>44680</c:v>
                </c:pt>
                <c:pt idx="2173">
                  <c:v>44683</c:v>
                </c:pt>
                <c:pt idx="2174">
                  <c:v>44684</c:v>
                </c:pt>
                <c:pt idx="2175">
                  <c:v>44685</c:v>
                </c:pt>
                <c:pt idx="2176">
                  <c:v>44686</c:v>
                </c:pt>
                <c:pt idx="2177">
                  <c:v>44687</c:v>
                </c:pt>
                <c:pt idx="2178">
                  <c:v>44690</c:v>
                </c:pt>
                <c:pt idx="2179">
                  <c:v>44691</c:v>
                </c:pt>
                <c:pt idx="2180">
                  <c:v>44692</c:v>
                </c:pt>
                <c:pt idx="2181">
                  <c:v>44693</c:v>
                </c:pt>
                <c:pt idx="2182">
                  <c:v>44694</c:v>
                </c:pt>
                <c:pt idx="2183">
                  <c:v>44697</c:v>
                </c:pt>
                <c:pt idx="2184">
                  <c:v>44698</c:v>
                </c:pt>
                <c:pt idx="2185">
                  <c:v>44699</c:v>
                </c:pt>
                <c:pt idx="2186">
                  <c:v>44700</c:v>
                </c:pt>
                <c:pt idx="2187">
                  <c:v>44701</c:v>
                </c:pt>
                <c:pt idx="2188">
                  <c:v>44704</c:v>
                </c:pt>
                <c:pt idx="2189">
                  <c:v>44705</c:v>
                </c:pt>
                <c:pt idx="2190">
                  <c:v>44706</c:v>
                </c:pt>
                <c:pt idx="2191">
                  <c:v>44707</c:v>
                </c:pt>
                <c:pt idx="2192">
                  <c:v>44708</c:v>
                </c:pt>
                <c:pt idx="2193">
                  <c:v>44711</c:v>
                </c:pt>
                <c:pt idx="2194">
                  <c:v>44712</c:v>
                </c:pt>
                <c:pt idx="2195">
                  <c:v>44713</c:v>
                </c:pt>
                <c:pt idx="2196">
                  <c:v>44714</c:v>
                </c:pt>
                <c:pt idx="2197">
                  <c:v>44715</c:v>
                </c:pt>
                <c:pt idx="2198">
                  <c:v>44718</c:v>
                </c:pt>
                <c:pt idx="2199">
                  <c:v>44719</c:v>
                </c:pt>
                <c:pt idx="2200">
                  <c:v>44720</c:v>
                </c:pt>
                <c:pt idx="2201">
                  <c:v>44721</c:v>
                </c:pt>
                <c:pt idx="2202">
                  <c:v>44722</c:v>
                </c:pt>
                <c:pt idx="2203">
                  <c:v>44725</c:v>
                </c:pt>
                <c:pt idx="2204">
                  <c:v>44726</c:v>
                </c:pt>
                <c:pt idx="2205">
                  <c:v>44727</c:v>
                </c:pt>
                <c:pt idx="2206">
                  <c:v>44728</c:v>
                </c:pt>
                <c:pt idx="2207">
                  <c:v>44729</c:v>
                </c:pt>
                <c:pt idx="2208">
                  <c:v>44732</c:v>
                </c:pt>
                <c:pt idx="2209">
                  <c:v>44733</c:v>
                </c:pt>
                <c:pt idx="2210">
                  <c:v>44734</c:v>
                </c:pt>
                <c:pt idx="2211">
                  <c:v>44735</c:v>
                </c:pt>
                <c:pt idx="2212">
                  <c:v>44736</c:v>
                </c:pt>
                <c:pt idx="2213">
                  <c:v>44739</c:v>
                </c:pt>
                <c:pt idx="2214">
                  <c:v>44740</c:v>
                </c:pt>
                <c:pt idx="2215">
                  <c:v>44741</c:v>
                </c:pt>
                <c:pt idx="2216">
                  <c:v>44742</c:v>
                </c:pt>
                <c:pt idx="2217">
                  <c:v>44743</c:v>
                </c:pt>
                <c:pt idx="2218">
                  <c:v>44746</c:v>
                </c:pt>
                <c:pt idx="2219">
                  <c:v>44747</c:v>
                </c:pt>
                <c:pt idx="2220">
                  <c:v>44748</c:v>
                </c:pt>
                <c:pt idx="2221">
                  <c:v>44749</c:v>
                </c:pt>
                <c:pt idx="2222">
                  <c:v>44750</c:v>
                </c:pt>
                <c:pt idx="2223">
                  <c:v>44753</c:v>
                </c:pt>
                <c:pt idx="2224">
                  <c:v>44754</c:v>
                </c:pt>
                <c:pt idx="2225">
                  <c:v>44755</c:v>
                </c:pt>
                <c:pt idx="2226">
                  <c:v>44756</c:v>
                </c:pt>
                <c:pt idx="2227">
                  <c:v>44757</c:v>
                </c:pt>
                <c:pt idx="2228">
                  <c:v>44760</c:v>
                </c:pt>
                <c:pt idx="2229">
                  <c:v>44761</c:v>
                </c:pt>
                <c:pt idx="2230">
                  <c:v>44762</c:v>
                </c:pt>
                <c:pt idx="2231">
                  <c:v>44763</c:v>
                </c:pt>
                <c:pt idx="2232">
                  <c:v>44764</c:v>
                </c:pt>
                <c:pt idx="2233">
                  <c:v>44767</c:v>
                </c:pt>
                <c:pt idx="2234">
                  <c:v>44768</c:v>
                </c:pt>
                <c:pt idx="2235">
                  <c:v>44769</c:v>
                </c:pt>
                <c:pt idx="2236">
                  <c:v>44770</c:v>
                </c:pt>
                <c:pt idx="2237">
                  <c:v>44771</c:v>
                </c:pt>
                <c:pt idx="2238">
                  <c:v>44774</c:v>
                </c:pt>
                <c:pt idx="2239">
                  <c:v>44775</c:v>
                </c:pt>
                <c:pt idx="2240">
                  <c:v>44776</c:v>
                </c:pt>
                <c:pt idx="2241">
                  <c:v>44777</c:v>
                </c:pt>
                <c:pt idx="2242">
                  <c:v>44778</c:v>
                </c:pt>
                <c:pt idx="2243">
                  <c:v>44781</c:v>
                </c:pt>
                <c:pt idx="2244">
                  <c:v>44782</c:v>
                </c:pt>
                <c:pt idx="2245">
                  <c:v>44783</c:v>
                </c:pt>
                <c:pt idx="2246">
                  <c:v>44784</c:v>
                </c:pt>
                <c:pt idx="2247">
                  <c:v>44785</c:v>
                </c:pt>
                <c:pt idx="2248">
                  <c:v>44788</c:v>
                </c:pt>
                <c:pt idx="2249">
                  <c:v>44789</c:v>
                </c:pt>
                <c:pt idx="2250">
                  <c:v>44790</c:v>
                </c:pt>
                <c:pt idx="2251">
                  <c:v>44791</c:v>
                </c:pt>
                <c:pt idx="2252">
                  <c:v>44792</c:v>
                </c:pt>
                <c:pt idx="2253">
                  <c:v>44795</c:v>
                </c:pt>
                <c:pt idx="2254">
                  <c:v>44796</c:v>
                </c:pt>
                <c:pt idx="2255">
                  <c:v>44797</c:v>
                </c:pt>
                <c:pt idx="2256">
                  <c:v>44798</c:v>
                </c:pt>
                <c:pt idx="2257">
                  <c:v>44799</c:v>
                </c:pt>
                <c:pt idx="2258">
                  <c:v>44802</c:v>
                </c:pt>
                <c:pt idx="2259">
                  <c:v>44803</c:v>
                </c:pt>
                <c:pt idx="2260">
                  <c:v>44804</c:v>
                </c:pt>
                <c:pt idx="2261">
                  <c:v>44805</c:v>
                </c:pt>
                <c:pt idx="2262">
                  <c:v>44806</c:v>
                </c:pt>
                <c:pt idx="2263">
                  <c:v>44809</c:v>
                </c:pt>
                <c:pt idx="2264">
                  <c:v>44810</c:v>
                </c:pt>
                <c:pt idx="2265">
                  <c:v>44811</c:v>
                </c:pt>
                <c:pt idx="2266">
                  <c:v>44812</c:v>
                </c:pt>
                <c:pt idx="2267">
                  <c:v>44813</c:v>
                </c:pt>
                <c:pt idx="2268">
                  <c:v>44816</c:v>
                </c:pt>
                <c:pt idx="2269">
                  <c:v>44817</c:v>
                </c:pt>
                <c:pt idx="2270">
                  <c:v>44818</c:v>
                </c:pt>
                <c:pt idx="2271">
                  <c:v>44819</c:v>
                </c:pt>
                <c:pt idx="2272">
                  <c:v>44820</c:v>
                </c:pt>
                <c:pt idx="2273">
                  <c:v>44823</c:v>
                </c:pt>
                <c:pt idx="2274">
                  <c:v>44824</c:v>
                </c:pt>
                <c:pt idx="2275">
                  <c:v>44825</c:v>
                </c:pt>
                <c:pt idx="2276">
                  <c:v>44826</c:v>
                </c:pt>
                <c:pt idx="2277">
                  <c:v>44827</c:v>
                </c:pt>
                <c:pt idx="2278">
                  <c:v>44830</c:v>
                </c:pt>
                <c:pt idx="2279">
                  <c:v>44831</c:v>
                </c:pt>
                <c:pt idx="2280">
                  <c:v>44832</c:v>
                </c:pt>
                <c:pt idx="2281">
                  <c:v>44833</c:v>
                </c:pt>
                <c:pt idx="2282">
                  <c:v>44834</c:v>
                </c:pt>
                <c:pt idx="2283">
                  <c:v>44837</c:v>
                </c:pt>
                <c:pt idx="2284">
                  <c:v>44838</c:v>
                </c:pt>
                <c:pt idx="2285">
                  <c:v>44839</c:v>
                </c:pt>
                <c:pt idx="2286">
                  <c:v>44840</c:v>
                </c:pt>
                <c:pt idx="2287">
                  <c:v>44841</c:v>
                </c:pt>
                <c:pt idx="2288">
                  <c:v>44844</c:v>
                </c:pt>
                <c:pt idx="2289">
                  <c:v>44845</c:v>
                </c:pt>
                <c:pt idx="2290">
                  <c:v>44846</c:v>
                </c:pt>
                <c:pt idx="2291">
                  <c:v>44847</c:v>
                </c:pt>
                <c:pt idx="2292">
                  <c:v>44848</c:v>
                </c:pt>
                <c:pt idx="2293">
                  <c:v>44851</c:v>
                </c:pt>
                <c:pt idx="2294">
                  <c:v>44852</c:v>
                </c:pt>
                <c:pt idx="2295">
                  <c:v>44853</c:v>
                </c:pt>
                <c:pt idx="2296">
                  <c:v>44854</c:v>
                </c:pt>
                <c:pt idx="2297">
                  <c:v>44855</c:v>
                </c:pt>
                <c:pt idx="2298">
                  <c:v>44858</c:v>
                </c:pt>
                <c:pt idx="2299">
                  <c:v>44859</c:v>
                </c:pt>
                <c:pt idx="2300">
                  <c:v>44860</c:v>
                </c:pt>
                <c:pt idx="2301">
                  <c:v>44861</c:v>
                </c:pt>
                <c:pt idx="2302">
                  <c:v>44862</c:v>
                </c:pt>
                <c:pt idx="2303">
                  <c:v>44865</c:v>
                </c:pt>
                <c:pt idx="2304">
                  <c:v>44866</c:v>
                </c:pt>
                <c:pt idx="2305">
                  <c:v>44867</c:v>
                </c:pt>
                <c:pt idx="2306">
                  <c:v>44868</c:v>
                </c:pt>
                <c:pt idx="2307">
                  <c:v>44869</c:v>
                </c:pt>
                <c:pt idx="2308">
                  <c:v>44872</c:v>
                </c:pt>
                <c:pt idx="2309">
                  <c:v>44873</c:v>
                </c:pt>
                <c:pt idx="2310">
                  <c:v>44874</c:v>
                </c:pt>
                <c:pt idx="2311">
                  <c:v>44875</c:v>
                </c:pt>
                <c:pt idx="2312">
                  <c:v>44876</c:v>
                </c:pt>
                <c:pt idx="2313">
                  <c:v>44879</c:v>
                </c:pt>
                <c:pt idx="2314">
                  <c:v>44880</c:v>
                </c:pt>
                <c:pt idx="2315">
                  <c:v>44881</c:v>
                </c:pt>
                <c:pt idx="2316">
                  <c:v>44882</c:v>
                </c:pt>
                <c:pt idx="2317">
                  <c:v>44883</c:v>
                </c:pt>
                <c:pt idx="2318">
                  <c:v>44886</c:v>
                </c:pt>
                <c:pt idx="2319">
                  <c:v>44887</c:v>
                </c:pt>
                <c:pt idx="2320">
                  <c:v>44888</c:v>
                </c:pt>
                <c:pt idx="2321">
                  <c:v>44889</c:v>
                </c:pt>
                <c:pt idx="2322">
                  <c:v>44890</c:v>
                </c:pt>
                <c:pt idx="2323">
                  <c:v>44893</c:v>
                </c:pt>
                <c:pt idx="2324">
                  <c:v>44894</c:v>
                </c:pt>
                <c:pt idx="2325">
                  <c:v>44895</c:v>
                </c:pt>
                <c:pt idx="2326">
                  <c:v>44896</c:v>
                </c:pt>
                <c:pt idx="2327">
                  <c:v>44897</c:v>
                </c:pt>
                <c:pt idx="2328">
                  <c:v>44900</c:v>
                </c:pt>
                <c:pt idx="2329">
                  <c:v>44901</c:v>
                </c:pt>
                <c:pt idx="2330">
                  <c:v>44902</c:v>
                </c:pt>
                <c:pt idx="2331">
                  <c:v>44903</c:v>
                </c:pt>
                <c:pt idx="2332">
                  <c:v>44904</c:v>
                </c:pt>
                <c:pt idx="2333">
                  <c:v>44907</c:v>
                </c:pt>
                <c:pt idx="2334">
                  <c:v>44908</c:v>
                </c:pt>
                <c:pt idx="2335">
                  <c:v>44909</c:v>
                </c:pt>
                <c:pt idx="2336">
                  <c:v>44910</c:v>
                </c:pt>
                <c:pt idx="2337">
                  <c:v>44911</c:v>
                </c:pt>
                <c:pt idx="2338">
                  <c:v>44914</c:v>
                </c:pt>
                <c:pt idx="2339">
                  <c:v>44915</c:v>
                </c:pt>
                <c:pt idx="2340">
                  <c:v>44916</c:v>
                </c:pt>
                <c:pt idx="2341">
                  <c:v>44917</c:v>
                </c:pt>
                <c:pt idx="2342">
                  <c:v>44918</c:v>
                </c:pt>
                <c:pt idx="2343">
                  <c:v>44921</c:v>
                </c:pt>
                <c:pt idx="2344">
                  <c:v>44922</c:v>
                </c:pt>
                <c:pt idx="2345">
                  <c:v>44923</c:v>
                </c:pt>
                <c:pt idx="2346">
                  <c:v>44924</c:v>
                </c:pt>
                <c:pt idx="2347">
                  <c:v>44925</c:v>
                </c:pt>
                <c:pt idx="2348">
                  <c:v>44928</c:v>
                </c:pt>
                <c:pt idx="2349">
                  <c:v>44929</c:v>
                </c:pt>
                <c:pt idx="2350">
                  <c:v>44930</c:v>
                </c:pt>
                <c:pt idx="2351">
                  <c:v>44931</c:v>
                </c:pt>
                <c:pt idx="2352">
                  <c:v>44932</c:v>
                </c:pt>
                <c:pt idx="2353">
                  <c:v>44935</c:v>
                </c:pt>
                <c:pt idx="2354">
                  <c:v>44936</c:v>
                </c:pt>
                <c:pt idx="2355">
                  <c:v>44937</c:v>
                </c:pt>
                <c:pt idx="2356">
                  <c:v>44938</c:v>
                </c:pt>
                <c:pt idx="2357">
                  <c:v>44939</c:v>
                </c:pt>
                <c:pt idx="2358">
                  <c:v>44942</c:v>
                </c:pt>
                <c:pt idx="2359">
                  <c:v>44943</c:v>
                </c:pt>
                <c:pt idx="2360">
                  <c:v>44944</c:v>
                </c:pt>
                <c:pt idx="2361">
                  <c:v>44945</c:v>
                </c:pt>
                <c:pt idx="2362">
                  <c:v>44946</c:v>
                </c:pt>
                <c:pt idx="2363">
                  <c:v>44949</c:v>
                </c:pt>
                <c:pt idx="2364">
                  <c:v>44950</c:v>
                </c:pt>
                <c:pt idx="2365">
                  <c:v>44951</c:v>
                </c:pt>
                <c:pt idx="2366">
                  <c:v>44952</c:v>
                </c:pt>
                <c:pt idx="2367">
                  <c:v>44953</c:v>
                </c:pt>
                <c:pt idx="2368">
                  <c:v>44956</c:v>
                </c:pt>
                <c:pt idx="2369">
                  <c:v>44957</c:v>
                </c:pt>
                <c:pt idx="2370">
                  <c:v>44958</c:v>
                </c:pt>
                <c:pt idx="2371">
                  <c:v>44959</c:v>
                </c:pt>
                <c:pt idx="2372">
                  <c:v>44960</c:v>
                </c:pt>
                <c:pt idx="2373">
                  <c:v>44963</c:v>
                </c:pt>
                <c:pt idx="2374">
                  <c:v>44964</c:v>
                </c:pt>
                <c:pt idx="2375">
                  <c:v>44965</c:v>
                </c:pt>
                <c:pt idx="2376">
                  <c:v>44966</c:v>
                </c:pt>
                <c:pt idx="2377">
                  <c:v>44967</c:v>
                </c:pt>
                <c:pt idx="2378">
                  <c:v>44970</c:v>
                </c:pt>
                <c:pt idx="2379">
                  <c:v>44971</c:v>
                </c:pt>
                <c:pt idx="2380">
                  <c:v>44972</c:v>
                </c:pt>
                <c:pt idx="2381">
                  <c:v>44973</c:v>
                </c:pt>
                <c:pt idx="2382">
                  <c:v>44974</c:v>
                </c:pt>
                <c:pt idx="2383">
                  <c:v>44977</c:v>
                </c:pt>
                <c:pt idx="2384">
                  <c:v>44978</c:v>
                </c:pt>
                <c:pt idx="2385">
                  <c:v>44979</c:v>
                </c:pt>
                <c:pt idx="2386">
                  <c:v>44980</c:v>
                </c:pt>
                <c:pt idx="2387">
                  <c:v>44981</c:v>
                </c:pt>
                <c:pt idx="2388">
                  <c:v>44984</c:v>
                </c:pt>
                <c:pt idx="2389">
                  <c:v>44985</c:v>
                </c:pt>
                <c:pt idx="2390">
                  <c:v>44986</c:v>
                </c:pt>
                <c:pt idx="2391">
                  <c:v>44987</c:v>
                </c:pt>
                <c:pt idx="2392">
                  <c:v>44988</c:v>
                </c:pt>
                <c:pt idx="2393">
                  <c:v>44991</c:v>
                </c:pt>
                <c:pt idx="2394">
                  <c:v>44992</c:v>
                </c:pt>
                <c:pt idx="2395">
                  <c:v>44993</c:v>
                </c:pt>
                <c:pt idx="2396">
                  <c:v>44994</c:v>
                </c:pt>
                <c:pt idx="2397">
                  <c:v>44995</c:v>
                </c:pt>
                <c:pt idx="2398">
                  <c:v>44998</c:v>
                </c:pt>
                <c:pt idx="2399">
                  <c:v>44999</c:v>
                </c:pt>
                <c:pt idx="2400">
                  <c:v>45000</c:v>
                </c:pt>
                <c:pt idx="2401">
                  <c:v>45001</c:v>
                </c:pt>
                <c:pt idx="2402">
                  <c:v>45002</c:v>
                </c:pt>
                <c:pt idx="2403">
                  <c:v>45005</c:v>
                </c:pt>
                <c:pt idx="2404">
                  <c:v>45006</c:v>
                </c:pt>
                <c:pt idx="2405">
                  <c:v>45007</c:v>
                </c:pt>
                <c:pt idx="2406">
                  <c:v>45008</c:v>
                </c:pt>
                <c:pt idx="2407">
                  <c:v>45009</c:v>
                </c:pt>
                <c:pt idx="2408">
                  <c:v>45012</c:v>
                </c:pt>
                <c:pt idx="2409">
                  <c:v>45013</c:v>
                </c:pt>
                <c:pt idx="2410">
                  <c:v>45014</c:v>
                </c:pt>
                <c:pt idx="2411">
                  <c:v>45015</c:v>
                </c:pt>
                <c:pt idx="2412">
                  <c:v>45016</c:v>
                </c:pt>
                <c:pt idx="2413">
                  <c:v>45019</c:v>
                </c:pt>
                <c:pt idx="2414">
                  <c:v>45020</c:v>
                </c:pt>
                <c:pt idx="2415">
                  <c:v>45021</c:v>
                </c:pt>
                <c:pt idx="2416">
                  <c:v>45022</c:v>
                </c:pt>
                <c:pt idx="2417">
                  <c:v>45023</c:v>
                </c:pt>
                <c:pt idx="2418">
                  <c:v>45026</c:v>
                </c:pt>
                <c:pt idx="2419">
                  <c:v>45027</c:v>
                </c:pt>
                <c:pt idx="2420">
                  <c:v>45028</c:v>
                </c:pt>
                <c:pt idx="2421">
                  <c:v>45029</c:v>
                </c:pt>
                <c:pt idx="2422">
                  <c:v>45030</c:v>
                </c:pt>
                <c:pt idx="2423">
                  <c:v>45033</c:v>
                </c:pt>
                <c:pt idx="2424">
                  <c:v>45034</c:v>
                </c:pt>
                <c:pt idx="2425">
                  <c:v>45035</c:v>
                </c:pt>
                <c:pt idx="2426">
                  <c:v>45036</c:v>
                </c:pt>
                <c:pt idx="2427">
                  <c:v>45037</c:v>
                </c:pt>
                <c:pt idx="2428">
                  <c:v>45040</c:v>
                </c:pt>
                <c:pt idx="2429">
                  <c:v>45041</c:v>
                </c:pt>
                <c:pt idx="2430">
                  <c:v>45042</c:v>
                </c:pt>
                <c:pt idx="2431">
                  <c:v>45043</c:v>
                </c:pt>
                <c:pt idx="2432">
                  <c:v>45044</c:v>
                </c:pt>
                <c:pt idx="2433">
                  <c:v>45047</c:v>
                </c:pt>
                <c:pt idx="2434">
                  <c:v>45048</c:v>
                </c:pt>
                <c:pt idx="2435">
                  <c:v>45049</c:v>
                </c:pt>
                <c:pt idx="2436">
                  <c:v>45050</c:v>
                </c:pt>
                <c:pt idx="2437">
                  <c:v>45051</c:v>
                </c:pt>
                <c:pt idx="2438">
                  <c:v>45054</c:v>
                </c:pt>
                <c:pt idx="2439">
                  <c:v>45055</c:v>
                </c:pt>
                <c:pt idx="2440">
                  <c:v>45056</c:v>
                </c:pt>
                <c:pt idx="2441">
                  <c:v>45057</c:v>
                </c:pt>
                <c:pt idx="2442">
                  <c:v>45058</c:v>
                </c:pt>
                <c:pt idx="2443">
                  <c:v>45061</c:v>
                </c:pt>
                <c:pt idx="2444">
                  <c:v>45062</c:v>
                </c:pt>
                <c:pt idx="2445">
                  <c:v>45063</c:v>
                </c:pt>
                <c:pt idx="2446">
                  <c:v>45064</c:v>
                </c:pt>
                <c:pt idx="2447">
                  <c:v>45065</c:v>
                </c:pt>
                <c:pt idx="2448">
                  <c:v>45068</c:v>
                </c:pt>
                <c:pt idx="2449">
                  <c:v>45069</c:v>
                </c:pt>
                <c:pt idx="2450">
                  <c:v>45070</c:v>
                </c:pt>
                <c:pt idx="2451">
                  <c:v>45071</c:v>
                </c:pt>
                <c:pt idx="2452">
                  <c:v>45072</c:v>
                </c:pt>
                <c:pt idx="2453">
                  <c:v>45075</c:v>
                </c:pt>
                <c:pt idx="2454">
                  <c:v>45076</c:v>
                </c:pt>
                <c:pt idx="2455">
                  <c:v>45077</c:v>
                </c:pt>
                <c:pt idx="2456">
                  <c:v>45078</c:v>
                </c:pt>
                <c:pt idx="2457">
                  <c:v>45079</c:v>
                </c:pt>
                <c:pt idx="2458">
                  <c:v>45082</c:v>
                </c:pt>
                <c:pt idx="2459">
                  <c:v>45083</c:v>
                </c:pt>
                <c:pt idx="2460">
                  <c:v>45084</c:v>
                </c:pt>
                <c:pt idx="2461">
                  <c:v>45085</c:v>
                </c:pt>
                <c:pt idx="2462">
                  <c:v>45086</c:v>
                </c:pt>
                <c:pt idx="2463">
                  <c:v>45089</c:v>
                </c:pt>
                <c:pt idx="2464">
                  <c:v>45090</c:v>
                </c:pt>
                <c:pt idx="2465">
                  <c:v>45091</c:v>
                </c:pt>
                <c:pt idx="2466">
                  <c:v>45092</c:v>
                </c:pt>
                <c:pt idx="2467">
                  <c:v>45093</c:v>
                </c:pt>
                <c:pt idx="2468">
                  <c:v>45096</c:v>
                </c:pt>
                <c:pt idx="2469">
                  <c:v>45097</c:v>
                </c:pt>
                <c:pt idx="2470">
                  <c:v>45098</c:v>
                </c:pt>
                <c:pt idx="2471">
                  <c:v>45099</c:v>
                </c:pt>
                <c:pt idx="2472">
                  <c:v>45100</c:v>
                </c:pt>
                <c:pt idx="2473">
                  <c:v>45103</c:v>
                </c:pt>
                <c:pt idx="2474">
                  <c:v>45104</c:v>
                </c:pt>
                <c:pt idx="2475">
                  <c:v>45105</c:v>
                </c:pt>
                <c:pt idx="2476">
                  <c:v>45106</c:v>
                </c:pt>
                <c:pt idx="2477">
                  <c:v>45107</c:v>
                </c:pt>
                <c:pt idx="2478">
                  <c:v>45110</c:v>
                </c:pt>
                <c:pt idx="2479">
                  <c:v>45111</c:v>
                </c:pt>
                <c:pt idx="2480">
                  <c:v>45112</c:v>
                </c:pt>
                <c:pt idx="2481">
                  <c:v>45113</c:v>
                </c:pt>
                <c:pt idx="2482">
                  <c:v>45114</c:v>
                </c:pt>
                <c:pt idx="2483">
                  <c:v>45117</c:v>
                </c:pt>
                <c:pt idx="2484">
                  <c:v>45118</c:v>
                </c:pt>
                <c:pt idx="2485">
                  <c:v>45119</c:v>
                </c:pt>
                <c:pt idx="2486">
                  <c:v>45120</c:v>
                </c:pt>
                <c:pt idx="2487">
                  <c:v>45121</c:v>
                </c:pt>
                <c:pt idx="2488">
                  <c:v>45124</c:v>
                </c:pt>
                <c:pt idx="2489">
                  <c:v>45125</c:v>
                </c:pt>
                <c:pt idx="2490">
                  <c:v>45126</c:v>
                </c:pt>
                <c:pt idx="2491">
                  <c:v>45127</c:v>
                </c:pt>
                <c:pt idx="2492">
                  <c:v>45128</c:v>
                </c:pt>
                <c:pt idx="2493">
                  <c:v>45131</c:v>
                </c:pt>
                <c:pt idx="2494">
                  <c:v>45132</c:v>
                </c:pt>
                <c:pt idx="2495">
                  <c:v>45133</c:v>
                </c:pt>
                <c:pt idx="2496">
                  <c:v>45134</c:v>
                </c:pt>
                <c:pt idx="2497">
                  <c:v>45135</c:v>
                </c:pt>
                <c:pt idx="2498">
                  <c:v>45138</c:v>
                </c:pt>
                <c:pt idx="2499">
                  <c:v>45139</c:v>
                </c:pt>
                <c:pt idx="2500">
                  <c:v>45140</c:v>
                </c:pt>
                <c:pt idx="2501">
                  <c:v>45141</c:v>
                </c:pt>
                <c:pt idx="2502">
                  <c:v>45142</c:v>
                </c:pt>
                <c:pt idx="2503">
                  <c:v>45145</c:v>
                </c:pt>
                <c:pt idx="2504">
                  <c:v>45146</c:v>
                </c:pt>
                <c:pt idx="2505">
                  <c:v>45147</c:v>
                </c:pt>
                <c:pt idx="2506">
                  <c:v>45148</c:v>
                </c:pt>
                <c:pt idx="2507">
                  <c:v>45149</c:v>
                </c:pt>
                <c:pt idx="2508">
                  <c:v>45152</c:v>
                </c:pt>
                <c:pt idx="2509">
                  <c:v>45153</c:v>
                </c:pt>
                <c:pt idx="2510">
                  <c:v>45154</c:v>
                </c:pt>
                <c:pt idx="2511">
                  <c:v>45155</c:v>
                </c:pt>
                <c:pt idx="2512">
                  <c:v>45156</c:v>
                </c:pt>
                <c:pt idx="2513">
                  <c:v>45159</c:v>
                </c:pt>
                <c:pt idx="2514">
                  <c:v>45160</c:v>
                </c:pt>
                <c:pt idx="2515">
                  <c:v>45161</c:v>
                </c:pt>
                <c:pt idx="2516">
                  <c:v>45162</c:v>
                </c:pt>
                <c:pt idx="2517">
                  <c:v>45163</c:v>
                </c:pt>
                <c:pt idx="2518">
                  <c:v>45166</c:v>
                </c:pt>
                <c:pt idx="2519">
                  <c:v>45167</c:v>
                </c:pt>
                <c:pt idx="2520">
                  <c:v>45168</c:v>
                </c:pt>
                <c:pt idx="2521">
                  <c:v>45169</c:v>
                </c:pt>
                <c:pt idx="2522">
                  <c:v>45170</c:v>
                </c:pt>
                <c:pt idx="2523">
                  <c:v>45173</c:v>
                </c:pt>
                <c:pt idx="2524">
                  <c:v>45174</c:v>
                </c:pt>
                <c:pt idx="2525">
                  <c:v>45175</c:v>
                </c:pt>
                <c:pt idx="2526">
                  <c:v>45176</c:v>
                </c:pt>
                <c:pt idx="2527">
                  <c:v>45177</c:v>
                </c:pt>
                <c:pt idx="2528">
                  <c:v>45180</c:v>
                </c:pt>
                <c:pt idx="2529">
                  <c:v>45181</c:v>
                </c:pt>
                <c:pt idx="2530">
                  <c:v>45182</c:v>
                </c:pt>
                <c:pt idx="2531">
                  <c:v>45183</c:v>
                </c:pt>
                <c:pt idx="2532">
                  <c:v>45184</c:v>
                </c:pt>
                <c:pt idx="2533">
                  <c:v>45187</c:v>
                </c:pt>
                <c:pt idx="2534">
                  <c:v>45188</c:v>
                </c:pt>
                <c:pt idx="2535">
                  <c:v>45189</c:v>
                </c:pt>
                <c:pt idx="2536">
                  <c:v>45190</c:v>
                </c:pt>
                <c:pt idx="2537">
                  <c:v>45191</c:v>
                </c:pt>
                <c:pt idx="2538">
                  <c:v>45194</c:v>
                </c:pt>
                <c:pt idx="2539">
                  <c:v>45195</c:v>
                </c:pt>
                <c:pt idx="2540">
                  <c:v>45196</c:v>
                </c:pt>
                <c:pt idx="2541">
                  <c:v>45197</c:v>
                </c:pt>
                <c:pt idx="2542">
                  <c:v>45198</c:v>
                </c:pt>
                <c:pt idx="2543">
                  <c:v>45201</c:v>
                </c:pt>
                <c:pt idx="2544">
                  <c:v>45202</c:v>
                </c:pt>
                <c:pt idx="2545">
                  <c:v>45203</c:v>
                </c:pt>
                <c:pt idx="2546">
                  <c:v>45204</c:v>
                </c:pt>
                <c:pt idx="2547">
                  <c:v>45205</c:v>
                </c:pt>
                <c:pt idx="2548">
                  <c:v>45208</c:v>
                </c:pt>
                <c:pt idx="2549">
                  <c:v>45209</c:v>
                </c:pt>
                <c:pt idx="2550">
                  <c:v>45210</c:v>
                </c:pt>
                <c:pt idx="2551">
                  <c:v>45211</c:v>
                </c:pt>
                <c:pt idx="2552">
                  <c:v>45212</c:v>
                </c:pt>
                <c:pt idx="2553">
                  <c:v>45215</c:v>
                </c:pt>
                <c:pt idx="2554">
                  <c:v>45216</c:v>
                </c:pt>
                <c:pt idx="2555">
                  <c:v>45217</c:v>
                </c:pt>
                <c:pt idx="2556">
                  <c:v>45218</c:v>
                </c:pt>
                <c:pt idx="2557">
                  <c:v>45219</c:v>
                </c:pt>
                <c:pt idx="2558">
                  <c:v>45222</c:v>
                </c:pt>
                <c:pt idx="2559">
                  <c:v>45223</c:v>
                </c:pt>
                <c:pt idx="2560">
                  <c:v>45224</c:v>
                </c:pt>
                <c:pt idx="2561">
                  <c:v>45225</c:v>
                </c:pt>
                <c:pt idx="2562">
                  <c:v>45226</c:v>
                </c:pt>
                <c:pt idx="2563">
                  <c:v>45229</c:v>
                </c:pt>
                <c:pt idx="2564">
                  <c:v>45230</c:v>
                </c:pt>
                <c:pt idx="2565">
                  <c:v>45231</c:v>
                </c:pt>
                <c:pt idx="2566">
                  <c:v>45232</c:v>
                </c:pt>
                <c:pt idx="2567">
                  <c:v>45233</c:v>
                </c:pt>
                <c:pt idx="2568">
                  <c:v>45236</c:v>
                </c:pt>
                <c:pt idx="2569">
                  <c:v>45237</c:v>
                </c:pt>
                <c:pt idx="2570">
                  <c:v>45238</c:v>
                </c:pt>
                <c:pt idx="2571">
                  <c:v>45239</c:v>
                </c:pt>
                <c:pt idx="2572">
                  <c:v>45240</c:v>
                </c:pt>
                <c:pt idx="2573">
                  <c:v>45243</c:v>
                </c:pt>
                <c:pt idx="2574">
                  <c:v>45244</c:v>
                </c:pt>
                <c:pt idx="2575">
                  <c:v>45245</c:v>
                </c:pt>
                <c:pt idx="2576">
                  <c:v>45246</c:v>
                </c:pt>
                <c:pt idx="2577">
                  <c:v>45247</c:v>
                </c:pt>
                <c:pt idx="2578">
                  <c:v>45250</c:v>
                </c:pt>
                <c:pt idx="2579">
                  <c:v>45251</c:v>
                </c:pt>
                <c:pt idx="2580">
                  <c:v>45252</c:v>
                </c:pt>
                <c:pt idx="2581">
                  <c:v>45253</c:v>
                </c:pt>
                <c:pt idx="2582">
                  <c:v>45254</c:v>
                </c:pt>
                <c:pt idx="2583">
                  <c:v>45257</c:v>
                </c:pt>
                <c:pt idx="2584">
                  <c:v>45258</c:v>
                </c:pt>
                <c:pt idx="2585">
                  <c:v>45259</c:v>
                </c:pt>
                <c:pt idx="2586">
                  <c:v>45260</c:v>
                </c:pt>
                <c:pt idx="2587">
                  <c:v>45261</c:v>
                </c:pt>
                <c:pt idx="2588">
                  <c:v>45264</c:v>
                </c:pt>
                <c:pt idx="2589">
                  <c:v>45265</c:v>
                </c:pt>
                <c:pt idx="2590">
                  <c:v>45266</c:v>
                </c:pt>
                <c:pt idx="2591">
                  <c:v>45267</c:v>
                </c:pt>
                <c:pt idx="2592">
                  <c:v>45268</c:v>
                </c:pt>
                <c:pt idx="2593">
                  <c:v>45271</c:v>
                </c:pt>
                <c:pt idx="2594">
                  <c:v>45272</c:v>
                </c:pt>
                <c:pt idx="2595">
                  <c:v>45273</c:v>
                </c:pt>
                <c:pt idx="2596">
                  <c:v>45274</c:v>
                </c:pt>
                <c:pt idx="2597">
                  <c:v>45275</c:v>
                </c:pt>
                <c:pt idx="2598">
                  <c:v>45278</c:v>
                </c:pt>
                <c:pt idx="2599">
                  <c:v>45279</c:v>
                </c:pt>
                <c:pt idx="2600">
                  <c:v>45280</c:v>
                </c:pt>
                <c:pt idx="2601">
                  <c:v>45281</c:v>
                </c:pt>
                <c:pt idx="2602">
                  <c:v>45282</c:v>
                </c:pt>
                <c:pt idx="2603">
                  <c:v>45285</c:v>
                </c:pt>
                <c:pt idx="2604">
                  <c:v>45286</c:v>
                </c:pt>
                <c:pt idx="2605">
                  <c:v>45287</c:v>
                </c:pt>
                <c:pt idx="2606">
                  <c:v>45288</c:v>
                </c:pt>
                <c:pt idx="2607">
                  <c:v>45289</c:v>
                </c:pt>
                <c:pt idx="2608">
                  <c:v>45292</c:v>
                </c:pt>
                <c:pt idx="2609">
                  <c:v>45293</c:v>
                </c:pt>
                <c:pt idx="2610">
                  <c:v>45294</c:v>
                </c:pt>
                <c:pt idx="2611">
                  <c:v>45295</c:v>
                </c:pt>
                <c:pt idx="2612">
                  <c:v>45296</c:v>
                </c:pt>
                <c:pt idx="2613">
                  <c:v>45299</c:v>
                </c:pt>
                <c:pt idx="2614">
                  <c:v>45300</c:v>
                </c:pt>
                <c:pt idx="2615">
                  <c:v>45301</c:v>
                </c:pt>
                <c:pt idx="2616">
                  <c:v>45302</c:v>
                </c:pt>
                <c:pt idx="2617">
                  <c:v>45303</c:v>
                </c:pt>
                <c:pt idx="2618">
                  <c:v>45306</c:v>
                </c:pt>
                <c:pt idx="2619">
                  <c:v>45307</c:v>
                </c:pt>
                <c:pt idx="2620">
                  <c:v>45308</c:v>
                </c:pt>
                <c:pt idx="2621">
                  <c:v>45309</c:v>
                </c:pt>
                <c:pt idx="2622">
                  <c:v>45310</c:v>
                </c:pt>
                <c:pt idx="2623">
                  <c:v>45313</c:v>
                </c:pt>
                <c:pt idx="2624">
                  <c:v>45314</c:v>
                </c:pt>
                <c:pt idx="2625">
                  <c:v>45315</c:v>
                </c:pt>
                <c:pt idx="2626">
                  <c:v>45316</c:v>
                </c:pt>
                <c:pt idx="2627">
                  <c:v>45317</c:v>
                </c:pt>
                <c:pt idx="2628">
                  <c:v>45320</c:v>
                </c:pt>
                <c:pt idx="2629">
                  <c:v>45321</c:v>
                </c:pt>
                <c:pt idx="2630">
                  <c:v>45322</c:v>
                </c:pt>
                <c:pt idx="2631">
                  <c:v>45323</c:v>
                </c:pt>
                <c:pt idx="2632">
                  <c:v>45324</c:v>
                </c:pt>
                <c:pt idx="2633">
                  <c:v>45327</c:v>
                </c:pt>
                <c:pt idx="2634">
                  <c:v>45328</c:v>
                </c:pt>
                <c:pt idx="2635">
                  <c:v>45329</c:v>
                </c:pt>
                <c:pt idx="2636">
                  <c:v>45330</c:v>
                </c:pt>
                <c:pt idx="2637">
                  <c:v>45331</c:v>
                </c:pt>
                <c:pt idx="2638">
                  <c:v>45334</c:v>
                </c:pt>
                <c:pt idx="2639">
                  <c:v>45335</c:v>
                </c:pt>
                <c:pt idx="2640">
                  <c:v>45336</c:v>
                </c:pt>
                <c:pt idx="2641">
                  <c:v>45337</c:v>
                </c:pt>
                <c:pt idx="2642">
                  <c:v>45338</c:v>
                </c:pt>
                <c:pt idx="2643">
                  <c:v>45341</c:v>
                </c:pt>
                <c:pt idx="2644">
                  <c:v>45342</c:v>
                </c:pt>
                <c:pt idx="2645">
                  <c:v>45343</c:v>
                </c:pt>
                <c:pt idx="2646">
                  <c:v>45344</c:v>
                </c:pt>
                <c:pt idx="2647">
                  <c:v>45345</c:v>
                </c:pt>
                <c:pt idx="2648">
                  <c:v>45348</c:v>
                </c:pt>
                <c:pt idx="2649">
                  <c:v>45349</c:v>
                </c:pt>
                <c:pt idx="2650">
                  <c:v>45350</c:v>
                </c:pt>
                <c:pt idx="2651">
                  <c:v>45351</c:v>
                </c:pt>
                <c:pt idx="2652">
                  <c:v>45352</c:v>
                </c:pt>
                <c:pt idx="2653">
                  <c:v>45355</c:v>
                </c:pt>
                <c:pt idx="2654">
                  <c:v>45356</c:v>
                </c:pt>
                <c:pt idx="2655">
                  <c:v>45357</c:v>
                </c:pt>
                <c:pt idx="2656">
                  <c:v>45358</c:v>
                </c:pt>
                <c:pt idx="2657">
                  <c:v>45359</c:v>
                </c:pt>
                <c:pt idx="2658">
                  <c:v>45362</c:v>
                </c:pt>
                <c:pt idx="2659">
                  <c:v>45363</c:v>
                </c:pt>
                <c:pt idx="2660">
                  <c:v>45364</c:v>
                </c:pt>
                <c:pt idx="2661">
                  <c:v>45365</c:v>
                </c:pt>
                <c:pt idx="2662">
                  <c:v>45366</c:v>
                </c:pt>
                <c:pt idx="2663">
                  <c:v>45369</c:v>
                </c:pt>
                <c:pt idx="2664">
                  <c:v>45370</c:v>
                </c:pt>
                <c:pt idx="2665">
                  <c:v>45371</c:v>
                </c:pt>
                <c:pt idx="2666">
                  <c:v>45372</c:v>
                </c:pt>
                <c:pt idx="2667">
                  <c:v>45373</c:v>
                </c:pt>
                <c:pt idx="2668">
                  <c:v>45376</c:v>
                </c:pt>
                <c:pt idx="2669">
                  <c:v>45377</c:v>
                </c:pt>
                <c:pt idx="2670">
                  <c:v>45378</c:v>
                </c:pt>
                <c:pt idx="2671">
                  <c:v>45379</c:v>
                </c:pt>
                <c:pt idx="2672">
                  <c:v>45380</c:v>
                </c:pt>
                <c:pt idx="2673">
                  <c:v>45383</c:v>
                </c:pt>
                <c:pt idx="2674">
                  <c:v>45384</c:v>
                </c:pt>
                <c:pt idx="2675">
                  <c:v>45385</c:v>
                </c:pt>
                <c:pt idx="2676">
                  <c:v>45386</c:v>
                </c:pt>
                <c:pt idx="2677">
                  <c:v>45387</c:v>
                </c:pt>
                <c:pt idx="2678">
                  <c:v>45390</c:v>
                </c:pt>
                <c:pt idx="2679">
                  <c:v>45391</c:v>
                </c:pt>
                <c:pt idx="2680">
                  <c:v>45392</c:v>
                </c:pt>
                <c:pt idx="2681">
                  <c:v>45393</c:v>
                </c:pt>
                <c:pt idx="2682">
                  <c:v>45394</c:v>
                </c:pt>
                <c:pt idx="2683">
                  <c:v>45397</c:v>
                </c:pt>
                <c:pt idx="2684">
                  <c:v>45398</c:v>
                </c:pt>
                <c:pt idx="2685">
                  <c:v>45399</c:v>
                </c:pt>
                <c:pt idx="2686">
                  <c:v>45400</c:v>
                </c:pt>
                <c:pt idx="2687">
                  <c:v>45401</c:v>
                </c:pt>
                <c:pt idx="2688">
                  <c:v>45404</c:v>
                </c:pt>
                <c:pt idx="2689">
                  <c:v>45405</c:v>
                </c:pt>
                <c:pt idx="2690">
                  <c:v>45406</c:v>
                </c:pt>
                <c:pt idx="2691">
                  <c:v>45407</c:v>
                </c:pt>
                <c:pt idx="2692">
                  <c:v>45408</c:v>
                </c:pt>
                <c:pt idx="2693">
                  <c:v>45411</c:v>
                </c:pt>
                <c:pt idx="2694">
                  <c:v>45412</c:v>
                </c:pt>
                <c:pt idx="2695">
                  <c:v>45413</c:v>
                </c:pt>
                <c:pt idx="2696">
                  <c:v>45414</c:v>
                </c:pt>
                <c:pt idx="2697">
                  <c:v>45415</c:v>
                </c:pt>
                <c:pt idx="2698">
                  <c:v>45418</c:v>
                </c:pt>
                <c:pt idx="2699">
                  <c:v>45419</c:v>
                </c:pt>
                <c:pt idx="2700">
                  <c:v>45420</c:v>
                </c:pt>
                <c:pt idx="2701">
                  <c:v>45421</c:v>
                </c:pt>
                <c:pt idx="2702">
                  <c:v>45422</c:v>
                </c:pt>
                <c:pt idx="2703">
                  <c:v>45425</c:v>
                </c:pt>
                <c:pt idx="2704">
                  <c:v>45426</c:v>
                </c:pt>
                <c:pt idx="2705">
                  <c:v>45427</c:v>
                </c:pt>
                <c:pt idx="2706">
                  <c:v>45428</c:v>
                </c:pt>
                <c:pt idx="2707">
                  <c:v>45429</c:v>
                </c:pt>
                <c:pt idx="2708">
                  <c:v>45432</c:v>
                </c:pt>
                <c:pt idx="2709">
                  <c:v>45433</c:v>
                </c:pt>
                <c:pt idx="2710">
                  <c:v>45434</c:v>
                </c:pt>
                <c:pt idx="2711">
                  <c:v>45435</c:v>
                </c:pt>
                <c:pt idx="2712">
                  <c:v>45436</c:v>
                </c:pt>
                <c:pt idx="2713">
                  <c:v>45439</c:v>
                </c:pt>
                <c:pt idx="2714">
                  <c:v>45440</c:v>
                </c:pt>
                <c:pt idx="2715">
                  <c:v>45441</c:v>
                </c:pt>
                <c:pt idx="2716">
                  <c:v>45442</c:v>
                </c:pt>
                <c:pt idx="2717">
                  <c:v>45443</c:v>
                </c:pt>
                <c:pt idx="2718">
                  <c:v>45446</c:v>
                </c:pt>
                <c:pt idx="2719">
                  <c:v>45447</c:v>
                </c:pt>
                <c:pt idx="2720">
                  <c:v>45448</c:v>
                </c:pt>
                <c:pt idx="2721">
                  <c:v>45449</c:v>
                </c:pt>
                <c:pt idx="2722">
                  <c:v>45450</c:v>
                </c:pt>
                <c:pt idx="2723">
                  <c:v>45453</c:v>
                </c:pt>
                <c:pt idx="2724">
                  <c:v>45454</c:v>
                </c:pt>
                <c:pt idx="2725">
                  <c:v>45455</c:v>
                </c:pt>
                <c:pt idx="2726">
                  <c:v>45456</c:v>
                </c:pt>
                <c:pt idx="2727">
                  <c:v>45457</c:v>
                </c:pt>
                <c:pt idx="2728">
                  <c:v>45460</c:v>
                </c:pt>
                <c:pt idx="2729">
                  <c:v>45461</c:v>
                </c:pt>
                <c:pt idx="2730">
                  <c:v>45462</c:v>
                </c:pt>
                <c:pt idx="2731">
                  <c:v>45463</c:v>
                </c:pt>
                <c:pt idx="2732">
                  <c:v>45464</c:v>
                </c:pt>
                <c:pt idx="2733">
                  <c:v>45467</c:v>
                </c:pt>
                <c:pt idx="2734">
                  <c:v>45468</c:v>
                </c:pt>
                <c:pt idx="2735">
                  <c:v>45469</c:v>
                </c:pt>
                <c:pt idx="2736">
                  <c:v>45470</c:v>
                </c:pt>
                <c:pt idx="2737">
                  <c:v>45471</c:v>
                </c:pt>
                <c:pt idx="2738">
                  <c:v>45474</c:v>
                </c:pt>
                <c:pt idx="2739">
                  <c:v>45475</c:v>
                </c:pt>
                <c:pt idx="2740">
                  <c:v>45476</c:v>
                </c:pt>
                <c:pt idx="2741">
                  <c:v>45477</c:v>
                </c:pt>
                <c:pt idx="2742">
                  <c:v>45478</c:v>
                </c:pt>
                <c:pt idx="2743">
                  <c:v>45481</c:v>
                </c:pt>
                <c:pt idx="2744">
                  <c:v>45482</c:v>
                </c:pt>
                <c:pt idx="2745">
                  <c:v>45483</c:v>
                </c:pt>
                <c:pt idx="2746">
                  <c:v>45484</c:v>
                </c:pt>
                <c:pt idx="2747">
                  <c:v>45485</c:v>
                </c:pt>
                <c:pt idx="2748">
                  <c:v>45488</c:v>
                </c:pt>
                <c:pt idx="2749">
                  <c:v>45489</c:v>
                </c:pt>
                <c:pt idx="2750">
                  <c:v>45490</c:v>
                </c:pt>
                <c:pt idx="2751">
                  <c:v>45491</c:v>
                </c:pt>
                <c:pt idx="2752">
                  <c:v>45492</c:v>
                </c:pt>
                <c:pt idx="2753">
                  <c:v>45495</c:v>
                </c:pt>
                <c:pt idx="2754">
                  <c:v>45496</c:v>
                </c:pt>
                <c:pt idx="2755">
                  <c:v>45497</c:v>
                </c:pt>
                <c:pt idx="2756">
                  <c:v>45498</c:v>
                </c:pt>
                <c:pt idx="2757">
                  <c:v>45499</c:v>
                </c:pt>
                <c:pt idx="2758">
                  <c:v>45502</c:v>
                </c:pt>
                <c:pt idx="2759">
                  <c:v>45503</c:v>
                </c:pt>
                <c:pt idx="2760">
                  <c:v>45504</c:v>
                </c:pt>
                <c:pt idx="2761">
                  <c:v>45505</c:v>
                </c:pt>
                <c:pt idx="2762">
                  <c:v>45506</c:v>
                </c:pt>
                <c:pt idx="2763">
                  <c:v>45509</c:v>
                </c:pt>
                <c:pt idx="2764">
                  <c:v>45510</c:v>
                </c:pt>
                <c:pt idx="2765">
                  <c:v>45511</c:v>
                </c:pt>
                <c:pt idx="2766">
                  <c:v>45512</c:v>
                </c:pt>
                <c:pt idx="2767">
                  <c:v>45513</c:v>
                </c:pt>
                <c:pt idx="2768">
                  <c:v>45516</c:v>
                </c:pt>
                <c:pt idx="2769">
                  <c:v>45517</c:v>
                </c:pt>
                <c:pt idx="2770">
                  <c:v>45518</c:v>
                </c:pt>
                <c:pt idx="2771">
                  <c:v>45519</c:v>
                </c:pt>
                <c:pt idx="2772">
                  <c:v>45520</c:v>
                </c:pt>
                <c:pt idx="2773">
                  <c:v>45523</c:v>
                </c:pt>
                <c:pt idx="2774">
                  <c:v>45524</c:v>
                </c:pt>
                <c:pt idx="2775">
                  <c:v>45525</c:v>
                </c:pt>
                <c:pt idx="2776">
                  <c:v>45526</c:v>
                </c:pt>
                <c:pt idx="2777">
                  <c:v>45527</c:v>
                </c:pt>
                <c:pt idx="2778">
                  <c:v>45530</c:v>
                </c:pt>
                <c:pt idx="2779">
                  <c:v>45531</c:v>
                </c:pt>
                <c:pt idx="2780">
                  <c:v>45532</c:v>
                </c:pt>
                <c:pt idx="2781">
                  <c:v>45533</c:v>
                </c:pt>
                <c:pt idx="2782">
                  <c:v>45534</c:v>
                </c:pt>
                <c:pt idx="2783">
                  <c:v>45537</c:v>
                </c:pt>
                <c:pt idx="2784">
                  <c:v>45538</c:v>
                </c:pt>
                <c:pt idx="2785">
                  <c:v>45539</c:v>
                </c:pt>
                <c:pt idx="2786">
                  <c:v>45540</c:v>
                </c:pt>
                <c:pt idx="2787">
                  <c:v>45541</c:v>
                </c:pt>
                <c:pt idx="2788">
                  <c:v>45544</c:v>
                </c:pt>
                <c:pt idx="2789">
                  <c:v>45545</c:v>
                </c:pt>
                <c:pt idx="2790">
                  <c:v>45546</c:v>
                </c:pt>
                <c:pt idx="2791">
                  <c:v>45547</c:v>
                </c:pt>
                <c:pt idx="2792">
                  <c:v>45548</c:v>
                </c:pt>
                <c:pt idx="2793">
                  <c:v>45551</c:v>
                </c:pt>
                <c:pt idx="2794">
                  <c:v>45552</c:v>
                </c:pt>
                <c:pt idx="2795">
                  <c:v>45553</c:v>
                </c:pt>
                <c:pt idx="2796">
                  <c:v>45554</c:v>
                </c:pt>
                <c:pt idx="2797">
                  <c:v>45555</c:v>
                </c:pt>
                <c:pt idx="2798">
                  <c:v>45558</c:v>
                </c:pt>
                <c:pt idx="2799">
                  <c:v>45559</c:v>
                </c:pt>
                <c:pt idx="2800">
                  <c:v>45560</c:v>
                </c:pt>
                <c:pt idx="2801">
                  <c:v>45561</c:v>
                </c:pt>
                <c:pt idx="2802">
                  <c:v>45562</c:v>
                </c:pt>
                <c:pt idx="2803">
                  <c:v>45565</c:v>
                </c:pt>
                <c:pt idx="2804">
                  <c:v>45566</c:v>
                </c:pt>
                <c:pt idx="2805">
                  <c:v>45567</c:v>
                </c:pt>
                <c:pt idx="2806">
                  <c:v>45568</c:v>
                </c:pt>
                <c:pt idx="2807">
                  <c:v>45569</c:v>
                </c:pt>
                <c:pt idx="2808">
                  <c:v>45572</c:v>
                </c:pt>
                <c:pt idx="2809">
                  <c:v>45573</c:v>
                </c:pt>
                <c:pt idx="2810">
                  <c:v>45574</c:v>
                </c:pt>
                <c:pt idx="2811">
                  <c:v>45575</c:v>
                </c:pt>
                <c:pt idx="2812">
                  <c:v>45576</c:v>
                </c:pt>
                <c:pt idx="2813">
                  <c:v>45579</c:v>
                </c:pt>
                <c:pt idx="2814">
                  <c:v>45580</c:v>
                </c:pt>
                <c:pt idx="2815">
                  <c:v>45581</c:v>
                </c:pt>
                <c:pt idx="2816">
                  <c:v>45582</c:v>
                </c:pt>
                <c:pt idx="2817">
                  <c:v>45583</c:v>
                </c:pt>
                <c:pt idx="2818">
                  <c:v>45586</c:v>
                </c:pt>
                <c:pt idx="2819">
                  <c:v>45587</c:v>
                </c:pt>
                <c:pt idx="2820">
                  <c:v>45588</c:v>
                </c:pt>
                <c:pt idx="2821">
                  <c:v>45589</c:v>
                </c:pt>
                <c:pt idx="2822">
                  <c:v>45590</c:v>
                </c:pt>
                <c:pt idx="2823">
                  <c:v>45593</c:v>
                </c:pt>
                <c:pt idx="2824">
                  <c:v>45594</c:v>
                </c:pt>
                <c:pt idx="2825">
                  <c:v>45595</c:v>
                </c:pt>
                <c:pt idx="2826">
                  <c:v>45596</c:v>
                </c:pt>
                <c:pt idx="2827">
                  <c:v>45597</c:v>
                </c:pt>
                <c:pt idx="2828">
                  <c:v>45600</c:v>
                </c:pt>
                <c:pt idx="2829">
                  <c:v>45601</c:v>
                </c:pt>
                <c:pt idx="2830">
                  <c:v>45602</c:v>
                </c:pt>
                <c:pt idx="2831">
                  <c:v>45603</c:v>
                </c:pt>
                <c:pt idx="2832">
                  <c:v>45604</c:v>
                </c:pt>
                <c:pt idx="2833">
                  <c:v>45607</c:v>
                </c:pt>
                <c:pt idx="2834">
                  <c:v>45608</c:v>
                </c:pt>
                <c:pt idx="2835">
                  <c:v>45609</c:v>
                </c:pt>
                <c:pt idx="2836">
                  <c:v>45610</c:v>
                </c:pt>
                <c:pt idx="2837">
                  <c:v>45611</c:v>
                </c:pt>
                <c:pt idx="2838">
                  <c:v>45614</c:v>
                </c:pt>
                <c:pt idx="2839">
                  <c:v>45615</c:v>
                </c:pt>
                <c:pt idx="2840">
                  <c:v>45616</c:v>
                </c:pt>
                <c:pt idx="2841">
                  <c:v>45617</c:v>
                </c:pt>
                <c:pt idx="2842">
                  <c:v>45618</c:v>
                </c:pt>
                <c:pt idx="2843">
                  <c:v>45621</c:v>
                </c:pt>
              </c:numCache>
            </c:numRef>
          </c:cat>
          <c:val>
            <c:numRef>
              <c:f>'Sheet1 (2)'!$N$4:$N$2847</c:f>
              <c:numCache>
                <c:formatCode>General</c:formatCode>
                <c:ptCount val="2844"/>
                <c:pt idx="0">
                  <c:v>1.9410000000000001</c:v>
                </c:pt>
                <c:pt idx="1">
                  <c:v>1.944</c:v>
                </c:pt>
                <c:pt idx="2">
                  <c:v>1.944</c:v>
                </c:pt>
                <c:pt idx="3">
                  <c:v>1.9059999999999999</c:v>
                </c:pt>
                <c:pt idx="4">
                  <c:v>1.9059999999999999</c:v>
                </c:pt>
                <c:pt idx="5">
                  <c:v>1.9039999999999999</c:v>
                </c:pt>
                <c:pt idx="6">
                  <c:v>1.91</c:v>
                </c:pt>
                <c:pt idx="7">
                  <c:v>1.8460000000000001</c:v>
                </c:pt>
                <c:pt idx="8">
                  <c:v>1.8169999999999999</c:v>
                </c:pt>
                <c:pt idx="9">
                  <c:v>1.8140000000000001</c:v>
                </c:pt>
                <c:pt idx="10">
                  <c:v>1.827</c:v>
                </c:pt>
                <c:pt idx="11">
                  <c:v>1.776</c:v>
                </c:pt>
                <c:pt idx="12">
                  <c:v>1.7549999999999999</c:v>
                </c:pt>
                <c:pt idx="13">
                  <c:v>1.74</c:v>
                </c:pt>
                <c:pt idx="14">
                  <c:v>1.744</c:v>
                </c:pt>
                <c:pt idx="15">
                  <c:v>1.7549999999999999</c:v>
                </c:pt>
                <c:pt idx="16">
                  <c:v>1.7170000000000001</c:v>
                </c:pt>
                <c:pt idx="17">
                  <c:v>1.655</c:v>
                </c:pt>
                <c:pt idx="18">
                  <c:v>1.671</c:v>
                </c:pt>
                <c:pt idx="19">
                  <c:v>1.677</c:v>
                </c:pt>
                <c:pt idx="20">
                  <c:v>1.645</c:v>
                </c:pt>
                <c:pt idx="21">
                  <c:v>1.712</c:v>
                </c:pt>
                <c:pt idx="22">
                  <c:v>1.657</c:v>
                </c:pt>
                <c:pt idx="23">
                  <c:v>1.647</c:v>
                </c:pt>
                <c:pt idx="24">
                  <c:v>1.649</c:v>
                </c:pt>
                <c:pt idx="25">
                  <c:v>1.641</c:v>
                </c:pt>
                <c:pt idx="26">
                  <c:v>1.694</c:v>
                </c:pt>
                <c:pt idx="27">
                  <c:v>1.661</c:v>
                </c:pt>
                <c:pt idx="28">
                  <c:v>1.6830000000000001</c:v>
                </c:pt>
                <c:pt idx="29">
                  <c:v>1.6870000000000001</c:v>
                </c:pt>
                <c:pt idx="30">
                  <c:v>1.724</c:v>
                </c:pt>
                <c:pt idx="31">
                  <c:v>1.671</c:v>
                </c:pt>
                <c:pt idx="32">
                  <c:v>1.6870000000000001</c:v>
                </c:pt>
                <c:pt idx="33">
                  <c:v>1.6870000000000001</c:v>
                </c:pt>
                <c:pt idx="34">
                  <c:v>1.6739999999999999</c:v>
                </c:pt>
                <c:pt idx="35">
                  <c:v>1.663</c:v>
                </c:pt>
                <c:pt idx="36">
                  <c:v>1.6930000000000001</c:v>
                </c:pt>
                <c:pt idx="37">
                  <c:v>1.665</c:v>
                </c:pt>
                <c:pt idx="38">
                  <c:v>1.679</c:v>
                </c:pt>
                <c:pt idx="39">
                  <c:v>1.651</c:v>
                </c:pt>
                <c:pt idx="40">
                  <c:v>1.615</c:v>
                </c:pt>
                <c:pt idx="41">
                  <c:v>1.5680000000000001</c:v>
                </c:pt>
                <c:pt idx="42">
                  <c:v>1.627</c:v>
                </c:pt>
                <c:pt idx="43">
                  <c:v>1.5629999999999999</c:v>
                </c:pt>
                <c:pt idx="44">
                  <c:v>1.6</c:v>
                </c:pt>
                <c:pt idx="45">
                  <c:v>1.6020000000000001</c:v>
                </c:pt>
                <c:pt idx="46">
                  <c:v>1.6519999999999999</c:v>
                </c:pt>
                <c:pt idx="47">
                  <c:v>1.6519999999999999</c:v>
                </c:pt>
                <c:pt idx="48">
                  <c:v>1.627</c:v>
                </c:pt>
                <c:pt idx="49">
                  <c:v>1.64</c:v>
                </c:pt>
                <c:pt idx="50">
                  <c:v>1.5960000000000001</c:v>
                </c:pt>
                <c:pt idx="51">
                  <c:v>1.5489999999999999</c:v>
                </c:pt>
                <c:pt idx="52">
                  <c:v>1.5449999999999999</c:v>
                </c:pt>
                <c:pt idx="53">
                  <c:v>1.5669999999999999</c:v>
                </c:pt>
                <c:pt idx="54">
                  <c:v>1.57</c:v>
                </c:pt>
                <c:pt idx="55">
                  <c:v>1.5980000000000001</c:v>
                </c:pt>
                <c:pt idx="56">
                  <c:v>1.65</c:v>
                </c:pt>
                <c:pt idx="57">
                  <c:v>1.6339999999999999</c:v>
                </c:pt>
                <c:pt idx="58">
                  <c:v>1.585</c:v>
                </c:pt>
                <c:pt idx="59">
                  <c:v>1.5740000000000001</c:v>
                </c:pt>
                <c:pt idx="60">
                  <c:v>1.569</c:v>
                </c:pt>
                <c:pt idx="61">
                  <c:v>1.5349999999999999</c:v>
                </c:pt>
                <c:pt idx="62">
                  <c:v>1.5509999999999999</c:v>
                </c:pt>
                <c:pt idx="63">
                  <c:v>1.57</c:v>
                </c:pt>
                <c:pt idx="64">
                  <c:v>1.581</c:v>
                </c:pt>
                <c:pt idx="65">
                  <c:v>1.6180000000000001</c:v>
                </c:pt>
                <c:pt idx="66">
                  <c:v>1.605</c:v>
                </c:pt>
                <c:pt idx="67">
                  <c:v>1.552</c:v>
                </c:pt>
                <c:pt idx="68">
                  <c:v>1.542</c:v>
                </c:pt>
                <c:pt idx="69">
                  <c:v>1.5589999999999999</c:v>
                </c:pt>
                <c:pt idx="70">
                  <c:v>1.579</c:v>
                </c:pt>
                <c:pt idx="71">
                  <c:v>1.524</c:v>
                </c:pt>
                <c:pt idx="72">
                  <c:v>1.506</c:v>
                </c:pt>
                <c:pt idx="73">
                  <c:v>1.53</c:v>
                </c:pt>
                <c:pt idx="74">
                  <c:v>1.4750000000000001</c:v>
                </c:pt>
                <c:pt idx="75">
                  <c:v>1.486</c:v>
                </c:pt>
                <c:pt idx="76">
                  <c:v>1.5149999999999999</c:v>
                </c:pt>
                <c:pt idx="77">
                  <c:v>1.5149999999999999</c:v>
                </c:pt>
                <c:pt idx="78">
                  <c:v>1.5149999999999999</c:v>
                </c:pt>
                <c:pt idx="79">
                  <c:v>1.5429999999999999</c:v>
                </c:pt>
                <c:pt idx="80">
                  <c:v>1.5189999999999999</c:v>
                </c:pt>
                <c:pt idx="81">
                  <c:v>1.5329999999999999</c:v>
                </c:pt>
                <c:pt idx="82">
                  <c:v>1.4850000000000001</c:v>
                </c:pt>
                <c:pt idx="83">
                  <c:v>1.5</c:v>
                </c:pt>
                <c:pt idx="84">
                  <c:v>1.5069999999999999</c:v>
                </c:pt>
                <c:pt idx="85">
                  <c:v>1.47</c:v>
                </c:pt>
                <c:pt idx="86">
                  <c:v>1.47</c:v>
                </c:pt>
                <c:pt idx="87">
                  <c:v>1.452</c:v>
                </c:pt>
                <c:pt idx="88">
                  <c:v>1.46</c:v>
                </c:pt>
                <c:pt idx="89">
                  <c:v>1.4630000000000001</c:v>
                </c:pt>
                <c:pt idx="90">
                  <c:v>1.472</c:v>
                </c:pt>
                <c:pt idx="91">
                  <c:v>1.444</c:v>
                </c:pt>
                <c:pt idx="92">
                  <c:v>1.4590000000000001</c:v>
                </c:pt>
                <c:pt idx="93">
                  <c:v>1.464</c:v>
                </c:pt>
                <c:pt idx="94">
                  <c:v>1.425</c:v>
                </c:pt>
                <c:pt idx="95">
                  <c:v>1.377</c:v>
                </c:pt>
                <c:pt idx="96">
                  <c:v>1.3080000000000001</c:v>
                </c:pt>
                <c:pt idx="97">
                  <c:v>1.3360000000000001</c:v>
                </c:pt>
                <c:pt idx="98">
                  <c:v>1.34</c:v>
                </c:pt>
                <c:pt idx="99">
                  <c:v>1.355</c:v>
                </c:pt>
                <c:pt idx="100">
                  <c:v>1.3740000000000001</c:v>
                </c:pt>
                <c:pt idx="101">
                  <c:v>1.41</c:v>
                </c:pt>
                <c:pt idx="102">
                  <c:v>1.413</c:v>
                </c:pt>
                <c:pt idx="103">
                  <c:v>1.415</c:v>
                </c:pt>
                <c:pt idx="104">
                  <c:v>1.393</c:v>
                </c:pt>
                <c:pt idx="105">
                  <c:v>1.3360000000000001</c:v>
                </c:pt>
                <c:pt idx="106">
                  <c:v>1.3520000000000001</c:v>
                </c:pt>
                <c:pt idx="107">
                  <c:v>1.355</c:v>
                </c:pt>
                <c:pt idx="108">
                  <c:v>1.3680000000000001</c:v>
                </c:pt>
                <c:pt idx="109">
                  <c:v>1.411</c:v>
                </c:pt>
                <c:pt idx="110">
                  <c:v>1.4379999999999999</c:v>
                </c:pt>
                <c:pt idx="111">
                  <c:v>1.417</c:v>
                </c:pt>
                <c:pt idx="112">
                  <c:v>1.359</c:v>
                </c:pt>
                <c:pt idx="113">
                  <c:v>1.38</c:v>
                </c:pt>
                <c:pt idx="114">
                  <c:v>1.411</c:v>
                </c:pt>
                <c:pt idx="115">
                  <c:v>1.3959999999999999</c:v>
                </c:pt>
                <c:pt idx="116">
                  <c:v>1.387</c:v>
                </c:pt>
                <c:pt idx="117">
                  <c:v>1.3720000000000001</c:v>
                </c:pt>
                <c:pt idx="118">
                  <c:v>1.3540000000000001</c:v>
                </c:pt>
                <c:pt idx="119">
                  <c:v>1.405</c:v>
                </c:pt>
                <c:pt idx="120">
                  <c:v>1.3740000000000001</c:v>
                </c:pt>
                <c:pt idx="121">
                  <c:v>1.3260000000000001</c:v>
                </c:pt>
                <c:pt idx="122">
                  <c:v>1.3480000000000001</c:v>
                </c:pt>
                <c:pt idx="123">
                  <c:v>1.325</c:v>
                </c:pt>
                <c:pt idx="124">
                  <c:v>1.321</c:v>
                </c:pt>
                <c:pt idx="125">
                  <c:v>1.2649999999999999</c:v>
                </c:pt>
                <c:pt idx="126">
                  <c:v>1.2430000000000001</c:v>
                </c:pt>
                <c:pt idx="127">
                  <c:v>1.2629999999999999</c:v>
                </c:pt>
                <c:pt idx="128">
                  <c:v>1.252</c:v>
                </c:pt>
                <c:pt idx="129">
                  <c:v>1.2490000000000001</c:v>
                </c:pt>
                <c:pt idx="130">
                  <c:v>1.2849999999999999</c:v>
                </c:pt>
                <c:pt idx="131">
                  <c:v>1.2949999999999999</c:v>
                </c:pt>
                <c:pt idx="132">
                  <c:v>1.2649999999999999</c:v>
                </c:pt>
                <c:pt idx="133">
                  <c:v>1.258</c:v>
                </c:pt>
                <c:pt idx="134">
                  <c:v>1.2230000000000001</c:v>
                </c:pt>
                <c:pt idx="135">
                  <c:v>1.232</c:v>
                </c:pt>
                <c:pt idx="136">
                  <c:v>1.2</c:v>
                </c:pt>
                <c:pt idx="137">
                  <c:v>1.204</c:v>
                </c:pt>
                <c:pt idx="138">
                  <c:v>1.2110000000000001</c:v>
                </c:pt>
                <c:pt idx="139">
                  <c:v>1.208</c:v>
                </c:pt>
                <c:pt idx="140">
                  <c:v>1.196</c:v>
                </c:pt>
                <c:pt idx="141">
                  <c:v>1.1539999999999999</c:v>
                </c:pt>
                <c:pt idx="142">
                  <c:v>1.159</c:v>
                </c:pt>
                <c:pt idx="143">
                  <c:v>1.147</c:v>
                </c:pt>
                <c:pt idx="144">
                  <c:v>1.173</c:v>
                </c:pt>
                <c:pt idx="145">
                  <c:v>1.1479999999999999</c:v>
                </c:pt>
                <c:pt idx="146">
                  <c:v>1.179</c:v>
                </c:pt>
                <c:pt idx="147">
                  <c:v>1.147</c:v>
                </c:pt>
                <c:pt idx="148">
                  <c:v>1.1519999999999999</c:v>
                </c:pt>
                <c:pt idx="149">
                  <c:v>1.1200000000000001</c:v>
                </c:pt>
                <c:pt idx="150">
                  <c:v>1.1679999999999999</c:v>
                </c:pt>
                <c:pt idx="151">
                  <c:v>1.1659999999999999</c:v>
                </c:pt>
                <c:pt idx="152">
                  <c:v>1.139</c:v>
                </c:pt>
                <c:pt idx="153">
                  <c:v>1.1339999999999999</c:v>
                </c:pt>
                <c:pt idx="154">
                  <c:v>1.1759999999999999</c:v>
                </c:pt>
                <c:pt idx="155">
                  <c:v>1.1040000000000001</c:v>
                </c:pt>
                <c:pt idx="156">
                  <c:v>1.071</c:v>
                </c:pt>
                <c:pt idx="157">
                  <c:v>1.054</c:v>
                </c:pt>
                <c:pt idx="158">
                  <c:v>1.0649999999999999</c:v>
                </c:pt>
                <c:pt idx="159">
                  <c:v>1.0620000000000001</c:v>
                </c:pt>
                <c:pt idx="160">
                  <c:v>1.03</c:v>
                </c:pt>
                <c:pt idx="161">
                  <c:v>1.0169999999999999</c:v>
                </c:pt>
                <c:pt idx="162">
                  <c:v>0.96699999999999997</c:v>
                </c:pt>
                <c:pt idx="163">
                  <c:v>1.014</c:v>
                </c:pt>
                <c:pt idx="164">
                  <c:v>1.004</c:v>
                </c:pt>
                <c:pt idx="165">
                  <c:v>0.98599999999999999</c:v>
                </c:pt>
                <c:pt idx="166">
                  <c:v>0.996</c:v>
                </c:pt>
                <c:pt idx="167">
                  <c:v>0.98699999999999999</c:v>
                </c:pt>
                <c:pt idx="168">
                  <c:v>0.95299999999999996</c:v>
                </c:pt>
                <c:pt idx="169">
                  <c:v>0.94399999999999995</c:v>
                </c:pt>
                <c:pt idx="170">
                  <c:v>0.90800000000000003</c:v>
                </c:pt>
                <c:pt idx="171">
                  <c:v>0.88600000000000001</c:v>
                </c:pt>
                <c:pt idx="172">
                  <c:v>0.88800000000000001</c:v>
                </c:pt>
                <c:pt idx="173">
                  <c:v>0.88400000000000001</c:v>
                </c:pt>
                <c:pt idx="174">
                  <c:v>0.93</c:v>
                </c:pt>
                <c:pt idx="175">
                  <c:v>0.95799999999999996</c:v>
                </c:pt>
                <c:pt idx="176">
                  <c:v>0.96499999999999997</c:v>
                </c:pt>
                <c:pt idx="177">
                  <c:v>0.93400000000000005</c:v>
                </c:pt>
                <c:pt idx="178">
                  <c:v>0.94299999999999995</c:v>
                </c:pt>
                <c:pt idx="179">
                  <c:v>1.002</c:v>
                </c:pt>
                <c:pt idx="180">
                  <c:v>1</c:v>
                </c:pt>
                <c:pt idx="181">
                  <c:v>1.05</c:v>
                </c:pt>
                <c:pt idx="182">
                  <c:v>1.0860000000000001</c:v>
                </c:pt>
                <c:pt idx="183">
                  <c:v>1.069</c:v>
                </c:pt>
                <c:pt idx="184">
                  <c:v>1.0649999999999999</c:v>
                </c:pt>
                <c:pt idx="185">
                  <c:v>1.0549999999999999</c:v>
                </c:pt>
                <c:pt idx="186">
                  <c:v>1.087</c:v>
                </c:pt>
                <c:pt idx="187">
                  <c:v>1.0449999999999999</c:v>
                </c:pt>
                <c:pt idx="188">
                  <c:v>1.018</c:v>
                </c:pt>
                <c:pt idx="189">
                  <c:v>1.012</c:v>
                </c:pt>
                <c:pt idx="190">
                  <c:v>1.01</c:v>
                </c:pt>
                <c:pt idx="191">
                  <c:v>0.97899999999999998</c:v>
                </c:pt>
                <c:pt idx="192">
                  <c:v>0.96799999999999997</c:v>
                </c:pt>
                <c:pt idx="193">
                  <c:v>0.96499999999999997</c:v>
                </c:pt>
                <c:pt idx="194">
                  <c:v>0.94599999999999995</c:v>
                </c:pt>
                <c:pt idx="195">
                  <c:v>0.90600000000000003</c:v>
                </c:pt>
                <c:pt idx="196">
                  <c:v>0.91400000000000003</c:v>
                </c:pt>
                <c:pt idx="197">
                  <c:v>0.93200000000000005</c:v>
                </c:pt>
                <c:pt idx="198">
                  <c:v>0.91</c:v>
                </c:pt>
                <c:pt idx="199">
                  <c:v>0.90600000000000003</c:v>
                </c:pt>
                <c:pt idx="200">
                  <c:v>0.90400000000000003</c:v>
                </c:pt>
                <c:pt idx="201">
                  <c:v>0.90400000000000003</c:v>
                </c:pt>
                <c:pt idx="202">
                  <c:v>0.89300000000000002</c:v>
                </c:pt>
                <c:pt idx="203">
                  <c:v>0.89400000000000002</c:v>
                </c:pt>
                <c:pt idx="204">
                  <c:v>0.84</c:v>
                </c:pt>
                <c:pt idx="205">
                  <c:v>0.76700000000000002</c:v>
                </c:pt>
                <c:pt idx="206">
                  <c:v>0.82199999999999995</c:v>
                </c:pt>
                <c:pt idx="207">
                  <c:v>0.86399999999999999</c:v>
                </c:pt>
                <c:pt idx="208">
                  <c:v>0.85299999999999998</c:v>
                </c:pt>
                <c:pt idx="209">
                  <c:v>0.873</c:v>
                </c:pt>
                <c:pt idx="210">
                  <c:v>0.86699999999999999</c:v>
                </c:pt>
                <c:pt idx="211">
                  <c:v>0.89400000000000002</c:v>
                </c:pt>
                <c:pt idx="212">
                  <c:v>0.88800000000000001</c:v>
                </c:pt>
                <c:pt idx="213">
                  <c:v>0.875</c:v>
                </c:pt>
                <c:pt idx="214">
                  <c:v>0.877</c:v>
                </c:pt>
                <c:pt idx="215">
                  <c:v>0.89100000000000001</c:v>
                </c:pt>
                <c:pt idx="216">
                  <c:v>0.85</c:v>
                </c:pt>
                <c:pt idx="217">
                  <c:v>0.84699999999999998</c:v>
                </c:pt>
                <c:pt idx="218">
                  <c:v>0.86</c:v>
                </c:pt>
                <c:pt idx="219">
                  <c:v>0.81200000000000006</c:v>
                </c:pt>
                <c:pt idx="220">
                  <c:v>0.82799999999999996</c:v>
                </c:pt>
                <c:pt idx="221">
                  <c:v>0.83099999999999996</c:v>
                </c:pt>
                <c:pt idx="222">
                  <c:v>0.82599999999999996</c:v>
                </c:pt>
                <c:pt idx="223">
                  <c:v>0.82699999999999996</c:v>
                </c:pt>
                <c:pt idx="224">
                  <c:v>0.83099999999999996</c:v>
                </c:pt>
                <c:pt idx="225">
                  <c:v>0.81200000000000006</c:v>
                </c:pt>
                <c:pt idx="226">
                  <c:v>0.80100000000000005</c:v>
                </c:pt>
                <c:pt idx="227">
                  <c:v>0.79100000000000004</c:v>
                </c:pt>
                <c:pt idx="228">
                  <c:v>0.79900000000000004</c:v>
                </c:pt>
                <c:pt idx="229">
                  <c:v>0.80200000000000005</c:v>
                </c:pt>
                <c:pt idx="230">
                  <c:v>0.84599999999999997</c:v>
                </c:pt>
                <c:pt idx="231">
                  <c:v>0.8</c:v>
                </c:pt>
                <c:pt idx="232">
                  <c:v>0.77</c:v>
                </c:pt>
                <c:pt idx="233">
                  <c:v>0.78100000000000003</c:v>
                </c:pt>
                <c:pt idx="234">
                  <c:v>0.751</c:v>
                </c:pt>
                <c:pt idx="235">
                  <c:v>0.73399999999999999</c:v>
                </c:pt>
                <c:pt idx="236">
                  <c:v>0.70599999999999996</c:v>
                </c:pt>
                <c:pt idx="237">
                  <c:v>0.70199999999999996</c:v>
                </c:pt>
                <c:pt idx="238">
                  <c:v>0.72899999999999998</c:v>
                </c:pt>
                <c:pt idx="239">
                  <c:v>0.747</c:v>
                </c:pt>
                <c:pt idx="240">
                  <c:v>0.746</c:v>
                </c:pt>
                <c:pt idx="241">
                  <c:v>0.77</c:v>
                </c:pt>
                <c:pt idx="242">
                  <c:v>0.78300000000000003</c:v>
                </c:pt>
                <c:pt idx="243">
                  <c:v>0.71699999999999997</c:v>
                </c:pt>
                <c:pt idx="244">
                  <c:v>0.69199999999999995</c:v>
                </c:pt>
                <c:pt idx="245">
                  <c:v>0.68100000000000005</c:v>
                </c:pt>
                <c:pt idx="246">
                  <c:v>0.68</c:v>
                </c:pt>
                <c:pt idx="247">
                  <c:v>0.626</c:v>
                </c:pt>
                <c:pt idx="248">
                  <c:v>0.629</c:v>
                </c:pt>
                <c:pt idx="249">
                  <c:v>0.60399999999999998</c:v>
                </c:pt>
                <c:pt idx="250">
                  <c:v>0.59099999999999997</c:v>
                </c:pt>
                <c:pt idx="251">
                  <c:v>0.61399999999999999</c:v>
                </c:pt>
                <c:pt idx="252">
                  <c:v>0.59399999999999997</c:v>
                </c:pt>
                <c:pt idx="253">
                  <c:v>0.60399999999999998</c:v>
                </c:pt>
                <c:pt idx="254">
                  <c:v>0.59499999999999997</c:v>
                </c:pt>
                <c:pt idx="255">
                  <c:v>0.59499999999999997</c:v>
                </c:pt>
                <c:pt idx="256">
                  <c:v>0.59499999999999997</c:v>
                </c:pt>
                <c:pt idx="257">
                  <c:v>0.59499999999999997</c:v>
                </c:pt>
                <c:pt idx="258">
                  <c:v>0.55200000000000005</c:v>
                </c:pt>
                <c:pt idx="259">
                  <c:v>0.54100000000000004</c:v>
                </c:pt>
                <c:pt idx="260">
                  <c:v>0.54100000000000004</c:v>
                </c:pt>
                <c:pt idx="261">
                  <c:v>0.54100000000000004</c:v>
                </c:pt>
                <c:pt idx="262">
                  <c:v>0.498</c:v>
                </c:pt>
                <c:pt idx="263">
                  <c:v>0.51300000000000001</c:v>
                </c:pt>
                <c:pt idx="264">
                  <c:v>0.45300000000000001</c:v>
                </c:pt>
                <c:pt idx="265">
                  <c:v>0.47099999999999997</c:v>
                </c:pt>
                <c:pt idx="266">
                  <c:v>0.51200000000000001</c:v>
                </c:pt>
                <c:pt idx="267">
                  <c:v>0.48099999999999998</c:v>
                </c:pt>
                <c:pt idx="268">
                  <c:v>0.48099999999999998</c:v>
                </c:pt>
                <c:pt idx="269">
                  <c:v>0.47699999999999998</c:v>
                </c:pt>
                <c:pt idx="270">
                  <c:v>0.43099999999999999</c:v>
                </c:pt>
                <c:pt idx="271">
                  <c:v>0.47499999999999998</c:v>
                </c:pt>
                <c:pt idx="272">
                  <c:v>0.45800000000000002</c:v>
                </c:pt>
                <c:pt idx="273">
                  <c:v>0.441</c:v>
                </c:pt>
                <c:pt idx="274">
                  <c:v>0.45</c:v>
                </c:pt>
                <c:pt idx="275">
                  <c:v>0.51900000000000002</c:v>
                </c:pt>
                <c:pt idx="276">
                  <c:v>0.45400000000000001</c:v>
                </c:pt>
                <c:pt idx="277">
                  <c:v>0.36599999999999999</c:v>
                </c:pt>
                <c:pt idx="278">
                  <c:v>0.39300000000000002</c:v>
                </c:pt>
                <c:pt idx="279">
                  <c:v>0.38600000000000001</c:v>
                </c:pt>
                <c:pt idx="280">
                  <c:v>0.35599999999999998</c:v>
                </c:pt>
                <c:pt idx="281">
                  <c:v>0.35799999999999998</c:v>
                </c:pt>
                <c:pt idx="282">
                  <c:v>0.314</c:v>
                </c:pt>
                <c:pt idx="283">
                  <c:v>0.314</c:v>
                </c:pt>
                <c:pt idx="284">
                  <c:v>0.34699999999999998</c:v>
                </c:pt>
                <c:pt idx="285">
                  <c:v>0.36699999999999999</c:v>
                </c:pt>
                <c:pt idx="286">
                  <c:v>0.378</c:v>
                </c:pt>
                <c:pt idx="287">
                  <c:v>0.374</c:v>
                </c:pt>
                <c:pt idx="288">
                  <c:v>0.35399999999999998</c:v>
                </c:pt>
                <c:pt idx="289">
                  <c:v>0.37</c:v>
                </c:pt>
                <c:pt idx="290">
                  <c:v>0.35799999999999998</c:v>
                </c:pt>
                <c:pt idx="291">
                  <c:v>0.32500000000000001</c:v>
                </c:pt>
                <c:pt idx="292">
                  <c:v>0.34899999999999998</c:v>
                </c:pt>
                <c:pt idx="293">
                  <c:v>0.34699999999999998</c:v>
                </c:pt>
                <c:pt idx="294">
                  <c:v>0.37</c:v>
                </c:pt>
                <c:pt idx="295">
                  <c:v>0.38300000000000001</c:v>
                </c:pt>
                <c:pt idx="296">
                  <c:v>0.38800000000000001</c:v>
                </c:pt>
                <c:pt idx="297">
                  <c:v>0.372</c:v>
                </c:pt>
                <c:pt idx="298">
                  <c:v>0.36599999999999999</c:v>
                </c:pt>
                <c:pt idx="299">
                  <c:v>0.374</c:v>
                </c:pt>
                <c:pt idx="300">
                  <c:v>0.33100000000000002</c:v>
                </c:pt>
                <c:pt idx="301">
                  <c:v>0.30199999999999999</c:v>
                </c:pt>
                <c:pt idx="302">
                  <c:v>0.32400000000000001</c:v>
                </c:pt>
                <c:pt idx="303">
                  <c:v>0.35499999999999998</c:v>
                </c:pt>
                <c:pt idx="304">
                  <c:v>0.36499999999999999</c:v>
                </c:pt>
                <c:pt idx="305">
                  <c:v>0.38100000000000001</c:v>
                </c:pt>
                <c:pt idx="306">
                  <c:v>0.35699999999999998</c:v>
                </c:pt>
                <c:pt idx="307">
                  <c:v>0.4</c:v>
                </c:pt>
                <c:pt idx="308">
                  <c:v>0.31</c:v>
                </c:pt>
                <c:pt idx="309">
                  <c:v>0.23699999999999999</c:v>
                </c:pt>
                <c:pt idx="310">
                  <c:v>0.20300000000000001</c:v>
                </c:pt>
                <c:pt idx="311">
                  <c:v>0.249</c:v>
                </c:pt>
                <c:pt idx="312">
                  <c:v>0.25900000000000001</c:v>
                </c:pt>
                <c:pt idx="313">
                  <c:v>0.27800000000000002</c:v>
                </c:pt>
                <c:pt idx="314">
                  <c:v>0.28100000000000003</c:v>
                </c:pt>
                <c:pt idx="315">
                  <c:v>0.19500000000000001</c:v>
                </c:pt>
                <c:pt idx="316">
                  <c:v>0.188</c:v>
                </c:pt>
                <c:pt idx="317">
                  <c:v>0.186</c:v>
                </c:pt>
                <c:pt idx="318">
                  <c:v>0.221</c:v>
                </c:pt>
                <c:pt idx="319">
                  <c:v>0.23499999999999999</c:v>
                </c:pt>
                <c:pt idx="320">
                  <c:v>0.22</c:v>
                </c:pt>
                <c:pt idx="321">
                  <c:v>0.217</c:v>
                </c:pt>
                <c:pt idx="322">
                  <c:v>0.20899999999999999</c:v>
                </c:pt>
                <c:pt idx="323">
                  <c:v>0.214</c:v>
                </c:pt>
                <c:pt idx="324">
                  <c:v>0.185</c:v>
                </c:pt>
                <c:pt idx="325">
                  <c:v>0.17199999999999999</c:v>
                </c:pt>
                <c:pt idx="326">
                  <c:v>0.183</c:v>
                </c:pt>
                <c:pt idx="327">
                  <c:v>0.183</c:v>
                </c:pt>
                <c:pt idx="328">
                  <c:v>0.183</c:v>
                </c:pt>
                <c:pt idx="329">
                  <c:v>0.187</c:v>
                </c:pt>
                <c:pt idx="330">
                  <c:v>0.16800000000000001</c:v>
                </c:pt>
                <c:pt idx="331">
                  <c:v>0.159</c:v>
                </c:pt>
                <c:pt idx="332">
                  <c:v>0.156</c:v>
                </c:pt>
                <c:pt idx="333">
                  <c:v>0.157</c:v>
                </c:pt>
                <c:pt idx="334">
                  <c:v>0.14000000000000001</c:v>
                </c:pt>
                <c:pt idx="335">
                  <c:v>0.109</c:v>
                </c:pt>
                <c:pt idx="336">
                  <c:v>8.5000000000000006E-2</c:v>
                </c:pt>
                <c:pt idx="337">
                  <c:v>7.9000000000000001E-2</c:v>
                </c:pt>
                <c:pt idx="338">
                  <c:v>7.6999999999999999E-2</c:v>
                </c:pt>
                <c:pt idx="339">
                  <c:v>0.10299999999999999</c:v>
                </c:pt>
                <c:pt idx="340">
                  <c:v>0.16</c:v>
                </c:pt>
                <c:pt idx="341">
                  <c:v>0.16200000000000001</c:v>
                </c:pt>
                <c:pt idx="342">
                  <c:v>0.157</c:v>
                </c:pt>
                <c:pt idx="343">
                  <c:v>0.16400000000000001</c:v>
                </c:pt>
                <c:pt idx="344">
                  <c:v>0.16300000000000001</c:v>
                </c:pt>
                <c:pt idx="345">
                  <c:v>0.28399999999999997</c:v>
                </c:pt>
                <c:pt idx="346">
                  <c:v>0.36299999999999999</c:v>
                </c:pt>
                <c:pt idx="347">
                  <c:v>0.36299999999999999</c:v>
                </c:pt>
                <c:pt idx="348">
                  <c:v>0.45300000000000001</c:v>
                </c:pt>
                <c:pt idx="349">
                  <c:v>0.51700000000000002</c:v>
                </c:pt>
                <c:pt idx="350">
                  <c:v>0.58699999999999997</c:v>
                </c:pt>
                <c:pt idx="351">
                  <c:v>0.59599999999999997</c:v>
                </c:pt>
                <c:pt idx="352">
                  <c:v>0.54500000000000004</c:v>
                </c:pt>
                <c:pt idx="353">
                  <c:v>0.59899999999999998</c:v>
                </c:pt>
                <c:pt idx="354">
                  <c:v>0.68</c:v>
                </c:pt>
                <c:pt idx="355">
                  <c:v>0.72</c:v>
                </c:pt>
                <c:pt idx="356">
                  <c:v>0.7</c:v>
                </c:pt>
                <c:pt idx="357">
                  <c:v>0.64</c:v>
                </c:pt>
                <c:pt idx="358">
                  <c:v>0.64900000000000002</c:v>
                </c:pt>
                <c:pt idx="359">
                  <c:v>0.61299999999999999</c:v>
                </c:pt>
                <c:pt idx="360">
                  <c:v>0.627</c:v>
                </c:pt>
                <c:pt idx="361">
                  <c:v>0.63400000000000001</c:v>
                </c:pt>
                <c:pt idx="362">
                  <c:v>0.60299999999999998</c:v>
                </c:pt>
                <c:pt idx="363">
                  <c:v>0.60299999999999998</c:v>
                </c:pt>
                <c:pt idx="364">
                  <c:v>0.55400000000000005</c:v>
                </c:pt>
                <c:pt idx="365">
                  <c:v>0.54700000000000004</c:v>
                </c:pt>
                <c:pt idx="366">
                  <c:v>0.53600000000000003</c:v>
                </c:pt>
                <c:pt idx="367">
                  <c:v>0.48599999999999999</c:v>
                </c:pt>
                <c:pt idx="368">
                  <c:v>0.53100000000000003</c:v>
                </c:pt>
                <c:pt idx="369">
                  <c:v>0.69699999999999995</c:v>
                </c:pt>
                <c:pt idx="370">
                  <c:v>0.878</c:v>
                </c:pt>
                <c:pt idx="371">
                  <c:v>0.83199999999999996</c:v>
                </c:pt>
                <c:pt idx="372">
                  <c:v>0.85</c:v>
                </c:pt>
                <c:pt idx="373">
                  <c:v>0.89</c:v>
                </c:pt>
                <c:pt idx="374">
                  <c:v>0.95399999999999996</c:v>
                </c:pt>
                <c:pt idx="375">
                  <c:v>0.99</c:v>
                </c:pt>
                <c:pt idx="376">
                  <c:v>0.89900000000000002</c:v>
                </c:pt>
                <c:pt idx="377">
                  <c:v>0.85199999999999998</c:v>
                </c:pt>
                <c:pt idx="378">
                  <c:v>0.82699999999999996</c:v>
                </c:pt>
                <c:pt idx="379">
                  <c:v>0.80400000000000005</c:v>
                </c:pt>
                <c:pt idx="380">
                  <c:v>0.81399999999999995</c:v>
                </c:pt>
                <c:pt idx="381">
                  <c:v>0.80500000000000005</c:v>
                </c:pt>
                <c:pt idx="382">
                  <c:v>0.76</c:v>
                </c:pt>
                <c:pt idx="383">
                  <c:v>0.88600000000000001</c:v>
                </c:pt>
                <c:pt idx="384">
                  <c:v>0.86699999999999999</c:v>
                </c:pt>
                <c:pt idx="385">
                  <c:v>0.84399999999999997</c:v>
                </c:pt>
                <c:pt idx="386">
                  <c:v>0.86299999999999999</c:v>
                </c:pt>
                <c:pt idx="387">
                  <c:v>0.92</c:v>
                </c:pt>
                <c:pt idx="388">
                  <c:v>0.80200000000000005</c:v>
                </c:pt>
                <c:pt idx="389">
                  <c:v>0.77</c:v>
                </c:pt>
                <c:pt idx="390">
                  <c:v>0.82299999999999995</c:v>
                </c:pt>
                <c:pt idx="391">
                  <c:v>0.84599999999999997</c:v>
                </c:pt>
                <c:pt idx="392">
                  <c:v>0.79400000000000004</c:v>
                </c:pt>
                <c:pt idx="393">
                  <c:v>0.77100000000000002</c:v>
                </c:pt>
                <c:pt idx="394">
                  <c:v>0.63700000000000001</c:v>
                </c:pt>
                <c:pt idx="395">
                  <c:v>0.68400000000000005</c:v>
                </c:pt>
                <c:pt idx="396">
                  <c:v>0.73</c:v>
                </c:pt>
                <c:pt idx="397">
                  <c:v>0.89400000000000002</c:v>
                </c:pt>
                <c:pt idx="398">
                  <c:v>0.84899999999999998</c:v>
                </c:pt>
                <c:pt idx="399">
                  <c:v>0.84299999999999997</c:v>
                </c:pt>
                <c:pt idx="400">
                  <c:v>0.77200000000000002</c:v>
                </c:pt>
                <c:pt idx="401">
                  <c:v>0.79200000000000004</c:v>
                </c:pt>
                <c:pt idx="402">
                  <c:v>0.79</c:v>
                </c:pt>
                <c:pt idx="403">
                  <c:v>0.76600000000000001</c:v>
                </c:pt>
                <c:pt idx="404">
                  <c:v>0.77900000000000003</c:v>
                </c:pt>
                <c:pt idx="405">
                  <c:v>0.746</c:v>
                </c:pt>
                <c:pt idx="406">
                  <c:v>0.74299999999999999</c:v>
                </c:pt>
                <c:pt idx="407">
                  <c:v>0.70299999999999996</c:v>
                </c:pt>
                <c:pt idx="408">
                  <c:v>0.69499999999999995</c:v>
                </c:pt>
                <c:pt idx="409">
                  <c:v>0.69199999999999995</c:v>
                </c:pt>
                <c:pt idx="410">
                  <c:v>0.71199999999999997</c:v>
                </c:pt>
                <c:pt idx="411">
                  <c:v>0.65500000000000003</c:v>
                </c:pt>
                <c:pt idx="412">
                  <c:v>0.64700000000000002</c:v>
                </c:pt>
                <c:pt idx="413">
                  <c:v>0.63400000000000001</c:v>
                </c:pt>
                <c:pt idx="414">
                  <c:v>0.63600000000000001</c:v>
                </c:pt>
                <c:pt idx="415">
                  <c:v>0.752</c:v>
                </c:pt>
                <c:pt idx="416">
                  <c:v>0.70499999999999996</c:v>
                </c:pt>
                <c:pt idx="417">
                  <c:v>0.65900000000000003</c:v>
                </c:pt>
                <c:pt idx="418">
                  <c:v>0.70399999999999996</c:v>
                </c:pt>
                <c:pt idx="419">
                  <c:v>0.629</c:v>
                </c:pt>
                <c:pt idx="420">
                  <c:v>0.60499999999999998</c:v>
                </c:pt>
                <c:pt idx="421">
                  <c:v>0.63400000000000001</c:v>
                </c:pt>
                <c:pt idx="422">
                  <c:v>0.65800000000000003</c:v>
                </c:pt>
                <c:pt idx="423">
                  <c:v>0.63100000000000001</c:v>
                </c:pt>
                <c:pt idx="424">
                  <c:v>0.64100000000000001</c:v>
                </c:pt>
                <c:pt idx="425">
                  <c:v>0.63300000000000001</c:v>
                </c:pt>
                <c:pt idx="426">
                  <c:v>0.58499999999999996</c:v>
                </c:pt>
                <c:pt idx="427">
                  <c:v>0.56999999999999995</c:v>
                </c:pt>
                <c:pt idx="428">
                  <c:v>0.57399999999999995</c:v>
                </c:pt>
                <c:pt idx="429">
                  <c:v>0.752</c:v>
                </c:pt>
                <c:pt idx="430">
                  <c:v>0.70899999999999996</c:v>
                </c:pt>
                <c:pt idx="431">
                  <c:v>0.74099999999999999</c:v>
                </c:pt>
                <c:pt idx="432">
                  <c:v>0.72599999999999998</c:v>
                </c:pt>
                <c:pt idx="433">
                  <c:v>0.79400000000000004</c:v>
                </c:pt>
                <c:pt idx="434">
                  <c:v>0.80700000000000005</c:v>
                </c:pt>
                <c:pt idx="435">
                  <c:v>0.79600000000000004</c:v>
                </c:pt>
                <c:pt idx="436">
                  <c:v>0.73099999999999998</c:v>
                </c:pt>
                <c:pt idx="437">
                  <c:v>0.66500000000000004</c:v>
                </c:pt>
                <c:pt idx="438">
                  <c:v>0.67500000000000004</c:v>
                </c:pt>
                <c:pt idx="439">
                  <c:v>0.68200000000000005</c:v>
                </c:pt>
                <c:pt idx="440">
                  <c:v>0.70499999999999996</c:v>
                </c:pt>
                <c:pt idx="441">
                  <c:v>0.69499999999999995</c:v>
                </c:pt>
                <c:pt idx="442">
                  <c:v>0.65800000000000003</c:v>
                </c:pt>
                <c:pt idx="443">
                  <c:v>0.65800000000000003</c:v>
                </c:pt>
                <c:pt idx="444">
                  <c:v>0.73899999999999999</c:v>
                </c:pt>
                <c:pt idx="445">
                  <c:v>0.77900000000000003</c:v>
                </c:pt>
                <c:pt idx="446">
                  <c:v>0.78600000000000003</c:v>
                </c:pt>
                <c:pt idx="447">
                  <c:v>0.66500000000000004</c:v>
                </c:pt>
                <c:pt idx="448">
                  <c:v>0.68</c:v>
                </c:pt>
                <c:pt idx="449">
                  <c:v>0.6</c:v>
                </c:pt>
                <c:pt idx="450">
                  <c:v>0.59799999999999998</c:v>
                </c:pt>
                <c:pt idx="451">
                  <c:v>0.59199999999999997</c:v>
                </c:pt>
                <c:pt idx="452">
                  <c:v>0.64800000000000002</c:v>
                </c:pt>
                <c:pt idx="453">
                  <c:v>0.59899999999999998</c:v>
                </c:pt>
                <c:pt idx="454">
                  <c:v>0.58699999999999997</c:v>
                </c:pt>
                <c:pt idx="455">
                  <c:v>0.59</c:v>
                </c:pt>
                <c:pt idx="456">
                  <c:v>0.54500000000000004</c:v>
                </c:pt>
                <c:pt idx="457">
                  <c:v>0.51700000000000002</c:v>
                </c:pt>
                <c:pt idx="458">
                  <c:v>0.56499999999999995</c:v>
                </c:pt>
                <c:pt idx="459">
                  <c:v>0.60099999999999998</c:v>
                </c:pt>
                <c:pt idx="460">
                  <c:v>0.59199999999999997</c:v>
                </c:pt>
                <c:pt idx="461">
                  <c:v>0.58899999999999997</c:v>
                </c:pt>
                <c:pt idx="462">
                  <c:v>0.622</c:v>
                </c:pt>
                <c:pt idx="463">
                  <c:v>0.58099999999999996</c:v>
                </c:pt>
                <c:pt idx="464">
                  <c:v>0.59099999999999997</c:v>
                </c:pt>
                <c:pt idx="465">
                  <c:v>0.54600000000000004</c:v>
                </c:pt>
                <c:pt idx="466">
                  <c:v>0.55700000000000005</c:v>
                </c:pt>
                <c:pt idx="467">
                  <c:v>0.54900000000000004</c:v>
                </c:pt>
                <c:pt idx="468">
                  <c:v>0.56699999999999995</c:v>
                </c:pt>
                <c:pt idx="469">
                  <c:v>0.629</c:v>
                </c:pt>
                <c:pt idx="470">
                  <c:v>0.57299999999999995</c:v>
                </c:pt>
                <c:pt idx="471">
                  <c:v>0.502</c:v>
                </c:pt>
                <c:pt idx="472">
                  <c:v>0.50800000000000001</c:v>
                </c:pt>
                <c:pt idx="473">
                  <c:v>0.5</c:v>
                </c:pt>
                <c:pt idx="474">
                  <c:v>0.44400000000000001</c:v>
                </c:pt>
                <c:pt idx="475">
                  <c:v>0.44500000000000001</c:v>
                </c:pt>
                <c:pt idx="476">
                  <c:v>0.53700000000000003</c:v>
                </c:pt>
                <c:pt idx="477">
                  <c:v>0.52500000000000002</c:v>
                </c:pt>
                <c:pt idx="478">
                  <c:v>0.56000000000000005</c:v>
                </c:pt>
                <c:pt idx="479">
                  <c:v>0.57499999999999996</c:v>
                </c:pt>
                <c:pt idx="480">
                  <c:v>0.60399999999999998</c:v>
                </c:pt>
                <c:pt idx="481">
                  <c:v>0.60899999999999999</c:v>
                </c:pt>
                <c:pt idx="482">
                  <c:v>0.69699999999999995</c:v>
                </c:pt>
                <c:pt idx="483">
                  <c:v>0.66700000000000004</c:v>
                </c:pt>
                <c:pt idx="484">
                  <c:v>0.626</c:v>
                </c:pt>
                <c:pt idx="485">
                  <c:v>0.61399999999999999</c:v>
                </c:pt>
                <c:pt idx="486">
                  <c:v>0.60699999999999998</c:v>
                </c:pt>
                <c:pt idx="487">
                  <c:v>0.56200000000000006</c:v>
                </c:pt>
                <c:pt idx="488">
                  <c:v>0.53300000000000003</c:v>
                </c:pt>
                <c:pt idx="489">
                  <c:v>0.53100000000000003</c:v>
                </c:pt>
                <c:pt idx="490">
                  <c:v>0.50900000000000001</c:v>
                </c:pt>
                <c:pt idx="491">
                  <c:v>0.48</c:v>
                </c:pt>
                <c:pt idx="492">
                  <c:v>0.48</c:v>
                </c:pt>
                <c:pt idx="493">
                  <c:v>0.53400000000000003</c:v>
                </c:pt>
                <c:pt idx="494">
                  <c:v>0.51200000000000001</c:v>
                </c:pt>
                <c:pt idx="495">
                  <c:v>0.47599999999999998</c:v>
                </c:pt>
                <c:pt idx="496">
                  <c:v>0.47099999999999997</c:v>
                </c:pt>
                <c:pt idx="497">
                  <c:v>0.45500000000000002</c:v>
                </c:pt>
                <c:pt idx="498">
                  <c:v>0.47499999999999998</c:v>
                </c:pt>
                <c:pt idx="499">
                  <c:v>0.46899999999999997</c:v>
                </c:pt>
                <c:pt idx="500">
                  <c:v>0.46800000000000003</c:v>
                </c:pt>
                <c:pt idx="501">
                  <c:v>0.66400000000000003</c:v>
                </c:pt>
                <c:pt idx="502">
                  <c:v>0.68799999999999994</c:v>
                </c:pt>
                <c:pt idx="503">
                  <c:v>0.58599999999999997</c:v>
                </c:pt>
                <c:pt idx="504">
                  <c:v>0.57099999999999995</c:v>
                </c:pt>
                <c:pt idx="505">
                  <c:v>0.60599999999999998</c:v>
                </c:pt>
                <c:pt idx="506">
                  <c:v>0.57099999999999995</c:v>
                </c:pt>
                <c:pt idx="507">
                  <c:v>0.54200000000000004</c:v>
                </c:pt>
                <c:pt idx="508">
                  <c:v>0.56299999999999994</c:v>
                </c:pt>
                <c:pt idx="509">
                  <c:v>0.65100000000000002</c:v>
                </c:pt>
                <c:pt idx="510">
                  <c:v>0.68</c:v>
                </c:pt>
                <c:pt idx="511">
                  <c:v>0.60099999999999998</c:v>
                </c:pt>
                <c:pt idx="512">
                  <c:v>0.55100000000000005</c:v>
                </c:pt>
                <c:pt idx="513">
                  <c:v>0.55400000000000005</c:v>
                </c:pt>
                <c:pt idx="514">
                  <c:v>0.59699999999999998</c:v>
                </c:pt>
                <c:pt idx="515">
                  <c:v>0.628</c:v>
                </c:pt>
                <c:pt idx="516">
                  <c:v>0.628</c:v>
                </c:pt>
                <c:pt idx="517">
                  <c:v>0.628</c:v>
                </c:pt>
                <c:pt idx="518">
                  <c:v>0.55600000000000005</c:v>
                </c:pt>
                <c:pt idx="519">
                  <c:v>0.63400000000000001</c:v>
                </c:pt>
                <c:pt idx="520">
                  <c:v>0.63400000000000001</c:v>
                </c:pt>
                <c:pt idx="521">
                  <c:v>0.63400000000000001</c:v>
                </c:pt>
                <c:pt idx="522">
                  <c:v>0.63400000000000001</c:v>
                </c:pt>
                <c:pt idx="523">
                  <c:v>0.56399999999999995</c:v>
                </c:pt>
                <c:pt idx="524">
                  <c:v>0.54700000000000004</c:v>
                </c:pt>
                <c:pt idx="525">
                  <c:v>0.51300000000000001</c:v>
                </c:pt>
                <c:pt idx="526">
                  <c:v>0.54500000000000004</c:v>
                </c:pt>
                <c:pt idx="527">
                  <c:v>0.50900000000000001</c:v>
                </c:pt>
                <c:pt idx="528">
                  <c:v>0.54300000000000004</c:v>
                </c:pt>
                <c:pt idx="529">
                  <c:v>0.53100000000000003</c:v>
                </c:pt>
                <c:pt idx="530">
                  <c:v>0.50700000000000001</c:v>
                </c:pt>
                <c:pt idx="531">
                  <c:v>0.50700000000000001</c:v>
                </c:pt>
                <c:pt idx="532">
                  <c:v>0.47199999999999998</c:v>
                </c:pt>
                <c:pt idx="533">
                  <c:v>0.47</c:v>
                </c:pt>
                <c:pt idx="534">
                  <c:v>0.48299999999999998</c:v>
                </c:pt>
                <c:pt idx="535">
                  <c:v>0.48799999999999999</c:v>
                </c:pt>
                <c:pt idx="536">
                  <c:v>0.45400000000000001</c:v>
                </c:pt>
                <c:pt idx="537">
                  <c:v>0.48599999999999999</c:v>
                </c:pt>
                <c:pt idx="538">
                  <c:v>0.47699999999999998</c:v>
                </c:pt>
                <c:pt idx="539">
                  <c:v>0.443</c:v>
                </c:pt>
                <c:pt idx="540">
                  <c:v>0.44400000000000001</c:v>
                </c:pt>
                <c:pt idx="541">
                  <c:v>0.40600000000000003</c:v>
                </c:pt>
                <c:pt idx="542">
                  <c:v>0.33500000000000002</c:v>
                </c:pt>
                <c:pt idx="543">
                  <c:v>0.36</c:v>
                </c:pt>
                <c:pt idx="544">
                  <c:v>0.314</c:v>
                </c:pt>
                <c:pt idx="545">
                  <c:v>0.27600000000000002</c:v>
                </c:pt>
                <c:pt idx="546">
                  <c:v>0.307</c:v>
                </c:pt>
                <c:pt idx="547">
                  <c:v>0.30099999999999999</c:v>
                </c:pt>
                <c:pt idx="548">
                  <c:v>0.22500000000000001</c:v>
                </c:pt>
                <c:pt idx="549">
                  <c:v>0.23899999999999999</c:v>
                </c:pt>
                <c:pt idx="550">
                  <c:v>0.248</c:v>
                </c:pt>
                <c:pt idx="551">
                  <c:v>0.17699999999999999</c:v>
                </c:pt>
                <c:pt idx="552">
                  <c:v>0.26500000000000001</c:v>
                </c:pt>
                <c:pt idx="553">
                  <c:v>0.24</c:v>
                </c:pt>
                <c:pt idx="554">
                  <c:v>0.26200000000000001</c:v>
                </c:pt>
                <c:pt idx="555">
                  <c:v>0.27500000000000002</c:v>
                </c:pt>
                <c:pt idx="556">
                  <c:v>0.214</c:v>
                </c:pt>
                <c:pt idx="557">
                  <c:v>0.20599999999999999</c:v>
                </c:pt>
                <c:pt idx="558">
                  <c:v>0.18</c:v>
                </c:pt>
                <c:pt idx="559">
                  <c:v>0.185</c:v>
                </c:pt>
                <c:pt idx="560">
                  <c:v>0.14899999999999999</c:v>
                </c:pt>
                <c:pt idx="561">
                  <c:v>0.13700000000000001</c:v>
                </c:pt>
                <c:pt idx="562">
                  <c:v>0.14599999999999999</c:v>
                </c:pt>
                <c:pt idx="563">
                  <c:v>0.109</c:v>
                </c:pt>
                <c:pt idx="564">
                  <c:v>0.14899999999999999</c:v>
                </c:pt>
                <c:pt idx="565">
                  <c:v>0.21299999999999999</c:v>
                </c:pt>
                <c:pt idx="566">
                  <c:v>0.17299999999999999</c:v>
                </c:pt>
                <c:pt idx="567">
                  <c:v>0.24</c:v>
                </c:pt>
                <c:pt idx="568">
                  <c:v>0.218</c:v>
                </c:pt>
                <c:pt idx="569">
                  <c:v>0.17899999999999999</c:v>
                </c:pt>
                <c:pt idx="570">
                  <c:v>0.23799999999999999</c:v>
                </c:pt>
                <c:pt idx="571">
                  <c:v>0.29699999999999999</c:v>
                </c:pt>
                <c:pt idx="572">
                  <c:v>0.28000000000000003</c:v>
                </c:pt>
                <c:pt idx="573">
                  <c:v>0.27900000000000003</c:v>
                </c:pt>
                <c:pt idx="574">
                  <c:v>0.317</c:v>
                </c:pt>
                <c:pt idx="575">
                  <c:v>0.31</c:v>
                </c:pt>
                <c:pt idx="576">
                  <c:v>0.23300000000000001</c:v>
                </c:pt>
                <c:pt idx="577">
                  <c:v>0.218</c:v>
                </c:pt>
                <c:pt idx="578">
                  <c:v>0.23</c:v>
                </c:pt>
                <c:pt idx="579">
                  <c:v>0.21099999999999999</c:v>
                </c:pt>
                <c:pt idx="580">
                  <c:v>0.19900000000000001</c:v>
                </c:pt>
                <c:pt idx="581">
                  <c:v>0.17899999999999999</c:v>
                </c:pt>
                <c:pt idx="582">
                  <c:v>0.17899999999999999</c:v>
                </c:pt>
                <c:pt idx="583">
                  <c:v>0.17899999999999999</c:v>
                </c:pt>
                <c:pt idx="584">
                  <c:v>0.14099999999999999</c:v>
                </c:pt>
                <c:pt idx="585">
                  <c:v>0.16400000000000001</c:v>
                </c:pt>
                <c:pt idx="586">
                  <c:v>0.155</c:v>
                </c:pt>
                <c:pt idx="587">
                  <c:v>0.14499999999999999</c:v>
                </c:pt>
                <c:pt idx="588">
                  <c:v>0.128</c:v>
                </c:pt>
                <c:pt idx="589">
                  <c:v>0.105</c:v>
                </c:pt>
                <c:pt idx="590">
                  <c:v>0.11600000000000001</c:v>
                </c:pt>
                <c:pt idx="591">
                  <c:v>8.7999999999999995E-2</c:v>
                </c:pt>
                <c:pt idx="592">
                  <c:v>9.7000000000000003E-2</c:v>
                </c:pt>
                <c:pt idx="593">
                  <c:v>0.11700000000000001</c:v>
                </c:pt>
                <c:pt idx="594">
                  <c:v>0.16</c:v>
                </c:pt>
                <c:pt idx="595">
                  <c:v>0.13700000000000001</c:v>
                </c:pt>
                <c:pt idx="596">
                  <c:v>0.16400000000000001</c:v>
                </c:pt>
                <c:pt idx="597">
                  <c:v>0.13400000000000001</c:v>
                </c:pt>
                <c:pt idx="598">
                  <c:v>0.16800000000000001</c:v>
                </c:pt>
                <c:pt idx="599">
                  <c:v>0.17799999999999999</c:v>
                </c:pt>
                <c:pt idx="600">
                  <c:v>0.15</c:v>
                </c:pt>
                <c:pt idx="601">
                  <c:v>0.23200000000000001</c:v>
                </c:pt>
                <c:pt idx="602">
                  <c:v>0.23200000000000001</c:v>
                </c:pt>
                <c:pt idx="603">
                  <c:v>0.26900000000000002</c:v>
                </c:pt>
                <c:pt idx="604">
                  <c:v>0.30099999999999999</c:v>
                </c:pt>
                <c:pt idx="605">
                  <c:v>0.28899999999999998</c:v>
                </c:pt>
                <c:pt idx="606">
                  <c:v>0.249</c:v>
                </c:pt>
                <c:pt idx="607">
                  <c:v>0.28000000000000003</c:v>
                </c:pt>
                <c:pt idx="608">
                  <c:v>0.27500000000000002</c:v>
                </c:pt>
                <c:pt idx="609">
                  <c:v>0.19700000000000001</c:v>
                </c:pt>
                <c:pt idx="610">
                  <c:v>0.20300000000000001</c:v>
                </c:pt>
                <c:pt idx="611">
                  <c:v>0.16300000000000001</c:v>
                </c:pt>
                <c:pt idx="612">
                  <c:v>0.14599999999999999</c:v>
                </c:pt>
                <c:pt idx="613">
                  <c:v>0.13</c:v>
                </c:pt>
                <c:pt idx="614">
                  <c:v>0.123</c:v>
                </c:pt>
                <c:pt idx="615">
                  <c:v>0.126</c:v>
                </c:pt>
                <c:pt idx="616">
                  <c:v>0.154</c:v>
                </c:pt>
                <c:pt idx="617">
                  <c:v>0.129</c:v>
                </c:pt>
                <c:pt idx="618">
                  <c:v>0.14099999999999999</c:v>
                </c:pt>
                <c:pt idx="619">
                  <c:v>0.13300000000000001</c:v>
                </c:pt>
                <c:pt idx="620">
                  <c:v>0.16300000000000001</c:v>
                </c:pt>
                <c:pt idx="621">
                  <c:v>0.17299999999999999</c:v>
                </c:pt>
                <c:pt idx="622">
                  <c:v>0.17299999999999999</c:v>
                </c:pt>
                <c:pt idx="623">
                  <c:v>0.183</c:v>
                </c:pt>
                <c:pt idx="624">
                  <c:v>0.17599999999999999</c:v>
                </c:pt>
                <c:pt idx="625">
                  <c:v>0.153</c:v>
                </c:pt>
                <c:pt idx="626">
                  <c:v>0.14399999999999999</c:v>
                </c:pt>
                <c:pt idx="627">
                  <c:v>0.14299999999999999</c:v>
                </c:pt>
                <c:pt idx="628">
                  <c:v>0.16600000000000001</c:v>
                </c:pt>
                <c:pt idx="629">
                  <c:v>0.14699999999999999</c:v>
                </c:pt>
                <c:pt idx="630">
                  <c:v>0.13400000000000001</c:v>
                </c:pt>
                <c:pt idx="631">
                  <c:v>0.113</c:v>
                </c:pt>
                <c:pt idx="632">
                  <c:v>7.3999999999999996E-2</c:v>
                </c:pt>
                <c:pt idx="633">
                  <c:v>8.5000000000000006E-2</c:v>
                </c:pt>
                <c:pt idx="634">
                  <c:v>5.2999999999999999E-2</c:v>
                </c:pt>
                <c:pt idx="635">
                  <c:v>0.06</c:v>
                </c:pt>
                <c:pt idx="636">
                  <c:v>3.6999999999999998E-2</c:v>
                </c:pt>
                <c:pt idx="637">
                  <c:v>2.1000000000000001E-2</c:v>
                </c:pt>
                <c:pt idx="638">
                  <c:v>2.8000000000000001E-2</c:v>
                </c:pt>
                <c:pt idx="639">
                  <c:v>-1E-3</c:v>
                </c:pt>
                <c:pt idx="640">
                  <c:v>-1.4E-2</c:v>
                </c:pt>
                <c:pt idx="641">
                  <c:v>-0.02</c:v>
                </c:pt>
                <c:pt idx="642">
                  <c:v>1.7999999999999999E-2</c:v>
                </c:pt>
                <c:pt idx="643">
                  <c:v>6.2E-2</c:v>
                </c:pt>
                <c:pt idx="644">
                  <c:v>4.7E-2</c:v>
                </c:pt>
                <c:pt idx="645">
                  <c:v>5.7000000000000002E-2</c:v>
                </c:pt>
                <c:pt idx="646">
                  <c:v>9.6000000000000002E-2</c:v>
                </c:pt>
                <c:pt idx="647">
                  <c:v>-5.0999999999999997E-2</c:v>
                </c:pt>
                <c:pt idx="648">
                  <c:v>-0.105</c:v>
                </c:pt>
                <c:pt idx="649">
                  <c:v>-0.11700000000000001</c:v>
                </c:pt>
                <c:pt idx="650">
                  <c:v>-0.126</c:v>
                </c:pt>
                <c:pt idx="651">
                  <c:v>-0.127</c:v>
                </c:pt>
                <c:pt idx="652">
                  <c:v>-0.129</c:v>
                </c:pt>
                <c:pt idx="653">
                  <c:v>-0.13600000000000001</c:v>
                </c:pt>
                <c:pt idx="654">
                  <c:v>-0.17899999999999999</c:v>
                </c:pt>
                <c:pt idx="655">
                  <c:v>-0.17899999999999999</c:v>
                </c:pt>
                <c:pt idx="656">
                  <c:v>-0.16500000000000001</c:v>
                </c:pt>
                <c:pt idx="657">
                  <c:v>-0.184</c:v>
                </c:pt>
                <c:pt idx="658">
                  <c:v>-0.16700000000000001</c:v>
                </c:pt>
                <c:pt idx="659">
                  <c:v>-9.2999999999999999E-2</c:v>
                </c:pt>
                <c:pt idx="660">
                  <c:v>-0.14199999999999999</c:v>
                </c:pt>
                <c:pt idx="661">
                  <c:v>-0.129</c:v>
                </c:pt>
                <c:pt idx="662">
                  <c:v>4.0000000000000001E-3</c:v>
                </c:pt>
                <c:pt idx="663">
                  <c:v>-1.7999999999999999E-2</c:v>
                </c:pt>
                <c:pt idx="664">
                  <c:v>-2.9000000000000001E-2</c:v>
                </c:pt>
                <c:pt idx="665">
                  <c:v>-1.0999999999999999E-2</c:v>
                </c:pt>
                <c:pt idx="666">
                  <c:v>-8.0000000000000002E-3</c:v>
                </c:pt>
                <c:pt idx="667">
                  <c:v>-2.5999999999999999E-2</c:v>
                </c:pt>
                <c:pt idx="668">
                  <c:v>-3.6999999999999998E-2</c:v>
                </c:pt>
                <c:pt idx="669">
                  <c:v>-2.5000000000000001E-2</c:v>
                </c:pt>
                <c:pt idx="670">
                  <c:v>-7.6999999999999999E-2</c:v>
                </c:pt>
                <c:pt idx="671">
                  <c:v>-8.4000000000000005E-2</c:v>
                </c:pt>
                <c:pt idx="672">
                  <c:v>-0.12</c:v>
                </c:pt>
                <c:pt idx="673">
                  <c:v>-9.5000000000000001E-2</c:v>
                </c:pt>
                <c:pt idx="674">
                  <c:v>-2.7E-2</c:v>
                </c:pt>
                <c:pt idx="675">
                  <c:v>-3.4000000000000002E-2</c:v>
                </c:pt>
                <c:pt idx="676">
                  <c:v>-9.7000000000000003E-2</c:v>
                </c:pt>
                <c:pt idx="677">
                  <c:v>-6.8000000000000005E-2</c:v>
                </c:pt>
                <c:pt idx="678">
                  <c:v>-6.3E-2</c:v>
                </c:pt>
                <c:pt idx="679">
                  <c:v>-7.8E-2</c:v>
                </c:pt>
                <c:pt idx="680">
                  <c:v>-0.107</c:v>
                </c:pt>
                <c:pt idx="681">
                  <c:v>-9.2999999999999999E-2</c:v>
                </c:pt>
                <c:pt idx="682">
                  <c:v>-0.106</c:v>
                </c:pt>
                <c:pt idx="683">
                  <c:v>-6.8000000000000005E-2</c:v>
                </c:pt>
                <c:pt idx="684">
                  <c:v>-2.9000000000000001E-2</c:v>
                </c:pt>
                <c:pt idx="685">
                  <c:v>-4.8000000000000001E-2</c:v>
                </c:pt>
                <c:pt idx="686">
                  <c:v>-8.2000000000000003E-2</c:v>
                </c:pt>
                <c:pt idx="687">
                  <c:v>-3.4000000000000002E-2</c:v>
                </c:pt>
                <c:pt idx="688">
                  <c:v>-8.5000000000000006E-2</c:v>
                </c:pt>
                <c:pt idx="689">
                  <c:v>-8.7999999999999995E-2</c:v>
                </c:pt>
                <c:pt idx="690">
                  <c:v>-8.8999999999999996E-2</c:v>
                </c:pt>
                <c:pt idx="691">
                  <c:v>-7.2999999999999995E-2</c:v>
                </c:pt>
                <c:pt idx="692">
                  <c:v>-8.8999999999999996E-2</c:v>
                </c:pt>
                <c:pt idx="693">
                  <c:v>-5.1999999999999998E-2</c:v>
                </c:pt>
                <c:pt idx="694">
                  <c:v>-9.1999999999999998E-2</c:v>
                </c:pt>
                <c:pt idx="695">
                  <c:v>-6.0999999999999999E-2</c:v>
                </c:pt>
                <c:pt idx="696">
                  <c:v>-6.6000000000000003E-2</c:v>
                </c:pt>
                <c:pt idx="697">
                  <c:v>-3.9E-2</c:v>
                </c:pt>
                <c:pt idx="698">
                  <c:v>-4.4999999999999998E-2</c:v>
                </c:pt>
                <c:pt idx="699">
                  <c:v>-0.1</c:v>
                </c:pt>
                <c:pt idx="700">
                  <c:v>-0.11799999999999999</c:v>
                </c:pt>
                <c:pt idx="701">
                  <c:v>-6.0999999999999999E-2</c:v>
                </c:pt>
                <c:pt idx="702">
                  <c:v>1.7000000000000001E-2</c:v>
                </c:pt>
                <c:pt idx="703">
                  <c:v>4.3999999999999997E-2</c:v>
                </c:pt>
                <c:pt idx="704">
                  <c:v>4.9000000000000002E-2</c:v>
                </c:pt>
                <c:pt idx="705">
                  <c:v>2.8000000000000001E-2</c:v>
                </c:pt>
                <c:pt idx="706">
                  <c:v>3.2000000000000001E-2</c:v>
                </c:pt>
                <c:pt idx="707">
                  <c:v>3.0000000000000001E-3</c:v>
                </c:pt>
                <c:pt idx="708">
                  <c:v>1.6E-2</c:v>
                </c:pt>
                <c:pt idx="709">
                  <c:v>-1.7999999999999999E-2</c:v>
                </c:pt>
                <c:pt idx="710">
                  <c:v>8.0000000000000002E-3</c:v>
                </c:pt>
                <c:pt idx="711">
                  <c:v>-9.1999999999999998E-2</c:v>
                </c:pt>
                <c:pt idx="712">
                  <c:v>-8.1000000000000003E-2</c:v>
                </c:pt>
                <c:pt idx="713">
                  <c:v>-0.108</c:v>
                </c:pt>
                <c:pt idx="714">
                  <c:v>-0.13700000000000001</c:v>
                </c:pt>
                <c:pt idx="715">
                  <c:v>-0.14699999999999999</c:v>
                </c:pt>
                <c:pt idx="716">
                  <c:v>-0.11700000000000001</c:v>
                </c:pt>
                <c:pt idx="717">
                  <c:v>-0.11700000000000001</c:v>
                </c:pt>
                <c:pt idx="718">
                  <c:v>-9.6000000000000002E-2</c:v>
                </c:pt>
                <c:pt idx="719">
                  <c:v>-9.0999999999999998E-2</c:v>
                </c:pt>
                <c:pt idx="720">
                  <c:v>-5.0000000000000001E-3</c:v>
                </c:pt>
                <c:pt idx="721">
                  <c:v>-6.0000000000000001E-3</c:v>
                </c:pt>
                <c:pt idx="722">
                  <c:v>2.7E-2</c:v>
                </c:pt>
                <c:pt idx="723">
                  <c:v>6.3E-2</c:v>
                </c:pt>
                <c:pt idx="724">
                  <c:v>2.3E-2</c:v>
                </c:pt>
                <c:pt idx="725">
                  <c:v>6.7000000000000004E-2</c:v>
                </c:pt>
                <c:pt idx="726">
                  <c:v>4.1000000000000002E-2</c:v>
                </c:pt>
                <c:pt idx="727">
                  <c:v>5.6000000000000001E-2</c:v>
                </c:pt>
                <c:pt idx="728">
                  <c:v>5.7000000000000002E-2</c:v>
                </c:pt>
                <c:pt idx="729">
                  <c:v>3.6999999999999998E-2</c:v>
                </c:pt>
                <c:pt idx="730">
                  <c:v>2.4E-2</c:v>
                </c:pt>
                <c:pt idx="731">
                  <c:v>7.0000000000000001E-3</c:v>
                </c:pt>
                <c:pt idx="732">
                  <c:v>4.0000000000000001E-3</c:v>
                </c:pt>
                <c:pt idx="733">
                  <c:v>2.5000000000000001E-2</c:v>
                </c:pt>
                <c:pt idx="734">
                  <c:v>2.9000000000000001E-2</c:v>
                </c:pt>
                <c:pt idx="735">
                  <c:v>8.8999999999999996E-2</c:v>
                </c:pt>
                <c:pt idx="736">
                  <c:v>0.17299999999999999</c:v>
                </c:pt>
                <c:pt idx="737">
                  <c:v>0.16500000000000001</c:v>
                </c:pt>
                <c:pt idx="738">
                  <c:v>0.16600000000000001</c:v>
                </c:pt>
                <c:pt idx="739">
                  <c:v>0.17299999999999999</c:v>
                </c:pt>
                <c:pt idx="740">
                  <c:v>0.129</c:v>
                </c:pt>
                <c:pt idx="741">
                  <c:v>0.159</c:v>
                </c:pt>
                <c:pt idx="742">
                  <c:v>0.13300000000000001</c:v>
                </c:pt>
                <c:pt idx="743">
                  <c:v>0.151</c:v>
                </c:pt>
                <c:pt idx="744">
                  <c:v>0.182</c:v>
                </c:pt>
                <c:pt idx="745">
                  <c:v>0.17899999999999999</c:v>
                </c:pt>
                <c:pt idx="746">
                  <c:v>0.28199999999999997</c:v>
                </c:pt>
                <c:pt idx="747">
                  <c:v>0.30599999999999999</c:v>
                </c:pt>
                <c:pt idx="748">
                  <c:v>0.33300000000000002</c:v>
                </c:pt>
                <c:pt idx="749">
                  <c:v>0.311</c:v>
                </c:pt>
                <c:pt idx="750">
                  <c:v>0.30299999999999999</c:v>
                </c:pt>
                <c:pt idx="751">
                  <c:v>0.27600000000000002</c:v>
                </c:pt>
                <c:pt idx="752">
                  <c:v>0.28199999999999997</c:v>
                </c:pt>
                <c:pt idx="753">
                  <c:v>0.28100000000000003</c:v>
                </c:pt>
                <c:pt idx="754">
                  <c:v>0.22700000000000001</c:v>
                </c:pt>
                <c:pt idx="755">
                  <c:v>0.28000000000000003</c:v>
                </c:pt>
                <c:pt idx="756">
                  <c:v>0.26500000000000001</c:v>
                </c:pt>
                <c:pt idx="757">
                  <c:v>0.23799999999999999</c:v>
                </c:pt>
                <c:pt idx="758">
                  <c:v>0.19</c:v>
                </c:pt>
                <c:pt idx="759">
                  <c:v>0.22700000000000001</c:v>
                </c:pt>
                <c:pt idx="760">
                  <c:v>0.27900000000000003</c:v>
                </c:pt>
                <c:pt idx="761">
                  <c:v>0.35599999999999998</c:v>
                </c:pt>
                <c:pt idx="762">
                  <c:v>0.28299999999999997</c:v>
                </c:pt>
                <c:pt idx="763">
                  <c:v>0.33700000000000002</c:v>
                </c:pt>
                <c:pt idx="764">
                  <c:v>0.373</c:v>
                </c:pt>
                <c:pt idx="765">
                  <c:v>0.34699999999999998</c:v>
                </c:pt>
                <c:pt idx="766">
                  <c:v>0.379</c:v>
                </c:pt>
                <c:pt idx="767">
                  <c:v>0.35699999999999998</c:v>
                </c:pt>
                <c:pt idx="768">
                  <c:v>0.40799999999999997</c:v>
                </c:pt>
                <c:pt idx="769">
                  <c:v>0.35199999999999998</c:v>
                </c:pt>
                <c:pt idx="770">
                  <c:v>0.30599999999999999</c:v>
                </c:pt>
                <c:pt idx="771">
                  <c:v>0.35799999999999998</c:v>
                </c:pt>
                <c:pt idx="772">
                  <c:v>0.314</c:v>
                </c:pt>
                <c:pt idx="773">
                  <c:v>0.251</c:v>
                </c:pt>
                <c:pt idx="774">
                  <c:v>0.27100000000000002</c:v>
                </c:pt>
                <c:pt idx="775">
                  <c:v>0.246</c:v>
                </c:pt>
                <c:pt idx="776">
                  <c:v>0.25800000000000001</c:v>
                </c:pt>
                <c:pt idx="777">
                  <c:v>0.22600000000000001</c:v>
                </c:pt>
                <c:pt idx="778">
                  <c:v>0.22600000000000001</c:v>
                </c:pt>
                <c:pt idx="779">
                  <c:v>0.20399999999999999</c:v>
                </c:pt>
                <c:pt idx="780">
                  <c:v>0.19600000000000001</c:v>
                </c:pt>
                <c:pt idx="781">
                  <c:v>0.17399999999999999</c:v>
                </c:pt>
                <c:pt idx="782">
                  <c:v>0.20699999999999999</c:v>
                </c:pt>
                <c:pt idx="783">
                  <c:v>0.185</c:v>
                </c:pt>
                <c:pt idx="784">
                  <c:v>0.26900000000000002</c:v>
                </c:pt>
                <c:pt idx="785">
                  <c:v>0.27600000000000002</c:v>
                </c:pt>
                <c:pt idx="786">
                  <c:v>0.25600000000000001</c:v>
                </c:pt>
                <c:pt idx="787">
                  <c:v>0.30599999999999999</c:v>
                </c:pt>
                <c:pt idx="788">
                  <c:v>0.28499999999999998</c:v>
                </c:pt>
                <c:pt idx="789">
                  <c:v>0.28299999999999997</c:v>
                </c:pt>
                <c:pt idx="790">
                  <c:v>0.248</c:v>
                </c:pt>
                <c:pt idx="791">
                  <c:v>0.313</c:v>
                </c:pt>
                <c:pt idx="792">
                  <c:v>0.33800000000000002</c:v>
                </c:pt>
                <c:pt idx="793">
                  <c:v>0.32800000000000001</c:v>
                </c:pt>
                <c:pt idx="794">
                  <c:v>0.311</c:v>
                </c:pt>
                <c:pt idx="795">
                  <c:v>0.34899999999999998</c:v>
                </c:pt>
                <c:pt idx="796">
                  <c:v>0.375</c:v>
                </c:pt>
                <c:pt idx="797">
                  <c:v>0.42399999999999999</c:v>
                </c:pt>
                <c:pt idx="798">
                  <c:v>0.36599999999999999</c:v>
                </c:pt>
                <c:pt idx="799">
                  <c:v>0.41</c:v>
                </c:pt>
                <c:pt idx="800">
                  <c:v>0.46800000000000003</c:v>
                </c:pt>
                <c:pt idx="801">
                  <c:v>0.48699999999999999</c:v>
                </c:pt>
                <c:pt idx="802">
                  <c:v>0.46100000000000002</c:v>
                </c:pt>
                <c:pt idx="803">
                  <c:v>0.44600000000000001</c:v>
                </c:pt>
                <c:pt idx="804">
                  <c:v>0.437</c:v>
                </c:pt>
                <c:pt idx="805">
                  <c:v>0.46899999999999997</c:v>
                </c:pt>
                <c:pt idx="806">
                  <c:v>0.42599999999999999</c:v>
                </c:pt>
                <c:pt idx="807">
                  <c:v>0.41399999999999998</c:v>
                </c:pt>
                <c:pt idx="808">
                  <c:v>0.36899999999999999</c:v>
                </c:pt>
                <c:pt idx="809">
                  <c:v>0.36</c:v>
                </c:pt>
                <c:pt idx="810">
                  <c:v>0.29899999999999999</c:v>
                </c:pt>
                <c:pt idx="811">
                  <c:v>0.312</c:v>
                </c:pt>
                <c:pt idx="812">
                  <c:v>0.32</c:v>
                </c:pt>
                <c:pt idx="813">
                  <c:v>0.34</c:v>
                </c:pt>
                <c:pt idx="814">
                  <c:v>0.36599999999999999</c:v>
                </c:pt>
                <c:pt idx="815">
                  <c:v>0.38</c:v>
                </c:pt>
                <c:pt idx="816">
                  <c:v>0.35099999999999998</c:v>
                </c:pt>
                <c:pt idx="817">
                  <c:v>0.29699999999999999</c:v>
                </c:pt>
                <c:pt idx="818">
                  <c:v>0.29899999999999999</c:v>
                </c:pt>
                <c:pt idx="819">
                  <c:v>0.30499999999999999</c:v>
                </c:pt>
                <c:pt idx="820">
                  <c:v>0.26900000000000002</c:v>
                </c:pt>
                <c:pt idx="821">
                  <c:v>0.23599999999999999</c:v>
                </c:pt>
                <c:pt idx="822">
                  <c:v>0.186</c:v>
                </c:pt>
                <c:pt idx="823">
                  <c:v>0.20100000000000001</c:v>
                </c:pt>
                <c:pt idx="824">
                  <c:v>0.20599999999999999</c:v>
                </c:pt>
                <c:pt idx="825">
                  <c:v>0.28299999999999997</c:v>
                </c:pt>
                <c:pt idx="826">
                  <c:v>0.311</c:v>
                </c:pt>
                <c:pt idx="827">
                  <c:v>0.35499999999999998</c:v>
                </c:pt>
                <c:pt idx="828">
                  <c:v>0.34399999999999997</c:v>
                </c:pt>
                <c:pt idx="829">
                  <c:v>0.31900000000000001</c:v>
                </c:pt>
                <c:pt idx="830">
                  <c:v>0.36899999999999999</c:v>
                </c:pt>
                <c:pt idx="831">
                  <c:v>0.42099999999999999</c:v>
                </c:pt>
                <c:pt idx="832">
                  <c:v>0.49099999999999999</c:v>
                </c:pt>
                <c:pt idx="833">
                  <c:v>0.47</c:v>
                </c:pt>
                <c:pt idx="834">
                  <c:v>0.45600000000000002</c:v>
                </c:pt>
                <c:pt idx="835">
                  <c:v>0.41199999999999998</c:v>
                </c:pt>
                <c:pt idx="836">
                  <c:v>0.44400000000000001</c:v>
                </c:pt>
                <c:pt idx="837">
                  <c:v>0.43099999999999999</c:v>
                </c:pt>
                <c:pt idx="838">
                  <c:v>0.437</c:v>
                </c:pt>
                <c:pt idx="839">
                  <c:v>0.46</c:v>
                </c:pt>
                <c:pt idx="840">
                  <c:v>0.40699999999999997</c:v>
                </c:pt>
                <c:pt idx="841">
                  <c:v>0.42899999999999999</c:v>
                </c:pt>
                <c:pt idx="842">
                  <c:v>0.41199999999999998</c:v>
                </c:pt>
                <c:pt idx="843">
                  <c:v>0.40699999999999997</c:v>
                </c:pt>
                <c:pt idx="844">
                  <c:v>0.377</c:v>
                </c:pt>
                <c:pt idx="845">
                  <c:v>0.34499999999999997</c:v>
                </c:pt>
                <c:pt idx="846">
                  <c:v>0.33</c:v>
                </c:pt>
                <c:pt idx="847">
                  <c:v>0.33</c:v>
                </c:pt>
                <c:pt idx="848">
                  <c:v>0.27900000000000003</c:v>
                </c:pt>
                <c:pt idx="849">
                  <c:v>0.254</c:v>
                </c:pt>
                <c:pt idx="850">
                  <c:v>0.25700000000000001</c:v>
                </c:pt>
                <c:pt idx="851">
                  <c:v>0.26300000000000001</c:v>
                </c:pt>
                <c:pt idx="852">
                  <c:v>0.23300000000000001</c:v>
                </c:pt>
                <c:pt idx="853">
                  <c:v>0.215</c:v>
                </c:pt>
                <c:pt idx="854">
                  <c:v>0.20899999999999999</c:v>
                </c:pt>
                <c:pt idx="855">
                  <c:v>0.2</c:v>
                </c:pt>
                <c:pt idx="856">
                  <c:v>0.19400000000000001</c:v>
                </c:pt>
                <c:pt idx="857">
                  <c:v>0.19400000000000001</c:v>
                </c:pt>
                <c:pt idx="858">
                  <c:v>0.19400000000000001</c:v>
                </c:pt>
                <c:pt idx="859">
                  <c:v>0.17499999999999999</c:v>
                </c:pt>
                <c:pt idx="860">
                  <c:v>0.20399999999999999</c:v>
                </c:pt>
                <c:pt idx="861">
                  <c:v>0.24399999999999999</c:v>
                </c:pt>
                <c:pt idx="862">
                  <c:v>0.253</c:v>
                </c:pt>
                <c:pt idx="863">
                  <c:v>0.33700000000000002</c:v>
                </c:pt>
                <c:pt idx="864">
                  <c:v>0.375</c:v>
                </c:pt>
                <c:pt idx="865">
                  <c:v>0.35499999999999998</c:v>
                </c:pt>
                <c:pt idx="866">
                  <c:v>0.30199999999999999</c:v>
                </c:pt>
                <c:pt idx="867">
                  <c:v>0.32700000000000001</c:v>
                </c:pt>
                <c:pt idx="868">
                  <c:v>0.32700000000000001</c:v>
                </c:pt>
                <c:pt idx="869">
                  <c:v>0.32800000000000001</c:v>
                </c:pt>
                <c:pt idx="870">
                  <c:v>0.33</c:v>
                </c:pt>
                <c:pt idx="871">
                  <c:v>0.39100000000000001</c:v>
                </c:pt>
                <c:pt idx="872">
                  <c:v>0.41399999999999998</c:v>
                </c:pt>
                <c:pt idx="873">
                  <c:v>0.42</c:v>
                </c:pt>
                <c:pt idx="874">
                  <c:v>0.43099999999999999</c:v>
                </c:pt>
                <c:pt idx="875">
                  <c:v>0.41199999999999998</c:v>
                </c:pt>
                <c:pt idx="876">
                  <c:v>0.42499999999999999</c:v>
                </c:pt>
                <c:pt idx="877">
                  <c:v>0.39400000000000002</c:v>
                </c:pt>
                <c:pt idx="878">
                  <c:v>0.42299999999999999</c:v>
                </c:pt>
                <c:pt idx="879">
                  <c:v>0.42599999999999999</c:v>
                </c:pt>
                <c:pt idx="880">
                  <c:v>0.38200000000000001</c:v>
                </c:pt>
                <c:pt idx="881">
                  <c:v>0.35199999999999998</c:v>
                </c:pt>
                <c:pt idx="882">
                  <c:v>0.374</c:v>
                </c:pt>
                <c:pt idx="883">
                  <c:v>0.39800000000000002</c:v>
                </c:pt>
                <c:pt idx="884">
                  <c:v>0.40400000000000003</c:v>
                </c:pt>
                <c:pt idx="885">
                  <c:v>0.40899999999999997</c:v>
                </c:pt>
                <c:pt idx="886">
                  <c:v>0.36299999999999999</c:v>
                </c:pt>
                <c:pt idx="887">
                  <c:v>0.33400000000000002</c:v>
                </c:pt>
                <c:pt idx="888">
                  <c:v>0.29699999999999999</c:v>
                </c:pt>
                <c:pt idx="889">
                  <c:v>0.29799999999999999</c:v>
                </c:pt>
                <c:pt idx="890">
                  <c:v>0.3</c:v>
                </c:pt>
                <c:pt idx="891">
                  <c:v>0.30099999999999999</c:v>
                </c:pt>
                <c:pt idx="892">
                  <c:v>0.26900000000000002</c:v>
                </c:pt>
                <c:pt idx="893">
                  <c:v>0.26900000000000002</c:v>
                </c:pt>
                <c:pt idx="894">
                  <c:v>0.25900000000000001</c:v>
                </c:pt>
                <c:pt idx="895">
                  <c:v>0.26100000000000001</c:v>
                </c:pt>
                <c:pt idx="896">
                  <c:v>0.26</c:v>
                </c:pt>
                <c:pt idx="897">
                  <c:v>0.26200000000000001</c:v>
                </c:pt>
                <c:pt idx="898">
                  <c:v>0.25800000000000001</c:v>
                </c:pt>
                <c:pt idx="899">
                  <c:v>0.26500000000000001</c:v>
                </c:pt>
                <c:pt idx="900">
                  <c:v>0.23200000000000001</c:v>
                </c:pt>
                <c:pt idx="901">
                  <c:v>0.28799999999999998</c:v>
                </c:pt>
                <c:pt idx="902">
                  <c:v>0.27800000000000002</c:v>
                </c:pt>
                <c:pt idx="903">
                  <c:v>0.28000000000000003</c:v>
                </c:pt>
                <c:pt idx="904">
                  <c:v>0.26400000000000001</c:v>
                </c:pt>
                <c:pt idx="905">
                  <c:v>0.26700000000000002</c:v>
                </c:pt>
                <c:pt idx="906">
                  <c:v>0.254</c:v>
                </c:pt>
                <c:pt idx="907">
                  <c:v>0.25600000000000001</c:v>
                </c:pt>
                <c:pt idx="908">
                  <c:v>0.249</c:v>
                </c:pt>
                <c:pt idx="909">
                  <c:v>0.35399999999999998</c:v>
                </c:pt>
                <c:pt idx="910">
                  <c:v>0.35299999999999998</c:v>
                </c:pt>
                <c:pt idx="911">
                  <c:v>0.45200000000000001</c:v>
                </c:pt>
                <c:pt idx="912">
                  <c:v>0.47</c:v>
                </c:pt>
                <c:pt idx="913">
                  <c:v>0.48199999999999998</c:v>
                </c:pt>
                <c:pt idx="914">
                  <c:v>0.47399999999999998</c:v>
                </c:pt>
                <c:pt idx="915">
                  <c:v>0.47199999999999998</c:v>
                </c:pt>
                <c:pt idx="916">
                  <c:v>0.56100000000000005</c:v>
                </c:pt>
                <c:pt idx="917">
                  <c:v>0.56899999999999995</c:v>
                </c:pt>
                <c:pt idx="918">
                  <c:v>0.53900000000000003</c:v>
                </c:pt>
                <c:pt idx="919">
                  <c:v>0.54900000000000004</c:v>
                </c:pt>
                <c:pt idx="920">
                  <c:v>0.58399999999999996</c:v>
                </c:pt>
                <c:pt idx="921">
                  <c:v>0.60299999999999998</c:v>
                </c:pt>
                <c:pt idx="922">
                  <c:v>0.59499999999999997</c:v>
                </c:pt>
                <c:pt idx="923">
                  <c:v>0.57999999999999996</c:v>
                </c:pt>
                <c:pt idx="924">
                  <c:v>0.56100000000000005</c:v>
                </c:pt>
                <c:pt idx="925">
                  <c:v>0.53900000000000003</c:v>
                </c:pt>
                <c:pt idx="926">
                  <c:v>0.53500000000000003</c:v>
                </c:pt>
                <c:pt idx="927">
                  <c:v>0.503</c:v>
                </c:pt>
                <c:pt idx="928">
                  <c:v>0.501</c:v>
                </c:pt>
                <c:pt idx="929">
                  <c:v>0.56499999999999995</c:v>
                </c:pt>
                <c:pt idx="930">
                  <c:v>0.55400000000000005</c:v>
                </c:pt>
                <c:pt idx="931">
                  <c:v>0.53</c:v>
                </c:pt>
                <c:pt idx="932">
                  <c:v>0.54300000000000004</c:v>
                </c:pt>
                <c:pt idx="933">
                  <c:v>0.53100000000000003</c:v>
                </c:pt>
                <c:pt idx="934">
                  <c:v>0.48699999999999999</c:v>
                </c:pt>
                <c:pt idx="935">
                  <c:v>0.48499999999999999</c:v>
                </c:pt>
                <c:pt idx="936">
                  <c:v>0.45600000000000002</c:v>
                </c:pt>
                <c:pt idx="937">
                  <c:v>0.47899999999999998</c:v>
                </c:pt>
                <c:pt idx="938">
                  <c:v>0.46</c:v>
                </c:pt>
                <c:pt idx="939">
                  <c:v>0.47299999999999998</c:v>
                </c:pt>
                <c:pt idx="940">
                  <c:v>0.42399999999999999</c:v>
                </c:pt>
                <c:pt idx="941">
                  <c:v>0.41199999999999998</c:v>
                </c:pt>
                <c:pt idx="942">
                  <c:v>0.38400000000000001</c:v>
                </c:pt>
                <c:pt idx="943">
                  <c:v>0.40899999999999997</c:v>
                </c:pt>
                <c:pt idx="944">
                  <c:v>0.42699999999999999</c:v>
                </c:pt>
                <c:pt idx="945">
                  <c:v>0.437</c:v>
                </c:pt>
                <c:pt idx="946">
                  <c:v>0.42799999999999999</c:v>
                </c:pt>
                <c:pt idx="947">
                  <c:v>0.41299999999999998</c:v>
                </c:pt>
                <c:pt idx="948">
                  <c:v>0.40600000000000003</c:v>
                </c:pt>
                <c:pt idx="949">
                  <c:v>0.4</c:v>
                </c:pt>
                <c:pt idx="950">
                  <c:v>0.375</c:v>
                </c:pt>
                <c:pt idx="951">
                  <c:v>0.378</c:v>
                </c:pt>
                <c:pt idx="952">
                  <c:v>0.38300000000000001</c:v>
                </c:pt>
                <c:pt idx="953">
                  <c:v>0.372</c:v>
                </c:pt>
                <c:pt idx="954">
                  <c:v>0.33400000000000002</c:v>
                </c:pt>
                <c:pt idx="955">
                  <c:v>0.36299999999999999</c:v>
                </c:pt>
                <c:pt idx="956">
                  <c:v>0.36299999999999999</c:v>
                </c:pt>
                <c:pt idx="957">
                  <c:v>0.379</c:v>
                </c:pt>
                <c:pt idx="958">
                  <c:v>0.36799999999999999</c:v>
                </c:pt>
                <c:pt idx="959">
                  <c:v>0.33300000000000002</c:v>
                </c:pt>
                <c:pt idx="960">
                  <c:v>0.34</c:v>
                </c:pt>
                <c:pt idx="961">
                  <c:v>0.3</c:v>
                </c:pt>
                <c:pt idx="962">
                  <c:v>0.316</c:v>
                </c:pt>
                <c:pt idx="963">
                  <c:v>0.33300000000000002</c:v>
                </c:pt>
                <c:pt idx="964">
                  <c:v>0.40100000000000002</c:v>
                </c:pt>
                <c:pt idx="965">
                  <c:v>0.40699999999999997</c:v>
                </c:pt>
                <c:pt idx="966">
                  <c:v>0.41299999999999998</c:v>
                </c:pt>
                <c:pt idx="967">
                  <c:v>0.437</c:v>
                </c:pt>
                <c:pt idx="968">
                  <c:v>0.46100000000000002</c:v>
                </c:pt>
                <c:pt idx="969">
                  <c:v>0.45</c:v>
                </c:pt>
                <c:pt idx="970">
                  <c:v>0.44</c:v>
                </c:pt>
                <c:pt idx="971">
                  <c:v>0.45300000000000001</c:v>
                </c:pt>
                <c:pt idx="972">
                  <c:v>0.45100000000000001</c:v>
                </c:pt>
                <c:pt idx="973">
                  <c:v>0.40100000000000002</c:v>
                </c:pt>
                <c:pt idx="974">
                  <c:v>0.41</c:v>
                </c:pt>
                <c:pt idx="975">
                  <c:v>0.46700000000000003</c:v>
                </c:pt>
                <c:pt idx="976">
                  <c:v>0.47899999999999998</c:v>
                </c:pt>
                <c:pt idx="977">
                  <c:v>0.46100000000000002</c:v>
                </c:pt>
                <c:pt idx="978">
                  <c:v>0.45200000000000001</c:v>
                </c:pt>
                <c:pt idx="979">
                  <c:v>0.46400000000000002</c:v>
                </c:pt>
                <c:pt idx="980">
                  <c:v>0.45300000000000001</c:v>
                </c:pt>
                <c:pt idx="981">
                  <c:v>0.45300000000000001</c:v>
                </c:pt>
                <c:pt idx="982">
                  <c:v>0.46100000000000002</c:v>
                </c:pt>
                <c:pt idx="983">
                  <c:v>0.443</c:v>
                </c:pt>
                <c:pt idx="984">
                  <c:v>0.44600000000000001</c:v>
                </c:pt>
                <c:pt idx="985">
                  <c:v>0.46600000000000003</c:v>
                </c:pt>
                <c:pt idx="986">
                  <c:v>0.44800000000000001</c:v>
                </c:pt>
                <c:pt idx="987">
                  <c:v>0.40200000000000002</c:v>
                </c:pt>
                <c:pt idx="988">
                  <c:v>0.375</c:v>
                </c:pt>
                <c:pt idx="989">
                  <c:v>0.36299999999999999</c:v>
                </c:pt>
                <c:pt idx="990">
                  <c:v>0.39700000000000002</c:v>
                </c:pt>
                <c:pt idx="991">
                  <c:v>0.39500000000000002</c:v>
                </c:pt>
                <c:pt idx="992">
                  <c:v>0.45300000000000001</c:v>
                </c:pt>
                <c:pt idx="993">
                  <c:v>0.437</c:v>
                </c:pt>
                <c:pt idx="994">
                  <c:v>0.47299999999999998</c:v>
                </c:pt>
                <c:pt idx="995">
                  <c:v>0.48199999999999998</c:v>
                </c:pt>
                <c:pt idx="996">
                  <c:v>0.435</c:v>
                </c:pt>
                <c:pt idx="997">
                  <c:v>0.38600000000000001</c:v>
                </c:pt>
                <c:pt idx="998">
                  <c:v>0.36599999999999999</c:v>
                </c:pt>
                <c:pt idx="999">
                  <c:v>0.36299999999999999</c:v>
                </c:pt>
                <c:pt idx="1000">
                  <c:v>0.37</c:v>
                </c:pt>
                <c:pt idx="1001">
                  <c:v>0.372</c:v>
                </c:pt>
                <c:pt idx="1002">
                  <c:v>0.36599999999999999</c:v>
                </c:pt>
                <c:pt idx="1003">
                  <c:v>0.33700000000000002</c:v>
                </c:pt>
                <c:pt idx="1004">
                  <c:v>0.32800000000000001</c:v>
                </c:pt>
                <c:pt idx="1005">
                  <c:v>0.32700000000000001</c:v>
                </c:pt>
                <c:pt idx="1006">
                  <c:v>0.38200000000000001</c:v>
                </c:pt>
                <c:pt idx="1007">
                  <c:v>0.41199999999999998</c:v>
                </c:pt>
                <c:pt idx="1008">
                  <c:v>0.41799999999999998</c:v>
                </c:pt>
                <c:pt idx="1009">
                  <c:v>0.39700000000000002</c:v>
                </c:pt>
                <c:pt idx="1010">
                  <c:v>0.379</c:v>
                </c:pt>
                <c:pt idx="1011">
                  <c:v>0.375</c:v>
                </c:pt>
                <c:pt idx="1012">
                  <c:v>0.36399999999999999</c:v>
                </c:pt>
                <c:pt idx="1013">
                  <c:v>0.36</c:v>
                </c:pt>
                <c:pt idx="1014">
                  <c:v>0.34799999999999998</c:v>
                </c:pt>
                <c:pt idx="1015">
                  <c:v>0.35299999999999998</c:v>
                </c:pt>
                <c:pt idx="1016">
                  <c:v>0.34699999999999998</c:v>
                </c:pt>
                <c:pt idx="1017">
                  <c:v>0.37</c:v>
                </c:pt>
                <c:pt idx="1018">
                  <c:v>0.34399999999999997</c:v>
                </c:pt>
                <c:pt idx="1019">
                  <c:v>0.34200000000000003</c:v>
                </c:pt>
                <c:pt idx="1020">
                  <c:v>0.38500000000000001</c:v>
                </c:pt>
                <c:pt idx="1021">
                  <c:v>0.376</c:v>
                </c:pt>
                <c:pt idx="1022">
                  <c:v>0.36399999999999999</c:v>
                </c:pt>
                <c:pt idx="1023">
                  <c:v>0.33700000000000002</c:v>
                </c:pt>
                <c:pt idx="1024">
                  <c:v>0.32400000000000001</c:v>
                </c:pt>
                <c:pt idx="1025">
                  <c:v>0.30199999999999999</c:v>
                </c:pt>
                <c:pt idx="1026">
                  <c:v>0.29599999999999999</c:v>
                </c:pt>
                <c:pt idx="1027">
                  <c:v>0.31</c:v>
                </c:pt>
                <c:pt idx="1028">
                  <c:v>0.28999999999999998</c:v>
                </c:pt>
                <c:pt idx="1029">
                  <c:v>0.316</c:v>
                </c:pt>
                <c:pt idx="1030">
                  <c:v>0.31900000000000001</c:v>
                </c:pt>
                <c:pt idx="1031">
                  <c:v>0.316</c:v>
                </c:pt>
                <c:pt idx="1032">
                  <c:v>0.30399999999999999</c:v>
                </c:pt>
                <c:pt idx="1033">
                  <c:v>0.308</c:v>
                </c:pt>
                <c:pt idx="1034">
                  <c:v>0.375</c:v>
                </c:pt>
                <c:pt idx="1035">
                  <c:v>0.40699999999999997</c:v>
                </c:pt>
                <c:pt idx="1036">
                  <c:v>0.41899999999999998</c:v>
                </c:pt>
                <c:pt idx="1037">
                  <c:v>0.41799999999999998</c:v>
                </c:pt>
                <c:pt idx="1038">
                  <c:v>0.41799999999999998</c:v>
                </c:pt>
                <c:pt idx="1039">
                  <c:v>0.41799999999999998</c:v>
                </c:pt>
                <c:pt idx="1040">
                  <c:v>0.38200000000000001</c:v>
                </c:pt>
                <c:pt idx="1041">
                  <c:v>0.42099999999999999</c:v>
                </c:pt>
                <c:pt idx="1042">
                  <c:v>0.42399999999999999</c:v>
                </c:pt>
                <c:pt idx="1043">
                  <c:v>0.42399999999999999</c:v>
                </c:pt>
                <c:pt idx="1044">
                  <c:v>0.46200000000000002</c:v>
                </c:pt>
                <c:pt idx="1045">
                  <c:v>0.44</c:v>
                </c:pt>
                <c:pt idx="1046">
                  <c:v>0.433</c:v>
                </c:pt>
                <c:pt idx="1047">
                  <c:v>0.44</c:v>
                </c:pt>
                <c:pt idx="1048">
                  <c:v>0.42799999999999999</c:v>
                </c:pt>
                <c:pt idx="1049">
                  <c:v>0.45800000000000002</c:v>
                </c:pt>
                <c:pt idx="1050">
                  <c:v>0.47699999999999998</c:v>
                </c:pt>
                <c:pt idx="1051">
                  <c:v>0.52500000000000002</c:v>
                </c:pt>
                <c:pt idx="1052">
                  <c:v>0.52800000000000002</c:v>
                </c:pt>
                <c:pt idx="1053">
                  <c:v>0.58799999999999997</c:v>
                </c:pt>
                <c:pt idx="1054">
                  <c:v>0.56200000000000006</c:v>
                </c:pt>
                <c:pt idx="1055">
                  <c:v>0.56100000000000005</c:v>
                </c:pt>
                <c:pt idx="1056">
                  <c:v>0.56899999999999995</c:v>
                </c:pt>
                <c:pt idx="1057">
                  <c:v>0.56599999999999995</c:v>
                </c:pt>
                <c:pt idx="1058">
                  <c:v>0.56299999999999994</c:v>
                </c:pt>
                <c:pt idx="1059">
                  <c:v>0.56200000000000006</c:v>
                </c:pt>
                <c:pt idx="1060">
                  <c:v>0.59</c:v>
                </c:pt>
                <c:pt idx="1061">
                  <c:v>0.61</c:v>
                </c:pt>
                <c:pt idx="1062">
                  <c:v>0.624</c:v>
                </c:pt>
                <c:pt idx="1063">
                  <c:v>0.69</c:v>
                </c:pt>
                <c:pt idx="1064">
                  <c:v>0.68400000000000005</c:v>
                </c:pt>
                <c:pt idx="1065">
                  <c:v>0.69299999999999995</c:v>
                </c:pt>
                <c:pt idx="1066">
                  <c:v>0.71099999999999997</c:v>
                </c:pt>
                <c:pt idx="1067">
                  <c:v>0.75900000000000001</c:v>
                </c:pt>
                <c:pt idx="1068">
                  <c:v>0.74299999999999999</c:v>
                </c:pt>
                <c:pt idx="1069">
                  <c:v>0.69099999999999995</c:v>
                </c:pt>
                <c:pt idx="1070">
                  <c:v>0.73499999999999999</c:v>
                </c:pt>
                <c:pt idx="1071">
                  <c:v>0.76</c:v>
                </c:pt>
                <c:pt idx="1072">
                  <c:v>0.749</c:v>
                </c:pt>
                <c:pt idx="1073">
                  <c:v>0.75600000000000001</c:v>
                </c:pt>
                <c:pt idx="1074">
                  <c:v>0.749</c:v>
                </c:pt>
                <c:pt idx="1075">
                  <c:v>0.75600000000000001</c:v>
                </c:pt>
                <c:pt idx="1076">
                  <c:v>0.76300000000000001</c:v>
                </c:pt>
                <c:pt idx="1077">
                  <c:v>0.70199999999999996</c:v>
                </c:pt>
                <c:pt idx="1078">
                  <c:v>0.73399999999999999</c:v>
                </c:pt>
                <c:pt idx="1079">
                  <c:v>0.73699999999999999</c:v>
                </c:pt>
                <c:pt idx="1080">
                  <c:v>0.72199999999999998</c:v>
                </c:pt>
                <c:pt idx="1081">
                  <c:v>0.70599999999999996</c:v>
                </c:pt>
                <c:pt idx="1082">
                  <c:v>0.65500000000000003</c:v>
                </c:pt>
                <c:pt idx="1083">
                  <c:v>0.65100000000000002</c:v>
                </c:pt>
                <c:pt idx="1084">
                  <c:v>0.67900000000000005</c:v>
                </c:pt>
                <c:pt idx="1085">
                  <c:v>0.66200000000000003</c:v>
                </c:pt>
                <c:pt idx="1086">
                  <c:v>0.64400000000000002</c:v>
                </c:pt>
                <c:pt idx="1087">
                  <c:v>0.64600000000000002</c:v>
                </c:pt>
                <c:pt idx="1088">
                  <c:v>0.63500000000000001</c:v>
                </c:pt>
                <c:pt idx="1089">
                  <c:v>0.67400000000000004</c:v>
                </c:pt>
                <c:pt idx="1090">
                  <c:v>0.65800000000000003</c:v>
                </c:pt>
                <c:pt idx="1091">
                  <c:v>0.63100000000000001</c:v>
                </c:pt>
                <c:pt idx="1092">
                  <c:v>0.65100000000000002</c:v>
                </c:pt>
                <c:pt idx="1093">
                  <c:v>0.629</c:v>
                </c:pt>
                <c:pt idx="1094">
                  <c:v>0.61899999999999999</c:v>
                </c:pt>
                <c:pt idx="1095">
                  <c:v>0.59</c:v>
                </c:pt>
                <c:pt idx="1096">
                  <c:v>0.57499999999999996</c:v>
                </c:pt>
                <c:pt idx="1097">
                  <c:v>0.56999999999999995</c:v>
                </c:pt>
                <c:pt idx="1098">
                  <c:v>0.56799999999999995</c:v>
                </c:pt>
                <c:pt idx="1099">
                  <c:v>0.57999999999999996</c:v>
                </c:pt>
                <c:pt idx="1100">
                  <c:v>0.59399999999999997</c:v>
                </c:pt>
                <c:pt idx="1101">
                  <c:v>0.53100000000000003</c:v>
                </c:pt>
                <c:pt idx="1102">
                  <c:v>0.53</c:v>
                </c:pt>
                <c:pt idx="1103">
                  <c:v>0.52200000000000002</c:v>
                </c:pt>
                <c:pt idx="1104">
                  <c:v>0.503</c:v>
                </c:pt>
                <c:pt idx="1105">
                  <c:v>0.497</c:v>
                </c:pt>
                <c:pt idx="1106">
                  <c:v>0.49399999999999999</c:v>
                </c:pt>
                <c:pt idx="1107">
                  <c:v>0.49399999999999999</c:v>
                </c:pt>
                <c:pt idx="1108">
                  <c:v>0.49399999999999999</c:v>
                </c:pt>
                <c:pt idx="1109">
                  <c:v>0.502</c:v>
                </c:pt>
                <c:pt idx="1110">
                  <c:v>0.502</c:v>
                </c:pt>
                <c:pt idx="1111">
                  <c:v>0.52500000000000002</c:v>
                </c:pt>
                <c:pt idx="1112">
                  <c:v>0.497</c:v>
                </c:pt>
                <c:pt idx="1113">
                  <c:v>0.50700000000000001</c:v>
                </c:pt>
                <c:pt idx="1114">
                  <c:v>0.51200000000000001</c:v>
                </c:pt>
                <c:pt idx="1115">
                  <c:v>0.497</c:v>
                </c:pt>
                <c:pt idx="1116">
                  <c:v>0.51200000000000001</c:v>
                </c:pt>
                <c:pt idx="1117">
                  <c:v>0.51500000000000001</c:v>
                </c:pt>
                <c:pt idx="1118">
                  <c:v>0.52800000000000002</c:v>
                </c:pt>
                <c:pt idx="1119">
                  <c:v>0.51200000000000001</c:v>
                </c:pt>
                <c:pt idx="1120">
                  <c:v>0.53100000000000003</c:v>
                </c:pt>
                <c:pt idx="1121">
                  <c:v>0.59899999999999998</c:v>
                </c:pt>
                <c:pt idx="1122">
                  <c:v>0.58899999999999997</c:v>
                </c:pt>
                <c:pt idx="1123">
                  <c:v>0.63300000000000001</c:v>
                </c:pt>
                <c:pt idx="1124">
                  <c:v>0.63100000000000001</c:v>
                </c:pt>
                <c:pt idx="1125">
                  <c:v>0.63500000000000001</c:v>
                </c:pt>
                <c:pt idx="1126">
                  <c:v>0.59299999999999997</c:v>
                </c:pt>
                <c:pt idx="1127">
                  <c:v>0.56699999999999995</c:v>
                </c:pt>
                <c:pt idx="1128">
                  <c:v>0.56299999999999994</c:v>
                </c:pt>
                <c:pt idx="1129">
                  <c:v>0.56299999999999994</c:v>
                </c:pt>
                <c:pt idx="1130">
                  <c:v>0.57999999999999996</c:v>
                </c:pt>
                <c:pt idx="1131">
                  <c:v>0.52800000000000002</c:v>
                </c:pt>
                <c:pt idx="1132">
                  <c:v>0.54500000000000004</c:v>
                </c:pt>
                <c:pt idx="1133">
                  <c:v>0.52800000000000002</c:v>
                </c:pt>
                <c:pt idx="1134">
                  <c:v>0.55900000000000005</c:v>
                </c:pt>
                <c:pt idx="1135">
                  <c:v>0.55900000000000005</c:v>
                </c:pt>
                <c:pt idx="1136">
                  <c:v>0.55400000000000005</c:v>
                </c:pt>
                <c:pt idx="1137">
                  <c:v>0.56200000000000006</c:v>
                </c:pt>
                <c:pt idx="1138">
                  <c:v>0.61399999999999999</c:v>
                </c:pt>
                <c:pt idx="1139">
                  <c:v>0.64400000000000002</c:v>
                </c:pt>
                <c:pt idx="1140">
                  <c:v>0.61699999999999999</c:v>
                </c:pt>
                <c:pt idx="1141">
                  <c:v>0.63600000000000001</c:v>
                </c:pt>
                <c:pt idx="1142">
                  <c:v>0.57599999999999996</c:v>
                </c:pt>
                <c:pt idx="1143">
                  <c:v>0.52200000000000002</c:v>
                </c:pt>
                <c:pt idx="1144">
                  <c:v>0.56100000000000005</c:v>
                </c:pt>
                <c:pt idx="1145">
                  <c:v>0.502</c:v>
                </c:pt>
                <c:pt idx="1146">
                  <c:v>0.46800000000000003</c:v>
                </c:pt>
                <c:pt idx="1147">
                  <c:v>0.40799999999999997</c:v>
                </c:pt>
                <c:pt idx="1148">
                  <c:v>0.34200000000000003</c:v>
                </c:pt>
                <c:pt idx="1149">
                  <c:v>0.27600000000000002</c:v>
                </c:pt>
                <c:pt idx="1150">
                  <c:v>0.35099999999999998</c:v>
                </c:pt>
                <c:pt idx="1151">
                  <c:v>0.34300000000000003</c:v>
                </c:pt>
                <c:pt idx="1152">
                  <c:v>0.377</c:v>
                </c:pt>
                <c:pt idx="1153">
                  <c:v>0.42</c:v>
                </c:pt>
                <c:pt idx="1154">
                  <c:v>0.36899999999999999</c:v>
                </c:pt>
                <c:pt idx="1155">
                  <c:v>0.46200000000000002</c:v>
                </c:pt>
                <c:pt idx="1156">
                  <c:v>0.48899999999999999</c:v>
                </c:pt>
                <c:pt idx="1157">
                  <c:v>0.44900000000000001</c:v>
                </c:pt>
                <c:pt idx="1158">
                  <c:v>0.49399999999999999</c:v>
                </c:pt>
                <c:pt idx="1159">
                  <c:v>0.48899999999999999</c:v>
                </c:pt>
                <c:pt idx="1160">
                  <c:v>0.47599999999999998</c:v>
                </c:pt>
                <c:pt idx="1161">
                  <c:v>0.433</c:v>
                </c:pt>
                <c:pt idx="1162">
                  <c:v>0.40500000000000003</c:v>
                </c:pt>
                <c:pt idx="1163">
                  <c:v>0.4</c:v>
                </c:pt>
                <c:pt idx="1164">
                  <c:v>0.373</c:v>
                </c:pt>
                <c:pt idx="1165">
                  <c:v>0.374</c:v>
                </c:pt>
                <c:pt idx="1166">
                  <c:v>0.33100000000000002</c:v>
                </c:pt>
                <c:pt idx="1167">
                  <c:v>0.33300000000000002</c:v>
                </c:pt>
                <c:pt idx="1168">
                  <c:v>0.32400000000000001</c:v>
                </c:pt>
                <c:pt idx="1169">
                  <c:v>0.33400000000000002</c:v>
                </c:pt>
                <c:pt idx="1170">
                  <c:v>0.32300000000000001</c:v>
                </c:pt>
                <c:pt idx="1171">
                  <c:v>0.315</c:v>
                </c:pt>
                <c:pt idx="1172">
                  <c:v>0.308</c:v>
                </c:pt>
                <c:pt idx="1173">
                  <c:v>0.30299999999999999</c:v>
                </c:pt>
                <c:pt idx="1174">
                  <c:v>0.29299999999999998</c:v>
                </c:pt>
                <c:pt idx="1175">
                  <c:v>0.30399999999999999</c:v>
                </c:pt>
                <c:pt idx="1176">
                  <c:v>0.29599999999999999</c:v>
                </c:pt>
                <c:pt idx="1177">
                  <c:v>0.28899999999999998</c:v>
                </c:pt>
                <c:pt idx="1178">
                  <c:v>0.30499999999999999</c:v>
                </c:pt>
                <c:pt idx="1179">
                  <c:v>0.32200000000000001</c:v>
                </c:pt>
                <c:pt idx="1180">
                  <c:v>0.308</c:v>
                </c:pt>
                <c:pt idx="1181">
                  <c:v>0.29399999999999998</c:v>
                </c:pt>
                <c:pt idx="1182">
                  <c:v>0.28299999999999997</c:v>
                </c:pt>
                <c:pt idx="1183">
                  <c:v>0.30499999999999999</c:v>
                </c:pt>
                <c:pt idx="1184">
                  <c:v>0.34799999999999998</c:v>
                </c:pt>
                <c:pt idx="1185">
                  <c:v>0.34200000000000003</c:v>
                </c:pt>
                <c:pt idx="1186">
                  <c:v>0.33</c:v>
                </c:pt>
                <c:pt idx="1187">
                  <c:v>0.373</c:v>
                </c:pt>
                <c:pt idx="1188">
                  <c:v>0.40500000000000003</c:v>
                </c:pt>
                <c:pt idx="1189">
                  <c:v>0.39400000000000002</c:v>
                </c:pt>
                <c:pt idx="1190">
                  <c:v>0.39100000000000001</c:v>
                </c:pt>
                <c:pt idx="1191">
                  <c:v>0.40500000000000003</c:v>
                </c:pt>
                <c:pt idx="1192">
                  <c:v>0.40899999999999997</c:v>
                </c:pt>
                <c:pt idx="1193">
                  <c:v>0.45200000000000001</c:v>
                </c:pt>
                <c:pt idx="1194">
                  <c:v>0.443</c:v>
                </c:pt>
                <c:pt idx="1195">
                  <c:v>0.49199999999999999</c:v>
                </c:pt>
                <c:pt idx="1196">
                  <c:v>0.46100000000000002</c:v>
                </c:pt>
                <c:pt idx="1197">
                  <c:v>0.40799999999999997</c:v>
                </c:pt>
                <c:pt idx="1198">
                  <c:v>0.39100000000000001</c:v>
                </c:pt>
                <c:pt idx="1199">
                  <c:v>0.41099999999999998</c:v>
                </c:pt>
                <c:pt idx="1200">
                  <c:v>0.39800000000000002</c:v>
                </c:pt>
                <c:pt idx="1201">
                  <c:v>0.379</c:v>
                </c:pt>
                <c:pt idx="1202">
                  <c:v>0.32300000000000001</c:v>
                </c:pt>
                <c:pt idx="1203">
                  <c:v>0.317</c:v>
                </c:pt>
                <c:pt idx="1204">
                  <c:v>0.33</c:v>
                </c:pt>
                <c:pt idx="1205">
                  <c:v>0.30099999999999999</c:v>
                </c:pt>
                <c:pt idx="1206">
                  <c:v>0.315</c:v>
                </c:pt>
                <c:pt idx="1207">
                  <c:v>0.30499999999999999</c:v>
                </c:pt>
                <c:pt idx="1208">
                  <c:v>0.30199999999999999</c:v>
                </c:pt>
                <c:pt idx="1209">
                  <c:v>0.32800000000000001</c:v>
                </c:pt>
                <c:pt idx="1210">
                  <c:v>0.35099999999999998</c:v>
                </c:pt>
                <c:pt idx="1211">
                  <c:v>0.34300000000000003</c:v>
                </c:pt>
                <c:pt idx="1212">
                  <c:v>0.34399999999999997</c:v>
                </c:pt>
                <c:pt idx="1213">
                  <c:v>0.377</c:v>
                </c:pt>
                <c:pt idx="1214">
                  <c:v>0.38</c:v>
                </c:pt>
                <c:pt idx="1215">
                  <c:v>0.40799999999999997</c:v>
                </c:pt>
                <c:pt idx="1216">
                  <c:v>0.34699999999999998</c:v>
                </c:pt>
                <c:pt idx="1217">
                  <c:v>0.33200000000000002</c:v>
                </c:pt>
                <c:pt idx="1218">
                  <c:v>0.33500000000000002</c:v>
                </c:pt>
                <c:pt idx="1219">
                  <c:v>0.35899999999999999</c:v>
                </c:pt>
                <c:pt idx="1220">
                  <c:v>0.378</c:v>
                </c:pt>
                <c:pt idx="1221">
                  <c:v>0.35</c:v>
                </c:pt>
                <c:pt idx="1222">
                  <c:v>0.39100000000000001</c:v>
                </c:pt>
                <c:pt idx="1223">
                  <c:v>0.40500000000000003</c:v>
                </c:pt>
                <c:pt idx="1224">
                  <c:v>0.433</c:v>
                </c:pt>
                <c:pt idx="1225">
                  <c:v>0.41599999999999998</c:v>
                </c:pt>
                <c:pt idx="1226">
                  <c:v>0.42399999999999999</c:v>
                </c:pt>
                <c:pt idx="1227">
                  <c:v>0.45</c:v>
                </c:pt>
                <c:pt idx="1228">
                  <c:v>0.45800000000000002</c:v>
                </c:pt>
                <c:pt idx="1229">
                  <c:v>0.48099999999999998</c:v>
                </c:pt>
                <c:pt idx="1230">
                  <c:v>0.48799999999999999</c:v>
                </c:pt>
                <c:pt idx="1231">
                  <c:v>0.47899999999999998</c:v>
                </c:pt>
                <c:pt idx="1232">
                  <c:v>0.46100000000000002</c:v>
                </c:pt>
                <c:pt idx="1233">
                  <c:v>0.51100000000000001</c:v>
                </c:pt>
                <c:pt idx="1234">
                  <c:v>0.54600000000000004</c:v>
                </c:pt>
                <c:pt idx="1235">
                  <c:v>0.53400000000000003</c:v>
                </c:pt>
                <c:pt idx="1236">
                  <c:v>0.52900000000000003</c:v>
                </c:pt>
                <c:pt idx="1237">
                  <c:v>0.47399999999999998</c:v>
                </c:pt>
                <c:pt idx="1238">
                  <c:v>0.46899999999999997</c:v>
                </c:pt>
                <c:pt idx="1239">
                  <c:v>0.42399999999999999</c:v>
                </c:pt>
                <c:pt idx="1240">
                  <c:v>0.48</c:v>
                </c:pt>
                <c:pt idx="1241">
                  <c:v>0.53700000000000003</c:v>
                </c:pt>
                <c:pt idx="1242">
                  <c:v>0.56399999999999995</c:v>
                </c:pt>
                <c:pt idx="1243">
                  <c:v>0.54200000000000004</c:v>
                </c:pt>
                <c:pt idx="1244">
                  <c:v>0.53900000000000003</c:v>
                </c:pt>
                <c:pt idx="1245">
                  <c:v>0.55100000000000005</c:v>
                </c:pt>
                <c:pt idx="1246">
                  <c:v>0.51800000000000002</c:v>
                </c:pt>
                <c:pt idx="1247">
                  <c:v>0.498</c:v>
                </c:pt>
                <c:pt idx="1248">
                  <c:v>0.505</c:v>
                </c:pt>
                <c:pt idx="1249">
                  <c:v>0.48799999999999999</c:v>
                </c:pt>
                <c:pt idx="1250">
                  <c:v>0.46200000000000002</c:v>
                </c:pt>
                <c:pt idx="1251">
                  <c:v>0.42199999999999999</c:v>
                </c:pt>
                <c:pt idx="1252">
                  <c:v>0.434</c:v>
                </c:pt>
                <c:pt idx="1253">
                  <c:v>0.45300000000000001</c:v>
                </c:pt>
                <c:pt idx="1254">
                  <c:v>0.41599999999999998</c:v>
                </c:pt>
                <c:pt idx="1255">
                  <c:v>0.39</c:v>
                </c:pt>
                <c:pt idx="1256">
                  <c:v>0.39700000000000002</c:v>
                </c:pt>
                <c:pt idx="1257">
                  <c:v>0.35</c:v>
                </c:pt>
                <c:pt idx="1258">
                  <c:v>0.379</c:v>
                </c:pt>
                <c:pt idx="1259">
                  <c:v>0.373</c:v>
                </c:pt>
                <c:pt idx="1260">
                  <c:v>0.38400000000000001</c:v>
                </c:pt>
                <c:pt idx="1261">
                  <c:v>0.39700000000000002</c:v>
                </c:pt>
                <c:pt idx="1262">
                  <c:v>0.436</c:v>
                </c:pt>
                <c:pt idx="1263">
                  <c:v>0.42299999999999999</c:v>
                </c:pt>
                <c:pt idx="1264">
                  <c:v>0.432</c:v>
                </c:pt>
                <c:pt idx="1265">
                  <c:v>0.44600000000000001</c:v>
                </c:pt>
                <c:pt idx="1266">
                  <c:v>0.45500000000000002</c:v>
                </c:pt>
                <c:pt idx="1267">
                  <c:v>0.41</c:v>
                </c:pt>
                <c:pt idx="1268">
                  <c:v>0.38700000000000001</c:v>
                </c:pt>
                <c:pt idx="1269">
                  <c:v>0.40799999999999997</c:v>
                </c:pt>
                <c:pt idx="1270">
                  <c:v>0.4</c:v>
                </c:pt>
                <c:pt idx="1271">
                  <c:v>0.35899999999999999</c:v>
                </c:pt>
                <c:pt idx="1272">
                  <c:v>0.374</c:v>
                </c:pt>
                <c:pt idx="1273">
                  <c:v>0.376</c:v>
                </c:pt>
                <c:pt idx="1274">
                  <c:v>0.35</c:v>
                </c:pt>
                <c:pt idx="1275">
                  <c:v>0.373</c:v>
                </c:pt>
                <c:pt idx="1276">
                  <c:v>0.36899999999999999</c:v>
                </c:pt>
                <c:pt idx="1277">
                  <c:v>0.33900000000000002</c:v>
                </c:pt>
                <c:pt idx="1278">
                  <c:v>0.36299999999999999</c:v>
                </c:pt>
                <c:pt idx="1279">
                  <c:v>0.34799999999999998</c:v>
                </c:pt>
                <c:pt idx="1280">
                  <c:v>0.34899999999999998</c:v>
                </c:pt>
                <c:pt idx="1281">
                  <c:v>0.32200000000000001</c:v>
                </c:pt>
                <c:pt idx="1282">
                  <c:v>0.309</c:v>
                </c:pt>
                <c:pt idx="1283">
                  <c:v>0.307</c:v>
                </c:pt>
                <c:pt idx="1284">
                  <c:v>0.26400000000000001</c:v>
                </c:pt>
                <c:pt idx="1285">
                  <c:v>0.27400000000000002</c:v>
                </c:pt>
                <c:pt idx="1286">
                  <c:v>0.22600000000000001</c:v>
                </c:pt>
                <c:pt idx="1287">
                  <c:v>0.253</c:v>
                </c:pt>
                <c:pt idx="1288">
                  <c:v>0.24</c:v>
                </c:pt>
                <c:pt idx="1289">
                  <c:v>0.23699999999999999</c:v>
                </c:pt>
                <c:pt idx="1290">
                  <c:v>0.26900000000000002</c:v>
                </c:pt>
                <c:pt idx="1291">
                  <c:v>0.28299999999999997</c:v>
                </c:pt>
                <c:pt idx="1292">
                  <c:v>0.255</c:v>
                </c:pt>
                <c:pt idx="1293">
                  <c:v>0.25700000000000001</c:v>
                </c:pt>
                <c:pt idx="1294">
                  <c:v>0.24399999999999999</c:v>
                </c:pt>
                <c:pt idx="1295">
                  <c:v>0.24199999999999999</c:v>
                </c:pt>
                <c:pt idx="1296">
                  <c:v>0.23300000000000001</c:v>
                </c:pt>
                <c:pt idx="1297">
                  <c:v>0.254</c:v>
                </c:pt>
                <c:pt idx="1298">
                  <c:v>0.249</c:v>
                </c:pt>
                <c:pt idx="1299">
                  <c:v>0.249</c:v>
                </c:pt>
                <c:pt idx="1300">
                  <c:v>0.249</c:v>
                </c:pt>
                <c:pt idx="1301">
                  <c:v>0.22800000000000001</c:v>
                </c:pt>
                <c:pt idx="1302">
                  <c:v>0.24199999999999999</c:v>
                </c:pt>
                <c:pt idx="1303">
                  <c:v>0.246</c:v>
                </c:pt>
                <c:pt idx="1304">
                  <c:v>0.246</c:v>
                </c:pt>
                <c:pt idx="1305">
                  <c:v>0.17100000000000001</c:v>
                </c:pt>
                <c:pt idx="1306">
                  <c:v>0.151</c:v>
                </c:pt>
                <c:pt idx="1307">
                  <c:v>0.20799999999999999</c:v>
                </c:pt>
                <c:pt idx="1308">
                  <c:v>0.216</c:v>
                </c:pt>
                <c:pt idx="1309">
                  <c:v>0.23</c:v>
                </c:pt>
                <c:pt idx="1310">
                  <c:v>0.215</c:v>
                </c:pt>
                <c:pt idx="1311">
                  <c:v>0.19700000000000001</c:v>
                </c:pt>
                <c:pt idx="1312">
                  <c:v>0.182</c:v>
                </c:pt>
                <c:pt idx="1313">
                  <c:v>0.23200000000000001</c:v>
                </c:pt>
                <c:pt idx="1314">
                  <c:v>0.20599999999999999</c:v>
                </c:pt>
                <c:pt idx="1315">
                  <c:v>0.223</c:v>
                </c:pt>
                <c:pt idx="1316">
                  <c:v>0.24199999999999999</c:v>
                </c:pt>
                <c:pt idx="1317">
                  <c:v>0.26200000000000001</c:v>
                </c:pt>
                <c:pt idx="1318">
                  <c:v>0.25900000000000001</c:v>
                </c:pt>
                <c:pt idx="1319">
                  <c:v>0.24</c:v>
                </c:pt>
                <c:pt idx="1320">
                  <c:v>0.22500000000000001</c:v>
                </c:pt>
                <c:pt idx="1321">
                  <c:v>0.17899999999999999</c:v>
                </c:pt>
                <c:pt idx="1322">
                  <c:v>0.19800000000000001</c:v>
                </c:pt>
                <c:pt idx="1323">
                  <c:v>0.20699999999999999</c:v>
                </c:pt>
                <c:pt idx="1324">
                  <c:v>0.19700000000000001</c:v>
                </c:pt>
                <c:pt idx="1325">
                  <c:v>0.186</c:v>
                </c:pt>
                <c:pt idx="1326">
                  <c:v>0.156</c:v>
                </c:pt>
                <c:pt idx="1327">
                  <c:v>0.16600000000000001</c:v>
                </c:pt>
                <c:pt idx="1328">
                  <c:v>0.18</c:v>
                </c:pt>
                <c:pt idx="1329">
                  <c:v>0.16600000000000001</c:v>
                </c:pt>
                <c:pt idx="1330">
                  <c:v>0.16400000000000001</c:v>
                </c:pt>
                <c:pt idx="1331">
                  <c:v>0.113</c:v>
                </c:pt>
                <c:pt idx="1332">
                  <c:v>8.5000000000000006E-2</c:v>
                </c:pt>
                <c:pt idx="1333">
                  <c:v>0.11600000000000001</c:v>
                </c:pt>
                <c:pt idx="1334">
                  <c:v>0.13100000000000001</c:v>
                </c:pt>
                <c:pt idx="1335">
                  <c:v>0.122</c:v>
                </c:pt>
                <c:pt idx="1336">
                  <c:v>0.10199999999999999</c:v>
                </c:pt>
                <c:pt idx="1337">
                  <c:v>0.10299999999999999</c:v>
                </c:pt>
                <c:pt idx="1338">
                  <c:v>0.11</c:v>
                </c:pt>
                <c:pt idx="1339">
                  <c:v>0.10100000000000001</c:v>
                </c:pt>
                <c:pt idx="1340">
                  <c:v>0.10100000000000001</c:v>
                </c:pt>
                <c:pt idx="1341">
                  <c:v>0.128</c:v>
                </c:pt>
                <c:pt idx="1342">
                  <c:v>9.8000000000000004E-2</c:v>
                </c:pt>
                <c:pt idx="1343">
                  <c:v>0.107</c:v>
                </c:pt>
                <c:pt idx="1344">
                  <c:v>0.114</c:v>
                </c:pt>
                <c:pt idx="1345">
                  <c:v>0.154</c:v>
                </c:pt>
                <c:pt idx="1346">
                  <c:v>0.186</c:v>
                </c:pt>
                <c:pt idx="1347">
                  <c:v>0.187</c:v>
                </c:pt>
                <c:pt idx="1348">
                  <c:v>0.159</c:v>
                </c:pt>
                <c:pt idx="1349">
                  <c:v>0.16700000000000001</c:v>
                </c:pt>
                <c:pt idx="1350">
                  <c:v>0.13</c:v>
                </c:pt>
                <c:pt idx="1351">
                  <c:v>6.7000000000000004E-2</c:v>
                </c:pt>
                <c:pt idx="1352">
                  <c:v>7.3999999999999996E-2</c:v>
                </c:pt>
                <c:pt idx="1353">
                  <c:v>6.4000000000000001E-2</c:v>
                </c:pt>
                <c:pt idx="1354">
                  <c:v>5.8999999999999997E-2</c:v>
                </c:pt>
                <c:pt idx="1355">
                  <c:v>6.5000000000000002E-2</c:v>
                </c:pt>
                <c:pt idx="1356">
                  <c:v>8.5999999999999993E-2</c:v>
                </c:pt>
                <c:pt idx="1357">
                  <c:v>8.8999999999999996E-2</c:v>
                </c:pt>
                <c:pt idx="1358">
                  <c:v>0.08</c:v>
                </c:pt>
                <c:pt idx="1359">
                  <c:v>0.10299999999999999</c:v>
                </c:pt>
                <c:pt idx="1360">
                  <c:v>8.1000000000000003E-2</c:v>
                </c:pt>
                <c:pt idx="1361">
                  <c:v>3.9E-2</c:v>
                </c:pt>
                <c:pt idx="1362">
                  <c:v>-2.5000000000000001E-2</c:v>
                </c:pt>
                <c:pt idx="1363">
                  <c:v>-2.3E-2</c:v>
                </c:pt>
                <c:pt idx="1364">
                  <c:v>-1.4E-2</c:v>
                </c:pt>
                <c:pt idx="1365">
                  <c:v>-8.1000000000000003E-2</c:v>
                </c:pt>
                <c:pt idx="1366">
                  <c:v>-7.0000000000000007E-2</c:v>
                </c:pt>
                <c:pt idx="1367">
                  <c:v>-7.0999999999999994E-2</c:v>
                </c:pt>
                <c:pt idx="1368">
                  <c:v>-2.5999999999999999E-2</c:v>
                </c:pt>
                <c:pt idx="1369">
                  <c:v>-0.05</c:v>
                </c:pt>
                <c:pt idx="1370">
                  <c:v>-2E-3</c:v>
                </c:pt>
                <c:pt idx="1371">
                  <c:v>-5.0000000000000001E-3</c:v>
                </c:pt>
                <c:pt idx="1372">
                  <c:v>4.0000000000000001E-3</c:v>
                </c:pt>
                <c:pt idx="1373">
                  <c:v>2E-3</c:v>
                </c:pt>
                <c:pt idx="1374">
                  <c:v>-5.0000000000000001E-3</c:v>
                </c:pt>
                <c:pt idx="1375">
                  <c:v>-3.2000000000000001E-2</c:v>
                </c:pt>
                <c:pt idx="1376">
                  <c:v>-5.0000000000000001E-3</c:v>
                </c:pt>
                <c:pt idx="1377">
                  <c:v>5.5E-2</c:v>
                </c:pt>
                <c:pt idx="1378">
                  <c:v>5.3999999999999999E-2</c:v>
                </c:pt>
                <c:pt idx="1379">
                  <c:v>6.3E-2</c:v>
                </c:pt>
                <c:pt idx="1380">
                  <c:v>8.3000000000000004E-2</c:v>
                </c:pt>
                <c:pt idx="1381">
                  <c:v>2.4E-2</c:v>
                </c:pt>
                <c:pt idx="1382">
                  <c:v>2.4E-2</c:v>
                </c:pt>
                <c:pt idx="1383">
                  <c:v>2.4E-2</c:v>
                </c:pt>
                <c:pt idx="1384">
                  <c:v>4.2000000000000003E-2</c:v>
                </c:pt>
                <c:pt idx="1385">
                  <c:v>-1.2999999999999999E-2</c:v>
                </c:pt>
                <c:pt idx="1386">
                  <c:v>-8.9999999999999993E-3</c:v>
                </c:pt>
                <c:pt idx="1387">
                  <c:v>-1.7999999999999999E-2</c:v>
                </c:pt>
                <c:pt idx="1388">
                  <c:v>1E-3</c:v>
                </c:pt>
                <c:pt idx="1389">
                  <c:v>1.4E-2</c:v>
                </c:pt>
                <c:pt idx="1390">
                  <c:v>1.4E-2</c:v>
                </c:pt>
                <c:pt idx="1391">
                  <c:v>2.4E-2</c:v>
                </c:pt>
                <c:pt idx="1392">
                  <c:v>0.02</c:v>
                </c:pt>
                <c:pt idx="1393">
                  <c:v>8.9999999999999993E-3</c:v>
                </c:pt>
                <c:pt idx="1394">
                  <c:v>-3.6999999999999998E-2</c:v>
                </c:pt>
                <c:pt idx="1395">
                  <c:v>-4.2999999999999997E-2</c:v>
                </c:pt>
                <c:pt idx="1396">
                  <c:v>-0.05</c:v>
                </c:pt>
                <c:pt idx="1397">
                  <c:v>-4.8000000000000001E-2</c:v>
                </c:pt>
                <c:pt idx="1398">
                  <c:v>-7.3999999999999996E-2</c:v>
                </c:pt>
                <c:pt idx="1399">
                  <c:v>-7.0999999999999994E-2</c:v>
                </c:pt>
                <c:pt idx="1400">
                  <c:v>-9.6000000000000002E-2</c:v>
                </c:pt>
                <c:pt idx="1401">
                  <c:v>-9.0999999999999998E-2</c:v>
                </c:pt>
                <c:pt idx="1402">
                  <c:v>-0.105</c:v>
                </c:pt>
                <c:pt idx="1403">
                  <c:v>-8.7999999999999995E-2</c:v>
                </c:pt>
                <c:pt idx="1404">
                  <c:v>-5.8999999999999997E-2</c:v>
                </c:pt>
                <c:pt idx="1405">
                  <c:v>-7.9000000000000001E-2</c:v>
                </c:pt>
                <c:pt idx="1406">
                  <c:v>-0.12</c:v>
                </c:pt>
                <c:pt idx="1407">
                  <c:v>-0.11700000000000001</c:v>
                </c:pt>
                <c:pt idx="1408">
                  <c:v>-0.14199999999999999</c:v>
                </c:pt>
                <c:pt idx="1409">
                  <c:v>-0.154</c:v>
                </c:pt>
                <c:pt idx="1410">
                  <c:v>-0.17399999999999999</c:v>
                </c:pt>
                <c:pt idx="1411">
                  <c:v>-0.16900000000000001</c:v>
                </c:pt>
                <c:pt idx="1412">
                  <c:v>-0.20100000000000001</c:v>
                </c:pt>
                <c:pt idx="1413">
                  <c:v>-0.19900000000000001</c:v>
                </c:pt>
                <c:pt idx="1414">
                  <c:v>-0.20699999999999999</c:v>
                </c:pt>
                <c:pt idx="1415">
                  <c:v>-0.221</c:v>
                </c:pt>
                <c:pt idx="1416">
                  <c:v>-0.23300000000000001</c:v>
                </c:pt>
                <c:pt idx="1417">
                  <c:v>-0.255</c:v>
                </c:pt>
                <c:pt idx="1418">
                  <c:v>-0.219</c:v>
                </c:pt>
                <c:pt idx="1419">
                  <c:v>-0.23100000000000001</c:v>
                </c:pt>
                <c:pt idx="1420">
                  <c:v>-0.23499999999999999</c:v>
                </c:pt>
                <c:pt idx="1421">
                  <c:v>-0.24299999999999999</c:v>
                </c:pt>
                <c:pt idx="1422">
                  <c:v>-0.25600000000000001</c:v>
                </c:pt>
                <c:pt idx="1423">
                  <c:v>-0.246</c:v>
                </c:pt>
                <c:pt idx="1424">
                  <c:v>-0.32300000000000001</c:v>
                </c:pt>
                <c:pt idx="1425">
                  <c:v>-0.28599999999999998</c:v>
                </c:pt>
                <c:pt idx="1426">
                  <c:v>-0.32200000000000001</c:v>
                </c:pt>
                <c:pt idx="1427">
                  <c:v>-0.28100000000000003</c:v>
                </c:pt>
                <c:pt idx="1428">
                  <c:v>-0.309</c:v>
                </c:pt>
                <c:pt idx="1429">
                  <c:v>-0.33200000000000002</c:v>
                </c:pt>
                <c:pt idx="1430">
                  <c:v>-0.30599999999999999</c:v>
                </c:pt>
                <c:pt idx="1431">
                  <c:v>-0.315</c:v>
                </c:pt>
                <c:pt idx="1432">
                  <c:v>-0.32600000000000001</c:v>
                </c:pt>
                <c:pt idx="1433">
                  <c:v>-0.36</c:v>
                </c:pt>
                <c:pt idx="1434">
                  <c:v>-0.36499999999999999</c:v>
                </c:pt>
                <c:pt idx="1435">
                  <c:v>-0.38400000000000001</c:v>
                </c:pt>
                <c:pt idx="1436">
                  <c:v>-0.39800000000000002</c:v>
                </c:pt>
                <c:pt idx="1437">
                  <c:v>-0.35899999999999999</c:v>
                </c:pt>
                <c:pt idx="1438">
                  <c:v>-0.377</c:v>
                </c:pt>
                <c:pt idx="1439">
                  <c:v>-0.35699999999999998</c:v>
                </c:pt>
                <c:pt idx="1440">
                  <c:v>-0.30499999999999999</c:v>
                </c:pt>
                <c:pt idx="1441">
                  <c:v>-0.26400000000000001</c:v>
                </c:pt>
                <c:pt idx="1442">
                  <c:v>-0.245</c:v>
                </c:pt>
                <c:pt idx="1443">
                  <c:v>-0.29599999999999999</c:v>
                </c:pt>
                <c:pt idx="1444">
                  <c:v>-0.29199999999999998</c:v>
                </c:pt>
                <c:pt idx="1445">
                  <c:v>-0.28999999999999998</c:v>
                </c:pt>
                <c:pt idx="1446">
                  <c:v>-0.309</c:v>
                </c:pt>
                <c:pt idx="1447">
                  <c:v>-0.32200000000000001</c:v>
                </c:pt>
                <c:pt idx="1448">
                  <c:v>-0.34699999999999998</c:v>
                </c:pt>
                <c:pt idx="1449">
                  <c:v>-0.35699999999999998</c:v>
                </c:pt>
                <c:pt idx="1450">
                  <c:v>-0.379</c:v>
                </c:pt>
                <c:pt idx="1451">
                  <c:v>-0.36099999999999999</c:v>
                </c:pt>
                <c:pt idx="1452">
                  <c:v>-0.377</c:v>
                </c:pt>
                <c:pt idx="1453">
                  <c:v>-0.39100000000000001</c:v>
                </c:pt>
                <c:pt idx="1454">
                  <c:v>-0.39800000000000002</c:v>
                </c:pt>
                <c:pt idx="1455">
                  <c:v>-0.436</c:v>
                </c:pt>
                <c:pt idx="1456">
                  <c:v>-0.45300000000000001</c:v>
                </c:pt>
                <c:pt idx="1457">
                  <c:v>-0.49</c:v>
                </c:pt>
                <c:pt idx="1458">
                  <c:v>-0.50900000000000001</c:v>
                </c:pt>
                <c:pt idx="1459">
                  <c:v>-0.53700000000000003</c:v>
                </c:pt>
                <c:pt idx="1460">
                  <c:v>-0.57899999999999996</c:v>
                </c:pt>
                <c:pt idx="1461">
                  <c:v>-0.55800000000000005</c:v>
                </c:pt>
                <c:pt idx="1462">
                  <c:v>-0.57999999999999996</c:v>
                </c:pt>
                <c:pt idx="1463">
                  <c:v>-0.59399999999999997</c:v>
                </c:pt>
                <c:pt idx="1464">
                  <c:v>-0.60899999999999999</c:v>
                </c:pt>
                <c:pt idx="1465">
                  <c:v>-0.64900000000000002</c:v>
                </c:pt>
                <c:pt idx="1466">
                  <c:v>-0.70099999999999996</c:v>
                </c:pt>
                <c:pt idx="1467">
                  <c:v>-0.68</c:v>
                </c:pt>
                <c:pt idx="1468">
                  <c:v>-0.64600000000000002</c:v>
                </c:pt>
                <c:pt idx="1469">
                  <c:v>-0.69099999999999995</c:v>
                </c:pt>
                <c:pt idx="1470">
                  <c:v>-0.67300000000000004</c:v>
                </c:pt>
                <c:pt idx="1471">
                  <c:v>-0.64100000000000001</c:v>
                </c:pt>
                <c:pt idx="1472">
                  <c:v>-0.67200000000000004</c:v>
                </c:pt>
                <c:pt idx="1473">
                  <c:v>-0.67</c:v>
                </c:pt>
                <c:pt idx="1474">
                  <c:v>-0.69699999999999995</c:v>
                </c:pt>
                <c:pt idx="1475">
                  <c:v>-0.71799999999999997</c:v>
                </c:pt>
                <c:pt idx="1476">
                  <c:v>-0.69299999999999995</c:v>
                </c:pt>
                <c:pt idx="1477">
                  <c:v>-0.70699999999999996</c:v>
                </c:pt>
                <c:pt idx="1478">
                  <c:v>-0.70099999999999996</c:v>
                </c:pt>
                <c:pt idx="1479">
                  <c:v>-0.71499999999999997</c:v>
                </c:pt>
                <c:pt idx="1480">
                  <c:v>-0.67700000000000005</c:v>
                </c:pt>
                <c:pt idx="1481">
                  <c:v>-0.59199999999999997</c:v>
                </c:pt>
                <c:pt idx="1482">
                  <c:v>-0.63300000000000001</c:v>
                </c:pt>
                <c:pt idx="1483">
                  <c:v>-0.58299999999999996</c:v>
                </c:pt>
                <c:pt idx="1484">
                  <c:v>-0.55000000000000004</c:v>
                </c:pt>
                <c:pt idx="1485">
                  <c:v>-0.56699999999999995</c:v>
                </c:pt>
                <c:pt idx="1486">
                  <c:v>-0.53800000000000003</c:v>
                </c:pt>
                <c:pt idx="1487">
                  <c:v>-0.45300000000000001</c:v>
                </c:pt>
                <c:pt idx="1488">
                  <c:v>-0.47399999999999998</c:v>
                </c:pt>
                <c:pt idx="1489">
                  <c:v>-0.47399999999999998</c:v>
                </c:pt>
                <c:pt idx="1490">
                  <c:v>-0.51100000000000001</c:v>
                </c:pt>
                <c:pt idx="1491">
                  <c:v>-0.505</c:v>
                </c:pt>
                <c:pt idx="1492">
                  <c:v>-0.52</c:v>
                </c:pt>
                <c:pt idx="1493">
                  <c:v>-0.58099999999999996</c:v>
                </c:pt>
                <c:pt idx="1494">
                  <c:v>-0.60399999999999998</c:v>
                </c:pt>
                <c:pt idx="1495">
                  <c:v>-0.58699999999999997</c:v>
                </c:pt>
                <c:pt idx="1496">
                  <c:v>-0.57999999999999996</c:v>
                </c:pt>
                <c:pt idx="1497">
                  <c:v>-0.57699999999999996</c:v>
                </c:pt>
                <c:pt idx="1498">
                  <c:v>-0.56999999999999995</c:v>
                </c:pt>
                <c:pt idx="1499">
                  <c:v>-0.55700000000000005</c:v>
                </c:pt>
                <c:pt idx="1500">
                  <c:v>-0.54400000000000004</c:v>
                </c:pt>
                <c:pt idx="1501">
                  <c:v>-0.58399999999999996</c:v>
                </c:pt>
                <c:pt idx="1502">
                  <c:v>-0.58699999999999997</c:v>
                </c:pt>
                <c:pt idx="1503">
                  <c:v>-0.57599999999999996</c:v>
                </c:pt>
                <c:pt idx="1504">
                  <c:v>-0.59699999999999998</c:v>
                </c:pt>
                <c:pt idx="1505">
                  <c:v>-0.55500000000000005</c:v>
                </c:pt>
                <c:pt idx="1506">
                  <c:v>-0.49</c:v>
                </c:pt>
                <c:pt idx="1507">
                  <c:v>-0.438</c:v>
                </c:pt>
                <c:pt idx="1508">
                  <c:v>-0.45700000000000002</c:v>
                </c:pt>
                <c:pt idx="1509">
                  <c:v>-0.42399999999999999</c:v>
                </c:pt>
                <c:pt idx="1510">
                  <c:v>-0.39100000000000001</c:v>
                </c:pt>
                <c:pt idx="1511">
                  <c:v>-0.40300000000000002</c:v>
                </c:pt>
                <c:pt idx="1512">
                  <c:v>-0.38600000000000001</c:v>
                </c:pt>
                <c:pt idx="1513">
                  <c:v>-0.34499999999999997</c:v>
                </c:pt>
                <c:pt idx="1514">
                  <c:v>-0.37</c:v>
                </c:pt>
                <c:pt idx="1515">
                  <c:v>-0.39700000000000002</c:v>
                </c:pt>
                <c:pt idx="1516">
                  <c:v>-0.40500000000000003</c:v>
                </c:pt>
                <c:pt idx="1517">
                  <c:v>-0.375</c:v>
                </c:pt>
                <c:pt idx="1518">
                  <c:v>-0.32800000000000001</c:v>
                </c:pt>
                <c:pt idx="1519">
                  <c:v>-0.35699999999999998</c:v>
                </c:pt>
                <c:pt idx="1520">
                  <c:v>-0.35699999999999998</c:v>
                </c:pt>
                <c:pt idx="1521">
                  <c:v>-0.40100000000000002</c:v>
                </c:pt>
                <c:pt idx="1522">
                  <c:v>-0.377</c:v>
                </c:pt>
                <c:pt idx="1523">
                  <c:v>-0.34699999999999998</c:v>
                </c:pt>
                <c:pt idx="1524">
                  <c:v>-0.31900000000000001</c:v>
                </c:pt>
                <c:pt idx="1525">
                  <c:v>-0.32300000000000001</c:v>
                </c:pt>
                <c:pt idx="1526">
                  <c:v>-0.249</c:v>
                </c:pt>
                <c:pt idx="1527">
                  <c:v>-0.26600000000000001</c:v>
                </c:pt>
                <c:pt idx="1528">
                  <c:v>-0.248</c:v>
                </c:pt>
                <c:pt idx="1529">
                  <c:v>-0.245</c:v>
                </c:pt>
                <c:pt idx="1530">
                  <c:v>-0.30199999999999999</c:v>
                </c:pt>
                <c:pt idx="1531">
                  <c:v>-0.34599999999999997</c:v>
                </c:pt>
                <c:pt idx="1532">
                  <c:v>-0.33200000000000002</c:v>
                </c:pt>
                <c:pt idx="1533">
                  <c:v>-0.33500000000000002</c:v>
                </c:pt>
                <c:pt idx="1534">
                  <c:v>-0.34</c:v>
                </c:pt>
                <c:pt idx="1535">
                  <c:v>-0.35299999999999998</c:v>
                </c:pt>
                <c:pt idx="1536">
                  <c:v>-0.32400000000000001</c:v>
                </c:pt>
                <c:pt idx="1537">
                  <c:v>-0.35899999999999999</c:v>
                </c:pt>
                <c:pt idx="1538">
                  <c:v>-0.35</c:v>
                </c:pt>
                <c:pt idx="1539">
                  <c:v>-0.376</c:v>
                </c:pt>
                <c:pt idx="1540">
                  <c:v>-0.36799999999999999</c:v>
                </c:pt>
                <c:pt idx="1541">
                  <c:v>-0.36399999999999999</c:v>
                </c:pt>
                <c:pt idx="1542">
                  <c:v>-0.35399999999999998</c:v>
                </c:pt>
                <c:pt idx="1543">
                  <c:v>-0.27800000000000002</c:v>
                </c:pt>
                <c:pt idx="1544">
                  <c:v>-0.34499999999999997</c:v>
                </c:pt>
                <c:pt idx="1545">
                  <c:v>-0.315</c:v>
                </c:pt>
                <c:pt idx="1546">
                  <c:v>-0.29399999999999998</c:v>
                </c:pt>
                <c:pt idx="1547">
                  <c:v>-0.29099999999999998</c:v>
                </c:pt>
                <c:pt idx="1548">
                  <c:v>-0.30199999999999999</c:v>
                </c:pt>
                <c:pt idx="1549">
                  <c:v>-0.29599999999999999</c:v>
                </c:pt>
                <c:pt idx="1550">
                  <c:v>-0.32200000000000001</c:v>
                </c:pt>
                <c:pt idx="1551">
                  <c:v>-0.26500000000000001</c:v>
                </c:pt>
                <c:pt idx="1552">
                  <c:v>-0.29399999999999998</c:v>
                </c:pt>
                <c:pt idx="1553">
                  <c:v>-0.27300000000000002</c:v>
                </c:pt>
                <c:pt idx="1554">
                  <c:v>-0.28999999999999998</c:v>
                </c:pt>
                <c:pt idx="1555">
                  <c:v>-0.251</c:v>
                </c:pt>
                <c:pt idx="1556">
                  <c:v>-0.23499999999999999</c:v>
                </c:pt>
                <c:pt idx="1557">
                  <c:v>-0.246</c:v>
                </c:pt>
                <c:pt idx="1558">
                  <c:v>-0.245</c:v>
                </c:pt>
                <c:pt idx="1559">
                  <c:v>-0.24299999999999999</c:v>
                </c:pt>
                <c:pt idx="1560">
                  <c:v>-0.24299999999999999</c:v>
                </c:pt>
                <c:pt idx="1561">
                  <c:v>-0.24299999999999999</c:v>
                </c:pt>
                <c:pt idx="1562">
                  <c:v>-0.25600000000000001</c:v>
                </c:pt>
                <c:pt idx="1563">
                  <c:v>-0.18099999999999999</c:v>
                </c:pt>
                <c:pt idx="1564">
                  <c:v>-0.187</c:v>
                </c:pt>
                <c:pt idx="1565">
                  <c:v>-0.187</c:v>
                </c:pt>
                <c:pt idx="1566">
                  <c:v>-0.221</c:v>
                </c:pt>
                <c:pt idx="1567">
                  <c:v>-0.28299999999999997</c:v>
                </c:pt>
                <c:pt idx="1568">
                  <c:v>-0.28699999999999998</c:v>
                </c:pt>
                <c:pt idx="1569">
                  <c:v>-0.28199999999999997</c:v>
                </c:pt>
                <c:pt idx="1570">
                  <c:v>-0.25800000000000001</c:v>
                </c:pt>
                <c:pt idx="1571">
                  <c:v>-0.222</c:v>
                </c:pt>
                <c:pt idx="1572">
                  <c:v>-0.23</c:v>
                </c:pt>
                <c:pt idx="1573">
                  <c:v>-0.192</c:v>
                </c:pt>
                <c:pt idx="1574">
                  <c:v>-0.20899999999999999</c:v>
                </c:pt>
                <c:pt idx="1575">
                  <c:v>-0.20599999999999999</c:v>
                </c:pt>
                <c:pt idx="1576">
                  <c:v>-0.214</c:v>
                </c:pt>
                <c:pt idx="1577">
                  <c:v>-0.214</c:v>
                </c:pt>
                <c:pt idx="1578">
                  <c:v>-0.215</c:v>
                </c:pt>
                <c:pt idx="1579">
                  <c:v>-0.25</c:v>
                </c:pt>
                <c:pt idx="1580">
                  <c:v>-0.26</c:v>
                </c:pt>
                <c:pt idx="1581">
                  <c:v>-0.312</c:v>
                </c:pt>
                <c:pt idx="1582">
                  <c:v>-0.33</c:v>
                </c:pt>
                <c:pt idx="1583">
                  <c:v>-0.38400000000000001</c:v>
                </c:pt>
                <c:pt idx="1584">
                  <c:v>-0.379</c:v>
                </c:pt>
                <c:pt idx="1585">
                  <c:v>-0.372</c:v>
                </c:pt>
                <c:pt idx="1586">
                  <c:v>-0.40699999999999997</c:v>
                </c:pt>
                <c:pt idx="1587">
                  <c:v>-0.442</c:v>
                </c:pt>
                <c:pt idx="1588">
                  <c:v>-0.436</c:v>
                </c:pt>
                <c:pt idx="1589">
                  <c:v>-0.40500000000000003</c:v>
                </c:pt>
                <c:pt idx="1590">
                  <c:v>-0.37</c:v>
                </c:pt>
                <c:pt idx="1591">
                  <c:v>-0.36499999999999999</c:v>
                </c:pt>
                <c:pt idx="1592">
                  <c:v>-0.38200000000000001</c:v>
                </c:pt>
                <c:pt idx="1593">
                  <c:v>-0.41099999999999998</c:v>
                </c:pt>
                <c:pt idx="1594">
                  <c:v>-0.39100000000000001</c:v>
                </c:pt>
                <c:pt idx="1595">
                  <c:v>-0.376</c:v>
                </c:pt>
                <c:pt idx="1596">
                  <c:v>-0.38800000000000001</c:v>
                </c:pt>
                <c:pt idx="1597">
                  <c:v>-0.4</c:v>
                </c:pt>
                <c:pt idx="1598">
                  <c:v>-0.39900000000000002</c:v>
                </c:pt>
                <c:pt idx="1599">
                  <c:v>-0.40899999999999997</c:v>
                </c:pt>
                <c:pt idx="1600">
                  <c:v>-0.41599999999999998</c:v>
                </c:pt>
                <c:pt idx="1601">
                  <c:v>-0.44400000000000001</c:v>
                </c:pt>
                <c:pt idx="1602">
                  <c:v>-0.433</c:v>
                </c:pt>
                <c:pt idx="1603">
                  <c:v>-0.48099999999999998</c:v>
                </c:pt>
                <c:pt idx="1604">
                  <c:v>-0.51200000000000001</c:v>
                </c:pt>
                <c:pt idx="1605">
                  <c:v>-0.495</c:v>
                </c:pt>
                <c:pt idx="1606">
                  <c:v>-0.55200000000000005</c:v>
                </c:pt>
                <c:pt idx="1607">
                  <c:v>-0.61199999999999999</c:v>
                </c:pt>
                <c:pt idx="1608">
                  <c:v>-0.62</c:v>
                </c:pt>
                <c:pt idx="1609">
                  <c:v>-0.64100000000000001</c:v>
                </c:pt>
                <c:pt idx="1610">
                  <c:v>-0.63400000000000001</c:v>
                </c:pt>
                <c:pt idx="1611">
                  <c:v>-0.67700000000000005</c:v>
                </c:pt>
                <c:pt idx="1612">
                  <c:v>-0.72799999999999998</c:v>
                </c:pt>
                <c:pt idx="1613">
                  <c:v>-0.84399999999999997</c:v>
                </c:pt>
                <c:pt idx="1614">
                  <c:v>-0.80200000000000005</c:v>
                </c:pt>
                <c:pt idx="1615">
                  <c:v>-0.751</c:v>
                </c:pt>
                <c:pt idx="1616">
                  <c:v>-0.74</c:v>
                </c:pt>
                <c:pt idx="1617">
                  <c:v>-0.58499999999999996</c:v>
                </c:pt>
                <c:pt idx="1618">
                  <c:v>-0.45800000000000002</c:v>
                </c:pt>
                <c:pt idx="1619">
                  <c:v>-0.432</c:v>
                </c:pt>
                <c:pt idx="1620">
                  <c:v>-0.23100000000000001</c:v>
                </c:pt>
                <c:pt idx="1621">
                  <c:v>-0.16700000000000001</c:v>
                </c:pt>
                <c:pt idx="1622">
                  <c:v>-0.33900000000000002</c:v>
                </c:pt>
                <c:pt idx="1623">
                  <c:v>-0.377</c:v>
                </c:pt>
                <c:pt idx="1624">
                  <c:v>-0.32300000000000001</c:v>
                </c:pt>
                <c:pt idx="1625">
                  <c:v>-0.29299999999999998</c:v>
                </c:pt>
                <c:pt idx="1626">
                  <c:v>-0.36899999999999999</c:v>
                </c:pt>
                <c:pt idx="1627">
                  <c:v>-0.48499999999999999</c:v>
                </c:pt>
                <c:pt idx="1628">
                  <c:v>-0.52700000000000002</c:v>
                </c:pt>
                <c:pt idx="1629">
                  <c:v>-0.45700000000000002</c:v>
                </c:pt>
                <c:pt idx="1630">
                  <c:v>-0.47</c:v>
                </c:pt>
                <c:pt idx="1631">
                  <c:v>-0.436</c:v>
                </c:pt>
                <c:pt idx="1632">
                  <c:v>-0.435</c:v>
                </c:pt>
                <c:pt idx="1633">
                  <c:v>-0.42</c:v>
                </c:pt>
                <c:pt idx="1634">
                  <c:v>-0.314</c:v>
                </c:pt>
                <c:pt idx="1635">
                  <c:v>-0.311</c:v>
                </c:pt>
                <c:pt idx="1636">
                  <c:v>-0.34200000000000003</c:v>
                </c:pt>
                <c:pt idx="1637">
                  <c:v>-0.34200000000000003</c:v>
                </c:pt>
                <c:pt idx="1638">
                  <c:v>-0.34200000000000003</c:v>
                </c:pt>
                <c:pt idx="1639">
                  <c:v>-0.379</c:v>
                </c:pt>
                <c:pt idx="1640">
                  <c:v>-0.46400000000000002</c:v>
                </c:pt>
                <c:pt idx="1641">
                  <c:v>-0.47599999999999998</c:v>
                </c:pt>
                <c:pt idx="1642">
                  <c:v>-0.47899999999999998</c:v>
                </c:pt>
                <c:pt idx="1643">
                  <c:v>-0.44600000000000001</c:v>
                </c:pt>
                <c:pt idx="1644">
                  <c:v>-0.48099999999999998</c:v>
                </c:pt>
                <c:pt idx="1645">
                  <c:v>-0.41899999999999998</c:v>
                </c:pt>
                <c:pt idx="1646">
                  <c:v>-0.42799999999999999</c:v>
                </c:pt>
                <c:pt idx="1647">
                  <c:v>-0.47</c:v>
                </c:pt>
                <c:pt idx="1648">
                  <c:v>-0.44500000000000001</c:v>
                </c:pt>
                <c:pt idx="1649">
                  <c:v>-0.46100000000000002</c:v>
                </c:pt>
                <c:pt idx="1650">
                  <c:v>-0.48399999999999999</c:v>
                </c:pt>
                <c:pt idx="1651">
                  <c:v>-0.58599999999999997</c:v>
                </c:pt>
                <c:pt idx="1652">
                  <c:v>-0.58599999999999997</c:v>
                </c:pt>
                <c:pt idx="1653">
                  <c:v>-0.56000000000000005</c:v>
                </c:pt>
                <c:pt idx="1654">
                  <c:v>-0.57799999999999996</c:v>
                </c:pt>
                <c:pt idx="1655">
                  <c:v>-0.502</c:v>
                </c:pt>
                <c:pt idx="1656">
                  <c:v>-0.55100000000000005</c:v>
                </c:pt>
                <c:pt idx="1657">
                  <c:v>-0.53200000000000003</c:v>
                </c:pt>
                <c:pt idx="1658">
                  <c:v>-0.52</c:v>
                </c:pt>
                <c:pt idx="1659">
                  <c:v>-0.50700000000000001</c:v>
                </c:pt>
                <c:pt idx="1660">
                  <c:v>-0.52600000000000002</c:v>
                </c:pt>
                <c:pt idx="1661">
                  <c:v>-0.53800000000000003</c:v>
                </c:pt>
                <c:pt idx="1662">
                  <c:v>-0.52700000000000002</c:v>
                </c:pt>
                <c:pt idx="1663">
                  <c:v>-0.48099999999999998</c:v>
                </c:pt>
                <c:pt idx="1664">
                  <c:v>-0.46100000000000002</c:v>
                </c:pt>
                <c:pt idx="1665">
                  <c:v>-0.46600000000000003</c:v>
                </c:pt>
                <c:pt idx="1666">
                  <c:v>-0.499</c:v>
                </c:pt>
                <c:pt idx="1667">
                  <c:v>-0.48799999999999999</c:v>
                </c:pt>
                <c:pt idx="1668">
                  <c:v>-0.48799999999999999</c:v>
                </c:pt>
                <c:pt idx="1669">
                  <c:v>-0.42599999999999999</c:v>
                </c:pt>
                <c:pt idx="1670">
                  <c:v>-0.42</c:v>
                </c:pt>
                <c:pt idx="1671">
                  <c:v>-0.42</c:v>
                </c:pt>
                <c:pt idx="1672">
                  <c:v>-0.44700000000000001</c:v>
                </c:pt>
                <c:pt idx="1673">
                  <c:v>-0.39300000000000002</c:v>
                </c:pt>
                <c:pt idx="1674">
                  <c:v>-0.41499999999999998</c:v>
                </c:pt>
                <c:pt idx="1675">
                  <c:v>-0.34899999999999998</c:v>
                </c:pt>
                <c:pt idx="1676">
                  <c:v>-0.32400000000000001</c:v>
                </c:pt>
                <c:pt idx="1677">
                  <c:v>-0.27</c:v>
                </c:pt>
                <c:pt idx="1678">
                  <c:v>-0.317</c:v>
                </c:pt>
                <c:pt idx="1679">
                  <c:v>-0.31</c:v>
                </c:pt>
                <c:pt idx="1680">
                  <c:v>-0.33100000000000002</c:v>
                </c:pt>
                <c:pt idx="1681">
                  <c:v>-0.41499999999999998</c:v>
                </c:pt>
                <c:pt idx="1682">
                  <c:v>-0.44500000000000001</c:v>
                </c:pt>
                <c:pt idx="1683">
                  <c:v>-0.439</c:v>
                </c:pt>
                <c:pt idx="1684">
                  <c:v>-0.42199999999999999</c:v>
                </c:pt>
                <c:pt idx="1685">
                  <c:v>-0.42499999999999999</c:v>
                </c:pt>
                <c:pt idx="1686">
                  <c:v>-0.443</c:v>
                </c:pt>
                <c:pt idx="1687">
                  <c:v>-0.41599999999999998</c:v>
                </c:pt>
                <c:pt idx="1688">
                  <c:v>-0.438</c:v>
                </c:pt>
                <c:pt idx="1689">
                  <c:v>-0.40400000000000003</c:v>
                </c:pt>
                <c:pt idx="1690">
                  <c:v>-0.434</c:v>
                </c:pt>
                <c:pt idx="1691">
                  <c:v>-0.47</c:v>
                </c:pt>
                <c:pt idx="1692">
                  <c:v>-0.47799999999999998</c:v>
                </c:pt>
                <c:pt idx="1693">
                  <c:v>-0.47099999999999997</c:v>
                </c:pt>
                <c:pt idx="1694">
                  <c:v>-0.46</c:v>
                </c:pt>
                <c:pt idx="1695">
                  <c:v>-0.4</c:v>
                </c:pt>
                <c:pt idx="1696">
                  <c:v>-0.42699999999999999</c:v>
                </c:pt>
                <c:pt idx="1697">
                  <c:v>-0.432</c:v>
                </c:pt>
                <c:pt idx="1698">
                  <c:v>-0.433</c:v>
                </c:pt>
                <c:pt idx="1699">
                  <c:v>-0.42399999999999999</c:v>
                </c:pt>
                <c:pt idx="1700">
                  <c:v>-0.441</c:v>
                </c:pt>
                <c:pt idx="1701">
                  <c:v>-0.46</c:v>
                </c:pt>
                <c:pt idx="1702">
                  <c:v>-0.47</c:v>
                </c:pt>
                <c:pt idx="1703">
                  <c:v>-0.40699999999999997</c:v>
                </c:pt>
                <c:pt idx="1704">
                  <c:v>-0.441</c:v>
                </c:pt>
                <c:pt idx="1705">
                  <c:v>-0.44400000000000001</c:v>
                </c:pt>
                <c:pt idx="1706">
                  <c:v>-0.47099999999999997</c:v>
                </c:pt>
                <c:pt idx="1707">
                  <c:v>-0.45200000000000001</c:v>
                </c:pt>
                <c:pt idx="1708">
                  <c:v>-0.46300000000000002</c:v>
                </c:pt>
                <c:pt idx="1709">
                  <c:v>-0.46</c:v>
                </c:pt>
                <c:pt idx="1710">
                  <c:v>-0.49299999999999999</c:v>
                </c:pt>
                <c:pt idx="1711">
                  <c:v>-0.48199999999999998</c:v>
                </c:pt>
                <c:pt idx="1712">
                  <c:v>-0.44400000000000001</c:v>
                </c:pt>
                <c:pt idx="1713">
                  <c:v>-0.49099999999999999</c:v>
                </c:pt>
                <c:pt idx="1714">
                  <c:v>-0.51100000000000001</c:v>
                </c:pt>
                <c:pt idx="1715">
                  <c:v>-0.499</c:v>
                </c:pt>
                <c:pt idx="1716">
                  <c:v>-0.54700000000000004</c:v>
                </c:pt>
                <c:pt idx="1717">
                  <c:v>-0.53300000000000003</c:v>
                </c:pt>
                <c:pt idx="1718">
                  <c:v>-0.52200000000000002</c:v>
                </c:pt>
                <c:pt idx="1719">
                  <c:v>-0.55100000000000005</c:v>
                </c:pt>
                <c:pt idx="1720">
                  <c:v>-0.505</c:v>
                </c:pt>
                <c:pt idx="1721">
                  <c:v>-0.52900000000000003</c:v>
                </c:pt>
                <c:pt idx="1722">
                  <c:v>-0.50700000000000001</c:v>
                </c:pt>
                <c:pt idx="1723">
                  <c:v>-0.52500000000000002</c:v>
                </c:pt>
                <c:pt idx="1724">
                  <c:v>-0.47299999999999998</c:v>
                </c:pt>
                <c:pt idx="1725">
                  <c:v>-0.44700000000000001</c:v>
                </c:pt>
                <c:pt idx="1726">
                  <c:v>-0.40799999999999997</c:v>
                </c:pt>
                <c:pt idx="1727">
                  <c:v>-0.42099999999999999</c:v>
                </c:pt>
                <c:pt idx="1728">
                  <c:v>-0.45100000000000001</c:v>
                </c:pt>
                <c:pt idx="1729">
                  <c:v>-0.45700000000000002</c:v>
                </c:pt>
                <c:pt idx="1730">
                  <c:v>-0.47399999999999998</c:v>
                </c:pt>
                <c:pt idx="1731">
                  <c:v>-0.496</c:v>
                </c:pt>
                <c:pt idx="1732">
                  <c:v>-0.50700000000000001</c:v>
                </c:pt>
                <c:pt idx="1733">
                  <c:v>-0.49299999999999999</c:v>
                </c:pt>
                <c:pt idx="1734">
                  <c:v>-0.42499999999999999</c:v>
                </c:pt>
                <c:pt idx="1735">
                  <c:v>-0.41</c:v>
                </c:pt>
                <c:pt idx="1736">
                  <c:v>-0.40300000000000002</c:v>
                </c:pt>
                <c:pt idx="1737">
                  <c:v>-0.41</c:v>
                </c:pt>
                <c:pt idx="1738">
                  <c:v>-0.39600000000000002</c:v>
                </c:pt>
                <c:pt idx="1739">
                  <c:v>-0.41599999999999998</c:v>
                </c:pt>
                <c:pt idx="1740">
                  <c:v>-0.47199999999999998</c:v>
                </c:pt>
                <c:pt idx="1741">
                  <c:v>-0.49</c:v>
                </c:pt>
                <c:pt idx="1742">
                  <c:v>-0.47699999999999998</c:v>
                </c:pt>
                <c:pt idx="1743">
                  <c:v>-0.46</c:v>
                </c:pt>
                <c:pt idx="1744">
                  <c:v>-0.495</c:v>
                </c:pt>
                <c:pt idx="1745">
                  <c:v>-0.46100000000000002</c:v>
                </c:pt>
                <c:pt idx="1746">
                  <c:v>-0.42599999999999999</c:v>
                </c:pt>
                <c:pt idx="1747">
                  <c:v>-0.48299999999999998</c:v>
                </c:pt>
                <c:pt idx="1748">
                  <c:v>-0.47699999999999998</c:v>
                </c:pt>
                <c:pt idx="1749">
                  <c:v>-0.48099999999999998</c:v>
                </c:pt>
                <c:pt idx="1750">
                  <c:v>-0.47899999999999998</c:v>
                </c:pt>
                <c:pt idx="1751">
                  <c:v>-0.49</c:v>
                </c:pt>
                <c:pt idx="1752">
                  <c:v>-0.48299999999999998</c:v>
                </c:pt>
                <c:pt idx="1753">
                  <c:v>-0.52800000000000002</c:v>
                </c:pt>
                <c:pt idx="1754">
                  <c:v>-0.5</c:v>
                </c:pt>
                <c:pt idx="1755">
                  <c:v>-0.502</c:v>
                </c:pt>
                <c:pt idx="1756">
                  <c:v>-0.50700000000000001</c:v>
                </c:pt>
                <c:pt idx="1757">
                  <c:v>-0.52500000000000002</c:v>
                </c:pt>
                <c:pt idx="1758">
                  <c:v>-0.52600000000000002</c:v>
                </c:pt>
                <c:pt idx="1759">
                  <c:v>-0.54200000000000004</c:v>
                </c:pt>
                <c:pt idx="1760">
                  <c:v>-0.52</c:v>
                </c:pt>
                <c:pt idx="1761">
                  <c:v>-0.52800000000000002</c:v>
                </c:pt>
                <c:pt idx="1762">
                  <c:v>-0.53700000000000003</c:v>
                </c:pt>
                <c:pt idx="1763">
                  <c:v>-0.51200000000000001</c:v>
                </c:pt>
                <c:pt idx="1764">
                  <c:v>-0.50700000000000001</c:v>
                </c:pt>
                <c:pt idx="1765">
                  <c:v>-0.49299999999999999</c:v>
                </c:pt>
                <c:pt idx="1766">
                  <c:v>-0.52400000000000002</c:v>
                </c:pt>
                <c:pt idx="1767">
                  <c:v>-0.53400000000000003</c:v>
                </c:pt>
                <c:pt idx="1768">
                  <c:v>-0.54300000000000004</c:v>
                </c:pt>
                <c:pt idx="1769">
                  <c:v>-0.55500000000000005</c:v>
                </c:pt>
                <c:pt idx="1770">
                  <c:v>-0.57199999999999995</c:v>
                </c:pt>
                <c:pt idx="1771">
                  <c:v>-0.61399999999999999</c:v>
                </c:pt>
                <c:pt idx="1772">
                  <c:v>-0.623</c:v>
                </c:pt>
                <c:pt idx="1773">
                  <c:v>-0.627</c:v>
                </c:pt>
                <c:pt idx="1774">
                  <c:v>-0.60399999999999998</c:v>
                </c:pt>
                <c:pt idx="1775">
                  <c:v>-0.58799999999999997</c:v>
                </c:pt>
                <c:pt idx="1776">
                  <c:v>-0.56799999999999995</c:v>
                </c:pt>
                <c:pt idx="1777">
                  <c:v>-0.57199999999999995</c:v>
                </c:pt>
                <c:pt idx="1778">
                  <c:v>-0.57199999999999995</c:v>
                </c:pt>
                <c:pt idx="1779">
                  <c:v>-0.60699999999999998</c:v>
                </c:pt>
                <c:pt idx="1780">
                  <c:v>-0.628</c:v>
                </c:pt>
                <c:pt idx="1781">
                  <c:v>-0.63700000000000001</c:v>
                </c:pt>
                <c:pt idx="1782">
                  <c:v>-0.624</c:v>
                </c:pt>
                <c:pt idx="1783">
                  <c:v>-0.63800000000000001</c:v>
                </c:pt>
                <c:pt idx="1784">
                  <c:v>-0.62</c:v>
                </c:pt>
                <c:pt idx="1785">
                  <c:v>-0.63800000000000001</c:v>
                </c:pt>
                <c:pt idx="1786">
                  <c:v>-0.63300000000000001</c:v>
                </c:pt>
                <c:pt idx="1787">
                  <c:v>-0.61699999999999999</c:v>
                </c:pt>
                <c:pt idx="1788">
                  <c:v>-0.50800000000000001</c:v>
                </c:pt>
                <c:pt idx="1789">
                  <c:v>-0.48699999999999999</c:v>
                </c:pt>
                <c:pt idx="1790">
                  <c:v>-0.504</c:v>
                </c:pt>
                <c:pt idx="1791">
                  <c:v>-0.53400000000000003</c:v>
                </c:pt>
                <c:pt idx="1792">
                  <c:v>-0.54800000000000004</c:v>
                </c:pt>
                <c:pt idx="1793">
                  <c:v>-0.54500000000000004</c:v>
                </c:pt>
                <c:pt idx="1794">
                  <c:v>-0.56100000000000005</c:v>
                </c:pt>
                <c:pt idx="1795">
                  <c:v>-0.55500000000000005</c:v>
                </c:pt>
                <c:pt idx="1796">
                  <c:v>-0.57099999999999995</c:v>
                </c:pt>
                <c:pt idx="1797">
                  <c:v>-0.58399999999999996</c:v>
                </c:pt>
                <c:pt idx="1798">
                  <c:v>-0.57799999999999996</c:v>
                </c:pt>
                <c:pt idx="1799">
                  <c:v>-0.56599999999999995</c:v>
                </c:pt>
                <c:pt idx="1800">
                  <c:v>-0.57099999999999995</c:v>
                </c:pt>
                <c:pt idx="1801">
                  <c:v>-0.58599999999999997</c:v>
                </c:pt>
                <c:pt idx="1802">
                  <c:v>-0.58499999999999996</c:v>
                </c:pt>
                <c:pt idx="1803">
                  <c:v>-0.57199999999999995</c:v>
                </c:pt>
                <c:pt idx="1804">
                  <c:v>-0.52200000000000002</c:v>
                </c:pt>
                <c:pt idx="1805">
                  <c:v>-0.52100000000000002</c:v>
                </c:pt>
                <c:pt idx="1806">
                  <c:v>-0.54700000000000004</c:v>
                </c:pt>
                <c:pt idx="1807">
                  <c:v>-0.54100000000000004</c:v>
                </c:pt>
                <c:pt idx="1808">
                  <c:v>-0.58399999999999996</c:v>
                </c:pt>
                <c:pt idx="1809">
                  <c:v>-0.61199999999999999</c:v>
                </c:pt>
                <c:pt idx="1810">
                  <c:v>-0.60499999999999998</c:v>
                </c:pt>
                <c:pt idx="1811">
                  <c:v>-0.6</c:v>
                </c:pt>
                <c:pt idx="1812">
                  <c:v>-0.63800000000000001</c:v>
                </c:pt>
                <c:pt idx="1813">
                  <c:v>-0.61799999999999999</c:v>
                </c:pt>
                <c:pt idx="1814">
                  <c:v>-0.61099999999999999</c:v>
                </c:pt>
                <c:pt idx="1815">
                  <c:v>-0.56799999999999995</c:v>
                </c:pt>
                <c:pt idx="1816">
                  <c:v>-0.57699999999999996</c:v>
                </c:pt>
                <c:pt idx="1817">
                  <c:v>-0.57099999999999995</c:v>
                </c:pt>
                <c:pt idx="1818">
                  <c:v>-0.58299999999999996</c:v>
                </c:pt>
                <c:pt idx="1819">
                  <c:v>-0.59299999999999997</c:v>
                </c:pt>
                <c:pt idx="1820">
                  <c:v>-0.54200000000000004</c:v>
                </c:pt>
                <c:pt idx="1821">
                  <c:v>-0.54200000000000004</c:v>
                </c:pt>
                <c:pt idx="1822">
                  <c:v>-0.54200000000000004</c:v>
                </c:pt>
                <c:pt idx="1823">
                  <c:v>-0.56200000000000006</c:v>
                </c:pt>
                <c:pt idx="1824">
                  <c:v>-0.57599999999999996</c:v>
                </c:pt>
                <c:pt idx="1825">
                  <c:v>-0.56999999999999995</c:v>
                </c:pt>
                <c:pt idx="1826">
                  <c:v>-0.57499999999999996</c:v>
                </c:pt>
                <c:pt idx="1827">
                  <c:v>-0.57499999999999996</c:v>
                </c:pt>
                <c:pt idx="1828">
                  <c:v>-0.59899999999999998</c:v>
                </c:pt>
                <c:pt idx="1829">
                  <c:v>-0.58199999999999996</c:v>
                </c:pt>
                <c:pt idx="1830">
                  <c:v>-0.54600000000000004</c:v>
                </c:pt>
                <c:pt idx="1831">
                  <c:v>-0.54400000000000004</c:v>
                </c:pt>
                <c:pt idx="1832">
                  <c:v>-0.51500000000000001</c:v>
                </c:pt>
                <c:pt idx="1833">
                  <c:v>-0.495</c:v>
                </c:pt>
                <c:pt idx="1834">
                  <c:v>-0.46899999999999997</c:v>
                </c:pt>
                <c:pt idx="1835">
                  <c:v>-0.52100000000000002</c:v>
                </c:pt>
                <c:pt idx="1836">
                  <c:v>-0.55300000000000005</c:v>
                </c:pt>
                <c:pt idx="1837">
                  <c:v>-0.54200000000000004</c:v>
                </c:pt>
                <c:pt idx="1838">
                  <c:v>-0.52400000000000002</c:v>
                </c:pt>
                <c:pt idx="1839">
                  <c:v>-0.52500000000000002</c:v>
                </c:pt>
                <c:pt idx="1840">
                  <c:v>-0.52800000000000002</c:v>
                </c:pt>
                <c:pt idx="1841">
                  <c:v>-0.497</c:v>
                </c:pt>
                <c:pt idx="1842">
                  <c:v>-0.51300000000000001</c:v>
                </c:pt>
                <c:pt idx="1843">
                  <c:v>-0.55000000000000004</c:v>
                </c:pt>
                <c:pt idx="1844">
                  <c:v>-0.53300000000000003</c:v>
                </c:pt>
                <c:pt idx="1845">
                  <c:v>-0.54900000000000004</c:v>
                </c:pt>
                <c:pt idx="1846">
                  <c:v>-0.54</c:v>
                </c:pt>
                <c:pt idx="1847">
                  <c:v>-0.51600000000000001</c:v>
                </c:pt>
                <c:pt idx="1848">
                  <c:v>-0.51300000000000001</c:v>
                </c:pt>
                <c:pt idx="1849">
                  <c:v>-0.48599999999999999</c:v>
                </c:pt>
                <c:pt idx="1850">
                  <c:v>-0.46700000000000003</c:v>
                </c:pt>
                <c:pt idx="1851">
                  <c:v>-0.45400000000000001</c:v>
                </c:pt>
                <c:pt idx="1852">
                  <c:v>-0.44400000000000001</c:v>
                </c:pt>
                <c:pt idx="1853">
                  <c:v>-0.44400000000000001</c:v>
                </c:pt>
                <c:pt idx="1854">
                  <c:v>-0.44800000000000001</c:v>
                </c:pt>
                <c:pt idx="1855">
                  <c:v>-0.438</c:v>
                </c:pt>
                <c:pt idx="1856">
                  <c:v>-0.45800000000000002</c:v>
                </c:pt>
                <c:pt idx="1857">
                  <c:v>-0.43</c:v>
                </c:pt>
                <c:pt idx="1858">
                  <c:v>-0.38400000000000001</c:v>
                </c:pt>
                <c:pt idx="1859">
                  <c:v>-0.34799999999999998</c:v>
                </c:pt>
                <c:pt idx="1860">
                  <c:v>-0.36499999999999999</c:v>
                </c:pt>
                <c:pt idx="1861">
                  <c:v>-0.34</c:v>
                </c:pt>
                <c:pt idx="1862">
                  <c:v>-0.312</c:v>
                </c:pt>
                <c:pt idx="1863">
                  <c:v>-0.34599999999999997</c:v>
                </c:pt>
                <c:pt idx="1864">
                  <c:v>-0.317</c:v>
                </c:pt>
                <c:pt idx="1865">
                  <c:v>-0.30199999999999999</c:v>
                </c:pt>
                <c:pt idx="1866">
                  <c:v>-0.23100000000000001</c:v>
                </c:pt>
                <c:pt idx="1867">
                  <c:v>-0.25900000000000001</c:v>
                </c:pt>
                <c:pt idx="1868">
                  <c:v>-0.33600000000000002</c:v>
                </c:pt>
                <c:pt idx="1869">
                  <c:v>-0.34799999999999998</c:v>
                </c:pt>
                <c:pt idx="1870">
                  <c:v>-0.29199999999999998</c:v>
                </c:pt>
                <c:pt idx="1871">
                  <c:v>-0.311</c:v>
                </c:pt>
                <c:pt idx="1872">
                  <c:v>-0.30299999999999999</c:v>
                </c:pt>
                <c:pt idx="1873">
                  <c:v>-0.27800000000000002</c:v>
                </c:pt>
                <c:pt idx="1874">
                  <c:v>-0.30499999999999999</c:v>
                </c:pt>
                <c:pt idx="1875">
                  <c:v>-0.311</c:v>
                </c:pt>
                <c:pt idx="1876">
                  <c:v>-0.33300000000000002</c:v>
                </c:pt>
                <c:pt idx="1877">
                  <c:v>-0.29599999999999999</c:v>
                </c:pt>
                <c:pt idx="1878">
                  <c:v>-0.33700000000000002</c:v>
                </c:pt>
                <c:pt idx="1879">
                  <c:v>-0.33700000000000002</c:v>
                </c:pt>
                <c:pt idx="1880">
                  <c:v>-0.29299999999999998</c:v>
                </c:pt>
                <c:pt idx="1881">
                  <c:v>-0.26500000000000001</c:v>
                </c:pt>
                <c:pt idx="1882">
                  <c:v>-0.29399999999999998</c:v>
                </c:pt>
                <c:pt idx="1883">
                  <c:v>-0.31</c:v>
                </c:pt>
                <c:pt idx="1884">
                  <c:v>-0.34100000000000003</c:v>
                </c:pt>
                <c:pt idx="1885">
                  <c:v>-0.35599999999999998</c:v>
                </c:pt>
                <c:pt idx="1886">
                  <c:v>-0.38400000000000001</c:v>
                </c:pt>
                <c:pt idx="1887">
                  <c:v>-0.35399999999999998</c:v>
                </c:pt>
                <c:pt idx="1888">
                  <c:v>-0.32</c:v>
                </c:pt>
                <c:pt idx="1889">
                  <c:v>-0.27600000000000002</c:v>
                </c:pt>
                <c:pt idx="1890">
                  <c:v>-0.29699999999999999</c:v>
                </c:pt>
                <c:pt idx="1891">
                  <c:v>-0.32500000000000001</c:v>
                </c:pt>
                <c:pt idx="1892">
                  <c:v>-0.32500000000000001</c:v>
                </c:pt>
                <c:pt idx="1893">
                  <c:v>-0.32500000000000001</c:v>
                </c:pt>
                <c:pt idx="1894">
                  <c:v>-0.316</c:v>
                </c:pt>
                <c:pt idx="1895">
                  <c:v>-0.317</c:v>
                </c:pt>
                <c:pt idx="1896">
                  <c:v>-0.33200000000000002</c:v>
                </c:pt>
                <c:pt idx="1897">
                  <c:v>-0.29599999999999999</c:v>
                </c:pt>
                <c:pt idx="1898">
                  <c:v>-0.29199999999999998</c:v>
                </c:pt>
                <c:pt idx="1899">
                  <c:v>-0.28899999999999998</c:v>
                </c:pt>
                <c:pt idx="1900">
                  <c:v>-0.26200000000000001</c:v>
                </c:pt>
                <c:pt idx="1901">
                  <c:v>-0.29199999999999998</c:v>
                </c:pt>
                <c:pt idx="1902">
                  <c:v>-0.26200000000000001</c:v>
                </c:pt>
                <c:pt idx="1903">
                  <c:v>-0.23599999999999999</c:v>
                </c:pt>
                <c:pt idx="1904">
                  <c:v>-0.25800000000000001</c:v>
                </c:pt>
                <c:pt idx="1905">
                  <c:v>-0.26100000000000001</c:v>
                </c:pt>
                <c:pt idx="1906">
                  <c:v>-0.25600000000000001</c:v>
                </c:pt>
                <c:pt idx="1907">
                  <c:v>-0.25700000000000001</c:v>
                </c:pt>
                <c:pt idx="1908">
                  <c:v>-0.25600000000000001</c:v>
                </c:pt>
                <c:pt idx="1909">
                  <c:v>-0.251</c:v>
                </c:pt>
                <c:pt idx="1910">
                  <c:v>-0.23200000000000001</c:v>
                </c:pt>
                <c:pt idx="1911">
                  <c:v>-0.193</c:v>
                </c:pt>
                <c:pt idx="1912">
                  <c:v>-0.19900000000000001</c:v>
                </c:pt>
                <c:pt idx="1913">
                  <c:v>-0.20399999999999999</c:v>
                </c:pt>
                <c:pt idx="1914">
                  <c:v>-0.23699999999999999</c:v>
                </c:pt>
                <c:pt idx="1915">
                  <c:v>-0.22800000000000001</c:v>
                </c:pt>
                <c:pt idx="1916">
                  <c:v>-0.23100000000000001</c:v>
                </c:pt>
                <c:pt idx="1917">
                  <c:v>-0.218</c:v>
                </c:pt>
                <c:pt idx="1918">
                  <c:v>-0.214</c:v>
                </c:pt>
                <c:pt idx="1919">
                  <c:v>-0.16200000000000001</c:v>
                </c:pt>
                <c:pt idx="1920">
                  <c:v>-0.128</c:v>
                </c:pt>
                <c:pt idx="1921">
                  <c:v>-0.112</c:v>
                </c:pt>
                <c:pt idx="1922">
                  <c:v>-0.123</c:v>
                </c:pt>
                <c:pt idx="1923">
                  <c:v>-0.113</c:v>
                </c:pt>
                <c:pt idx="1924">
                  <c:v>-0.107</c:v>
                </c:pt>
                <c:pt idx="1925">
                  <c:v>-0.111</c:v>
                </c:pt>
                <c:pt idx="1926">
                  <c:v>-0.107</c:v>
                </c:pt>
                <c:pt idx="1927">
                  <c:v>-0.128</c:v>
                </c:pt>
                <c:pt idx="1928">
                  <c:v>-0.14000000000000001</c:v>
                </c:pt>
                <c:pt idx="1929">
                  <c:v>-0.16300000000000001</c:v>
                </c:pt>
                <c:pt idx="1930">
                  <c:v>-0.20300000000000001</c:v>
                </c:pt>
                <c:pt idx="1931">
                  <c:v>-0.17199999999999999</c:v>
                </c:pt>
                <c:pt idx="1932">
                  <c:v>-0.183</c:v>
                </c:pt>
                <c:pt idx="1933">
                  <c:v>-0.183</c:v>
                </c:pt>
                <c:pt idx="1934">
                  <c:v>-0.17499999999999999</c:v>
                </c:pt>
                <c:pt idx="1935">
                  <c:v>-0.19500000000000001</c:v>
                </c:pt>
                <c:pt idx="1936">
                  <c:v>-0.185</c:v>
                </c:pt>
                <c:pt idx="1937">
                  <c:v>-0.20899999999999999</c:v>
                </c:pt>
                <c:pt idx="1938">
                  <c:v>-0.19700000000000001</c:v>
                </c:pt>
                <c:pt idx="1939">
                  <c:v>-0.223</c:v>
                </c:pt>
                <c:pt idx="1940">
                  <c:v>-0.248</c:v>
                </c:pt>
                <c:pt idx="1941">
                  <c:v>-0.248</c:v>
                </c:pt>
                <c:pt idx="1942">
                  <c:v>-0.26800000000000002</c:v>
                </c:pt>
                <c:pt idx="1943">
                  <c:v>-0.255</c:v>
                </c:pt>
                <c:pt idx="1944">
                  <c:v>-0.22900000000000001</c:v>
                </c:pt>
                <c:pt idx="1945">
                  <c:v>-0.248</c:v>
                </c:pt>
                <c:pt idx="1946">
                  <c:v>-0.189</c:v>
                </c:pt>
                <c:pt idx="1947">
                  <c:v>-0.20399999999999999</c:v>
                </c:pt>
                <c:pt idx="1948">
                  <c:v>-0.17399999999999999</c:v>
                </c:pt>
                <c:pt idx="1949">
                  <c:v>-0.16200000000000001</c:v>
                </c:pt>
                <c:pt idx="1950">
                  <c:v>-0.18099999999999999</c:v>
                </c:pt>
                <c:pt idx="1951">
                  <c:v>-0.185</c:v>
                </c:pt>
                <c:pt idx="1952">
                  <c:v>-0.156</c:v>
                </c:pt>
                <c:pt idx="1953">
                  <c:v>-0.185</c:v>
                </c:pt>
                <c:pt idx="1954">
                  <c:v>-0.17199999999999999</c:v>
                </c:pt>
                <c:pt idx="1955">
                  <c:v>-0.20300000000000001</c:v>
                </c:pt>
                <c:pt idx="1956">
                  <c:v>-0.19800000000000001</c:v>
                </c:pt>
                <c:pt idx="1957">
                  <c:v>-0.23499999999999999</c:v>
                </c:pt>
                <c:pt idx="1958">
                  <c:v>-0.20899999999999999</c:v>
                </c:pt>
                <c:pt idx="1959">
                  <c:v>-0.26700000000000002</c:v>
                </c:pt>
                <c:pt idx="1960">
                  <c:v>-0.28999999999999998</c:v>
                </c:pt>
                <c:pt idx="1961">
                  <c:v>-0.313</c:v>
                </c:pt>
                <c:pt idx="1962">
                  <c:v>-0.29199999999999998</c:v>
                </c:pt>
                <c:pt idx="1963">
                  <c:v>-0.30099999999999999</c:v>
                </c:pt>
                <c:pt idx="1964">
                  <c:v>-0.29899999999999999</c:v>
                </c:pt>
                <c:pt idx="1965">
                  <c:v>-0.313</c:v>
                </c:pt>
                <c:pt idx="1966">
                  <c:v>-0.33</c:v>
                </c:pt>
                <c:pt idx="1967">
                  <c:v>-0.35</c:v>
                </c:pt>
                <c:pt idx="1968">
                  <c:v>-0.38800000000000001</c:v>
                </c:pt>
                <c:pt idx="1969">
                  <c:v>-0.41099999999999998</c:v>
                </c:pt>
                <c:pt idx="1970">
                  <c:v>-0.39200000000000002</c:v>
                </c:pt>
                <c:pt idx="1971">
                  <c:v>-0.41899999999999998</c:v>
                </c:pt>
                <c:pt idx="1972">
                  <c:v>-0.41199999999999998</c:v>
                </c:pt>
                <c:pt idx="1973">
                  <c:v>-0.41299999999999998</c:v>
                </c:pt>
                <c:pt idx="1974">
                  <c:v>-0.439</c:v>
                </c:pt>
                <c:pt idx="1975">
                  <c:v>-0.44700000000000001</c:v>
                </c:pt>
                <c:pt idx="1976">
                  <c:v>-0.45200000000000001</c:v>
                </c:pt>
                <c:pt idx="1977">
                  <c:v>-0.45800000000000002</c:v>
                </c:pt>
                <c:pt idx="1978">
                  <c:v>-0.47899999999999998</c:v>
                </c:pt>
                <c:pt idx="1979">
                  <c:v>-0.48199999999999998</c:v>
                </c:pt>
                <c:pt idx="1980">
                  <c:v>-0.49099999999999999</c:v>
                </c:pt>
                <c:pt idx="1981">
                  <c:v>-0.495</c:v>
                </c:pt>
                <c:pt idx="1982">
                  <c:v>-0.45300000000000001</c:v>
                </c:pt>
                <c:pt idx="1983">
                  <c:v>-0.45800000000000002</c:v>
                </c:pt>
                <c:pt idx="1984">
                  <c:v>-0.45600000000000002</c:v>
                </c:pt>
                <c:pt idx="1985">
                  <c:v>-0.45900000000000002</c:v>
                </c:pt>
                <c:pt idx="1986">
                  <c:v>-0.46</c:v>
                </c:pt>
                <c:pt idx="1987">
                  <c:v>-0.46500000000000002</c:v>
                </c:pt>
                <c:pt idx="1988">
                  <c:v>-0.46800000000000003</c:v>
                </c:pt>
                <c:pt idx="1989">
                  <c:v>-0.46600000000000003</c:v>
                </c:pt>
                <c:pt idx="1990">
                  <c:v>-0.48</c:v>
                </c:pt>
                <c:pt idx="1991">
                  <c:v>-0.48799999999999999</c:v>
                </c:pt>
                <c:pt idx="1992">
                  <c:v>-0.496</c:v>
                </c:pt>
                <c:pt idx="1993">
                  <c:v>-0.47799999999999998</c:v>
                </c:pt>
                <c:pt idx="1994">
                  <c:v>-0.47699999999999998</c:v>
                </c:pt>
                <c:pt idx="1995">
                  <c:v>-0.41699999999999998</c:v>
                </c:pt>
                <c:pt idx="1996">
                  <c:v>-0.41599999999999998</c:v>
                </c:pt>
                <c:pt idx="1997">
                  <c:v>-0.41699999999999998</c:v>
                </c:pt>
                <c:pt idx="1998">
                  <c:v>-0.436</c:v>
                </c:pt>
                <c:pt idx="1999">
                  <c:v>-0.38</c:v>
                </c:pt>
                <c:pt idx="2000">
                  <c:v>-0.371</c:v>
                </c:pt>
                <c:pt idx="2001">
                  <c:v>-0.38500000000000001</c:v>
                </c:pt>
                <c:pt idx="2002">
                  <c:v>-0.36099999999999999</c:v>
                </c:pt>
                <c:pt idx="2003">
                  <c:v>-0.36799999999999999</c:v>
                </c:pt>
                <c:pt idx="2004">
                  <c:v>-0.317</c:v>
                </c:pt>
                <c:pt idx="2005">
                  <c:v>-0.32200000000000001</c:v>
                </c:pt>
                <c:pt idx="2006">
                  <c:v>-0.36399999999999999</c:v>
                </c:pt>
                <c:pt idx="2007">
                  <c:v>-0.33300000000000002</c:v>
                </c:pt>
                <c:pt idx="2008">
                  <c:v>-0.32900000000000001</c:v>
                </c:pt>
                <c:pt idx="2009">
                  <c:v>-0.34</c:v>
                </c:pt>
                <c:pt idx="2010">
                  <c:v>-0.307</c:v>
                </c:pt>
                <c:pt idx="2011">
                  <c:v>-0.309</c:v>
                </c:pt>
                <c:pt idx="2012">
                  <c:v>-0.28000000000000003</c:v>
                </c:pt>
                <c:pt idx="2013">
                  <c:v>-0.315</c:v>
                </c:pt>
                <c:pt idx="2014">
                  <c:v>-0.32800000000000001</c:v>
                </c:pt>
                <c:pt idx="2015">
                  <c:v>-0.32700000000000001</c:v>
                </c:pt>
                <c:pt idx="2016">
                  <c:v>-0.25800000000000001</c:v>
                </c:pt>
                <c:pt idx="2017">
                  <c:v>-0.22600000000000001</c:v>
                </c:pt>
                <c:pt idx="2018">
                  <c:v>-0.224</c:v>
                </c:pt>
                <c:pt idx="2019">
                  <c:v>-0.19900000000000001</c:v>
                </c:pt>
                <c:pt idx="2020">
                  <c:v>-0.21299999999999999</c:v>
                </c:pt>
                <c:pt idx="2021">
                  <c:v>-0.19500000000000001</c:v>
                </c:pt>
                <c:pt idx="2022">
                  <c:v>-0.221</c:v>
                </c:pt>
                <c:pt idx="2023">
                  <c:v>-0.218</c:v>
                </c:pt>
                <c:pt idx="2024">
                  <c:v>-0.189</c:v>
                </c:pt>
                <c:pt idx="2025">
                  <c:v>-0.182</c:v>
                </c:pt>
                <c:pt idx="2026">
                  <c:v>-0.19</c:v>
                </c:pt>
                <c:pt idx="2027">
                  <c:v>-0.14699999999999999</c:v>
                </c:pt>
                <c:pt idx="2028">
                  <c:v>-0.124</c:v>
                </c:pt>
                <c:pt idx="2029">
                  <c:v>-9.7000000000000003E-2</c:v>
                </c:pt>
                <c:pt idx="2030">
                  <c:v>-0.128</c:v>
                </c:pt>
                <c:pt idx="2031">
                  <c:v>-0.184</c:v>
                </c:pt>
                <c:pt idx="2032">
                  <c:v>-0.16700000000000001</c:v>
                </c:pt>
                <c:pt idx="2033">
                  <c:v>-0.14799999999999999</c:v>
                </c:pt>
                <c:pt idx="2034">
                  <c:v>-0.114</c:v>
                </c:pt>
                <c:pt idx="2035">
                  <c:v>-0.122</c:v>
                </c:pt>
                <c:pt idx="2036">
                  <c:v>-9.7000000000000003E-2</c:v>
                </c:pt>
                <c:pt idx="2037">
                  <c:v>-9.1999999999999998E-2</c:v>
                </c:pt>
                <c:pt idx="2038">
                  <c:v>-0.112</c:v>
                </c:pt>
                <c:pt idx="2039">
                  <c:v>-0.122</c:v>
                </c:pt>
                <c:pt idx="2040">
                  <c:v>-0.17899999999999999</c:v>
                </c:pt>
                <c:pt idx="2041">
                  <c:v>-0.151</c:v>
                </c:pt>
                <c:pt idx="2042">
                  <c:v>-0.151</c:v>
                </c:pt>
                <c:pt idx="2043">
                  <c:v>-0.10199999999999999</c:v>
                </c:pt>
                <c:pt idx="2044">
                  <c:v>-0.159</c:v>
                </c:pt>
                <c:pt idx="2045">
                  <c:v>-0.16700000000000001</c:v>
                </c:pt>
                <c:pt idx="2046">
                  <c:v>-0.222</c:v>
                </c:pt>
                <c:pt idx="2047">
                  <c:v>-0.27800000000000002</c:v>
                </c:pt>
                <c:pt idx="2048">
                  <c:v>-0.246</c:v>
                </c:pt>
                <c:pt idx="2049">
                  <c:v>-0.29399999999999998</c:v>
                </c:pt>
                <c:pt idx="2050">
                  <c:v>-0.247</c:v>
                </c:pt>
                <c:pt idx="2051">
                  <c:v>-0.22500000000000001</c:v>
                </c:pt>
                <c:pt idx="2052">
                  <c:v>-0.255</c:v>
                </c:pt>
                <c:pt idx="2053">
                  <c:v>-0.24399999999999999</c:v>
                </c:pt>
                <c:pt idx="2054">
                  <c:v>-0.24299999999999999</c:v>
                </c:pt>
                <c:pt idx="2055">
                  <c:v>-0.24099999999999999</c:v>
                </c:pt>
                <c:pt idx="2056">
                  <c:v>-0.28000000000000003</c:v>
                </c:pt>
                <c:pt idx="2057">
                  <c:v>-0.34100000000000003</c:v>
                </c:pt>
                <c:pt idx="2058">
                  <c:v>-0.29599999999999999</c:v>
                </c:pt>
                <c:pt idx="2059">
                  <c:v>-0.23100000000000001</c:v>
                </c:pt>
                <c:pt idx="2060">
                  <c:v>-0.219</c:v>
                </c:pt>
                <c:pt idx="2061">
                  <c:v>-0.248</c:v>
                </c:pt>
                <c:pt idx="2062">
                  <c:v>-0.33600000000000002</c:v>
                </c:pt>
                <c:pt idx="2063">
                  <c:v>-0.32300000000000001</c:v>
                </c:pt>
                <c:pt idx="2064">
                  <c:v>-0.34100000000000003</c:v>
                </c:pt>
                <c:pt idx="2065">
                  <c:v>-0.33100000000000002</c:v>
                </c:pt>
                <c:pt idx="2066">
                  <c:v>-0.33100000000000002</c:v>
                </c:pt>
                <c:pt idx="2067">
                  <c:v>-0.379</c:v>
                </c:pt>
                <c:pt idx="2068">
                  <c:v>-0.38700000000000001</c:v>
                </c:pt>
                <c:pt idx="2069">
                  <c:v>-0.373</c:v>
                </c:pt>
                <c:pt idx="2070">
                  <c:v>-0.31</c:v>
                </c:pt>
                <c:pt idx="2071">
                  <c:v>-0.34699999999999998</c:v>
                </c:pt>
                <c:pt idx="2072">
                  <c:v>-0.35</c:v>
                </c:pt>
                <c:pt idx="2073">
                  <c:v>-0.38100000000000001</c:v>
                </c:pt>
                <c:pt idx="2074">
                  <c:v>-0.36099999999999999</c:v>
                </c:pt>
                <c:pt idx="2075">
                  <c:v>-0.36299999999999999</c:v>
                </c:pt>
                <c:pt idx="2076">
                  <c:v>-0.34599999999999997</c:v>
                </c:pt>
                <c:pt idx="2077">
                  <c:v>-0.372</c:v>
                </c:pt>
                <c:pt idx="2078">
                  <c:v>-0.36099999999999999</c:v>
                </c:pt>
                <c:pt idx="2079">
                  <c:v>-0.30299999999999999</c:v>
                </c:pt>
                <c:pt idx="2080">
                  <c:v>-0.29399999999999998</c:v>
                </c:pt>
                <c:pt idx="2081">
                  <c:v>-0.253</c:v>
                </c:pt>
                <c:pt idx="2082">
                  <c:v>-0.251</c:v>
                </c:pt>
                <c:pt idx="2083">
                  <c:v>-0.24399999999999999</c:v>
                </c:pt>
                <c:pt idx="2084">
                  <c:v>-0.24099999999999999</c:v>
                </c:pt>
                <c:pt idx="2085">
                  <c:v>-0.185</c:v>
                </c:pt>
                <c:pt idx="2086">
                  <c:v>-0.17799999999999999</c:v>
                </c:pt>
                <c:pt idx="2087">
                  <c:v>-0.17899999999999999</c:v>
                </c:pt>
                <c:pt idx="2088">
                  <c:v>-0.124</c:v>
                </c:pt>
                <c:pt idx="2089">
                  <c:v>-0.13100000000000001</c:v>
                </c:pt>
                <c:pt idx="2090">
                  <c:v>-0.126</c:v>
                </c:pt>
                <c:pt idx="2091">
                  <c:v>-6.8000000000000005E-2</c:v>
                </c:pt>
                <c:pt idx="2092">
                  <c:v>-3.1E-2</c:v>
                </c:pt>
                <c:pt idx="2093">
                  <c:v>-3.5999999999999997E-2</c:v>
                </c:pt>
                <c:pt idx="2094">
                  <c:v>-3.3000000000000002E-2</c:v>
                </c:pt>
                <c:pt idx="2095">
                  <c:v>-5.6000000000000001E-2</c:v>
                </c:pt>
                <c:pt idx="2096">
                  <c:v>-8.6999999999999994E-2</c:v>
                </c:pt>
                <c:pt idx="2097">
                  <c:v>-4.7E-2</c:v>
                </c:pt>
                <c:pt idx="2098">
                  <c:v>-2.4E-2</c:v>
                </c:pt>
                <c:pt idx="2099">
                  <c:v>-1.7000000000000001E-2</c:v>
                </c:pt>
                <c:pt idx="2100">
                  <c:v>-8.9999999999999993E-3</c:v>
                </c:pt>
                <c:pt idx="2101">
                  <c:v>-2.5000000000000001E-2</c:v>
                </c:pt>
                <c:pt idx="2102">
                  <c:v>-6.0999999999999999E-2</c:v>
                </c:pt>
                <c:pt idx="2103">
                  <c:v>-0.1</c:v>
                </c:pt>
                <c:pt idx="2104">
                  <c:v>-8.1000000000000003E-2</c:v>
                </c:pt>
                <c:pt idx="2105">
                  <c:v>-7.0000000000000007E-2</c:v>
                </c:pt>
                <c:pt idx="2106">
                  <c:v>-5.7000000000000002E-2</c:v>
                </c:pt>
                <c:pt idx="2107">
                  <c:v>-4.3999999999999997E-2</c:v>
                </c:pt>
                <c:pt idx="2108">
                  <c:v>1.4E-2</c:v>
                </c:pt>
                <c:pt idx="2109">
                  <c:v>3.4000000000000002E-2</c:v>
                </c:pt>
                <c:pt idx="2110">
                  <c:v>3.5000000000000003E-2</c:v>
                </c:pt>
                <c:pt idx="2111">
                  <c:v>0.14899999999999999</c:v>
                </c:pt>
                <c:pt idx="2112">
                  <c:v>0.20699999999999999</c:v>
                </c:pt>
                <c:pt idx="2113">
                  <c:v>0.222</c:v>
                </c:pt>
                <c:pt idx="2114">
                  <c:v>0.26400000000000001</c:v>
                </c:pt>
                <c:pt idx="2115">
                  <c:v>0.22</c:v>
                </c:pt>
                <c:pt idx="2116">
                  <c:v>0.29199999999999998</c:v>
                </c:pt>
                <c:pt idx="2117">
                  <c:v>0.28999999999999998</c:v>
                </c:pt>
                <c:pt idx="2118">
                  <c:v>0.27400000000000002</c:v>
                </c:pt>
                <c:pt idx="2119">
                  <c:v>0.311</c:v>
                </c:pt>
                <c:pt idx="2120">
                  <c:v>0.27400000000000002</c:v>
                </c:pt>
                <c:pt idx="2121">
                  <c:v>0.23100000000000001</c:v>
                </c:pt>
                <c:pt idx="2122">
                  <c:v>0.20599999999999999</c:v>
                </c:pt>
                <c:pt idx="2123">
                  <c:v>0.20100000000000001</c:v>
                </c:pt>
                <c:pt idx="2124">
                  <c:v>0.24099999999999999</c:v>
                </c:pt>
                <c:pt idx="2125">
                  <c:v>0.224</c:v>
                </c:pt>
                <c:pt idx="2126">
                  <c:v>0.16900000000000001</c:v>
                </c:pt>
                <c:pt idx="2127">
                  <c:v>0.224</c:v>
                </c:pt>
                <c:pt idx="2128">
                  <c:v>0.156</c:v>
                </c:pt>
                <c:pt idx="2129">
                  <c:v>-6.9000000000000006E-2</c:v>
                </c:pt>
                <c:pt idx="2130">
                  <c:v>0.01</c:v>
                </c:pt>
                <c:pt idx="2131">
                  <c:v>1.9E-2</c:v>
                </c:pt>
                <c:pt idx="2132">
                  <c:v>-0.10100000000000001</c:v>
                </c:pt>
                <c:pt idx="2133">
                  <c:v>-0.01</c:v>
                </c:pt>
                <c:pt idx="2134">
                  <c:v>0.11</c:v>
                </c:pt>
                <c:pt idx="2135">
                  <c:v>0.19</c:v>
                </c:pt>
                <c:pt idx="2136">
                  <c:v>0.27300000000000002</c:v>
                </c:pt>
                <c:pt idx="2137">
                  <c:v>0.27</c:v>
                </c:pt>
                <c:pt idx="2138">
                  <c:v>0.375</c:v>
                </c:pt>
                <c:pt idx="2139">
                  <c:v>0.32900000000000001</c:v>
                </c:pt>
                <c:pt idx="2140">
                  <c:v>0.39700000000000002</c:v>
                </c:pt>
                <c:pt idx="2141">
                  <c:v>0.39100000000000001</c:v>
                </c:pt>
                <c:pt idx="2142">
                  <c:v>0.37</c:v>
                </c:pt>
                <c:pt idx="2143">
                  <c:v>0.44600000000000001</c:v>
                </c:pt>
                <c:pt idx="2144">
                  <c:v>0.50600000000000001</c:v>
                </c:pt>
                <c:pt idx="2145">
                  <c:v>0.47899999999999998</c:v>
                </c:pt>
                <c:pt idx="2146">
                  <c:v>0.52700000000000002</c:v>
                </c:pt>
                <c:pt idx="2147">
                  <c:v>0.56899999999999995</c:v>
                </c:pt>
                <c:pt idx="2148">
                  <c:v>0.58399999999999996</c:v>
                </c:pt>
                <c:pt idx="2149">
                  <c:v>0.64100000000000001</c:v>
                </c:pt>
                <c:pt idx="2150">
                  <c:v>0.65700000000000003</c:v>
                </c:pt>
                <c:pt idx="2151">
                  <c:v>0.55400000000000005</c:v>
                </c:pt>
                <c:pt idx="2152">
                  <c:v>0.56399999999999995</c:v>
                </c:pt>
                <c:pt idx="2153">
                  <c:v>0.51900000000000002</c:v>
                </c:pt>
                <c:pt idx="2154">
                  <c:v>0.61299999999999999</c:v>
                </c:pt>
                <c:pt idx="2155">
                  <c:v>0.64700000000000002</c:v>
                </c:pt>
                <c:pt idx="2156">
                  <c:v>0.68</c:v>
                </c:pt>
                <c:pt idx="2157">
                  <c:v>0.71199999999999997</c:v>
                </c:pt>
                <c:pt idx="2158">
                  <c:v>0.81299999999999994</c:v>
                </c:pt>
                <c:pt idx="2159">
                  <c:v>0.79</c:v>
                </c:pt>
                <c:pt idx="2160">
                  <c:v>0.77500000000000002</c:v>
                </c:pt>
                <c:pt idx="2161">
                  <c:v>0.84</c:v>
                </c:pt>
                <c:pt idx="2162">
                  <c:v>0.84</c:v>
                </c:pt>
                <c:pt idx="2163">
                  <c:v>0.84</c:v>
                </c:pt>
                <c:pt idx="2164">
                  <c:v>0.91800000000000004</c:v>
                </c:pt>
                <c:pt idx="2165">
                  <c:v>0.86299999999999999</c:v>
                </c:pt>
                <c:pt idx="2166">
                  <c:v>0.92300000000000004</c:v>
                </c:pt>
                <c:pt idx="2167">
                  <c:v>0.92300000000000004</c:v>
                </c:pt>
                <c:pt idx="2168">
                  <c:v>0.84399999999999997</c:v>
                </c:pt>
                <c:pt idx="2169">
                  <c:v>0.80100000000000005</c:v>
                </c:pt>
                <c:pt idx="2170">
                  <c:v>0.80900000000000005</c:v>
                </c:pt>
                <c:pt idx="2171">
                  <c:v>0.89900000000000002</c:v>
                </c:pt>
                <c:pt idx="2172">
                  <c:v>0.93799999999999994</c:v>
                </c:pt>
                <c:pt idx="2173">
                  <c:v>0.95899999999999996</c:v>
                </c:pt>
                <c:pt idx="2174">
                  <c:v>0.95199999999999996</c:v>
                </c:pt>
                <c:pt idx="2175">
                  <c:v>0.98099999999999998</c:v>
                </c:pt>
                <c:pt idx="2176">
                  <c:v>1.0429999999999999</c:v>
                </c:pt>
                <c:pt idx="2177">
                  <c:v>1.1419999999999999</c:v>
                </c:pt>
                <c:pt idx="2178">
                  <c:v>1.0920000000000001</c:v>
                </c:pt>
                <c:pt idx="2179">
                  <c:v>1.0029999999999999</c:v>
                </c:pt>
                <c:pt idx="2180">
                  <c:v>1.0009999999999999</c:v>
                </c:pt>
                <c:pt idx="2181">
                  <c:v>0.871</c:v>
                </c:pt>
                <c:pt idx="2182">
                  <c:v>0.95099999999999996</c:v>
                </c:pt>
                <c:pt idx="2183">
                  <c:v>0.93400000000000005</c:v>
                </c:pt>
                <c:pt idx="2184">
                  <c:v>1.05</c:v>
                </c:pt>
                <c:pt idx="2185">
                  <c:v>1.014</c:v>
                </c:pt>
                <c:pt idx="2186">
                  <c:v>0.93899999999999995</c:v>
                </c:pt>
                <c:pt idx="2187">
                  <c:v>0.94399999999999995</c:v>
                </c:pt>
                <c:pt idx="2188">
                  <c:v>1.0229999999999999</c:v>
                </c:pt>
                <c:pt idx="2189">
                  <c:v>0.95</c:v>
                </c:pt>
                <c:pt idx="2190">
                  <c:v>0.94699999999999995</c:v>
                </c:pt>
                <c:pt idx="2191">
                  <c:v>0.99399999999999999</c:v>
                </c:pt>
                <c:pt idx="2192">
                  <c:v>0.96099999999999997</c:v>
                </c:pt>
                <c:pt idx="2193">
                  <c:v>1.0449999999999999</c:v>
                </c:pt>
                <c:pt idx="2194">
                  <c:v>1.125</c:v>
                </c:pt>
                <c:pt idx="2195">
                  <c:v>1.179</c:v>
                </c:pt>
                <c:pt idx="2196">
                  <c:v>1.2290000000000001</c:v>
                </c:pt>
                <c:pt idx="2197">
                  <c:v>1.272</c:v>
                </c:pt>
                <c:pt idx="2198">
                  <c:v>1.329</c:v>
                </c:pt>
                <c:pt idx="2199">
                  <c:v>1.2869999999999999</c:v>
                </c:pt>
                <c:pt idx="2200">
                  <c:v>1.349</c:v>
                </c:pt>
                <c:pt idx="2201">
                  <c:v>1.4350000000000001</c:v>
                </c:pt>
                <c:pt idx="2202">
                  <c:v>1.498</c:v>
                </c:pt>
                <c:pt idx="2203">
                  <c:v>1.6259999999999999</c:v>
                </c:pt>
                <c:pt idx="2204">
                  <c:v>1.738</c:v>
                </c:pt>
                <c:pt idx="2205">
                  <c:v>1.645</c:v>
                </c:pt>
                <c:pt idx="2206">
                  <c:v>1.696</c:v>
                </c:pt>
                <c:pt idx="2207">
                  <c:v>1.6619999999999999</c:v>
                </c:pt>
                <c:pt idx="2208">
                  <c:v>1.7529999999999999</c:v>
                </c:pt>
                <c:pt idx="2209">
                  <c:v>1.7629999999999999</c:v>
                </c:pt>
                <c:pt idx="2210">
                  <c:v>1.6240000000000001</c:v>
                </c:pt>
                <c:pt idx="2211">
                  <c:v>1.4359999999999999</c:v>
                </c:pt>
                <c:pt idx="2212">
                  <c:v>1.4419999999999999</c:v>
                </c:pt>
                <c:pt idx="2213">
                  <c:v>1.542</c:v>
                </c:pt>
                <c:pt idx="2214">
                  <c:v>1.639</c:v>
                </c:pt>
                <c:pt idx="2215">
                  <c:v>1.506</c:v>
                </c:pt>
                <c:pt idx="2216">
                  <c:v>1.367</c:v>
                </c:pt>
                <c:pt idx="2217">
                  <c:v>1.2310000000000001</c:v>
                </c:pt>
                <c:pt idx="2218">
                  <c:v>1.34</c:v>
                </c:pt>
                <c:pt idx="2219">
                  <c:v>1.1839999999999999</c:v>
                </c:pt>
                <c:pt idx="2220">
                  <c:v>1.159</c:v>
                </c:pt>
                <c:pt idx="2221">
                  <c:v>1.288</c:v>
                </c:pt>
                <c:pt idx="2222">
                  <c:v>1.341</c:v>
                </c:pt>
                <c:pt idx="2223">
                  <c:v>1.25</c:v>
                </c:pt>
                <c:pt idx="2224">
                  <c:v>1.133</c:v>
                </c:pt>
                <c:pt idx="2225">
                  <c:v>1.1479999999999999</c:v>
                </c:pt>
                <c:pt idx="2226">
                  <c:v>1.1839999999999999</c:v>
                </c:pt>
                <c:pt idx="2227">
                  <c:v>1.125</c:v>
                </c:pt>
                <c:pt idx="2228">
                  <c:v>1.2150000000000001</c:v>
                </c:pt>
                <c:pt idx="2229">
                  <c:v>1.2789999999999999</c:v>
                </c:pt>
                <c:pt idx="2230">
                  <c:v>1.262</c:v>
                </c:pt>
                <c:pt idx="2231">
                  <c:v>1.2250000000000001</c:v>
                </c:pt>
                <c:pt idx="2232">
                  <c:v>1.02</c:v>
                </c:pt>
                <c:pt idx="2233">
                  <c:v>1.024</c:v>
                </c:pt>
                <c:pt idx="2234">
                  <c:v>0.92900000000000005</c:v>
                </c:pt>
                <c:pt idx="2235">
                  <c:v>0.93799999999999994</c:v>
                </c:pt>
                <c:pt idx="2236">
                  <c:v>0.80200000000000005</c:v>
                </c:pt>
                <c:pt idx="2237">
                  <c:v>0.82699999999999996</c:v>
                </c:pt>
                <c:pt idx="2238">
                  <c:v>0.76300000000000001</c:v>
                </c:pt>
                <c:pt idx="2239">
                  <c:v>0.78200000000000003</c:v>
                </c:pt>
                <c:pt idx="2240">
                  <c:v>0.86399999999999999</c:v>
                </c:pt>
                <c:pt idx="2241">
                  <c:v>0.80400000000000005</c:v>
                </c:pt>
                <c:pt idx="2242">
                  <c:v>0.95499999999999996</c:v>
                </c:pt>
                <c:pt idx="2243">
                  <c:v>0.89900000000000002</c:v>
                </c:pt>
                <c:pt idx="2244">
                  <c:v>0.92400000000000004</c:v>
                </c:pt>
                <c:pt idx="2245">
                  <c:v>0.88500000000000001</c:v>
                </c:pt>
                <c:pt idx="2246">
                  <c:v>0.97299999999999998</c:v>
                </c:pt>
                <c:pt idx="2247">
                  <c:v>0.99399999999999999</c:v>
                </c:pt>
                <c:pt idx="2248">
                  <c:v>0.89600000000000002</c:v>
                </c:pt>
                <c:pt idx="2249">
                  <c:v>0.97799999999999998</c:v>
                </c:pt>
                <c:pt idx="2250">
                  <c:v>1.081</c:v>
                </c:pt>
                <c:pt idx="2251">
                  <c:v>1.0940000000000001</c:v>
                </c:pt>
                <c:pt idx="2252">
                  <c:v>1.228</c:v>
                </c:pt>
                <c:pt idx="2253">
                  <c:v>1.2929999999999999</c:v>
                </c:pt>
                <c:pt idx="2254">
                  <c:v>1.3169999999999999</c:v>
                </c:pt>
                <c:pt idx="2255">
                  <c:v>1.359</c:v>
                </c:pt>
                <c:pt idx="2256">
                  <c:v>1.3240000000000001</c:v>
                </c:pt>
                <c:pt idx="2257">
                  <c:v>1.3979999999999999</c:v>
                </c:pt>
                <c:pt idx="2258">
                  <c:v>1.5009999999999999</c:v>
                </c:pt>
                <c:pt idx="2259">
                  <c:v>1.5069999999999999</c:v>
                </c:pt>
                <c:pt idx="2260">
                  <c:v>1.5349999999999999</c:v>
                </c:pt>
                <c:pt idx="2261">
                  <c:v>1.5640000000000001</c:v>
                </c:pt>
                <c:pt idx="2262">
                  <c:v>1.5209999999999999</c:v>
                </c:pt>
                <c:pt idx="2263">
                  <c:v>1.5669999999999999</c:v>
                </c:pt>
                <c:pt idx="2264">
                  <c:v>1.605</c:v>
                </c:pt>
                <c:pt idx="2265">
                  <c:v>1.5740000000000001</c:v>
                </c:pt>
                <c:pt idx="2266">
                  <c:v>1.712</c:v>
                </c:pt>
                <c:pt idx="2267">
                  <c:v>1.7030000000000001</c:v>
                </c:pt>
                <c:pt idx="2268">
                  <c:v>1.6439999999999999</c:v>
                </c:pt>
                <c:pt idx="2269">
                  <c:v>1.7250000000000001</c:v>
                </c:pt>
                <c:pt idx="2270">
                  <c:v>1.6890000000000001</c:v>
                </c:pt>
                <c:pt idx="2271">
                  <c:v>1.7330000000000001</c:v>
                </c:pt>
                <c:pt idx="2272">
                  <c:v>1.764</c:v>
                </c:pt>
                <c:pt idx="2273">
                  <c:v>1.7889999999999999</c:v>
                </c:pt>
                <c:pt idx="2274">
                  <c:v>1.9450000000000001</c:v>
                </c:pt>
                <c:pt idx="2275">
                  <c:v>1.89</c:v>
                </c:pt>
                <c:pt idx="2276">
                  <c:v>1.9830000000000001</c:v>
                </c:pt>
                <c:pt idx="2277">
                  <c:v>2.0350000000000001</c:v>
                </c:pt>
                <c:pt idx="2278">
                  <c:v>2.0920000000000001</c:v>
                </c:pt>
                <c:pt idx="2279">
                  <c:v>2.2509999999999999</c:v>
                </c:pt>
                <c:pt idx="2280">
                  <c:v>2.14</c:v>
                </c:pt>
                <c:pt idx="2281">
                  <c:v>2.21</c:v>
                </c:pt>
                <c:pt idx="2282">
                  <c:v>2.1110000000000002</c:v>
                </c:pt>
                <c:pt idx="2283">
                  <c:v>1.8939999999999999</c:v>
                </c:pt>
                <c:pt idx="2284">
                  <c:v>1.8879999999999999</c:v>
                </c:pt>
                <c:pt idx="2285">
                  <c:v>2.02</c:v>
                </c:pt>
                <c:pt idx="2286">
                  <c:v>2.08</c:v>
                </c:pt>
                <c:pt idx="2287">
                  <c:v>2.194</c:v>
                </c:pt>
                <c:pt idx="2288">
                  <c:v>2.3220000000000001</c:v>
                </c:pt>
                <c:pt idx="2289">
                  <c:v>2.3090000000000002</c:v>
                </c:pt>
                <c:pt idx="2290">
                  <c:v>2.343</c:v>
                </c:pt>
                <c:pt idx="2291">
                  <c:v>2.2959999999999998</c:v>
                </c:pt>
                <c:pt idx="2292">
                  <c:v>2.3570000000000002</c:v>
                </c:pt>
                <c:pt idx="2293">
                  <c:v>2.27</c:v>
                </c:pt>
                <c:pt idx="2294">
                  <c:v>2.2719999999999998</c:v>
                </c:pt>
                <c:pt idx="2295">
                  <c:v>2.3660000000000001</c:v>
                </c:pt>
                <c:pt idx="2296">
                  <c:v>2.4009999999999998</c:v>
                </c:pt>
                <c:pt idx="2297">
                  <c:v>2.44</c:v>
                </c:pt>
                <c:pt idx="2298">
                  <c:v>2.347</c:v>
                </c:pt>
                <c:pt idx="2299">
                  <c:v>2.1669999999999998</c:v>
                </c:pt>
                <c:pt idx="2300">
                  <c:v>2.1160000000000001</c:v>
                </c:pt>
                <c:pt idx="2301">
                  <c:v>1.982</c:v>
                </c:pt>
                <c:pt idx="2302">
                  <c:v>2.0880000000000001</c:v>
                </c:pt>
                <c:pt idx="2303">
                  <c:v>2.157</c:v>
                </c:pt>
                <c:pt idx="2304">
                  <c:v>2.125</c:v>
                </c:pt>
                <c:pt idx="2305">
                  <c:v>2.1389999999999998</c:v>
                </c:pt>
                <c:pt idx="2306">
                  <c:v>2.2469999999999999</c:v>
                </c:pt>
                <c:pt idx="2307">
                  <c:v>2.29</c:v>
                </c:pt>
                <c:pt idx="2308">
                  <c:v>2.3220000000000001</c:v>
                </c:pt>
                <c:pt idx="2309">
                  <c:v>2.27</c:v>
                </c:pt>
                <c:pt idx="2310">
                  <c:v>2.1779999999999999</c:v>
                </c:pt>
                <c:pt idx="2311">
                  <c:v>2.004</c:v>
                </c:pt>
                <c:pt idx="2312">
                  <c:v>2.1589999999999998</c:v>
                </c:pt>
                <c:pt idx="2313">
                  <c:v>2.1560000000000001</c:v>
                </c:pt>
                <c:pt idx="2314">
                  <c:v>2.097</c:v>
                </c:pt>
                <c:pt idx="2315">
                  <c:v>2.0059999999999998</c:v>
                </c:pt>
                <c:pt idx="2316">
                  <c:v>2.0230000000000001</c:v>
                </c:pt>
                <c:pt idx="2317">
                  <c:v>2.0179999999999998</c:v>
                </c:pt>
                <c:pt idx="2318">
                  <c:v>1.98</c:v>
                </c:pt>
                <c:pt idx="2319">
                  <c:v>1.9810000000000001</c:v>
                </c:pt>
                <c:pt idx="2320">
                  <c:v>1.921</c:v>
                </c:pt>
                <c:pt idx="2321">
                  <c:v>1.845</c:v>
                </c:pt>
                <c:pt idx="2322">
                  <c:v>1.97</c:v>
                </c:pt>
                <c:pt idx="2323">
                  <c:v>1.9930000000000001</c:v>
                </c:pt>
                <c:pt idx="2324">
                  <c:v>1.913</c:v>
                </c:pt>
                <c:pt idx="2325">
                  <c:v>1.946</c:v>
                </c:pt>
                <c:pt idx="2326">
                  <c:v>1.8240000000000001</c:v>
                </c:pt>
                <c:pt idx="2327">
                  <c:v>1.855</c:v>
                </c:pt>
                <c:pt idx="2328">
                  <c:v>1.8759999999999999</c:v>
                </c:pt>
                <c:pt idx="2329">
                  <c:v>1.7989999999999999</c:v>
                </c:pt>
                <c:pt idx="2330">
                  <c:v>1.7869999999999999</c:v>
                </c:pt>
                <c:pt idx="2331">
                  <c:v>1.819</c:v>
                </c:pt>
                <c:pt idx="2332">
                  <c:v>1.925</c:v>
                </c:pt>
                <c:pt idx="2333">
                  <c:v>1.9339999999999999</c:v>
                </c:pt>
                <c:pt idx="2334">
                  <c:v>1.9039999999999999</c:v>
                </c:pt>
                <c:pt idx="2335">
                  <c:v>1.9319999999999999</c:v>
                </c:pt>
                <c:pt idx="2336">
                  <c:v>2.0830000000000002</c:v>
                </c:pt>
                <c:pt idx="2337">
                  <c:v>2.165</c:v>
                </c:pt>
                <c:pt idx="2338">
                  <c:v>2.1970000000000001</c:v>
                </c:pt>
                <c:pt idx="2339">
                  <c:v>2.2989999999999999</c:v>
                </c:pt>
                <c:pt idx="2340">
                  <c:v>2.2970000000000002</c:v>
                </c:pt>
                <c:pt idx="2341">
                  <c:v>2.3650000000000002</c:v>
                </c:pt>
                <c:pt idx="2342">
                  <c:v>2.3919999999999999</c:v>
                </c:pt>
                <c:pt idx="2343">
                  <c:v>2.3919999999999999</c:v>
                </c:pt>
                <c:pt idx="2344">
                  <c:v>2.5129999999999999</c:v>
                </c:pt>
                <c:pt idx="2345">
                  <c:v>2.5070000000000001</c:v>
                </c:pt>
                <c:pt idx="2346">
                  <c:v>2.464</c:v>
                </c:pt>
                <c:pt idx="2347">
                  <c:v>2.5619999999999998</c:v>
                </c:pt>
                <c:pt idx="2348">
                  <c:v>2.4470000000000001</c:v>
                </c:pt>
                <c:pt idx="2349">
                  <c:v>2.3759999999999999</c:v>
                </c:pt>
                <c:pt idx="2350">
                  <c:v>2.2789999999999999</c:v>
                </c:pt>
                <c:pt idx="2351">
                  <c:v>2.3079999999999998</c:v>
                </c:pt>
                <c:pt idx="2352">
                  <c:v>2.2090000000000001</c:v>
                </c:pt>
                <c:pt idx="2353">
                  <c:v>2.214</c:v>
                </c:pt>
                <c:pt idx="2354">
                  <c:v>2.3010000000000002</c:v>
                </c:pt>
                <c:pt idx="2355">
                  <c:v>2.1850000000000001</c:v>
                </c:pt>
                <c:pt idx="2356">
                  <c:v>2.1320000000000001</c:v>
                </c:pt>
                <c:pt idx="2357">
                  <c:v>2.1429999999999998</c:v>
                </c:pt>
                <c:pt idx="2358">
                  <c:v>2.1949999999999998</c:v>
                </c:pt>
                <c:pt idx="2359">
                  <c:v>2.089</c:v>
                </c:pt>
                <c:pt idx="2360">
                  <c:v>2.008</c:v>
                </c:pt>
                <c:pt idx="2361">
                  <c:v>2.0529999999999999</c:v>
                </c:pt>
                <c:pt idx="2362">
                  <c:v>2.1709999999999998</c:v>
                </c:pt>
                <c:pt idx="2363">
                  <c:v>2.2010000000000001</c:v>
                </c:pt>
                <c:pt idx="2364">
                  <c:v>2.1589999999999998</c:v>
                </c:pt>
                <c:pt idx="2365">
                  <c:v>2.1579999999999999</c:v>
                </c:pt>
                <c:pt idx="2366">
                  <c:v>2.214</c:v>
                </c:pt>
                <c:pt idx="2367">
                  <c:v>2.2450000000000001</c:v>
                </c:pt>
                <c:pt idx="2368">
                  <c:v>2.306</c:v>
                </c:pt>
                <c:pt idx="2369">
                  <c:v>2.2759999999999998</c:v>
                </c:pt>
                <c:pt idx="2370">
                  <c:v>2.2909999999999999</c:v>
                </c:pt>
                <c:pt idx="2371">
                  <c:v>2.0649999999999999</c:v>
                </c:pt>
                <c:pt idx="2372">
                  <c:v>2.1949999999999998</c:v>
                </c:pt>
                <c:pt idx="2373">
                  <c:v>2.2839999999999998</c:v>
                </c:pt>
                <c:pt idx="2374">
                  <c:v>2.3109999999999999</c:v>
                </c:pt>
                <c:pt idx="2375">
                  <c:v>2.367</c:v>
                </c:pt>
                <c:pt idx="2376">
                  <c:v>2.3109999999999999</c:v>
                </c:pt>
                <c:pt idx="2377">
                  <c:v>2.367</c:v>
                </c:pt>
                <c:pt idx="2378">
                  <c:v>2.3740000000000001</c:v>
                </c:pt>
                <c:pt idx="2379">
                  <c:v>2.4460000000000002</c:v>
                </c:pt>
                <c:pt idx="2380">
                  <c:v>2.4740000000000002</c:v>
                </c:pt>
                <c:pt idx="2381">
                  <c:v>2.4830000000000001</c:v>
                </c:pt>
                <c:pt idx="2382">
                  <c:v>2.46</c:v>
                </c:pt>
                <c:pt idx="2383">
                  <c:v>2.4590000000000001</c:v>
                </c:pt>
                <c:pt idx="2384">
                  <c:v>2.5379999999999998</c:v>
                </c:pt>
                <c:pt idx="2385">
                  <c:v>2.5139999999999998</c:v>
                </c:pt>
                <c:pt idx="2386">
                  <c:v>2.4750000000000001</c:v>
                </c:pt>
                <c:pt idx="2387">
                  <c:v>2.5289999999999999</c:v>
                </c:pt>
                <c:pt idx="2388">
                  <c:v>2.5870000000000002</c:v>
                </c:pt>
                <c:pt idx="2389">
                  <c:v>2.6339999999999999</c:v>
                </c:pt>
                <c:pt idx="2390">
                  <c:v>2.714</c:v>
                </c:pt>
                <c:pt idx="2391">
                  <c:v>2.754</c:v>
                </c:pt>
                <c:pt idx="2392">
                  <c:v>2.714</c:v>
                </c:pt>
                <c:pt idx="2393">
                  <c:v>2.7269999999999999</c:v>
                </c:pt>
                <c:pt idx="2394">
                  <c:v>2.6949999999999998</c:v>
                </c:pt>
                <c:pt idx="2395">
                  <c:v>2.645</c:v>
                </c:pt>
                <c:pt idx="2396">
                  <c:v>2.641</c:v>
                </c:pt>
                <c:pt idx="2397">
                  <c:v>2.496</c:v>
                </c:pt>
                <c:pt idx="2398">
                  <c:v>2.282</c:v>
                </c:pt>
                <c:pt idx="2399">
                  <c:v>2.4540000000000002</c:v>
                </c:pt>
                <c:pt idx="2400">
                  <c:v>2.1179999999999999</c:v>
                </c:pt>
                <c:pt idx="2401">
                  <c:v>2.2429999999999999</c:v>
                </c:pt>
                <c:pt idx="2402">
                  <c:v>2.1230000000000002</c:v>
                </c:pt>
                <c:pt idx="2403">
                  <c:v>2.0990000000000002</c:v>
                </c:pt>
                <c:pt idx="2404">
                  <c:v>2.278</c:v>
                </c:pt>
                <c:pt idx="2405">
                  <c:v>2.3290000000000002</c:v>
                </c:pt>
                <c:pt idx="2406">
                  <c:v>2.1859999999999999</c:v>
                </c:pt>
                <c:pt idx="2407">
                  <c:v>2.125</c:v>
                </c:pt>
                <c:pt idx="2408">
                  <c:v>2.2269999999999999</c:v>
                </c:pt>
                <c:pt idx="2409">
                  <c:v>2.2839999999999998</c:v>
                </c:pt>
                <c:pt idx="2410">
                  <c:v>2.3050000000000002</c:v>
                </c:pt>
                <c:pt idx="2411">
                  <c:v>2.3660000000000001</c:v>
                </c:pt>
                <c:pt idx="2412">
                  <c:v>2.31</c:v>
                </c:pt>
                <c:pt idx="2413">
                  <c:v>2.2410000000000001</c:v>
                </c:pt>
                <c:pt idx="2414">
                  <c:v>2.266</c:v>
                </c:pt>
                <c:pt idx="2415">
                  <c:v>2.1789999999999998</c:v>
                </c:pt>
                <c:pt idx="2416">
                  <c:v>2.181</c:v>
                </c:pt>
                <c:pt idx="2417">
                  <c:v>2.181</c:v>
                </c:pt>
                <c:pt idx="2418">
                  <c:v>2.181</c:v>
                </c:pt>
                <c:pt idx="2419">
                  <c:v>2.3039999999999998</c:v>
                </c:pt>
                <c:pt idx="2420">
                  <c:v>2.36</c:v>
                </c:pt>
                <c:pt idx="2421">
                  <c:v>2.371</c:v>
                </c:pt>
                <c:pt idx="2422">
                  <c:v>2.431</c:v>
                </c:pt>
                <c:pt idx="2423">
                  <c:v>2.48</c:v>
                </c:pt>
                <c:pt idx="2424">
                  <c:v>2.4700000000000002</c:v>
                </c:pt>
                <c:pt idx="2425">
                  <c:v>2.504</c:v>
                </c:pt>
                <c:pt idx="2426">
                  <c:v>2.444</c:v>
                </c:pt>
                <c:pt idx="2427">
                  <c:v>2.4860000000000002</c:v>
                </c:pt>
                <c:pt idx="2428">
                  <c:v>2.4900000000000002</c:v>
                </c:pt>
                <c:pt idx="2429">
                  <c:v>2.3780000000000001</c:v>
                </c:pt>
                <c:pt idx="2430">
                  <c:v>2.3849999999999998</c:v>
                </c:pt>
                <c:pt idx="2431">
                  <c:v>2.4529999999999998</c:v>
                </c:pt>
                <c:pt idx="2432">
                  <c:v>2.3199999999999998</c:v>
                </c:pt>
                <c:pt idx="2433">
                  <c:v>2.3199999999999998</c:v>
                </c:pt>
                <c:pt idx="2434">
                  <c:v>2.2519999999999998</c:v>
                </c:pt>
                <c:pt idx="2435">
                  <c:v>2.25</c:v>
                </c:pt>
                <c:pt idx="2436">
                  <c:v>2.1970000000000001</c:v>
                </c:pt>
                <c:pt idx="2437">
                  <c:v>2.2930000000000001</c:v>
                </c:pt>
                <c:pt idx="2438">
                  <c:v>2.319</c:v>
                </c:pt>
                <c:pt idx="2439">
                  <c:v>2.3370000000000002</c:v>
                </c:pt>
                <c:pt idx="2440">
                  <c:v>2.2949999999999999</c:v>
                </c:pt>
                <c:pt idx="2441">
                  <c:v>2.2170000000000001</c:v>
                </c:pt>
                <c:pt idx="2442">
                  <c:v>2.266</c:v>
                </c:pt>
                <c:pt idx="2443">
                  <c:v>2.31</c:v>
                </c:pt>
                <c:pt idx="2444">
                  <c:v>2.34</c:v>
                </c:pt>
                <c:pt idx="2445">
                  <c:v>2.3380000000000001</c:v>
                </c:pt>
                <c:pt idx="2446">
                  <c:v>2.4129999999999998</c:v>
                </c:pt>
                <c:pt idx="2447">
                  <c:v>2.423</c:v>
                </c:pt>
                <c:pt idx="2448">
                  <c:v>2.4510000000000001</c:v>
                </c:pt>
                <c:pt idx="2449">
                  <c:v>2.4630000000000001</c:v>
                </c:pt>
                <c:pt idx="2450">
                  <c:v>2.452</c:v>
                </c:pt>
                <c:pt idx="2451">
                  <c:v>2.4889999999999999</c:v>
                </c:pt>
                <c:pt idx="2452">
                  <c:v>2.5390000000000001</c:v>
                </c:pt>
                <c:pt idx="2453">
                  <c:v>2.4329999999999998</c:v>
                </c:pt>
                <c:pt idx="2454">
                  <c:v>2.34</c:v>
                </c:pt>
                <c:pt idx="2455">
                  <c:v>2.2690000000000001</c:v>
                </c:pt>
                <c:pt idx="2456">
                  <c:v>2.2599999999999998</c:v>
                </c:pt>
                <c:pt idx="2457">
                  <c:v>2.3079999999999998</c:v>
                </c:pt>
                <c:pt idx="2458">
                  <c:v>2.3740000000000001</c:v>
                </c:pt>
                <c:pt idx="2459">
                  <c:v>2.37</c:v>
                </c:pt>
                <c:pt idx="2460">
                  <c:v>2.4430000000000001</c:v>
                </c:pt>
                <c:pt idx="2461">
                  <c:v>2.4220000000000002</c:v>
                </c:pt>
                <c:pt idx="2462">
                  <c:v>2.38</c:v>
                </c:pt>
                <c:pt idx="2463">
                  <c:v>2.3820000000000001</c:v>
                </c:pt>
                <c:pt idx="2464">
                  <c:v>2.4260000000000002</c:v>
                </c:pt>
                <c:pt idx="2465">
                  <c:v>2.4449999999999998</c:v>
                </c:pt>
                <c:pt idx="2466">
                  <c:v>2.5049999999999999</c:v>
                </c:pt>
                <c:pt idx="2467">
                  <c:v>2.464</c:v>
                </c:pt>
                <c:pt idx="2468">
                  <c:v>2.5169999999999999</c:v>
                </c:pt>
                <c:pt idx="2469">
                  <c:v>2.4060000000000001</c:v>
                </c:pt>
                <c:pt idx="2470">
                  <c:v>2.4289999999999998</c:v>
                </c:pt>
                <c:pt idx="2471">
                  <c:v>2.4860000000000002</c:v>
                </c:pt>
                <c:pt idx="2472">
                  <c:v>2.359</c:v>
                </c:pt>
                <c:pt idx="2473">
                  <c:v>2.2999999999999998</c:v>
                </c:pt>
                <c:pt idx="2474">
                  <c:v>2.3650000000000002</c:v>
                </c:pt>
                <c:pt idx="2475">
                  <c:v>2.3140000000000001</c:v>
                </c:pt>
                <c:pt idx="2476">
                  <c:v>2.4129999999999998</c:v>
                </c:pt>
                <c:pt idx="2477">
                  <c:v>2.3940000000000001</c:v>
                </c:pt>
                <c:pt idx="2478">
                  <c:v>2.4319999999999999</c:v>
                </c:pt>
                <c:pt idx="2479">
                  <c:v>2.4550000000000001</c:v>
                </c:pt>
                <c:pt idx="2480">
                  <c:v>2.4790000000000001</c:v>
                </c:pt>
                <c:pt idx="2481">
                  <c:v>2.6280000000000001</c:v>
                </c:pt>
                <c:pt idx="2482">
                  <c:v>2.6360000000000001</c:v>
                </c:pt>
                <c:pt idx="2483">
                  <c:v>2.6320000000000001</c:v>
                </c:pt>
                <c:pt idx="2484">
                  <c:v>2.649</c:v>
                </c:pt>
                <c:pt idx="2485">
                  <c:v>2.548</c:v>
                </c:pt>
                <c:pt idx="2486">
                  <c:v>2.4649999999999999</c:v>
                </c:pt>
                <c:pt idx="2487">
                  <c:v>2.4750000000000001</c:v>
                </c:pt>
                <c:pt idx="2488">
                  <c:v>2.4529999999999998</c:v>
                </c:pt>
                <c:pt idx="2489">
                  <c:v>2.3479999999999999</c:v>
                </c:pt>
                <c:pt idx="2490">
                  <c:v>2.3969999999999998</c:v>
                </c:pt>
                <c:pt idx="2491">
                  <c:v>2.4500000000000002</c:v>
                </c:pt>
                <c:pt idx="2492">
                  <c:v>2.4279999999999999</c:v>
                </c:pt>
                <c:pt idx="2493">
                  <c:v>2.3889999999999998</c:v>
                </c:pt>
                <c:pt idx="2494">
                  <c:v>2.4009999999999998</c:v>
                </c:pt>
                <c:pt idx="2495">
                  <c:v>2.4550000000000001</c:v>
                </c:pt>
                <c:pt idx="2496">
                  <c:v>2.4350000000000001</c:v>
                </c:pt>
                <c:pt idx="2497">
                  <c:v>2.4550000000000001</c:v>
                </c:pt>
                <c:pt idx="2498">
                  <c:v>2.4670000000000001</c:v>
                </c:pt>
                <c:pt idx="2499">
                  <c:v>2.5230000000000001</c:v>
                </c:pt>
                <c:pt idx="2500">
                  <c:v>2.5070000000000001</c:v>
                </c:pt>
                <c:pt idx="2501">
                  <c:v>2.5539999999999998</c:v>
                </c:pt>
                <c:pt idx="2502">
                  <c:v>2.5379999999999998</c:v>
                </c:pt>
                <c:pt idx="2503">
                  <c:v>2.5609999999999999</c:v>
                </c:pt>
                <c:pt idx="2504">
                  <c:v>2.4420000000000002</c:v>
                </c:pt>
                <c:pt idx="2505">
                  <c:v>2.4660000000000002</c:v>
                </c:pt>
                <c:pt idx="2506">
                  <c:v>2.5030000000000001</c:v>
                </c:pt>
                <c:pt idx="2507">
                  <c:v>2.621</c:v>
                </c:pt>
                <c:pt idx="2508">
                  <c:v>2.637</c:v>
                </c:pt>
                <c:pt idx="2509">
                  <c:v>2.677</c:v>
                </c:pt>
                <c:pt idx="2510">
                  <c:v>2.6429999999999998</c:v>
                </c:pt>
                <c:pt idx="2511">
                  <c:v>2.6989999999999998</c:v>
                </c:pt>
                <c:pt idx="2512">
                  <c:v>2.62</c:v>
                </c:pt>
                <c:pt idx="2513">
                  <c:v>2.706</c:v>
                </c:pt>
                <c:pt idx="2514">
                  <c:v>2.6549999999999998</c:v>
                </c:pt>
                <c:pt idx="2515">
                  <c:v>2.52</c:v>
                </c:pt>
                <c:pt idx="2516">
                  <c:v>2.5230000000000001</c:v>
                </c:pt>
                <c:pt idx="2517">
                  <c:v>2.556</c:v>
                </c:pt>
                <c:pt idx="2518">
                  <c:v>2.5659999999999998</c:v>
                </c:pt>
                <c:pt idx="2519">
                  <c:v>2.5099999999999998</c:v>
                </c:pt>
                <c:pt idx="2520">
                  <c:v>2.536</c:v>
                </c:pt>
                <c:pt idx="2521">
                  <c:v>2.4710000000000001</c:v>
                </c:pt>
                <c:pt idx="2522">
                  <c:v>2.5449999999999999</c:v>
                </c:pt>
                <c:pt idx="2523">
                  <c:v>2.577</c:v>
                </c:pt>
                <c:pt idx="2524">
                  <c:v>2.6080000000000001</c:v>
                </c:pt>
                <c:pt idx="2525">
                  <c:v>2.6560000000000001</c:v>
                </c:pt>
                <c:pt idx="2526">
                  <c:v>2.6179999999999999</c:v>
                </c:pt>
                <c:pt idx="2527">
                  <c:v>2.5979999999999999</c:v>
                </c:pt>
                <c:pt idx="2528">
                  <c:v>2.6349999999999998</c:v>
                </c:pt>
                <c:pt idx="2529">
                  <c:v>2.641</c:v>
                </c:pt>
                <c:pt idx="2530">
                  <c:v>2.653</c:v>
                </c:pt>
                <c:pt idx="2531">
                  <c:v>2.5950000000000002</c:v>
                </c:pt>
                <c:pt idx="2532">
                  <c:v>2.669</c:v>
                </c:pt>
                <c:pt idx="2533">
                  <c:v>2.7170000000000001</c:v>
                </c:pt>
                <c:pt idx="2534">
                  <c:v>2.738</c:v>
                </c:pt>
                <c:pt idx="2535">
                  <c:v>2.7029999999999998</c:v>
                </c:pt>
                <c:pt idx="2536">
                  <c:v>2.7469999999999999</c:v>
                </c:pt>
                <c:pt idx="2537">
                  <c:v>2.7360000000000002</c:v>
                </c:pt>
                <c:pt idx="2538">
                  <c:v>2.7890000000000001</c:v>
                </c:pt>
                <c:pt idx="2539">
                  <c:v>2.7989999999999999</c:v>
                </c:pt>
                <c:pt idx="2540">
                  <c:v>2.8319999999999999</c:v>
                </c:pt>
                <c:pt idx="2541">
                  <c:v>2.968</c:v>
                </c:pt>
                <c:pt idx="2542">
                  <c:v>2.8380000000000001</c:v>
                </c:pt>
                <c:pt idx="2543">
                  <c:v>2.911</c:v>
                </c:pt>
                <c:pt idx="2544">
                  <c:v>2.956</c:v>
                </c:pt>
                <c:pt idx="2545">
                  <c:v>2.9409999999999998</c:v>
                </c:pt>
                <c:pt idx="2546">
                  <c:v>2.8849999999999998</c:v>
                </c:pt>
                <c:pt idx="2547">
                  <c:v>2.891</c:v>
                </c:pt>
                <c:pt idx="2548">
                  <c:v>2.7650000000000001</c:v>
                </c:pt>
                <c:pt idx="2549">
                  <c:v>2.7829999999999999</c:v>
                </c:pt>
                <c:pt idx="2550">
                  <c:v>2.718</c:v>
                </c:pt>
                <c:pt idx="2551">
                  <c:v>2.7829999999999999</c:v>
                </c:pt>
                <c:pt idx="2552">
                  <c:v>2.7320000000000002</c:v>
                </c:pt>
                <c:pt idx="2553">
                  <c:v>2.7810000000000001</c:v>
                </c:pt>
                <c:pt idx="2554">
                  <c:v>2.8820000000000001</c:v>
                </c:pt>
                <c:pt idx="2555">
                  <c:v>2.9209999999999998</c:v>
                </c:pt>
                <c:pt idx="2556">
                  <c:v>2.927</c:v>
                </c:pt>
                <c:pt idx="2557">
                  <c:v>2.8820000000000001</c:v>
                </c:pt>
                <c:pt idx="2558">
                  <c:v>2.8660000000000001</c:v>
                </c:pt>
                <c:pt idx="2559">
                  <c:v>2.8340000000000001</c:v>
                </c:pt>
                <c:pt idx="2560">
                  <c:v>2.887</c:v>
                </c:pt>
                <c:pt idx="2561">
                  <c:v>2.851</c:v>
                </c:pt>
                <c:pt idx="2562">
                  <c:v>2.835</c:v>
                </c:pt>
                <c:pt idx="2563">
                  <c:v>2.827</c:v>
                </c:pt>
                <c:pt idx="2564">
                  <c:v>2.8069999999999999</c:v>
                </c:pt>
                <c:pt idx="2565">
                  <c:v>2.758</c:v>
                </c:pt>
                <c:pt idx="2566">
                  <c:v>2.7120000000000002</c:v>
                </c:pt>
                <c:pt idx="2567">
                  <c:v>2.637</c:v>
                </c:pt>
                <c:pt idx="2568">
                  <c:v>2.738</c:v>
                </c:pt>
                <c:pt idx="2569">
                  <c:v>2.6669999999999998</c:v>
                </c:pt>
                <c:pt idx="2570">
                  <c:v>2.613</c:v>
                </c:pt>
                <c:pt idx="2571">
                  <c:v>2.6539999999999999</c:v>
                </c:pt>
                <c:pt idx="2572">
                  <c:v>2.7090000000000001</c:v>
                </c:pt>
                <c:pt idx="2573">
                  <c:v>2.7170000000000001</c:v>
                </c:pt>
                <c:pt idx="2574">
                  <c:v>2.601</c:v>
                </c:pt>
                <c:pt idx="2575">
                  <c:v>2.6309999999999998</c:v>
                </c:pt>
                <c:pt idx="2576">
                  <c:v>2.5880000000000001</c:v>
                </c:pt>
                <c:pt idx="2577">
                  <c:v>2.589</c:v>
                </c:pt>
                <c:pt idx="2578">
                  <c:v>2.617</c:v>
                </c:pt>
                <c:pt idx="2579">
                  <c:v>2.5569999999999999</c:v>
                </c:pt>
                <c:pt idx="2580">
                  <c:v>2.5640000000000001</c:v>
                </c:pt>
                <c:pt idx="2581">
                  <c:v>2.6230000000000002</c:v>
                </c:pt>
                <c:pt idx="2582">
                  <c:v>2.6459999999999999</c:v>
                </c:pt>
                <c:pt idx="2583">
                  <c:v>2.5529999999999999</c:v>
                </c:pt>
                <c:pt idx="2584">
                  <c:v>2.4929999999999999</c:v>
                </c:pt>
                <c:pt idx="2585">
                  <c:v>2.4249999999999998</c:v>
                </c:pt>
                <c:pt idx="2586">
                  <c:v>2.448</c:v>
                </c:pt>
                <c:pt idx="2587">
                  <c:v>2.363</c:v>
                </c:pt>
                <c:pt idx="2588">
                  <c:v>2.35</c:v>
                </c:pt>
                <c:pt idx="2589">
                  <c:v>2.238</c:v>
                </c:pt>
                <c:pt idx="2590">
                  <c:v>2.2130000000000001</c:v>
                </c:pt>
                <c:pt idx="2591">
                  <c:v>2.1949999999999998</c:v>
                </c:pt>
                <c:pt idx="2592">
                  <c:v>2.2679999999999998</c:v>
                </c:pt>
                <c:pt idx="2593">
                  <c:v>2.2639999999999998</c:v>
                </c:pt>
                <c:pt idx="2594">
                  <c:v>2.2309999999999999</c:v>
                </c:pt>
                <c:pt idx="2595">
                  <c:v>2.1680000000000001</c:v>
                </c:pt>
                <c:pt idx="2596">
                  <c:v>2.125</c:v>
                </c:pt>
                <c:pt idx="2597">
                  <c:v>2.0129999999999999</c:v>
                </c:pt>
                <c:pt idx="2598">
                  <c:v>2.0739999999999998</c:v>
                </c:pt>
                <c:pt idx="2599">
                  <c:v>2.0179999999999998</c:v>
                </c:pt>
                <c:pt idx="2600">
                  <c:v>1.978</c:v>
                </c:pt>
                <c:pt idx="2601">
                  <c:v>1.954</c:v>
                </c:pt>
                <c:pt idx="2602">
                  <c:v>1.968</c:v>
                </c:pt>
                <c:pt idx="2603">
                  <c:v>1.968</c:v>
                </c:pt>
                <c:pt idx="2604">
                  <c:v>1.968</c:v>
                </c:pt>
                <c:pt idx="2605">
                  <c:v>1.899</c:v>
                </c:pt>
                <c:pt idx="2606">
                  <c:v>1.94</c:v>
                </c:pt>
                <c:pt idx="2607">
                  <c:v>2.0289999999999999</c:v>
                </c:pt>
                <c:pt idx="2608">
                  <c:v>2.0289999999999999</c:v>
                </c:pt>
                <c:pt idx="2609">
                  <c:v>2.0640000000000001</c:v>
                </c:pt>
                <c:pt idx="2610">
                  <c:v>2.016</c:v>
                </c:pt>
                <c:pt idx="2611">
                  <c:v>2.105</c:v>
                </c:pt>
                <c:pt idx="2612">
                  <c:v>2.1429999999999998</c:v>
                </c:pt>
                <c:pt idx="2613">
                  <c:v>2.1230000000000002</c:v>
                </c:pt>
                <c:pt idx="2614">
                  <c:v>2.1890000000000001</c:v>
                </c:pt>
                <c:pt idx="2615">
                  <c:v>2.2130000000000001</c:v>
                </c:pt>
                <c:pt idx="2616">
                  <c:v>2.2069999999999999</c:v>
                </c:pt>
                <c:pt idx="2617">
                  <c:v>2.1440000000000001</c:v>
                </c:pt>
                <c:pt idx="2618">
                  <c:v>2.198</c:v>
                </c:pt>
                <c:pt idx="2619">
                  <c:v>2.214</c:v>
                </c:pt>
                <c:pt idx="2620">
                  <c:v>2.2730000000000001</c:v>
                </c:pt>
                <c:pt idx="2621">
                  <c:v>2.3090000000000002</c:v>
                </c:pt>
                <c:pt idx="2622">
                  <c:v>2.3050000000000002</c:v>
                </c:pt>
                <c:pt idx="2623">
                  <c:v>2.258</c:v>
                </c:pt>
                <c:pt idx="2624">
                  <c:v>2.3490000000000002</c:v>
                </c:pt>
                <c:pt idx="2625">
                  <c:v>2.335</c:v>
                </c:pt>
                <c:pt idx="2626">
                  <c:v>2.2829999999999999</c:v>
                </c:pt>
                <c:pt idx="2627">
                  <c:v>2.2970000000000002</c:v>
                </c:pt>
                <c:pt idx="2628">
                  <c:v>2.238</c:v>
                </c:pt>
                <c:pt idx="2629">
                  <c:v>2.2730000000000001</c:v>
                </c:pt>
                <c:pt idx="2630">
                  <c:v>2.161</c:v>
                </c:pt>
                <c:pt idx="2631">
                  <c:v>2.14</c:v>
                </c:pt>
                <c:pt idx="2632">
                  <c:v>2.2290000000000001</c:v>
                </c:pt>
                <c:pt idx="2633">
                  <c:v>2.3239999999999998</c:v>
                </c:pt>
                <c:pt idx="2634">
                  <c:v>2.298</c:v>
                </c:pt>
                <c:pt idx="2635">
                  <c:v>2.3010000000000002</c:v>
                </c:pt>
                <c:pt idx="2636">
                  <c:v>2.3559999999999999</c:v>
                </c:pt>
                <c:pt idx="2637">
                  <c:v>2.38</c:v>
                </c:pt>
                <c:pt idx="2638">
                  <c:v>2.3660000000000001</c:v>
                </c:pt>
                <c:pt idx="2639">
                  <c:v>2.3919999999999999</c:v>
                </c:pt>
                <c:pt idx="2640">
                  <c:v>2.3490000000000002</c:v>
                </c:pt>
                <c:pt idx="2641">
                  <c:v>2.3519999999999999</c:v>
                </c:pt>
                <c:pt idx="2642">
                  <c:v>2.4</c:v>
                </c:pt>
                <c:pt idx="2643">
                  <c:v>2.411</c:v>
                </c:pt>
                <c:pt idx="2644">
                  <c:v>2.37</c:v>
                </c:pt>
                <c:pt idx="2645">
                  <c:v>2.44</c:v>
                </c:pt>
                <c:pt idx="2646">
                  <c:v>2.4350000000000001</c:v>
                </c:pt>
                <c:pt idx="2647">
                  <c:v>2.3620000000000001</c:v>
                </c:pt>
                <c:pt idx="2648">
                  <c:v>2.4300000000000002</c:v>
                </c:pt>
                <c:pt idx="2649">
                  <c:v>2.4550000000000001</c:v>
                </c:pt>
                <c:pt idx="2650">
                  <c:v>2.4609999999999999</c:v>
                </c:pt>
                <c:pt idx="2651">
                  <c:v>2.4039999999999999</c:v>
                </c:pt>
                <c:pt idx="2652">
                  <c:v>2.4119999999999999</c:v>
                </c:pt>
                <c:pt idx="2653">
                  <c:v>2.3969999999999998</c:v>
                </c:pt>
                <c:pt idx="2654">
                  <c:v>2.3199999999999998</c:v>
                </c:pt>
                <c:pt idx="2655">
                  <c:v>2.33</c:v>
                </c:pt>
                <c:pt idx="2656">
                  <c:v>2.2949999999999999</c:v>
                </c:pt>
                <c:pt idx="2657">
                  <c:v>2.2679999999999998</c:v>
                </c:pt>
                <c:pt idx="2658">
                  <c:v>2.298</c:v>
                </c:pt>
                <c:pt idx="2659">
                  <c:v>2.3260000000000001</c:v>
                </c:pt>
                <c:pt idx="2660">
                  <c:v>2.355</c:v>
                </c:pt>
                <c:pt idx="2661">
                  <c:v>2.4180000000000001</c:v>
                </c:pt>
                <c:pt idx="2662">
                  <c:v>2.4359999999999999</c:v>
                </c:pt>
                <c:pt idx="2663">
                  <c:v>2.4569999999999999</c:v>
                </c:pt>
                <c:pt idx="2664">
                  <c:v>2.4489999999999998</c:v>
                </c:pt>
                <c:pt idx="2665">
                  <c:v>2.4350000000000001</c:v>
                </c:pt>
                <c:pt idx="2666">
                  <c:v>2.3969999999999998</c:v>
                </c:pt>
                <c:pt idx="2667">
                  <c:v>2.3210000000000002</c:v>
                </c:pt>
                <c:pt idx="2668">
                  <c:v>2.3740000000000001</c:v>
                </c:pt>
                <c:pt idx="2669">
                  <c:v>2.3490000000000002</c:v>
                </c:pt>
                <c:pt idx="2670">
                  <c:v>2.2919999999999998</c:v>
                </c:pt>
                <c:pt idx="2671">
                  <c:v>2.2919999999999998</c:v>
                </c:pt>
                <c:pt idx="2672">
                  <c:v>2.2919999999999998</c:v>
                </c:pt>
                <c:pt idx="2673">
                  <c:v>2.2919999999999998</c:v>
                </c:pt>
                <c:pt idx="2674">
                  <c:v>2.411</c:v>
                </c:pt>
                <c:pt idx="2675">
                  <c:v>2.4</c:v>
                </c:pt>
                <c:pt idx="2676">
                  <c:v>2.3580000000000001</c:v>
                </c:pt>
                <c:pt idx="2677">
                  <c:v>2.399</c:v>
                </c:pt>
                <c:pt idx="2678">
                  <c:v>2.44</c:v>
                </c:pt>
                <c:pt idx="2679">
                  <c:v>2.3679999999999999</c:v>
                </c:pt>
                <c:pt idx="2680">
                  <c:v>2.4289999999999998</c:v>
                </c:pt>
                <c:pt idx="2681">
                  <c:v>2.4769999999999999</c:v>
                </c:pt>
                <c:pt idx="2682">
                  <c:v>2.359</c:v>
                </c:pt>
                <c:pt idx="2683">
                  <c:v>2.431</c:v>
                </c:pt>
                <c:pt idx="2684">
                  <c:v>2.4860000000000002</c:v>
                </c:pt>
                <c:pt idx="2685">
                  <c:v>2.4710000000000001</c:v>
                </c:pt>
                <c:pt idx="2686">
                  <c:v>2.4929999999999999</c:v>
                </c:pt>
                <c:pt idx="2687">
                  <c:v>2.5049999999999999</c:v>
                </c:pt>
                <c:pt idx="2688">
                  <c:v>2.4910000000000001</c:v>
                </c:pt>
                <c:pt idx="2689">
                  <c:v>2.5059999999999998</c:v>
                </c:pt>
                <c:pt idx="2690">
                  <c:v>2.5859999999999999</c:v>
                </c:pt>
                <c:pt idx="2691">
                  <c:v>2.6240000000000001</c:v>
                </c:pt>
                <c:pt idx="2692">
                  <c:v>2.5739999999999998</c:v>
                </c:pt>
                <c:pt idx="2693">
                  <c:v>2.5259999999999998</c:v>
                </c:pt>
                <c:pt idx="2694">
                  <c:v>2.581</c:v>
                </c:pt>
                <c:pt idx="2695">
                  <c:v>2.581</c:v>
                </c:pt>
                <c:pt idx="2696">
                  <c:v>2.5529999999999999</c:v>
                </c:pt>
                <c:pt idx="2697">
                  <c:v>2.5099999999999998</c:v>
                </c:pt>
                <c:pt idx="2698">
                  <c:v>2.476</c:v>
                </c:pt>
                <c:pt idx="2699">
                  <c:v>2.4209999999999998</c:v>
                </c:pt>
                <c:pt idx="2700">
                  <c:v>2.46</c:v>
                </c:pt>
                <c:pt idx="2701">
                  <c:v>2.4969999999999999</c:v>
                </c:pt>
                <c:pt idx="2702">
                  <c:v>2.52</c:v>
                </c:pt>
                <c:pt idx="2703">
                  <c:v>2.508</c:v>
                </c:pt>
                <c:pt idx="2704">
                  <c:v>2.54</c:v>
                </c:pt>
                <c:pt idx="2705">
                  <c:v>2.423</c:v>
                </c:pt>
                <c:pt idx="2706">
                  <c:v>2.444</c:v>
                </c:pt>
                <c:pt idx="2707">
                  <c:v>2.5129999999999999</c:v>
                </c:pt>
                <c:pt idx="2708">
                  <c:v>2.532</c:v>
                </c:pt>
                <c:pt idx="2709">
                  <c:v>2.508</c:v>
                </c:pt>
                <c:pt idx="2710">
                  <c:v>2.5339999999999998</c:v>
                </c:pt>
                <c:pt idx="2711">
                  <c:v>2.601</c:v>
                </c:pt>
                <c:pt idx="2712">
                  <c:v>2.5830000000000002</c:v>
                </c:pt>
                <c:pt idx="2713">
                  <c:v>2.5459999999999998</c:v>
                </c:pt>
                <c:pt idx="2714">
                  <c:v>2.589</c:v>
                </c:pt>
                <c:pt idx="2715">
                  <c:v>2.6819999999999999</c:v>
                </c:pt>
                <c:pt idx="2716">
                  <c:v>2.6549999999999998</c:v>
                </c:pt>
                <c:pt idx="2717">
                  <c:v>2.6480000000000001</c:v>
                </c:pt>
                <c:pt idx="2718">
                  <c:v>2.585</c:v>
                </c:pt>
                <c:pt idx="2719">
                  <c:v>2.5379999999999998</c:v>
                </c:pt>
                <c:pt idx="2720">
                  <c:v>2.4969999999999999</c:v>
                </c:pt>
                <c:pt idx="2721">
                  <c:v>2.5430000000000001</c:v>
                </c:pt>
                <c:pt idx="2722">
                  <c:v>2.617</c:v>
                </c:pt>
                <c:pt idx="2723">
                  <c:v>2.6749999999999998</c:v>
                </c:pt>
                <c:pt idx="2724">
                  <c:v>2.6219999999999999</c:v>
                </c:pt>
                <c:pt idx="2725">
                  <c:v>2.5350000000000001</c:v>
                </c:pt>
                <c:pt idx="2726">
                  <c:v>2.4910000000000001</c:v>
                </c:pt>
                <c:pt idx="2727">
                  <c:v>2.3559999999999999</c:v>
                </c:pt>
                <c:pt idx="2728">
                  <c:v>2.4119999999999999</c:v>
                </c:pt>
                <c:pt idx="2729">
                  <c:v>2.3929999999999998</c:v>
                </c:pt>
                <c:pt idx="2730">
                  <c:v>2.4039999999999999</c:v>
                </c:pt>
                <c:pt idx="2731">
                  <c:v>2.4239999999999999</c:v>
                </c:pt>
                <c:pt idx="2732">
                  <c:v>2.4089999999999998</c:v>
                </c:pt>
                <c:pt idx="2733">
                  <c:v>2.4220000000000002</c:v>
                </c:pt>
                <c:pt idx="2734">
                  <c:v>2.4119999999999999</c:v>
                </c:pt>
                <c:pt idx="2735">
                  <c:v>2.4500000000000002</c:v>
                </c:pt>
                <c:pt idx="2736">
                  <c:v>2.4510000000000001</c:v>
                </c:pt>
                <c:pt idx="2737">
                  <c:v>2.4870000000000001</c:v>
                </c:pt>
                <c:pt idx="2738">
                  <c:v>2.605</c:v>
                </c:pt>
                <c:pt idx="2739">
                  <c:v>2.6070000000000002</c:v>
                </c:pt>
                <c:pt idx="2740">
                  <c:v>2.5569999999999999</c:v>
                </c:pt>
                <c:pt idx="2741">
                  <c:v>2.585</c:v>
                </c:pt>
                <c:pt idx="2742">
                  <c:v>2.5310000000000001</c:v>
                </c:pt>
                <c:pt idx="2743">
                  <c:v>2.5190000000000001</c:v>
                </c:pt>
                <c:pt idx="2744">
                  <c:v>2.56</c:v>
                </c:pt>
                <c:pt idx="2745">
                  <c:v>2.536</c:v>
                </c:pt>
                <c:pt idx="2746">
                  <c:v>2.4700000000000002</c:v>
                </c:pt>
                <c:pt idx="2747">
                  <c:v>2.496</c:v>
                </c:pt>
                <c:pt idx="2748">
                  <c:v>2.4700000000000002</c:v>
                </c:pt>
                <c:pt idx="2749">
                  <c:v>2.4319999999999999</c:v>
                </c:pt>
                <c:pt idx="2750">
                  <c:v>2.4220000000000002</c:v>
                </c:pt>
                <c:pt idx="2751">
                  <c:v>2.41</c:v>
                </c:pt>
                <c:pt idx="2752">
                  <c:v>2.4630000000000001</c:v>
                </c:pt>
                <c:pt idx="2753">
                  <c:v>2.4830000000000001</c:v>
                </c:pt>
                <c:pt idx="2754">
                  <c:v>2.4380000000000002</c:v>
                </c:pt>
                <c:pt idx="2755">
                  <c:v>2.4420000000000002</c:v>
                </c:pt>
                <c:pt idx="2756">
                  <c:v>2.4129999999999998</c:v>
                </c:pt>
                <c:pt idx="2757">
                  <c:v>2.4039999999999999</c:v>
                </c:pt>
                <c:pt idx="2758">
                  <c:v>2.3620000000000001</c:v>
                </c:pt>
                <c:pt idx="2759">
                  <c:v>2.3410000000000002</c:v>
                </c:pt>
                <c:pt idx="2760">
                  <c:v>2.302</c:v>
                </c:pt>
                <c:pt idx="2761">
                  <c:v>2.25</c:v>
                </c:pt>
                <c:pt idx="2762">
                  <c:v>2.161</c:v>
                </c:pt>
                <c:pt idx="2763">
                  <c:v>2.1819999999999999</c:v>
                </c:pt>
                <c:pt idx="2764">
                  <c:v>2.1819999999999999</c:v>
                </c:pt>
                <c:pt idx="2765">
                  <c:v>2.2730000000000001</c:v>
                </c:pt>
                <c:pt idx="2766">
                  <c:v>2.27</c:v>
                </c:pt>
                <c:pt idx="2767">
                  <c:v>2.222</c:v>
                </c:pt>
                <c:pt idx="2768">
                  <c:v>2.2250000000000001</c:v>
                </c:pt>
                <c:pt idx="2769">
                  <c:v>2.181</c:v>
                </c:pt>
                <c:pt idx="2770">
                  <c:v>2.177</c:v>
                </c:pt>
                <c:pt idx="2771">
                  <c:v>2.2629999999999999</c:v>
                </c:pt>
                <c:pt idx="2772">
                  <c:v>2.2589999999999999</c:v>
                </c:pt>
                <c:pt idx="2773">
                  <c:v>2.254</c:v>
                </c:pt>
                <c:pt idx="2774">
                  <c:v>2.214</c:v>
                </c:pt>
                <c:pt idx="2775">
                  <c:v>2.2010000000000001</c:v>
                </c:pt>
                <c:pt idx="2776">
                  <c:v>2.2440000000000002</c:v>
                </c:pt>
                <c:pt idx="2777">
                  <c:v>2.2229999999999999</c:v>
                </c:pt>
                <c:pt idx="2778">
                  <c:v>2.2480000000000002</c:v>
                </c:pt>
                <c:pt idx="2779">
                  <c:v>2.2789999999999999</c:v>
                </c:pt>
                <c:pt idx="2780">
                  <c:v>2.2549999999999999</c:v>
                </c:pt>
                <c:pt idx="2781">
                  <c:v>2.2829999999999999</c:v>
                </c:pt>
                <c:pt idx="2782">
                  <c:v>2.29</c:v>
                </c:pt>
                <c:pt idx="2783">
                  <c:v>2.3380000000000001</c:v>
                </c:pt>
                <c:pt idx="2784">
                  <c:v>2.274</c:v>
                </c:pt>
                <c:pt idx="2785">
                  <c:v>2.2160000000000002</c:v>
                </c:pt>
                <c:pt idx="2786">
                  <c:v>2.2080000000000002</c:v>
                </c:pt>
                <c:pt idx="2787">
                  <c:v>2.1709999999999998</c:v>
                </c:pt>
                <c:pt idx="2788">
                  <c:v>2.1709999999999998</c:v>
                </c:pt>
                <c:pt idx="2789">
                  <c:v>2.149</c:v>
                </c:pt>
                <c:pt idx="2790">
                  <c:v>2.0990000000000002</c:v>
                </c:pt>
                <c:pt idx="2791">
                  <c:v>2.1579999999999999</c:v>
                </c:pt>
                <c:pt idx="2792">
                  <c:v>2.15</c:v>
                </c:pt>
                <c:pt idx="2793">
                  <c:v>2.12</c:v>
                </c:pt>
                <c:pt idx="2794">
                  <c:v>2.1480000000000001</c:v>
                </c:pt>
                <c:pt idx="2795">
                  <c:v>2.1920000000000002</c:v>
                </c:pt>
                <c:pt idx="2796">
                  <c:v>2.1930000000000001</c:v>
                </c:pt>
                <c:pt idx="2797">
                  <c:v>2.2200000000000002</c:v>
                </c:pt>
                <c:pt idx="2798">
                  <c:v>2.173</c:v>
                </c:pt>
                <c:pt idx="2799">
                  <c:v>2.1349999999999998</c:v>
                </c:pt>
                <c:pt idx="2800">
                  <c:v>2.1890000000000001</c:v>
                </c:pt>
                <c:pt idx="2801">
                  <c:v>2.173</c:v>
                </c:pt>
                <c:pt idx="2802">
                  <c:v>2.14</c:v>
                </c:pt>
                <c:pt idx="2803">
                  <c:v>2.133</c:v>
                </c:pt>
                <c:pt idx="2804">
                  <c:v>2.0430000000000001</c:v>
                </c:pt>
                <c:pt idx="2805">
                  <c:v>2.1030000000000002</c:v>
                </c:pt>
                <c:pt idx="2806">
                  <c:v>2.137</c:v>
                </c:pt>
                <c:pt idx="2807">
                  <c:v>2.214</c:v>
                </c:pt>
                <c:pt idx="2808">
                  <c:v>2.25</c:v>
                </c:pt>
                <c:pt idx="2809">
                  <c:v>2.2469999999999999</c:v>
                </c:pt>
                <c:pt idx="2810">
                  <c:v>2.2559999999999998</c:v>
                </c:pt>
                <c:pt idx="2811">
                  <c:v>2.2530000000000001</c:v>
                </c:pt>
                <c:pt idx="2812">
                  <c:v>2.2749999999999999</c:v>
                </c:pt>
                <c:pt idx="2813">
                  <c:v>2.2749999999999999</c:v>
                </c:pt>
                <c:pt idx="2814">
                  <c:v>2.2280000000000002</c:v>
                </c:pt>
                <c:pt idx="2815">
                  <c:v>2.1760000000000002</c:v>
                </c:pt>
                <c:pt idx="2816">
                  <c:v>2.2029999999999998</c:v>
                </c:pt>
                <c:pt idx="2817">
                  <c:v>2.1840000000000002</c:v>
                </c:pt>
                <c:pt idx="2818">
                  <c:v>2.2789999999999999</c:v>
                </c:pt>
                <c:pt idx="2819">
                  <c:v>2.3170000000000002</c:v>
                </c:pt>
                <c:pt idx="2820">
                  <c:v>2.3130000000000002</c:v>
                </c:pt>
                <c:pt idx="2821">
                  <c:v>2.2549999999999999</c:v>
                </c:pt>
                <c:pt idx="2822">
                  <c:v>2.29</c:v>
                </c:pt>
                <c:pt idx="2823">
                  <c:v>2.2850000000000001</c:v>
                </c:pt>
                <c:pt idx="2824">
                  <c:v>2.3330000000000002</c:v>
                </c:pt>
                <c:pt idx="2825">
                  <c:v>2.375</c:v>
                </c:pt>
                <c:pt idx="2826">
                  <c:v>2.391</c:v>
                </c:pt>
                <c:pt idx="2827">
                  <c:v>2.4049999999999998</c:v>
                </c:pt>
                <c:pt idx="2828">
                  <c:v>2.39</c:v>
                </c:pt>
                <c:pt idx="2829">
                  <c:v>2.431</c:v>
                </c:pt>
                <c:pt idx="2830">
                  <c:v>2.3929999999999998</c:v>
                </c:pt>
                <c:pt idx="2831">
                  <c:v>2.4409999999999998</c:v>
                </c:pt>
                <c:pt idx="2832">
                  <c:v>2.3660000000000001</c:v>
                </c:pt>
                <c:pt idx="2833">
                  <c:v>2.3250000000000002</c:v>
                </c:pt>
                <c:pt idx="2834">
                  <c:v>2.3519999999999999</c:v>
                </c:pt>
                <c:pt idx="2835">
                  <c:v>2.387</c:v>
                </c:pt>
                <c:pt idx="2836">
                  <c:v>2.343</c:v>
                </c:pt>
                <c:pt idx="2837">
                  <c:v>2.3490000000000002</c:v>
                </c:pt>
                <c:pt idx="2838">
                  <c:v>2.3719999999999999</c:v>
                </c:pt>
                <c:pt idx="2839">
                  <c:v>2.339</c:v>
                </c:pt>
                <c:pt idx="2840">
                  <c:v>2.3420000000000001</c:v>
                </c:pt>
                <c:pt idx="2841">
                  <c:v>2.3130000000000002</c:v>
                </c:pt>
                <c:pt idx="2842">
                  <c:v>2.254</c:v>
                </c:pt>
                <c:pt idx="2843">
                  <c:v>2.2040000000000002</c:v>
                </c:pt>
              </c:numCache>
            </c:numRef>
          </c:val>
          <c:smooth val="0"/>
          <c:extLst>
            <c:ext xmlns:c16="http://schemas.microsoft.com/office/drawing/2014/chart" uri="{C3380CC4-5D6E-409C-BE32-E72D297353CC}">
              <c16:uniqueId val="{00000002-A4F8-429B-80C0-2940C8EC2CC2}"/>
            </c:ext>
          </c:extLst>
        </c:ser>
        <c:dLbls>
          <c:showLegendKey val="0"/>
          <c:showVal val="0"/>
          <c:showCatName val="0"/>
          <c:showSerName val="0"/>
          <c:showPercent val="0"/>
          <c:showBubbleSize val="0"/>
        </c:dLbls>
        <c:marker val="1"/>
        <c:smooth val="0"/>
        <c:axId val="107211296"/>
        <c:axId val="107211776"/>
      </c:lineChart>
      <c:dateAx>
        <c:axId val="107220416"/>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7218976"/>
        <c:crosses val="autoZero"/>
        <c:auto val="1"/>
        <c:lblOffset val="100"/>
        <c:baseTimeUnit val="days"/>
      </c:dateAx>
      <c:valAx>
        <c:axId val="107218976"/>
        <c:scaling>
          <c:orientation val="minMax"/>
          <c:min val="4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7220416"/>
        <c:crosses val="autoZero"/>
        <c:crossBetween val="between"/>
        <c:majorUnit val="40"/>
      </c:valAx>
      <c:valAx>
        <c:axId val="107211776"/>
        <c:scaling>
          <c:orientation val="minMax"/>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7211296"/>
        <c:crosses val="max"/>
        <c:crossBetween val="between"/>
        <c:majorUnit val="1"/>
        <c:dispUnits>
          <c:builtInUnit val="hundreds"/>
        </c:dispUnits>
      </c:valAx>
      <c:dateAx>
        <c:axId val="107211296"/>
        <c:scaling>
          <c:orientation val="minMax"/>
        </c:scaling>
        <c:delete val="1"/>
        <c:axPos val="b"/>
        <c:numFmt formatCode="m/d/yyyy" sourceLinked="1"/>
        <c:majorTickMark val="out"/>
        <c:minorTickMark val="none"/>
        <c:tickLblPos val="nextTo"/>
        <c:crossAx val="107211776"/>
        <c:crosses val="autoZero"/>
        <c:auto val="1"/>
        <c:lblOffset val="100"/>
        <c:baseTimeUnit val="days"/>
      </c:dateAx>
      <c:spPr>
        <a:noFill/>
        <a:ln>
          <a:noFill/>
        </a:ln>
        <a:effectLst/>
      </c:spPr>
    </c:plotArea>
    <c:legend>
      <c:legendPos val="b"/>
      <c:layout>
        <c:manualLayout>
          <c:xMode val="edge"/>
          <c:yMode val="edge"/>
          <c:x val="0"/>
          <c:y val="0.78313148410630273"/>
          <c:w val="1"/>
          <c:h val="0.1923662148639575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405759847029429E-2"/>
          <c:y val="2.6299127982036798E-2"/>
          <c:w val="0.89139378196282171"/>
          <c:h val="0.67054448146941736"/>
        </c:manualLayout>
      </c:layout>
      <c:lineChart>
        <c:grouping val="standard"/>
        <c:varyColors val="0"/>
        <c:ser>
          <c:idx val="0"/>
          <c:order val="0"/>
          <c:tx>
            <c:strRef>
              <c:f>Sheet1!$J$4</c:f>
              <c:strCache>
                <c:ptCount val="1"/>
                <c:pt idx="0">
                  <c:v>S&amp;P 500 Banken (USD)</c:v>
                </c:pt>
              </c:strCache>
            </c:strRef>
          </c:tx>
          <c:spPr>
            <a:ln w="28575" cap="rnd">
              <a:solidFill>
                <a:schemeClr val="accent1"/>
              </a:solidFill>
              <a:round/>
            </a:ln>
            <a:effectLst/>
          </c:spPr>
          <c:marker>
            <c:symbol val="none"/>
          </c:marker>
          <c:cat>
            <c:numRef>
              <c:f>Sheet1!$I$7:$I$242</c:f>
              <c:numCache>
                <c:formatCode>m/d/yyyy</c:formatCode>
                <c:ptCount val="236"/>
                <c:pt idx="0">
                  <c:v>45292</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0</c:v>
                </c:pt>
                <c:pt idx="29">
                  <c:v>45331</c:v>
                </c:pt>
                <c:pt idx="30">
                  <c:v>45334</c:v>
                </c:pt>
                <c:pt idx="31">
                  <c:v>45335</c:v>
                </c:pt>
                <c:pt idx="32">
                  <c:v>45336</c:v>
                </c:pt>
                <c:pt idx="33">
                  <c:v>45337</c:v>
                </c:pt>
                <c:pt idx="34">
                  <c:v>45338</c:v>
                </c:pt>
                <c:pt idx="35">
                  <c:v>45341</c:v>
                </c:pt>
                <c:pt idx="36">
                  <c:v>45342</c:v>
                </c:pt>
                <c:pt idx="37">
                  <c:v>45343</c:v>
                </c:pt>
                <c:pt idx="38">
                  <c:v>45344</c:v>
                </c:pt>
                <c:pt idx="39">
                  <c:v>45345</c:v>
                </c:pt>
                <c:pt idx="40">
                  <c:v>45348</c:v>
                </c:pt>
                <c:pt idx="41">
                  <c:v>45349</c:v>
                </c:pt>
                <c:pt idx="42">
                  <c:v>45350</c:v>
                </c:pt>
                <c:pt idx="43">
                  <c:v>45351</c:v>
                </c:pt>
                <c:pt idx="44">
                  <c:v>45352</c:v>
                </c:pt>
                <c:pt idx="45">
                  <c:v>45355</c:v>
                </c:pt>
                <c:pt idx="46">
                  <c:v>45356</c:v>
                </c:pt>
                <c:pt idx="47">
                  <c:v>45357</c:v>
                </c:pt>
                <c:pt idx="48">
                  <c:v>45358</c:v>
                </c:pt>
                <c:pt idx="49">
                  <c:v>45359</c:v>
                </c:pt>
                <c:pt idx="50">
                  <c:v>45362</c:v>
                </c:pt>
                <c:pt idx="51">
                  <c:v>45363</c:v>
                </c:pt>
                <c:pt idx="52">
                  <c:v>45364</c:v>
                </c:pt>
                <c:pt idx="53">
                  <c:v>45365</c:v>
                </c:pt>
                <c:pt idx="54">
                  <c:v>45366</c:v>
                </c:pt>
                <c:pt idx="55">
                  <c:v>45369</c:v>
                </c:pt>
                <c:pt idx="56">
                  <c:v>45370</c:v>
                </c:pt>
                <c:pt idx="57">
                  <c:v>45371</c:v>
                </c:pt>
                <c:pt idx="58">
                  <c:v>45372</c:v>
                </c:pt>
                <c:pt idx="59">
                  <c:v>45373</c:v>
                </c:pt>
                <c:pt idx="60">
                  <c:v>45376</c:v>
                </c:pt>
                <c:pt idx="61">
                  <c:v>45377</c:v>
                </c:pt>
                <c:pt idx="62">
                  <c:v>45378</c:v>
                </c:pt>
                <c:pt idx="63">
                  <c:v>45379</c:v>
                </c:pt>
                <c:pt idx="64">
                  <c:v>45380</c:v>
                </c:pt>
                <c:pt idx="65">
                  <c:v>45383</c:v>
                </c:pt>
                <c:pt idx="66">
                  <c:v>45384</c:v>
                </c:pt>
                <c:pt idx="67">
                  <c:v>45385</c:v>
                </c:pt>
                <c:pt idx="68">
                  <c:v>45386</c:v>
                </c:pt>
                <c:pt idx="69">
                  <c:v>45387</c:v>
                </c:pt>
                <c:pt idx="70">
                  <c:v>45390</c:v>
                </c:pt>
                <c:pt idx="71">
                  <c:v>45391</c:v>
                </c:pt>
                <c:pt idx="72">
                  <c:v>45392</c:v>
                </c:pt>
                <c:pt idx="73">
                  <c:v>45393</c:v>
                </c:pt>
                <c:pt idx="74">
                  <c:v>45394</c:v>
                </c:pt>
                <c:pt idx="75">
                  <c:v>45397</c:v>
                </c:pt>
                <c:pt idx="76">
                  <c:v>45398</c:v>
                </c:pt>
                <c:pt idx="77">
                  <c:v>45399</c:v>
                </c:pt>
                <c:pt idx="78">
                  <c:v>45400</c:v>
                </c:pt>
                <c:pt idx="79">
                  <c:v>45401</c:v>
                </c:pt>
                <c:pt idx="80">
                  <c:v>45404</c:v>
                </c:pt>
                <c:pt idx="81">
                  <c:v>45405</c:v>
                </c:pt>
                <c:pt idx="82">
                  <c:v>45406</c:v>
                </c:pt>
                <c:pt idx="83">
                  <c:v>45407</c:v>
                </c:pt>
                <c:pt idx="84">
                  <c:v>45408</c:v>
                </c:pt>
                <c:pt idx="85">
                  <c:v>45411</c:v>
                </c:pt>
                <c:pt idx="86">
                  <c:v>45412</c:v>
                </c:pt>
                <c:pt idx="87">
                  <c:v>45413</c:v>
                </c:pt>
                <c:pt idx="88">
                  <c:v>45414</c:v>
                </c:pt>
                <c:pt idx="89">
                  <c:v>45415</c:v>
                </c:pt>
                <c:pt idx="90">
                  <c:v>45418</c:v>
                </c:pt>
                <c:pt idx="91">
                  <c:v>45419</c:v>
                </c:pt>
                <c:pt idx="92">
                  <c:v>45420</c:v>
                </c:pt>
                <c:pt idx="93">
                  <c:v>45421</c:v>
                </c:pt>
                <c:pt idx="94">
                  <c:v>45422</c:v>
                </c:pt>
                <c:pt idx="95">
                  <c:v>45425</c:v>
                </c:pt>
                <c:pt idx="96">
                  <c:v>45426</c:v>
                </c:pt>
                <c:pt idx="97">
                  <c:v>45427</c:v>
                </c:pt>
                <c:pt idx="98">
                  <c:v>45428</c:v>
                </c:pt>
                <c:pt idx="99">
                  <c:v>45429</c:v>
                </c:pt>
                <c:pt idx="100">
                  <c:v>45432</c:v>
                </c:pt>
                <c:pt idx="101">
                  <c:v>45433</c:v>
                </c:pt>
                <c:pt idx="102">
                  <c:v>45434</c:v>
                </c:pt>
                <c:pt idx="103">
                  <c:v>45435</c:v>
                </c:pt>
                <c:pt idx="104">
                  <c:v>45436</c:v>
                </c:pt>
                <c:pt idx="105">
                  <c:v>45439</c:v>
                </c:pt>
                <c:pt idx="106">
                  <c:v>45440</c:v>
                </c:pt>
                <c:pt idx="107">
                  <c:v>45441</c:v>
                </c:pt>
                <c:pt idx="108">
                  <c:v>45442</c:v>
                </c:pt>
                <c:pt idx="109">
                  <c:v>45443</c:v>
                </c:pt>
                <c:pt idx="110">
                  <c:v>45446</c:v>
                </c:pt>
                <c:pt idx="111">
                  <c:v>45447</c:v>
                </c:pt>
                <c:pt idx="112">
                  <c:v>45448</c:v>
                </c:pt>
                <c:pt idx="113">
                  <c:v>45449</c:v>
                </c:pt>
                <c:pt idx="114">
                  <c:v>45450</c:v>
                </c:pt>
                <c:pt idx="115">
                  <c:v>45453</c:v>
                </c:pt>
                <c:pt idx="116">
                  <c:v>45454</c:v>
                </c:pt>
                <c:pt idx="117">
                  <c:v>45455</c:v>
                </c:pt>
                <c:pt idx="118">
                  <c:v>45456</c:v>
                </c:pt>
                <c:pt idx="119">
                  <c:v>45457</c:v>
                </c:pt>
                <c:pt idx="120">
                  <c:v>45460</c:v>
                </c:pt>
                <c:pt idx="121">
                  <c:v>45461</c:v>
                </c:pt>
                <c:pt idx="122">
                  <c:v>45462</c:v>
                </c:pt>
                <c:pt idx="123">
                  <c:v>45463</c:v>
                </c:pt>
                <c:pt idx="124">
                  <c:v>45464</c:v>
                </c:pt>
                <c:pt idx="125">
                  <c:v>45467</c:v>
                </c:pt>
                <c:pt idx="126">
                  <c:v>45468</c:v>
                </c:pt>
                <c:pt idx="127">
                  <c:v>45469</c:v>
                </c:pt>
                <c:pt idx="128">
                  <c:v>45470</c:v>
                </c:pt>
                <c:pt idx="129">
                  <c:v>45471</c:v>
                </c:pt>
                <c:pt idx="130">
                  <c:v>45474</c:v>
                </c:pt>
                <c:pt idx="131">
                  <c:v>45475</c:v>
                </c:pt>
                <c:pt idx="132">
                  <c:v>45476</c:v>
                </c:pt>
                <c:pt idx="133">
                  <c:v>45477</c:v>
                </c:pt>
                <c:pt idx="134">
                  <c:v>45478</c:v>
                </c:pt>
                <c:pt idx="135">
                  <c:v>45481</c:v>
                </c:pt>
                <c:pt idx="136">
                  <c:v>45482</c:v>
                </c:pt>
                <c:pt idx="137">
                  <c:v>45483</c:v>
                </c:pt>
                <c:pt idx="138">
                  <c:v>45484</c:v>
                </c:pt>
                <c:pt idx="139">
                  <c:v>45485</c:v>
                </c:pt>
                <c:pt idx="140">
                  <c:v>45488</c:v>
                </c:pt>
                <c:pt idx="141">
                  <c:v>45489</c:v>
                </c:pt>
                <c:pt idx="142">
                  <c:v>45490</c:v>
                </c:pt>
                <c:pt idx="143">
                  <c:v>45491</c:v>
                </c:pt>
                <c:pt idx="144">
                  <c:v>45492</c:v>
                </c:pt>
                <c:pt idx="145">
                  <c:v>45495</c:v>
                </c:pt>
                <c:pt idx="146">
                  <c:v>45496</c:v>
                </c:pt>
                <c:pt idx="147">
                  <c:v>45497</c:v>
                </c:pt>
                <c:pt idx="148">
                  <c:v>45498</c:v>
                </c:pt>
                <c:pt idx="149">
                  <c:v>45499</c:v>
                </c:pt>
                <c:pt idx="150">
                  <c:v>45502</c:v>
                </c:pt>
                <c:pt idx="151">
                  <c:v>45503</c:v>
                </c:pt>
                <c:pt idx="152">
                  <c:v>45504</c:v>
                </c:pt>
                <c:pt idx="153">
                  <c:v>45505</c:v>
                </c:pt>
                <c:pt idx="154">
                  <c:v>45506</c:v>
                </c:pt>
                <c:pt idx="155">
                  <c:v>45509</c:v>
                </c:pt>
                <c:pt idx="156">
                  <c:v>45510</c:v>
                </c:pt>
                <c:pt idx="157">
                  <c:v>45511</c:v>
                </c:pt>
                <c:pt idx="158">
                  <c:v>45512</c:v>
                </c:pt>
                <c:pt idx="159">
                  <c:v>45513</c:v>
                </c:pt>
                <c:pt idx="160">
                  <c:v>45516</c:v>
                </c:pt>
                <c:pt idx="161">
                  <c:v>45517</c:v>
                </c:pt>
                <c:pt idx="162">
                  <c:v>45518</c:v>
                </c:pt>
                <c:pt idx="163">
                  <c:v>45519</c:v>
                </c:pt>
                <c:pt idx="164">
                  <c:v>45520</c:v>
                </c:pt>
                <c:pt idx="165">
                  <c:v>45523</c:v>
                </c:pt>
                <c:pt idx="166">
                  <c:v>45524</c:v>
                </c:pt>
                <c:pt idx="167">
                  <c:v>45525</c:v>
                </c:pt>
                <c:pt idx="168">
                  <c:v>45526</c:v>
                </c:pt>
                <c:pt idx="169">
                  <c:v>45527</c:v>
                </c:pt>
                <c:pt idx="170">
                  <c:v>45530</c:v>
                </c:pt>
                <c:pt idx="171">
                  <c:v>45531</c:v>
                </c:pt>
                <c:pt idx="172">
                  <c:v>45532</c:v>
                </c:pt>
                <c:pt idx="173">
                  <c:v>45533</c:v>
                </c:pt>
                <c:pt idx="174">
                  <c:v>45534</c:v>
                </c:pt>
                <c:pt idx="175">
                  <c:v>45537</c:v>
                </c:pt>
                <c:pt idx="176">
                  <c:v>45538</c:v>
                </c:pt>
                <c:pt idx="177">
                  <c:v>45539</c:v>
                </c:pt>
                <c:pt idx="178">
                  <c:v>45540</c:v>
                </c:pt>
                <c:pt idx="179">
                  <c:v>45541</c:v>
                </c:pt>
                <c:pt idx="180">
                  <c:v>45544</c:v>
                </c:pt>
                <c:pt idx="181">
                  <c:v>45545</c:v>
                </c:pt>
                <c:pt idx="182">
                  <c:v>45546</c:v>
                </c:pt>
                <c:pt idx="183">
                  <c:v>45547</c:v>
                </c:pt>
                <c:pt idx="184">
                  <c:v>45548</c:v>
                </c:pt>
                <c:pt idx="185">
                  <c:v>45551</c:v>
                </c:pt>
                <c:pt idx="186">
                  <c:v>45552</c:v>
                </c:pt>
                <c:pt idx="187">
                  <c:v>45553</c:v>
                </c:pt>
                <c:pt idx="188">
                  <c:v>45554</c:v>
                </c:pt>
                <c:pt idx="189">
                  <c:v>45555</c:v>
                </c:pt>
                <c:pt idx="190">
                  <c:v>45558</c:v>
                </c:pt>
                <c:pt idx="191">
                  <c:v>45559</c:v>
                </c:pt>
                <c:pt idx="192">
                  <c:v>45560</c:v>
                </c:pt>
                <c:pt idx="193">
                  <c:v>45561</c:v>
                </c:pt>
                <c:pt idx="194">
                  <c:v>45562</c:v>
                </c:pt>
                <c:pt idx="195">
                  <c:v>45565</c:v>
                </c:pt>
                <c:pt idx="196">
                  <c:v>45566</c:v>
                </c:pt>
                <c:pt idx="197">
                  <c:v>45567</c:v>
                </c:pt>
                <c:pt idx="198">
                  <c:v>45568</c:v>
                </c:pt>
                <c:pt idx="199">
                  <c:v>45569</c:v>
                </c:pt>
                <c:pt idx="200">
                  <c:v>45572</c:v>
                </c:pt>
                <c:pt idx="201">
                  <c:v>45573</c:v>
                </c:pt>
                <c:pt idx="202">
                  <c:v>45574</c:v>
                </c:pt>
                <c:pt idx="203">
                  <c:v>45575</c:v>
                </c:pt>
                <c:pt idx="204">
                  <c:v>45576</c:v>
                </c:pt>
                <c:pt idx="205">
                  <c:v>45579</c:v>
                </c:pt>
                <c:pt idx="206">
                  <c:v>45580</c:v>
                </c:pt>
                <c:pt idx="207">
                  <c:v>45581</c:v>
                </c:pt>
                <c:pt idx="208">
                  <c:v>45582</c:v>
                </c:pt>
                <c:pt idx="209">
                  <c:v>45583</c:v>
                </c:pt>
                <c:pt idx="210">
                  <c:v>45586</c:v>
                </c:pt>
                <c:pt idx="211">
                  <c:v>45587</c:v>
                </c:pt>
                <c:pt idx="212">
                  <c:v>45588</c:v>
                </c:pt>
                <c:pt idx="213">
                  <c:v>45589</c:v>
                </c:pt>
                <c:pt idx="214">
                  <c:v>45590</c:v>
                </c:pt>
                <c:pt idx="215">
                  <c:v>45593</c:v>
                </c:pt>
                <c:pt idx="216">
                  <c:v>45594</c:v>
                </c:pt>
                <c:pt idx="217">
                  <c:v>45595</c:v>
                </c:pt>
                <c:pt idx="218">
                  <c:v>45596</c:v>
                </c:pt>
                <c:pt idx="219">
                  <c:v>45597</c:v>
                </c:pt>
                <c:pt idx="220">
                  <c:v>45600</c:v>
                </c:pt>
                <c:pt idx="221">
                  <c:v>45601</c:v>
                </c:pt>
                <c:pt idx="222">
                  <c:v>45602</c:v>
                </c:pt>
                <c:pt idx="223">
                  <c:v>45603</c:v>
                </c:pt>
                <c:pt idx="224">
                  <c:v>45604</c:v>
                </c:pt>
                <c:pt idx="225">
                  <c:v>45607</c:v>
                </c:pt>
                <c:pt idx="226">
                  <c:v>45608</c:v>
                </c:pt>
                <c:pt idx="227">
                  <c:v>45609</c:v>
                </c:pt>
                <c:pt idx="228">
                  <c:v>45610</c:v>
                </c:pt>
                <c:pt idx="229">
                  <c:v>45611</c:v>
                </c:pt>
                <c:pt idx="230">
                  <c:v>45614</c:v>
                </c:pt>
                <c:pt idx="231">
                  <c:v>45615</c:v>
                </c:pt>
                <c:pt idx="232">
                  <c:v>45616</c:v>
                </c:pt>
                <c:pt idx="233">
                  <c:v>45617</c:v>
                </c:pt>
                <c:pt idx="234">
                  <c:v>45618</c:v>
                </c:pt>
                <c:pt idx="235">
                  <c:v>45621</c:v>
                </c:pt>
              </c:numCache>
            </c:numRef>
          </c:cat>
          <c:val>
            <c:numRef>
              <c:f>Sheet1!$J$7:$J$242</c:f>
              <c:numCache>
                <c:formatCode>General</c:formatCode>
                <c:ptCount val="236"/>
                <c:pt idx="0">
                  <c:v>0</c:v>
                </c:pt>
                <c:pt idx="1">
                  <c:v>1.1100000000000001</c:v>
                </c:pt>
                <c:pt idx="2">
                  <c:v>-0.04</c:v>
                </c:pt>
                <c:pt idx="3">
                  <c:v>0.78</c:v>
                </c:pt>
                <c:pt idx="4">
                  <c:v>2.04</c:v>
                </c:pt>
                <c:pt idx="5">
                  <c:v>1.94</c:v>
                </c:pt>
                <c:pt idx="6">
                  <c:v>0.81</c:v>
                </c:pt>
                <c:pt idx="7">
                  <c:v>0.74</c:v>
                </c:pt>
                <c:pt idx="8">
                  <c:v>-0.13</c:v>
                </c:pt>
                <c:pt idx="9">
                  <c:v>-1.35</c:v>
                </c:pt>
                <c:pt idx="10">
                  <c:v>-1.35</c:v>
                </c:pt>
                <c:pt idx="11">
                  <c:v>-2.5299999999999998</c:v>
                </c:pt>
                <c:pt idx="12">
                  <c:v>-3.13</c:v>
                </c:pt>
                <c:pt idx="13">
                  <c:v>-3.39</c:v>
                </c:pt>
                <c:pt idx="14">
                  <c:v>-1.1100000000000001</c:v>
                </c:pt>
                <c:pt idx="15">
                  <c:v>-0.61</c:v>
                </c:pt>
                <c:pt idx="16">
                  <c:v>-0.53</c:v>
                </c:pt>
                <c:pt idx="17">
                  <c:v>0.3</c:v>
                </c:pt>
                <c:pt idx="18">
                  <c:v>1.29</c:v>
                </c:pt>
                <c:pt idx="19">
                  <c:v>1.31</c:v>
                </c:pt>
                <c:pt idx="20">
                  <c:v>1.84</c:v>
                </c:pt>
                <c:pt idx="21">
                  <c:v>4.03</c:v>
                </c:pt>
                <c:pt idx="22">
                  <c:v>1.97</c:v>
                </c:pt>
                <c:pt idx="23">
                  <c:v>0.66</c:v>
                </c:pt>
                <c:pt idx="24">
                  <c:v>1.17</c:v>
                </c:pt>
                <c:pt idx="25">
                  <c:v>0.23</c:v>
                </c:pt>
                <c:pt idx="26">
                  <c:v>0.32</c:v>
                </c:pt>
                <c:pt idx="27">
                  <c:v>0.44</c:v>
                </c:pt>
                <c:pt idx="28">
                  <c:v>0.27</c:v>
                </c:pt>
                <c:pt idx="29">
                  <c:v>0.24</c:v>
                </c:pt>
                <c:pt idx="30">
                  <c:v>1.3</c:v>
                </c:pt>
                <c:pt idx="31">
                  <c:v>-0.56999999999999995</c:v>
                </c:pt>
                <c:pt idx="32">
                  <c:v>0.7</c:v>
                </c:pt>
                <c:pt idx="33">
                  <c:v>3.63</c:v>
                </c:pt>
                <c:pt idx="34">
                  <c:v>3.28</c:v>
                </c:pt>
                <c:pt idx="35">
                  <c:v>3.28</c:v>
                </c:pt>
                <c:pt idx="36">
                  <c:v>3.21</c:v>
                </c:pt>
                <c:pt idx="37">
                  <c:v>3.52</c:v>
                </c:pt>
                <c:pt idx="38">
                  <c:v>4.25</c:v>
                </c:pt>
                <c:pt idx="39">
                  <c:v>4.74</c:v>
                </c:pt>
                <c:pt idx="40">
                  <c:v>4.13</c:v>
                </c:pt>
                <c:pt idx="41">
                  <c:v>5.07</c:v>
                </c:pt>
                <c:pt idx="42">
                  <c:v>5.0599999999999996</c:v>
                </c:pt>
                <c:pt idx="43">
                  <c:v>6.3</c:v>
                </c:pt>
                <c:pt idx="44">
                  <c:v>5.86</c:v>
                </c:pt>
                <c:pt idx="45">
                  <c:v>7.53</c:v>
                </c:pt>
                <c:pt idx="46">
                  <c:v>8.81</c:v>
                </c:pt>
                <c:pt idx="47">
                  <c:v>9.1199999999999992</c:v>
                </c:pt>
                <c:pt idx="48">
                  <c:v>8.9700000000000006</c:v>
                </c:pt>
                <c:pt idx="49">
                  <c:v>9.08</c:v>
                </c:pt>
                <c:pt idx="50">
                  <c:v>9.32</c:v>
                </c:pt>
                <c:pt idx="51">
                  <c:v>9.69</c:v>
                </c:pt>
                <c:pt idx="52">
                  <c:v>10.23</c:v>
                </c:pt>
                <c:pt idx="53">
                  <c:v>8.36</c:v>
                </c:pt>
                <c:pt idx="54">
                  <c:v>8.85</c:v>
                </c:pt>
                <c:pt idx="55">
                  <c:v>10.050000000000001</c:v>
                </c:pt>
                <c:pt idx="56">
                  <c:v>10.17</c:v>
                </c:pt>
                <c:pt idx="57">
                  <c:v>12.06</c:v>
                </c:pt>
                <c:pt idx="58">
                  <c:v>13.96</c:v>
                </c:pt>
                <c:pt idx="59">
                  <c:v>12.49</c:v>
                </c:pt>
                <c:pt idx="60">
                  <c:v>11.89</c:v>
                </c:pt>
                <c:pt idx="61">
                  <c:v>12.25</c:v>
                </c:pt>
                <c:pt idx="62">
                  <c:v>14.58</c:v>
                </c:pt>
                <c:pt idx="63">
                  <c:v>15.28</c:v>
                </c:pt>
                <c:pt idx="64">
                  <c:v>15.28</c:v>
                </c:pt>
                <c:pt idx="65">
                  <c:v>14.32</c:v>
                </c:pt>
                <c:pt idx="66">
                  <c:v>13.66</c:v>
                </c:pt>
                <c:pt idx="67">
                  <c:v>13.32</c:v>
                </c:pt>
                <c:pt idx="68">
                  <c:v>12.31</c:v>
                </c:pt>
                <c:pt idx="69">
                  <c:v>13.19</c:v>
                </c:pt>
                <c:pt idx="70">
                  <c:v>14.24</c:v>
                </c:pt>
                <c:pt idx="71">
                  <c:v>14.1</c:v>
                </c:pt>
                <c:pt idx="72">
                  <c:v>11.75</c:v>
                </c:pt>
                <c:pt idx="73">
                  <c:v>11.49</c:v>
                </c:pt>
                <c:pt idx="74">
                  <c:v>7.88</c:v>
                </c:pt>
                <c:pt idx="75">
                  <c:v>7.97</c:v>
                </c:pt>
                <c:pt idx="76">
                  <c:v>6</c:v>
                </c:pt>
                <c:pt idx="77">
                  <c:v>6.44</c:v>
                </c:pt>
                <c:pt idx="78">
                  <c:v>7.49</c:v>
                </c:pt>
                <c:pt idx="79">
                  <c:v>10.34</c:v>
                </c:pt>
                <c:pt idx="80">
                  <c:v>12.48</c:v>
                </c:pt>
                <c:pt idx="81">
                  <c:v>13.86</c:v>
                </c:pt>
                <c:pt idx="82">
                  <c:v>14.11</c:v>
                </c:pt>
                <c:pt idx="83">
                  <c:v>13.34</c:v>
                </c:pt>
                <c:pt idx="84">
                  <c:v>13.48</c:v>
                </c:pt>
                <c:pt idx="85">
                  <c:v>13.21</c:v>
                </c:pt>
                <c:pt idx="86">
                  <c:v>11.93</c:v>
                </c:pt>
                <c:pt idx="87">
                  <c:v>12.26</c:v>
                </c:pt>
                <c:pt idx="88">
                  <c:v>12.39</c:v>
                </c:pt>
                <c:pt idx="89">
                  <c:v>12.65</c:v>
                </c:pt>
                <c:pt idx="90">
                  <c:v>13.71</c:v>
                </c:pt>
                <c:pt idx="91">
                  <c:v>13.51</c:v>
                </c:pt>
                <c:pt idx="92">
                  <c:v>14.9</c:v>
                </c:pt>
                <c:pt idx="93">
                  <c:v>15.85</c:v>
                </c:pt>
                <c:pt idx="94">
                  <c:v>16.55</c:v>
                </c:pt>
                <c:pt idx="95">
                  <c:v>16.100000000000001</c:v>
                </c:pt>
                <c:pt idx="96">
                  <c:v>17.3</c:v>
                </c:pt>
                <c:pt idx="97">
                  <c:v>18.18</c:v>
                </c:pt>
                <c:pt idx="98">
                  <c:v>17.87</c:v>
                </c:pt>
                <c:pt idx="99">
                  <c:v>18.41</c:v>
                </c:pt>
                <c:pt idx="100">
                  <c:v>15.41</c:v>
                </c:pt>
                <c:pt idx="101">
                  <c:v>17.39</c:v>
                </c:pt>
                <c:pt idx="102">
                  <c:v>16.57</c:v>
                </c:pt>
                <c:pt idx="103">
                  <c:v>14.93</c:v>
                </c:pt>
                <c:pt idx="104">
                  <c:v>16.53</c:v>
                </c:pt>
                <c:pt idx="105">
                  <c:v>16.53</c:v>
                </c:pt>
                <c:pt idx="106">
                  <c:v>15.34</c:v>
                </c:pt>
                <c:pt idx="107">
                  <c:v>14.12</c:v>
                </c:pt>
                <c:pt idx="108">
                  <c:v>14.67</c:v>
                </c:pt>
                <c:pt idx="109">
                  <c:v>16.93</c:v>
                </c:pt>
                <c:pt idx="110">
                  <c:v>16.079999999999998</c:v>
                </c:pt>
                <c:pt idx="111">
                  <c:v>14.74</c:v>
                </c:pt>
                <c:pt idx="112">
                  <c:v>14.59</c:v>
                </c:pt>
                <c:pt idx="113">
                  <c:v>14.08</c:v>
                </c:pt>
                <c:pt idx="114">
                  <c:v>15.11</c:v>
                </c:pt>
                <c:pt idx="115">
                  <c:v>14.45</c:v>
                </c:pt>
                <c:pt idx="116">
                  <c:v>11.99</c:v>
                </c:pt>
                <c:pt idx="117">
                  <c:v>12.33</c:v>
                </c:pt>
                <c:pt idx="118">
                  <c:v>12.6</c:v>
                </c:pt>
                <c:pt idx="119">
                  <c:v>12.27</c:v>
                </c:pt>
                <c:pt idx="120">
                  <c:v>13.28</c:v>
                </c:pt>
                <c:pt idx="121">
                  <c:v>14.56</c:v>
                </c:pt>
                <c:pt idx="122">
                  <c:v>14.56</c:v>
                </c:pt>
                <c:pt idx="123">
                  <c:v>14.87</c:v>
                </c:pt>
                <c:pt idx="124">
                  <c:v>13.82</c:v>
                </c:pt>
                <c:pt idx="125">
                  <c:v>15.55</c:v>
                </c:pt>
                <c:pt idx="126">
                  <c:v>14.2</c:v>
                </c:pt>
                <c:pt idx="127">
                  <c:v>13.66</c:v>
                </c:pt>
                <c:pt idx="128">
                  <c:v>14.48</c:v>
                </c:pt>
                <c:pt idx="129">
                  <c:v>16.89</c:v>
                </c:pt>
                <c:pt idx="130">
                  <c:v>18.03</c:v>
                </c:pt>
                <c:pt idx="131">
                  <c:v>19.920000000000002</c:v>
                </c:pt>
                <c:pt idx="132">
                  <c:v>19.48</c:v>
                </c:pt>
                <c:pt idx="133">
                  <c:v>19.48</c:v>
                </c:pt>
                <c:pt idx="134">
                  <c:v>17.89</c:v>
                </c:pt>
                <c:pt idx="135">
                  <c:v>18.25</c:v>
                </c:pt>
                <c:pt idx="136">
                  <c:v>20.05</c:v>
                </c:pt>
                <c:pt idx="137">
                  <c:v>20.65</c:v>
                </c:pt>
                <c:pt idx="138">
                  <c:v>21.21</c:v>
                </c:pt>
                <c:pt idx="139">
                  <c:v>19.39</c:v>
                </c:pt>
                <c:pt idx="140">
                  <c:v>21.51</c:v>
                </c:pt>
                <c:pt idx="141">
                  <c:v>25.35</c:v>
                </c:pt>
                <c:pt idx="142">
                  <c:v>26.82</c:v>
                </c:pt>
                <c:pt idx="143">
                  <c:v>23.48</c:v>
                </c:pt>
                <c:pt idx="144">
                  <c:v>23.52</c:v>
                </c:pt>
                <c:pt idx="145">
                  <c:v>23.55</c:v>
                </c:pt>
                <c:pt idx="146">
                  <c:v>24.03</c:v>
                </c:pt>
                <c:pt idx="147">
                  <c:v>23.04</c:v>
                </c:pt>
                <c:pt idx="148">
                  <c:v>23.32</c:v>
                </c:pt>
                <c:pt idx="149">
                  <c:v>24.65</c:v>
                </c:pt>
                <c:pt idx="150">
                  <c:v>23.53</c:v>
                </c:pt>
                <c:pt idx="151">
                  <c:v>25.16</c:v>
                </c:pt>
                <c:pt idx="152">
                  <c:v>23.54</c:v>
                </c:pt>
                <c:pt idx="153">
                  <c:v>20.170000000000002</c:v>
                </c:pt>
                <c:pt idx="154">
                  <c:v>14.61</c:v>
                </c:pt>
                <c:pt idx="155">
                  <c:v>11.9</c:v>
                </c:pt>
                <c:pt idx="156">
                  <c:v>13.75</c:v>
                </c:pt>
                <c:pt idx="157">
                  <c:v>13.63</c:v>
                </c:pt>
                <c:pt idx="158">
                  <c:v>15.84</c:v>
                </c:pt>
                <c:pt idx="159">
                  <c:v>16.39</c:v>
                </c:pt>
                <c:pt idx="160">
                  <c:v>16.03</c:v>
                </c:pt>
                <c:pt idx="161">
                  <c:v>17.100000000000001</c:v>
                </c:pt>
                <c:pt idx="162">
                  <c:v>18.260000000000002</c:v>
                </c:pt>
                <c:pt idx="163">
                  <c:v>19.48</c:v>
                </c:pt>
                <c:pt idx="164">
                  <c:v>20.79</c:v>
                </c:pt>
                <c:pt idx="165">
                  <c:v>21.97</c:v>
                </c:pt>
                <c:pt idx="166">
                  <c:v>20.86</c:v>
                </c:pt>
                <c:pt idx="167">
                  <c:v>20.57</c:v>
                </c:pt>
                <c:pt idx="168">
                  <c:v>21.61</c:v>
                </c:pt>
                <c:pt idx="169">
                  <c:v>23.53</c:v>
                </c:pt>
                <c:pt idx="170">
                  <c:v>23.78</c:v>
                </c:pt>
                <c:pt idx="171">
                  <c:v>23.71</c:v>
                </c:pt>
                <c:pt idx="172">
                  <c:v>24.57</c:v>
                </c:pt>
                <c:pt idx="173">
                  <c:v>25.15</c:v>
                </c:pt>
                <c:pt idx="174">
                  <c:v>26.81</c:v>
                </c:pt>
                <c:pt idx="175">
                  <c:v>26.81</c:v>
                </c:pt>
                <c:pt idx="176">
                  <c:v>25.32</c:v>
                </c:pt>
                <c:pt idx="177">
                  <c:v>24.55</c:v>
                </c:pt>
                <c:pt idx="178">
                  <c:v>23.33</c:v>
                </c:pt>
                <c:pt idx="179">
                  <c:v>19.89</c:v>
                </c:pt>
                <c:pt idx="180">
                  <c:v>22.07</c:v>
                </c:pt>
                <c:pt idx="181">
                  <c:v>18.55</c:v>
                </c:pt>
                <c:pt idx="182">
                  <c:v>18.45</c:v>
                </c:pt>
                <c:pt idx="183">
                  <c:v>17.5</c:v>
                </c:pt>
                <c:pt idx="184">
                  <c:v>17.53</c:v>
                </c:pt>
                <c:pt idx="185">
                  <c:v>19.29</c:v>
                </c:pt>
                <c:pt idx="186">
                  <c:v>20.25</c:v>
                </c:pt>
                <c:pt idx="187">
                  <c:v>20.059999999999999</c:v>
                </c:pt>
                <c:pt idx="188">
                  <c:v>23.06</c:v>
                </c:pt>
                <c:pt idx="189">
                  <c:v>22.63</c:v>
                </c:pt>
                <c:pt idx="190">
                  <c:v>22.03</c:v>
                </c:pt>
                <c:pt idx="191">
                  <c:v>21.25</c:v>
                </c:pt>
                <c:pt idx="192">
                  <c:v>20.14</c:v>
                </c:pt>
                <c:pt idx="193">
                  <c:v>21.49</c:v>
                </c:pt>
                <c:pt idx="194">
                  <c:v>21.55</c:v>
                </c:pt>
                <c:pt idx="195">
                  <c:v>22.34</c:v>
                </c:pt>
                <c:pt idx="196">
                  <c:v>20.05</c:v>
                </c:pt>
                <c:pt idx="197">
                  <c:v>20.09</c:v>
                </c:pt>
                <c:pt idx="198">
                  <c:v>19.3</c:v>
                </c:pt>
                <c:pt idx="199">
                  <c:v>22.76</c:v>
                </c:pt>
                <c:pt idx="200">
                  <c:v>22.57</c:v>
                </c:pt>
                <c:pt idx="201">
                  <c:v>22.59</c:v>
                </c:pt>
                <c:pt idx="202">
                  <c:v>23.91</c:v>
                </c:pt>
                <c:pt idx="203">
                  <c:v>23.57</c:v>
                </c:pt>
                <c:pt idx="204">
                  <c:v>28.78</c:v>
                </c:pt>
                <c:pt idx="205">
                  <c:v>29.2</c:v>
                </c:pt>
                <c:pt idx="206">
                  <c:v>29.44</c:v>
                </c:pt>
                <c:pt idx="207">
                  <c:v>30.97</c:v>
                </c:pt>
                <c:pt idx="208">
                  <c:v>31.08</c:v>
                </c:pt>
                <c:pt idx="209">
                  <c:v>30.91</c:v>
                </c:pt>
                <c:pt idx="210">
                  <c:v>29.18</c:v>
                </c:pt>
                <c:pt idx="211">
                  <c:v>30.43</c:v>
                </c:pt>
                <c:pt idx="212">
                  <c:v>30.28</c:v>
                </c:pt>
                <c:pt idx="213">
                  <c:v>31.09</c:v>
                </c:pt>
                <c:pt idx="214">
                  <c:v>29.22</c:v>
                </c:pt>
                <c:pt idx="215">
                  <c:v>31.6</c:v>
                </c:pt>
                <c:pt idx="216">
                  <c:v>30.73</c:v>
                </c:pt>
                <c:pt idx="217">
                  <c:v>31.22</c:v>
                </c:pt>
                <c:pt idx="218">
                  <c:v>29.92</c:v>
                </c:pt>
                <c:pt idx="219">
                  <c:v>29.75</c:v>
                </c:pt>
                <c:pt idx="220">
                  <c:v>28.12</c:v>
                </c:pt>
                <c:pt idx="221">
                  <c:v>29.41</c:v>
                </c:pt>
                <c:pt idx="222">
                  <c:v>43.24</c:v>
                </c:pt>
                <c:pt idx="223">
                  <c:v>38.799999999999997</c:v>
                </c:pt>
                <c:pt idx="224">
                  <c:v>39.46</c:v>
                </c:pt>
                <c:pt idx="225">
                  <c:v>42.08</c:v>
                </c:pt>
                <c:pt idx="226">
                  <c:v>41.9</c:v>
                </c:pt>
                <c:pt idx="227">
                  <c:v>42.24</c:v>
                </c:pt>
                <c:pt idx="228">
                  <c:v>42.18</c:v>
                </c:pt>
                <c:pt idx="229">
                  <c:v>43.97</c:v>
                </c:pt>
                <c:pt idx="230">
                  <c:v>43.94</c:v>
                </c:pt>
                <c:pt idx="231">
                  <c:v>42.87</c:v>
                </c:pt>
                <c:pt idx="232">
                  <c:v>42.08</c:v>
                </c:pt>
                <c:pt idx="233">
                  <c:v>44.06</c:v>
                </c:pt>
                <c:pt idx="234">
                  <c:v>46.31</c:v>
                </c:pt>
                <c:pt idx="235">
                  <c:v>47.76</c:v>
                </c:pt>
              </c:numCache>
            </c:numRef>
          </c:val>
          <c:smooth val="0"/>
          <c:extLst>
            <c:ext xmlns:c16="http://schemas.microsoft.com/office/drawing/2014/chart" uri="{C3380CC4-5D6E-409C-BE32-E72D297353CC}">
              <c16:uniqueId val="{00000000-0B6E-40B7-9F22-939593C9B017}"/>
            </c:ext>
          </c:extLst>
        </c:ser>
        <c:ser>
          <c:idx val="1"/>
          <c:order val="1"/>
          <c:tx>
            <c:strRef>
              <c:f>Sheet1!$K$4</c:f>
              <c:strCache>
                <c:ptCount val="1"/>
                <c:pt idx="0">
                  <c:v>Stoxx 600 Banken (EUR)</c:v>
                </c:pt>
              </c:strCache>
            </c:strRef>
          </c:tx>
          <c:spPr>
            <a:ln w="28575" cap="rnd">
              <a:solidFill>
                <a:schemeClr val="accent2"/>
              </a:solidFill>
              <a:round/>
            </a:ln>
            <a:effectLst/>
          </c:spPr>
          <c:marker>
            <c:symbol val="none"/>
          </c:marker>
          <c:cat>
            <c:numRef>
              <c:f>Sheet1!$I$7:$I$242</c:f>
              <c:numCache>
                <c:formatCode>m/d/yyyy</c:formatCode>
                <c:ptCount val="236"/>
                <c:pt idx="0">
                  <c:v>45292</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0</c:v>
                </c:pt>
                <c:pt idx="29">
                  <c:v>45331</c:v>
                </c:pt>
                <c:pt idx="30">
                  <c:v>45334</c:v>
                </c:pt>
                <c:pt idx="31">
                  <c:v>45335</c:v>
                </c:pt>
                <c:pt idx="32">
                  <c:v>45336</c:v>
                </c:pt>
                <c:pt idx="33">
                  <c:v>45337</c:v>
                </c:pt>
                <c:pt idx="34">
                  <c:v>45338</c:v>
                </c:pt>
                <c:pt idx="35">
                  <c:v>45341</c:v>
                </c:pt>
                <c:pt idx="36">
                  <c:v>45342</c:v>
                </c:pt>
                <c:pt idx="37">
                  <c:v>45343</c:v>
                </c:pt>
                <c:pt idx="38">
                  <c:v>45344</c:v>
                </c:pt>
                <c:pt idx="39">
                  <c:v>45345</c:v>
                </c:pt>
                <c:pt idx="40">
                  <c:v>45348</c:v>
                </c:pt>
                <c:pt idx="41">
                  <c:v>45349</c:v>
                </c:pt>
                <c:pt idx="42">
                  <c:v>45350</c:v>
                </c:pt>
                <c:pt idx="43">
                  <c:v>45351</c:v>
                </c:pt>
                <c:pt idx="44">
                  <c:v>45352</c:v>
                </c:pt>
                <c:pt idx="45">
                  <c:v>45355</c:v>
                </c:pt>
                <c:pt idx="46">
                  <c:v>45356</c:v>
                </c:pt>
                <c:pt idx="47">
                  <c:v>45357</c:v>
                </c:pt>
                <c:pt idx="48">
                  <c:v>45358</c:v>
                </c:pt>
                <c:pt idx="49">
                  <c:v>45359</c:v>
                </c:pt>
                <c:pt idx="50">
                  <c:v>45362</c:v>
                </c:pt>
                <c:pt idx="51">
                  <c:v>45363</c:v>
                </c:pt>
                <c:pt idx="52">
                  <c:v>45364</c:v>
                </c:pt>
                <c:pt idx="53">
                  <c:v>45365</c:v>
                </c:pt>
                <c:pt idx="54">
                  <c:v>45366</c:v>
                </c:pt>
                <c:pt idx="55">
                  <c:v>45369</c:v>
                </c:pt>
                <c:pt idx="56">
                  <c:v>45370</c:v>
                </c:pt>
                <c:pt idx="57">
                  <c:v>45371</c:v>
                </c:pt>
                <c:pt idx="58">
                  <c:v>45372</c:v>
                </c:pt>
                <c:pt idx="59">
                  <c:v>45373</c:v>
                </c:pt>
                <c:pt idx="60">
                  <c:v>45376</c:v>
                </c:pt>
                <c:pt idx="61">
                  <c:v>45377</c:v>
                </c:pt>
                <c:pt idx="62">
                  <c:v>45378</c:v>
                </c:pt>
                <c:pt idx="63">
                  <c:v>45379</c:v>
                </c:pt>
                <c:pt idx="64">
                  <c:v>45380</c:v>
                </c:pt>
                <c:pt idx="65">
                  <c:v>45383</c:v>
                </c:pt>
                <c:pt idx="66">
                  <c:v>45384</c:v>
                </c:pt>
                <c:pt idx="67">
                  <c:v>45385</c:v>
                </c:pt>
                <c:pt idx="68">
                  <c:v>45386</c:v>
                </c:pt>
                <c:pt idx="69">
                  <c:v>45387</c:v>
                </c:pt>
                <c:pt idx="70">
                  <c:v>45390</c:v>
                </c:pt>
                <c:pt idx="71">
                  <c:v>45391</c:v>
                </c:pt>
                <c:pt idx="72">
                  <c:v>45392</c:v>
                </c:pt>
                <c:pt idx="73">
                  <c:v>45393</c:v>
                </c:pt>
                <c:pt idx="74">
                  <c:v>45394</c:v>
                </c:pt>
                <c:pt idx="75">
                  <c:v>45397</c:v>
                </c:pt>
                <c:pt idx="76">
                  <c:v>45398</c:v>
                </c:pt>
                <c:pt idx="77">
                  <c:v>45399</c:v>
                </c:pt>
                <c:pt idx="78">
                  <c:v>45400</c:v>
                </c:pt>
                <c:pt idx="79">
                  <c:v>45401</c:v>
                </c:pt>
                <c:pt idx="80">
                  <c:v>45404</c:v>
                </c:pt>
                <c:pt idx="81">
                  <c:v>45405</c:v>
                </c:pt>
                <c:pt idx="82">
                  <c:v>45406</c:v>
                </c:pt>
                <c:pt idx="83">
                  <c:v>45407</c:v>
                </c:pt>
                <c:pt idx="84">
                  <c:v>45408</c:v>
                </c:pt>
                <c:pt idx="85">
                  <c:v>45411</c:v>
                </c:pt>
                <c:pt idx="86">
                  <c:v>45412</c:v>
                </c:pt>
                <c:pt idx="87">
                  <c:v>45413</c:v>
                </c:pt>
                <c:pt idx="88">
                  <c:v>45414</c:v>
                </c:pt>
                <c:pt idx="89">
                  <c:v>45415</c:v>
                </c:pt>
                <c:pt idx="90">
                  <c:v>45418</c:v>
                </c:pt>
                <c:pt idx="91">
                  <c:v>45419</c:v>
                </c:pt>
                <c:pt idx="92">
                  <c:v>45420</c:v>
                </c:pt>
                <c:pt idx="93">
                  <c:v>45421</c:v>
                </c:pt>
                <c:pt idx="94">
                  <c:v>45422</c:v>
                </c:pt>
                <c:pt idx="95">
                  <c:v>45425</c:v>
                </c:pt>
                <c:pt idx="96">
                  <c:v>45426</c:v>
                </c:pt>
                <c:pt idx="97">
                  <c:v>45427</c:v>
                </c:pt>
                <c:pt idx="98">
                  <c:v>45428</c:v>
                </c:pt>
                <c:pt idx="99">
                  <c:v>45429</c:v>
                </c:pt>
                <c:pt idx="100">
                  <c:v>45432</c:v>
                </c:pt>
                <c:pt idx="101">
                  <c:v>45433</c:v>
                </c:pt>
                <c:pt idx="102">
                  <c:v>45434</c:v>
                </c:pt>
                <c:pt idx="103">
                  <c:v>45435</c:v>
                </c:pt>
                <c:pt idx="104">
                  <c:v>45436</c:v>
                </c:pt>
                <c:pt idx="105">
                  <c:v>45439</c:v>
                </c:pt>
                <c:pt idx="106">
                  <c:v>45440</c:v>
                </c:pt>
                <c:pt idx="107">
                  <c:v>45441</c:v>
                </c:pt>
                <c:pt idx="108">
                  <c:v>45442</c:v>
                </c:pt>
                <c:pt idx="109">
                  <c:v>45443</c:v>
                </c:pt>
                <c:pt idx="110">
                  <c:v>45446</c:v>
                </c:pt>
                <c:pt idx="111">
                  <c:v>45447</c:v>
                </c:pt>
                <c:pt idx="112">
                  <c:v>45448</c:v>
                </c:pt>
                <c:pt idx="113">
                  <c:v>45449</c:v>
                </c:pt>
                <c:pt idx="114">
                  <c:v>45450</c:v>
                </c:pt>
                <c:pt idx="115">
                  <c:v>45453</c:v>
                </c:pt>
                <c:pt idx="116">
                  <c:v>45454</c:v>
                </c:pt>
                <c:pt idx="117">
                  <c:v>45455</c:v>
                </c:pt>
                <c:pt idx="118">
                  <c:v>45456</c:v>
                </c:pt>
                <c:pt idx="119">
                  <c:v>45457</c:v>
                </c:pt>
                <c:pt idx="120">
                  <c:v>45460</c:v>
                </c:pt>
                <c:pt idx="121">
                  <c:v>45461</c:v>
                </c:pt>
                <c:pt idx="122">
                  <c:v>45462</c:v>
                </c:pt>
                <c:pt idx="123">
                  <c:v>45463</c:v>
                </c:pt>
                <c:pt idx="124">
                  <c:v>45464</c:v>
                </c:pt>
                <c:pt idx="125">
                  <c:v>45467</c:v>
                </c:pt>
                <c:pt idx="126">
                  <c:v>45468</c:v>
                </c:pt>
                <c:pt idx="127">
                  <c:v>45469</c:v>
                </c:pt>
                <c:pt idx="128">
                  <c:v>45470</c:v>
                </c:pt>
                <c:pt idx="129">
                  <c:v>45471</c:v>
                </c:pt>
                <c:pt idx="130">
                  <c:v>45474</c:v>
                </c:pt>
                <c:pt idx="131">
                  <c:v>45475</c:v>
                </c:pt>
                <c:pt idx="132">
                  <c:v>45476</c:v>
                </c:pt>
                <c:pt idx="133">
                  <c:v>45477</c:v>
                </c:pt>
                <c:pt idx="134">
                  <c:v>45478</c:v>
                </c:pt>
                <c:pt idx="135">
                  <c:v>45481</c:v>
                </c:pt>
                <c:pt idx="136">
                  <c:v>45482</c:v>
                </c:pt>
                <c:pt idx="137">
                  <c:v>45483</c:v>
                </c:pt>
                <c:pt idx="138">
                  <c:v>45484</c:v>
                </c:pt>
                <c:pt idx="139">
                  <c:v>45485</c:v>
                </c:pt>
                <c:pt idx="140">
                  <c:v>45488</c:v>
                </c:pt>
                <c:pt idx="141">
                  <c:v>45489</c:v>
                </c:pt>
                <c:pt idx="142">
                  <c:v>45490</c:v>
                </c:pt>
                <c:pt idx="143">
                  <c:v>45491</c:v>
                </c:pt>
                <c:pt idx="144">
                  <c:v>45492</c:v>
                </c:pt>
                <c:pt idx="145">
                  <c:v>45495</c:v>
                </c:pt>
                <c:pt idx="146">
                  <c:v>45496</c:v>
                </c:pt>
                <c:pt idx="147">
                  <c:v>45497</c:v>
                </c:pt>
                <c:pt idx="148">
                  <c:v>45498</c:v>
                </c:pt>
                <c:pt idx="149">
                  <c:v>45499</c:v>
                </c:pt>
                <c:pt idx="150">
                  <c:v>45502</c:v>
                </c:pt>
                <c:pt idx="151">
                  <c:v>45503</c:v>
                </c:pt>
                <c:pt idx="152">
                  <c:v>45504</c:v>
                </c:pt>
                <c:pt idx="153">
                  <c:v>45505</c:v>
                </c:pt>
                <c:pt idx="154">
                  <c:v>45506</c:v>
                </c:pt>
                <c:pt idx="155">
                  <c:v>45509</c:v>
                </c:pt>
                <c:pt idx="156">
                  <c:v>45510</c:v>
                </c:pt>
                <c:pt idx="157">
                  <c:v>45511</c:v>
                </c:pt>
                <c:pt idx="158">
                  <c:v>45512</c:v>
                </c:pt>
                <c:pt idx="159">
                  <c:v>45513</c:v>
                </c:pt>
                <c:pt idx="160">
                  <c:v>45516</c:v>
                </c:pt>
                <c:pt idx="161">
                  <c:v>45517</c:v>
                </c:pt>
                <c:pt idx="162">
                  <c:v>45518</c:v>
                </c:pt>
                <c:pt idx="163">
                  <c:v>45519</c:v>
                </c:pt>
                <c:pt idx="164">
                  <c:v>45520</c:v>
                </c:pt>
                <c:pt idx="165">
                  <c:v>45523</c:v>
                </c:pt>
                <c:pt idx="166">
                  <c:v>45524</c:v>
                </c:pt>
                <c:pt idx="167">
                  <c:v>45525</c:v>
                </c:pt>
                <c:pt idx="168">
                  <c:v>45526</c:v>
                </c:pt>
                <c:pt idx="169">
                  <c:v>45527</c:v>
                </c:pt>
                <c:pt idx="170">
                  <c:v>45530</c:v>
                </c:pt>
                <c:pt idx="171">
                  <c:v>45531</c:v>
                </c:pt>
                <c:pt idx="172">
                  <c:v>45532</c:v>
                </c:pt>
                <c:pt idx="173">
                  <c:v>45533</c:v>
                </c:pt>
                <c:pt idx="174">
                  <c:v>45534</c:v>
                </c:pt>
                <c:pt idx="175">
                  <c:v>45537</c:v>
                </c:pt>
                <c:pt idx="176">
                  <c:v>45538</c:v>
                </c:pt>
                <c:pt idx="177">
                  <c:v>45539</c:v>
                </c:pt>
                <c:pt idx="178">
                  <c:v>45540</c:v>
                </c:pt>
                <c:pt idx="179">
                  <c:v>45541</c:v>
                </c:pt>
                <c:pt idx="180">
                  <c:v>45544</c:v>
                </c:pt>
                <c:pt idx="181">
                  <c:v>45545</c:v>
                </c:pt>
                <c:pt idx="182">
                  <c:v>45546</c:v>
                </c:pt>
                <c:pt idx="183">
                  <c:v>45547</c:v>
                </c:pt>
                <c:pt idx="184">
                  <c:v>45548</c:v>
                </c:pt>
                <c:pt idx="185">
                  <c:v>45551</c:v>
                </c:pt>
                <c:pt idx="186">
                  <c:v>45552</c:v>
                </c:pt>
                <c:pt idx="187">
                  <c:v>45553</c:v>
                </c:pt>
                <c:pt idx="188">
                  <c:v>45554</c:v>
                </c:pt>
                <c:pt idx="189">
                  <c:v>45555</c:v>
                </c:pt>
                <c:pt idx="190">
                  <c:v>45558</c:v>
                </c:pt>
                <c:pt idx="191">
                  <c:v>45559</c:v>
                </c:pt>
                <c:pt idx="192">
                  <c:v>45560</c:v>
                </c:pt>
                <c:pt idx="193">
                  <c:v>45561</c:v>
                </c:pt>
                <c:pt idx="194">
                  <c:v>45562</c:v>
                </c:pt>
                <c:pt idx="195">
                  <c:v>45565</c:v>
                </c:pt>
                <c:pt idx="196">
                  <c:v>45566</c:v>
                </c:pt>
                <c:pt idx="197">
                  <c:v>45567</c:v>
                </c:pt>
                <c:pt idx="198">
                  <c:v>45568</c:v>
                </c:pt>
                <c:pt idx="199">
                  <c:v>45569</c:v>
                </c:pt>
                <c:pt idx="200">
                  <c:v>45572</c:v>
                </c:pt>
                <c:pt idx="201">
                  <c:v>45573</c:v>
                </c:pt>
                <c:pt idx="202">
                  <c:v>45574</c:v>
                </c:pt>
                <c:pt idx="203">
                  <c:v>45575</c:v>
                </c:pt>
                <c:pt idx="204">
                  <c:v>45576</c:v>
                </c:pt>
                <c:pt idx="205">
                  <c:v>45579</c:v>
                </c:pt>
                <c:pt idx="206">
                  <c:v>45580</c:v>
                </c:pt>
                <c:pt idx="207">
                  <c:v>45581</c:v>
                </c:pt>
                <c:pt idx="208">
                  <c:v>45582</c:v>
                </c:pt>
                <c:pt idx="209">
                  <c:v>45583</c:v>
                </c:pt>
                <c:pt idx="210">
                  <c:v>45586</c:v>
                </c:pt>
                <c:pt idx="211">
                  <c:v>45587</c:v>
                </c:pt>
                <c:pt idx="212">
                  <c:v>45588</c:v>
                </c:pt>
                <c:pt idx="213">
                  <c:v>45589</c:v>
                </c:pt>
                <c:pt idx="214">
                  <c:v>45590</c:v>
                </c:pt>
                <c:pt idx="215">
                  <c:v>45593</c:v>
                </c:pt>
                <c:pt idx="216">
                  <c:v>45594</c:v>
                </c:pt>
                <c:pt idx="217">
                  <c:v>45595</c:v>
                </c:pt>
                <c:pt idx="218">
                  <c:v>45596</c:v>
                </c:pt>
                <c:pt idx="219">
                  <c:v>45597</c:v>
                </c:pt>
                <c:pt idx="220">
                  <c:v>45600</c:v>
                </c:pt>
                <c:pt idx="221">
                  <c:v>45601</c:v>
                </c:pt>
                <c:pt idx="222">
                  <c:v>45602</c:v>
                </c:pt>
                <c:pt idx="223">
                  <c:v>45603</c:v>
                </c:pt>
                <c:pt idx="224">
                  <c:v>45604</c:v>
                </c:pt>
                <c:pt idx="225">
                  <c:v>45607</c:v>
                </c:pt>
                <c:pt idx="226">
                  <c:v>45608</c:v>
                </c:pt>
                <c:pt idx="227">
                  <c:v>45609</c:v>
                </c:pt>
                <c:pt idx="228">
                  <c:v>45610</c:v>
                </c:pt>
                <c:pt idx="229">
                  <c:v>45611</c:v>
                </c:pt>
                <c:pt idx="230">
                  <c:v>45614</c:v>
                </c:pt>
                <c:pt idx="231">
                  <c:v>45615</c:v>
                </c:pt>
                <c:pt idx="232">
                  <c:v>45616</c:v>
                </c:pt>
                <c:pt idx="233">
                  <c:v>45617</c:v>
                </c:pt>
                <c:pt idx="234">
                  <c:v>45618</c:v>
                </c:pt>
                <c:pt idx="235">
                  <c:v>45621</c:v>
                </c:pt>
              </c:numCache>
            </c:numRef>
          </c:cat>
          <c:val>
            <c:numRef>
              <c:f>Sheet1!$K$7:$K$242</c:f>
              <c:numCache>
                <c:formatCode>General</c:formatCode>
                <c:ptCount val="236"/>
                <c:pt idx="0">
                  <c:v>0</c:v>
                </c:pt>
                <c:pt idx="1">
                  <c:v>0.79</c:v>
                </c:pt>
                <c:pt idx="2">
                  <c:v>-0.16</c:v>
                </c:pt>
                <c:pt idx="3">
                  <c:v>1.64</c:v>
                </c:pt>
                <c:pt idx="4">
                  <c:v>2.13</c:v>
                </c:pt>
                <c:pt idx="5">
                  <c:v>2.5099999999999998</c:v>
                </c:pt>
                <c:pt idx="6">
                  <c:v>1.61</c:v>
                </c:pt>
                <c:pt idx="7">
                  <c:v>1.01</c:v>
                </c:pt>
                <c:pt idx="8">
                  <c:v>-0.91</c:v>
                </c:pt>
                <c:pt idx="9">
                  <c:v>-0.64</c:v>
                </c:pt>
                <c:pt idx="10">
                  <c:v>-1.37</c:v>
                </c:pt>
                <c:pt idx="11">
                  <c:v>-2.44</c:v>
                </c:pt>
                <c:pt idx="12">
                  <c:v>-3.12</c:v>
                </c:pt>
                <c:pt idx="13">
                  <c:v>-2.46</c:v>
                </c:pt>
                <c:pt idx="14">
                  <c:v>-2.62</c:v>
                </c:pt>
                <c:pt idx="15">
                  <c:v>-1.33</c:v>
                </c:pt>
                <c:pt idx="16">
                  <c:v>-1.49</c:v>
                </c:pt>
                <c:pt idx="17">
                  <c:v>-0.31</c:v>
                </c:pt>
                <c:pt idx="18">
                  <c:v>-0.57999999999999996</c:v>
                </c:pt>
                <c:pt idx="19">
                  <c:v>0.28000000000000003</c:v>
                </c:pt>
                <c:pt idx="20">
                  <c:v>-0.27</c:v>
                </c:pt>
                <c:pt idx="21">
                  <c:v>1.03</c:v>
                </c:pt>
                <c:pt idx="22">
                  <c:v>1.0900000000000001</c:v>
                </c:pt>
                <c:pt idx="23">
                  <c:v>-0.9</c:v>
                </c:pt>
                <c:pt idx="24">
                  <c:v>0.13</c:v>
                </c:pt>
                <c:pt idx="25">
                  <c:v>-0.43</c:v>
                </c:pt>
                <c:pt idx="26">
                  <c:v>0.17</c:v>
                </c:pt>
                <c:pt idx="27">
                  <c:v>-0.7</c:v>
                </c:pt>
                <c:pt idx="28">
                  <c:v>-1.26</c:v>
                </c:pt>
                <c:pt idx="29">
                  <c:v>-1.56</c:v>
                </c:pt>
                <c:pt idx="30">
                  <c:v>-0.55000000000000004</c:v>
                </c:pt>
                <c:pt idx="31">
                  <c:v>-0.82</c:v>
                </c:pt>
                <c:pt idx="32">
                  <c:v>-0.33</c:v>
                </c:pt>
                <c:pt idx="33">
                  <c:v>-0.01</c:v>
                </c:pt>
                <c:pt idx="34">
                  <c:v>0.97</c:v>
                </c:pt>
                <c:pt idx="35">
                  <c:v>1.33</c:v>
                </c:pt>
                <c:pt idx="36">
                  <c:v>2.31</c:v>
                </c:pt>
                <c:pt idx="37">
                  <c:v>1.21</c:v>
                </c:pt>
                <c:pt idx="38">
                  <c:v>2.0099999999999998</c:v>
                </c:pt>
                <c:pt idx="39">
                  <c:v>2.83</c:v>
                </c:pt>
                <c:pt idx="40">
                  <c:v>2.42</c:v>
                </c:pt>
                <c:pt idx="41">
                  <c:v>2.86</c:v>
                </c:pt>
                <c:pt idx="42">
                  <c:v>3.36</c:v>
                </c:pt>
                <c:pt idx="43">
                  <c:v>3.35</c:v>
                </c:pt>
                <c:pt idx="44">
                  <c:v>4.4400000000000004</c:v>
                </c:pt>
                <c:pt idx="45">
                  <c:v>4.72</c:v>
                </c:pt>
                <c:pt idx="46">
                  <c:v>5.0999999999999996</c:v>
                </c:pt>
                <c:pt idx="47">
                  <c:v>5.59</c:v>
                </c:pt>
                <c:pt idx="48">
                  <c:v>6.38</c:v>
                </c:pt>
                <c:pt idx="49">
                  <c:v>6.38</c:v>
                </c:pt>
                <c:pt idx="50">
                  <c:v>6.24</c:v>
                </c:pt>
                <c:pt idx="51">
                  <c:v>8.34</c:v>
                </c:pt>
                <c:pt idx="52">
                  <c:v>8.66</c:v>
                </c:pt>
                <c:pt idx="53">
                  <c:v>8.02</c:v>
                </c:pt>
                <c:pt idx="54">
                  <c:v>9.1</c:v>
                </c:pt>
                <c:pt idx="55">
                  <c:v>9.26</c:v>
                </c:pt>
                <c:pt idx="56">
                  <c:v>10.43</c:v>
                </c:pt>
                <c:pt idx="57">
                  <c:v>10.51</c:v>
                </c:pt>
                <c:pt idx="58">
                  <c:v>12.29</c:v>
                </c:pt>
                <c:pt idx="59">
                  <c:v>12.61</c:v>
                </c:pt>
                <c:pt idx="60">
                  <c:v>12.79</c:v>
                </c:pt>
                <c:pt idx="61">
                  <c:v>13.89</c:v>
                </c:pt>
                <c:pt idx="62">
                  <c:v>13.66</c:v>
                </c:pt>
                <c:pt idx="63">
                  <c:v>14.68</c:v>
                </c:pt>
                <c:pt idx="64">
                  <c:v>14.68</c:v>
                </c:pt>
                <c:pt idx="65">
                  <c:v>14.68</c:v>
                </c:pt>
                <c:pt idx="66">
                  <c:v>14.83</c:v>
                </c:pt>
                <c:pt idx="67">
                  <c:v>16.420000000000002</c:v>
                </c:pt>
                <c:pt idx="68">
                  <c:v>17.59</c:v>
                </c:pt>
                <c:pt idx="69">
                  <c:v>16.670000000000002</c:v>
                </c:pt>
                <c:pt idx="70">
                  <c:v>17.68</c:v>
                </c:pt>
                <c:pt idx="71">
                  <c:v>16.5</c:v>
                </c:pt>
                <c:pt idx="72">
                  <c:v>17.59</c:v>
                </c:pt>
                <c:pt idx="73">
                  <c:v>15</c:v>
                </c:pt>
                <c:pt idx="74">
                  <c:v>14.97</c:v>
                </c:pt>
                <c:pt idx="75">
                  <c:v>15.31</c:v>
                </c:pt>
                <c:pt idx="76">
                  <c:v>12.46</c:v>
                </c:pt>
                <c:pt idx="77">
                  <c:v>13.83</c:v>
                </c:pt>
                <c:pt idx="78">
                  <c:v>15.77</c:v>
                </c:pt>
                <c:pt idx="79">
                  <c:v>15.87</c:v>
                </c:pt>
                <c:pt idx="80">
                  <c:v>17.690000000000001</c:v>
                </c:pt>
                <c:pt idx="81">
                  <c:v>19.77</c:v>
                </c:pt>
                <c:pt idx="82">
                  <c:v>18.760000000000002</c:v>
                </c:pt>
                <c:pt idx="83">
                  <c:v>19.16</c:v>
                </c:pt>
                <c:pt idx="84">
                  <c:v>20.28</c:v>
                </c:pt>
                <c:pt idx="85">
                  <c:v>20.059999999999999</c:v>
                </c:pt>
                <c:pt idx="86">
                  <c:v>19.75</c:v>
                </c:pt>
                <c:pt idx="87">
                  <c:v>19.850000000000001</c:v>
                </c:pt>
                <c:pt idx="88">
                  <c:v>20.59</c:v>
                </c:pt>
                <c:pt idx="89">
                  <c:v>20.02</c:v>
                </c:pt>
                <c:pt idx="90">
                  <c:v>21.23</c:v>
                </c:pt>
                <c:pt idx="91">
                  <c:v>23.33</c:v>
                </c:pt>
                <c:pt idx="92">
                  <c:v>23.25</c:v>
                </c:pt>
                <c:pt idx="93">
                  <c:v>22.7</c:v>
                </c:pt>
                <c:pt idx="94">
                  <c:v>23.49</c:v>
                </c:pt>
                <c:pt idx="95">
                  <c:v>24</c:v>
                </c:pt>
                <c:pt idx="96">
                  <c:v>25.06</c:v>
                </c:pt>
                <c:pt idx="97">
                  <c:v>25.3</c:v>
                </c:pt>
                <c:pt idx="98">
                  <c:v>25.05</c:v>
                </c:pt>
                <c:pt idx="99">
                  <c:v>26.05</c:v>
                </c:pt>
                <c:pt idx="100">
                  <c:v>26.22</c:v>
                </c:pt>
                <c:pt idx="101">
                  <c:v>26.1</c:v>
                </c:pt>
                <c:pt idx="102">
                  <c:v>25.43</c:v>
                </c:pt>
                <c:pt idx="103">
                  <c:v>25.54</c:v>
                </c:pt>
                <c:pt idx="104">
                  <c:v>25.41</c:v>
                </c:pt>
                <c:pt idx="105">
                  <c:v>25.65</c:v>
                </c:pt>
                <c:pt idx="106">
                  <c:v>26.02</c:v>
                </c:pt>
                <c:pt idx="107">
                  <c:v>24.41</c:v>
                </c:pt>
                <c:pt idx="108">
                  <c:v>26.16</c:v>
                </c:pt>
                <c:pt idx="109">
                  <c:v>26.46</c:v>
                </c:pt>
                <c:pt idx="110">
                  <c:v>26.73</c:v>
                </c:pt>
                <c:pt idx="111">
                  <c:v>24</c:v>
                </c:pt>
                <c:pt idx="112">
                  <c:v>23.66</c:v>
                </c:pt>
                <c:pt idx="113">
                  <c:v>25.41</c:v>
                </c:pt>
                <c:pt idx="114">
                  <c:v>25.56</c:v>
                </c:pt>
                <c:pt idx="115">
                  <c:v>24.45</c:v>
                </c:pt>
                <c:pt idx="116">
                  <c:v>21.65</c:v>
                </c:pt>
                <c:pt idx="117">
                  <c:v>23.08</c:v>
                </c:pt>
                <c:pt idx="118">
                  <c:v>20.14</c:v>
                </c:pt>
                <c:pt idx="119">
                  <c:v>18.62</c:v>
                </c:pt>
                <c:pt idx="120">
                  <c:v>19.78</c:v>
                </c:pt>
                <c:pt idx="121">
                  <c:v>20.84</c:v>
                </c:pt>
                <c:pt idx="122">
                  <c:v>21.22</c:v>
                </c:pt>
                <c:pt idx="123">
                  <c:v>22.38</c:v>
                </c:pt>
                <c:pt idx="124">
                  <c:v>20.47</c:v>
                </c:pt>
                <c:pt idx="125">
                  <c:v>22.53</c:v>
                </c:pt>
                <c:pt idx="126">
                  <c:v>21.71</c:v>
                </c:pt>
                <c:pt idx="127">
                  <c:v>21.23</c:v>
                </c:pt>
                <c:pt idx="128">
                  <c:v>21.13</c:v>
                </c:pt>
                <c:pt idx="129">
                  <c:v>20.97</c:v>
                </c:pt>
                <c:pt idx="130">
                  <c:v>23.51</c:v>
                </c:pt>
                <c:pt idx="131">
                  <c:v>22.26</c:v>
                </c:pt>
                <c:pt idx="132">
                  <c:v>23.83</c:v>
                </c:pt>
                <c:pt idx="133">
                  <c:v>25.44</c:v>
                </c:pt>
                <c:pt idx="134">
                  <c:v>24.33</c:v>
                </c:pt>
                <c:pt idx="135">
                  <c:v>24.36</c:v>
                </c:pt>
                <c:pt idx="136">
                  <c:v>22.97</c:v>
                </c:pt>
                <c:pt idx="137">
                  <c:v>24.1</c:v>
                </c:pt>
                <c:pt idx="138">
                  <c:v>24.66</c:v>
                </c:pt>
                <c:pt idx="139">
                  <c:v>25.2</c:v>
                </c:pt>
                <c:pt idx="140">
                  <c:v>24.48</c:v>
                </c:pt>
                <c:pt idx="141">
                  <c:v>24.57</c:v>
                </c:pt>
                <c:pt idx="142">
                  <c:v>25.35</c:v>
                </c:pt>
                <c:pt idx="143">
                  <c:v>25.96</c:v>
                </c:pt>
                <c:pt idx="144">
                  <c:v>25.31</c:v>
                </c:pt>
                <c:pt idx="145">
                  <c:v>27.27</c:v>
                </c:pt>
                <c:pt idx="146">
                  <c:v>27.83</c:v>
                </c:pt>
                <c:pt idx="147">
                  <c:v>27.25</c:v>
                </c:pt>
                <c:pt idx="148">
                  <c:v>26.36</c:v>
                </c:pt>
                <c:pt idx="149">
                  <c:v>26.75</c:v>
                </c:pt>
                <c:pt idx="150">
                  <c:v>26.82</c:v>
                </c:pt>
                <c:pt idx="151">
                  <c:v>28.02</c:v>
                </c:pt>
                <c:pt idx="152">
                  <c:v>27.82</c:v>
                </c:pt>
                <c:pt idx="153">
                  <c:v>22.2</c:v>
                </c:pt>
                <c:pt idx="154">
                  <c:v>16.98</c:v>
                </c:pt>
                <c:pt idx="155">
                  <c:v>14.39</c:v>
                </c:pt>
                <c:pt idx="156">
                  <c:v>13.94</c:v>
                </c:pt>
                <c:pt idx="157">
                  <c:v>17.03</c:v>
                </c:pt>
                <c:pt idx="158">
                  <c:v>16.87</c:v>
                </c:pt>
                <c:pt idx="159">
                  <c:v>17.71</c:v>
                </c:pt>
                <c:pt idx="160">
                  <c:v>18.059999999999999</c:v>
                </c:pt>
                <c:pt idx="161">
                  <c:v>18.399999999999999</c:v>
                </c:pt>
                <c:pt idx="162">
                  <c:v>18.940000000000001</c:v>
                </c:pt>
                <c:pt idx="163">
                  <c:v>21.25</c:v>
                </c:pt>
                <c:pt idx="164">
                  <c:v>22.36</c:v>
                </c:pt>
                <c:pt idx="165">
                  <c:v>23.45</c:v>
                </c:pt>
                <c:pt idx="166">
                  <c:v>21.97</c:v>
                </c:pt>
                <c:pt idx="167">
                  <c:v>22.28</c:v>
                </c:pt>
                <c:pt idx="168">
                  <c:v>22.87</c:v>
                </c:pt>
                <c:pt idx="169">
                  <c:v>24.12</c:v>
                </c:pt>
                <c:pt idx="170">
                  <c:v>23.96</c:v>
                </c:pt>
                <c:pt idx="171">
                  <c:v>24.88</c:v>
                </c:pt>
                <c:pt idx="172">
                  <c:v>24.72</c:v>
                </c:pt>
                <c:pt idx="173">
                  <c:v>25.33</c:v>
                </c:pt>
                <c:pt idx="174">
                  <c:v>26.22</c:v>
                </c:pt>
                <c:pt idx="175">
                  <c:v>26.18</c:v>
                </c:pt>
                <c:pt idx="176">
                  <c:v>23.89</c:v>
                </c:pt>
                <c:pt idx="177">
                  <c:v>23.52</c:v>
                </c:pt>
                <c:pt idx="178">
                  <c:v>24.74</c:v>
                </c:pt>
                <c:pt idx="179">
                  <c:v>22.33</c:v>
                </c:pt>
                <c:pt idx="180">
                  <c:v>23.8</c:v>
                </c:pt>
                <c:pt idx="181">
                  <c:v>21.87</c:v>
                </c:pt>
                <c:pt idx="182">
                  <c:v>21.94</c:v>
                </c:pt>
                <c:pt idx="183">
                  <c:v>23.7</c:v>
                </c:pt>
                <c:pt idx="184">
                  <c:v>24.65</c:v>
                </c:pt>
                <c:pt idx="185">
                  <c:v>24.55</c:v>
                </c:pt>
                <c:pt idx="186">
                  <c:v>25.86</c:v>
                </c:pt>
                <c:pt idx="187">
                  <c:v>25.76</c:v>
                </c:pt>
                <c:pt idx="188">
                  <c:v>27.69</c:v>
                </c:pt>
                <c:pt idx="189">
                  <c:v>27.07</c:v>
                </c:pt>
                <c:pt idx="190">
                  <c:v>25.97</c:v>
                </c:pt>
                <c:pt idx="191">
                  <c:v>26.93</c:v>
                </c:pt>
                <c:pt idx="192">
                  <c:v>25.99</c:v>
                </c:pt>
                <c:pt idx="193">
                  <c:v>29.04</c:v>
                </c:pt>
                <c:pt idx="194">
                  <c:v>29.03</c:v>
                </c:pt>
                <c:pt idx="195">
                  <c:v>27.23</c:v>
                </c:pt>
                <c:pt idx="196">
                  <c:v>24.32</c:v>
                </c:pt>
                <c:pt idx="197">
                  <c:v>24.58</c:v>
                </c:pt>
                <c:pt idx="198">
                  <c:v>23.78</c:v>
                </c:pt>
                <c:pt idx="199">
                  <c:v>25.99</c:v>
                </c:pt>
                <c:pt idx="200">
                  <c:v>27.23</c:v>
                </c:pt>
                <c:pt idx="201">
                  <c:v>26.14</c:v>
                </c:pt>
                <c:pt idx="202">
                  <c:v>26.5</c:v>
                </c:pt>
                <c:pt idx="203">
                  <c:v>27.03</c:v>
                </c:pt>
                <c:pt idx="204">
                  <c:v>27.82</c:v>
                </c:pt>
                <c:pt idx="205">
                  <c:v>28.29</c:v>
                </c:pt>
                <c:pt idx="206">
                  <c:v>28.48</c:v>
                </c:pt>
                <c:pt idx="207">
                  <c:v>28.28</c:v>
                </c:pt>
                <c:pt idx="208">
                  <c:v>29.63</c:v>
                </c:pt>
                <c:pt idx="209">
                  <c:v>30.23</c:v>
                </c:pt>
                <c:pt idx="210">
                  <c:v>28.97</c:v>
                </c:pt>
                <c:pt idx="211">
                  <c:v>29.41</c:v>
                </c:pt>
                <c:pt idx="212">
                  <c:v>29.12</c:v>
                </c:pt>
                <c:pt idx="213">
                  <c:v>28.63</c:v>
                </c:pt>
                <c:pt idx="214">
                  <c:v>28.19</c:v>
                </c:pt>
                <c:pt idx="215">
                  <c:v>29.24</c:v>
                </c:pt>
                <c:pt idx="216">
                  <c:v>29.62</c:v>
                </c:pt>
                <c:pt idx="217">
                  <c:v>28.68</c:v>
                </c:pt>
                <c:pt idx="218">
                  <c:v>28.49</c:v>
                </c:pt>
                <c:pt idx="219">
                  <c:v>30.73</c:v>
                </c:pt>
                <c:pt idx="220">
                  <c:v>31.61</c:v>
                </c:pt>
                <c:pt idx="221">
                  <c:v>32.24</c:v>
                </c:pt>
                <c:pt idx="222">
                  <c:v>30.49</c:v>
                </c:pt>
                <c:pt idx="223">
                  <c:v>30.54</c:v>
                </c:pt>
                <c:pt idx="224">
                  <c:v>28.7</c:v>
                </c:pt>
                <c:pt idx="225">
                  <c:v>30.98</c:v>
                </c:pt>
                <c:pt idx="226">
                  <c:v>28.48</c:v>
                </c:pt>
                <c:pt idx="227">
                  <c:v>28.51</c:v>
                </c:pt>
                <c:pt idx="228">
                  <c:v>30.24</c:v>
                </c:pt>
                <c:pt idx="229">
                  <c:v>31.1</c:v>
                </c:pt>
                <c:pt idx="230">
                  <c:v>32.020000000000003</c:v>
                </c:pt>
                <c:pt idx="231">
                  <c:v>30.16</c:v>
                </c:pt>
                <c:pt idx="232">
                  <c:v>30.09</c:v>
                </c:pt>
                <c:pt idx="233">
                  <c:v>30.33</c:v>
                </c:pt>
                <c:pt idx="234">
                  <c:v>28.7</c:v>
                </c:pt>
                <c:pt idx="235">
                  <c:v>28.61</c:v>
                </c:pt>
              </c:numCache>
            </c:numRef>
          </c:val>
          <c:smooth val="0"/>
          <c:extLst>
            <c:ext xmlns:c16="http://schemas.microsoft.com/office/drawing/2014/chart" uri="{C3380CC4-5D6E-409C-BE32-E72D297353CC}">
              <c16:uniqueId val="{00000001-0B6E-40B7-9F22-939593C9B017}"/>
            </c:ext>
          </c:extLst>
        </c:ser>
        <c:ser>
          <c:idx val="3"/>
          <c:order val="2"/>
          <c:tx>
            <c:strRef>
              <c:f>Sheet1!$M$4</c:f>
              <c:strCache>
                <c:ptCount val="1"/>
                <c:pt idx="0">
                  <c:v>S&amp;P 500 Finanzen (USD)</c:v>
                </c:pt>
              </c:strCache>
            </c:strRef>
          </c:tx>
          <c:spPr>
            <a:ln w="28575" cap="rnd">
              <a:solidFill>
                <a:schemeClr val="accent4"/>
              </a:solidFill>
              <a:round/>
            </a:ln>
            <a:effectLst/>
          </c:spPr>
          <c:marker>
            <c:symbol val="none"/>
          </c:marker>
          <c:cat>
            <c:numRef>
              <c:f>Sheet1!$I$7:$I$242</c:f>
              <c:numCache>
                <c:formatCode>m/d/yyyy</c:formatCode>
                <c:ptCount val="236"/>
                <c:pt idx="0">
                  <c:v>45292</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0</c:v>
                </c:pt>
                <c:pt idx="29">
                  <c:v>45331</c:v>
                </c:pt>
                <c:pt idx="30">
                  <c:v>45334</c:v>
                </c:pt>
                <c:pt idx="31">
                  <c:v>45335</c:v>
                </c:pt>
                <c:pt idx="32">
                  <c:v>45336</c:v>
                </c:pt>
                <c:pt idx="33">
                  <c:v>45337</c:v>
                </c:pt>
                <c:pt idx="34">
                  <c:v>45338</c:v>
                </c:pt>
                <c:pt idx="35">
                  <c:v>45341</c:v>
                </c:pt>
                <c:pt idx="36">
                  <c:v>45342</c:v>
                </c:pt>
                <c:pt idx="37">
                  <c:v>45343</c:v>
                </c:pt>
                <c:pt idx="38">
                  <c:v>45344</c:v>
                </c:pt>
                <c:pt idx="39">
                  <c:v>45345</c:v>
                </c:pt>
                <c:pt idx="40">
                  <c:v>45348</c:v>
                </c:pt>
                <c:pt idx="41">
                  <c:v>45349</c:v>
                </c:pt>
                <c:pt idx="42">
                  <c:v>45350</c:v>
                </c:pt>
                <c:pt idx="43">
                  <c:v>45351</c:v>
                </c:pt>
                <c:pt idx="44">
                  <c:v>45352</c:v>
                </c:pt>
                <c:pt idx="45">
                  <c:v>45355</c:v>
                </c:pt>
                <c:pt idx="46">
                  <c:v>45356</c:v>
                </c:pt>
                <c:pt idx="47">
                  <c:v>45357</c:v>
                </c:pt>
                <c:pt idx="48">
                  <c:v>45358</c:v>
                </c:pt>
                <c:pt idx="49">
                  <c:v>45359</c:v>
                </c:pt>
                <c:pt idx="50">
                  <c:v>45362</c:v>
                </c:pt>
                <c:pt idx="51">
                  <c:v>45363</c:v>
                </c:pt>
                <c:pt idx="52">
                  <c:v>45364</c:v>
                </c:pt>
                <c:pt idx="53">
                  <c:v>45365</c:v>
                </c:pt>
                <c:pt idx="54">
                  <c:v>45366</c:v>
                </c:pt>
                <c:pt idx="55">
                  <c:v>45369</c:v>
                </c:pt>
                <c:pt idx="56">
                  <c:v>45370</c:v>
                </c:pt>
                <c:pt idx="57">
                  <c:v>45371</c:v>
                </c:pt>
                <c:pt idx="58">
                  <c:v>45372</c:v>
                </c:pt>
                <c:pt idx="59">
                  <c:v>45373</c:v>
                </c:pt>
                <c:pt idx="60">
                  <c:v>45376</c:v>
                </c:pt>
                <c:pt idx="61">
                  <c:v>45377</c:v>
                </c:pt>
                <c:pt idx="62">
                  <c:v>45378</c:v>
                </c:pt>
                <c:pt idx="63">
                  <c:v>45379</c:v>
                </c:pt>
                <c:pt idx="64">
                  <c:v>45380</c:v>
                </c:pt>
                <c:pt idx="65">
                  <c:v>45383</c:v>
                </c:pt>
                <c:pt idx="66">
                  <c:v>45384</c:v>
                </c:pt>
                <c:pt idx="67">
                  <c:v>45385</c:v>
                </c:pt>
                <c:pt idx="68">
                  <c:v>45386</c:v>
                </c:pt>
                <c:pt idx="69">
                  <c:v>45387</c:v>
                </c:pt>
                <c:pt idx="70">
                  <c:v>45390</c:v>
                </c:pt>
                <c:pt idx="71">
                  <c:v>45391</c:v>
                </c:pt>
                <c:pt idx="72">
                  <c:v>45392</c:v>
                </c:pt>
                <c:pt idx="73">
                  <c:v>45393</c:v>
                </c:pt>
                <c:pt idx="74">
                  <c:v>45394</c:v>
                </c:pt>
                <c:pt idx="75">
                  <c:v>45397</c:v>
                </c:pt>
                <c:pt idx="76">
                  <c:v>45398</c:v>
                </c:pt>
                <c:pt idx="77">
                  <c:v>45399</c:v>
                </c:pt>
                <c:pt idx="78">
                  <c:v>45400</c:v>
                </c:pt>
                <c:pt idx="79">
                  <c:v>45401</c:v>
                </c:pt>
                <c:pt idx="80">
                  <c:v>45404</c:v>
                </c:pt>
                <c:pt idx="81">
                  <c:v>45405</c:v>
                </c:pt>
                <c:pt idx="82">
                  <c:v>45406</c:v>
                </c:pt>
                <c:pt idx="83">
                  <c:v>45407</c:v>
                </c:pt>
                <c:pt idx="84">
                  <c:v>45408</c:v>
                </c:pt>
                <c:pt idx="85">
                  <c:v>45411</c:v>
                </c:pt>
                <c:pt idx="86">
                  <c:v>45412</c:v>
                </c:pt>
                <c:pt idx="87">
                  <c:v>45413</c:v>
                </c:pt>
                <c:pt idx="88">
                  <c:v>45414</c:v>
                </c:pt>
                <c:pt idx="89">
                  <c:v>45415</c:v>
                </c:pt>
                <c:pt idx="90">
                  <c:v>45418</c:v>
                </c:pt>
                <c:pt idx="91">
                  <c:v>45419</c:v>
                </c:pt>
                <c:pt idx="92">
                  <c:v>45420</c:v>
                </c:pt>
                <c:pt idx="93">
                  <c:v>45421</c:v>
                </c:pt>
                <c:pt idx="94">
                  <c:v>45422</c:v>
                </c:pt>
                <c:pt idx="95">
                  <c:v>45425</c:v>
                </c:pt>
                <c:pt idx="96">
                  <c:v>45426</c:v>
                </c:pt>
                <c:pt idx="97">
                  <c:v>45427</c:v>
                </c:pt>
                <c:pt idx="98">
                  <c:v>45428</c:v>
                </c:pt>
                <c:pt idx="99">
                  <c:v>45429</c:v>
                </c:pt>
                <c:pt idx="100">
                  <c:v>45432</c:v>
                </c:pt>
                <c:pt idx="101">
                  <c:v>45433</c:v>
                </c:pt>
                <c:pt idx="102">
                  <c:v>45434</c:v>
                </c:pt>
                <c:pt idx="103">
                  <c:v>45435</c:v>
                </c:pt>
                <c:pt idx="104">
                  <c:v>45436</c:v>
                </c:pt>
                <c:pt idx="105">
                  <c:v>45439</c:v>
                </c:pt>
                <c:pt idx="106">
                  <c:v>45440</c:v>
                </c:pt>
                <c:pt idx="107">
                  <c:v>45441</c:v>
                </c:pt>
                <c:pt idx="108">
                  <c:v>45442</c:v>
                </c:pt>
                <c:pt idx="109">
                  <c:v>45443</c:v>
                </c:pt>
                <c:pt idx="110">
                  <c:v>45446</c:v>
                </c:pt>
                <c:pt idx="111">
                  <c:v>45447</c:v>
                </c:pt>
                <c:pt idx="112">
                  <c:v>45448</c:v>
                </c:pt>
                <c:pt idx="113">
                  <c:v>45449</c:v>
                </c:pt>
                <c:pt idx="114">
                  <c:v>45450</c:v>
                </c:pt>
                <c:pt idx="115">
                  <c:v>45453</c:v>
                </c:pt>
                <c:pt idx="116">
                  <c:v>45454</c:v>
                </c:pt>
                <c:pt idx="117">
                  <c:v>45455</c:v>
                </c:pt>
                <c:pt idx="118">
                  <c:v>45456</c:v>
                </c:pt>
                <c:pt idx="119">
                  <c:v>45457</c:v>
                </c:pt>
                <c:pt idx="120">
                  <c:v>45460</c:v>
                </c:pt>
                <c:pt idx="121">
                  <c:v>45461</c:v>
                </c:pt>
                <c:pt idx="122">
                  <c:v>45462</c:v>
                </c:pt>
                <c:pt idx="123">
                  <c:v>45463</c:v>
                </c:pt>
                <c:pt idx="124">
                  <c:v>45464</c:v>
                </c:pt>
                <c:pt idx="125">
                  <c:v>45467</c:v>
                </c:pt>
                <c:pt idx="126">
                  <c:v>45468</c:v>
                </c:pt>
                <c:pt idx="127">
                  <c:v>45469</c:v>
                </c:pt>
                <c:pt idx="128">
                  <c:v>45470</c:v>
                </c:pt>
                <c:pt idx="129">
                  <c:v>45471</c:v>
                </c:pt>
                <c:pt idx="130">
                  <c:v>45474</c:v>
                </c:pt>
                <c:pt idx="131">
                  <c:v>45475</c:v>
                </c:pt>
                <c:pt idx="132">
                  <c:v>45476</c:v>
                </c:pt>
                <c:pt idx="133">
                  <c:v>45477</c:v>
                </c:pt>
                <c:pt idx="134">
                  <c:v>45478</c:v>
                </c:pt>
                <c:pt idx="135">
                  <c:v>45481</c:v>
                </c:pt>
                <c:pt idx="136">
                  <c:v>45482</c:v>
                </c:pt>
                <c:pt idx="137">
                  <c:v>45483</c:v>
                </c:pt>
                <c:pt idx="138">
                  <c:v>45484</c:v>
                </c:pt>
                <c:pt idx="139">
                  <c:v>45485</c:v>
                </c:pt>
                <c:pt idx="140">
                  <c:v>45488</c:v>
                </c:pt>
                <c:pt idx="141">
                  <c:v>45489</c:v>
                </c:pt>
                <c:pt idx="142">
                  <c:v>45490</c:v>
                </c:pt>
                <c:pt idx="143">
                  <c:v>45491</c:v>
                </c:pt>
                <c:pt idx="144">
                  <c:v>45492</c:v>
                </c:pt>
                <c:pt idx="145">
                  <c:v>45495</c:v>
                </c:pt>
                <c:pt idx="146">
                  <c:v>45496</c:v>
                </c:pt>
                <c:pt idx="147">
                  <c:v>45497</c:v>
                </c:pt>
                <c:pt idx="148">
                  <c:v>45498</c:v>
                </c:pt>
                <c:pt idx="149">
                  <c:v>45499</c:v>
                </c:pt>
                <c:pt idx="150">
                  <c:v>45502</c:v>
                </c:pt>
                <c:pt idx="151">
                  <c:v>45503</c:v>
                </c:pt>
                <c:pt idx="152">
                  <c:v>45504</c:v>
                </c:pt>
                <c:pt idx="153">
                  <c:v>45505</c:v>
                </c:pt>
                <c:pt idx="154">
                  <c:v>45506</c:v>
                </c:pt>
                <c:pt idx="155">
                  <c:v>45509</c:v>
                </c:pt>
                <c:pt idx="156">
                  <c:v>45510</c:v>
                </c:pt>
                <c:pt idx="157">
                  <c:v>45511</c:v>
                </c:pt>
                <c:pt idx="158">
                  <c:v>45512</c:v>
                </c:pt>
                <c:pt idx="159">
                  <c:v>45513</c:v>
                </c:pt>
                <c:pt idx="160">
                  <c:v>45516</c:v>
                </c:pt>
                <c:pt idx="161">
                  <c:v>45517</c:v>
                </c:pt>
                <c:pt idx="162">
                  <c:v>45518</c:v>
                </c:pt>
                <c:pt idx="163">
                  <c:v>45519</c:v>
                </c:pt>
                <c:pt idx="164">
                  <c:v>45520</c:v>
                </c:pt>
                <c:pt idx="165">
                  <c:v>45523</c:v>
                </c:pt>
                <c:pt idx="166">
                  <c:v>45524</c:v>
                </c:pt>
                <c:pt idx="167">
                  <c:v>45525</c:v>
                </c:pt>
                <c:pt idx="168">
                  <c:v>45526</c:v>
                </c:pt>
                <c:pt idx="169">
                  <c:v>45527</c:v>
                </c:pt>
                <c:pt idx="170">
                  <c:v>45530</c:v>
                </c:pt>
                <c:pt idx="171">
                  <c:v>45531</c:v>
                </c:pt>
                <c:pt idx="172">
                  <c:v>45532</c:v>
                </c:pt>
                <c:pt idx="173">
                  <c:v>45533</c:v>
                </c:pt>
                <c:pt idx="174">
                  <c:v>45534</c:v>
                </c:pt>
                <c:pt idx="175">
                  <c:v>45537</c:v>
                </c:pt>
                <c:pt idx="176">
                  <c:v>45538</c:v>
                </c:pt>
                <c:pt idx="177">
                  <c:v>45539</c:v>
                </c:pt>
                <c:pt idx="178">
                  <c:v>45540</c:v>
                </c:pt>
                <c:pt idx="179">
                  <c:v>45541</c:v>
                </c:pt>
                <c:pt idx="180">
                  <c:v>45544</c:v>
                </c:pt>
                <c:pt idx="181">
                  <c:v>45545</c:v>
                </c:pt>
                <c:pt idx="182">
                  <c:v>45546</c:v>
                </c:pt>
                <c:pt idx="183">
                  <c:v>45547</c:v>
                </c:pt>
                <c:pt idx="184">
                  <c:v>45548</c:v>
                </c:pt>
                <c:pt idx="185">
                  <c:v>45551</c:v>
                </c:pt>
                <c:pt idx="186">
                  <c:v>45552</c:v>
                </c:pt>
                <c:pt idx="187">
                  <c:v>45553</c:v>
                </c:pt>
                <c:pt idx="188">
                  <c:v>45554</c:v>
                </c:pt>
                <c:pt idx="189">
                  <c:v>45555</c:v>
                </c:pt>
                <c:pt idx="190">
                  <c:v>45558</c:v>
                </c:pt>
                <c:pt idx="191">
                  <c:v>45559</c:v>
                </c:pt>
                <c:pt idx="192">
                  <c:v>45560</c:v>
                </c:pt>
                <c:pt idx="193">
                  <c:v>45561</c:v>
                </c:pt>
                <c:pt idx="194">
                  <c:v>45562</c:v>
                </c:pt>
                <c:pt idx="195">
                  <c:v>45565</c:v>
                </c:pt>
                <c:pt idx="196">
                  <c:v>45566</c:v>
                </c:pt>
                <c:pt idx="197">
                  <c:v>45567</c:v>
                </c:pt>
                <c:pt idx="198">
                  <c:v>45568</c:v>
                </c:pt>
                <c:pt idx="199">
                  <c:v>45569</c:v>
                </c:pt>
                <c:pt idx="200">
                  <c:v>45572</c:v>
                </c:pt>
                <c:pt idx="201">
                  <c:v>45573</c:v>
                </c:pt>
                <c:pt idx="202">
                  <c:v>45574</c:v>
                </c:pt>
                <c:pt idx="203">
                  <c:v>45575</c:v>
                </c:pt>
                <c:pt idx="204">
                  <c:v>45576</c:v>
                </c:pt>
                <c:pt idx="205">
                  <c:v>45579</c:v>
                </c:pt>
                <c:pt idx="206">
                  <c:v>45580</c:v>
                </c:pt>
                <c:pt idx="207">
                  <c:v>45581</c:v>
                </c:pt>
                <c:pt idx="208">
                  <c:v>45582</c:v>
                </c:pt>
                <c:pt idx="209">
                  <c:v>45583</c:v>
                </c:pt>
                <c:pt idx="210">
                  <c:v>45586</c:v>
                </c:pt>
                <c:pt idx="211">
                  <c:v>45587</c:v>
                </c:pt>
                <c:pt idx="212">
                  <c:v>45588</c:v>
                </c:pt>
                <c:pt idx="213">
                  <c:v>45589</c:v>
                </c:pt>
                <c:pt idx="214">
                  <c:v>45590</c:v>
                </c:pt>
                <c:pt idx="215">
                  <c:v>45593</c:v>
                </c:pt>
                <c:pt idx="216">
                  <c:v>45594</c:v>
                </c:pt>
                <c:pt idx="217">
                  <c:v>45595</c:v>
                </c:pt>
                <c:pt idx="218">
                  <c:v>45596</c:v>
                </c:pt>
                <c:pt idx="219">
                  <c:v>45597</c:v>
                </c:pt>
                <c:pt idx="220">
                  <c:v>45600</c:v>
                </c:pt>
                <c:pt idx="221">
                  <c:v>45601</c:v>
                </c:pt>
                <c:pt idx="222">
                  <c:v>45602</c:v>
                </c:pt>
                <c:pt idx="223">
                  <c:v>45603</c:v>
                </c:pt>
                <c:pt idx="224">
                  <c:v>45604</c:v>
                </c:pt>
                <c:pt idx="225">
                  <c:v>45607</c:v>
                </c:pt>
                <c:pt idx="226">
                  <c:v>45608</c:v>
                </c:pt>
                <c:pt idx="227">
                  <c:v>45609</c:v>
                </c:pt>
                <c:pt idx="228">
                  <c:v>45610</c:v>
                </c:pt>
                <c:pt idx="229">
                  <c:v>45611</c:v>
                </c:pt>
                <c:pt idx="230">
                  <c:v>45614</c:v>
                </c:pt>
                <c:pt idx="231">
                  <c:v>45615</c:v>
                </c:pt>
                <c:pt idx="232">
                  <c:v>45616</c:v>
                </c:pt>
                <c:pt idx="233">
                  <c:v>45617</c:v>
                </c:pt>
                <c:pt idx="234">
                  <c:v>45618</c:v>
                </c:pt>
                <c:pt idx="235">
                  <c:v>45621</c:v>
                </c:pt>
              </c:numCache>
            </c:numRef>
          </c:cat>
          <c:val>
            <c:numRef>
              <c:f>Sheet1!$M$7:$M$242</c:f>
              <c:numCache>
                <c:formatCode>General</c:formatCode>
                <c:ptCount val="236"/>
                <c:pt idx="0">
                  <c:v>0</c:v>
                </c:pt>
                <c:pt idx="1">
                  <c:v>0.39</c:v>
                </c:pt>
                <c:pt idx="2">
                  <c:v>-0.43</c:v>
                </c:pt>
                <c:pt idx="3">
                  <c:v>-0.13</c:v>
                </c:pt>
                <c:pt idx="4">
                  <c:v>0.4</c:v>
                </c:pt>
                <c:pt idx="5">
                  <c:v>1.01</c:v>
                </c:pt>
                <c:pt idx="6">
                  <c:v>0.31</c:v>
                </c:pt>
                <c:pt idx="7">
                  <c:v>0.52</c:v>
                </c:pt>
                <c:pt idx="8">
                  <c:v>0.11</c:v>
                </c:pt>
                <c:pt idx="9">
                  <c:v>-0.11</c:v>
                </c:pt>
                <c:pt idx="10">
                  <c:v>-0.11</c:v>
                </c:pt>
                <c:pt idx="11">
                  <c:v>-0.75</c:v>
                </c:pt>
                <c:pt idx="12">
                  <c:v>-1.03</c:v>
                </c:pt>
                <c:pt idx="13">
                  <c:v>-0.79</c:v>
                </c:pt>
                <c:pt idx="14">
                  <c:v>0.84</c:v>
                </c:pt>
                <c:pt idx="15">
                  <c:v>1.28</c:v>
                </c:pt>
                <c:pt idx="16">
                  <c:v>1.42</c:v>
                </c:pt>
                <c:pt idx="17">
                  <c:v>1.89</c:v>
                </c:pt>
                <c:pt idx="18">
                  <c:v>2.44</c:v>
                </c:pt>
                <c:pt idx="19">
                  <c:v>2.74</c:v>
                </c:pt>
                <c:pt idx="20">
                  <c:v>3.05</c:v>
                </c:pt>
                <c:pt idx="21">
                  <c:v>4.3099999999999996</c:v>
                </c:pt>
                <c:pt idx="22">
                  <c:v>3.05</c:v>
                </c:pt>
                <c:pt idx="23">
                  <c:v>3.17</c:v>
                </c:pt>
                <c:pt idx="24">
                  <c:v>3.66</c:v>
                </c:pt>
                <c:pt idx="25">
                  <c:v>3.03</c:v>
                </c:pt>
                <c:pt idx="26">
                  <c:v>3.32</c:v>
                </c:pt>
                <c:pt idx="27">
                  <c:v>4.04</c:v>
                </c:pt>
                <c:pt idx="28">
                  <c:v>3.56</c:v>
                </c:pt>
                <c:pt idx="29">
                  <c:v>3.9</c:v>
                </c:pt>
                <c:pt idx="30">
                  <c:v>4.33</c:v>
                </c:pt>
                <c:pt idx="31">
                  <c:v>3</c:v>
                </c:pt>
                <c:pt idx="32">
                  <c:v>3.99</c:v>
                </c:pt>
                <c:pt idx="33">
                  <c:v>5.71</c:v>
                </c:pt>
                <c:pt idx="34">
                  <c:v>5.41</c:v>
                </c:pt>
                <c:pt idx="35">
                  <c:v>5.41</c:v>
                </c:pt>
                <c:pt idx="36">
                  <c:v>5.03</c:v>
                </c:pt>
                <c:pt idx="37">
                  <c:v>5.36</c:v>
                </c:pt>
                <c:pt idx="38">
                  <c:v>6.76</c:v>
                </c:pt>
                <c:pt idx="39">
                  <c:v>7.11</c:v>
                </c:pt>
                <c:pt idx="40">
                  <c:v>6.62</c:v>
                </c:pt>
                <c:pt idx="41">
                  <c:v>6.91</c:v>
                </c:pt>
                <c:pt idx="42">
                  <c:v>7.3</c:v>
                </c:pt>
                <c:pt idx="43">
                  <c:v>7.33</c:v>
                </c:pt>
                <c:pt idx="44">
                  <c:v>7.11</c:v>
                </c:pt>
                <c:pt idx="45">
                  <c:v>7.35</c:v>
                </c:pt>
                <c:pt idx="46">
                  <c:v>7.49</c:v>
                </c:pt>
                <c:pt idx="47">
                  <c:v>7.94</c:v>
                </c:pt>
                <c:pt idx="48">
                  <c:v>7.8</c:v>
                </c:pt>
                <c:pt idx="49">
                  <c:v>8.01</c:v>
                </c:pt>
                <c:pt idx="50">
                  <c:v>8.2200000000000006</c:v>
                </c:pt>
                <c:pt idx="51">
                  <c:v>8.6999999999999993</c:v>
                </c:pt>
                <c:pt idx="52">
                  <c:v>9.33</c:v>
                </c:pt>
                <c:pt idx="53">
                  <c:v>8.57</c:v>
                </c:pt>
                <c:pt idx="54">
                  <c:v>8.52</c:v>
                </c:pt>
                <c:pt idx="55">
                  <c:v>9.06</c:v>
                </c:pt>
                <c:pt idx="56">
                  <c:v>9.59</c:v>
                </c:pt>
                <c:pt idx="57">
                  <c:v>10.95</c:v>
                </c:pt>
                <c:pt idx="58">
                  <c:v>11.89</c:v>
                </c:pt>
                <c:pt idx="59">
                  <c:v>10.54</c:v>
                </c:pt>
                <c:pt idx="60">
                  <c:v>10.220000000000001</c:v>
                </c:pt>
                <c:pt idx="61">
                  <c:v>10.44</c:v>
                </c:pt>
                <c:pt idx="62">
                  <c:v>11.82</c:v>
                </c:pt>
                <c:pt idx="63">
                  <c:v>12.46</c:v>
                </c:pt>
                <c:pt idx="64">
                  <c:v>12.46</c:v>
                </c:pt>
                <c:pt idx="65">
                  <c:v>11.76</c:v>
                </c:pt>
                <c:pt idx="66">
                  <c:v>11.26</c:v>
                </c:pt>
                <c:pt idx="67">
                  <c:v>11.18</c:v>
                </c:pt>
                <c:pt idx="68">
                  <c:v>9.9499999999999993</c:v>
                </c:pt>
                <c:pt idx="69">
                  <c:v>10.93</c:v>
                </c:pt>
                <c:pt idx="70">
                  <c:v>11.37</c:v>
                </c:pt>
                <c:pt idx="71">
                  <c:v>10.81</c:v>
                </c:pt>
                <c:pt idx="72">
                  <c:v>9.15</c:v>
                </c:pt>
                <c:pt idx="73">
                  <c:v>8.52</c:v>
                </c:pt>
                <c:pt idx="74">
                  <c:v>6.97</c:v>
                </c:pt>
                <c:pt idx="75">
                  <c:v>6.42</c:v>
                </c:pt>
                <c:pt idx="76">
                  <c:v>5.76</c:v>
                </c:pt>
                <c:pt idx="77">
                  <c:v>5.97</c:v>
                </c:pt>
                <c:pt idx="78">
                  <c:v>6.4</c:v>
                </c:pt>
                <c:pt idx="79">
                  <c:v>7.83</c:v>
                </c:pt>
                <c:pt idx="80">
                  <c:v>9.1300000000000008</c:v>
                </c:pt>
                <c:pt idx="81">
                  <c:v>9.8699999999999992</c:v>
                </c:pt>
                <c:pt idx="82">
                  <c:v>9.73</c:v>
                </c:pt>
                <c:pt idx="83">
                  <c:v>9.18</c:v>
                </c:pt>
                <c:pt idx="84">
                  <c:v>8.98</c:v>
                </c:pt>
                <c:pt idx="85">
                  <c:v>8.7899999999999991</c:v>
                </c:pt>
                <c:pt idx="86">
                  <c:v>7.76</c:v>
                </c:pt>
                <c:pt idx="87">
                  <c:v>7.74</c:v>
                </c:pt>
                <c:pt idx="88">
                  <c:v>7.99</c:v>
                </c:pt>
                <c:pt idx="89">
                  <c:v>8.34</c:v>
                </c:pt>
                <c:pt idx="90">
                  <c:v>9.6199999999999992</c:v>
                </c:pt>
                <c:pt idx="91">
                  <c:v>9.9700000000000006</c:v>
                </c:pt>
                <c:pt idx="92">
                  <c:v>10.41</c:v>
                </c:pt>
                <c:pt idx="93">
                  <c:v>11.21</c:v>
                </c:pt>
                <c:pt idx="94">
                  <c:v>11.72</c:v>
                </c:pt>
                <c:pt idx="95">
                  <c:v>11.26</c:v>
                </c:pt>
                <c:pt idx="96">
                  <c:v>11.8</c:v>
                </c:pt>
                <c:pt idx="97">
                  <c:v>12.6</c:v>
                </c:pt>
                <c:pt idx="98">
                  <c:v>12.6</c:v>
                </c:pt>
                <c:pt idx="99">
                  <c:v>13.28</c:v>
                </c:pt>
                <c:pt idx="100">
                  <c:v>11.92</c:v>
                </c:pt>
                <c:pt idx="101">
                  <c:v>12.56</c:v>
                </c:pt>
                <c:pt idx="102">
                  <c:v>12</c:v>
                </c:pt>
                <c:pt idx="103">
                  <c:v>10.31</c:v>
                </c:pt>
                <c:pt idx="104">
                  <c:v>11.07</c:v>
                </c:pt>
                <c:pt idx="105">
                  <c:v>11.07</c:v>
                </c:pt>
                <c:pt idx="106">
                  <c:v>9.84</c:v>
                </c:pt>
                <c:pt idx="107">
                  <c:v>8.92</c:v>
                </c:pt>
                <c:pt idx="108">
                  <c:v>9.6</c:v>
                </c:pt>
                <c:pt idx="109">
                  <c:v>11.16</c:v>
                </c:pt>
                <c:pt idx="110">
                  <c:v>10.5</c:v>
                </c:pt>
                <c:pt idx="111">
                  <c:v>10.02</c:v>
                </c:pt>
                <c:pt idx="112">
                  <c:v>10.26</c:v>
                </c:pt>
                <c:pt idx="113">
                  <c:v>10.27</c:v>
                </c:pt>
                <c:pt idx="114">
                  <c:v>10.71</c:v>
                </c:pt>
                <c:pt idx="115">
                  <c:v>10.28</c:v>
                </c:pt>
                <c:pt idx="116">
                  <c:v>8.9499999999999993</c:v>
                </c:pt>
                <c:pt idx="117">
                  <c:v>9.0399999999999991</c:v>
                </c:pt>
                <c:pt idx="118">
                  <c:v>8.83</c:v>
                </c:pt>
                <c:pt idx="119">
                  <c:v>8.5299999999999994</c:v>
                </c:pt>
                <c:pt idx="120">
                  <c:v>9.42</c:v>
                </c:pt>
                <c:pt idx="121">
                  <c:v>10.119999999999999</c:v>
                </c:pt>
                <c:pt idx="122">
                  <c:v>10.119999999999999</c:v>
                </c:pt>
                <c:pt idx="123">
                  <c:v>10.73</c:v>
                </c:pt>
                <c:pt idx="124">
                  <c:v>10.38</c:v>
                </c:pt>
                <c:pt idx="125">
                  <c:v>11.44</c:v>
                </c:pt>
                <c:pt idx="126">
                  <c:v>10.52</c:v>
                </c:pt>
                <c:pt idx="127">
                  <c:v>10</c:v>
                </c:pt>
                <c:pt idx="128">
                  <c:v>9.73</c:v>
                </c:pt>
                <c:pt idx="129">
                  <c:v>10.17</c:v>
                </c:pt>
                <c:pt idx="130">
                  <c:v>10.42</c:v>
                </c:pt>
                <c:pt idx="131">
                  <c:v>11.64</c:v>
                </c:pt>
                <c:pt idx="132">
                  <c:v>11.52</c:v>
                </c:pt>
                <c:pt idx="133">
                  <c:v>11.52</c:v>
                </c:pt>
                <c:pt idx="134">
                  <c:v>11.27</c:v>
                </c:pt>
                <c:pt idx="135">
                  <c:v>11.1</c:v>
                </c:pt>
                <c:pt idx="136">
                  <c:v>11.83</c:v>
                </c:pt>
                <c:pt idx="137">
                  <c:v>12.3</c:v>
                </c:pt>
                <c:pt idx="138">
                  <c:v>13.25</c:v>
                </c:pt>
                <c:pt idx="139">
                  <c:v>13.5</c:v>
                </c:pt>
                <c:pt idx="140">
                  <c:v>15.13</c:v>
                </c:pt>
                <c:pt idx="141">
                  <c:v>16.53</c:v>
                </c:pt>
                <c:pt idx="142">
                  <c:v>17.53</c:v>
                </c:pt>
                <c:pt idx="143">
                  <c:v>16.02</c:v>
                </c:pt>
                <c:pt idx="144">
                  <c:v>14.86</c:v>
                </c:pt>
                <c:pt idx="145">
                  <c:v>15.59</c:v>
                </c:pt>
                <c:pt idx="146">
                  <c:v>15.68</c:v>
                </c:pt>
                <c:pt idx="147">
                  <c:v>14.31</c:v>
                </c:pt>
                <c:pt idx="148">
                  <c:v>14.64</c:v>
                </c:pt>
                <c:pt idx="149">
                  <c:v>16.34</c:v>
                </c:pt>
                <c:pt idx="150">
                  <c:v>16.11</c:v>
                </c:pt>
                <c:pt idx="151">
                  <c:v>17.489999999999998</c:v>
                </c:pt>
                <c:pt idx="152">
                  <c:v>17.29</c:v>
                </c:pt>
                <c:pt idx="153">
                  <c:v>15.67</c:v>
                </c:pt>
                <c:pt idx="154">
                  <c:v>12.87</c:v>
                </c:pt>
                <c:pt idx="155">
                  <c:v>9.61</c:v>
                </c:pt>
                <c:pt idx="156">
                  <c:v>11.22</c:v>
                </c:pt>
                <c:pt idx="157">
                  <c:v>11.29</c:v>
                </c:pt>
                <c:pt idx="158">
                  <c:v>13.1</c:v>
                </c:pt>
                <c:pt idx="159">
                  <c:v>13.58</c:v>
                </c:pt>
                <c:pt idx="160">
                  <c:v>13.03</c:v>
                </c:pt>
                <c:pt idx="161">
                  <c:v>13.99</c:v>
                </c:pt>
                <c:pt idx="162">
                  <c:v>15.45</c:v>
                </c:pt>
                <c:pt idx="163">
                  <c:v>16.52</c:v>
                </c:pt>
                <c:pt idx="164">
                  <c:v>17.25</c:v>
                </c:pt>
                <c:pt idx="165">
                  <c:v>17.96</c:v>
                </c:pt>
                <c:pt idx="166">
                  <c:v>17.579999999999998</c:v>
                </c:pt>
                <c:pt idx="167">
                  <c:v>17.43</c:v>
                </c:pt>
                <c:pt idx="168">
                  <c:v>17.989999999999998</c:v>
                </c:pt>
                <c:pt idx="169">
                  <c:v>19.059999999999999</c:v>
                </c:pt>
                <c:pt idx="170">
                  <c:v>19.440000000000001</c:v>
                </c:pt>
                <c:pt idx="171">
                  <c:v>20.02</c:v>
                </c:pt>
                <c:pt idx="172">
                  <c:v>20.39</c:v>
                </c:pt>
                <c:pt idx="173">
                  <c:v>21.41</c:v>
                </c:pt>
                <c:pt idx="174">
                  <c:v>22.58</c:v>
                </c:pt>
                <c:pt idx="175">
                  <c:v>22.58</c:v>
                </c:pt>
                <c:pt idx="176">
                  <c:v>21.72</c:v>
                </c:pt>
                <c:pt idx="177">
                  <c:v>21.83</c:v>
                </c:pt>
                <c:pt idx="178">
                  <c:v>20.57</c:v>
                </c:pt>
                <c:pt idx="179">
                  <c:v>18.72</c:v>
                </c:pt>
                <c:pt idx="180">
                  <c:v>20.399999999999999</c:v>
                </c:pt>
                <c:pt idx="181">
                  <c:v>19.23</c:v>
                </c:pt>
                <c:pt idx="182">
                  <c:v>18.77</c:v>
                </c:pt>
                <c:pt idx="183">
                  <c:v>18.91</c:v>
                </c:pt>
                <c:pt idx="184">
                  <c:v>19.34</c:v>
                </c:pt>
                <c:pt idx="185">
                  <c:v>20.8</c:v>
                </c:pt>
                <c:pt idx="186">
                  <c:v>21.43</c:v>
                </c:pt>
                <c:pt idx="187">
                  <c:v>21.09</c:v>
                </c:pt>
                <c:pt idx="188">
                  <c:v>22.51</c:v>
                </c:pt>
                <c:pt idx="189">
                  <c:v>22.15</c:v>
                </c:pt>
                <c:pt idx="190">
                  <c:v>22.28</c:v>
                </c:pt>
                <c:pt idx="191">
                  <c:v>21.16</c:v>
                </c:pt>
                <c:pt idx="192">
                  <c:v>20.43</c:v>
                </c:pt>
                <c:pt idx="193">
                  <c:v>21.08</c:v>
                </c:pt>
                <c:pt idx="194">
                  <c:v>21.51</c:v>
                </c:pt>
                <c:pt idx="195">
                  <c:v>21.91</c:v>
                </c:pt>
                <c:pt idx="196">
                  <c:v>21.25</c:v>
                </c:pt>
                <c:pt idx="197">
                  <c:v>21.37</c:v>
                </c:pt>
                <c:pt idx="198">
                  <c:v>20.82</c:v>
                </c:pt>
                <c:pt idx="199">
                  <c:v>22.89</c:v>
                </c:pt>
                <c:pt idx="200">
                  <c:v>21.36</c:v>
                </c:pt>
                <c:pt idx="201">
                  <c:v>22.05</c:v>
                </c:pt>
                <c:pt idx="202">
                  <c:v>23.12</c:v>
                </c:pt>
                <c:pt idx="203">
                  <c:v>22.73</c:v>
                </c:pt>
                <c:pt idx="204">
                  <c:v>25.12</c:v>
                </c:pt>
                <c:pt idx="205">
                  <c:v>25.85</c:v>
                </c:pt>
                <c:pt idx="206">
                  <c:v>26.17</c:v>
                </c:pt>
                <c:pt idx="207">
                  <c:v>27.73</c:v>
                </c:pt>
                <c:pt idx="208">
                  <c:v>28.14</c:v>
                </c:pt>
                <c:pt idx="209">
                  <c:v>28.17</c:v>
                </c:pt>
                <c:pt idx="210">
                  <c:v>27.05</c:v>
                </c:pt>
                <c:pt idx="211">
                  <c:v>26.9</c:v>
                </c:pt>
                <c:pt idx="212">
                  <c:v>26.74</c:v>
                </c:pt>
                <c:pt idx="213">
                  <c:v>26.84</c:v>
                </c:pt>
                <c:pt idx="214">
                  <c:v>25.51</c:v>
                </c:pt>
                <c:pt idx="215">
                  <c:v>26.95</c:v>
                </c:pt>
                <c:pt idx="216">
                  <c:v>26.18</c:v>
                </c:pt>
                <c:pt idx="217">
                  <c:v>26.71</c:v>
                </c:pt>
                <c:pt idx="218">
                  <c:v>25.19</c:v>
                </c:pt>
                <c:pt idx="219">
                  <c:v>25.33</c:v>
                </c:pt>
                <c:pt idx="220">
                  <c:v>24.47</c:v>
                </c:pt>
                <c:pt idx="221">
                  <c:v>25.71</c:v>
                </c:pt>
                <c:pt idx="222">
                  <c:v>33.450000000000003</c:v>
                </c:pt>
                <c:pt idx="223">
                  <c:v>31.29</c:v>
                </c:pt>
                <c:pt idx="224">
                  <c:v>32.35</c:v>
                </c:pt>
                <c:pt idx="225">
                  <c:v>34.22</c:v>
                </c:pt>
                <c:pt idx="226">
                  <c:v>33.81</c:v>
                </c:pt>
                <c:pt idx="227">
                  <c:v>33.89</c:v>
                </c:pt>
                <c:pt idx="228">
                  <c:v>33.549999999999997</c:v>
                </c:pt>
                <c:pt idx="229">
                  <c:v>34.26</c:v>
                </c:pt>
                <c:pt idx="230">
                  <c:v>34.56</c:v>
                </c:pt>
                <c:pt idx="231">
                  <c:v>33.71</c:v>
                </c:pt>
                <c:pt idx="232">
                  <c:v>33.35</c:v>
                </c:pt>
                <c:pt idx="233">
                  <c:v>35.049999999999997</c:v>
                </c:pt>
                <c:pt idx="234">
                  <c:v>36.54</c:v>
                </c:pt>
                <c:pt idx="235">
                  <c:v>37.380000000000003</c:v>
                </c:pt>
              </c:numCache>
            </c:numRef>
          </c:val>
          <c:smooth val="0"/>
          <c:extLst>
            <c:ext xmlns:c16="http://schemas.microsoft.com/office/drawing/2014/chart" uri="{C3380CC4-5D6E-409C-BE32-E72D297353CC}">
              <c16:uniqueId val="{00000002-0B6E-40B7-9F22-939593C9B017}"/>
            </c:ext>
          </c:extLst>
        </c:ser>
        <c:ser>
          <c:idx val="2"/>
          <c:order val="3"/>
          <c:tx>
            <c:strRef>
              <c:f>Sheet1!$L$4</c:f>
              <c:strCache>
                <c:ptCount val="1"/>
                <c:pt idx="0">
                  <c:v>Stoxx 600 Finanzen (EUR)</c:v>
                </c:pt>
              </c:strCache>
            </c:strRef>
          </c:tx>
          <c:spPr>
            <a:ln w="28575" cap="rnd">
              <a:solidFill>
                <a:schemeClr val="accent3"/>
              </a:solidFill>
              <a:round/>
            </a:ln>
            <a:effectLst/>
          </c:spPr>
          <c:marker>
            <c:symbol val="none"/>
          </c:marker>
          <c:cat>
            <c:numRef>
              <c:f>Sheet1!$I$7:$I$242</c:f>
              <c:numCache>
                <c:formatCode>m/d/yyyy</c:formatCode>
                <c:ptCount val="236"/>
                <c:pt idx="0">
                  <c:v>45292</c:v>
                </c:pt>
                <c:pt idx="1">
                  <c:v>45293</c:v>
                </c:pt>
                <c:pt idx="2">
                  <c:v>45294</c:v>
                </c:pt>
                <c:pt idx="3">
                  <c:v>45295</c:v>
                </c:pt>
                <c:pt idx="4">
                  <c:v>45296</c:v>
                </c:pt>
                <c:pt idx="5">
                  <c:v>45299</c:v>
                </c:pt>
                <c:pt idx="6">
                  <c:v>45300</c:v>
                </c:pt>
                <c:pt idx="7">
                  <c:v>45301</c:v>
                </c:pt>
                <c:pt idx="8">
                  <c:v>45302</c:v>
                </c:pt>
                <c:pt idx="9">
                  <c:v>45303</c:v>
                </c:pt>
                <c:pt idx="10">
                  <c:v>45306</c:v>
                </c:pt>
                <c:pt idx="11">
                  <c:v>45307</c:v>
                </c:pt>
                <c:pt idx="12">
                  <c:v>45308</c:v>
                </c:pt>
                <c:pt idx="13">
                  <c:v>45309</c:v>
                </c:pt>
                <c:pt idx="14">
                  <c:v>45310</c:v>
                </c:pt>
                <c:pt idx="15">
                  <c:v>45313</c:v>
                </c:pt>
                <c:pt idx="16">
                  <c:v>45314</c:v>
                </c:pt>
                <c:pt idx="17">
                  <c:v>45315</c:v>
                </c:pt>
                <c:pt idx="18">
                  <c:v>45316</c:v>
                </c:pt>
                <c:pt idx="19">
                  <c:v>45317</c:v>
                </c:pt>
                <c:pt idx="20">
                  <c:v>45320</c:v>
                </c:pt>
                <c:pt idx="21">
                  <c:v>45321</c:v>
                </c:pt>
                <c:pt idx="22">
                  <c:v>45322</c:v>
                </c:pt>
                <c:pt idx="23">
                  <c:v>45323</c:v>
                </c:pt>
                <c:pt idx="24">
                  <c:v>45324</c:v>
                </c:pt>
                <c:pt idx="25">
                  <c:v>45327</c:v>
                </c:pt>
                <c:pt idx="26">
                  <c:v>45328</c:v>
                </c:pt>
                <c:pt idx="27">
                  <c:v>45329</c:v>
                </c:pt>
                <c:pt idx="28">
                  <c:v>45330</c:v>
                </c:pt>
                <c:pt idx="29">
                  <c:v>45331</c:v>
                </c:pt>
                <c:pt idx="30">
                  <c:v>45334</c:v>
                </c:pt>
                <c:pt idx="31">
                  <c:v>45335</c:v>
                </c:pt>
                <c:pt idx="32">
                  <c:v>45336</c:v>
                </c:pt>
                <c:pt idx="33">
                  <c:v>45337</c:v>
                </c:pt>
                <c:pt idx="34">
                  <c:v>45338</c:v>
                </c:pt>
                <c:pt idx="35">
                  <c:v>45341</c:v>
                </c:pt>
                <c:pt idx="36">
                  <c:v>45342</c:v>
                </c:pt>
                <c:pt idx="37">
                  <c:v>45343</c:v>
                </c:pt>
                <c:pt idx="38">
                  <c:v>45344</c:v>
                </c:pt>
                <c:pt idx="39">
                  <c:v>45345</c:v>
                </c:pt>
                <c:pt idx="40">
                  <c:v>45348</c:v>
                </c:pt>
                <c:pt idx="41">
                  <c:v>45349</c:v>
                </c:pt>
                <c:pt idx="42">
                  <c:v>45350</c:v>
                </c:pt>
                <c:pt idx="43">
                  <c:v>45351</c:v>
                </c:pt>
                <c:pt idx="44">
                  <c:v>45352</c:v>
                </c:pt>
                <c:pt idx="45">
                  <c:v>45355</c:v>
                </c:pt>
                <c:pt idx="46">
                  <c:v>45356</c:v>
                </c:pt>
                <c:pt idx="47">
                  <c:v>45357</c:v>
                </c:pt>
                <c:pt idx="48">
                  <c:v>45358</c:v>
                </c:pt>
                <c:pt idx="49">
                  <c:v>45359</c:v>
                </c:pt>
                <c:pt idx="50">
                  <c:v>45362</c:v>
                </c:pt>
                <c:pt idx="51">
                  <c:v>45363</c:v>
                </c:pt>
                <c:pt idx="52">
                  <c:v>45364</c:v>
                </c:pt>
                <c:pt idx="53">
                  <c:v>45365</c:v>
                </c:pt>
                <c:pt idx="54">
                  <c:v>45366</c:v>
                </c:pt>
                <c:pt idx="55">
                  <c:v>45369</c:v>
                </c:pt>
                <c:pt idx="56">
                  <c:v>45370</c:v>
                </c:pt>
                <c:pt idx="57">
                  <c:v>45371</c:v>
                </c:pt>
                <c:pt idx="58">
                  <c:v>45372</c:v>
                </c:pt>
                <c:pt idx="59">
                  <c:v>45373</c:v>
                </c:pt>
                <c:pt idx="60">
                  <c:v>45376</c:v>
                </c:pt>
                <c:pt idx="61">
                  <c:v>45377</c:v>
                </c:pt>
                <c:pt idx="62">
                  <c:v>45378</c:v>
                </c:pt>
                <c:pt idx="63">
                  <c:v>45379</c:v>
                </c:pt>
                <c:pt idx="64">
                  <c:v>45380</c:v>
                </c:pt>
                <c:pt idx="65">
                  <c:v>45383</c:v>
                </c:pt>
                <c:pt idx="66">
                  <c:v>45384</c:v>
                </c:pt>
                <c:pt idx="67">
                  <c:v>45385</c:v>
                </c:pt>
                <c:pt idx="68">
                  <c:v>45386</c:v>
                </c:pt>
                <c:pt idx="69">
                  <c:v>45387</c:v>
                </c:pt>
                <c:pt idx="70">
                  <c:v>45390</c:v>
                </c:pt>
                <c:pt idx="71">
                  <c:v>45391</c:v>
                </c:pt>
                <c:pt idx="72">
                  <c:v>45392</c:v>
                </c:pt>
                <c:pt idx="73">
                  <c:v>45393</c:v>
                </c:pt>
                <c:pt idx="74">
                  <c:v>45394</c:v>
                </c:pt>
                <c:pt idx="75">
                  <c:v>45397</c:v>
                </c:pt>
                <c:pt idx="76">
                  <c:v>45398</c:v>
                </c:pt>
                <c:pt idx="77">
                  <c:v>45399</c:v>
                </c:pt>
                <c:pt idx="78">
                  <c:v>45400</c:v>
                </c:pt>
                <c:pt idx="79">
                  <c:v>45401</c:v>
                </c:pt>
                <c:pt idx="80">
                  <c:v>45404</c:v>
                </c:pt>
                <c:pt idx="81">
                  <c:v>45405</c:v>
                </c:pt>
                <c:pt idx="82">
                  <c:v>45406</c:v>
                </c:pt>
                <c:pt idx="83">
                  <c:v>45407</c:v>
                </c:pt>
                <c:pt idx="84">
                  <c:v>45408</c:v>
                </c:pt>
                <c:pt idx="85">
                  <c:v>45411</c:v>
                </c:pt>
                <c:pt idx="86">
                  <c:v>45412</c:v>
                </c:pt>
                <c:pt idx="87">
                  <c:v>45413</c:v>
                </c:pt>
                <c:pt idx="88">
                  <c:v>45414</c:v>
                </c:pt>
                <c:pt idx="89">
                  <c:v>45415</c:v>
                </c:pt>
                <c:pt idx="90">
                  <c:v>45418</c:v>
                </c:pt>
                <c:pt idx="91">
                  <c:v>45419</c:v>
                </c:pt>
                <c:pt idx="92">
                  <c:v>45420</c:v>
                </c:pt>
                <c:pt idx="93">
                  <c:v>45421</c:v>
                </c:pt>
                <c:pt idx="94">
                  <c:v>45422</c:v>
                </c:pt>
                <c:pt idx="95">
                  <c:v>45425</c:v>
                </c:pt>
                <c:pt idx="96">
                  <c:v>45426</c:v>
                </c:pt>
                <c:pt idx="97">
                  <c:v>45427</c:v>
                </c:pt>
                <c:pt idx="98">
                  <c:v>45428</c:v>
                </c:pt>
                <c:pt idx="99">
                  <c:v>45429</c:v>
                </c:pt>
                <c:pt idx="100">
                  <c:v>45432</c:v>
                </c:pt>
                <c:pt idx="101">
                  <c:v>45433</c:v>
                </c:pt>
                <c:pt idx="102">
                  <c:v>45434</c:v>
                </c:pt>
                <c:pt idx="103">
                  <c:v>45435</c:v>
                </c:pt>
                <c:pt idx="104">
                  <c:v>45436</c:v>
                </c:pt>
                <c:pt idx="105">
                  <c:v>45439</c:v>
                </c:pt>
                <c:pt idx="106">
                  <c:v>45440</c:v>
                </c:pt>
                <c:pt idx="107">
                  <c:v>45441</c:v>
                </c:pt>
                <c:pt idx="108">
                  <c:v>45442</c:v>
                </c:pt>
                <c:pt idx="109">
                  <c:v>45443</c:v>
                </c:pt>
                <c:pt idx="110">
                  <c:v>45446</c:v>
                </c:pt>
                <c:pt idx="111">
                  <c:v>45447</c:v>
                </c:pt>
                <c:pt idx="112">
                  <c:v>45448</c:v>
                </c:pt>
                <c:pt idx="113">
                  <c:v>45449</c:v>
                </c:pt>
                <c:pt idx="114">
                  <c:v>45450</c:v>
                </c:pt>
                <c:pt idx="115">
                  <c:v>45453</c:v>
                </c:pt>
                <c:pt idx="116">
                  <c:v>45454</c:v>
                </c:pt>
                <c:pt idx="117">
                  <c:v>45455</c:v>
                </c:pt>
                <c:pt idx="118">
                  <c:v>45456</c:v>
                </c:pt>
                <c:pt idx="119">
                  <c:v>45457</c:v>
                </c:pt>
                <c:pt idx="120">
                  <c:v>45460</c:v>
                </c:pt>
                <c:pt idx="121">
                  <c:v>45461</c:v>
                </c:pt>
                <c:pt idx="122">
                  <c:v>45462</c:v>
                </c:pt>
                <c:pt idx="123">
                  <c:v>45463</c:v>
                </c:pt>
                <c:pt idx="124">
                  <c:v>45464</c:v>
                </c:pt>
                <c:pt idx="125">
                  <c:v>45467</c:v>
                </c:pt>
                <c:pt idx="126">
                  <c:v>45468</c:v>
                </c:pt>
                <c:pt idx="127">
                  <c:v>45469</c:v>
                </c:pt>
                <c:pt idx="128">
                  <c:v>45470</c:v>
                </c:pt>
                <c:pt idx="129">
                  <c:v>45471</c:v>
                </c:pt>
                <c:pt idx="130">
                  <c:v>45474</c:v>
                </c:pt>
                <c:pt idx="131">
                  <c:v>45475</c:v>
                </c:pt>
                <c:pt idx="132">
                  <c:v>45476</c:v>
                </c:pt>
                <c:pt idx="133">
                  <c:v>45477</c:v>
                </c:pt>
                <c:pt idx="134">
                  <c:v>45478</c:v>
                </c:pt>
                <c:pt idx="135">
                  <c:v>45481</c:v>
                </c:pt>
                <c:pt idx="136">
                  <c:v>45482</c:v>
                </c:pt>
                <c:pt idx="137">
                  <c:v>45483</c:v>
                </c:pt>
                <c:pt idx="138">
                  <c:v>45484</c:v>
                </c:pt>
                <c:pt idx="139">
                  <c:v>45485</c:v>
                </c:pt>
                <c:pt idx="140">
                  <c:v>45488</c:v>
                </c:pt>
                <c:pt idx="141">
                  <c:v>45489</c:v>
                </c:pt>
                <c:pt idx="142">
                  <c:v>45490</c:v>
                </c:pt>
                <c:pt idx="143">
                  <c:v>45491</c:v>
                </c:pt>
                <c:pt idx="144">
                  <c:v>45492</c:v>
                </c:pt>
                <c:pt idx="145">
                  <c:v>45495</c:v>
                </c:pt>
                <c:pt idx="146">
                  <c:v>45496</c:v>
                </c:pt>
                <c:pt idx="147">
                  <c:v>45497</c:v>
                </c:pt>
                <c:pt idx="148">
                  <c:v>45498</c:v>
                </c:pt>
                <c:pt idx="149">
                  <c:v>45499</c:v>
                </c:pt>
                <c:pt idx="150">
                  <c:v>45502</c:v>
                </c:pt>
                <c:pt idx="151">
                  <c:v>45503</c:v>
                </c:pt>
                <c:pt idx="152">
                  <c:v>45504</c:v>
                </c:pt>
                <c:pt idx="153">
                  <c:v>45505</c:v>
                </c:pt>
                <c:pt idx="154">
                  <c:v>45506</c:v>
                </c:pt>
                <c:pt idx="155">
                  <c:v>45509</c:v>
                </c:pt>
                <c:pt idx="156">
                  <c:v>45510</c:v>
                </c:pt>
                <c:pt idx="157">
                  <c:v>45511</c:v>
                </c:pt>
                <c:pt idx="158">
                  <c:v>45512</c:v>
                </c:pt>
                <c:pt idx="159">
                  <c:v>45513</c:v>
                </c:pt>
                <c:pt idx="160">
                  <c:v>45516</c:v>
                </c:pt>
                <c:pt idx="161">
                  <c:v>45517</c:v>
                </c:pt>
                <c:pt idx="162">
                  <c:v>45518</c:v>
                </c:pt>
                <c:pt idx="163">
                  <c:v>45519</c:v>
                </c:pt>
                <c:pt idx="164">
                  <c:v>45520</c:v>
                </c:pt>
                <c:pt idx="165">
                  <c:v>45523</c:v>
                </c:pt>
                <c:pt idx="166">
                  <c:v>45524</c:v>
                </c:pt>
                <c:pt idx="167">
                  <c:v>45525</c:v>
                </c:pt>
                <c:pt idx="168">
                  <c:v>45526</c:v>
                </c:pt>
                <c:pt idx="169">
                  <c:v>45527</c:v>
                </c:pt>
                <c:pt idx="170">
                  <c:v>45530</c:v>
                </c:pt>
                <c:pt idx="171">
                  <c:v>45531</c:v>
                </c:pt>
                <c:pt idx="172">
                  <c:v>45532</c:v>
                </c:pt>
                <c:pt idx="173">
                  <c:v>45533</c:v>
                </c:pt>
                <c:pt idx="174">
                  <c:v>45534</c:v>
                </c:pt>
                <c:pt idx="175">
                  <c:v>45537</c:v>
                </c:pt>
                <c:pt idx="176">
                  <c:v>45538</c:v>
                </c:pt>
                <c:pt idx="177">
                  <c:v>45539</c:v>
                </c:pt>
                <c:pt idx="178">
                  <c:v>45540</c:v>
                </c:pt>
                <c:pt idx="179">
                  <c:v>45541</c:v>
                </c:pt>
                <c:pt idx="180">
                  <c:v>45544</c:v>
                </c:pt>
                <c:pt idx="181">
                  <c:v>45545</c:v>
                </c:pt>
                <c:pt idx="182">
                  <c:v>45546</c:v>
                </c:pt>
                <c:pt idx="183">
                  <c:v>45547</c:v>
                </c:pt>
                <c:pt idx="184">
                  <c:v>45548</c:v>
                </c:pt>
                <c:pt idx="185">
                  <c:v>45551</c:v>
                </c:pt>
                <c:pt idx="186">
                  <c:v>45552</c:v>
                </c:pt>
                <c:pt idx="187">
                  <c:v>45553</c:v>
                </c:pt>
                <c:pt idx="188">
                  <c:v>45554</c:v>
                </c:pt>
                <c:pt idx="189">
                  <c:v>45555</c:v>
                </c:pt>
                <c:pt idx="190">
                  <c:v>45558</c:v>
                </c:pt>
                <c:pt idx="191">
                  <c:v>45559</c:v>
                </c:pt>
                <c:pt idx="192">
                  <c:v>45560</c:v>
                </c:pt>
                <c:pt idx="193">
                  <c:v>45561</c:v>
                </c:pt>
                <c:pt idx="194">
                  <c:v>45562</c:v>
                </c:pt>
                <c:pt idx="195">
                  <c:v>45565</c:v>
                </c:pt>
                <c:pt idx="196">
                  <c:v>45566</c:v>
                </c:pt>
                <c:pt idx="197">
                  <c:v>45567</c:v>
                </c:pt>
                <c:pt idx="198">
                  <c:v>45568</c:v>
                </c:pt>
                <c:pt idx="199">
                  <c:v>45569</c:v>
                </c:pt>
                <c:pt idx="200">
                  <c:v>45572</c:v>
                </c:pt>
                <c:pt idx="201">
                  <c:v>45573</c:v>
                </c:pt>
                <c:pt idx="202">
                  <c:v>45574</c:v>
                </c:pt>
                <c:pt idx="203">
                  <c:v>45575</c:v>
                </c:pt>
                <c:pt idx="204">
                  <c:v>45576</c:v>
                </c:pt>
                <c:pt idx="205">
                  <c:v>45579</c:v>
                </c:pt>
                <c:pt idx="206">
                  <c:v>45580</c:v>
                </c:pt>
                <c:pt idx="207">
                  <c:v>45581</c:v>
                </c:pt>
                <c:pt idx="208">
                  <c:v>45582</c:v>
                </c:pt>
                <c:pt idx="209">
                  <c:v>45583</c:v>
                </c:pt>
                <c:pt idx="210">
                  <c:v>45586</c:v>
                </c:pt>
                <c:pt idx="211">
                  <c:v>45587</c:v>
                </c:pt>
                <c:pt idx="212">
                  <c:v>45588</c:v>
                </c:pt>
                <c:pt idx="213">
                  <c:v>45589</c:v>
                </c:pt>
                <c:pt idx="214">
                  <c:v>45590</c:v>
                </c:pt>
                <c:pt idx="215">
                  <c:v>45593</c:v>
                </c:pt>
                <c:pt idx="216">
                  <c:v>45594</c:v>
                </c:pt>
                <c:pt idx="217">
                  <c:v>45595</c:v>
                </c:pt>
                <c:pt idx="218">
                  <c:v>45596</c:v>
                </c:pt>
                <c:pt idx="219">
                  <c:v>45597</c:v>
                </c:pt>
                <c:pt idx="220">
                  <c:v>45600</c:v>
                </c:pt>
                <c:pt idx="221">
                  <c:v>45601</c:v>
                </c:pt>
                <c:pt idx="222">
                  <c:v>45602</c:v>
                </c:pt>
                <c:pt idx="223">
                  <c:v>45603</c:v>
                </c:pt>
                <c:pt idx="224">
                  <c:v>45604</c:v>
                </c:pt>
                <c:pt idx="225">
                  <c:v>45607</c:v>
                </c:pt>
                <c:pt idx="226">
                  <c:v>45608</c:v>
                </c:pt>
                <c:pt idx="227">
                  <c:v>45609</c:v>
                </c:pt>
                <c:pt idx="228">
                  <c:v>45610</c:v>
                </c:pt>
                <c:pt idx="229">
                  <c:v>45611</c:v>
                </c:pt>
                <c:pt idx="230">
                  <c:v>45614</c:v>
                </c:pt>
                <c:pt idx="231">
                  <c:v>45615</c:v>
                </c:pt>
                <c:pt idx="232">
                  <c:v>45616</c:v>
                </c:pt>
                <c:pt idx="233">
                  <c:v>45617</c:v>
                </c:pt>
                <c:pt idx="234">
                  <c:v>45618</c:v>
                </c:pt>
                <c:pt idx="235">
                  <c:v>45621</c:v>
                </c:pt>
              </c:numCache>
            </c:numRef>
          </c:cat>
          <c:val>
            <c:numRef>
              <c:f>Sheet1!$L$7:$L$242</c:f>
              <c:numCache>
                <c:formatCode>General</c:formatCode>
                <c:ptCount val="236"/>
                <c:pt idx="0">
                  <c:v>0</c:v>
                </c:pt>
                <c:pt idx="1">
                  <c:v>0.34</c:v>
                </c:pt>
                <c:pt idx="2">
                  <c:v>-0.74</c:v>
                </c:pt>
                <c:pt idx="3">
                  <c:v>0.55000000000000004</c:v>
                </c:pt>
                <c:pt idx="4">
                  <c:v>0.6</c:v>
                </c:pt>
                <c:pt idx="5">
                  <c:v>1.0900000000000001</c:v>
                </c:pt>
                <c:pt idx="6">
                  <c:v>0.33</c:v>
                </c:pt>
                <c:pt idx="7">
                  <c:v>-0.1</c:v>
                </c:pt>
                <c:pt idx="8">
                  <c:v>-1.51</c:v>
                </c:pt>
                <c:pt idx="9">
                  <c:v>-0.83</c:v>
                </c:pt>
                <c:pt idx="10">
                  <c:v>-1.21</c:v>
                </c:pt>
                <c:pt idx="11">
                  <c:v>-1.76</c:v>
                </c:pt>
                <c:pt idx="12">
                  <c:v>-2.44</c:v>
                </c:pt>
                <c:pt idx="13">
                  <c:v>-1.9</c:v>
                </c:pt>
                <c:pt idx="14">
                  <c:v>-1.91</c:v>
                </c:pt>
                <c:pt idx="15">
                  <c:v>-0.64</c:v>
                </c:pt>
                <c:pt idx="16">
                  <c:v>-1.01</c:v>
                </c:pt>
                <c:pt idx="17">
                  <c:v>0.09</c:v>
                </c:pt>
                <c:pt idx="18">
                  <c:v>0.01</c:v>
                </c:pt>
                <c:pt idx="19">
                  <c:v>0.74</c:v>
                </c:pt>
                <c:pt idx="20">
                  <c:v>0.38</c:v>
                </c:pt>
                <c:pt idx="21">
                  <c:v>1.1100000000000001</c:v>
                </c:pt>
                <c:pt idx="22">
                  <c:v>1.3</c:v>
                </c:pt>
                <c:pt idx="23">
                  <c:v>-0.36</c:v>
                </c:pt>
                <c:pt idx="24">
                  <c:v>0.35</c:v>
                </c:pt>
                <c:pt idx="25">
                  <c:v>-0.02</c:v>
                </c:pt>
                <c:pt idx="26">
                  <c:v>0.33</c:v>
                </c:pt>
                <c:pt idx="27">
                  <c:v>-0.35</c:v>
                </c:pt>
                <c:pt idx="28">
                  <c:v>-0.79</c:v>
                </c:pt>
                <c:pt idx="29">
                  <c:v>-1.08</c:v>
                </c:pt>
                <c:pt idx="30">
                  <c:v>-0.01</c:v>
                </c:pt>
                <c:pt idx="31">
                  <c:v>-0.48</c:v>
                </c:pt>
                <c:pt idx="32">
                  <c:v>-0.11</c:v>
                </c:pt>
                <c:pt idx="33">
                  <c:v>0.51</c:v>
                </c:pt>
                <c:pt idx="34">
                  <c:v>1.18</c:v>
                </c:pt>
                <c:pt idx="35">
                  <c:v>1.29</c:v>
                </c:pt>
                <c:pt idx="36">
                  <c:v>1.92</c:v>
                </c:pt>
                <c:pt idx="37">
                  <c:v>1.41</c:v>
                </c:pt>
                <c:pt idx="38">
                  <c:v>2.41</c:v>
                </c:pt>
                <c:pt idx="39">
                  <c:v>3.02</c:v>
                </c:pt>
                <c:pt idx="40">
                  <c:v>2.81</c:v>
                </c:pt>
                <c:pt idx="41">
                  <c:v>2.99</c:v>
                </c:pt>
                <c:pt idx="42">
                  <c:v>3.31</c:v>
                </c:pt>
                <c:pt idx="43">
                  <c:v>3.69</c:v>
                </c:pt>
                <c:pt idx="44">
                  <c:v>4.12</c:v>
                </c:pt>
                <c:pt idx="45">
                  <c:v>4.1500000000000004</c:v>
                </c:pt>
                <c:pt idx="46">
                  <c:v>4.5199999999999996</c:v>
                </c:pt>
                <c:pt idx="47">
                  <c:v>5.04</c:v>
                </c:pt>
                <c:pt idx="48">
                  <c:v>5.81</c:v>
                </c:pt>
                <c:pt idx="49">
                  <c:v>6.26</c:v>
                </c:pt>
                <c:pt idx="50">
                  <c:v>6.2</c:v>
                </c:pt>
                <c:pt idx="51">
                  <c:v>7.94</c:v>
                </c:pt>
                <c:pt idx="52">
                  <c:v>8.06</c:v>
                </c:pt>
                <c:pt idx="53">
                  <c:v>7.62</c:v>
                </c:pt>
                <c:pt idx="54">
                  <c:v>8.39</c:v>
                </c:pt>
                <c:pt idx="55">
                  <c:v>8.19</c:v>
                </c:pt>
                <c:pt idx="56">
                  <c:v>9.0399999999999991</c:v>
                </c:pt>
                <c:pt idx="57">
                  <c:v>8.91</c:v>
                </c:pt>
                <c:pt idx="58">
                  <c:v>10.23</c:v>
                </c:pt>
                <c:pt idx="59">
                  <c:v>10.38</c:v>
                </c:pt>
                <c:pt idx="60">
                  <c:v>10.55</c:v>
                </c:pt>
                <c:pt idx="61">
                  <c:v>11.21</c:v>
                </c:pt>
                <c:pt idx="62">
                  <c:v>11.11</c:v>
                </c:pt>
                <c:pt idx="63">
                  <c:v>11.64</c:v>
                </c:pt>
                <c:pt idx="64">
                  <c:v>11.64</c:v>
                </c:pt>
                <c:pt idx="65">
                  <c:v>11.64</c:v>
                </c:pt>
                <c:pt idx="66">
                  <c:v>11.25</c:v>
                </c:pt>
                <c:pt idx="67">
                  <c:v>11.85</c:v>
                </c:pt>
                <c:pt idx="68">
                  <c:v>12.41</c:v>
                </c:pt>
                <c:pt idx="69">
                  <c:v>11.43</c:v>
                </c:pt>
                <c:pt idx="70">
                  <c:v>12.05</c:v>
                </c:pt>
                <c:pt idx="71">
                  <c:v>10.86</c:v>
                </c:pt>
                <c:pt idx="72">
                  <c:v>11.38</c:v>
                </c:pt>
                <c:pt idx="73">
                  <c:v>9.77</c:v>
                </c:pt>
                <c:pt idx="74">
                  <c:v>9.93</c:v>
                </c:pt>
                <c:pt idx="75">
                  <c:v>10.34</c:v>
                </c:pt>
                <c:pt idx="76">
                  <c:v>7.85</c:v>
                </c:pt>
                <c:pt idx="77">
                  <c:v>8.65</c:v>
                </c:pt>
                <c:pt idx="78">
                  <c:v>9.67</c:v>
                </c:pt>
                <c:pt idx="79">
                  <c:v>9.7200000000000006</c:v>
                </c:pt>
                <c:pt idx="80">
                  <c:v>10.98</c:v>
                </c:pt>
                <c:pt idx="81">
                  <c:v>12.72</c:v>
                </c:pt>
                <c:pt idx="82">
                  <c:v>11.4</c:v>
                </c:pt>
                <c:pt idx="83">
                  <c:v>11.04</c:v>
                </c:pt>
                <c:pt idx="84">
                  <c:v>12.06</c:v>
                </c:pt>
                <c:pt idx="85">
                  <c:v>12.33</c:v>
                </c:pt>
                <c:pt idx="86">
                  <c:v>11.95</c:v>
                </c:pt>
                <c:pt idx="87">
                  <c:v>11.92</c:v>
                </c:pt>
                <c:pt idx="88">
                  <c:v>12.35</c:v>
                </c:pt>
                <c:pt idx="89">
                  <c:v>12.3</c:v>
                </c:pt>
                <c:pt idx="90">
                  <c:v>13.54</c:v>
                </c:pt>
                <c:pt idx="91">
                  <c:v>15.51</c:v>
                </c:pt>
                <c:pt idx="92">
                  <c:v>15.7</c:v>
                </c:pt>
                <c:pt idx="93">
                  <c:v>15.57</c:v>
                </c:pt>
                <c:pt idx="94">
                  <c:v>16.670000000000002</c:v>
                </c:pt>
                <c:pt idx="95">
                  <c:v>16.760000000000002</c:v>
                </c:pt>
                <c:pt idx="96">
                  <c:v>17.190000000000001</c:v>
                </c:pt>
                <c:pt idx="97">
                  <c:v>17.66</c:v>
                </c:pt>
                <c:pt idx="98">
                  <c:v>18.03</c:v>
                </c:pt>
                <c:pt idx="99">
                  <c:v>18.55</c:v>
                </c:pt>
                <c:pt idx="100">
                  <c:v>18.760000000000002</c:v>
                </c:pt>
                <c:pt idx="101">
                  <c:v>18.82</c:v>
                </c:pt>
                <c:pt idx="102">
                  <c:v>18.239999999999998</c:v>
                </c:pt>
                <c:pt idx="103">
                  <c:v>18.27</c:v>
                </c:pt>
                <c:pt idx="104">
                  <c:v>18.45</c:v>
                </c:pt>
                <c:pt idx="105">
                  <c:v>18.7</c:v>
                </c:pt>
                <c:pt idx="106">
                  <c:v>18.489999999999998</c:v>
                </c:pt>
                <c:pt idx="107">
                  <c:v>17.28</c:v>
                </c:pt>
                <c:pt idx="108">
                  <c:v>18.38</c:v>
                </c:pt>
                <c:pt idx="109">
                  <c:v>18.84</c:v>
                </c:pt>
                <c:pt idx="110">
                  <c:v>19.3</c:v>
                </c:pt>
                <c:pt idx="111">
                  <c:v>17.47</c:v>
                </c:pt>
                <c:pt idx="112">
                  <c:v>17.68</c:v>
                </c:pt>
                <c:pt idx="113">
                  <c:v>18.87</c:v>
                </c:pt>
                <c:pt idx="114">
                  <c:v>18.649999999999999</c:v>
                </c:pt>
                <c:pt idx="115">
                  <c:v>17.850000000000001</c:v>
                </c:pt>
                <c:pt idx="116">
                  <c:v>16</c:v>
                </c:pt>
                <c:pt idx="117">
                  <c:v>17.440000000000001</c:v>
                </c:pt>
                <c:pt idx="118">
                  <c:v>15.03</c:v>
                </c:pt>
                <c:pt idx="119">
                  <c:v>13.87</c:v>
                </c:pt>
                <c:pt idx="120">
                  <c:v>14.84</c:v>
                </c:pt>
                <c:pt idx="121">
                  <c:v>15.96</c:v>
                </c:pt>
                <c:pt idx="122">
                  <c:v>16.239999999999998</c:v>
                </c:pt>
                <c:pt idx="123">
                  <c:v>17.37</c:v>
                </c:pt>
                <c:pt idx="124">
                  <c:v>16.059999999999999</c:v>
                </c:pt>
                <c:pt idx="125">
                  <c:v>17.53</c:v>
                </c:pt>
                <c:pt idx="126">
                  <c:v>16.68</c:v>
                </c:pt>
                <c:pt idx="127">
                  <c:v>16.07</c:v>
                </c:pt>
                <c:pt idx="128">
                  <c:v>15.83</c:v>
                </c:pt>
                <c:pt idx="129">
                  <c:v>15.74</c:v>
                </c:pt>
                <c:pt idx="130">
                  <c:v>17.170000000000002</c:v>
                </c:pt>
                <c:pt idx="131">
                  <c:v>16.079999999999998</c:v>
                </c:pt>
                <c:pt idx="132">
                  <c:v>17.04</c:v>
                </c:pt>
                <c:pt idx="133">
                  <c:v>18.16</c:v>
                </c:pt>
                <c:pt idx="134">
                  <c:v>17.43</c:v>
                </c:pt>
                <c:pt idx="135">
                  <c:v>17.75</c:v>
                </c:pt>
                <c:pt idx="136">
                  <c:v>16.77</c:v>
                </c:pt>
                <c:pt idx="137">
                  <c:v>17.87</c:v>
                </c:pt>
                <c:pt idx="138">
                  <c:v>18.52</c:v>
                </c:pt>
                <c:pt idx="139">
                  <c:v>19.059999999999999</c:v>
                </c:pt>
                <c:pt idx="140">
                  <c:v>18.46</c:v>
                </c:pt>
                <c:pt idx="141">
                  <c:v>18.13</c:v>
                </c:pt>
                <c:pt idx="142">
                  <c:v>18.48</c:v>
                </c:pt>
                <c:pt idx="143">
                  <c:v>18.79</c:v>
                </c:pt>
                <c:pt idx="144">
                  <c:v>17.77</c:v>
                </c:pt>
                <c:pt idx="145">
                  <c:v>19.23</c:v>
                </c:pt>
                <c:pt idx="146">
                  <c:v>19.66</c:v>
                </c:pt>
                <c:pt idx="147">
                  <c:v>19.05</c:v>
                </c:pt>
                <c:pt idx="148">
                  <c:v>18.350000000000001</c:v>
                </c:pt>
                <c:pt idx="149">
                  <c:v>19</c:v>
                </c:pt>
                <c:pt idx="150">
                  <c:v>18.93</c:v>
                </c:pt>
                <c:pt idx="151">
                  <c:v>20.079999999999998</c:v>
                </c:pt>
                <c:pt idx="152">
                  <c:v>20.12</c:v>
                </c:pt>
                <c:pt idx="153">
                  <c:v>16.87</c:v>
                </c:pt>
                <c:pt idx="154">
                  <c:v>12.39</c:v>
                </c:pt>
                <c:pt idx="155">
                  <c:v>9.75</c:v>
                </c:pt>
                <c:pt idx="156">
                  <c:v>9.56</c:v>
                </c:pt>
                <c:pt idx="157">
                  <c:v>12.18</c:v>
                </c:pt>
                <c:pt idx="158">
                  <c:v>12.19</c:v>
                </c:pt>
                <c:pt idx="159">
                  <c:v>12.94</c:v>
                </c:pt>
                <c:pt idx="160">
                  <c:v>13.36</c:v>
                </c:pt>
                <c:pt idx="161">
                  <c:v>13.85</c:v>
                </c:pt>
                <c:pt idx="162">
                  <c:v>14.76</c:v>
                </c:pt>
                <c:pt idx="163">
                  <c:v>16.5</c:v>
                </c:pt>
                <c:pt idx="164">
                  <c:v>17.55</c:v>
                </c:pt>
                <c:pt idx="165">
                  <c:v>18.420000000000002</c:v>
                </c:pt>
                <c:pt idx="166">
                  <c:v>17.71</c:v>
                </c:pt>
                <c:pt idx="167">
                  <c:v>17.97</c:v>
                </c:pt>
                <c:pt idx="168">
                  <c:v>18.690000000000001</c:v>
                </c:pt>
                <c:pt idx="169">
                  <c:v>19.760000000000002</c:v>
                </c:pt>
                <c:pt idx="170">
                  <c:v>19.72</c:v>
                </c:pt>
                <c:pt idx="171">
                  <c:v>20.29</c:v>
                </c:pt>
                <c:pt idx="172">
                  <c:v>20.74</c:v>
                </c:pt>
                <c:pt idx="173">
                  <c:v>20.99</c:v>
                </c:pt>
                <c:pt idx="174">
                  <c:v>21.43</c:v>
                </c:pt>
                <c:pt idx="175">
                  <c:v>21.47</c:v>
                </c:pt>
                <c:pt idx="176">
                  <c:v>19.98</c:v>
                </c:pt>
                <c:pt idx="177">
                  <c:v>19.420000000000002</c:v>
                </c:pt>
                <c:pt idx="178">
                  <c:v>20.05</c:v>
                </c:pt>
                <c:pt idx="179">
                  <c:v>18.34</c:v>
                </c:pt>
                <c:pt idx="180">
                  <c:v>19.75</c:v>
                </c:pt>
                <c:pt idx="181">
                  <c:v>18.62</c:v>
                </c:pt>
                <c:pt idx="182">
                  <c:v>18.63</c:v>
                </c:pt>
                <c:pt idx="183">
                  <c:v>20.02</c:v>
                </c:pt>
                <c:pt idx="184">
                  <c:v>21.07</c:v>
                </c:pt>
                <c:pt idx="185">
                  <c:v>21.22</c:v>
                </c:pt>
                <c:pt idx="186">
                  <c:v>21.95</c:v>
                </c:pt>
                <c:pt idx="187">
                  <c:v>21.63</c:v>
                </c:pt>
                <c:pt idx="188">
                  <c:v>23.26</c:v>
                </c:pt>
                <c:pt idx="189">
                  <c:v>22.69</c:v>
                </c:pt>
                <c:pt idx="190">
                  <c:v>22.6</c:v>
                </c:pt>
                <c:pt idx="191">
                  <c:v>23.22</c:v>
                </c:pt>
                <c:pt idx="192">
                  <c:v>22.52</c:v>
                </c:pt>
                <c:pt idx="193">
                  <c:v>24.53</c:v>
                </c:pt>
                <c:pt idx="194">
                  <c:v>24.76</c:v>
                </c:pt>
                <c:pt idx="195">
                  <c:v>23.41</c:v>
                </c:pt>
                <c:pt idx="196">
                  <c:v>21.77</c:v>
                </c:pt>
                <c:pt idx="197">
                  <c:v>21.85</c:v>
                </c:pt>
                <c:pt idx="198">
                  <c:v>20.82</c:v>
                </c:pt>
                <c:pt idx="199">
                  <c:v>22.26</c:v>
                </c:pt>
                <c:pt idx="200">
                  <c:v>22.63</c:v>
                </c:pt>
                <c:pt idx="201">
                  <c:v>21.96</c:v>
                </c:pt>
                <c:pt idx="202">
                  <c:v>22.68</c:v>
                </c:pt>
                <c:pt idx="203">
                  <c:v>23.12</c:v>
                </c:pt>
                <c:pt idx="204">
                  <c:v>24</c:v>
                </c:pt>
                <c:pt idx="205">
                  <c:v>24.68</c:v>
                </c:pt>
                <c:pt idx="206">
                  <c:v>25.02</c:v>
                </c:pt>
                <c:pt idx="207">
                  <c:v>24.92</c:v>
                </c:pt>
                <c:pt idx="208">
                  <c:v>26.07</c:v>
                </c:pt>
                <c:pt idx="209">
                  <c:v>26.51</c:v>
                </c:pt>
                <c:pt idx="210">
                  <c:v>25.32</c:v>
                </c:pt>
                <c:pt idx="211">
                  <c:v>25</c:v>
                </c:pt>
                <c:pt idx="212">
                  <c:v>24.39</c:v>
                </c:pt>
                <c:pt idx="213">
                  <c:v>24.33</c:v>
                </c:pt>
                <c:pt idx="214">
                  <c:v>23.78</c:v>
                </c:pt>
                <c:pt idx="215">
                  <c:v>24.84</c:v>
                </c:pt>
                <c:pt idx="216">
                  <c:v>24.74</c:v>
                </c:pt>
                <c:pt idx="217">
                  <c:v>23.43</c:v>
                </c:pt>
                <c:pt idx="218">
                  <c:v>22.51</c:v>
                </c:pt>
                <c:pt idx="219">
                  <c:v>24.14</c:v>
                </c:pt>
                <c:pt idx="220">
                  <c:v>24.35</c:v>
                </c:pt>
                <c:pt idx="221">
                  <c:v>25.07</c:v>
                </c:pt>
                <c:pt idx="222">
                  <c:v>24.81</c:v>
                </c:pt>
                <c:pt idx="223">
                  <c:v>25.01</c:v>
                </c:pt>
                <c:pt idx="224">
                  <c:v>23.66</c:v>
                </c:pt>
                <c:pt idx="225">
                  <c:v>25.61</c:v>
                </c:pt>
                <c:pt idx="226">
                  <c:v>23.03</c:v>
                </c:pt>
                <c:pt idx="227">
                  <c:v>22.97</c:v>
                </c:pt>
                <c:pt idx="228">
                  <c:v>24.38</c:v>
                </c:pt>
                <c:pt idx="229">
                  <c:v>24.98</c:v>
                </c:pt>
                <c:pt idx="230">
                  <c:v>25.72</c:v>
                </c:pt>
                <c:pt idx="231">
                  <c:v>24.53</c:v>
                </c:pt>
                <c:pt idx="232">
                  <c:v>24.67</c:v>
                </c:pt>
                <c:pt idx="233">
                  <c:v>25.54</c:v>
                </c:pt>
                <c:pt idx="234">
                  <c:v>25.25</c:v>
                </c:pt>
                <c:pt idx="235">
                  <c:v>25.48</c:v>
                </c:pt>
              </c:numCache>
            </c:numRef>
          </c:val>
          <c:smooth val="0"/>
          <c:extLst>
            <c:ext xmlns:c16="http://schemas.microsoft.com/office/drawing/2014/chart" uri="{C3380CC4-5D6E-409C-BE32-E72D297353CC}">
              <c16:uniqueId val="{00000003-0B6E-40B7-9F22-939593C9B017}"/>
            </c:ext>
          </c:extLst>
        </c:ser>
        <c:dLbls>
          <c:showLegendKey val="0"/>
          <c:showVal val="0"/>
          <c:showCatName val="0"/>
          <c:showSerName val="0"/>
          <c:showPercent val="0"/>
          <c:showBubbleSize val="0"/>
        </c:dLbls>
        <c:smooth val="0"/>
        <c:axId val="927020303"/>
        <c:axId val="927021967"/>
      </c:lineChart>
      <c:dateAx>
        <c:axId val="927020303"/>
        <c:scaling>
          <c:orientation val="minMax"/>
        </c:scaling>
        <c:delete val="0"/>
        <c:axPos val="b"/>
        <c:numFmt formatCode="[$-407]mmm\.\ 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days"/>
        <c:majorUnit val="2"/>
        <c:majorTimeUnit val="months"/>
      </c:dateAx>
      <c:valAx>
        <c:axId val="927021967"/>
        <c:scaling>
          <c:orientation val="minMax"/>
          <c:max val="50"/>
          <c:min val="-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dispUnits>
          <c:builtInUnit val="hundreds"/>
        </c:dispUnits>
      </c:valAx>
      <c:spPr>
        <a:noFill/>
        <a:ln>
          <a:noFill/>
        </a:ln>
        <a:effectLst/>
      </c:spPr>
    </c:plotArea>
    <c:legend>
      <c:legendPos val="b"/>
      <c:layout>
        <c:manualLayout>
          <c:xMode val="edge"/>
          <c:yMode val="edge"/>
          <c:x val="9.0355097365406631E-2"/>
          <c:y val="0.7998889357998118"/>
          <c:w val="0.82387170675830468"/>
          <c:h val="0.1756087710492222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2776059073680388E-2"/>
          <c:y val="0.1508659706716553"/>
          <c:w val="0.98177625951696945"/>
          <c:h val="0.77038199263774065"/>
        </c:manualLayout>
      </c:layout>
      <c:lineChart>
        <c:grouping val="standard"/>
        <c:varyColors val="0"/>
        <c:ser>
          <c:idx val="0"/>
          <c:order val="0"/>
          <c:spPr>
            <a:ln w="38100" cap="rnd">
              <a:solidFill>
                <a:srgbClr val="193296"/>
              </a:solidFill>
              <a:prstDash val="solid"/>
              <a:round/>
            </a:ln>
            <a:effectLst/>
          </c:spPr>
          <c:marker>
            <c:symbol val="none"/>
          </c:marker>
          <c:cat>
            <c:numRef>
              <c:f>'GDP &amp; Trend 2014-19'!$B$24:$B$75</c:f>
              <c:numCache>
                <c:formatCode>m/d/yyyy</c:formatCode>
                <c:ptCount val="52"/>
                <c:pt idx="0">
                  <c:v>41640</c:v>
                </c:pt>
                <c:pt idx="1">
                  <c:v>41730</c:v>
                </c:pt>
                <c:pt idx="2">
                  <c:v>41821</c:v>
                </c:pt>
                <c:pt idx="3">
                  <c:v>41913</c:v>
                </c:pt>
                <c:pt idx="4">
                  <c:v>42005</c:v>
                </c:pt>
                <c:pt idx="5">
                  <c:v>42095</c:v>
                </c:pt>
                <c:pt idx="6">
                  <c:v>42186</c:v>
                </c:pt>
                <c:pt idx="7">
                  <c:v>42278</c:v>
                </c:pt>
                <c:pt idx="8">
                  <c:v>42370</c:v>
                </c:pt>
                <c:pt idx="9">
                  <c:v>42461</c:v>
                </c:pt>
                <c:pt idx="10">
                  <c:v>42552</c:v>
                </c:pt>
                <c:pt idx="11">
                  <c:v>42644</c:v>
                </c:pt>
                <c:pt idx="12">
                  <c:v>42736</c:v>
                </c:pt>
                <c:pt idx="13">
                  <c:v>42826</c:v>
                </c:pt>
                <c:pt idx="14">
                  <c:v>42917</c:v>
                </c:pt>
                <c:pt idx="15">
                  <c:v>43009</c:v>
                </c:pt>
                <c:pt idx="16">
                  <c:v>43101</c:v>
                </c:pt>
                <c:pt idx="17">
                  <c:v>43191</c:v>
                </c:pt>
                <c:pt idx="18">
                  <c:v>43282</c:v>
                </c:pt>
                <c:pt idx="19">
                  <c:v>43374</c:v>
                </c:pt>
                <c:pt idx="20">
                  <c:v>43466</c:v>
                </c:pt>
                <c:pt idx="21">
                  <c:v>43556</c:v>
                </c:pt>
                <c:pt idx="22">
                  <c:v>43647</c:v>
                </c:pt>
                <c:pt idx="23">
                  <c:v>43739</c:v>
                </c:pt>
                <c:pt idx="24">
                  <c:v>43831</c:v>
                </c:pt>
                <c:pt idx="25">
                  <c:v>43922</c:v>
                </c:pt>
                <c:pt idx="26">
                  <c:v>44013</c:v>
                </c:pt>
                <c:pt idx="27">
                  <c:v>44105</c:v>
                </c:pt>
                <c:pt idx="28">
                  <c:v>44197</c:v>
                </c:pt>
                <c:pt idx="29">
                  <c:v>44287</c:v>
                </c:pt>
                <c:pt idx="30">
                  <c:v>44378</c:v>
                </c:pt>
                <c:pt idx="31">
                  <c:v>44470</c:v>
                </c:pt>
                <c:pt idx="32">
                  <c:v>44562</c:v>
                </c:pt>
                <c:pt idx="33">
                  <c:v>44652</c:v>
                </c:pt>
                <c:pt idx="34">
                  <c:v>44743</c:v>
                </c:pt>
                <c:pt idx="35">
                  <c:v>44835</c:v>
                </c:pt>
                <c:pt idx="36">
                  <c:v>44927</c:v>
                </c:pt>
                <c:pt idx="37">
                  <c:v>45017</c:v>
                </c:pt>
                <c:pt idx="38">
                  <c:v>45108</c:v>
                </c:pt>
                <c:pt idx="39">
                  <c:v>45200</c:v>
                </c:pt>
                <c:pt idx="40">
                  <c:v>45292</c:v>
                </c:pt>
                <c:pt idx="41">
                  <c:v>45383</c:v>
                </c:pt>
                <c:pt idx="42">
                  <c:v>45474</c:v>
                </c:pt>
                <c:pt idx="43">
                  <c:v>45566</c:v>
                </c:pt>
                <c:pt idx="44">
                  <c:v>45658</c:v>
                </c:pt>
                <c:pt idx="45">
                  <c:v>45748</c:v>
                </c:pt>
                <c:pt idx="46">
                  <c:v>45839</c:v>
                </c:pt>
                <c:pt idx="47">
                  <c:v>45931</c:v>
                </c:pt>
                <c:pt idx="48">
                  <c:v>46023</c:v>
                </c:pt>
                <c:pt idx="49">
                  <c:v>46113</c:v>
                </c:pt>
                <c:pt idx="50">
                  <c:v>46204</c:v>
                </c:pt>
                <c:pt idx="51">
                  <c:v>46296</c:v>
                </c:pt>
              </c:numCache>
            </c:numRef>
          </c:cat>
          <c:val>
            <c:numRef>
              <c:f>'GDP &amp; Trend 2014-19'!$E$24:$E$75</c:f>
              <c:numCache>
                <c:formatCode>General</c:formatCode>
                <c:ptCount val="52"/>
                <c:pt idx="0">
                  <c:v>91.247217634810085</c:v>
                </c:pt>
                <c:pt idx="1">
                  <c:v>91.275938823867307</c:v>
                </c:pt>
                <c:pt idx="2">
                  <c:v>91.74505157846869</c:v>
                </c:pt>
                <c:pt idx="3">
                  <c:v>92.424786386156384</c:v>
                </c:pt>
                <c:pt idx="4">
                  <c:v>92.214164333070045</c:v>
                </c:pt>
                <c:pt idx="5">
                  <c:v>92.77901438452885</c:v>
                </c:pt>
                <c:pt idx="6">
                  <c:v>93.209832220387256</c:v>
                </c:pt>
                <c:pt idx="7">
                  <c:v>93.640650056245661</c:v>
                </c:pt>
                <c:pt idx="8">
                  <c:v>94.550154376391177</c:v>
                </c:pt>
                <c:pt idx="9">
                  <c:v>94.856513726334938</c:v>
                </c:pt>
                <c:pt idx="10">
                  <c:v>95.143725616907204</c:v>
                </c:pt>
                <c:pt idx="11">
                  <c:v>95.526674804336892</c:v>
                </c:pt>
                <c:pt idx="12">
                  <c:v>96.665948636940229</c:v>
                </c:pt>
                <c:pt idx="13">
                  <c:v>97.508436849285545</c:v>
                </c:pt>
                <c:pt idx="14">
                  <c:v>98.188171656973267</c:v>
                </c:pt>
                <c:pt idx="15">
                  <c:v>99.126397166176019</c:v>
                </c:pt>
                <c:pt idx="16">
                  <c:v>98.647710681888896</c:v>
                </c:pt>
                <c:pt idx="17">
                  <c:v>99.365740408319581</c:v>
                </c:pt>
                <c:pt idx="18">
                  <c:v>98.647710681888896</c:v>
                </c:pt>
                <c:pt idx="19">
                  <c:v>99.270003111462145</c:v>
                </c:pt>
                <c:pt idx="20">
                  <c:v>99.82527943323521</c:v>
                </c:pt>
                <c:pt idx="21">
                  <c:v>99.892295541035409</c:v>
                </c:pt>
                <c:pt idx="22">
                  <c:v>100.16035997223618</c:v>
                </c:pt>
                <c:pt idx="23">
                  <c:v>100.12206505349322</c:v>
                </c:pt>
                <c:pt idx="24">
                  <c:v>97.920107225772483</c:v>
                </c:pt>
                <c:pt idx="25">
                  <c:v>89.208013211746973</c:v>
                </c:pt>
                <c:pt idx="26">
                  <c:v>96.972307986884005</c:v>
                </c:pt>
                <c:pt idx="27">
                  <c:v>98.07328690074435</c:v>
                </c:pt>
                <c:pt idx="28">
                  <c:v>96.981881716569731</c:v>
                </c:pt>
                <c:pt idx="29">
                  <c:v>99.451903975491248</c:v>
                </c:pt>
                <c:pt idx="30">
                  <c:v>99.490198894234226</c:v>
                </c:pt>
                <c:pt idx="31">
                  <c:v>100.10291759412173</c:v>
                </c:pt>
                <c:pt idx="32">
                  <c:v>100.28481845815082</c:v>
                </c:pt>
                <c:pt idx="33">
                  <c:v>100.26567099877934</c:v>
                </c:pt>
                <c:pt idx="34">
                  <c:v>100.85924223929537</c:v>
                </c:pt>
                <c:pt idx="35">
                  <c:v>100.3422608362653</c:v>
                </c:pt>
                <c:pt idx="36">
                  <c:v>100.48586678155142</c:v>
                </c:pt>
                <c:pt idx="37">
                  <c:v>100.33268710657954</c:v>
                </c:pt>
                <c:pt idx="38">
                  <c:v>100.52416170029439</c:v>
                </c:pt>
                <c:pt idx="39">
                  <c:v>100.15078624255045</c:v>
                </c:pt>
                <c:pt idx="40">
                  <c:v>100.38055575500826</c:v>
                </c:pt>
                <c:pt idx="41">
                  <c:v>100.09334386443598</c:v>
                </c:pt>
                <c:pt idx="42">
                  <c:v>100.2752447284651</c:v>
                </c:pt>
              </c:numCache>
            </c:numRef>
          </c:val>
          <c:smooth val="0"/>
          <c:extLst>
            <c:ext xmlns:c16="http://schemas.microsoft.com/office/drawing/2014/chart" uri="{C3380CC4-5D6E-409C-BE32-E72D297353CC}">
              <c16:uniqueId val="{00000000-5003-4E5D-8141-A3EF7277CEF2}"/>
            </c:ext>
          </c:extLst>
        </c:ser>
        <c:ser>
          <c:idx val="1"/>
          <c:order val="1"/>
          <c:tx>
            <c:v>Forecast</c:v>
          </c:tx>
          <c:spPr>
            <a:ln w="38100" cap="rnd">
              <a:solidFill>
                <a:srgbClr val="00009F"/>
              </a:solidFill>
              <a:prstDash val="solid"/>
              <a:round/>
            </a:ln>
            <a:effectLst/>
          </c:spPr>
          <c:marker>
            <c:symbol val="none"/>
          </c:marker>
          <c:cat>
            <c:numRef>
              <c:f>'GDP &amp; Trend 2014-19'!$B$24:$B$75</c:f>
              <c:numCache>
                <c:formatCode>m/d/yyyy</c:formatCode>
                <c:ptCount val="52"/>
                <c:pt idx="0">
                  <c:v>41640</c:v>
                </c:pt>
                <c:pt idx="1">
                  <c:v>41730</c:v>
                </c:pt>
                <c:pt idx="2">
                  <c:v>41821</c:v>
                </c:pt>
                <c:pt idx="3">
                  <c:v>41913</c:v>
                </c:pt>
                <c:pt idx="4">
                  <c:v>42005</c:v>
                </c:pt>
                <c:pt idx="5">
                  <c:v>42095</c:v>
                </c:pt>
                <c:pt idx="6">
                  <c:v>42186</c:v>
                </c:pt>
                <c:pt idx="7">
                  <c:v>42278</c:v>
                </c:pt>
                <c:pt idx="8">
                  <c:v>42370</c:v>
                </c:pt>
                <c:pt idx="9">
                  <c:v>42461</c:v>
                </c:pt>
                <c:pt idx="10">
                  <c:v>42552</c:v>
                </c:pt>
                <c:pt idx="11">
                  <c:v>42644</c:v>
                </c:pt>
                <c:pt idx="12">
                  <c:v>42736</c:v>
                </c:pt>
                <c:pt idx="13">
                  <c:v>42826</c:v>
                </c:pt>
                <c:pt idx="14">
                  <c:v>42917</c:v>
                </c:pt>
                <c:pt idx="15">
                  <c:v>43009</c:v>
                </c:pt>
                <c:pt idx="16">
                  <c:v>43101</c:v>
                </c:pt>
                <c:pt idx="17">
                  <c:v>43191</c:v>
                </c:pt>
                <c:pt idx="18">
                  <c:v>43282</c:v>
                </c:pt>
                <c:pt idx="19">
                  <c:v>43374</c:v>
                </c:pt>
                <c:pt idx="20">
                  <c:v>43466</c:v>
                </c:pt>
                <c:pt idx="21">
                  <c:v>43556</c:v>
                </c:pt>
                <c:pt idx="22">
                  <c:v>43647</c:v>
                </c:pt>
                <c:pt idx="23">
                  <c:v>43739</c:v>
                </c:pt>
                <c:pt idx="24">
                  <c:v>43831</c:v>
                </c:pt>
                <c:pt idx="25">
                  <c:v>43922</c:v>
                </c:pt>
                <c:pt idx="26">
                  <c:v>44013</c:v>
                </c:pt>
                <c:pt idx="27">
                  <c:v>44105</c:v>
                </c:pt>
                <c:pt idx="28">
                  <c:v>44197</c:v>
                </c:pt>
                <c:pt idx="29">
                  <c:v>44287</c:v>
                </c:pt>
                <c:pt idx="30">
                  <c:v>44378</c:v>
                </c:pt>
                <c:pt idx="31">
                  <c:v>44470</c:v>
                </c:pt>
                <c:pt idx="32">
                  <c:v>44562</c:v>
                </c:pt>
                <c:pt idx="33">
                  <c:v>44652</c:v>
                </c:pt>
                <c:pt idx="34">
                  <c:v>44743</c:v>
                </c:pt>
                <c:pt idx="35">
                  <c:v>44835</c:v>
                </c:pt>
                <c:pt idx="36">
                  <c:v>44927</c:v>
                </c:pt>
                <c:pt idx="37">
                  <c:v>45017</c:v>
                </c:pt>
                <c:pt idx="38">
                  <c:v>45108</c:v>
                </c:pt>
                <c:pt idx="39">
                  <c:v>45200</c:v>
                </c:pt>
                <c:pt idx="40">
                  <c:v>45292</c:v>
                </c:pt>
                <c:pt idx="41">
                  <c:v>45383</c:v>
                </c:pt>
                <c:pt idx="42">
                  <c:v>45474</c:v>
                </c:pt>
                <c:pt idx="43">
                  <c:v>45566</c:v>
                </c:pt>
                <c:pt idx="44">
                  <c:v>45658</c:v>
                </c:pt>
                <c:pt idx="45">
                  <c:v>45748</c:v>
                </c:pt>
                <c:pt idx="46">
                  <c:v>45839</c:v>
                </c:pt>
                <c:pt idx="47">
                  <c:v>45931</c:v>
                </c:pt>
                <c:pt idx="48">
                  <c:v>46023</c:v>
                </c:pt>
                <c:pt idx="49">
                  <c:v>46113</c:v>
                </c:pt>
                <c:pt idx="50">
                  <c:v>46204</c:v>
                </c:pt>
                <c:pt idx="51">
                  <c:v>46296</c:v>
                </c:pt>
              </c:numCache>
            </c:numRef>
          </c:cat>
          <c:val>
            <c:numRef>
              <c:f>'GDP &amp; Trend 2014-19'!$F$24:$F$75</c:f>
              <c:numCache>
                <c:formatCode>General</c:formatCode>
                <c:ptCount val="52"/>
                <c:pt idx="42">
                  <c:v>100.2752447284651</c:v>
                </c:pt>
                <c:pt idx="43">
                  <c:v>100.47579521792203</c:v>
                </c:pt>
                <c:pt idx="44">
                  <c:v>100.61595309365228</c:v>
                </c:pt>
                <c:pt idx="45">
                  <c:v>100.83355875993243</c:v>
                </c:pt>
                <c:pt idx="46">
                  <c:v>100.92489773393905</c:v>
                </c:pt>
                <c:pt idx="47">
                  <c:v>101.03609549945216</c:v>
                </c:pt>
                <c:pt idx="48">
                  <c:v>101.2200222038948</c:v>
                </c:pt>
                <c:pt idx="49">
                  <c:v>101.54943883356722</c:v>
                </c:pt>
                <c:pt idx="50">
                  <c:v>101.60313555429471</c:v>
                </c:pt>
                <c:pt idx="51">
                  <c:v>101.68892054535124</c:v>
                </c:pt>
              </c:numCache>
            </c:numRef>
          </c:val>
          <c:smooth val="0"/>
          <c:extLst>
            <c:ext xmlns:c16="http://schemas.microsoft.com/office/drawing/2014/chart" uri="{C3380CC4-5D6E-409C-BE32-E72D297353CC}">
              <c16:uniqueId val="{00000001-5003-4E5D-8141-A3EF7277CEF2}"/>
            </c:ext>
          </c:extLst>
        </c:ser>
        <c:ser>
          <c:idx val="2"/>
          <c:order val="2"/>
          <c:spPr>
            <a:ln w="28575" cap="rnd">
              <a:noFill/>
              <a:round/>
            </a:ln>
            <a:effectLst/>
          </c:spPr>
          <c:marker>
            <c:symbol val="none"/>
          </c:marker>
          <c:trendline>
            <c:spPr>
              <a:ln w="22225" cap="rnd">
                <a:solidFill>
                  <a:srgbClr val="00009F"/>
                </a:solidFill>
                <a:prstDash val="sysDot"/>
              </a:ln>
              <a:effectLst/>
            </c:spPr>
            <c:trendlineType val="linear"/>
            <c:dispRSqr val="0"/>
            <c:dispEq val="0"/>
          </c:trendline>
          <c:val>
            <c:numRef>
              <c:f>'GDP &amp; Trend 2014-19'!$H$24:$H$75</c:f>
              <c:numCache>
                <c:formatCode>General</c:formatCode>
                <c:ptCount val="52"/>
                <c:pt idx="0">
                  <c:v>91.247217634810085</c:v>
                </c:pt>
                <c:pt idx="1">
                  <c:v>91.275938823867307</c:v>
                </c:pt>
                <c:pt idx="2">
                  <c:v>91.74505157846869</c:v>
                </c:pt>
                <c:pt idx="3">
                  <c:v>92.424786386156384</c:v>
                </c:pt>
                <c:pt idx="4">
                  <c:v>92.214164333070045</c:v>
                </c:pt>
                <c:pt idx="5">
                  <c:v>92.77901438452885</c:v>
                </c:pt>
                <c:pt idx="6">
                  <c:v>93.209832220387256</c:v>
                </c:pt>
                <c:pt idx="7">
                  <c:v>93.640650056245661</c:v>
                </c:pt>
                <c:pt idx="8">
                  <c:v>94.550154376391177</c:v>
                </c:pt>
                <c:pt idx="9">
                  <c:v>94.856513726334938</c:v>
                </c:pt>
                <c:pt idx="10">
                  <c:v>95.143725616907204</c:v>
                </c:pt>
                <c:pt idx="11">
                  <c:v>95.526674804336892</c:v>
                </c:pt>
                <c:pt idx="12">
                  <c:v>96.665948636940229</c:v>
                </c:pt>
                <c:pt idx="13">
                  <c:v>97.508436849285545</c:v>
                </c:pt>
                <c:pt idx="14">
                  <c:v>98.188171656973267</c:v>
                </c:pt>
                <c:pt idx="15">
                  <c:v>99.126397166176019</c:v>
                </c:pt>
                <c:pt idx="16">
                  <c:v>98.647710681888896</c:v>
                </c:pt>
                <c:pt idx="17">
                  <c:v>99.365740408319581</c:v>
                </c:pt>
                <c:pt idx="18">
                  <c:v>98.647710681888896</c:v>
                </c:pt>
                <c:pt idx="19">
                  <c:v>99.270003111462145</c:v>
                </c:pt>
                <c:pt idx="20">
                  <c:v>99.82527943323521</c:v>
                </c:pt>
                <c:pt idx="21">
                  <c:v>99.892295541035409</c:v>
                </c:pt>
                <c:pt idx="22">
                  <c:v>100.16035997223618</c:v>
                </c:pt>
                <c:pt idx="23">
                  <c:v>100.12206505349322</c:v>
                </c:pt>
              </c:numCache>
            </c:numRef>
          </c:val>
          <c:smooth val="0"/>
          <c:extLst>
            <c:ext xmlns:c16="http://schemas.microsoft.com/office/drawing/2014/chart" uri="{C3380CC4-5D6E-409C-BE32-E72D297353CC}">
              <c16:uniqueId val="{00000003-5003-4E5D-8141-A3EF7277CEF2}"/>
            </c:ext>
          </c:extLst>
        </c:ser>
        <c:dLbls>
          <c:showLegendKey val="0"/>
          <c:showVal val="0"/>
          <c:showCatName val="0"/>
          <c:showSerName val="0"/>
          <c:showPercent val="0"/>
          <c:showBubbleSize val="0"/>
        </c:dLbls>
        <c:smooth val="0"/>
        <c:axId val="147374351"/>
        <c:axId val="466648687"/>
      </c:lineChart>
      <c:dateAx>
        <c:axId val="147374351"/>
        <c:scaling>
          <c:orientation val="minMax"/>
        </c:scaling>
        <c:delete val="0"/>
        <c:axPos val="b"/>
        <c:numFmt formatCode="yy" sourceLinked="0"/>
        <c:majorTickMark val="none"/>
        <c:minorTickMark val="none"/>
        <c:tickLblPos val="low"/>
        <c:spPr>
          <a:noFill/>
          <a:ln w="3175" cap="flat" cmpd="sng" algn="ctr">
            <a:solidFill>
              <a:srgbClr val="72706F"/>
            </a:solidFill>
            <a:prstDash val="solid"/>
            <a:round/>
          </a:ln>
          <a:effectLst/>
        </c:spPr>
        <c:txPr>
          <a:bodyPr rot="0" spcFirstLastPara="1" vertOverflow="ellipsis" wrap="square" anchor="ctr" anchorCtr="1"/>
          <a:lstStyle/>
          <a:p>
            <a:pPr>
              <a:defRPr sz="1200" b="0" i="0" u="none" strike="noStrike" kern="1200" baseline="0">
                <a:solidFill>
                  <a:srgbClr val="000000"/>
                </a:solidFill>
                <a:latin typeface="Arial"/>
                <a:ea typeface="Arial"/>
                <a:cs typeface="Arial"/>
              </a:defRPr>
            </a:pPr>
            <a:endParaRPr lang="en-US"/>
          </a:p>
        </c:txPr>
        <c:crossAx val="466648687"/>
        <c:crosses val="autoZero"/>
        <c:auto val="1"/>
        <c:lblOffset val="100"/>
        <c:baseTimeUnit val="months"/>
        <c:majorUnit val="2"/>
        <c:majorTimeUnit val="years"/>
      </c:dateAx>
      <c:valAx>
        <c:axId val="466648687"/>
        <c:scaling>
          <c:orientation val="minMax"/>
          <c:min val="88"/>
        </c:scaling>
        <c:delete val="0"/>
        <c:axPos val="l"/>
        <c:numFmt formatCode="General" sourceLinked="1"/>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147374351"/>
        <c:crosses val="autoZero"/>
        <c:crossBetween val="between"/>
      </c:valAx>
      <c:spPr>
        <a:noFill/>
        <a:ln w="25400">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a:extLst>
      <a:ext uri="{909E8E84-426E-40DD-AFC4-6F175D3DCCD1}">
        <a14:hiddenFill xmlns:a14="http://schemas.microsoft.com/office/drawing/2010/main">
          <a:solidFill>
            <a:sysClr val="window" lastClr="FFFFFF"/>
          </a:solidFill>
        </a14:hiddenFill>
      </a:ext>
    </a:extLst>
  </c:spPr>
  <c:txPr>
    <a:bodyPr/>
    <a:lstStyle/>
    <a:p>
      <a:pPr>
        <a:defRPr sz="1100">
          <a:latin typeface="Arial"/>
          <a:ea typeface="Arial"/>
          <a:cs typeface="Arial"/>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2828742848859731E-2"/>
          <c:y val="9.313676870594953E-2"/>
          <c:w val="0.98582474422062616"/>
          <c:h val="0.63069078855562788"/>
        </c:manualLayout>
      </c:layout>
      <c:barChart>
        <c:barDir val="col"/>
        <c:grouping val="clustered"/>
        <c:varyColors val="0"/>
        <c:ser>
          <c:idx val="1"/>
          <c:order val="1"/>
          <c:tx>
            <c:strRef>
              <c:f>'DE GDP'!$F$10</c:f>
              <c:strCache>
                <c:ptCount val="1"/>
                <c:pt idx="0">
                  <c:v>Quartalswachstumsrate (rechts)</c:v>
                </c:pt>
              </c:strCache>
            </c:strRef>
          </c:tx>
          <c:spPr>
            <a:solidFill>
              <a:srgbClr val="0092D0"/>
            </a:solidFill>
            <a:ln w="25400">
              <a:noFill/>
            </a:ln>
            <a:effectLst/>
          </c:spPr>
          <c:invertIfNegative val="0"/>
          <c:dLbls>
            <c:delete val="1"/>
          </c:dLbls>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F$19:$F$38</c:f>
              <c:numCache>
                <c:formatCode>General</c:formatCode>
                <c:ptCount val="20"/>
                <c:pt idx="0">
                  <c:v>0.18174268879901262</c:v>
                </c:pt>
                <c:pt idx="1">
                  <c:v>-1.909120949874793E-2</c:v>
                </c:pt>
                <c:pt idx="2">
                  <c:v>0.59200139932978457</c:v>
                </c:pt>
                <c:pt idx="3">
                  <c:v>-0.51258085054271219</c:v>
                </c:pt>
                <c:pt idx="4">
                  <c:v>0.14549737083009276</c:v>
                </c:pt>
                <c:pt idx="5">
                  <c:v>-0.15243594085124904</c:v>
                </c:pt>
                <c:pt idx="6">
                  <c:v>0.19084633962491784</c:v>
                </c:pt>
                <c:pt idx="7">
                  <c:v>-0.37142971867113417</c:v>
                </c:pt>
                <c:pt idx="8" formatCode="0.00">
                  <c:v>0.22941669593248282</c:v>
                </c:pt>
                <c:pt idx="9" formatCode="0.00">
                  <c:v>-0.30209074754741216</c:v>
                </c:pt>
                <c:pt idx="10" formatCode="0.00">
                  <c:v>0.23454124348307737</c:v>
                </c:pt>
                <c:pt idx="11" formatCode="0.00">
                  <c:v>0.12331282675024369</c:v>
                </c:pt>
                <c:pt idx="12" formatCode="0.00">
                  <c:v>0.13949416914418311</c:v>
                </c:pt>
                <c:pt idx="13" formatCode="0.00">
                  <c:v>0.21627352282556078</c:v>
                </c:pt>
                <c:pt idx="14" formatCode="0.00">
                  <c:v>9.0583903940233412E-2</c:v>
                </c:pt>
                <c:pt idx="15" formatCode="0.00">
                  <c:v>0.11017872498246817</c:v>
                </c:pt>
                <c:pt idx="16" formatCode="0.00">
                  <c:v>0.18204059008162243</c:v>
                </c:pt>
                <c:pt idx="17" formatCode="0.00">
                  <c:v>0.32544611481002406</c:v>
                </c:pt>
                <c:pt idx="18" formatCode="0.00">
                  <c:v>5.2877417486763001E-2</c:v>
                </c:pt>
                <c:pt idx="19" formatCode="0.00">
                  <c:v>8.4431440613053077E-2</c:v>
                </c:pt>
              </c:numCache>
            </c:numRef>
          </c:val>
          <c:extLst>
            <c:ext xmlns:c16="http://schemas.microsoft.com/office/drawing/2014/chart" uri="{C3380CC4-5D6E-409C-BE32-E72D297353CC}">
              <c16:uniqueId val="{00000000-467B-4D2E-AAAC-6D7CCD2A859B}"/>
            </c:ext>
          </c:extLst>
        </c:ser>
        <c:dLbls>
          <c:showLegendKey val="0"/>
          <c:showVal val="1"/>
          <c:showCatName val="0"/>
          <c:showSerName val="0"/>
          <c:showPercent val="0"/>
          <c:showBubbleSize val="0"/>
        </c:dLbls>
        <c:gapWidth val="60"/>
        <c:overlap val="-26"/>
        <c:axId val="1748727456"/>
        <c:axId val="490506543"/>
      </c:barChart>
      <c:lineChart>
        <c:grouping val="standard"/>
        <c:varyColors val="0"/>
        <c:ser>
          <c:idx val="0"/>
          <c:order val="0"/>
          <c:tx>
            <c:strRef>
              <c:f>'DE GDP'!$D$10</c:f>
              <c:strCache>
                <c:ptCount val="1"/>
                <c:pt idx="0">
                  <c:v>Reales BIP (in 2020 Euros, links)</c:v>
                </c:pt>
              </c:strCache>
            </c:strRef>
          </c:tx>
          <c:spPr>
            <a:ln w="28575" cap="rnd">
              <a:solidFill>
                <a:schemeClr val="tx1"/>
              </a:solidFill>
              <a:prstDash val="solid"/>
              <a:round/>
            </a:ln>
            <a:effectLst/>
          </c:spPr>
          <c:marker>
            <c:symbol val="none"/>
          </c:marker>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E$19:$E$38</c:f>
              <c:numCache>
                <c:formatCode>General</c:formatCode>
                <c:ptCount val="20"/>
                <c:pt idx="0">
                  <c:v>903.34769000000006</c:v>
                </c:pt>
                <c:pt idx="1">
                  <c:v>903.17523000000006</c:v>
                </c:pt>
                <c:pt idx="2">
                  <c:v>908.52203999999995</c:v>
                </c:pt>
                <c:pt idx="3">
                  <c:v>903.86513000000002</c:v>
                </c:pt>
                <c:pt idx="4">
                  <c:v>905.18023000000005</c:v>
                </c:pt>
                <c:pt idx="5">
                  <c:v>903.80041000000006</c:v>
                </c:pt>
                <c:pt idx="6">
                  <c:v>905.52527999999995</c:v>
                </c:pt>
                <c:pt idx="7">
                  <c:v>902.16188999999997</c:v>
                </c:pt>
                <c:pt idx="8">
                  <c:v>904.23159999999996</c:v>
                </c:pt>
                <c:pt idx="9">
                  <c:v>901.5</c:v>
                </c:pt>
                <c:pt idx="10">
                  <c:v>903.61438930999986</c:v>
                </c:pt>
                <c:pt idx="11">
                  <c:v>904.72866175637989</c:v>
                </c:pt>
                <c:pt idx="12">
                  <c:v>905.99070548610632</c:v>
                </c:pt>
                <c:pt idx="13">
                  <c:v>907.95012350133322</c:v>
                </c:pt>
                <c:pt idx="14">
                  <c:v>908.7725801690309</c:v>
                </c:pt>
                <c:pt idx="15">
                  <c:v>909.77385421085148</c:v>
                </c:pt>
                <c:pt idx="16">
                  <c:v>911.43001190346524</c:v>
                </c:pt>
                <c:pt idx="17">
                  <c:v>914.3962254664176</c:v>
                </c:pt>
                <c:pt idx="18">
                  <c:v>914.87973457604073</c:v>
                </c:pt>
                <c:pt idx="19">
                  <c:v>915.65218071582024</c:v>
                </c:pt>
              </c:numCache>
            </c:numRef>
          </c:val>
          <c:smooth val="0"/>
          <c:extLst>
            <c:ext xmlns:c16="http://schemas.microsoft.com/office/drawing/2014/chart" uri="{C3380CC4-5D6E-409C-BE32-E72D297353CC}">
              <c16:uniqueId val="{00000001-467B-4D2E-AAAC-6D7CCD2A859B}"/>
            </c:ext>
          </c:extLst>
        </c:ser>
        <c:ser>
          <c:idx val="2"/>
          <c:order val="2"/>
          <c:tx>
            <c:strRef>
              <c:f>'DE GDP'!$I$7</c:f>
              <c:strCache>
                <c:ptCount val="1"/>
                <c:pt idx="0">
                  <c:v>Jahresdurchschnitt (links)</c:v>
                </c:pt>
              </c:strCache>
            </c:strRef>
          </c:tx>
          <c:spPr>
            <a:ln w="38100" cap="rnd">
              <a:solidFill>
                <a:srgbClr val="00009F"/>
              </a:solidFill>
              <a:prstDash val="solid"/>
              <a:round/>
            </a:ln>
            <a:effectLst/>
          </c:spPr>
          <c:marker>
            <c:symbol val="none"/>
          </c:marker>
          <c:dLbls>
            <c:dLbl>
              <c:idx val="12"/>
              <c:delete val="1"/>
              <c:extLst>
                <c:ext xmlns:c15="http://schemas.microsoft.com/office/drawing/2012/chart" uri="{CE6537A1-D6FC-4f65-9D91-7224C49458BB}"/>
                <c:ext xmlns:c16="http://schemas.microsoft.com/office/drawing/2014/chart" uri="{C3380CC4-5D6E-409C-BE32-E72D297353CC}">
                  <c16:uniqueId val="{00000002-467B-4D2E-AAAC-6D7CCD2A859B}"/>
                </c:ext>
              </c:extLst>
            </c:dLbl>
            <c:dLbl>
              <c:idx val="13"/>
              <c:delete val="1"/>
              <c:extLst>
                <c:ext xmlns:c15="http://schemas.microsoft.com/office/drawing/2012/chart" uri="{CE6537A1-D6FC-4f65-9D91-7224C49458BB}"/>
                <c:ext xmlns:c16="http://schemas.microsoft.com/office/drawing/2014/chart" uri="{C3380CC4-5D6E-409C-BE32-E72D297353CC}">
                  <c16:uniqueId val="{00000003-467B-4D2E-AAAC-6D7CCD2A859B}"/>
                </c:ext>
              </c:extLst>
            </c:dLbl>
            <c:dLbl>
              <c:idx val="14"/>
              <c:delete val="1"/>
              <c:extLst>
                <c:ext xmlns:c15="http://schemas.microsoft.com/office/drawing/2012/chart" uri="{CE6537A1-D6FC-4f65-9D91-7224C49458BB}"/>
                <c:ext xmlns:c16="http://schemas.microsoft.com/office/drawing/2014/chart" uri="{C3380CC4-5D6E-409C-BE32-E72D297353CC}">
                  <c16:uniqueId val="{00000004-467B-4D2E-AAAC-6D7CCD2A859B}"/>
                </c:ext>
              </c:extLst>
            </c:dLbl>
            <c:dLbl>
              <c:idx val="15"/>
              <c:delete val="1"/>
              <c:extLst>
                <c:ext xmlns:c15="http://schemas.microsoft.com/office/drawing/2012/chart" uri="{CE6537A1-D6FC-4f65-9D91-7224C49458BB}"/>
                <c:ext xmlns:c16="http://schemas.microsoft.com/office/drawing/2014/chart" uri="{C3380CC4-5D6E-409C-BE32-E72D297353CC}">
                  <c16:uniqueId val="{00000005-467B-4D2E-AAAC-6D7CCD2A859B}"/>
                </c:ext>
              </c:extLst>
            </c:dLbl>
            <c:spPr>
              <a:noFill/>
              <a:ln>
                <a:noFill/>
              </a:ln>
              <a:effectLst/>
            </c:spPr>
            <c:txPr>
              <a:bodyPr rot="0" spcFirstLastPara="1" vertOverflow="ellipsis" vert="horz" wrap="square" anchor="ctr" anchorCtr="1"/>
              <a:lstStyle/>
              <a:p>
                <a:pPr>
                  <a:defRPr sz="1100" b="0" i="0" u="none" strike="noStrike" kern="1200"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K$19:$K$38</c:f>
              <c:numCache>
                <c:formatCode>General</c:formatCode>
                <c:ptCount val="20"/>
                <c:pt idx="12" formatCode="_-* #,##0_-;\-* #,##0_-;_-* &quot;-&quot;??_-;_-@_-">
                  <c:v>908.50690395433878</c:v>
                </c:pt>
                <c:pt idx="13" formatCode="_-* #,##0_-;\-* #,##0_-;_-* &quot;-&quot;??_-;_-@_-">
                  <c:v>908.50690395433878</c:v>
                </c:pt>
                <c:pt idx="14" formatCode="_-* #,##0_-;\-* #,##0_-;_-* &quot;-&quot;??_-;_-@_-">
                  <c:v>908.50690395433878</c:v>
                </c:pt>
                <c:pt idx="15" formatCode="_-* #,##0_-;\-* #,##0_-;_-* &quot;-&quot;??_-;_-@_-">
                  <c:v>908.50690395433878</c:v>
                </c:pt>
              </c:numCache>
            </c:numRef>
          </c:val>
          <c:smooth val="0"/>
          <c:extLst>
            <c:ext xmlns:c16="http://schemas.microsoft.com/office/drawing/2014/chart" uri="{C3380CC4-5D6E-409C-BE32-E72D297353CC}">
              <c16:uniqueId val="{00000006-467B-4D2E-AAAC-6D7CCD2A859B}"/>
            </c:ext>
          </c:extLst>
        </c:ser>
        <c:ser>
          <c:idx val="3"/>
          <c:order val="3"/>
          <c:spPr>
            <a:ln w="38100" cap="rnd">
              <a:solidFill>
                <a:srgbClr val="00009F"/>
              </a:solidFill>
              <a:prstDash val="solid"/>
              <a:round/>
            </a:ln>
            <a:effectLst/>
          </c:spPr>
          <c:marker>
            <c:symbol val="none"/>
          </c:marker>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J$19:$J$38</c:f>
              <c:numCache>
                <c:formatCode>General</c:formatCode>
                <c:ptCount val="20"/>
                <c:pt idx="8" formatCode="_-* #,##0_-;\-* #,##0_-;_-* &quot;-&quot;??_-;_-@_-">
                  <c:v>903.71587718839555</c:v>
                </c:pt>
                <c:pt idx="9" formatCode="_-* #,##0_-;\-* #,##0_-;_-* &quot;-&quot;??_-;_-@_-">
                  <c:v>903.71587718839555</c:v>
                </c:pt>
                <c:pt idx="10" formatCode="_-* #,##0_-;\-* #,##0_-;_-* &quot;-&quot;??_-;_-@_-">
                  <c:v>903.71587718839555</c:v>
                </c:pt>
                <c:pt idx="11" formatCode="_-* #,##0_-;\-* #,##0_-;_-* &quot;-&quot;??_-;_-@_-">
                  <c:v>903.71587718839555</c:v>
                </c:pt>
              </c:numCache>
            </c:numRef>
          </c:val>
          <c:smooth val="0"/>
          <c:extLst>
            <c:ext xmlns:c16="http://schemas.microsoft.com/office/drawing/2014/chart" uri="{C3380CC4-5D6E-409C-BE32-E72D297353CC}">
              <c16:uniqueId val="{00000007-467B-4D2E-AAAC-6D7CCD2A859B}"/>
            </c:ext>
          </c:extLst>
        </c:ser>
        <c:ser>
          <c:idx val="4"/>
          <c:order val="4"/>
          <c:spPr>
            <a:ln w="38100" cap="rnd">
              <a:solidFill>
                <a:srgbClr val="00009F"/>
              </a:solidFill>
              <a:prstDash val="solid"/>
              <a:round/>
            </a:ln>
            <a:effectLst/>
          </c:spPr>
          <c:marker>
            <c:symbol val="none"/>
          </c:marker>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I$19:$I$38</c:f>
              <c:numCache>
                <c:formatCode>General</c:formatCode>
                <c:ptCount val="20"/>
                <c:pt idx="4" formatCode="_-* #,##0_-;\-* #,##0_-;_-* &quot;-&quot;??_-;_-@_-">
                  <c:v>903.86512249999998</c:v>
                </c:pt>
                <c:pt idx="5" formatCode="_-* #,##0_-;\-* #,##0_-;_-* &quot;-&quot;??_-;_-@_-">
                  <c:v>903.86512249999998</c:v>
                </c:pt>
                <c:pt idx="6" formatCode="_-* #,##0_-;\-* #,##0_-;_-* &quot;-&quot;??_-;_-@_-">
                  <c:v>903.86512249999998</c:v>
                </c:pt>
                <c:pt idx="7" formatCode="_-* #,##0_-;\-* #,##0_-;_-* &quot;-&quot;??_-;_-@_-">
                  <c:v>903.86512249999998</c:v>
                </c:pt>
              </c:numCache>
            </c:numRef>
          </c:val>
          <c:smooth val="0"/>
          <c:extLst>
            <c:ext xmlns:c16="http://schemas.microsoft.com/office/drawing/2014/chart" uri="{C3380CC4-5D6E-409C-BE32-E72D297353CC}">
              <c16:uniqueId val="{00000008-467B-4D2E-AAAC-6D7CCD2A859B}"/>
            </c:ext>
          </c:extLst>
        </c:ser>
        <c:ser>
          <c:idx val="5"/>
          <c:order val="5"/>
          <c:spPr>
            <a:ln w="38100" cap="rnd">
              <a:solidFill>
                <a:srgbClr val="00009F"/>
              </a:solidFill>
              <a:prstDash val="solid"/>
              <a:round/>
            </a:ln>
            <a:effectLst/>
          </c:spPr>
          <c:marker>
            <c:symbol val="none"/>
          </c:marker>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H$19:$H$38</c:f>
              <c:numCache>
                <c:formatCode>_-* #,##0_-;\-* #,##0_-;_-* "-"??_-;_-@_-</c:formatCode>
                <c:ptCount val="20"/>
                <c:pt idx="0">
                  <c:v>906.25829499999998</c:v>
                </c:pt>
                <c:pt idx="1">
                  <c:v>906.25829499999998</c:v>
                </c:pt>
                <c:pt idx="2">
                  <c:v>906.25829499999998</c:v>
                </c:pt>
                <c:pt idx="3">
                  <c:v>906.25829499999998</c:v>
                </c:pt>
              </c:numCache>
            </c:numRef>
          </c:val>
          <c:smooth val="0"/>
          <c:extLst>
            <c:ext xmlns:c16="http://schemas.microsoft.com/office/drawing/2014/chart" uri="{C3380CC4-5D6E-409C-BE32-E72D297353CC}">
              <c16:uniqueId val="{00000009-467B-4D2E-AAAC-6D7CCD2A859B}"/>
            </c:ext>
          </c:extLst>
        </c:ser>
        <c:ser>
          <c:idx val="6"/>
          <c:order val="6"/>
          <c:spPr>
            <a:ln w="38100" cap="rnd">
              <a:solidFill>
                <a:srgbClr val="B4D2F0"/>
              </a:solidFill>
              <a:prstDash val="solid"/>
              <a:round/>
            </a:ln>
            <a:effectLst/>
          </c:spPr>
          <c:marker>
            <c:symbol val="none"/>
          </c:marker>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G$19:$G$38</c:f>
              <c:numCache>
                <c:formatCode>General</c:formatCode>
                <c:ptCount val="20"/>
              </c:numCache>
            </c:numRef>
          </c:val>
          <c:smooth val="0"/>
          <c:extLst>
            <c:ext xmlns:c16="http://schemas.microsoft.com/office/drawing/2014/chart" uri="{C3380CC4-5D6E-409C-BE32-E72D297353CC}">
              <c16:uniqueId val="{0000000A-467B-4D2E-AAAC-6D7CCD2A859B}"/>
            </c:ext>
          </c:extLst>
        </c:ser>
        <c:ser>
          <c:idx val="7"/>
          <c:order val="7"/>
          <c:spPr>
            <a:ln w="38100" cap="rnd">
              <a:solidFill>
                <a:srgbClr val="00009F"/>
              </a:solidFill>
              <a:prstDash val="solid"/>
              <a:round/>
            </a:ln>
            <a:effectLst/>
          </c:spPr>
          <c:marker>
            <c:symbol val="none"/>
          </c:marker>
          <c:cat>
            <c:strRef>
              <c:f>'DE GDP'!$B$19:$B$38</c:f>
              <c:strCache>
                <c:ptCount val="20"/>
                <c:pt idx="0">
                  <c:v>2022</c:v>
                </c:pt>
                <c:pt idx="1">
                  <c:v>2022</c:v>
                </c:pt>
                <c:pt idx="2">
                  <c:v>2022</c:v>
                </c:pt>
                <c:pt idx="3">
                  <c:v>2022</c:v>
                </c:pt>
                <c:pt idx="4">
                  <c:v>2023</c:v>
                </c:pt>
                <c:pt idx="5">
                  <c:v>2023</c:v>
                </c:pt>
                <c:pt idx="6">
                  <c:v>2023</c:v>
                </c:pt>
                <c:pt idx="7">
                  <c:v>2023</c:v>
                </c:pt>
                <c:pt idx="8">
                  <c:v>2024</c:v>
                </c:pt>
                <c:pt idx="9">
                  <c:v>2024</c:v>
                </c:pt>
                <c:pt idx="10">
                  <c:v>2024</c:v>
                </c:pt>
                <c:pt idx="11">
                  <c:v>2024</c:v>
                </c:pt>
                <c:pt idx="12">
                  <c:v>2025</c:v>
                </c:pt>
                <c:pt idx="13">
                  <c:v>2025</c:v>
                </c:pt>
                <c:pt idx="14">
                  <c:v>2025</c:v>
                </c:pt>
                <c:pt idx="15">
                  <c:v>2025</c:v>
                </c:pt>
                <c:pt idx="16">
                  <c:v>2026</c:v>
                </c:pt>
                <c:pt idx="17">
                  <c:v>2026</c:v>
                </c:pt>
                <c:pt idx="18">
                  <c:v>2026</c:v>
                </c:pt>
                <c:pt idx="19">
                  <c:v>2026</c:v>
                </c:pt>
              </c:strCache>
            </c:strRef>
          </c:cat>
          <c:val>
            <c:numRef>
              <c:f>'DE GDP'!$L$19:$L$38</c:f>
              <c:numCache>
                <c:formatCode>General</c:formatCode>
                <c:ptCount val="20"/>
                <c:pt idx="16" formatCode="_-* #,##0_-;\-* #,##0_-;_-* &quot;-&quot;??_-;_-@_-">
                  <c:v>917.09495867253293</c:v>
                </c:pt>
                <c:pt idx="17" formatCode="_-* #,##0_-;\-* #,##0_-;_-* &quot;-&quot;??_-;_-@_-">
                  <c:v>917.09495867253293</c:v>
                </c:pt>
                <c:pt idx="18" formatCode="_-* #,##0_-;\-* #,##0_-;_-* &quot;-&quot;??_-;_-@_-">
                  <c:v>917.09495867253293</c:v>
                </c:pt>
                <c:pt idx="19" formatCode="_-* #,##0_-;\-* #,##0_-;_-* &quot;-&quot;??_-;_-@_-">
                  <c:v>917.09495867253293</c:v>
                </c:pt>
              </c:numCache>
            </c:numRef>
          </c:val>
          <c:smooth val="0"/>
          <c:extLst>
            <c:ext xmlns:c16="http://schemas.microsoft.com/office/drawing/2014/chart" uri="{C3380CC4-5D6E-409C-BE32-E72D297353CC}">
              <c16:uniqueId val="{0000000B-467B-4D2E-AAAC-6D7CCD2A859B}"/>
            </c:ext>
          </c:extLst>
        </c:ser>
        <c:dLbls>
          <c:showLegendKey val="0"/>
          <c:showVal val="0"/>
          <c:showCatName val="0"/>
          <c:showSerName val="0"/>
          <c:showPercent val="0"/>
          <c:showBubbleSize val="0"/>
        </c:dLbls>
        <c:marker val="1"/>
        <c:smooth val="0"/>
        <c:axId val="498961935"/>
        <c:axId val="889956224"/>
      </c:lineChart>
      <c:catAx>
        <c:axId val="498961935"/>
        <c:scaling>
          <c:orientation val="minMax"/>
        </c:scaling>
        <c:delete val="0"/>
        <c:axPos val="b"/>
        <c:majorGridlines>
          <c:spPr>
            <a:ln w="3175" cap="flat" cmpd="sng" algn="ctr">
              <a:solidFill>
                <a:schemeClr val="bg2"/>
              </a:solidFill>
              <a:prstDash val="sysDot"/>
              <a:round/>
            </a:ln>
            <a:effectLst/>
          </c:spPr>
        </c:majorGridlines>
        <c:numFmt formatCode="yyyy" sourceLinked="0"/>
        <c:majorTickMark val="none"/>
        <c:minorTickMark val="none"/>
        <c:tickLblPos val="low"/>
        <c:spPr>
          <a:noFill/>
          <a:ln w="3175" cap="flat" cmpd="sng" algn="ctr">
            <a:solidFill>
              <a:srgbClr val="72706F"/>
            </a:solidFill>
            <a:prstDash val="solid"/>
            <a:round/>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889956224"/>
        <c:crossesAt val="809.375"/>
        <c:auto val="1"/>
        <c:lblAlgn val="l"/>
        <c:lblOffset val="100"/>
        <c:tickLblSkip val="4"/>
        <c:tickMarkSkip val="4"/>
        <c:noMultiLvlLbl val="1"/>
      </c:catAx>
      <c:valAx>
        <c:axId val="889956224"/>
        <c:scaling>
          <c:orientation val="minMax"/>
          <c:max val="925"/>
          <c:min val="900"/>
        </c:scaling>
        <c:delete val="0"/>
        <c:axPos val="l"/>
        <c:numFmt formatCode="General" sourceLinked="1"/>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498961935"/>
        <c:crosses val="autoZero"/>
        <c:crossBetween val="between"/>
      </c:valAx>
      <c:valAx>
        <c:axId val="490506543"/>
        <c:scaling>
          <c:orientation val="minMax"/>
        </c:scaling>
        <c:delete val="0"/>
        <c:axPos val="r"/>
        <c:numFmt formatCode="0.0%" sourceLinked="0"/>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1748727456"/>
        <c:crosses val="max"/>
        <c:crossBetween val="between"/>
        <c:dispUnits>
          <c:builtInUnit val="hundreds"/>
        </c:dispUnits>
      </c:valAx>
      <c:catAx>
        <c:axId val="1748727456"/>
        <c:scaling>
          <c:orientation val="minMax"/>
        </c:scaling>
        <c:delete val="0"/>
        <c:axPos val="b"/>
        <c:numFmt formatCode="General" sourceLinked="1"/>
        <c:majorTickMark val="none"/>
        <c:minorTickMark val="none"/>
        <c:tickLblPos val="none"/>
        <c:spPr>
          <a:noFill/>
          <a:ln w="25400" cap="flat" cmpd="sng" algn="ctr">
            <a:solidFill>
              <a:srgbClr val="72706F"/>
            </a:solidFill>
            <a:prstDash val="solid"/>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a:ea typeface="Arial"/>
                <a:cs typeface="Arial"/>
              </a:defRPr>
            </a:pPr>
            <a:endParaRPr lang="en-US"/>
          </a:p>
        </c:txPr>
        <c:crossAx val="490506543"/>
        <c:crosses val="autoZero"/>
        <c:auto val="1"/>
        <c:lblAlgn val="ctr"/>
        <c:lblOffset val="100"/>
        <c:noMultiLvlLbl val="1"/>
      </c:catAx>
      <c:spPr>
        <a:noFill/>
        <a:ln w="25400">
          <a:noFill/>
        </a:ln>
        <a:effectLst/>
      </c:spPr>
    </c:plotArea>
    <c:legend>
      <c:legendPos val="b"/>
      <c:legendEntry>
        <c:idx val="3"/>
        <c:delete val="1"/>
      </c:legendEntry>
      <c:legendEntry>
        <c:idx val="4"/>
        <c:delete val="1"/>
      </c:legendEntry>
      <c:legendEntry>
        <c:idx val="5"/>
        <c:delete val="1"/>
      </c:legendEntry>
      <c:legendEntry>
        <c:idx val="6"/>
        <c:delete val="1"/>
      </c:legendEntry>
      <c:legendEntry>
        <c:idx val="7"/>
        <c:delete val="1"/>
      </c:legendEntry>
      <c:layout>
        <c:manualLayout>
          <c:xMode val="edge"/>
          <c:yMode val="edge"/>
          <c:x val="0.1068793375924086"/>
          <c:y val="0.73473350207492039"/>
          <c:w val="0.76443271450642925"/>
          <c:h val="0.1900256392738795"/>
        </c:manualLayout>
      </c:layout>
      <c:overlay val="0"/>
      <c:spPr>
        <a:noFill/>
        <a:ln w="25400">
          <a:noFill/>
        </a:ln>
        <a:effectLst/>
      </c:spPr>
      <c:txPr>
        <a:bodyPr rot="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25400" cap="flat" cmpd="sng" algn="ctr">
      <a:noFill/>
      <a:round/>
    </a:ln>
    <a:effectLst/>
  </c:spPr>
  <c:txPr>
    <a:bodyPr/>
    <a:lstStyle/>
    <a:p>
      <a:pPr>
        <a:defRPr sz="1100">
          <a:latin typeface="Arial"/>
          <a:ea typeface="Arial"/>
          <a:cs typeface="Arial"/>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2776059073680388E-2"/>
          <c:y val="0.1015970734332477"/>
          <c:w val="0.98177625951696956"/>
          <c:h val="0.68754857881143006"/>
        </c:manualLayout>
      </c:layout>
      <c:lineChart>
        <c:grouping val="standard"/>
        <c:varyColors val="0"/>
        <c:ser>
          <c:idx val="0"/>
          <c:order val="0"/>
          <c:tx>
            <c:v>Reallohnwachstum (links, ggü. Vj)</c:v>
          </c:tx>
          <c:spPr>
            <a:ln w="28575" cap="rnd">
              <a:solidFill>
                <a:srgbClr val="193296"/>
              </a:solidFill>
              <a:prstDash val="solid"/>
              <a:round/>
            </a:ln>
            <a:effectLst/>
          </c:spPr>
          <c:marker>
            <c:symbol val="none"/>
          </c:marker>
          <c:cat>
            <c:numRef>
              <c:f>Sheet1!$F$27:$F$148</c:f>
              <c:numCache>
                <c:formatCode>m/d/yyyy</c:formatCode>
                <c:ptCount val="122"/>
                <c:pt idx="0">
                  <c:v>45657</c:v>
                </c:pt>
                <c:pt idx="1">
                  <c:v>45565</c:v>
                </c:pt>
                <c:pt idx="2">
                  <c:v>45473</c:v>
                </c:pt>
                <c:pt idx="3">
                  <c:v>45382</c:v>
                </c:pt>
                <c:pt idx="4">
                  <c:v>45291</c:v>
                </c:pt>
                <c:pt idx="5">
                  <c:v>45199</c:v>
                </c:pt>
                <c:pt idx="6">
                  <c:v>45107</c:v>
                </c:pt>
                <c:pt idx="7">
                  <c:v>45016</c:v>
                </c:pt>
                <c:pt idx="8">
                  <c:v>44926</c:v>
                </c:pt>
                <c:pt idx="9">
                  <c:v>44834</c:v>
                </c:pt>
                <c:pt idx="10">
                  <c:v>44742</c:v>
                </c:pt>
                <c:pt idx="11">
                  <c:v>44651</c:v>
                </c:pt>
                <c:pt idx="12">
                  <c:v>44561</c:v>
                </c:pt>
                <c:pt idx="13">
                  <c:v>44469</c:v>
                </c:pt>
                <c:pt idx="14">
                  <c:v>44377</c:v>
                </c:pt>
                <c:pt idx="15">
                  <c:v>44286</c:v>
                </c:pt>
                <c:pt idx="16">
                  <c:v>44196</c:v>
                </c:pt>
                <c:pt idx="17">
                  <c:v>44104</c:v>
                </c:pt>
                <c:pt idx="18">
                  <c:v>44012</c:v>
                </c:pt>
                <c:pt idx="19">
                  <c:v>43921</c:v>
                </c:pt>
                <c:pt idx="20">
                  <c:v>43830</c:v>
                </c:pt>
                <c:pt idx="21">
                  <c:v>43738</c:v>
                </c:pt>
                <c:pt idx="22">
                  <c:v>43646</c:v>
                </c:pt>
                <c:pt idx="23">
                  <c:v>43555</c:v>
                </c:pt>
                <c:pt idx="24">
                  <c:v>43465</c:v>
                </c:pt>
                <c:pt idx="25">
                  <c:v>43373</c:v>
                </c:pt>
                <c:pt idx="26">
                  <c:v>43281</c:v>
                </c:pt>
                <c:pt idx="27">
                  <c:v>43190</c:v>
                </c:pt>
                <c:pt idx="28">
                  <c:v>43100</c:v>
                </c:pt>
                <c:pt idx="29">
                  <c:v>43008</c:v>
                </c:pt>
                <c:pt idx="30">
                  <c:v>42916</c:v>
                </c:pt>
                <c:pt idx="31">
                  <c:v>42825</c:v>
                </c:pt>
                <c:pt idx="32">
                  <c:v>42735</c:v>
                </c:pt>
                <c:pt idx="33">
                  <c:v>42643</c:v>
                </c:pt>
                <c:pt idx="34">
                  <c:v>42551</c:v>
                </c:pt>
                <c:pt idx="35">
                  <c:v>42460</c:v>
                </c:pt>
                <c:pt idx="36">
                  <c:v>42369</c:v>
                </c:pt>
                <c:pt idx="37">
                  <c:v>42277</c:v>
                </c:pt>
                <c:pt idx="38">
                  <c:v>42185</c:v>
                </c:pt>
                <c:pt idx="39">
                  <c:v>42094</c:v>
                </c:pt>
                <c:pt idx="40">
                  <c:v>42004</c:v>
                </c:pt>
                <c:pt idx="41">
                  <c:v>41912</c:v>
                </c:pt>
                <c:pt idx="42">
                  <c:v>41820</c:v>
                </c:pt>
                <c:pt idx="43">
                  <c:v>41729</c:v>
                </c:pt>
                <c:pt idx="44">
                  <c:v>41639</c:v>
                </c:pt>
                <c:pt idx="45">
                  <c:v>41547</c:v>
                </c:pt>
                <c:pt idx="46">
                  <c:v>41455</c:v>
                </c:pt>
                <c:pt idx="47">
                  <c:v>41364</c:v>
                </c:pt>
                <c:pt idx="48">
                  <c:v>41274</c:v>
                </c:pt>
                <c:pt idx="49">
                  <c:v>41182</c:v>
                </c:pt>
                <c:pt idx="50">
                  <c:v>41090</c:v>
                </c:pt>
                <c:pt idx="51">
                  <c:v>40999</c:v>
                </c:pt>
                <c:pt idx="52">
                  <c:v>40908</c:v>
                </c:pt>
                <c:pt idx="53">
                  <c:v>40816</c:v>
                </c:pt>
                <c:pt idx="54">
                  <c:v>40724</c:v>
                </c:pt>
                <c:pt idx="55">
                  <c:v>40633</c:v>
                </c:pt>
                <c:pt idx="56">
                  <c:v>40543</c:v>
                </c:pt>
                <c:pt idx="57">
                  <c:v>40451</c:v>
                </c:pt>
                <c:pt idx="58">
                  <c:v>40359</c:v>
                </c:pt>
                <c:pt idx="59">
                  <c:v>40268</c:v>
                </c:pt>
                <c:pt idx="60">
                  <c:v>40178</c:v>
                </c:pt>
                <c:pt idx="61">
                  <c:v>40086</c:v>
                </c:pt>
                <c:pt idx="62">
                  <c:v>39994</c:v>
                </c:pt>
                <c:pt idx="63">
                  <c:v>39903</c:v>
                </c:pt>
                <c:pt idx="64">
                  <c:v>39813</c:v>
                </c:pt>
                <c:pt idx="65">
                  <c:v>39721</c:v>
                </c:pt>
                <c:pt idx="66">
                  <c:v>39629</c:v>
                </c:pt>
                <c:pt idx="67">
                  <c:v>39538</c:v>
                </c:pt>
                <c:pt idx="68">
                  <c:v>39447</c:v>
                </c:pt>
                <c:pt idx="69">
                  <c:v>39355</c:v>
                </c:pt>
                <c:pt idx="70">
                  <c:v>39263</c:v>
                </c:pt>
                <c:pt idx="71">
                  <c:v>39172</c:v>
                </c:pt>
                <c:pt idx="72">
                  <c:v>39082</c:v>
                </c:pt>
                <c:pt idx="73">
                  <c:v>38990</c:v>
                </c:pt>
                <c:pt idx="74">
                  <c:v>38898</c:v>
                </c:pt>
                <c:pt idx="75">
                  <c:v>38807</c:v>
                </c:pt>
                <c:pt idx="76">
                  <c:v>38717</c:v>
                </c:pt>
                <c:pt idx="77">
                  <c:v>38625</c:v>
                </c:pt>
                <c:pt idx="78">
                  <c:v>38533</c:v>
                </c:pt>
                <c:pt idx="79">
                  <c:v>38442</c:v>
                </c:pt>
                <c:pt idx="80">
                  <c:v>38352</c:v>
                </c:pt>
                <c:pt idx="81">
                  <c:v>38260</c:v>
                </c:pt>
                <c:pt idx="82">
                  <c:v>38168</c:v>
                </c:pt>
                <c:pt idx="83">
                  <c:v>38077</c:v>
                </c:pt>
                <c:pt idx="84">
                  <c:v>37986</c:v>
                </c:pt>
                <c:pt idx="85">
                  <c:v>37894</c:v>
                </c:pt>
                <c:pt idx="86">
                  <c:v>37802</c:v>
                </c:pt>
                <c:pt idx="87">
                  <c:v>37711</c:v>
                </c:pt>
                <c:pt idx="88">
                  <c:v>37621</c:v>
                </c:pt>
                <c:pt idx="89">
                  <c:v>37529</c:v>
                </c:pt>
                <c:pt idx="90">
                  <c:v>37437</c:v>
                </c:pt>
                <c:pt idx="91">
                  <c:v>37346</c:v>
                </c:pt>
                <c:pt idx="92">
                  <c:v>37256</c:v>
                </c:pt>
                <c:pt idx="93">
                  <c:v>37164</c:v>
                </c:pt>
                <c:pt idx="94">
                  <c:v>37072</c:v>
                </c:pt>
                <c:pt idx="95">
                  <c:v>36981</c:v>
                </c:pt>
                <c:pt idx="96">
                  <c:v>36891</c:v>
                </c:pt>
                <c:pt idx="97">
                  <c:v>36799</c:v>
                </c:pt>
                <c:pt idx="98">
                  <c:v>36707</c:v>
                </c:pt>
                <c:pt idx="99">
                  <c:v>36616</c:v>
                </c:pt>
                <c:pt idx="100">
                  <c:v>36525</c:v>
                </c:pt>
                <c:pt idx="101">
                  <c:v>36433</c:v>
                </c:pt>
                <c:pt idx="102">
                  <c:v>36341</c:v>
                </c:pt>
                <c:pt idx="103">
                  <c:v>36250</c:v>
                </c:pt>
                <c:pt idx="104">
                  <c:v>36160</c:v>
                </c:pt>
                <c:pt idx="105">
                  <c:v>36068</c:v>
                </c:pt>
                <c:pt idx="106">
                  <c:v>35976</c:v>
                </c:pt>
                <c:pt idx="107">
                  <c:v>35885</c:v>
                </c:pt>
                <c:pt idx="108">
                  <c:v>35795</c:v>
                </c:pt>
                <c:pt idx="109">
                  <c:v>35703</c:v>
                </c:pt>
                <c:pt idx="110">
                  <c:v>35611</c:v>
                </c:pt>
                <c:pt idx="111">
                  <c:v>35520</c:v>
                </c:pt>
                <c:pt idx="112">
                  <c:v>35430</c:v>
                </c:pt>
                <c:pt idx="113">
                  <c:v>35338</c:v>
                </c:pt>
                <c:pt idx="114">
                  <c:v>35246</c:v>
                </c:pt>
                <c:pt idx="115">
                  <c:v>35155</c:v>
                </c:pt>
                <c:pt idx="116">
                  <c:v>35064</c:v>
                </c:pt>
                <c:pt idx="117">
                  <c:v>34972</c:v>
                </c:pt>
                <c:pt idx="118">
                  <c:v>34880</c:v>
                </c:pt>
                <c:pt idx="119">
                  <c:v>34789</c:v>
                </c:pt>
                <c:pt idx="120">
                  <c:v>34699</c:v>
                </c:pt>
                <c:pt idx="121">
                  <c:v>34607</c:v>
                </c:pt>
              </c:numCache>
            </c:numRef>
          </c:cat>
          <c:val>
            <c:numRef>
              <c:f>Sheet1!$I$27:$I$148</c:f>
              <c:numCache>
                <c:formatCode>_-* #,##0.0_-;\-* #,##0.0_-;_-* "-"??_-;_-@_-</c:formatCode>
                <c:ptCount val="122"/>
                <c:pt idx="1">
                  <c:v>3.3992689750028671</c:v>
                </c:pt>
                <c:pt idx="2">
                  <c:v>3.4992772169989417</c:v>
                </c:pt>
                <c:pt idx="3">
                  <c:v>3.9066951752055434</c:v>
                </c:pt>
                <c:pt idx="4">
                  <c:v>3.5239860632290565</c:v>
                </c:pt>
                <c:pt idx="5">
                  <c:v>2.0684808316069336</c:v>
                </c:pt>
                <c:pt idx="6">
                  <c:v>1.2117552619123506</c:v>
                </c:pt>
                <c:pt idx="7">
                  <c:v>-1.0022677009854384</c:v>
                </c:pt>
                <c:pt idx="8">
                  <c:v>-2.6235375621234134</c:v>
                </c:pt>
                <c:pt idx="9">
                  <c:v>-2.8785724159670067</c:v>
                </c:pt>
                <c:pt idx="10">
                  <c:v>-0.39010426316252733</c:v>
                </c:pt>
                <c:pt idx="11">
                  <c:v>2.8045770454636409</c:v>
                </c:pt>
                <c:pt idx="12">
                  <c:v>0.56475763102148413</c:v>
                </c:pt>
                <c:pt idx="13">
                  <c:v>1.3500258680156918</c:v>
                </c:pt>
                <c:pt idx="14">
                  <c:v>3.9035713155536556</c:v>
                </c:pt>
                <c:pt idx="15">
                  <c:v>-2.8504367829689681</c:v>
                </c:pt>
                <c:pt idx="16">
                  <c:v>6.029136526887191E-2</c:v>
                </c:pt>
                <c:pt idx="17">
                  <c:v>-1.4200166028988992</c:v>
                </c:pt>
                <c:pt idx="18">
                  <c:v>-5.065451619262662</c:v>
                </c:pt>
                <c:pt idx="19">
                  <c:v>1.3065824528050829</c:v>
                </c:pt>
                <c:pt idx="20">
                  <c:v>2.4589181895108503</c:v>
                </c:pt>
                <c:pt idx="21">
                  <c:v>3.2995022201318003</c:v>
                </c:pt>
                <c:pt idx="22">
                  <c:v>3.0796906632500232</c:v>
                </c:pt>
                <c:pt idx="23">
                  <c:v>3.0813841527687957</c:v>
                </c:pt>
                <c:pt idx="24">
                  <c:v>2.7501161322059264</c:v>
                </c:pt>
                <c:pt idx="25">
                  <c:v>3.3199062438583393</c:v>
                </c:pt>
                <c:pt idx="26">
                  <c:v>3.3091892668857037</c:v>
                </c:pt>
                <c:pt idx="27">
                  <c:v>3.5689226028231547</c:v>
                </c:pt>
                <c:pt idx="28">
                  <c:v>3.1602758848739532</c:v>
                </c:pt>
                <c:pt idx="29">
                  <c:v>3.0432154551828905</c:v>
                </c:pt>
                <c:pt idx="30">
                  <c:v>3.2999010060378753</c:v>
                </c:pt>
                <c:pt idx="31">
                  <c:v>2.7600659646837444</c:v>
                </c:pt>
                <c:pt idx="32">
                  <c:v>3.3974176458960059</c:v>
                </c:pt>
                <c:pt idx="33">
                  <c:v>3.5088886480949322</c:v>
                </c:pt>
                <c:pt idx="34">
                  <c:v>3.6124698487772555</c:v>
                </c:pt>
                <c:pt idx="35">
                  <c:v>4.3899759660053883</c:v>
                </c:pt>
                <c:pt idx="36">
                  <c:v>3.7856491653070812</c:v>
                </c:pt>
                <c:pt idx="37">
                  <c:v>3.9506898903990839</c:v>
                </c:pt>
                <c:pt idx="38">
                  <c:v>3.5016081523266296</c:v>
                </c:pt>
                <c:pt idx="39">
                  <c:v>2.9770297532438539</c:v>
                </c:pt>
                <c:pt idx="40">
                  <c:v>3.5737228056874404</c:v>
                </c:pt>
                <c:pt idx="41">
                  <c:v>3.2365462983801496</c:v>
                </c:pt>
                <c:pt idx="42">
                  <c:v>3.2923263101560574</c:v>
                </c:pt>
                <c:pt idx="43">
                  <c:v>3.0509100723066451</c:v>
                </c:pt>
                <c:pt idx="44">
                  <c:v>2.0116877808034284</c:v>
                </c:pt>
                <c:pt idx="45">
                  <c:v>1.7688373439879612</c:v>
                </c:pt>
                <c:pt idx="46">
                  <c:v>1.266384125150255</c:v>
                </c:pt>
                <c:pt idx="47">
                  <c:v>1.846876064178482</c:v>
                </c:pt>
                <c:pt idx="48">
                  <c:v>2.4046854376494675</c:v>
                </c:pt>
                <c:pt idx="49">
                  <c:v>2.384111798395816</c:v>
                </c:pt>
                <c:pt idx="50">
                  <c:v>2.5444027779866429</c:v>
                </c:pt>
                <c:pt idx="51">
                  <c:v>2.0779883811798738</c:v>
                </c:pt>
                <c:pt idx="52">
                  <c:v>2.2653851573482875</c:v>
                </c:pt>
                <c:pt idx="53">
                  <c:v>2.2408200496014219</c:v>
                </c:pt>
                <c:pt idx="54">
                  <c:v>3.0968773586412812</c:v>
                </c:pt>
                <c:pt idx="55">
                  <c:v>2.9471009076809551</c:v>
                </c:pt>
                <c:pt idx="56">
                  <c:v>2.4558428640289787</c:v>
                </c:pt>
                <c:pt idx="57">
                  <c:v>2.2109427653384195</c:v>
                </c:pt>
                <c:pt idx="58">
                  <c:v>1.8818036307333585</c:v>
                </c:pt>
                <c:pt idx="59">
                  <c:v>0.91221406847050712</c:v>
                </c:pt>
                <c:pt idx="60">
                  <c:v>-0.55523158797087246</c:v>
                </c:pt>
                <c:pt idx="61">
                  <c:v>0.31857507297267107</c:v>
                </c:pt>
                <c:pt idx="62">
                  <c:v>-0.38832285914750519</c:v>
                </c:pt>
                <c:pt idx="63">
                  <c:v>0.22917611946784433</c:v>
                </c:pt>
                <c:pt idx="64">
                  <c:v>2.3375242948072028</c:v>
                </c:pt>
                <c:pt idx="65">
                  <c:v>1.1749561893742433</c:v>
                </c:pt>
                <c:pt idx="66">
                  <c:v>1.1457450869110763</c:v>
                </c:pt>
                <c:pt idx="67">
                  <c:v>1.3876202079001532</c:v>
                </c:pt>
                <c:pt idx="68">
                  <c:v>0.52120299915860979</c:v>
                </c:pt>
                <c:pt idx="69">
                  <c:v>0.5643008061167798</c:v>
                </c:pt>
                <c:pt idx="70">
                  <c:v>1.5032280378948659</c:v>
                </c:pt>
                <c:pt idx="71">
                  <c:v>1.4417875499884936</c:v>
                </c:pt>
                <c:pt idx="72">
                  <c:v>0.98890127227480029</c:v>
                </c:pt>
                <c:pt idx="73">
                  <c:v>1.0055238500683572</c:v>
                </c:pt>
                <c:pt idx="74">
                  <c:v>-0.3493678994719307</c:v>
                </c:pt>
                <c:pt idx="75">
                  <c:v>-1.2221237663161633</c:v>
                </c:pt>
                <c:pt idx="76">
                  <c:v>-1.2332666318065177</c:v>
                </c:pt>
                <c:pt idx="77">
                  <c:v>-1.6818323223303233</c:v>
                </c:pt>
                <c:pt idx="78">
                  <c:v>-1.6786385083569222</c:v>
                </c:pt>
                <c:pt idx="79">
                  <c:v>-1.7602735035379236</c:v>
                </c:pt>
                <c:pt idx="80">
                  <c:v>-1.7245066988010205</c:v>
                </c:pt>
                <c:pt idx="81">
                  <c:v>-1.6079766274639029</c:v>
                </c:pt>
                <c:pt idx="82">
                  <c:v>-0.65175357471480844</c:v>
                </c:pt>
                <c:pt idx="83">
                  <c:v>-1.834580651205453E-2</c:v>
                </c:pt>
                <c:pt idx="84">
                  <c:v>-1.1090614271560773</c:v>
                </c:pt>
                <c:pt idx="85">
                  <c:v>-0.44586965769914944</c:v>
                </c:pt>
                <c:pt idx="86">
                  <c:v>-0.7044688034457236</c:v>
                </c:pt>
                <c:pt idx="87">
                  <c:v>-1.0012073642871933</c:v>
                </c:pt>
                <c:pt idx="88">
                  <c:v>-0.42133556090511171</c:v>
                </c:pt>
                <c:pt idx="89">
                  <c:v>5.0741659296060782E-2</c:v>
                </c:pt>
                <c:pt idx="90">
                  <c:v>-0.50106190474825674</c:v>
                </c:pt>
                <c:pt idx="91">
                  <c:v>-1.0451615154068561</c:v>
                </c:pt>
                <c:pt idx="92">
                  <c:v>-0.13784875171061195</c:v>
                </c:pt>
                <c:pt idx="93">
                  <c:v>-1.108063173127638</c:v>
                </c:pt>
                <c:pt idx="94">
                  <c:v>-0.33141090436714649</c:v>
                </c:pt>
                <c:pt idx="95">
                  <c:v>1.080860556276364</c:v>
                </c:pt>
                <c:pt idx="96">
                  <c:v>1.8642697726452884</c:v>
                </c:pt>
                <c:pt idx="97">
                  <c:v>2.334557412792182</c:v>
                </c:pt>
                <c:pt idx="98">
                  <c:v>2.2454978184406338</c:v>
                </c:pt>
                <c:pt idx="99">
                  <c:v>2.3366792841795769</c:v>
                </c:pt>
                <c:pt idx="100">
                  <c:v>2.3285268097867462</c:v>
                </c:pt>
                <c:pt idx="101">
                  <c:v>2.5278781480101653</c:v>
                </c:pt>
                <c:pt idx="102">
                  <c:v>2.5671872344280366</c:v>
                </c:pt>
                <c:pt idx="103">
                  <c:v>2.3889917452672993</c:v>
                </c:pt>
                <c:pt idx="104">
                  <c:v>2.1117294195823977</c:v>
                </c:pt>
                <c:pt idx="105">
                  <c:v>1.8182095335271375</c:v>
                </c:pt>
                <c:pt idx="106">
                  <c:v>0.6672635585745379</c:v>
                </c:pt>
                <c:pt idx="107">
                  <c:v>-0.10671136567497186</c:v>
                </c:pt>
                <c:pt idx="108">
                  <c:v>-1.9359632868825916</c:v>
                </c:pt>
                <c:pt idx="109">
                  <c:v>-2.4737930039036127</c:v>
                </c:pt>
                <c:pt idx="110">
                  <c:v>-1.5860759992503914</c:v>
                </c:pt>
                <c:pt idx="111">
                  <c:v>-2.1314301653457157</c:v>
                </c:pt>
                <c:pt idx="112">
                  <c:v>-1.4323279648972287</c:v>
                </c:pt>
                <c:pt idx="113">
                  <c:v>-0.3791747787402544</c:v>
                </c:pt>
                <c:pt idx="114">
                  <c:v>-0.52503080385324363</c:v>
                </c:pt>
                <c:pt idx="115">
                  <c:v>0.98479514362834752</c:v>
                </c:pt>
                <c:pt idx="116">
                  <c:v>1.6189962210879205</c:v>
                </c:pt>
                <c:pt idx="117">
                  <c:v>2.0498929743220762</c:v>
                </c:pt>
                <c:pt idx="118">
                  <c:v>2.1985329661226682</c:v>
                </c:pt>
                <c:pt idx="119">
                  <c:v>0.53482559906190552</c:v>
                </c:pt>
                <c:pt idx="120">
                  <c:v>-0.1442909242254764</c:v>
                </c:pt>
                <c:pt idx="121">
                  <c:v>-1.4849937939839242</c:v>
                </c:pt>
              </c:numCache>
            </c:numRef>
          </c:val>
          <c:smooth val="0"/>
          <c:extLst>
            <c:ext xmlns:c16="http://schemas.microsoft.com/office/drawing/2014/chart" uri="{C3380CC4-5D6E-409C-BE32-E72D297353CC}">
              <c16:uniqueId val="{00000000-EA97-4E05-B439-BDF026CC78D7}"/>
            </c:ext>
          </c:extLst>
        </c:ser>
        <c:dLbls>
          <c:showLegendKey val="0"/>
          <c:showVal val="0"/>
          <c:showCatName val="0"/>
          <c:showSerName val="0"/>
          <c:showPercent val="0"/>
          <c:showBubbleSize val="0"/>
        </c:dLbls>
        <c:marker val="1"/>
        <c:smooth val="0"/>
        <c:axId val="242592975"/>
        <c:axId val="689376031"/>
      </c:lineChart>
      <c:lineChart>
        <c:grouping val="standard"/>
        <c:varyColors val="0"/>
        <c:ser>
          <c:idx val="1"/>
          <c:order val="1"/>
          <c:tx>
            <c:v>Konsumentenvertrauen (rechts, Z-Wert)</c:v>
          </c:tx>
          <c:spPr>
            <a:ln w="28575" cap="rnd">
              <a:solidFill>
                <a:srgbClr val="0092D0"/>
              </a:solidFill>
              <a:prstDash val="solid"/>
              <a:round/>
            </a:ln>
            <a:effectLst/>
          </c:spPr>
          <c:marker>
            <c:symbol val="none"/>
          </c:marker>
          <c:dPt>
            <c:idx val="1"/>
            <c:marker>
              <c:symbol val="none"/>
            </c:marker>
            <c:bubble3D val="0"/>
            <c:extLst>
              <c:ext xmlns:c16="http://schemas.microsoft.com/office/drawing/2014/chart" uri="{C3380CC4-5D6E-409C-BE32-E72D297353CC}">
                <c16:uniqueId val="{00000001-EA97-4E05-B439-BDF026CC78D7}"/>
              </c:ext>
            </c:extLst>
          </c:dPt>
          <c:dPt>
            <c:idx val="121"/>
            <c:marker>
              <c:symbol val="none"/>
            </c:marker>
            <c:bubble3D val="0"/>
            <c:spPr>
              <a:ln w="28575" cap="rnd">
                <a:solidFill>
                  <a:srgbClr val="0092D0"/>
                </a:solidFill>
                <a:prstDash val="solid"/>
                <a:round/>
              </a:ln>
              <a:effectLst/>
            </c:spPr>
            <c:extLst>
              <c:ext xmlns:c16="http://schemas.microsoft.com/office/drawing/2014/chart" uri="{C3380CC4-5D6E-409C-BE32-E72D297353CC}">
                <c16:uniqueId val="{00000003-EA97-4E05-B439-BDF026CC78D7}"/>
              </c:ext>
            </c:extLst>
          </c:dPt>
          <c:cat>
            <c:numRef>
              <c:f>Sheet1!$F$27:$F$148</c:f>
              <c:numCache>
                <c:formatCode>m/d/yyyy</c:formatCode>
                <c:ptCount val="122"/>
                <c:pt idx="0">
                  <c:v>45657</c:v>
                </c:pt>
                <c:pt idx="1">
                  <c:v>45565</c:v>
                </c:pt>
                <c:pt idx="2">
                  <c:v>45473</c:v>
                </c:pt>
                <c:pt idx="3">
                  <c:v>45382</c:v>
                </c:pt>
                <c:pt idx="4">
                  <c:v>45291</c:v>
                </c:pt>
                <c:pt idx="5">
                  <c:v>45199</c:v>
                </c:pt>
                <c:pt idx="6">
                  <c:v>45107</c:v>
                </c:pt>
                <c:pt idx="7">
                  <c:v>45016</c:v>
                </c:pt>
                <c:pt idx="8">
                  <c:v>44926</c:v>
                </c:pt>
                <c:pt idx="9">
                  <c:v>44834</c:v>
                </c:pt>
                <c:pt idx="10">
                  <c:v>44742</c:v>
                </c:pt>
                <c:pt idx="11">
                  <c:v>44651</c:v>
                </c:pt>
                <c:pt idx="12">
                  <c:v>44561</c:v>
                </c:pt>
                <c:pt idx="13">
                  <c:v>44469</c:v>
                </c:pt>
                <c:pt idx="14">
                  <c:v>44377</c:v>
                </c:pt>
                <c:pt idx="15">
                  <c:v>44286</c:v>
                </c:pt>
                <c:pt idx="16">
                  <c:v>44196</c:v>
                </c:pt>
                <c:pt idx="17">
                  <c:v>44104</c:v>
                </c:pt>
                <c:pt idx="18">
                  <c:v>44012</c:v>
                </c:pt>
                <c:pt idx="19">
                  <c:v>43921</c:v>
                </c:pt>
                <c:pt idx="20">
                  <c:v>43830</c:v>
                </c:pt>
                <c:pt idx="21">
                  <c:v>43738</c:v>
                </c:pt>
                <c:pt idx="22">
                  <c:v>43646</c:v>
                </c:pt>
                <c:pt idx="23">
                  <c:v>43555</c:v>
                </c:pt>
                <c:pt idx="24">
                  <c:v>43465</c:v>
                </c:pt>
                <c:pt idx="25">
                  <c:v>43373</c:v>
                </c:pt>
                <c:pt idx="26">
                  <c:v>43281</c:v>
                </c:pt>
                <c:pt idx="27">
                  <c:v>43190</c:v>
                </c:pt>
                <c:pt idx="28">
                  <c:v>43100</c:v>
                </c:pt>
                <c:pt idx="29">
                  <c:v>43008</c:v>
                </c:pt>
                <c:pt idx="30">
                  <c:v>42916</c:v>
                </c:pt>
                <c:pt idx="31">
                  <c:v>42825</c:v>
                </c:pt>
                <c:pt idx="32">
                  <c:v>42735</c:v>
                </c:pt>
                <c:pt idx="33">
                  <c:v>42643</c:v>
                </c:pt>
                <c:pt idx="34">
                  <c:v>42551</c:v>
                </c:pt>
                <c:pt idx="35">
                  <c:v>42460</c:v>
                </c:pt>
                <c:pt idx="36">
                  <c:v>42369</c:v>
                </c:pt>
                <c:pt idx="37">
                  <c:v>42277</c:v>
                </c:pt>
                <c:pt idx="38">
                  <c:v>42185</c:v>
                </c:pt>
                <c:pt idx="39">
                  <c:v>42094</c:v>
                </c:pt>
                <c:pt idx="40">
                  <c:v>42004</c:v>
                </c:pt>
                <c:pt idx="41">
                  <c:v>41912</c:v>
                </c:pt>
                <c:pt idx="42">
                  <c:v>41820</c:v>
                </c:pt>
                <c:pt idx="43">
                  <c:v>41729</c:v>
                </c:pt>
                <c:pt idx="44">
                  <c:v>41639</c:v>
                </c:pt>
                <c:pt idx="45">
                  <c:v>41547</c:v>
                </c:pt>
                <c:pt idx="46">
                  <c:v>41455</c:v>
                </c:pt>
                <c:pt idx="47">
                  <c:v>41364</c:v>
                </c:pt>
                <c:pt idx="48">
                  <c:v>41274</c:v>
                </c:pt>
                <c:pt idx="49">
                  <c:v>41182</c:v>
                </c:pt>
                <c:pt idx="50">
                  <c:v>41090</c:v>
                </c:pt>
                <c:pt idx="51">
                  <c:v>40999</c:v>
                </c:pt>
                <c:pt idx="52">
                  <c:v>40908</c:v>
                </c:pt>
                <c:pt idx="53">
                  <c:v>40816</c:v>
                </c:pt>
                <c:pt idx="54">
                  <c:v>40724</c:v>
                </c:pt>
                <c:pt idx="55">
                  <c:v>40633</c:v>
                </c:pt>
                <c:pt idx="56">
                  <c:v>40543</c:v>
                </c:pt>
                <c:pt idx="57">
                  <c:v>40451</c:v>
                </c:pt>
                <c:pt idx="58">
                  <c:v>40359</c:v>
                </c:pt>
                <c:pt idx="59">
                  <c:v>40268</c:v>
                </c:pt>
                <c:pt idx="60">
                  <c:v>40178</c:v>
                </c:pt>
                <c:pt idx="61">
                  <c:v>40086</c:v>
                </c:pt>
                <c:pt idx="62">
                  <c:v>39994</c:v>
                </c:pt>
                <c:pt idx="63">
                  <c:v>39903</c:v>
                </c:pt>
                <c:pt idx="64">
                  <c:v>39813</c:v>
                </c:pt>
                <c:pt idx="65">
                  <c:v>39721</c:v>
                </c:pt>
                <c:pt idx="66">
                  <c:v>39629</c:v>
                </c:pt>
                <c:pt idx="67">
                  <c:v>39538</c:v>
                </c:pt>
                <c:pt idx="68">
                  <c:v>39447</c:v>
                </c:pt>
                <c:pt idx="69">
                  <c:v>39355</c:v>
                </c:pt>
                <c:pt idx="70">
                  <c:v>39263</c:v>
                </c:pt>
                <c:pt idx="71">
                  <c:v>39172</c:v>
                </c:pt>
                <c:pt idx="72">
                  <c:v>39082</c:v>
                </c:pt>
                <c:pt idx="73">
                  <c:v>38990</c:v>
                </c:pt>
                <c:pt idx="74">
                  <c:v>38898</c:v>
                </c:pt>
                <c:pt idx="75">
                  <c:v>38807</c:v>
                </c:pt>
                <c:pt idx="76">
                  <c:v>38717</c:v>
                </c:pt>
                <c:pt idx="77">
                  <c:v>38625</c:v>
                </c:pt>
                <c:pt idx="78">
                  <c:v>38533</c:v>
                </c:pt>
                <c:pt idx="79">
                  <c:v>38442</c:v>
                </c:pt>
                <c:pt idx="80">
                  <c:v>38352</c:v>
                </c:pt>
                <c:pt idx="81">
                  <c:v>38260</c:v>
                </c:pt>
                <c:pt idx="82">
                  <c:v>38168</c:v>
                </c:pt>
                <c:pt idx="83">
                  <c:v>38077</c:v>
                </c:pt>
                <c:pt idx="84">
                  <c:v>37986</c:v>
                </c:pt>
                <c:pt idx="85">
                  <c:v>37894</c:v>
                </c:pt>
                <c:pt idx="86">
                  <c:v>37802</c:v>
                </c:pt>
                <c:pt idx="87">
                  <c:v>37711</c:v>
                </c:pt>
                <c:pt idx="88">
                  <c:v>37621</c:v>
                </c:pt>
                <c:pt idx="89">
                  <c:v>37529</c:v>
                </c:pt>
                <c:pt idx="90">
                  <c:v>37437</c:v>
                </c:pt>
                <c:pt idx="91">
                  <c:v>37346</c:v>
                </c:pt>
                <c:pt idx="92">
                  <c:v>37256</c:v>
                </c:pt>
                <c:pt idx="93">
                  <c:v>37164</c:v>
                </c:pt>
                <c:pt idx="94">
                  <c:v>37072</c:v>
                </c:pt>
                <c:pt idx="95">
                  <c:v>36981</c:v>
                </c:pt>
                <c:pt idx="96">
                  <c:v>36891</c:v>
                </c:pt>
                <c:pt idx="97">
                  <c:v>36799</c:v>
                </c:pt>
                <c:pt idx="98">
                  <c:v>36707</c:v>
                </c:pt>
                <c:pt idx="99">
                  <c:v>36616</c:v>
                </c:pt>
                <c:pt idx="100">
                  <c:v>36525</c:v>
                </c:pt>
                <c:pt idx="101">
                  <c:v>36433</c:v>
                </c:pt>
                <c:pt idx="102">
                  <c:v>36341</c:v>
                </c:pt>
                <c:pt idx="103">
                  <c:v>36250</c:v>
                </c:pt>
                <c:pt idx="104">
                  <c:v>36160</c:v>
                </c:pt>
                <c:pt idx="105">
                  <c:v>36068</c:v>
                </c:pt>
                <c:pt idx="106">
                  <c:v>35976</c:v>
                </c:pt>
                <c:pt idx="107">
                  <c:v>35885</c:v>
                </c:pt>
                <c:pt idx="108">
                  <c:v>35795</c:v>
                </c:pt>
                <c:pt idx="109">
                  <c:v>35703</c:v>
                </c:pt>
                <c:pt idx="110">
                  <c:v>35611</c:v>
                </c:pt>
                <c:pt idx="111">
                  <c:v>35520</c:v>
                </c:pt>
                <c:pt idx="112">
                  <c:v>35430</c:v>
                </c:pt>
                <c:pt idx="113">
                  <c:v>35338</c:v>
                </c:pt>
                <c:pt idx="114">
                  <c:v>35246</c:v>
                </c:pt>
                <c:pt idx="115">
                  <c:v>35155</c:v>
                </c:pt>
                <c:pt idx="116">
                  <c:v>35064</c:v>
                </c:pt>
                <c:pt idx="117">
                  <c:v>34972</c:v>
                </c:pt>
                <c:pt idx="118">
                  <c:v>34880</c:v>
                </c:pt>
                <c:pt idx="119">
                  <c:v>34789</c:v>
                </c:pt>
                <c:pt idx="120">
                  <c:v>34699</c:v>
                </c:pt>
                <c:pt idx="121">
                  <c:v>34607</c:v>
                </c:pt>
              </c:numCache>
            </c:numRef>
          </c:cat>
          <c:val>
            <c:numRef>
              <c:f>Sheet1!$J$27:$J$148</c:f>
              <c:numCache>
                <c:formatCode>0.0</c:formatCode>
                <c:ptCount val="122"/>
                <c:pt idx="0">
                  <c:v>-0.20198368040077441</c:v>
                </c:pt>
                <c:pt idx="1">
                  <c:v>-0.13553253094397111</c:v>
                </c:pt>
                <c:pt idx="2">
                  <c:v>-0.19249065904980228</c:v>
                </c:pt>
                <c:pt idx="3">
                  <c:v>-0.91396028172366672</c:v>
                </c:pt>
                <c:pt idx="4">
                  <c:v>-0.96142538847852621</c:v>
                </c:pt>
                <c:pt idx="5">
                  <c:v>-0.89497423902172291</c:v>
                </c:pt>
                <c:pt idx="6">
                  <c:v>-0.67663474794936929</c:v>
                </c:pt>
                <c:pt idx="7">
                  <c:v>-1.2509625396831692</c:v>
                </c:pt>
                <c:pt idx="8">
                  <c:v>-2.3663925484223665</c:v>
                </c:pt>
                <c:pt idx="9">
                  <c:v>-2.5135343793624307</c:v>
                </c:pt>
                <c:pt idx="10">
                  <c:v>-1.4882880734574666</c:v>
                </c:pt>
                <c:pt idx="11">
                  <c:v>-5.009533878522409E-2</c:v>
                </c:pt>
                <c:pt idx="12">
                  <c:v>0.58119058105440713</c:v>
                </c:pt>
                <c:pt idx="13">
                  <c:v>1.0131230525236283</c:v>
                </c:pt>
                <c:pt idx="14">
                  <c:v>0.58119058105440713</c:v>
                </c:pt>
                <c:pt idx="15">
                  <c:v>-0.24470227648014806</c:v>
                </c:pt>
                <c:pt idx="16">
                  <c:v>-0.19249065904980256</c:v>
                </c:pt>
                <c:pt idx="17">
                  <c:v>4.4834874724494794E-2</c:v>
                </c:pt>
                <c:pt idx="18">
                  <c:v>-0.85225564294234957</c:v>
                </c:pt>
                <c:pt idx="19">
                  <c:v>0.58593709172989317</c:v>
                </c:pt>
                <c:pt idx="20">
                  <c:v>0.72833241199447152</c:v>
                </c:pt>
                <c:pt idx="21">
                  <c:v>0.78054402942481693</c:v>
                </c:pt>
                <c:pt idx="22">
                  <c:v>1.060588159278488</c:v>
                </c:pt>
                <c:pt idx="23">
                  <c:v>1.1982369688675805</c:v>
                </c:pt>
                <c:pt idx="24">
                  <c:v>1.1792509261656365</c:v>
                </c:pt>
                <c:pt idx="25">
                  <c:v>1.2409555649469539</c:v>
                </c:pt>
                <c:pt idx="26">
                  <c:v>1.4023369279134763</c:v>
                </c:pt>
                <c:pt idx="27">
                  <c:v>1.5637182908799985</c:v>
                </c:pt>
                <c:pt idx="28">
                  <c:v>1.4592950560193074</c:v>
                </c:pt>
                <c:pt idx="29">
                  <c:v>1.426069481290906</c:v>
                </c:pt>
                <c:pt idx="30">
                  <c:v>1.42132297061542</c:v>
                </c:pt>
                <c:pt idx="31">
                  <c:v>1.0890672233314036</c:v>
                </c:pt>
                <c:pt idx="32">
                  <c:v>1.0795742019804317</c:v>
                </c:pt>
                <c:pt idx="33">
                  <c:v>1.0131230525236283</c:v>
                </c:pt>
                <c:pt idx="34">
                  <c:v>1.0463486272520299</c:v>
                </c:pt>
                <c:pt idx="35">
                  <c:v>0.85174168955710616</c:v>
                </c:pt>
                <c:pt idx="36">
                  <c:v>0.73782543334544337</c:v>
                </c:pt>
                <c:pt idx="37">
                  <c:v>1.0558416486030018</c:v>
                </c:pt>
                <c:pt idx="38">
                  <c:v>1.345378799807645</c:v>
                </c:pt>
                <c:pt idx="39">
                  <c:v>1.2646881183243837</c:v>
                </c:pt>
                <c:pt idx="40">
                  <c:v>0.91344632833842354</c:v>
                </c:pt>
                <c:pt idx="41">
                  <c:v>1.0036300311726565</c:v>
                </c:pt>
                <c:pt idx="42">
                  <c:v>1.2504485862979258</c:v>
                </c:pt>
                <c:pt idx="43">
                  <c:v>1.2219695222450102</c:v>
                </c:pt>
                <c:pt idx="44">
                  <c:v>0.93717888171585317</c:v>
                </c:pt>
                <c:pt idx="45">
                  <c:v>0.68086730523961214</c:v>
                </c:pt>
                <c:pt idx="46">
                  <c:v>0.56695104902794913</c:v>
                </c:pt>
                <c:pt idx="47">
                  <c:v>0.49575338889565995</c:v>
                </c:pt>
                <c:pt idx="48">
                  <c:v>0.1824836843135873</c:v>
                </c:pt>
                <c:pt idx="49">
                  <c:v>0.26317436579684839</c:v>
                </c:pt>
                <c:pt idx="50">
                  <c:v>0.64289521983572429</c:v>
                </c:pt>
                <c:pt idx="51">
                  <c:v>0.59543011308086502</c:v>
                </c:pt>
                <c:pt idx="52">
                  <c:v>0.41980921808788491</c:v>
                </c:pt>
                <c:pt idx="53">
                  <c:v>0.82326262550419038</c:v>
                </c:pt>
                <c:pt idx="54">
                  <c:v>1.1365323300862631</c:v>
                </c:pt>
                <c:pt idx="55">
                  <c:v>1.3263927571057008</c:v>
                </c:pt>
                <c:pt idx="56">
                  <c:v>1.3880973958870182</c:v>
                </c:pt>
                <c:pt idx="57">
                  <c:v>0.99413700982168463</c:v>
                </c:pt>
                <c:pt idx="58">
                  <c:v>6.3820917426438778E-2</c:v>
                </c:pt>
                <c:pt idx="59">
                  <c:v>-0.32064644728792319</c:v>
                </c:pt>
                <c:pt idx="60">
                  <c:v>-0.14027904161945703</c:v>
                </c:pt>
                <c:pt idx="61">
                  <c:v>-0.55797198106222057</c:v>
                </c:pt>
                <c:pt idx="62">
                  <c:v>-1.5594857335897554</c:v>
                </c:pt>
                <c:pt idx="63">
                  <c:v>-1.8063042887150254</c:v>
                </c:pt>
                <c:pt idx="64">
                  <c:v>-1.4645555200800369</c:v>
                </c:pt>
                <c:pt idx="65">
                  <c:v>-1.0326230486108154</c:v>
                </c:pt>
                <c:pt idx="66">
                  <c:v>-0.23046274445369025</c:v>
                </c:pt>
                <c:pt idx="67">
                  <c:v>-3.5855806758766297E-2</c:v>
                </c:pt>
                <c:pt idx="68">
                  <c:v>0.15875113093615778</c:v>
                </c:pt>
                <c:pt idx="69">
                  <c:v>0.69985334794155585</c:v>
                </c:pt>
                <c:pt idx="70">
                  <c:v>1.0653346699539739</c:v>
                </c:pt>
                <c:pt idx="71">
                  <c:v>0.37709062200851129</c:v>
                </c:pt>
                <c:pt idx="72">
                  <c:v>-0.12603950959299925</c:v>
                </c:pt>
                <c:pt idx="73">
                  <c:v>-4.5348828109738164E-2</c:v>
                </c:pt>
                <c:pt idx="74">
                  <c:v>0.19672321634004525</c:v>
                </c:pt>
                <c:pt idx="75">
                  <c:v>7.3313938777410631E-2</c:v>
                </c:pt>
                <c:pt idx="76">
                  <c:v>-0.55797198106222057</c:v>
                </c:pt>
                <c:pt idx="77">
                  <c:v>-0.8759881963197792</c:v>
                </c:pt>
                <c:pt idx="78">
                  <c:v>-0.9281998137501245</c:v>
                </c:pt>
                <c:pt idx="79">
                  <c:v>-0.83801611091589157</c:v>
                </c:pt>
                <c:pt idx="80">
                  <c:v>-1.2367230076567111</c:v>
                </c:pt>
                <c:pt idx="81">
                  <c:v>-1.2272299863057392</c:v>
                </c:pt>
                <c:pt idx="82">
                  <c:v>-1.3031741571135147</c:v>
                </c:pt>
                <c:pt idx="83">
                  <c:v>-1.2984276464380284</c:v>
                </c:pt>
                <c:pt idx="84">
                  <c:v>-1.2319764969812255</c:v>
                </c:pt>
                <c:pt idx="85">
                  <c:v>-1.2462160290076829</c:v>
                </c:pt>
                <c:pt idx="86">
                  <c:v>-1.692388032503362</c:v>
                </c:pt>
                <c:pt idx="87">
                  <c:v>-2.152799568025499</c:v>
                </c:pt>
                <c:pt idx="88">
                  <c:v>-2.0293902904628642</c:v>
                </c:pt>
                <c:pt idx="89">
                  <c:v>-0.96142538847852621</c:v>
                </c:pt>
                <c:pt idx="90">
                  <c:v>-1.0468625806372731</c:v>
                </c:pt>
                <c:pt idx="91">
                  <c:v>-0.89972074969720883</c:v>
                </c:pt>
                <c:pt idx="92">
                  <c:v>-0.61018359849256609</c:v>
                </c:pt>
                <c:pt idx="93">
                  <c:v>-0.41083015012215618</c:v>
                </c:pt>
                <c:pt idx="94">
                  <c:v>0.12552555620775602</c:v>
                </c:pt>
                <c:pt idx="95">
                  <c:v>0.52423245294857579</c:v>
                </c:pt>
                <c:pt idx="96">
                  <c:v>0.33437202592913762</c:v>
                </c:pt>
                <c:pt idx="97">
                  <c:v>0.60492313443183687</c:v>
                </c:pt>
                <c:pt idx="98">
                  <c:v>0.61916266645829465</c:v>
                </c:pt>
                <c:pt idx="99">
                  <c:v>0.55271151700149146</c:v>
                </c:pt>
                <c:pt idx="100">
                  <c:v>0.29639994052525021</c:v>
                </c:pt>
                <c:pt idx="101">
                  <c:v>5.4327896075466654E-2</c:v>
                </c:pt>
                <c:pt idx="102">
                  <c:v>-2.161627473230825E-2</c:v>
                </c:pt>
                <c:pt idx="103">
                  <c:v>0.42930223943885676</c:v>
                </c:pt>
                <c:pt idx="104">
                  <c:v>0.63340219848475243</c:v>
                </c:pt>
                <c:pt idx="105">
                  <c:v>0.39133015403496918</c:v>
                </c:pt>
                <c:pt idx="106">
                  <c:v>-0.30640691526146541</c:v>
                </c:pt>
                <c:pt idx="107">
                  <c:v>-0.67188823727388314</c:v>
                </c:pt>
                <c:pt idx="108">
                  <c:v>-0.69562079065131333</c:v>
                </c:pt>
                <c:pt idx="109">
                  <c:v>-1.0231300272598434</c:v>
                </c:pt>
                <c:pt idx="110">
                  <c:v>-1.1750183688753937</c:v>
                </c:pt>
                <c:pt idx="111">
                  <c:v>-1.4123439026496907</c:v>
                </c:pt>
                <c:pt idx="112">
                  <c:v>-1.2841881144115708</c:v>
                </c:pt>
                <c:pt idx="113">
                  <c:v>-1.1275532621205344</c:v>
                </c:pt>
                <c:pt idx="114">
                  <c:v>-1.2319764969812255</c:v>
                </c:pt>
                <c:pt idx="115">
                  <c:v>-1.2319764969812255</c:v>
                </c:pt>
                <c:pt idx="116">
                  <c:v>-0.42506968214861418</c:v>
                </c:pt>
                <c:pt idx="117">
                  <c:v>-1.2123253381336387E-2</c:v>
                </c:pt>
                <c:pt idx="118">
                  <c:v>6.8567428101924704E-2</c:v>
                </c:pt>
                <c:pt idx="119">
                  <c:v>-0.12129299891751306</c:v>
                </c:pt>
                <c:pt idx="120">
                  <c:v>0.23944181241941886</c:v>
                </c:pt>
                <c:pt idx="121">
                  <c:v>0.16824415228712963</c:v>
                </c:pt>
              </c:numCache>
            </c:numRef>
          </c:val>
          <c:smooth val="0"/>
          <c:extLst>
            <c:ext xmlns:c16="http://schemas.microsoft.com/office/drawing/2014/chart" uri="{C3380CC4-5D6E-409C-BE32-E72D297353CC}">
              <c16:uniqueId val="{00000004-EA97-4E05-B439-BDF026CC78D7}"/>
            </c:ext>
          </c:extLst>
        </c:ser>
        <c:dLbls>
          <c:showLegendKey val="0"/>
          <c:showVal val="0"/>
          <c:showCatName val="0"/>
          <c:showSerName val="0"/>
          <c:showPercent val="0"/>
          <c:showBubbleSize val="0"/>
        </c:dLbls>
        <c:marker val="1"/>
        <c:smooth val="0"/>
        <c:axId val="155556671"/>
        <c:axId val="1685162464"/>
      </c:lineChart>
      <c:dateAx>
        <c:axId val="242592975"/>
        <c:scaling>
          <c:orientation val="minMax"/>
          <c:max val="46022"/>
          <c:min val="34335"/>
        </c:scaling>
        <c:delete val="0"/>
        <c:axPos val="b"/>
        <c:numFmt formatCode="yy" sourceLinked="0"/>
        <c:majorTickMark val="none"/>
        <c:minorTickMark val="none"/>
        <c:tickLblPos val="low"/>
        <c:spPr>
          <a:noFill/>
          <a:ln w="25400" cap="flat" cmpd="sng" algn="ctr">
            <a:solidFill>
              <a:srgbClr val="72706F"/>
            </a:solidFill>
            <a:prstDash val="solid"/>
            <a:round/>
          </a:ln>
          <a:effectLst/>
        </c:spPr>
        <c:txPr>
          <a:bodyPr rot="0" spcFirstLastPara="1" vertOverflow="ellipsis" wrap="square" anchor="ctr" anchorCtr="1"/>
          <a:lstStyle/>
          <a:p>
            <a:pPr>
              <a:defRPr sz="1200" b="0" i="0" u="none" strike="noStrike" kern="1200" baseline="0">
                <a:solidFill>
                  <a:srgbClr val="000000"/>
                </a:solidFill>
                <a:latin typeface="Arial"/>
                <a:ea typeface="Arial"/>
                <a:cs typeface="Arial"/>
              </a:defRPr>
            </a:pPr>
            <a:endParaRPr lang="en-US"/>
          </a:p>
        </c:txPr>
        <c:crossAx val="689376031"/>
        <c:crosses val="autoZero"/>
        <c:auto val="1"/>
        <c:lblOffset val="100"/>
        <c:baseTimeUnit val="months"/>
        <c:majorUnit val="4"/>
        <c:majorTimeUnit val="years"/>
      </c:dateAx>
      <c:valAx>
        <c:axId val="689376031"/>
        <c:scaling>
          <c:orientation val="minMax"/>
        </c:scaling>
        <c:delete val="0"/>
        <c:axPos val="l"/>
        <c:numFmt formatCode="0%" sourceLinked="0"/>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242592975"/>
        <c:crosses val="autoZero"/>
        <c:crossBetween val="between"/>
        <c:dispUnits>
          <c:builtInUnit val="hundreds"/>
        </c:dispUnits>
      </c:valAx>
      <c:valAx>
        <c:axId val="1685162464"/>
        <c:scaling>
          <c:orientation val="minMax"/>
          <c:max val="3"/>
        </c:scaling>
        <c:delete val="0"/>
        <c:axPos val="r"/>
        <c:numFmt formatCode="0.0" sourceLinked="1"/>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155556671"/>
        <c:crosses val="max"/>
        <c:crossBetween val="midCat"/>
      </c:valAx>
      <c:dateAx>
        <c:axId val="155556671"/>
        <c:scaling>
          <c:orientation val="minMax"/>
          <c:max val="46022"/>
          <c:min val="34335"/>
        </c:scaling>
        <c:delete val="0"/>
        <c:axPos val="b"/>
        <c:numFmt formatCode="m/d/yyyy" sourceLinked="1"/>
        <c:majorTickMark val="none"/>
        <c:minorTickMark val="none"/>
        <c:tickLblPos val="none"/>
        <c:spPr>
          <a:noFill/>
          <a:ln w="25400" cap="flat" cmpd="sng" algn="ctr">
            <a:solidFill>
              <a:srgbClr val="72706F"/>
            </a:solidFill>
            <a:prstDash val="solid"/>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a:ea typeface="Arial"/>
                <a:cs typeface="Arial"/>
              </a:defRPr>
            </a:pPr>
            <a:endParaRPr lang="en-US"/>
          </a:p>
        </c:txPr>
        <c:crossAx val="1685162464"/>
        <c:crosses val="autoZero"/>
        <c:auto val="1"/>
        <c:lblOffset val="100"/>
        <c:baseTimeUnit val="months"/>
        <c:majorUnit val="1"/>
        <c:majorTimeUnit val="months"/>
        <c:minorUnit val="1"/>
      </c:dateAx>
      <c:spPr>
        <a:noFill/>
        <a:ln w="25400">
          <a:noFill/>
        </a:ln>
        <a:effectLst/>
      </c:spPr>
    </c:plotArea>
    <c:legend>
      <c:legendPos val="b"/>
      <c:layout>
        <c:manualLayout>
          <c:xMode val="edge"/>
          <c:yMode val="edge"/>
          <c:x val="0.11028932995354594"/>
          <c:y val="0.80104226505887532"/>
          <c:w val="0.78868197094351955"/>
          <c:h val="0.13040271704751591"/>
        </c:manualLayout>
      </c:layout>
      <c:overlay val="0"/>
      <c:spPr>
        <a:noFill/>
        <a:ln w="25400">
          <a:noFill/>
        </a:ln>
        <a:effectLst/>
        <a:extLst>
          <a:ext uri="{909E8E84-426E-40DD-AFC4-6F175D3DCCD1}">
            <a14:hiddenFill xmlns:a14="http://schemas.microsoft.com/office/drawing/2010/main">
              <a:noFill/>
            </a14:hiddenFill>
          </a:ext>
        </a:extLst>
      </c:spPr>
      <c:txPr>
        <a:bodyPr rot="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a:extLst>
      <a:ext uri="{909E8E84-426E-40DD-AFC4-6F175D3DCCD1}">
        <a14:hiddenFill xmlns:a14="http://schemas.microsoft.com/office/drawing/2010/main">
          <a:solidFill>
            <a:sysClr val="window" lastClr="FFFFFF"/>
          </a:solidFill>
        </a14:hiddenFill>
      </a:ext>
    </a:extLst>
  </c:spPr>
  <c:txPr>
    <a:bodyPr/>
    <a:lstStyle/>
    <a:p>
      <a:pPr>
        <a:defRPr sz="1100">
          <a:latin typeface="Arial"/>
          <a:ea typeface="Arial"/>
          <a:cs typeface="Arial"/>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2776059073680388E-2"/>
          <c:y val="9.7802668251352795E-2"/>
          <c:w val="0.98177625951696945"/>
          <c:h val="0.65369745945986157"/>
        </c:manualLayout>
      </c:layout>
      <c:lineChart>
        <c:grouping val="standard"/>
        <c:varyColors val="0"/>
        <c:ser>
          <c:idx val="0"/>
          <c:order val="0"/>
          <c:tx>
            <c:strRef>
              <c:f>'Machines &amp; equipment'!$J$2</c:f>
              <c:strCache>
                <c:ptCount val="1"/>
                <c:pt idx="0">
                  <c:v>Kapazitätsauslastung Ver. Gewerbe (links)</c:v>
                </c:pt>
              </c:strCache>
            </c:strRef>
          </c:tx>
          <c:spPr>
            <a:ln w="28575" cap="rnd">
              <a:solidFill>
                <a:srgbClr val="193296"/>
              </a:solidFill>
              <a:prstDash val="solid"/>
              <a:round/>
            </a:ln>
            <a:effectLst/>
          </c:spPr>
          <c:marker>
            <c:symbol val="none"/>
          </c:marker>
          <c:cat>
            <c:numRef>
              <c:f>'Machines &amp; equipment'!$I$18:$I$238</c:f>
              <c:numCache>
                <c:formatCode>mmm"-"yy</c:formatCode>
                <c:ptCount val="221"/>
                <c:pt idx="0">
                  <c:v>45657</c:v>
                </c:pt>
                <c:pt idx="1">
                  <c:v>45565</c:v>
                </c:pt>
                <c:pt idx="2">
                  <c:v>45473</c:v>
                </c:pt>
                <c:pt idx="3">
                  <c:v>45382</c:v>
                </c:pt>
                <c:pt idx="4">
                  <c:v>45291</c:v>
                </c:pt>
                <c:pt idx="5">
                  <c:v>45199</c:v>
                </c:pt>
                <c:pt idx="6">
                  <c:v>45107</c:v>
                </c:pt>
                <c:pt idx="7">
                  <c:v>45016</c:v>
                </c:pt>
                <c:pt idx="8">
                  <c:v>44926</c:v>
                </c:pt>
                <c:pt idx="9">
                  <c:v>44834</c:v>
                </c:pt>
                <c:pt idx="10">
                  <c:v>44742</c:v>
                </c:pt>
                <c:pt idx="11">
                  <c:v>44651</c:v>
                </c:pt>
                <c:pt idx="12">
                  <c:v>44561</c:v>
                </c:pt>
                <c:pt idx="13">
                  <c:v>44469</c:v>
                </c:pt>
                <c:pt idx="14">
                  <c:v>44377</c:v>
                </c:pt>
                <c:pt idx="15">
                  <c:v>44286</c:v>
                </c:pt>
                <c:pt idx="16">
                  <c:v>44196</c:v>
                </c:pt>
                <c:pt idx="17">
                  <c:v>44104</c:v>
                </c:pt>
                <c:pt idx="18">
                  <c:v>44012</c:v>
                </c:pt>
                <c:pt idx="19">
                  <c:v>43921</c:v>
                </c:pt>
                <c:pt idx="20">
                  <c:v>43830</c:v>
                </c:pt>
                <c:pt idx="21">
                  <c:v>43738</c:v>
                </c:pt>
                <c:pt idx="22">
                  <c:v>43646</c:v>
                </c:pt>
                <c:pt idx="23">
                  <c:v>43555</c:v>
                </c:pt>
                <c:pt idx="24">
                  <c:v>43465</c:v>
                </c:pt>
                <c:pt idx="25">
                  <c:v>43373</c:v>
                </c:pt>
                <c:pt idx="26">
                  <c:v>43281</c:v>
                </c:pt>
                <c:pt idx="27">
                  <c:v>43190</c:v>
                </c:pt>
                <c:pt idx="28">
                  <c:v>43100</c:v>
                </c:pt>
                <c:pt idx="29">
                  <c:v>43008</c:v>
                </c:pt>
                <c:pt idx="30">
                  <c:v>42916</c:v>
                </c:pt>
                <c:pt idx="31">
                  <c:v>42825</c:v>
                </c:pt>
                <c:pt idx="32">
                  <c:v>42735</c:v>
                </c:pt>
                <c:pt idx="33">
                  <c:v>42643</c:v>
                </c:pt>
                <c:pt idx="34">
                  <c:v>42551</c:v>
                </c:pt>
                <c:pt idx="35">
                  <c:v>42460</c:v>
                </c:pt>
                <c:pt idx="36">
                  <c:v>42369</c:v>
                </c:pt>
                <c:pt idx="37">
                  <c:v>42277</c:v>
                </c:pt>
                <c:pt idx="38">
                  <c:v>42185</c:v>
                </c:pt>
                <c:pt idx="39">
                  <c:v>42094</c:v>
                </c:pt>
                <c:pt idx="40">
                  <c:v>42004</c:v>
                </c:pt>
                <c:pt idx="41">
                  <c:v>41912</c:v>
                </c:pt>
                <c:pt idx="42">
                  <c:v>41820</c:v>
                </c:pt>
                <c:pt idx="43">
                  <c:v>41729</c:v>
                </c:pt>
                <c:pt idx="44">
                  <c:v>41639</c:v>
                </c:pt>
                <c:pt idx="45">
                  <c:v>41547</c:v>
                </c:pt>
                <c:pt idx="46">
                  <c:v>41455</c:v>
                </c:pt>
                <c:pt idx="47">
                  <c:v>41364</c:v>
                </c:pt>
                <c:pt idx="48">
                  <c:v>41274</c:v>
                </c:pt>
                <c:pt idx="49">
                  <c:v>41182</c:v>
                </c:pt>
                <c:pt idx="50">
                  <c:v>41090</c:v>
                </c:pt>
                <c:pt idx="51">
                  <c:v>40999</c:v>
                </c:pt>
                <c:pt idx="52">
                  <c:v>40908</c:v>
                </c:pt>
                <c:pt idx="53">
                  <c:v>40816</c:v>
                </c:pt>
                <c:pt idx="54">
                  <c:v>40724</c:v>
                </c:pt>
                <c:pt idx="55">
                  <c:v>40633</c:v>
                </c:pt>
                <c:pt idx="56">
                  <c:v>40543</c:v>
                </c:pt>
                <c:pt idx="57">
                  <c:v>40451</c:v>
                </c:pt>
                <c:pt idx="58">
                  <c:v>40359</c:v>
                </c:pt>
                <c:pt idx="59">
                  <c:v>40268</c:v>
                </c:pt>
                <c:pt idx="60">
                  <c:v>40178</c:v>
                </c:pt>
                <c:pt idx="61">
                  <c:v>40086</c:v>
                </c:pt>
                <c:pt idx="62">
                  <c:v>39994</c:v>
                </c:pt>
                <c:pt idx="63">
                  <c:v>39903</c:v>
                </c:pt>
                <c:pt idx="64">
                  <c:v>39813</c:v>
                </c:pt>
                <c:pt idx="65">
                  <c:v>39721</c:v>
                </c:pt>
                <c:pt idx="66">
                  <c:v>39629</c:v>
                </c:pt>
                <c:pt idx="67">
                  <c:v>39538</c:v>
                </c:pt>
                <c:pt idx="68">
                  <c:v>39447</c:v>
                </c:pt>
                <c:pt idx="69">
                  <c:v>39355</c:v>
                </c:pt>
                <c:pt idx="70">
                  <c:v>39263</c:v>
                </c:pt>
                <c:pt idx="71">
                  <c:v>39172</c:v>
                </c:pt>
                <c:pt idx="72">
                  <c:v>39082</c:v>
                </c:pt>
                <c:pt idx="73">
                  <c:v>38990</c:v>
                </c:pt>
                <c:pt idx="74">
                  <c:v>38898</c:v>
                </c:pt>
                <c:pt idx="75">
                  <c:v>38807</c:v>
                </c:pt>
                <c:pt idx="76">
                  <c:v>38717</c:v>
                </c:pt>
                <c:pt idx="77">
                  <c:v>38625</c:v>
                </c:pt>
                <c:pt idx="78">
                  <c:v>38533</c:v>
                </c:pt>
                <c:pt idx="79">
                  <c:v>38442</c:v>
                </c:pt>
                <c:pt idx="80">
                  <c:v>38352</c:v>
                </c:pt>
                <c:pt idx="81">
                  <c:v>38260</c:v>
                </c:pt>
                <c:pt idx="82">
                  <c:v>38168</c:v>
                </c:pt>
                <c:pt idx="83">
                  <c:v>38077</c:v>
                </c:pt>
                <c:pt idx="84">
                  <c:v>37986</c:v>
                </c:pt>
                <c:pt idx="85">
                  <c:v>37894</c:v>
                </c:pt>
                <c:pt idx="86">
                  <c:v>37802</c:v>
                </c:pt>
                <c:pt idx="87">
                  <c:v>37711</c:v>
                </c:pt>
                <c:pt idx="88">
                  <c:v>37621</c:v>
                </c:pt>
                <c:pt idx="89">
                  <c:v>37529</c:v>
                </c:pt>
                <c:pt idx="90">
                  <c:v>37437</c:v>
                </c:pt>
                <c:pt idx="91">
                  <c:v>37346</c:v>
                </c:pt>
                <c:pt idx="92">
                  <c:v>37256</c:v>
                </c:pt>
                <c:pt idx="93">
                  <c:v>37164</c:v>
                </c:pt>
                <c:pt idx="94">
                  <c:v>37072</c:v>
                </c:pt>
                <c:pt idx="95">
                  <c:v>36981</c:v>
                </c:pt>
                <c:pt idx="96">
                  <c:v>36891</c:v>
                </c:pt>
                <c:pt idx="97">
                  <c:v>36799</c:v>
                </c:pt>
                <c:pt idx="98">
                  <c:v>36707</c:v>
                </c:pt>
                <c:pt idx="99">
                  <c:v>36616</c:v>
                </c:pt>
                <c:pt idx="100">
                  <c:v>36525</c:v>
                </c:pt>
                <c:pt idx="101">
                  <c:v>36433</c:v>
                </c:pt>
                <c:pt idx="102">
                  <c:v>36341</c:v>
                </c:pt>
                <c:pt idx="103">
                  <c:v>36250</c:v>
                </c:pt>
                <c:pt idx="104">
                  <c:v>36160</c:v>
                </c:pt>
                <c:pt idx="105">
                  <c:v>36068</c:v>
                </c:pt>
                <c:pt idx="106">
                  <c:v>35976</c:v>
                </c:pt>
                <c:pt idx="107">
                  <c:v>35885</c:v>
                </c:pt>
                <c:pt idx="108">
                  <c:v>35795</c:v>
                </c:pt>
                <c:pt idx="109">
                  <c:v>35703</c:v>
                </c:pt>
                <c:pt idx="110">
                  <c:v>35611</c:v>
                </c:pt>
                <c:pt idx="111">
                  <c:v>35520</c:v>
                </c:pt>
                <c:pt idx="112">
                  <c:v>35430</c:v>
                </c:pt>
                <c:pt idx="113">
                  <c:v>35338</c:v>
                </c:pt>
                <c:pt idx="114">
                  <c:v>35246</c:v>
                </c:pt>
                <c:pt idx="115">
                  <c:v>35155</c:v>
                </c:pt>
                <c:pt idx="116">
                  <c:v>35064</c:v>
                </c:pt>
                <c:pt idx="117">
                  <c:v>34972</c:v>
                </c:pt>
                <c:pt idx="118">
                  <c:v>34880</c:v>
                </c:pt>
                <c:pt idx="119">
                  <c:v>34789</c:v>
                </c:pt>
                <c:pt idx="120">
                  <c:v>34699</c:v>
                </c:pt>
                <c:pt idx="121">
                  <c:v>34607</c:v>
                </c:pt>
                <c:pt idx="122">
                  <c:v>34515</c:v>
                </c:pt>
                <c:pt idx="123">
                  <c:v>34424</c:v>
                </c:pt>
                <c:pt idx="124">
                  <c:v>34334</c:v>
                </c:pt>
                <c:pt idx="125">
                  <c:v>34242</c:v>
                </c:pt>
                <c:pt idx="126">
                  <c:v>34150</c:v>
                </c:pt>
                <c:pt idx="127">
                  <c:v>34059</c:v>
                </c:pt>
                <c:pt idx="128">
                  <c:v>33969</c:v>
                </c:pt>
                <c:pt idx="129">
                  <c:v>33877</c:v>
                </c:pt>
                <c:pt idx="130">
                  <c:v>33785</c:v>
                </c:pt>
                <c:pt idx="131">
                  <c:v>33694</c:v>
                </c:pt>
                <c:pt idx="132">
                  <c:v>33603</c:v>
                </c:pt>
                <c:pt idx="133">
                  <c:v>33511</c:v>
                </c:pt>
                <c:pt idx="134">
                  <c:v>33419</c:v>
                </c:pt>
                <c:pt idx="135">
                  <c:v>33328</c:v>
                </c:pt>
                <c:pt idx="136">
                  <c:v>33238</c:v>
                </c:pt>
                <c:pt idx="137">
                  <c:v>33146</c:v>
                </c:pt>
                <c:pt idx="138">
                  <c:v>33054</c:v>
                </c:pt>
                <c:pt idx="139">
                  <c:v>32963</c:v>
                </c:pt>
                <c:pt idx="140">
                  <c:v>32873</c:v>
                </c:pt>
                <c:pt idx="141">
                  <c:v>32781</c:v>
                </c:pt>
                <c:pt idx="142">
                  <c:v>32689</c:v>
                </c:pt>
                <c:pt idx="143">
                  <c:v>32598</c:v>
                </c:pt>
                <c:pt idx="144">
                  <c:v>32508</c:v>
                </c:pt>
                <c:pt idx="145">
                  <c:v>32416</c:v>
                </c:pt>
                <c:pt idx="146">
                  <c:v>32324</c:v>
                </c:pt>
                <c:pt idx="147">
                  <c:v>32233</c:v>
                </c:pt>
                <c:pt idx="148">
                  <c:v>32142</c:v>
                </c:pt>
                <c:pt idx="149">
                  <c:v>32050</c:v>
                </c:pt>
                <c:pt idx="150">
                  <c:v>31958</c:v>
                </c:pt>
                <c:pt idx="151">
                  <c:v>31867</c:v>
                </c:pt>
                <c:pt idx="152">
                  <c:v>31777</c:v>
                </c:pt>
                <c:pt idx="153">
                  <c:v>31685</c:v>
                </c:pt>
                <c:pt idx="154">
                  <c:v>31593</c:v>
                </c:pt>
                <c:pt idx="155">
                  <c:v>31502</c:v>
                </c:pt>
                <c:pt idx="156">
                  <c:v>31412</c:v>
                </c:pt>
                <c:pt idx="157">
                  <c:v>31320</c:v>
                </c:pt>
                <c:pt idx="158">
                  <c:v>31228</c:v>
                </c:pt>
                <c:pt idx="159">
                  <c:v>31137</c:v>
                </c:pt>
                <c:pt idx="160">
                  <c:v>31047</c:v>
                </c:pt>
                <c:pt idx="161">
                  <c:v>30955</c:v>
                </c:pt>
                <c:pt idx="162">
                  <c:v>30863</c:v>
                </c:pt>
                <c:pt idx="163">
                  <c:v>30772</c:v>
                </c:pt>
                <c:pt idx="164">
                  <c:v>30681</c:v>
                </c:pt>
                <c:pt idx="165">
                  <c:v>30589</c:v>
                </c:pt>
                <c:pt idx="166">
                  <c:v>30497</c:v>
                </c:pt>
                <c:pt idx="167">
                  <c:v>30406</c:v>
                </c:pt>
                <c:pt idx="168">
                  <c:v>30316</c:v>
                </c:pt>
                <c:pt idx="169">
                  <c:v>30224</c:v>
                </c:pt>
                <c:pt idx="170">
                  <c:v>30132</c:v>
                </c:pt>
                <c:pt idx="171">
                  <c:v>30041</c:v>
                </c:pt>
                <c:pt idx="172">
                  <c:v>29951</c:v>
                </c:pt>
                <c:pt idx="173">
                  <c:v>29859</c:v>
                </c:pt>
                <c:pt idx="174">
                  <c:v>29767</c:v>
                </c:pt>
                <c:pt idx="175">
                  <c:v>29676</c:v>
                </c:pt>
                <c:pt idx="176">
                  <c:v>29586</c:v>
                </c:pt>
                <c:pt idx="177">
                  <c:v>29494</c:v>
                </c:pt>
                <c:pt idx="178">
                  <c:v>29402</c:v>
                </c:pt>
              </c:numCache>
            </c:numRef>
          </c:cat>
          <c:val>
            <c:numRef>
              <c:f>'Machines &amp; equipment'!$J$18:$J$238</c:f>
              <c:numCache>
                <c:formatCode>0.0</c:formatCode>
                <c:ptCount val="221"/>
                <c:pt idx="0">
                  <c:v>76.5</c:v>
                </c:pt>
                <c:pt idx="1">
                  <c:v>77.5</c:v>
                </c:pt>
                <c:pt idx="2">
                  <c:v>80.099999999999994</c:v>
                </c:pt>
                <c:pt idx="3">
                  <c:v>81.099999999999994</c:v>
                </c:pt>
                <c:pt idx="4">
                  <c:v>82</c:v>
                </c:pt>
                <c:pt idx="5">
                  <c:v>83</c:v>
                </c:pt>
                <c:pt idx="6">
                  <c:v>84.1</c:v>
                </c:pt>
                <c:pt idx="7">
                  <c:v>84.4</c:v>
                </c:pt>
                <c:pt idx="8">
                  <c:v>84.9</c:v>
                </c:pt>
                <c:pt idx="9">
                  <c:v>85.2</c:v>
                </c:pt>
                <c:pt idx="10">
                  <c:v>84.9</c:v>
                </c:pt>
                <c:pt idx="11">
                  <c:v>85.8</c:v>
                </c:pt>
                <c:pt idx="12">
                  <c:v>85.2</c:v>
                </c:pt>
                <c:pt idx="13">
                  <c:v>86.6</c:v>
                </c:pt>
                <c:pt idx="14">
                  <c:v>85.6</c:v>
                </c:pt>
                <c:pt idx="15">
                  <c:v>82</c:v>
                </c:pt>
                <c:pt idx="16">
                  <c:v>80.7</c:v>
                </c:pt>
                <c:pt idx="17">
                  <c:v>75</c:v>
                </c:pt>
                <c:pt idx="18">
                  <c:v>70.3</c:v>
                </c:pt>
                <c:pt idx="19">
                  <c:v>83</c:v>
                </c:pt>
                <c:pt idx="20">
                  <c:v>82.5</c:v>
                </c:pt>
                <c:pt idx="21">
                  <c:v>84</c:v>
                </c:pt>
                <c:pt idx="22">
                  <c:v>85.5</c:v>
                </c:pt>
                <c:pt idx="23">
                  <c:v>86</c:v>
                </c:pt>
                <c:pt idx="24">
                  <c:v>86.8</c:v>
                </c:pt>
                <c:pt idx="25">
                  <c:v>87.8</c:v>
                </c:pt>
                <c:pt idx="26">
                  <c:v>87.9</c:v>
                </c:pt>
                <c:pt idx="27">
                  <c:v>87.9</c:v>
                </c:pt>
                <c:pt idx="28">
                  <c:v>87.5</c:v>
                </c:pt>
                <c:pt idx="29">
                  <c:v>87.1</c:v>
                </c:pt>
                <c:pt idx="30">
                  <c:v>86.3</c:v>
                </c:pt>
                <c:pt idx="31">
                  <c:v>85.3</c:v>
                </c:pt>
                <c:pt idx="32">
                  <c:v>85.2</c:v>
                </c:pt>
                <c:pt idx="33">
                  <c:v>84.6</c:v>
                </c:pt>
                <c:pt idx="34">
                  <c:v>84.3</c:v>
                </c:pt>
                <c:pt idx="35">
                  <c:v>84.4</c:v>
                </c:pt>
                <c:pt idx="36">
                  <c:v>84.1</c:v>
                </c:pt>
                <c:pt idx="37">
                  <c:v>84.2</c:v>
                </c:pt>
                <c:pt idx="38">
                  <c:v>84.3</c:v>
                </c:pt>
                <c:pt idx="39">
                  <c:v>84.1</c:v>
                </c:pt>
                <c:pt idx="40">
                  <c:v>84.2</c:v>
                </c:pt>
                <c:pt idx="41">
                  <c:v>84.2</c:v>
                </c:pt>
                <c:pt idx="42">
                  <c:v>84.4</c:v>
                </c:pt>
                <c:pt idx="43">
                  <c:v>84.2</c:v>
                </c:pt>
                <c:pt idx="44">
                  <c:v>83.9</c:v>
                </c:pt>
                <c:pt idx="45">
                  <c:v>83</c:v>
                </c:pt>
                <c:pt idx="46">
                  <c:v>82.4</c:v>
                </c:pt>
                <c:pt idx="47">
                  <c:v>82.7</c:v>
                </c:pt>
                <c:pt idx="48">
                  <c:v>82.3</c:v>
                </c:pt>
                <c:pt idx="49">
                  <c:v>83.5</c:v>
                </c:pt>
                <c:pt idx="50">
                  <c:v>84.5</c:v>
                </c:pt>
                <c:pt idx="51">
                  <c:v>85</c:v>
                </c:pt>
                <c:pt idx="52">
                  <c:v>85.3</c:v>
                </c:pt>
                <c:pt idx="53">
                  <c:v>86</c:v>
                </c:pt>
                <c:pt idx="54">
                  <c:v>85.8</c:v>
                </c:pt>
                <c:pt idx="55">
                  <c:v>85</c:v>
                </c:pt>
                <c:pt idx="56">
                  <c:v>83.3</c:v>
                </c:pt>
                <c:pt idx="57">
                  <c:v>81.900000000000006</c:v>
                </c:pt>
                <c:pt idx="58">
                  <c:v>79.400000000000006</c:v>
                </c:pt>
                <c:pt idx="59">
                  <c:v>75</c:v>
                </c:pt>
                <c:pt idx="60">
                  <c:v>72.5</c:v>
                </c:pt>
                <c:pt idx="61">
                  <c:v>70.3</c:v>
                </c:pt>
                <c:pt idx="62">
                  <c:v>70.400000000000006</c:v>
                </c:pt>
                <c:pt idx="63">
                  <c:v>76</c:v>
                </c:pt>
                <c:pt idx="64">
                  <c:v>84.5</c:v>
                </c:pt>
                <c:pt idx="65">
                  <c:v>86.1</c:v>
                </c:pt>
                <c:pt idx="66">
                  <c:v>88</c:v>
                </c:pt>
                <c:pt idx="67">
                  <c:v>88.8</c:v>
                </c:pt>
                <c:pt idx="68">
                  <c:v>88.1</c:v>
                </c:pt>
                <c:pt idx="69">
                  <c:v>88.1</c:v>
                </c:pt>
                <c:pt idx="70">
                  <c:v>88.7</c:v>
                </c:pt>
                <c:pt idx="71">
                  <c:v>88.2</c:v>
                </c:pt>
                <c:pt idx="72">
                  <c:v>87.7</c:v>
                </c:pt>
                <c:pt idx="73">
                  <c:v>87.2</c:v>
                </c:pt>
                <c:pt idx="74">
                  <c:v>86.4</c:v>
                </c:pt>
                <c:pt idx="75">
                  <c:v>85.1</c:v>
                </c:pt>
                <c:pt idx="76">
                  <c:v>84.2</c:v>
                </c:pt>
                <c:pt idx="77">
                  <c:v>83.8</c:v>
                </c:pt>
                <c:pt idx="78">
                  <c:v>83.5</c:v>
                </c:pt>
                <c:pt idx="79">
                  <c:v>84</c:v>
                </c:pt>
                <c:pt idx="80">
                  <c:v>84.2</c:v>
                </c:pt>
                <c:pt idx="81">
                  <c:v>84.2</c:v>
                </c:pt>
                <c:pt idx="82">
                  <c:v>83.9</c:v>
                </c:pt>
                <c:pt idx="83">
                  <c:v>83.6</c:v>
                </c:pt>
                <c:pt idx="84">
                  <c:v>83.3</c:v>
                </c:pt>
                <c:pt idx="85">
                  <c:v>82.1</c:v>
                </c:pt>
                <c:pt idx="86">
                  <c:v>82.9</c:v>
                </c:pt>
                <c:pt idx="87">
                  <c:v>82.6</c:v>
                </c:pt>
                <c:pt idx="88">
                  <c:v>83</c:v>
                </c:pt>
                <c:pt idx="89">
                  <c:v>82.7</c:v>
                </c:pt>
                <c:pt idx="90">
                  <c:v>82.2</c:v>
                </c:pt>
                <c:pt idx="91">
                  <c:v>82</c:v>
                </c:pt>
                <c:pt idx="92">
                  <c:v>81.8</c:v>
                </c:pt>
                <c:pt idx="93">
                  <c:v>84</c:v>
                </c:pt>
                <c:pt idx="94">
                  <c:v>85</c:v>
                </c:pt>
                <c:pt idx="95">
                  <c:v>86.6</c:v>
                </c:pt>
                <c:pt idx="96">
                  <c:v>87.3</c:v>
                </c:pt>
                <c:pt idx="97">
                  <c:v>86.9</c:v>
                </c:pt>
                <c:pt idx="98">
                  <c:v>86.4</c:v>
                </c:pt>
                <c:pt idx="99">
                  <c:v>85.8</c:v>
                </c:pt>
                <c:pt idx="100">
                  <c:v>84.6</c:v>
                </c:pt>
                <c:pt idx="101">
                  <c:v>84.1</c:v>
                </c:pt>
                <c:pt idx="102">
                  <c:v>83.7</c:v>
                </c:pt>
                <c:pt idx="103">
                  <c:v>83.8</c:v>
                </c:pt>
                <c:pt idx="104">
                  <c:v>84.5</c:v>
                </c:pt>
                <c:pt idx="105">
                  <c:v>85.7</c:v>
                </c:pt>
                <c:pt idx="106">
                  <c:v>86.3</c:v>
                </c:pt>
                <c:pt idx="107">
                  <c:v>85.7</c:v>
                </c:pt>
                <c:pt idx="108">
                  <c:v>85.5</c:v>
                </c:pt>
                <c:pt idx="109">
                  <c:v>84.8</c:v>
                </c:pt>
                <c:pt idx="110">
                  <c:v>84</c:v>
                </c:pt>
                <c:pt idx="111">
                  <c:v>83.5</c:v>
                </c:pt>
                <c:pt idx="112">
                  <c:v>82</c:v>
                </c:pt>
                <c:pt idx="113">
                  <c:v>81.8</c:v>
                </c:pt>
                <c:pt idx="114">
                  <c:v>81.7</c:v>
                </c:pt>
                <c:pt idx="115">
                  <c:v>81.900000000000006</c:v>
                </c:pt>
                <c:pt idx="116">
                  <c:v>84</c:v>
                </c:pt>
                <c:pt idx="117">
                  <c:v>84</c:v>
                </c:pt>
                <c:pt idx="118">
                  <c:v>84.5</c:v>
                </c:pt>
                <c:pt idx="119">
                  <c:v>84.3</c:v>
                </c:pt>
                <c:pt idx="120">
                  <c:v>83.5</c:v>
                </c:pt>
                <c:pt idx="121">
                  <c:v>82.1</c:v>
                </c:pt>
                <c:pt idx="122">
                  <c:v>80.2</c:v>
                </c:pt>
                <c:pt idx="123">
                  <c:v>78.5</c:v>
                </c:pt>
                <c:pt idx="124">
                  <c:v>77</c:v>
                </c:pt>
                <c:pt idx="125">
                  <c:v>76.099999999999994</c:v>
                </c:pt>
                <c:pt idx="126">
                  <c:v>75.900000000000006</c:v>
                </c:pt>
                <c:pt idx="127">
                  <c:v>76.099999999999994</c:v>
                </c:pt>
                <c:pt idx="128">
                  <c:v>77.5</c:v>
                </c:pt>
                <c:pt idx="129">
                  <c:v>79.599999999999994</c:v>
                </c:pt>
                <c:pt idx="130">
                  <c:v>80.7</c:v>
                </c:pt>
                <c:pt idx="131">
                  <c:v>85.7</c:v>
                </c:pt>
                <c:pt idx="132">
                  <c:v>86.1</c:v>
                </c:pt>
                <c:pt idx="133">
                  <c:v>86.5</c:v>
                </c:pt>
                <c:pt idx="134">
                  <c:v>88</c:v>
                </c:pt>
                <c:pt idx="135">
                  <c:v>88.7</c:v>
                </c:pt>
                <c:pt idx="136">
                  <c:v>89.7</c:v>
                </c:pt>
                <c:pt idx="137">
                  <c:v>89.6</c:v>
                </c:pt>
                <c:pt idx="138">
                  <c:v>88.8</c:v>
                </c:pt>
                <c:pt idx="139">
                  <c:v>88.9</c:v>
                </c:pt>
                <c:pt idx="140">
                  <c:v>88.7</c:v>
                </c:pt>
                <c:pt idx="141">
                  <c:v>88.6</c:v>
                </c:pt>
                <c:pt idx="142">
                  <c:v>88</c:v>
                </c:pt>
                <c:pt idx="143">
                  <c:v>87.4</c:v>
                </c:pt>
                <c:pt idx="144">
                  <c:v>87.6</c:v>
                </c:pt>
                <c:pt idx="145">
                  <c:v>86.5</c:v>
                </c:pt>
                <c:pt idx="146">
                  <c:v>85.3</c:v>
                </c:pt>
                <c:pt idx="147">
                  <c:v>84.5</c:v>
                </c:pt>
                <c:pt idx="148">
                  <c:v>84</c:v>
                </c:pt>
                <c:pt idx="149">
                  <c:v>83.7</c:v>
                </c:pt>
                <c:pt idx="150">
                  <c:v>83.6</c:v>
                </c:pt>
                <c:pt idx="151">
                  <c:v>83.5</c:v>
                </c:pt>
                <c:pt idx="152">
                  <c:v>83.6</c:v>
                </c:pt>
                <c:pt idx="153">
                  <c:v>84.2</c:v>
                </c:pt>
                <c:pt idx="154">
                  <c:v>84.2</c:v>
                </c:pt>
                <c:pt idx="155">
                  <c:v>84</c:v>
                </c:pt>
                <c:pt idx="156">
                  <c:v>84.2</c:v>
                </c:pt>
                <c:pt idx="157">
                  <c:v>83.6</c:v>
                </c:pt>
                <c:pt idx="158">
                  <c:v>83.8</c:v>
                </c:pt>
                <c:pt idx="159">
                  <c:v>83</c:v>
                </c:pt>
                <c:pt idx="160">
                  <c:v>81.5</c:v>
                </c:pt>
                <c:pt idx="161">
                  <c:v>81.3</c:v>
                </c:pt>
                <c:pt idx="162">
                  <c:v>76.5</c:v>
                </c:pt>
                <c:pt idx="163">
                  <c:v>81.5</c:v>
                </c:pt>
                <c:pt idx="164">
                  <c:v>80.3</c:v>
                </c:pt>
                <c:pt idx="165">
                  <c:v>79</c:v>
                </c:pt>
                <c:pt idx="166">
                  <c:v>78.7</c:v>
                </c:pt>
                <c:pt idx="167">
                  <c:v>76.400000000000006</c:v>
                </c:pt>
                <c:pt idx="168">
                  <c:v>75.400000000000006</c:v>
                </c:pt>
                <c:pt idx="169">
                  <c:v>75.2</c:v>
                </c:pt>
                <c:pt idx="170">
                  <c:v>78</c:v>
                </c:pt>
                <c:pt idx="171">
                  <c:v>78.099999999999994</c:v>
                </c:pt>
                <c:pt idx="172">
                  <c:v>79.2</c:v>
                </c:pt>
                <c:pt idx="173">
                  <c:v>79</c:v>
                </c:pt>
                <c:pt idx="174">
                  <c:v>79.7</c:v>
                </c:pt>
                <c:pt idx="175">
                  <c:v>79.3</c:v>
                </c:pt>
                <c:pt idx="176">
                  <c:v>80</c:v>
                </c:pt>
                <c:pt idx="177">
                  <c:v>81.2</c:v>
                </c:pt>
                <c:pt idx="178">
                  <c:v>83.4</c:v>
                </c:pt>
              </c:numCache>
            </c:numRef>
          </c:val>
          <c:smooth val="0"/>
          <c:extLst>
            <c:ext xmlns:c16="http://schemas.microsoft.com/office/drawing/2014/chart" uri="{C3380CC4-5D6E-409C-BE32-E72D297353CC}">
              <c16:uniqueId val="{00000000-FD68-4219-873F-13B7CD3ABFFC}"/>
            </c:ext>
          </c:extLst>
        </c:ser>
        <c:dLbls>
          <c:showLegendKey val="0"/>
          <c:showVal val="0"/>
          <c:showCatName val="0"/>
          <c:showSerName val="0"/>
          <c:showPercent val="0"/>
          <c:showBubbleSize val="0"/>
        </c:dLbls>
        <c:marker val="1"/>
        <c:smooth val="0"/>
        <c:axId val="1826145920"/>
        <c:axId val="187245567"/>
      </c:lineChart>
      <c:lineChart>
        <c:grouping val="standard"/>
        <c:varyColors val="0"/>
        <c:ser>
          <c:idx val="1"/>
          <c:order val="1"/>
          <c:tx>
            <c:strRef>
              <c:f>'Machines &amp; equipment'!$Q$2</c:f>
              <c:strCache>
                <c:ptCount val="1"/>
                <c:pt idx="0">
                  <c:v>Private Ausrüstungsinvestitionen (ggü. Vj., rechts)</c:v>
                </c:pt>
              </c:strCache>
            </c:strRef>
          </c:tx>
          <c:spPr>
            <a:ln w="28575" cap="rnd">
              <a:solidFill>
                <a:srgbClr val="0092D0"/>
              </a:solidFill>
              <a:prstDash val="solid"/>
              <a:round/>
            </a:ln>
            <a:effectLst/>
          </c:spPr>
          <c:marker>
            <c:symbol val="none"/>
          </c:marker>
          <c:cat>
            <c:numRef>
              <c:f>'Machines &amp; equipment'!$I$18:$I$238</c:f>
              <c:numCache>
                <c:formatCode>mmm"-"yy</c:formatCode>
                <c:ptCount val="221"/>
                <c:pt idx="0">
                  <c:v>45657</c:v>
                </c:pt>
                <c:pt idx="1">
                  <c:v>45565</c:v>
                </c:pt>
                <c:pt idx="2">
                  <c:v>45473</c:v>
                </c:pt>
                <c:pt idx="3">
                  <c:v>45382</c:v>
                </c:pt>
                <c:pt idx="4">
                  <c:v>45291</c:v>
                </c:pt>
                <c:pt idx="5">
                  <c:v>45199</c:v>
                </c:pt>
                <c:pt idx="6">
                  <c:v>45107</c:v>
                </c:pt>
                <c:pt idx="7">
                  <c:v>45016</c:v>
                </c:pt>
                <c:pt idx="8">
                  <c:v>44926</c:v>
                </c:pt>
                <c:pt idx="9">
                  <c:v>44834</c:v>
                </c:pt>
                <c:pt idx="10">
                  <c:v>44742</c:v>
                </c:pt>
                <c:pt idx="11">
                  <c:v>44651</c:v>
                </c:pt>
                <c:pt idx="12">
                  <c:v>44561</c:v>
                </c:pt>
                <c:pt idx="13">
                  <c:v>44469</c:v>
                </c:pt>
                <c:pt idx="14">
                  <c:v>44377</c:v>
                </c:pt>
                <c:pt idx="15">
                  <c:v>44286</c:v>
                </c:pt>
                <c:pt idx="16">
                  <c:v>44196</c:v>
                </c:pt>
                <c:pt idx="17">
                  <c:v>44104</c:v>
                </c:pt>
                <c:pt idx="18">
                  <c:v>44012</c:v>
                </c:pt>
                <c:pt idx="19">
                  <c:v>43921</c:v>
                </c:pt>
                <c:pt idx="20">
                  <c:v>43830</c:v>
                </c:pt>
                <c:pt idx="21">
                  <c:v>43738</c:v>
                </c:pt>
                <c:pt idx="22">
                  <c:v>43646</c:v>
                </c:pt>
                <c:pt idx="23">
                  <c:v>43555</c:v>
                </c:pt>
                <c:pt idx="24">
                  <c:v>43465</c:v>
                </c:pt>
                <c:pt idx="25">
                  <c:v>43373</c:v>
                </c:pt>
                <c:pt idx="26">
                  <c:v>43281</c:v>
                </c:pt>
                <c:pt idx="27">
                  <c:v>43190</c:v>
                </c:pt>
                <c:pt idx="28">
                  <c:v>43100</c:v>
                </c:pt>
                <c:pt idx="29">
                  <c:v>43008</c:v>
                </c:pt>
                <c:pt idx="30">
                  <c:v>42916</c:v>
                </c:pt>
                <c:pt idx="31">
                  <c:v>42825</c:v>
                </c:pt>
                <c:pt idx="32">
                  <c:v>42735</c:v>
                </c:pt>
                <c:pt idx="33">
                  <c:v>42643</c:v>
                </c:pt>
                <c:pt idx="34">
                  <c:v>42551</c:v>
                </c:pt>
                <c:pt idx="35">
                  <c:v>42460</c:v>
                </c:pt>
                <c:pt idx="36">
                  <c:v>42369</c:v>
                </c:pt>
                <c:pt idx="37">
                  <c:v>42277</c:v>
                </c:pt>
                <c:pt idx="38">
                  <c:v>42185</c:v>
                </c:pt>
                <c:pt idx="39">
                  <c:v>42094</c:v>
                </c:pt>
                <c:pt idx="40">
                  <c:v>42004</c:v>
                </c:pt>
                <c:pt idx="41">
                  <c:v>41912</c:v>
                </c:pt>
                <c:pt idx="42">
                  <c:v>41820</c:v>
                </c:pt>
                <c:pt idx="43">
                  <c:v>41729</c:v>
                </c:pt>
                <c:pt idx="44">
                  <c:v>41639</c:v>
                </c:pt>
                <c:pt idx="45">
                  <c:v>41547</c:v>
                </c:pt>
                <c:pt idx="46">
                  <c:v>41455</c:v>
                </c:pt>
                <c:pt idx="47">
                  <c:v>41364</c:v>
                </c:pt>
                <c:pt idx="48">
                  <c:v>41274</c:v>
                </c:pt>
                <c:pt idx="49">
                  <c:v>41182</c:v>
                </c:pt>
                <c:pt idx="50">
                  <c:v>41090</c:v>
                </c:pt>
                <c:pt idx="51">
                  <c:v>40999</c:v>
                </c:pt>
                <c:pt idx="52">
                  <c:v>40908</c:v>
                </c:pt>
                <c:pt idx="53">
                  <c:v>40816</c:v>
                </c:pt>
                <c:pt idx="54">
                  <c:v>40724</c:v>
                </c:pt>
                <c:pt idx="55">
                  <c:v>40633</c:v>
                </c:pt>
                <c:pt idx="56">
                  <c:v>40543</c:v>
                </c:pt>
                <c:pt idx="57">
                  <c:v>40451</c:v>
                </c:pt>
                <c:pt idx="58">
                  <c:v>40359</c:v>
                </c:pt>
                <c:pt idx="59">
                  <c:v>40268</c:v>
                </c:pt>
                <c:pt idx="60">
                  <c:v>40178</c:v>
                </c:pt>
                <c:pt idx="61">
                  <c:v>40086</c:v>
                </c:pt>
                <c:pt idx="62">
                  <c:v>39994</c:v>
                </c:pt>
                <c:pt idx="63">
                  <c:v>39903</c:v>
                </c:pt>
                <c:pt idx="64">
                  <c:v>39813</c:v>
                </c:pt>
                <c:pt idx="65">
                  <c:v>39721</c:v>
                </c:pt>
                <c:pt idx="66">
                  <c:v>39629</c:v>
                </c:pt>
                <c:pt idx="67">
                  <c:v>39538</c:v>
                </c:pt>
                <c:pt idx="68">
                  <c:v>39447</c:v>
                </c:pt>
                <c:pt idx="69">
                  <c:v>39355</c:v>
                </c:pt>
                <c:pt idx="70">
                  <c:v>39263</c:v>
                </c:pt>
                <c:pt idx="71">
                  <c:v>39172</c:v>
                </c:pt>
                <c:pt idx="72">
                  <c:v>39082</c:v>
                </c:pt>
                <c:pt idx="73">
                  <c:v>38990</c:v>
                </c:pt>
                <c:pt idx="74">
                  <c:v>38898</c:v>
                </c:pt>
                <c:pt idx="75">
                  <c:v>38807</c:v>
                </c:pt>
                <c:pt idx="76">
                  <c:v>38717</c:v>
                </c:pt>
                <c:pt idx="77">
                  <c:v>38625</c:v>
                </c:pt>
                <c:pt idx="78">
                  <c:v>38533</c:v>
                </c:pt>
                <c:pt idx="79">
                  <c:v>38442</c:v>
                </c:pt>
                <c:pt idx="80">
                  <c:v>38352</c:v>
                </c:pt>
                <c:pt idx="81">
                  <c:v>38260</c:v>
                </c:pt>
                <c:pt idx="82">
                  <c:v>38168</c:v>
                </c:pt>
                <c:pt idx="83">
                  <c:v>38077</c:v>
                </c:pt>
                <c:pt idx="84">
                  <c:v>37986</c:v>
                </c:pt>
                <c:pt idx="85">
                  <c:v>37894</c:v>
                </c:pt>
                <c:pt idx="86">
                  <c:v>37802</c:v>
                </c:pt>
                <c:pt idx="87">
                  <c:v>37711</c:v>
                </c:pt>
                <c:pt idx="88">
                  <c:v>37621</c:v>
                </c:pt>
                <c:pt idx="89">
                  <c:v>37529</c:v>
                </c:pt>
                <c:pt idx="90">
                  <c:v>37437</c:v>
                </c:pt>
                <c:pt idx="91">
                  <c:v>37346</c:v>
                </c:pt>
                <c:pt idx="92">
                  <c:v>37256</c:v>
                </c:pt>
                <c:pt idx="93">
                  <c:v>37164</c:v>
                </c:pt>
                <c:pt idx="94">
                  <c:v>37072</c:v>
                </c:pt>
                <c:pt idx="95">
                  <c:v>36981</c:v>
                </c:pt>
                <c:pt idx="96">
                  <c:v>36891</c:v>
                </c:pt>
                <c:pt idx="97">
                  <c:v>36799</c:v>
                </c:pt>
                <c:pt idx="98">
                  <c:v>36707</c:v>
                </c:pt>
                <c:pt idx="99">
                  <c:v>36616</c:v>
                </c:pt>
                <c:pt idx="100">
                  <c:v>36525</c:v>
                </c:pt>
                <c:pt idx="101">
                  <c:v>36433</c:v>
                </c:pt>
                <c:pt idx="102">
                  <c:v>36341</c:v>
                </c:pt>
                <c:pt idx="103">
                  <c:v>36250</c:v>
                </c:pt>
                <c:pt idx="104">
                  <c:v>36160</c:v>
                </c:pt>
                <c:pt idx="105">
                  <c:v>36068</c:v>
                </c:pt>
                <c:pt idx="106">
                  <c:v>35976</c:v>
                </c:pt>
                <c:pt idx="107">
                  <c:v>35885</c:v>
                </c:pt>
                <c:pt idx="108">
                  <c:v>35795</c:v>
                </c:pt>
                <c:pt idx="109">
                  <c:v>35703</c:v>
                </c:pt>
                <c:pt idx="110">
                  <c:v>35611</c:v>
                </c:pt>
                <c:pt idx="111">
                  <c:v>35520</c:v>
                </c:pt>
                <c:pt idx="112">
                  <c:v>35430</c:v>
                </c:pt>
                <c:pt idx="113">
                  <c:v>35338</c:v>
                </c:pt>
                <c:pt idx="114">
                  <c:v>35246</c:v>
                </c:pt>
                <c:pt idx="115">
                  <c:v>35155</c:v>
                </c:pt>
                <c:pt idx="116">
                  <c:v>35064</c:v>
                </c:pt>
                <c:pt idx="117">
                  <c:v>34972</c:v>
                </c:pt>
                <c:pt idx="118">
                  <c:v>34880</c:v>
                </c:pt>
                <c:pt idx="119">
                  <c:v>34789</c:v>
                </c:pt>
                <c:pt idx="120">
                  <c:v>34699</c:v>
                </c:pt>
                <c:pt idx="121">
                  <c:v>34607</c:v>
                </c:pt>
                <c:pt idx="122">
                  <c:v>34515</c:v>
                </c:pt>
                <c:pt idx="123">
                  <c:v>34424</c:v>
                </c:pt>
                <c:pt idx="124">
                  <c:v>34334</c:v>
                </c:pt>
                <c:pt idx="125">
                  <c:v>34242</c:v>
                </c:pt>
                <c:pt idx="126">
                  <c:v>34150</c:v>
                </c:pt>
                <c:pt idx="127">
                  <c:v>34059</c:v>
                </c:pt>
                <c:pt idx="128">
                  <c:v>33969</c:v>
                </c:pt>
                <c:pt idx="129">
                  <c:v>33877</c:v>
                </c:pt>
                <c:pt idx="130">
                  <c:v>33785</c:v>
                </c:pt>
                <c:pt idx="131">
                  <c:v>33694</c:v>
                </c:pt>
                <c:pt idx="132">
                  <c:v>33603</c:v>
                </c:pt>
                <c:pt idx="133">
                  <c:v>33511</c:v>
                </c:pt>
                <c:pt idx="134">
                  <c:v>33419</c:v>
                </c:pt>
                <c:pt idx="135">
                  <c:v>33328</c:v>
                </c:pt>
                <c:pt idx="136">
                  <c:v>33238</c:v>
                </c:pt>
                <c:pt idx="137">
                  <c:v>33146</c:v>
                </c:pt>
                <c:pt idx="138">
                  <c:v>33054</c:v>
                </c:pt>
                <c:pt idx="139">
                  <c:v>32963</c:v>
                </c:pt>
                <c:pt idx="140">
                  <c:v>32873</c:v>
                </c:pt>
                <c:pt idx="141">
                  <c:v>32781</c:v>
                </c:pt>
                <c:pt idx="142">
                  <c:v>32689</c:v>
                </c:pt>
                <c:pt idx="143">
                  <c:v>32598</c:v>
                </c:pt>
                <c:pt idx="144">
                  <c:v>32508</c:v>
                </c:pt>
                <c:pt idx="145">
                  <c:v>32416</c:v>
                </c:pt>
                <c:pt idx="146">
                  <c:v>32324</c:v>
                </c:pt>
                <c:pt idx="147">
                  <c:v>32233</c:v>
                </c:pt>
                <c:pt idx="148">
                  <c:v>32142</c:v>
                </c:pt>
                <c:pt idx="149">
                  <c:v>32050</c:v>
                </c:pt>
                <c:pt idx="150">
                  <c:v>31958</c:v>
                </c:pt>
                <c:pt idx="151">
                  <c:v>31867</c:v>
                </c:pt>
                <c:pt idx="152">
                  <c:v>31777</c:v>
                </c:pt>
                <c:pt idx="153">
                  <c:v>31685</c:v>
                </c:pt>
                <c:pt idx="154">
                  <c:v>31593</c:v>
                </c:pt>
                <c:pt idx="155">
                  <c:v>31502</c:v>
                </c:pt>
                <c:pt idx="156">
                  <c:v>31412</c:v>
                </c:pt>
                <c:pt idx="157">
                  <c:v>31320</c:v>
                </c:pt>
                <c:pt idx="158">
                  <c:v>31228</c:v>
                </c:pt>
                <c:pt idx="159">
                  <c:v>31137</c:v>
                </c:pt>
                <c:pt idx="160">
                  <c:v>31047</c:v>
                </c:pt>
                <c:pt idx="161">
                  <c:v>30955</c:v>
                </c:pt>
                <c:pt idx="162">
                  <c:v>30863</c:v>
                </c:pt>
                <c:pt idx="163">
                  <c:v>30772</c:v>
                </c:pt>
                <c:pt idx="164">
                  <c:v>30681</c:v>
                </c:pt>
                <c:pt idx="165">
                  <c:v>30589</c:v>
                </c:pt>
                <c:pt idx="166">
                  <c:v>30497</c:v>
                </c:pt>
                <c:pt idx="167">
                  <c:v>30406</c:v>
                </c:pt>
                <c:pt idx="168">
                  <c:v>30316</c:v>
                </c:pt>
                <c:pt idx="169">
                  <c:v>30224</c:v>
                </c:pt>
                <c:pt idx="170">
                  <c:v>30132</c:v>
                </c:pt>
                <c:pt idx="171">
                  <c:v>30041</c:v>
                </c:pt>
                <c:pt idx="172">
                  <c:v>29951</c:v>
                </c:pt>
                <c:pt idx="173">
                  <c:v>29859</c:v>
                </c:pt>
                <c:pt idx="174">
                  <c:v>29767</c:v>
                </c:pt>
                <c:pt idx="175">
                  <c:v>29676</c:v>
                </c:pt>
                <c:pt idx="176">
                  <c:v>29586</c:v>
                </c:pt>
                <c:pt idx="177">
                  <c:v>29494</c:v>
                </c:pt>
                <c:pt idx="178">
                  <c:v>29402</c:v>
                </c:pt>
              </c:numCache>
            </c:numRef>
          </c:cat>
          <c:val>
            <c:numRef>
              <c:f>'Machines &amp; equipment'!$Q$18:$Q$238</c:f>
              <c:numCache>
                <c:formatCode>0.00%</c:formatCode>
                <c:ptCount val="221"/>
                <c:pt idx="0">
                  <c:v>#N/A</c:v>
                </c:pt>
                <c:pt idx="1">
                  <c:v>#N/A</c:v>
                </c:pt>
                <c:pt idx="2">
                  <c:v>-0.1134693780159326</c:v>
                </c:pt>
                <c:pt idx="3">
                  <c:v>-5.2332143903209512E-2</c:v>
                </c:pt>
                <c:pt idx="4">
                  <c:v>-4.7475888334156835E-2</c:v>
                </c:pt>
                <c:pt idx="5">
                  <c:v>-9.6028755125419085E-3</c:v>
                </c:pt>
                <c:pt idx="6">
                  <c:v>6.4723169868832198E-3</c:v>
                </c:pt>
                <c:pt idx="7">
                  <c:v>4.5432909810263933E-2</c:v>
                </c:pt>
                <c:pt idx="8">
                  <c:v>9.3451906560153328E-2</c:v>
                </c:pt>
                <c:pt idx="9">
                  <c:v>9.110805243643405E-2</c:v>
                </c:pt>
                <c:pt idx="10">
                  <c:v>3.7500973899234014E-2</c:v>
                </c:pt>
                <c:pt idx="11">
                  <c:v>1.989210397118879E-2</c:v>
                </c:pt>
                <c:pt idx="12">
                  <c:v>-2.561020023830507E-2</c:v>
                </c:pt>
                <c:pt idx="13">
                  <c:v>-1.3756135953150173E-3</c:v>
                </c:pt>
                <c:pt idx="14">
                  <c:v>0.26265525426812797</c:v>
                </c:pt>
                <c:pt idx="15">
                  <c:v>-1.0917935382489086E-2</c:v>
                </c:pt>
                <c:pt idx="16">
                  <c:v>-7.6507813250584977E-2</c:v>
                </c:pt>
                <c:pt idx="17">
                  <c:v>-0.12150861579262218</c:v>
                </c:pt>
                <c:pt idx="18">
                  <c:v>-0.28593164471095989</c:v>
                </c:pt>
                <c:pt idx="19">
                  <c:v>-0.11974048188446151</c:v>
                </c:pt>
                <c:pt idx="20">
                  <c:v>-1.0136982994225496E-2</c:v>
                </c:pt>
                <c:pt idx="21">
                  <c:v>1.1568727472694995E-2</c:v>
                </c:pt>
                <c:pt idx="22">
                  <c:v>2.6535704571825081E-2</c:v>
                </c:pt>
                <c:pt idx="23">
                  <c:v>7.0356592905348458E-2</c:v>
                </c:pt>
                <c:pt idx="24">
                  <c:v>2.6971257730533438E-2</c:v>
                </c:pt>
                <c:pt idx="25">
                  <c:v>4.0121656306165931E-2</c:v>
                </c:pt>
                <c:pt idx="26">
                  <c:v>5.1261510556812828E-2</c:v>
                </c:pt>
                <c:pt idx="27">
                  <c:v>5.6231422942974341E-2</c:v>
                </c:pt>
                <c:pt idx="28">
                  <c:v>7.7236891029290433E-2</c:v>
                </c:pt>
                <c:pt idx="29">
                  <c:v>5.2097992529811732E-2</c:v>
                </c:pt>
                <c:pt idx="30">
                  <c:v>5.6061789584552102E-2</c:v>
                </c:pt>
                <c:pt idx="31">
                  <c:v>1.2754446638891581E-2</c:v>
                </c:pt>
                <c:pt idx="32">
                  <c:v>-2.585880334899926E-4</c:v>
                </c:pt>
                <c:pt idx="33">
                  <c:v>2.9183933798431205E-2</c:v>
                </c:pt>
                <c:pt idx="34">
                  <c:v>2.3352400263779716E-2</c:v>
                </c:pt>
                <c:pt idx="35">
                  <c:v>4.4246122091177398E-2</c:v>
                </c:pt>
                <c:pt idx="36">
                  <c:v>4.0818933966699111E-2</c:v>
                </c:pt>
                <c:pt idx="37">
                  <c:v>4.6454992790810445E-2</c:v>
                </c:pt>
                <c:pt idx="38">
                  <c:v>2.537364093470007E-2</c:v>
                </c:pt>
                <c:pt idx="39">
                  <c:v>1.5327043757031422E-2</c:v>
                </c:pt>
                <c:pt idx="40">
                  <c:v>2.3126173770582792E-2</c:v>
                </c:pt>
                <c:pt idx="41">
                  <c:v>7.0663029265208621E-2</c:v>
                </c:pt>
                <c:pt idx="42">
                  <c:v>6.1062182349458149E-2</c:v>
                </c:pt>
                <c:pt idx="43">
                  <c:v>8.1793818307801303E-2</c:v>
                </c:pt>
                <c:pt idx="44">
                  <c:v>4.2694232317725511E-2</c:v>
                </c:pt>
                <c:pt idx="45">
                  <c:v>-2.2987588105648937E-2</c:v>
                </c:pt>
                <c:pt idx="46">
                  <c:v>-2.6652673601984311E-2</c:v>
                </c:pt>
                <c:pt idx="47">
                  <c:v>-4.9068098167612595E-2</c:v>
                </c:pt>
                <c:pt idx="48">
                  <c:v>-2.6760856787769183E-2</c:v>
                </c:pt>
                <c:pt idx="49">
                  <c:v>-3.5877416839133036E-2</c:v>
                </c:pt>
                <c:pt idx="50">
                  <c:v>2.0124379323972263E-2</c:v>
                </c:pt>
                <c:pt idx="51">
                  <c:v>2.1329070775485626E-2</c:v>
                </c:pt>
                <c:pt idx="52">
                  <c:v>3.8537933138340197E-2</c:v>
                </c:pt>
                <c:pt idx="53">
                  <c:v>9.2280948532653451E-2</c:v>
                </c:pt>
                <c:pt idx="54">
                  <c:v>7.322392212608575E-2</c:v>
                </c:pt>
                <c:pt idx="55">
                  <c:v>0.14675546631085656</c:v>
                </c:pt>
                <c:pt idx="56">
                  <c:v>0.21184601271479386</c:v>
                </c:pt>
                <c:pt idx="57">
                  <c:v>0.14426672285287356</c:v>
                </c:pt>
                <c:pt idx="58">
                  <c:v>0.10144711301255693</c:v>
                </c:pt>
                <c:pt idx="59">
                  <c:v>-1.5474456369658496E-3</c:v>
                </c:pt>
                <c:pt idx="60">
                  <c:v>-0.23802134003573783</c:v>
                </c:pt>
                <c:pt idx="61">
                  <c:v>-0.24753613328174517</c:v>
                </c:pt>
                <c:pt idx="62">
                  <c:v>-0.22833796729613809</c:v>
                </c:pt>
                <c:pt idx="63">
                  <c:v>-0.20608866152625382</c:v>
                </c:pt>
                <c:pt idx="64">
                  <c:v>-3.8870834163779344E-2</c:v>
                </c:pt>
                <c:pt idx="65">
                  <c:v>2.4771246897769661E-2</c:v>
                </c:pt>
                <c:pt idx="66">
                  <c:v>2.7289284686381032E-2</c:v>
                </c:pt>
                <c:pt idx="67">
                  <c:v>4.4045638819861344E-2</c:v>
                </c:pt>
                <c:pt idx="68">
                  <c:v>0.10050321983693733</c:v>
                </c:pt>
                <c:pt idx="69">
                  <c:v>0.10066455252140581</c:v>
                </c:pt>
                <c:pt idx="70">
                  <c:v>7.7416380252664396E-2</c:v>
                </c:pt>
                <c:pt idx="71">
                  <c:v>0.14006526192147195</c:v>
                </c:pt>
                <c:pt idx="72">
                  <c:v>9.9515295360057987E-2</c:v>
                </c:pt>
                <c:pt idx="73">
                  <c:v>0.1369718001055229</c:v>
                </c:pt>
                <c:pt idx="74">
                  <c:v>0.17301891951419179</c:v>
                </c:pt>
                <c:pt idx="75">
                  <c:v>9.7900504690434639E-2</c:v>
                </c:pt>
                <c:pt idx="76">
                  <c:v>0.12123056261315401</c:v>
                </c:pt>
                <c:pt idx="77">
                  <c:v>2.8471044581223293E-2</c:v>
                </c:pt>
                <c:pt idx="78">
                  <c:v>3.5953670407053107E-2</c:v>
                </c:pt>
                <c:pt idx="79">
                  <c:v>9.3854587398683118E-2</c:v>
                </c:pt>
                <c:pt idx="80">
                  <c:v>3.9171339993288701E-2</c:v>
                </c:pt>
                <c:pt idx="81">
                  <c:v>6.6904911033563774E-2</c:v>
                </c:pt>
                <c:pt idx="82">
                  <c:v>5.1473788612944826E-2</c:v>
                </c:pt>
                <c:pt idx="83">
                  <c:v>-4.5244931330952094E-2</c:v>
                </c:pt>
                <c:pt idx="84">
                  <c:v>-8.0768693917543377E-4</c:v>
                </c:pt>
                <c:pt idx="85">
                  <c:v>1.9290575521515585E-3</c:v>
                </c:pt>
                <c:pt idx="86">
                  <c:v>-2.2536364870731296E-2</c:v>
                </c:pt>
                <c:pt idx="87">
                  <c:v>2.2387994092984309E-2</c:v>
                </c:pt>
                <c:pt idx="88">
                  <c:v>-5.9376403945423546E-2</c:v>
                </c:pt>
                <c:pt idx="89">
                  <c:v>-8.8096820910984489E-2</c:v>
                </c:pt>
                <c:pt idx="90">
                  <c:v>-0.10813684937539059</c:v>
                </c:pt>
                <c:pt idx="91">
                  <c:v>-0.14584609231506274</c:v>
                </c:pt>
                <c:pt idx="92">
                  <c:v>-9.1676523432486001E-2</c:v>
                </c:pt>
                <c:pt idx="93">
                  <c:v>-7.6067252175801792E-2</c:v>
                </c:pt>
                <c:pt idx="94">
                  <c:v>-4.2683726338739181E-3</c:v>
                </c:pt>
                <c:pt idx="95">
                  <c:v>7.6087610812730411E-2</c:v>
                </c:pt>
                <c:pt idx="96">
                  <c:v>0.12708893912693364</c:v>
                </c:pt>
                <c:pt idx="97">
                  <c:v>0.14545173679524437</c:v>
                </c:pt>
                <c:pt idx="98">
                  <c:v>0.12323947551024637</c:v>
                </c:pt>
                <c:pt idx="99">
                  <c:v>8.5564507147032356E-2</c:v>
                </c:pt>
                <c:pt idx="100">
                  <c:v>5.2427942085319756E-2</c:v>
                </c:pt>
                <c:pt idx="101">
                  <c:v>5.8975258431215094E-2</c:v>
                </c:pt>
                <c:pt idx="102">
                  <c:v>5.6241855942481545E-2</c:v>
                </c:pt>
                <c:pt idx="103">
                  <c:v>8.0064699026731301E-2</c:v>
                </c:pt>
                <c:pt idx="104">
                  <c:v>0.10103655784372755</c:v>
                </c:pt>
                <c:pt idx="105">
                  <c:v>0.12345172622464151</c:v>
                </c:pt>
                <c:pt idx="106">
                  <c:v>0.1149309805382841</c:v>
                </c:pt>
                <c:pt idx="107">
                  <c:v>0.1010031356484198</c:v>
                </c:pt>
                <c:pt idx="108">
                  <c:v>6.0035387674386875E-2</c:v>
                </c:pt>
                <c:pt idx="109">
                  <c:v>4.1817406883128294E-2</c:v>
                </c:pt>
                <c:pt idx="110">
                  <c:v>2.5090298852669557E-2</c:v>
                </c:pt>
                <c:pt idx="111">
                  <c:v>5.2282369668589013E-2</c:v>
                </c:pt>
                <c:pt idx="112">
                  <c:v>4.425809480740206E-2</c:v>
                </c:pt>
                <c:pt idx="113">
                  <c:v>2.8819828915862322E-2</c:v>
                </c:pt>
                <c:pt idx="114">
                  <c:v>5.4834860795784479E-2</c:v>
                </c:pt>
                <c:pt idx="115">
                  <c:v>1.1010016931529032E-2</c:v>
                </c:pt>
                <c:pt idx="116">
                  <c:v>8.4124290426694781E-3</c:v>
                </c:pt>
                <c:pt idx="117">
                  <c:v>1.9663889980834348E-2</c:v>
                </c:pt>
                <c:pt idx="118">
                  <c:v>2.7113139449155943E-2</c:v>
                </c:pt>
                <c:pt idx="119">
                  <c:v>3.5899705897569634E-2</c:v>
                </c:pt>
                <c:pt idx="120">
                  <c:v>6.0773273013920104E-2</c:v>
                </c:pt>
                <c:pt idx="121">
                  <c:v>8.6519543545344746E-3</c:v>
                </c:pt>
                <c:pt idx="122">
                  <c:v>-2.0629557113313379E-2</c:v>
                </c:pt>
                <c:pt idx="123">
                  <c:v>-5.6863401208653401E-2</c:v>
                </c:pt>
                <c:pt idx="124">
                  <c:v>-0.11771513183363169</c:v>
                </c:pt>
                <c:pt idx="125">
                  <c:v>-0.13629601007486869</c:v>
                </c:pt>
                <c:pt idx="126">
                  <c:v>-0.17797919003160589</c:v>
                </c:pt>
                <c:pt idx="127">
                  <c:v>-0.17018736200962792</c:v>
                </c:pt>
                <c:pt idx="128">
                  <c:v>-0.12315091955167456</c:v>
                </c:pt>
                <c:pt idx="129">
                  <c:v>-6.42866118665949E-2</c:v>
                </c:pt>
                <c:pt idx="130">
                  <c:v>-2.2871634027146315E-2</c:v>
                </c:pt>
                <c:pt idx="131">
                  <c:v>1.572233978203319E-2</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numCache>
            </c:numRef>
          </c:val>
          <c:smooth val="0"/>
          <c:extLst>
            <c:ext xmlns:c16="http://schemas.microsoft.com/office/drawing/2014/chart" uri="{C3380CC4-5D6E-409C-BE32-E72D297353CC}">
              <c16:uniqueId val="{00000001-FD68-4219-873F-13B7CD3ABFFC}"/>
            </c:ext>
          </c:extLst>
        </c:ser>
        <c:dLbls>
          <c:showLegendKey val="0"/>
          <c:showVal val="0"/>
          <c:showCatName val="0"/>
          <c:showSerName val="0"/>
          <c:showPercent val="0"/>
          <c:showBubbleSize val="0"/>
        </c:dLbls>
        <c:marker val="1"/>
        <c:smooth val="0"/>
        <c:axId val="1830833312"/>
        <c:axId val="1604240272"/>
      </c:lineChart>
      <c:dateAx>
        <c:axId val="1826145920"/>
        <c:scaling>
          <c:orientation val="minMax"/>
          <c:min val="34335"/>
        </c:scaling>
        <c:delete val="0"/>
        <c:axPos val="b"/>
        <c:numFmt formatCode="yy" sourceLinked="0"/>
        <c:majorTickMark val="none"/>
        <c:minorTickMark val="none"/>
        <c:tickLblPos val="low"/>
        <c:spPr>
          <a:noFill/>
          <a:ln w="3175" cap="flat" cmpd="sng" algn="ctr">
            <a:solidFill>
              <a:srgbClr val="72706F"/>
            </a:solidFill>
            <a:prstDash val="solid"/>
            <a:round/>
          </a:ln>
          <a:effectLst/>
        </c:spPr>
        <c:txPr>
          <a:bodyPr rot="0" spcFirstLastPara="1" vertOverflow="ellipsis" wrap="square" anchor="ctr" anchorCtr="1"/>
          <a:lstStyle/>
          <a:p>
            <a:pPr>
              <a:defRPr sz="1100" b="0" i="0" u="none" strike="noStrike" kern="1200" baseline="0">
                <a:solidFill>
                  <a:srgbClr val="000000"/>
                </a:solidFill>
                <a:latin typeface="Arial"/>
                <a:ea typeface="Arial"/>
                <a:cs typeface="Arial"/>
              </a:defRPr>
            </a:pPr>
            <a:endParaRPr lang="en-US"/>
          </a:p>
        </c:txPr>
        <c:crossAx val="187245567"/>
        <c:crosses val="autoZero"/>
        <c:auto val="1"/>
        <c:lblOffset val="100"/>
        <c:baseTimeUnit val="months"/>
        <c:majorUnit val="4"/>
        <c:majorTimeUnit val="years"/>
      </c:dateAx>
      <c:valAx>
        <c:axId val="187245567"/>
        <c:scaling>
          <c:orientation val="minMax"/>
          <c:min val="65"/>
        </c:scaling>
        <c:delete val="0"/>
        <c:axPos val="l"/>
        <c:numFmt formatCode="0%" sourceLinked="0"/>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1826145920"/>
        <c:crosses val="autoZero"/>
        <c:crossBetween val="between"/>
        <c:dispUnits>
          <c:builtInUnit val="hundreds"/>
        </c:dispUnits>
      </c:valAx>
      <c:valAx>
        <c:axId val="1604240272"/>
        <c:scaling>
          <c:orientation val="minMax"/>
        </c:scaling>
        <c:delete val="0"/>
        <c:axPos val="r"/>
        <c:numFmt formatCode="0%" sourceLinked="0"/>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1830833312"/>
        <c:crosses val="max"/>
        <c:crossBetween val="midCat"/>
      </c:valAx>
      <c:dateAx>
        <c:axId val="1830833312"/>
        <c:scaling>
          <c:orientation val="minMax"/>
          <c:min val="34335"/>
        </c:scaling>
        <c:delete val="0"/>
        <c:axPos val="b"/>
        <c:numFmt formatCode="mmm&quot;-&quot;yy" sourceLinked="1"/>
        <c:majorTickMark val="none"/>
        <c:minorTickMark val="none"/>
        <c:tickLblPos val="none"/>
        <c:spPr>
          <a:noFill/>
          <a:ln w="25400" cap="flat" cmpd="sng" algn="ctr">
            <a:solidFill>
              <a:srgbClr val="72706F"/>
            </a:solidFill>
            <a:prstDash val="solid"/>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a:ea typeface="Arial"/>
                <a:cs typeface="Arial"/>
              </a:defRPr>
            </a:pPr>
            <a:endParaRPr lang="en-US"/>
          </a:p>
        </c:txPr>
        <c:crossAx val="1604240272"/>
        <c:crosses val="autoZero"/>
        <c:auto val="1"/>
        <c:lblOffset val="100"/>
        <c:baseTimeUnit val="months"/>
        <c:majorUnit val="20"/>
        <c:majorTimeUnit val="months"/>
      </c:dateAx>
      <c:spPr>
        <a:noFill/>
        <a:ln w="25400">
          <a:noFill/>
        </a:ln>
        <a:effectLst/>
      </c:spPr>
    </c:plotArea>
    <c:legend>
      <c:legendPos val="b"/>
      <c:legendEntry>
        <c:idx val="1"/>
        <c:txPr>
          <a:bodyPr rot="0" spcFirstLastPara="1" vertOverflow="ellipsis" vert="horz" wrap="square" anchor="ctr" anchorCtr="1"/>
          <a:lstStyle/>
          <a:p>
            <a:pPr>
              <a:defRPr sz="1100" b="0" i="0" u="none" strike="noStrike" kern="1200" baseline="0">
                <a:solidFill>
                  <a:srgbClr val="000000"/>
                </a:solidFill>
                <a:latin typeface="DeutscheBank" panose="020B0503020202030204" pitchFamily="34" charset="0"/>
                <a:ea typeface="Arial"/>
                <a:cs typeface="Arial"/>
              </a:defRPr>
            </a:pPr>
            <a:endParaRPr lang="en-US"/>
          </a:p>
        </c:txPr>
      </c:legendEntry>
      <c:layout>
        <c:manualLayout>
          <c:xMode val="edge"/>
          <c:yMode val="edge"/>
          <c:x val="2.3938008951792256E-2"/>
          <c:y val="0.76295243078514341"/>
          <c:w val="0.94780803820343462"/>
          <c:h val="0.15885680390382048"/>
        </c:manualLayout>
      </c:layout>
      <c:overlay val="0"/>
      <c:spPr>
        <a:noFill/>
        <a:ln w="25400">
          <a:noFill/>
        </a:ln>
        <a:effectLst/>
        <a:extLst>
          <a:ext uri="{909E8E84-426E-40DD-AFC4-6F175D3DCCD1}">
            <a14:hiddenFill xmlns:a14="http://schemas.microsoft.com/office/drawing/2010/main">
              <a:noFill/>
            </a14:hiddenFill>
          </a:ext>
        </a:extLst>
      </c:spPr>
      <c:txPr>
        <a:bodyPr rot="0" spcFirstLastPara="1" vertOverflow="ellipsis" vert="horz" wrap="square" anchor="ctr" anchorCtr="1"/>
        <a:lstStyle/>
        <a:p>
          <a:pPr>
            <a:defRPr sz="1100" b="0" i="0" u="none" strike="noStrike" kern="1200" baseline="0">
              <a:solidFill>
                <a:srgbClr val="000000"/>
              </a:solidFill>
              <a:latin typeface="Arial"/>
              <a:ea typeface="Arial"/>
              <a:cs typeface="Arial"/>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a:extLst>
      <a:ext uri="{909E8E84-426E-40DD-AFC4-6F175D3DCCD1}">
        <a14:hiddenFill xmlns:a14="http://schemas.microsoft.com/office/drawing/2010/main">
          <a:solidFill>
            <a:sysClr val="window" lastClr="FFFFFF"/>
          </a:solidFill>
        </a14:hiddenFill>
      </a:ext>
    </a:extLst>
  </c:spPr>
  <c:txPr>
    <a:bodyPr/>
    <a:lstStyle/>
    <a:p>
      <a:pPr>
        <a:defRPr sz="1100">
          <a:latin typeface="Arial"/>
          <a:ea typeface="Arial"/>
          <a:cs typeface="Arial"/>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012534815443611E-2"/>
          <c:y val="0.13849197869941646"/>
          <c:w val="0.91964080759271771"/>
          <c:h val="0.64505301449079899"/>
        </c:manualLayout>
      </c:layout>
      <c:lineChart>
        <c:grouping val="standard"/>
        <c:varyColors val="0"/>
        <c:ser>
          <c:idx val="1"/>
          <c:order val="0"/>
          <c:tx>
            <c:v>USA</c:v>
          </c:tx>
          <c:spPr>
            <a:ln w="25400" cap="rnd">
              <a:solidFill>
                <a:schemeClr val="accent5"/>
              </a:solidFill>
              <a:prstDash val="solid"/>
              <a:round/>
            </a:ln>
            <a:effectLst/>
          </c:spPr>
          <c:marker>
            <c:symbol val="none"/>
          </c:marker>
          <c:cat>
            <c:numRef>
              <c:f>Sheet1!$E$28:$E$471</c:f>
              <c:numCache>
                <c:formatCode>m/d/yyyy</c:formatCode>
                <c:ptCount val="444"/>
                <c:pt idx="0">
                  <c:v>45596</c:v>
                </c:pt>
                <c:pt idx="1">
                  <c:v>45565</c:v>
                </c:pt>
                <c:pt idx="2">
                  <c:v>45535</c:v>
                </c:pt>
                <c:pt idx="3">
                  <c:v>45504</c:v>
                </c:pt>
                <c:pt idx="4">
                  <c:v>45473</c:v>
                </c:pt>
                <c:pt idx="5">
                  <c:v>45443</c:v>
                </c:pt>
                <c:pt idx="6">
                  <c:v>45412</c:v>
                </c:pt>
                <c:pt idx="7">
                  <c:v>45382</c:v>
                </c:pt>
                <c:pt idx="8">
                  <c:v>45351</c:v>
                </c:pt>
                <c:pt idx="9">
                  <c:v>45322</c:v>
                </c:pt>
                <c:pt idx="10">
                  <c:v>45291</c:v>
                </c:pt>
                <c:pt idx="11">
                  <c:v>45260</c:v>
                </c:pt>
                <c:pt idx="12">
                  <c:v>45230</c:v>
                </c:pt>
                <c:pt idx="13">
                  <c:v>45199</c:v>
                </c:pt>
                <c:pt idx="14">
                  <c:v>45169</c:v>
                </c:pt>
                <c:pt idx="15">
                  <c:v>45138</c:v>
                </c:pt>
                <c:pt idx="16">
                  <c:v>45107</c:v>
                </c:pt>
                <c:pt idx="17">
                  <c:v>45077</c:v>
                </c:pt>
                <c:pt idx="18">
                  <c:v>45046</c:v>
                </c:pt>
                <c:pt idx="19">
                  <c:v>45016</c:v>
                </c:pt>
                <c:pt idx="20">
                  <c:v>44985</c:v>
                </c:pt>
                <c:pt idx="21">
                  <c:v>44957</c:v>
                </c:pt>
                <c:pt idx="22">
                  <c:v>44926</c:v>
                </c:pt>
                <c:pt idx="23">
                  <c:v>44895</c:v>
                </c:pt>
                <c:pt idx="24">
                  <c:v>44865</c:v>
                </c:pt>
                <c:pt idx="25">
                  <c:v>44834</c:v>
                </c:pt>
                <c:pt idx="26">
                  <c:v>44804</c:v>
                </c:pt>
                <c:pt idx="27">
                  <c:v>44773</c:v>
                </c:pt>
                <c:pt idx="28">
                  <c:v>44742</c:v>
                </c:pt>
                <c:pt idx="29">
                  <c:v>44712</c:v>
                </c:pt>
                <c:pt idx="30">
                  <c:v>44681</c:v>
                </c:pt>
                <c:pt idx="31">
                  <c:v>44651</c:v>
                </c:pt>
                <c:pt idx="32">
                  <c:v>44620</c:v>
                </c:pt>
                <c:pt idx="33">
                  <c:v>44592</c:v>
                </c:pt>
                <c:pt idx="34">
                  <c:v>44561</c:v>
                </c:pt>
                <c:pt idx="35">
                  <c:v>44530</c:v>
                </c:pt>
                <c:pt idx="36">
                  <c:v>44500</c:v>
                </c:pt>
                <c:pt idx="37">
                  <c:v>44469</c:v>
                </c:pt>
                <c:pt idx="38">
                  <c:v>44439</c:v>
                </c:pt>
                <c:pt idx="39">
                  <c:v>44408</c:v>
                </c:pt>
                <c:pt idx="40">
                  <c:v>44377</c:v>
                </c:pt>
                <c:pt idx="41">
                  <c:v>44347</c:v>
                </c:pt>
                <c:pt idx="42">
                  <c:v>44316</c:v>
                </c:pt>
                <c:pt idx="43">
                  <c:v>44286</c:v>
                </c:pt>
                <c:pt idx="44">
                  <c:v>44255</c:v>
                </c:pt>
                <c:pt idx="45">
                  <c:v>44227</c:v>
                </c:pt>
                <c:pt idx="46">
                  <c:v>44196</c:v>
                </c:pt>
                <c:pt idx="47">
                  <c:v>44165</c:v>
                </c:pt>
                <c:pt idx="48">
                  <c:v>44135</c:v>
                </c:pt>
                <c:pt idx="49">
                  <c:v>44104</c:v>
                </c:pt>
                <c:pt idx="50">
                  <c:v>44074</c:v>
                </c:pt>
                <c:pt idx="51">
                  <c:v>44043</c:v>
                </c:pt>
                <c:pt idx="52">
                  <c:v>44012</c:v>
                </c:pt>
                <c:pt idx="53">
                  <c:v>43982</c:v>
                </c:pt>
                <c:pt idx="54">
                  <c:v>43951</c:v>
                </c:pt>
                <c:pt idx="55">
                  <c:v>43921</c:v>
                </c:pt>
                <c:pt idx="56">
                  <c:v>43890</c:v>
                </c:pt>
                <c:pt idx="57">
                  <c:v>43861</c:v>
                </c:pt>
                <c:pt idx="58">
                  <c:v>43830</c:v>
                </c:pt>
                <c:pt idx="59">
                  <c:v>43799</c:v>
                </c:pt>
                <c:pt idx="60">
                  <c:v>43769</c:v>
                </c:pt>
                <c:pt idx="61">
                  <c:v>43738</c:v>
                </c:pt>
                <c:pt idx="62">
                  <c:v>43708</c:v>
                </c:pt>
                <c:pt idx="63">
                  <c:v>43677</c:v>
                </c:pt>
                <c:pt idx="64">
                  <c:v>43646</c:v>
                </c:pt>
                <c:pt idx="65">
                  <c:v>43616</c:v>
                </c:pt>
                <c:pt idx="66">
                  <c:v>43585</c:v>
                </c:pt>
                <c:pt idx="67">
                  <c:v>43555</c:v>
                </c:pt>
                <c:pt idx="68">
                  <c:v>43524</c:v>
                </c:pt>
                <c:pt idx="69">
                  <c:v>43496</c:v>
                </c:pt>
                <c:pt idx="70">
                  <c:v>43465</c:v>
                </c:pt>
                <c:pt idx="71">
                  <c:v>43434</c:v>
                </c:pt>
                <c:pt idx="72">
                  <c:v>43404</c:v>
                </c:pt>
                <c:pt idx="73">
                  <c:v>43373</c:v>
                </c:pt>
                <c:pt idx="74">
                  <c:v>43343</c:v>
                </c:pt>
                <c:pt idx="75">
                  <c:v>43312</c:v>
                </c:pt>
                <c:pt idx="76">
                  <c:v>43281</c:v>
                </c:pt>
                <c:pt idx="77">
                  <c:v>43251</c:v>
                </c:pt>
                <c:pt idx="78">
                  <c:v>43220</c:v>
                </c:pt>
                <c:pt idx="79">
                  <c:v>43190</c:v>
                </c:pt>
                <c:pt idx="80">
                  <c:v>43159</c:v>
                </c:pt>
                <c:pt idx="81">
                  <c:v>43131</c:v>
                </c:pt>
                <c:pt idx="82">
                  <c:v>43100</c:v>
                </c:pt>
                <c:pt idx="83">
                  <c:v>43069</c:v>
                </c:pt>
                <c:pt idx="84">
                  <c:v>43039</c:v>
                </c:pt>
                <c:pt idx="85">
                  <c:v>43008</c:v>
                </c:pt>
                <c:pt idx="86">
                  <c:v>42978</c:v>
                </c:pt>
                <c:pt idx="87">
                  <c:v>42947</c:v>
                </c:pt>
                <c:pt idx="88">
                  <c:v>42916</c:v>
                </c:pt>
                <c:pt idx="89">
                  <c:v>42886</c:v>
                </c:pt>
                <c:pt idx="90">
                  <c:v>42855</c:v>
                </c:pt>
                <c:pt idx="91">
                  <c:v>42825</c:v>
                </c:pt>
                <c:pt idx="92">
                  <c:v>42794</c:v>
                </c:pt>
                <c:pt idx="93">
                  <c:v>42766</c:v>
                </c:pt>
                <c:pt idx="94">
                  <c:v>42735</c:v>
                </c:pt>
                <c:pt idx="95">
                  <c:v>42704</c:v>
                </c:pt>
                <c:pt idx="96">
                  <c:v>42674</c:v>
                </c:pt>
                <c:pt idx="97">
                  <c:v>42643</c:v>
                </c:pt>
                <c:pt idx="98">
                  <c:v>42613</c:v>
                </c:pt>
                <c:pt idx="99">
                  <c:v>42582</c:v>
                </c:pt>
                <c:pt idx="100">
                  <c:v>42551</c:v>
                </c:pt>
                <c:pt idx="101">
                  <c:v>42521</c:v>
                </c:pt>
                <c:pt idx="102">
                  <c:v>42490</c:v>
                </c:pt>
                <c:pt idx="103">
                  <c:v>42460</c:v>
                </c:pt>
                <c:pt idx="104">
                  <c:v>42429</c:v>
                </c:pt>
                <c:pt idx="105">
                  <c:v>42400</c:v>
                </c:pt>
                <c:pt idx="106">
                  <c:v>42369</c:v>
                </c:pt>
                <c:pt idx="107">
                  <c:v>42338</c:v>
                </c:pt>
                <c:pt idx="108">
                  <c:v>42308</c:v>
                </c:pt>
                <c:pt idx="109">
                  <c:v>42277</c:v>
                </c:pt>
                <c:pt idx="110">
                  <c:v>42247</c:v>
                </c:pt>
                <c:pt idx="111">
                  <c:v>42216</c:v>
                </c:pt>
                <c:pt idx="112">
                  <c:v>42185</c:v>
                </c:pt>
                <c:pt idx="113">
                  <c:v>42155</c:v>
                </c:pt>
                <c:pt idx="114">
                  <c:v>42124</c:v>
                </c:pt>
                <c:pt idx="115">
                  <c:v>42094</c:v>
                </c:pt>
                <c:pt idx="116">
                  <c:v>42063</c:v>
                </c:pt>
                <c:pt idx="117">
                  <c:v>42035</c:v>
                </c:pt>
                <c:pt idx="118">
                  <c:v>42004</c:v>
                </c:pt>
                <c:pt idx="119">
                  <c:v>41973</c:v>
                </c:pt>
                <c:pt idx="120">
                  <c:v>41943</c:v>
                </c:pt>
                <c:pt idx="121">
                  <c:v>41912</c:v>
                </c:pt>
                <c:pt idx="122">
                  <c:v>41882</c:v>
                </c:pt>
                <c:pt idx="123">
                  <c:v>41851</c:v>
                </c:pt>
                <c:pt idx="124">
                  <c:v>41820</c:v>
                </c:pt>
                <c:pt idx="125">
                  <c:v>41790</c:v>
                </c:pt>
                <c:pt idx="126">
                  <c:v>41759</c:v>
                </c:pt>
                <c:pt idx="127">
                  <c:v>41729</c:v>
                </c:pt>
                <c:pt idx="128">
                  <c:v>41698</c:v>
                </c:pt>
                <c:pt idx="129">
                  <c:v>41670</c:v>
                </c:pt>
                <c:pt idx="130">
                  <c:v>41639</c:v>
                </c:pt>
                <c:pt idx="131">
                  <c:v>41608</c:v>
                </c:pt>
                <c:pt idx="132">
                  <c:v>41578</c:v>
                </c:pt>
                <c:pt idx="133">
                  <c:v>41547</c:v>
                </c:pt>
                <c:pt idx="134">
                  <c:v>41517</c:v>
                </c:pt>
                <c:pt idx="135">
                  <c:v>41486</c:v>
                </c:pt>
                <c:pt idx="136">
                  <c:v>41455</c:v>
                </c:pt>
                <c:pt idx="137">
                  <c:v>41425</c:v>
                </c:pt>
                <c:pt idx="138">
                  <c:v>41394</c:v>
                </c:pt>
                <c:pt idx="139">
                  <c:v>41364</c:v>
                </c:pt>
                <c:pt idx="140">
                  <c:v>41333</c:v>
                </c:pt>
                <c:pt idx="141">
                  <c:v>41305</c:v>
                </c:pt>
                <c:pt idx="142">
                  <c:v>41274</c:v>
                </c:pt>
                <c:pt idx="143">
                  <c:v>41243</c:v>
                </c:pt>
                <c:pt idx="144">
                  <c:v>41213</c:v>
                </c:pt>
                <c:pt idx="145">
                  <c:v>41182</c:v>
                </c:pt>
                <c:pt idx="146">
                  <c:v>41152</c:v>
                </c:pt>
                <c:pt idx="147">
                  <c:v>41121</c:v>
                </c:pt>
                <c:pt idx="148">
                  <c:v>41090</c:v>
                </c:pt>
                <c:pt idx="149">
                  <c:v>41060</c:v>
                </c:pt>
                <c:pt idx="150">
                  <c:v>41029</c:v>
                </c:pt>
                <c:pt idx="151">
                  <c:v>40999</c:v>
                </c:pt>
                <c:pt idx="152">
                  <c:v>40968</c:v>
                </c:pt>
                <c:pt idx="153">
                  <c:v>40939</c:v>
                </c:pt>
                <c:pt idx="154">
                  <c:v>40908</c:v>
                </c:pt>
                <c:pt idx="155">
                  <c:v>40877</c:v>
                </c:pt>
                <c:pt idx="156">
                  <c:v>40847</c:v>
                </c:pt>
                <c:pt idx="157">
                  <c:v>40816</c:v>
                </c:pt>
                <c:pt idx="158">
                  <c:v>40786</c:v>
                </c:pt>
                <c:pt idx="159">
                  <c:v>40755</c:v>
                </c:pt>
                <c:pt idx="160">
                  <c:v>40724</c:v>
                </c:pt>
                <c:pt idx="161">
                  <c:v>40694</c:v>
                </c:pt>
                <c:pt idx="162">
                  <c:v>40663</c:v>
                </c:pt>
                <c:pt idx="163">
                  <c:v>40633</c:v>
                </c:pt>
                <c:pt idx="164">
                  <c:v>40602</c:v>
                </c:pt>
                <c:pt idx="165">
                  <c:v>40574</c:v>
                </c:pt>
                <c:pt idx="166">
                  <c:v>40543</c:v>
                </c:pt>
                <c:pt idx="167">
                  <c:v>40512</c:v>
                </c:pt>
                <c:pt idx="168">
                  <c:v>40482</c:v>
                </c:pt>
                <c:pt idx="169">
                  <c:v>40451</c:v>
                </c:pt>
                <c:pt idx="170">
                  <c:v>40421</c:v>
                </c:pt>
                <c:pt idx="171">
                  <c:v>40390</c:v>
                </c:pt>
                <c:pt idx="172">
                  <c:v>40359</c:v>
                </c:pt>
                <c:pt idx="173">
                  <c:v>40329</c:v>
                </c:pt>
                <c:pt idx="174">
                  <c:v>40298</c:v>
                </c:pt>
                <c:pt idx="175">
                  <c:v>40268</c:v>
                </c:pt>
                <c:pt idx="176">
                  <c:v>40237</c:v>
                </c:pt>
                <c:pt idx="177">
                  <c:v>40209</c:v>
                </c:pt>
                <c:pt idx="178">
                  <c:v>40178</c:v>
                </c:pt>
                <c:pt idx="179">
                  <c:v>40147</c:v>
                </c:pt>
                <c:pt idx="180">
                  <c:v>40117</c:v>
                </c:pt>
                <c:pt idx="181">
                  <c:v>40086</c:v>
                </c:pt>
                <c:pt idx="182">
                  <c:v>40056</c:v>
                </c:pt>
                <c:pt idx="183">
                  <c:v>40025</c:v>
                </c:pt>
                <c:pt idx="184">
                  <c:v>39994</c:v>
                </c:pt>
                <c:pt idx="185">
                  <c:v>39964</c:v>
                </c:pt>
                <c:pt idx="186">
                  <c:v>39933</c:v>
                </c:pt>
                <c:pt idx="187">
                  <c:v>39903</c:v>
                </c:pt>
                <c:pt idx="188">
                  <c:v>39872</c:v>
                </c:pt>
                <c:pt idx="189">
                  <c:v>39844</c:v>
                </c:pt>
                <c:pt idx="190">
                  <c:v>39813</c:v>
                </c:pt>
                <c:pt idx="191">
                  <c:v>39782</c:v>
                </c:pt>
                <c:pt idx="192">
                  <c:v>39752</c:v>
                </c:pt>
                <c:pt idx="193">
                  <c:v>39721</c:v>
                </c:pt>
                <c:pt idx="194">
                  <c:v>39691</c:v>
                </c:pt>
                <c:pt idx="195">
                  <c:v>39660</c:v>
                </c:pt>
                <c:pt idx="196">
                  <c:v>39629</c:v>
                </c:pt>
                <c:pt idx="197">
                  <c:v>39599</c:v>
                </c:pt>
                <c:pt idx="198">
                  <c:v>39568</c:v>
                </c:pt>
                <c:pt idx="199">
                  <c:v>39538</c:v>
                </c:pt>
                <c:pt idx="200">
                  <c:v>39507</c:v>
                </c:pt>
                <c:pt idx="201">
                  <c:v>39478</c:v>
                </c:pt>
                <c:pt idx="202">
                  <c:v>39447</c:v>
                </c:pt>
                <c:pt idx="203">
                  <c:v>39416</c:v>
                </c:pt>
                <c:pt idx="204">
                  <c:v>39386</c:v>
                </c:pt>
                <c:pt idx="205">
                  <c:v>39355</c:v>
                </c:pt>
                <c:pt idx="206">
                  <c:v>39325</c:v>
                </c:pt>
                <c:pt idx="207">
                  <c:v>39294</c:v>
                </c:pt>
                <c:pt idx="208">
                  <c:v>39263</c:v>
                </c:pt>
                <c:pt idx="209">
                  <c:v>39233</c:v>
                </c:pt>
                <c:pt idx="210">
                  <c:v>39202</c:v>
                </c:pt>
                <c:pt idx="211">
                  <c:v>39172</c:v>
                </c:pt>
                <c:pt idx="212">
                  <c:v>39141</c:v>
                </c:pt>
                <c:pt idx="213">
                  <c:v>39113</c:v>
                </c:pt>
                <c:pt idx="214">
                  <c:v>39082</c:v>
                </c:pt>
                <c:pt idx="215">
                  <c:v>39051</c:v>
                </c:pt>
                <c:pt idx="216">
                  <c:v>39021</c:v>
                </c:pt>
                <c:pt idx="217">
                  <c:v>38990</c:v>
                </c:pt>
                <c:pt idx="218">
                  <c:v>38960</c:v>
                </c:pt>
                <c:pt idx="219">
                  <c:v>38929</c:v>
                </c:pt>
                <c:pt idx="220">
                  <c:v>38898</c:v>
                </c:pt>
                <c:pt idx="221">
                  <c:v>38868</c:v>
                </c:pt>
                <c:pt idx="222">
                  <c:v>38837</c:v>
                </c:pt>
                <c:pt idx="223">
                  <c:v>38807</c:v>
                </c:pt>
                <c:pt idx="224">
                  <c:v>38776</c:v>
                </c:pt>
                <c:pt idx="225">
                  <c:v>38748</c:v>
                </c:pt>
                <c:pt idx="226">
                  <c:v>38717</c:v>
                </c:pt>
                <c:pt idx="227">
                  <c:v>38686</c:v>
                </c:pt>
                <c:pt idx="228">
                  <c:v>38656</c:v>
                </c:pt>
                <c:pt idx="229">
                  <c:v>38625</c:v>
                </c:pt>
                <c:pt idx="230">
                  <c:v>38595</c:v>
                </c:pt>
                <c:pt idx="231">
                  <c:v>38564</c:v>
                </c:pt>
                <c:pt idx="232">
                  <c:v>38533</c:v>
                </c:pt>
                <c:pt idx="233">
                  <c:v>38503</c:v>
                </c:pt>
                <c:pt idx="234">
                  <c:v>38472</c:v>
                </c:pt>
                <c:pt idx="235">
                  <c:v>38442</c:v>
                </c:pt>
                <c:pt idx="236">
                  <c:v>38411</c:v>
                </c:pt>
                <c:pt idx="237">
                  <c:v>38383</c:v>
                </c:pt>
                <c:pt idx="238">
                  <c:v>38352</c:v>
                </c:pt>
                <c:pt idx="239">
                  <c:v>38321</c:v>
                </c:pt>
                <c:pt idx="240">
                  <c:v>38291</c:v>
                </c:pt>
                <c:pt idx="241">
                  <c:v>38260</c:v>
                </c:pt>
                <c:pt idx="242">
                  <c:v>38230</c:v>
                </c:pt>
                <c:pt idx="243">
                  <c:v>38199</c:v>
                </c:pt>
                <c:pt idx="244">
                  <c:v>38168</c:v>
                </c:pt>
                <c:pt idx="245">
                  <c:v>38138</c:v>
                </c:pt>
                <c:pt idx="246">
                  <c:v>38107</c:v>
                </c:pt>
                <c:pt idx="247">
                  <c:v>38077</c:v>
                </c:pt>
                <c:pt idx="248">
                  <c:v>38046</c:v>
                </c:pt>
                <c:pt idx="249">
                  <c:v>38017</c:v>
                </c:pt>
                <c:pt idx="250">
                  <c:v>37986</c:v>
                </c:pt>
                <c:pt idx="251">
                  <c:v>37955</c:v>
                </c:pt>
                <c:pt idx="252">
                  <c:v>37925</c:v>
                </c:pt>
                <c:pt idx="253">
                  <c:v>37894</c:v>
                </c:pt>
                <c:pt idx="254">
                  <c:v>37864</c:v>
                </c:pt>
                <c:pt idx="255">
                  <c:v>37833</c:v>
                </c:pt>
                <c:pt idx="256">
                  <c:v>37802</c:v>
                </c:pt>
                <c:pt idx="257">
                  <c:v>37772</c:v>
                </c:pt>
                <c:pt idx="258">
                  <c:v>37741</c:v>
                </c:pt>
                <c:pt idx="259">
                  <c:v>37711</c:v>
                </c:pt>
                <c:pt idx="260">
                  <c:v>37680</c:v>
                </c:pt>
                <c:pt idx="261">
                  <c:v>37652</c:v>
                </c:pt>
                <c:pt idx="262">
                  <c:v>37621</c:v>
                </c:pt>
                <c:pt idx="263">
                  <c:v>37590</c:v>
                </c:pt>
                <c:pt idx="264">
                  <c:v>37560</c:v>
                </c:pt>
                <c:pt idx="265">
                  <c:v>37529</c:v>
                </c:pt>
                <c:pt idx="266">
                  <c:v>37499</c:v>
                </c:pt>
                <c:pt idx="267">
                  <c:v>37468</c:v>
                </c:pt>
                <c:pt idx="268">
                  <c:v>37437</c:v>
                </c:pt>
                <c:pt idx="269">
                  <c:v>37407</c:v>
                </c:pt>
                <c:pt idx="270">
                  <c:v>37376</c:v>
                </c:pt>
                <c:pt idx="271">
                  <c:v>37346</c:v>
                </c:pt>
                <c:pt idx="272">
                  <c:v>37315</c:v>
                </c:pt>
                <c:pt idx="273">
                  <c:v>37287</c:v>
                </c:pt>
                <c:pt idx="274">
                  <c:v>37256</c:v>
                </c:pt>
                <c:pt idx="275">
                  <c:v>37225</c:v>
                </c:pt>
                <c:pt idx="276">
                  <c:v>37195</c:v>
                </c:pt>
                <c:pt idx="277">
                  <c:v>37164</c:v>
                </c:pt>
                <c:pt idx="278">
                  <c:v>37134</c:v>
                </c:pt>
                <c:pt idx="279">
                  <c:v>37103</c:v>
                </c:pt>
                <c:pt idx="280">
                  <c:v>37072</c:v>
                </c:pt>
                <c:pt idx="281">
                  <c:v>37042</c:v>
                </c:pt>
                <c:pt idx="282">
                  <c:v>37011</c:v>
                </c:pt>
                <c:pt idx="283">
                  <c:v>36981</c:v>
                </c:pt>
                <c:pt idx="284">
                  <c:v>36950</c:v>
                </c:pt>
                <c:pt idx="285">
                  <c:v>36922</c:v>
                </c:pt>
                <c:pt idx="286">
                  <c:v>36891</c:v>
                </c:pt>
                <c:pt idx="287">
                  <c:v>36860</c:v>
                </c:pt>
                <c:pt idx="288">
                  <c:v>36830</c:v>
                </c:pt>
                <c:pt idx="289">
                  <c:v>36799</c:v>
                </c:pt>
                <c:pt idx="290">
                  <c:v>36769</c:v>
                </c:pt>
                <c:pt idx="291">
                  <c:v>36738</c:v>
                </c:pt>
                <c:pt idx="292">
                  <c:v>36707</c:v>
                </c:pt>
                <c:pt idx="293">
                  <c:v>36677</c:v>
                </c:pt>
                <c:pt idx="294">
                  <c:v>36646</c:v>
                </c:pt>
                <c:pt idx="295">
                  <c:v>36616</c:v>
                </c:pt>
                <c:pt idx="296">
                  <c:v>36585</c:v>
                </c:pt>
                <c:pt idx="297">
                  <c:v>36556</c:v>
                </c:pt>
                <c:pt idx="298">
                  <c:v>36525</c:v>
                </c:pt>
                <c:pt idx="299">
                  <c:v>36494</c:v>
                </c:pt>
                <c:pt idx="300">
                  <c:v>36464</c:v>
                </c:pt>
                <c:pt idx="301">
                  <c:v>36433</c:v>
                </c:pt>
                <c:pt idx="302">
                  <c:v>36403</c:v>
                </c:pt>
                <c:pt idx="303">
                  <c:v>36372</c:v>
                </c:pt>
                <c:pt idx="304">
                  <c:v>36341</c:v>
                </c:pt>
                <c:pt idx="305">
                  <c:v>36311</c:v>
                </c:pt>
                <c:pt idx="306">
                  <c:v>36280</c:v>
                </c:pt>
                <c:pt idx="307">
                  <c:v>36250</c:v>
                </c:pt>
                <c:pt idx="308">
                  <c:v>36219</c:v>
                </c:pt>
                <c:pt idx="309">
                  <c:v>36191</c:v>
                </c:pt>
                <c:pt idx="310">
                  <c:v>36160</c:v>
                </c:pt>
                <c:pt idx="311">
                  <c:v>36129</c:v>
                </c:pt>
                <c:pt idx="312">
                  <c:v>36099</c:v>
                </c:pt>
                <c:pt idx="313">
                  <c:v>36068</c:v>
                </c:pt>
                <c:pt idx="314">
                  <c:v>36038</c:v>
                </c:pt>
                <c:pt idx="315">
                  <c:v>36007</c:v>
                </c:pt>
                <c:pt idx="316">
                  <c:v>35976</c:v>
                </c:pt>
                <c:pt idx="317">
                  <c:v>35946</c:v>
                </c:pt>
                <c:pt idx="318">
                  <c:v>35915</c:v>
                </c:pt>
                <c:pt idx="319">
                  <c:v>35885</c:v>
                </c:pt>
                <c:pt idx="320">
                  <c:v>35854</c:v>
                </c:pt>
                <c:pt idx="321">
                  <c:v>35826</c:v>
                </c:pt>
                <c:pt idx="322">
                  <c:v>35795</c:v>
                </c:pt>
                <c:pt idx="323">
                  <c:v>35764</c:v>
                </c:pt>
                <c:pt idx="324">
                  <c:v>35734</c:v>
                </c:pt>
                <c:pt idx="325">
                  <c:v>35703</c:v>
                </c:pt>
                <c:pt idx="326">
                  <c:v>35673</c:v>
                </c:pt>
                <c:pt idx="327">
                  <c:v>35642</c:v>
                </c:pt>
                <c:pt idx="328">
                  <c:v>35611</c:v>
                </c:pt>
                <c:pt idx="329">
                  <c:v>35581</c:v>
                </c:pt>
                <c:pt idx="330">
                  <c:v>35550</c:v>
                </c:pt>
                <c:pt idx="331">
                  <c:v>35520</c:v>
                </c:pt>
                <c:pt idx="332">
                  <c:v>35489</c:v>
                </c:pt>
                <c:pt idx="333">
                  <c:v>35461</c:v>
                </c:pt>
                <c:pt idx="334">
                  <c:v>35430</c:v>
                </c:pt>
                <c:pt idx="335">
                  <c:v>35399</c:v>
                </c:pt>
                <c:pt idx="336">
                  <c:v>35369</c:v>
                </c:pt>
                <c:pt idx="337">
                  <c:v>35338</c:v>
                </c:pt>
                <c:pt idx="338">
                  <c:v>35308</c:v>
                </c:pt>
                <c:pt idx="339">
                  <c:v>35277</c:v>
                </c:pt>
                <c:pt idx="340">
                  <c:v>35246</c:v>
                </c:pt>
                <c:pt idx="341">
                  <c:v>35216</c:v>
                </c:pt>
                <c:pt idx="342">
                  <c:v>35185</c:v>
                </c:pt>
                <c:pt idx="343">
                  <c:v>35155</c:v>
                </c:pt>
                <c:pt idx="344">
                  <c:v>35124</c:v>
                </c:pt>
                <c:pt idx="345">
                  <c:v>35095</c:v>
                </c:pt>
                <c:pt idx="346">
                  <c:v>35064</c:v>
                </c:pt>
                <c:pt idx="347">
                  <c:v>35033</c:v>
                </c:pt>
                <c:pt idx="348">
                  <c:v>35003</c:v>
                </c:pt>
                <c:pt idx="349">
                  <c:v>34972</c:v>
                </c:pt>
                <c:pt idx="350">
                  <c:v>34942</c:v>
                </c:pt>
                <c:pt idx="351">
                  <c:v>34911</c:v>
                </c:pt>
                <c:pt idx="352">
                  <c:v>34880</c:v>
                </c:pt>
                <c:pt idx="353">
                  <c:v>34850</c:v>
                </c:pt>
                <c:pt idx="354">
                  <c:v>34819</c:v>
                </c:pt>
                <c:pt idx="355">
                  <c:v>34789</c:v>
                </c:pt>
                <c:pt idx="356">
                  <c:v>34758</c:v>
                </c:pt>
                <c:pt idx="357">
                  <c:v>34730</c:v>
                </c:pt>
                <c:pt idx="358">
                  <c:v>34699</c:v>
                </c:pt>
                <c:pt idx="359">
                  <c:v>34668</c:v>
                </c:pt>
                <c:pt idx="360">
                  <c:v>34638</c:v>
                </c:pt>
                <c:pt idx="361">
                  <c:v>34607</c:v>
                </c:pt>
                <c:pt idx="362">
                  <c:v>34577</c:v>
                </c:pt>
                <c:pt idx="363">
                  <c:v>34546</c:v>
                </c:pt>
                <c:pt idx="364">
                  <c:v>34515</c:v>
                </c:pt>
                <c:pt idx="365">
                  <c:v>34485</c:v>
                </c:pt>
                <c:pt idx="366">
                  <c:v>34454</c:v>
                </c:pt>
                <c:pt idx="367">
                  <c:v>34424</c:v>
                </c:pt>
                <c:pt idx="368">
                  <c:v>34393</c:v>
                </c:pt>
                <c:pt idx="369">
                  <c:v>34365</c:v>
                </c:pt>
                <c:pt idx="370">
                  <c:v>34334</c:v>
                </c:pt>
                <c:pt idx="371">
                  <c:v>34303</c:v>
                </c:pt>
              </c:numCache>
            </c:numRef>
          </c:cat>
          <c:val>
            <c:numRef>
              <c:f>Sheet1!$H$28:$H$471</c:f>
              <c:numCache>
                <c:formatCode>0.00000</c:formatCode>
                <c:ptCount val="444"/>
                <c:pt idx="0">
                  <c:v>7.9254847395644326E-2</c:v>
                </c:pt>
                <c:pt idx="1">
                  <c:v>3.2358021044619732E-2</c:v>
                </c:pt>
                <c:pt idx="2">
                  <c:v>0.15943669454825843</c:v>
                </c:pt>
                <c:pt idx="3">
                  <c:v>0.26587984427016531</c:v>
                </c:pt>
                <c:pt idx="4">
                  <c:v>0.2535937240233449</c:v>
                </c:pt>
                <c:pt idx="5">
                  <c:v>-7.9664736096005287E-2</c:v>
                </c:pt>
                <c:pt idx="6">
                  <c:v>0.17637575474086997</c:v>
                </c:pt>
                <c:pt idx="7">
                  <c:v>-0.19138357222627861</c:v>
                </c:pt>
                <c:pt idx="8">
                  <c:v>-0.35660627658666183</c:v>
                </c:pt>
                <c:pt idx="9">
                  <c:v>4.4530737929368638E-2</c:v>
                </c:pt>
                <c:pt idx="10">
                  <c:v>-0.34868893986124261</c:v>
                </c:pt>
                <c:pt idx="11">
                  <c:v>0.19687227840166241</c:v>
                </c:pt>
                <c:pt idx="12">
                  <c:v>8.2122170403219119E-2</c:v>
                </c:pt>
                <c:pt idx="13">
                  <c:v>-0.17538916203972227</c:v>
                </c:pt>
                <c:pt idx="14">
                  <c:v>-0.83725265631822243</c:v>
                </c:pt>
                <c:pt idx="15">
                  <c:v>6.7810018090591478E-2</c:v>
                </c:pt>
                <c:pt idx="16">
                  <c:v>0.82271044063651855</c:v>
                </c:pt>
                <c:pt idx="17">
                  <c:v>1.2417912691331132</c:v>
                </c:pt>
                <c:pt idx="18">
                  <c:v>0.5976779930956414</c:v>
                </c:pt>
                <c:pt idx="19">
                  <c:v>1.165867394216676</c:v>
                </c:pt>
                <c:pt idx="20">
                  <c:v>0.39597747727694838</c:v>
                </c:pt>
                <c:pt idx="21">
                  <c:v>0.53303078649878544</c:v>
                </c:pt>
                <c:pt idx="22">
                  <c:v>0.34850747793305409</c:v>
                </c:pt>
                <c:pt idx="23">
                  <c:v>1.3260083319178351</c:v>
                </c:pt>
                <c:pt idx="24">
                  <c:v>1.2757939712118118</c:v>
                </c:pt>
                <c:pt idx="25">
                  <c:v>1.1860945038901478</c:v>
                </c:pt>
                <c:pt idx="26">
                  <c:v>0.8830862285985519</c:v>
                </c:pt>
                <c:pt idx="27">
                  <c:v>1.5271381048157024</c:v>
                </c:pt>
                <c:pt idx="28">
                  <c:v>0.3934387000097751</c:v>
                </c:pt>
                <c:pt idx="29">
                  <c:v>1.0032644695249462</c:v>
                </c:pt>
                <c:pt idx="30">
                  <c:v>0.65292470899598631</c:v>
                </c:pt>
                <c:pt idx="31">
                  <c:v>1.63170896502981</c:v>
                </c:pt>
                <c:pt idx="32">
                  <c:v>0.19307002567620982</c:v>
                </c:pt>
                <c:pt idx="33">
                  <c:v>0.43343914390362925</c:v>
                </c:pt>
                <c:pt idx="34">
                  <c:v>1.1811562734863452</c:v>
                </c:pt>
                <c:pt idx="35">
                  <c:v>0.76705919874318451</c:v>
                </c:pt>
                <c:pt idx="36">
                  <c:v>0.13600772194910118</c:v>
                </c:pt>
                <c:pt idx="37">
                  <c:v>0.69298363662370899</c:v>
                </c:pt>
                <c:pt idx="38">
                  <c:v>0.46447197393447964</c:v>
                </c:pt>
                <c:pt idx="39">
                  <c:v>0.86909840990144838</c:v>
                </c:pt>
                <c:pt idx="40">
                  <c:v>0.33383227285699474</c:v>
                </c:pt>
                <c:pt idx="41">
                  <c:v>0.70587533082399068</c:v>
                </c:pt>
                <c:pt idx="42">
                  <c:v>0.20696469161161213</c:v>
                </c:pt>
                <c:pt idx="43">
                  <c:v>0.61983976412605146</c:v>
                </c:pt>
                <c:pt idx="44">
                  <c:v>0.95574198062489313</c:v>
                </c:pt>
                <c:pt idx="45">
                  <c:v>2.1511188819846314</c:v>
                </c:pt>
                <c:pt idx="46">
                  <c:v>3.2091803503513443</c:v>
                </c:pt>
                <c:pt idx="47">
                  <c:v>3.2252669412707848</c:v>
                </c:pt>
                <c:pt idx="48">
                  <c:v>2.8714003361814036</c:v>
                </c:pt>
                <c:pt idx="49">
                  <c:v>2.0098783966255107</c:v>
                </c:pt>
                <c:pt idx="50">
                  <c:v>2.1861977819693879</c:v>
                </c:pt>
                <c:pt idx="51">
                  <c:v>4.850268591722914</c:v>
                </c:pt>
                <c:pt idx="52">
                  <c:v>2.7818690298452102</c:v>
                </c:pt>
                <c:pt idx="53">
                  <c:v>6.0822822312526661</c:v>
                </c:pt>
                <c:pt idx="54">
                  <c:v>4.4133314318393539</c:v>
                </c:pt>
                <c:pt idx="55">
                  <c:v>4.8156611257147706</c:v>
                </c:pt>
                <c:pt idx="56">
                  <c:v>1.4202355094726034</c:v>
                </c:pt>
                <c:pt idx="57">
                  <c:v>0.58694922501966806</c:v>
                </c:pt>
                <c:pt idx="58">
                  <c:v>1.0041054364571074</c:v>
                </c:pt>
                <c:pt idx="59">
                  <c:v>0.67969746072822157</c:v>
                </c:pt>
                <c:pt idx="60">
                  <c:v>0.5019952023862847</c:v>
                </c:pt>
                <c:pt idx="61">
                  <c:v>0.94150305448320282</c:v>
                </c:pt>
                <c:pt idx="62">
                  <c:v>2.4948412323271163</c:v>
                </c:pt>
                <c:pt idx="63">
                  <c:v>1.283410303013333</c:v>
                </c:pt>
                <c:pt idx="64">
                  <c:v>1.2873941631229027</c:v>
                </c:pt>
                <c:pt idx="65">
                  <c:v>0.52381336122961841</c:v>
                </c:pt>
                <c:pt idx="66">
                  <c:v>-0.30519405236755842</c:v>
                </c:pt>
                <c:pt idx="67">
                  <c:v>0.84415436838501645</c:v>
                </c:pt>
                <c:pt idx="68">
                  <c:v>-7.915004683700376E-2</c:v>
                </c:pt>
                <c:pt idx="69">
                  <c:v>2.5209727690492394</c:v>
                </c:pt>
                <c:pt idx="70">
                  <c:v>1.5884885136723383</c:v>
                </c:pt>
                <c:pt idx="71">
                  <c:v>0.58997693278217267</c:v>
                </c:pt>
                <c:pt idx="72">
                  <c:v>0.12295677702751071</c:v>
                </c:pt>
                <c:pt idx="73">
                  <c:v>-0.12214774159040626</c:v>
                </c:pt>
                <c:pt idx="74">
                  <c:v>-0.21973651880657788</c:v>
                </c:pt>
                <c:pt idx="75">
                  <c:v>0.77244099829748925</c:v>
                </c:pt>
                <c:pt idx="76">
                  <c:v>9.5223498818530247E-2</c:v>
                </c:pt>
                <c:pt idx="77">
                  <c:v>0.5467945525533966</c:v>
                </c:pt>
                <c:pt idx="78">
                  <c:v>0.17027416784701735</c:v>
                </c:pt>
                <c:pt idx="79">
                  <c:v>0.94887735110910265</c:v>
                </c:pt>
                <c:pt idx="80">
                  <c:v>-0.22307073965628124</c:v>
                </c:pt>
                <c:pt idx="81">
                  <c:v>0.52558002360588851</c:v>
                </c:pt>
                <c:pt idx="82">
                  <c:v>0.19157439733529041</c:v>
                </c:pt>
                <c:pt idx="83">
                  <c:v>-0.27933290166157454</c:v>
                </c:pt>
                <c:pt idx="84">
                  <c:v>-4.3078867434121995E-2</c:v>
                </c:pt>
                <c:pt idx="85">
                  <c:v>-0.19286559216374949</c:v>
                </c:pt>
                <c:pt idx="86">
                  <c:v>0.15122742516790658</c:v>
                </c:pt>
                <c:pt idx="87">
                  <c:v>0.20434280588052017</c:v>
                </c:pt>
                <c:pt idx="88">
                  <c:v>-0.12776493412341089</c:v>
                </c:pt>
                <c:pt idx="89">
                  <c:v>2.2083028421735051E-2</c:v>
                </c:pt>
                <c:pt idx="90">
                  <c:v>0.47226942710570924</c:v>
                </c:pt>
                <c:pt idx="91">
                  <c:v>0.42258547012457431</c:v>
                </c:pt>
                <c:pt idx="92">
                  <c:v>0.79791852163006527</c:v>
                </c:pt>
                <c:pt idx="93">
                  <c:v>1.0775859549353137</c:v>
                </c:pt>
                <c:pt idx="94">
                  <c:v>0.5329932013844989</c:v>
                </c:pt>
                <c:pt idx="95">
                  <c:v>2.0343976615485833</c:v>
                </c:pt>
                <c:pt idx="96">
                  <c:v>-0.3314752815276153</c:v>
                </c:pt>
                <c:pt idx="97">
                  <c:v>-0.68335910983357939</c:v>
                </c:pt>
                <c:pt idx="98">
                  <c:v>-0.35056754755635755</c:v>
                </c:pt>
                <c:pt idx="99">
                  <c:v>0.58213914041500636</c:v>
                </c:pt>
                <c:pt idx="100">
                  <c:v>1.7080352598767976</c:v>
                </c:pt>
                <c:pt idx="101">
                  <c:v>-0.52331796709104328</c:v>
                </c:pt>
                <c:pt idx="102">
                  <c:v>-0.52022221731129581</c:v>
                </c:pt>
                <c:pt idx="103">
                  <c:v>3.1837337607908876E-2</c:v>
                </c:pt>
                <c:pt idx="104">
                  <c:v>0.32071830806705293</c:v>
                </c:pt>
                <c:pt idx="105">
                  <c:v>0.4265971950602529</c:v>
                </c:pt>
                <c:pt idx="106">
                  <c:v>-0.43030938966413429</c:v>
                </c:pt>
                <c:pt idx="107">
                  <c:v>-0.63086679959314684</c:v>
                </c:pt>
                <c:pt idx="108">
                  <c:v>-0.28874133059343049</c:v>
                </c:pt>
                <c:pt idx="109">
                  <c:v>0.70322606628119866</c:v>
                </c:pt>
                <c:pt idx="110">
                  <c:v>0.45326804577142671</c:v>
                </c:pt>
                <c:pt idx="111">
                  <c:v>-0.48261490836675491</c:v>
                </c:pt>
                <c:pt idx="112">
                  <c:v>-0.20484957345305063</c:v>
                </c:pt>
                <c:pt idx="113">
                  <c:v>-0.42455384502940258</c:v>
                </c:pt>
                <c:pt idx="114">
                  <c:v>-0.4046878440617272</c:v>
                </c:pt>
                <c:pt idx="115">
                  <c:v>-0.52726067798066145</c:v>
                </c:pt>
                <c:pt idx="116">
                  <c:v>-0.66285043581256475</c:v>
                </c:pt>
                <c:pt idx="117">
                  <c:v>-0.1292915053816954</c:v>
                </c:pt>
                <c:pt idx="118">
                  <c:v>-0.66599559705721489</c:v>
                </c:pt>
                <c:pt idx="119">
                  <c:v>-0.57250894345677317</c:v>
                </c:pt>
                <c:pt idx="120">
                  <c:v>-0.24609129814717831</c:v>
                </c:pt>
                <c:pt idx="121">
                  <c:v>-0.6854155988023436</c:v>
                </c:pt>
                <c:pt idx="122">
                  <c:v>-1.0473223402577876</c:v>
                </c:pt>
                <c:pt idx="123">
                  <c:v>-0.81033118417687089</c:v>
                </c:pt>
                <c:pt idx="124">
                  <c:v>-0.68943542397817037</c:v>
                </c:pt>
                <c:pt idx="125">
                  <c:v>-0.4294732828760619</c:v>
                </c:pt>
                <c:pt idx="126">
                  <c:v>-0.51082577673485896</c:v>
                </c:pt>
                <c:pt idx="127">
                  <c:v>-0.44561398339969033</c:v>
                </c:pt>
                <c:pt idx="128">
                  <c:v>-0.56953842338971339</c:v>
                </c:pt>
                <c:pt idx="129">
                  <c:v>-0.33729109194904788</c:v>
                </c:pt>
                <c:pt idx="130">
                  <c:v>-0.21877469629140905</c:v>
                </c:pt>
                <c:pt idx="131">
                  <c:v>-0.62549698839426093</c:v>
                </c:pt>
                <c:pt idx="132">
                  <c:v>1.5689899395977747</c:v>
                </c:pt>
                <c:pt idx="133">
                  <c:v>0.83213426002465529</c:v>
                </c:pt>
                <c:pt idx="134">
                  <c:v>-0.32022793607736955</c:v>
                </c:pt>
                <c:pt idx="135">
                  <c:v>-0.60083467323017548</c:v>
                </c:pt>
                <c:pt idx="136">
                  <c:v>-3.0766016394813561E-2</c:v>
                </c:pt>
                <c:pt idx="137">
                  <c:v>-0.3158593145607716</c:v>
                </c:pt>
                <c:pt idx="138">
                  <c:v>0.11203668127924214</c:v>
                </c:pt>
                <c:pt idx="139">
                  <c:v>0.28498118256787319</c:v>
                </c:pt>
                <c:pt idx="140">
                  <c:v>6.0848176547779781E-4</c:v>
                </c:pt>
                <c:pt idx="141">
                  <c:v>1.14754465100199</c:v>
                </c:pt>
                <c:pt idx="142">
                  <c:v>1.400158902261081</c:v>
                </c:pt>
                <c:pt idx="143">
                  <c:v>1.2529404396727655</c:v>
                </c:pt>
                <c:pt idx="144">
                  <c:v>0.60919394250919334</c:v>
                </c:pt>
                <c:pt idx="145">
                  <c:v>0.86805801505684432</c:v>
                </c:pt>
                <c:pt idx="146">
                  <c:v>0.23377859256379874</c:v>
                </c:pt>
                <c:pt idx="147">
                  <c:v>0.84693825891906749</c:v>
                </c:pt>
                <c:pt idx="148">
                  <c:v>1.116796787419545</c:v>
                </c:pt>
                <c:pt idx="149">
                  <c:v>0.11915290425402847</c:v>
                </c:pt>
                <c:pt idx="150">
                  <c:v>-0.51121070014669023</c:v>
                </c:pt>
                <c:pt idx="151">
                  <c:v>-0.48239911796921336</c:v>
                </c:pt>
                <c:pt idx="152">
                  <c:v>-0.14725443592900903</c:v>
                </c:pt>
                <c:pt idx="153">
                  <c:v>0.41948016206145244</c:v>
                </c:pt>
                <c:pt idx="154">
                  <c:v>0.88395749042886629</c:v>
                </c:pt>
                <c:pt idx="155">
                  <c:v>0.24607896923327949</c:v>
                </c:pt>
                <c:pt idx="156">
                  <c:v>0.15089612534585484</c:v>
                </c:pt>
                <c:pt idx="157">
                  <c:v>1.3916400417022738</c:v>
                </c:pt>
                <c:pt idx="158">
                  <c:v>2.5133525491324473</c:v>
                </c:pt>
                <c:pt idx="159">
                  <c:v>1.2739305919681754</c:v>
                </c:pt>
                <c:pt idx="160">
                  <c:v>0.17031483105256012</c:v>
                </c:pt>
                <c:pt idx="161">
                  <c:v>-0.71242892766697319</c:v>
                </c:pt>
                <c:pt idx="162">
                  <c:v>-5.9591206975738921E-2</c:v>
                </c:pt>
                <c:pt idx="163">
                  <c:v>0.41014398727171647</c:v>
                </c:pt>
                <c:pt idx="164">
                  <c:v>-0.38820531340385478</c:v>
                </c:pt>
                <c:pt idx="165">
                  <c:v>-0.27592869473699289</c:v>
                </c:pt>
                <c:pt idx="166">
                  <c:v>0.37307080816253169</c:v>
                </c:pt>
                <c:pt idx="167">
                  <c:v>0.75363548076998443</c:v>
                </c:pt>
                <c:pt idx="168">
                  <c:v>0.42506479162906208</c:v>
                </c:pt>
                <c:pt idx="169">
                  <c:v>0.94313201277695757</c:v>
                </c:pt>
                <c:pt idx="170">
                  <c:v>-2.100846711258067E-2</c:v>
                </c:pt>
                <c:pt idx="171">
                  <c:v>1.1084741146771215</c:v>
                </c:pt>
                <c:pt idx="172">
                  <c:v>1.9558021562813048E-2</c:v>
                </c:pt>
                <c:pt idx="173">
                  <c:v>0.31166985380737261</c:v>
                </c:pt>
                <c:pt idx="174">
                  <c:v>-7.8130874621587368E-2</c:v>
                </c:pt>
                <c:pt idx="175">
                  <c:v>-6.2168379381214001E-2</c:v>
                </c:pt>
                <c:pt idx="176">
                  <c:v>-0.19122059539450173</c:v>
                </c:pt>
                <c:pt idx="177">
                  <c:v>0.1350943388700169</c:v>
                </c:pt>
                <c:pt idx="178">
                  <c:v>-0.32609720808377857</c:v>
                </c:pt>
                <c:pt idx="179">
                  <c:v>-0.46569383070727199</c:v>
                </c:pt>
                <c:pt idx="180">
                  <c:v>-0.68500799471809826</c:v>
                </c:pt>
                <c:pt idx="181">
                  <c:v>-0.47816220635742118</c:v>
                </c:pt>
                <c:pt idx="182">
                  <c:v>-0.28108822370163755</c:v>
                </c:pt>
                <c:pt idx="183">
                  <c:v>-0.39156302494998735</c:v>
                </c:pt>
                <c:pt idx="184">
                  <c:v>-0.26005514013344405</c:v>
                </c:pt>
                <c:pt idx="185">
                  <c:v>-4.1802593596409469E-2</c:v>
                </c:pt>
                <c:pt idx="186">
                  <c:v>-0.33369264126571796</c:v>
                </c:pt>
                <c:pt idx="187">
                  <c:v>0.63937252121403987</c:v>
                </c:pt>
                <c:pt idx="188">
                  <c:v>1.1992084686800892</c:v>
                </c:pt>
                <c:pt idx="189">
                  <c:v>0.91197168496617786</c:v>
                </c:pt>
                <c:pt idx="190">
                  <c:v>0.47473449218753622</c:v>
                </c:pt>
                <c:pt idx="191">
                  <c:v>0.55386897828901904</c:v>
                </c:pt>
                <c:pt idx="192">
                  <c:v>1.8346611299561653</c:v>
                </c:pt>
                <c:pt idx="193">
                  <c:v>1.7763327586939306</c:v>
                </c:pt>
                <c:pt idx="194">
                  <c:v>-0.76728504998738367</c:v>
                </c:pt>
                <c:pt idx="195">
                  <c:v>-0.21744658091674945</c:v>
                </c:pt>
                <c:pt idx="196">
                  <c:v>-0.63810566020377291</c:v>
                </c:pt>
                <c:pt idx="197">
                  <c:v>-0.64561377279691734</c:v>
                </c:pt>
                <c:pt idx="198">
                  <c:v>-0.49131602432889093</c:v>
                </c:pt>
                <c:pt idx="199">
                  <c:v>-0.22762275060982898</c:v>
                </c:pt>
                <c:pt idx="200">
                  <c:v>-0.3274151171558517</c:v>
                </c:pt>
                <c:pt idx="201">
                  <c:v>0.78600290636761316</c:v>
                </c:pt>
                <c:pt idx="202">
                  <c:v>-0.1868571580315985</c:v>
                </c:pt>
                <c:pt idx="203">
                  <c:v>-0.35574279098688938</c:v>
                </c:pt>
                <c:pt idx="204">
                  <c:v>-0.61375309822294533</c:v>
                </c:pt>
                <c:pt idx="205">
                  <c:v>-0.30185205528731279</c:v>
                </c:pt>
                <c:pt idx="206">
                  <c:v>-0.62400443814459783</c:v>
                </c:pt>
                <c:pt idx="207">
                  <c:v>-1.3566638693114677</c:v>
                </c:pt>
                <c:pt idx="208">
                  <c:v>-0.96823337750593652</c:v>
                </c:pt>
                <c:pt idx="209">
                  <c:v>-0.92970717731901109</c:v>
                </c:pt>
                <c:pt idx="210">
                  <c:v>-1.1127066687081082</c:v>
                </c:pt>
                <c:pt idx="211">
                  <c:v>-0.90714719848292702</c:v>
                </c:pt>
                <c:pt idx="212">
                  <c:v>-1.2582090144186762</c:v>
                </c:pt>
                <c:pt idx="213">
                  <c:v>-0.87506765542015719</c:v>
                </c:pt>
                <c:pt idx="214">
                  <c:v>-1.2553089664409034</c:v>
                </c:pt>
                <c:pt idx="215">
                  <c:v>-1.2786362000238023</c:v>
                </c:pt>
                <c:pt idx="216">
                  <c:v>-1.1809411476568892</c:v>
                </c:pt>
                <c:pt idx="217">
                  <c:v>-1.0817643993621116</c:v>
                </c:pt>
                <c:pt idx="218">
                  <c:v>-0.92358712187762115</c:v>
                </c:pt>
                <c:pt idx="219">
                  <c:v>-0.71363910354507853</c:v>
                </c:pt>
                <c:pt idx="220">
                  <c:v>-0.74422852643022952</c:v>
                </c:pt>
                <c:pt idx="221">
                  <c:v>-0.98361459951329244</c:v>
                </c:pt>
                <c:pt idx="222">
                  <c:v>-0.75936884729558496</c:v>
                </c:pt>
                <c:pt idx="223">
                  <c:v>-1.1910087741319861</c:v>
                </c:pt>
                <c:pt idx="224">
                  <c:v>-0.95636620167956898</c:v>
                </c:pt>
                <c:pt idx="225">
                  <c:v>-0.86584618003091629</c:v>
                </c:pt>
                <c:pt idx="226">
                  <c:v>-0.94769878271644858</c:v>
                </c:pt>
                <c:pt idx="227">
                  <c:v>-1.1090379079402939</c:v>
                </c:pt>
                <c:pt idx="228">
                  <c:v>-0.78888158626026916</c:v>
                </c:pt>
                <c:pt idx="229">
                  <c:v>-0.3686433954513339</c:v>
                </c:pt>
                <c:pt idx="230">
                  <c:v>-1.1163381683712414</c:v>
                </c:pt>
                <c:pt idx="231">
                  <c:v>-0.91671066601121487</c:v>
                </c:pt>
                <c:pt idx="232">
                  <c:v>-0.75363598333326765</c:v>
                </c:pt>
                <c:pt idx="233">
                  <c:v>-0.8656593884931042</c:v>
                </c:pt>
                <c:pt idx="234">
                  <c:v>-0.8121151810670576</c:v>
                </c:pt>
                <c:pt idx="235">
                  <c:v>-1.2833422775449643</c:v>
                </c:pt>
                <c:pt idx="236">
                  <c:v>-1.2446709210545872</c:v>
                </c:pt>
                <c:pt idx="237">
                  <c:v>-1.001037730057146</c:v>
                </c:pt>
                <c:pt idx="238">
                  <c:v>-1.004301316812759</c:v>
                </c:pt>
                <c:pt idx="239">
                  <c:v>-0.51564801169974284</c:v>
                </c:pt>
                <c:pt idx="240">
                  <c:v>-0.16497759936794315</c:v>
                </c:pt>
                <c:pt idx="241">
                  <c:v>-0.32425861557499458</c:v>
                </c:pt>
                <c:pt idx="242">
                  <c:v>-0.71403731135075232</c:v>
                </c:pt>
                <c:pt idx="243">
                  <c:v>-0.64102790283955102</c:v>
                </c:pt>
                <c:pt idx="244">
                  <c:v>-0.70067823329393319</c:v>
                </c:pt>
                <c:pt idx="245">
                  <c:v>-0.50734899165855163</c:v>
                </c:pt>
                <c:pt idx="246">
                  <c:v>-0.79055153176917259</c:v>
                </c:pt>
                <c:pt idx="247">
                  <c:v>-0.71596484449636077</c:v>
                </c:pt>
                <c:pt idx="248">
                  <c:v>-0.64191909126062974</c:v>
                </c:pt>
                <c:pt idx="249">
                  <c:v>-0.65202640891245134</c:v>
                </c:pt>
                <c:pt idx="250">
                  <c:v>-0.61855637862588264</c:v>
                </c:pt>
                <c:pt idx="251">
                  <c:v>-0.80725131086781343</c:v>
                </c:pt>
                <c:pt idx="252">
                  <c:v>-0.80903514575319724</c:v>
                </c:pt>
                <c:pt idx="253">
                  <c:v>-0.30733915796354111</c:v>
                </c:pt>
                <c:pt idx="254">
                  <c:v>-0.5963521623370972</c:v>
                </c:pt>
                <c:pt idx="255">
                  <c:v>-0.4013944484223696</c:v>
                </c:pt>
                <c:pt idx="256">
                  <c:v>-0.2888450136673244</c:v>
                </c:pt>
                <c:pt idx="257">
                  <c:v>-0.10068793737121813</c:v>
                </c:pt>
                <c:pt idx="258">
                  <c:v>0.77851277630759719</c:v>
                </c:pt>
                <c:pt idx="259">
                  <c:v>1.5572266088501037</c:v>
                </c:pt>
                <c:pt idx="260">
                  <c:v>0.5384200382740264</c:v>
                </c:pt>
                <c:pt idx="261">
                  <c:v>0.92450761661916148</c:v>
                </c:pt>
                <c:pt idx="262">
                  <c:v>0.51657450061899213</c:v>
                </c:pt>
                <c:pt idx="263">
                  <c:v>0.54589882799783485</c:v>
                </c:pt>
                <c:pt idx="264">
                  <c:v>7.2684992151307764E-3</c:v>
                </c:pt>
                <c:pt idx="265">
                  <c:v>0.34544704520035185</c:v>
                </c:pt>
                <c:pt idx="266">
                  <c:v>0.12302838315041838</c:v>
                </c:pt>
                <c:pt idx="267">
                  <c:v>0.18041129438258374</c:v>
                </c:pt>
                <c:pt idx="268">
                  <c:v>-0.28148335341605502</c:v>
                </c:pt>
                <c:pt idx="269">
                  <c:v>-0.48414990387479345</c:v>
                </c:pt>
                <c:pt idx="270">
                  <c:v>-0.36224760783530746</c:v>
                </c:pt>
                <c:pt idx="271">
                  <c:v>-0.50240849318750758</c:v>
                </c:pt>
                <c:pt idx="272">
                  <c:v>-0.38744291880112874</c:v>
                </c:pt>
                <c:pt idx="273">
                  <c:v>0.3227909975161129</c:v>
                </c:pt>
                <c:pt idx="274">
                  <c:v>0.34319064230473628</c:v>
                </c:pt>
                <c:pt idx="275">
                  <c:v>0.71223596339777484</c:v>
                </c:pt>
                <c:pt idx="276">
                  <c:v>1.9241196961358293</c:v>
                </c:pt>
                <c:pt idx="277">
                  <c:v>2.3367494933785888</c:v>
                </c:pt>
                <c:pt idx="278">
                  <c:v>-0.53664059406719655</c:v>
                </c:pt>
                <c:pt idx="279">
                  <c:v>-0.13333579328276898</c:v>
                </c:pt>
                <c:pt idx="280">
                  <c:v>-0.56804911323610929</c:v>
                </c:pt>
                <c:pt idx="281">
                  <c:v>-0.17964211212700723</c:v>
                </c:pt>
                <c:pt idx="282">
                  <c:v>0.32778511957693668</c:v>
                </c:pt>
                <c:pt idx="283">
                  <c:v>0.14336144396502512</c:v>
                </c:pt>
                <c:pt idx="284">
                  <c:v>1.6315420961652944E-3</c:v>
                </c:pt>
                <c:pt idx="285">
                  <c:v>0.22825131269643692</c:v>
                </c:pt>
                <c:pt idx="286">
                  <c:v>0.33897155122126954</c:v>
                </c:pt>
                <c:pt idx="287">
                  <c:v>0.61009517522805545</c:v>
                </c:pt>
                <c:pt idx="288">
                  <c:v>-0.62552485322036999</c:v>
                </c:pt>
                <c:pt idx="289">
                  <c:v>-0.8906045640431568</c:v>
                </c:pt>
                <c:pt idx="290">
                  <c:v>-1.1278529837511726</c:v>
                </c:pt>
                <c:pt idx="291">
                  <c:v>-0.67825903663162068</c:v>
                </c:pt>
                <c:pt idx="292">
                  <c:v>-0.30684876942498357</c:v>
                </c:pt>
                <c:pt idx="293">
                  <c:v>-0.1681891825818064</c:v>
                </c:pt>
                <c:pt idx="294">
                  <c:v>-0.93841623151649201</c:v>
                </c:pt>
                <c:pt idx="295">
                  <c:v>-0.89469307925543817</c:v>
                </c:pt>
                <c:pt idx="296">
                  <c:v>-0.89361445127733574</c:v>
                </c:pt>
                <c:pt idx="297">
                  <c:v>-0.6405064093788253</c:v>
                </c:pt>
                <c:pt idx="298">
                  <c:v>-0.79710446404406954</c:v>
                </c:pt>
                <c:pt idx="299">
                  <c:v>-0.84579095745338462</c:v>
                </c:pt>
                <c:pt idx="300">
                  <c:v>-1.0236738511506207</c:v>
                </c:pt>
                <c:pt idx="301">
                  <c:v>-0.82665543614225212</c:v>
                </c:pt>
                <c:pt idx="302">
                  <c:v>-0.83431842532702549</c:v>
                </c:pt>
                <c:pt idx="303">
                  <c:v>-0.68033934030641985</c:v>
                </c:pt>
                <c:pt idx="304">
                  <c:v>-0.86833489781397566</c:v>
                </c:pt>
                <c:pt idx="305">
                  <c:v>-1.0327561644141197</c:v>
                </c:pt>
                <c:pt idx="306">
                  <c:v>-0.95156859144473493</c:v>
                </c:pt>
                <c:pt idx="307">
                  <c:v>-0.99628710121517028</c:v>
                </c:pt>
                <c:pt idx="308">
                  <c:v>-0.54318056595785658</c:v>
                </c:pt>
                <c:pt idx="309">
                  <c:v>-8.4276688826647836E-2</c:v>
                </c:pt>
                <c:pt idx="310">
                  <c:v>-0.28561398987710584</c:v>
                </c:pt>
                <c:pt idx="311">
                  <c:v>-0.24333446241522155</c:v>
                </c:pt>
                <c:pt idx="312">
                  <c:v>0.26728005178214181</c:v>
                </c:pt>
                <c:pt idx="313">
                  <c:v>0.65631903362758759</c:v>
                </c:pt>
                <c:pt idx="314">
                  <c:v>3.1462782503467103E-2</c:v>
                </c:pt>
                <c:pt idx="315">
                  <c:v>-0.43913719338218432</c:v>
                </c:pt>
                <c:pt idx="316">
                  <c:v>-0.7717458522368652</c:v>
                </c:pt>
                <c:pt idx="317">
                  <c:v>-0.7840677755451394</c:v>
                </c:pt>
                <c:pt idx="318">
                  <c:v>-0.87592223075576703</c:v>
                </c:pt>
                <c:pt idx="319">
                  <c:v>-0.73189461476653639</c:v>
                </c:pt>
                <c:pt idx="320">
                  <c:v>-0.44349593260580183</c:v>
                </c:pt>
                <c:pt idx="321">
                  <c:v>-0.33326316653307309</c:v>
                </c:pt>
                <c:pt idx="322">
                  <c:v>-0.40218373582238687</c:v>
                </c:pt>
                <c:pt idx="323">
                  <c:v>-0.6892031090907268</c:v>
                </c:pt>
                <c:pt idx="324">
                  <c:v>-0.57666242259504141</c:v>
                </c:pt>
                <c:pt idx="325">
                  <c:v>-1.200628133317295</c:v>
                </c:pt>
                <c:pt idx="326">
                  <c:v>-1.1277141456350368</c:v>
                </c:pt>
                <c:pt idx="327">
                  <c:v>-0.83948864660866562</c:v>
                </c:pt>
                <c:pt idx="328">
                  <c:v>-0.71358094382081616</c:v>
                </c:pt>
                <c:pt idx="329">
                  <c:v>-0.85304358847226214</c:v>
                </c:pt>
                <c:pt idx="330">
                  <c:v>-0.93023984911114099</c:v>
                </c:pt>
                <c:pt idx="331">
                  <c:v>-0.940798512144007</c:v>
                </c:pt>
                <c:pt idx="332">
                  <c:v>-0.59032623168622655</c:v>
                </c:pt>
                <c:pt idx="333">
                  <c:v>-0.85991226810812649</c:v>
                </c:pt>
                <c:pt idx="334">
                  <c:v>-0.9939253951976309</c:v>
                </c:pt>
                <c:pt idx="335">
                  <c:v>-0.87731676809963977</c:v>
                </c:pt>
                <c:pt idx="336">
                  <c:v>-1.1802813020944365</c:v>
                </c:pt>
                <c:pt idx="337">
                  <c:v>-0.80263968214677661</c:v>
                </c:pt>
                <c:pt idx="338">
                  <c:v>-0.64603514728941425</c:v>
                </c:pt>
                <c:pt idx="339">
                  <c:v>-0.95309500069821673</c:v>
                </c:pt>
                <c:pt idx="340">
                  <c:v>-0.74979079933503079</c:v>
                </c:pt>
                <c:pt idx="341">
                  <c:v>-1.0759604152912952</c:v>
                </c:pt>
                <c:pt idx="342">
                  <c:v>-0.93385871239964358</c:v>
                </c:pt>
                <c:pt idx="343">
                  <c:v>-0.84071567098627853</c:v>
                </c:pt>
                <c:pt idx="344">
                  <c:v>-0.75338001574459212</c:v>
                </c:pt>
                <c:pt idx="345">
                  <c:v>-0.43654997667892581</c:v>
                </c:pt>
                <c:pt idx="346">
                  <c:v>-0.6132584975595109</c:v>
                </c:pt>
                <c:pt idx="347">
                  <c:v>-0.44267537827881343</c:v>
                </c:pt>
                <c:pt idx="348">
                  <c:v>-0.7876581259883213</c:v>
                </c:pt>
                <c:pt idx="349">
                  <c:v>-0.94196122061484522</c:v>
                </c:pt>
                <c:pt idx="350">
                  <c:v>-1.1767533235003937</c:v>
                </c:pt>
                <c:pt idx="351">
                  <c:v>-0.75934908270962398</c:v>
                </c:pt>
                <c:pt idx="352">
                  <c:v>-0.85379059261870704</c:v>
                </c:pt>
                <c:pt idx="353">
                  <c:v>-0.99184671157086135</c:v>
                </c:pt>
                <c:pt idx="354">
                  <c:v>-1.0130061588853632</c:v>
                </c:pt>
                <c:pt idx="355">
                  <c:v>-0.68104827332416928</c:v>
                </c:pt>
                <c:pt idx="356">
                  <c:v>-0.45376557907018877</c:v>
                </c:pt>
                <c:pt idx="357">
                  <c:v>-9.9123780998647118E-2</c:v>
                </c:pt>
                <c:pt idx="358">
                  <c:v>-0.5469567359100328</c:v>
                </c:pt>
                <c:pt idx="359">
                  <c:v>-0.548186514369296</c:v>
                </c:pt>
                <c:pt idx="360">
                  <c:v>-1.0828195366437852</c:v>
                </c:pt>
                <c:pt idx="361">
                  <c:v>-0.70037026216350784</c:v>
                </c:pt>
                <c:pt idx="362">
                  <c:v>-0.64036708524828034</c:v>
                </c:pt>
                <c:pt idx="363">
                  <c:v>-0.86013048857771257</c:v>
                </c:pt>
                <c:pt idx="364">
                  <c:v>-0.66512773732776231</c:v>
                </c:pt>
                <c:pt idx="365">
                  <c:v>-0.55115768245556795</c:v>
                </c:pt>
                <c:pt idx="366">
                  <c:v>-0.35917275667514165</c:v>
                </c:pt>
                <c:pt idx="367">
                  <c:v>-0.73385049875266295</c:v>
                </c:pt>
                <c:pt idx="368">
                  <c:v>-0.52456021992013446</c:v>
                </c:pt>
                <c:pt idx="369">
                  <c:v>-0.74898320539227925</c:v>
                </c:pt>
                <c:pt idx="370">
                  <c:v>-0.83032225285243089</c:v>
                </c:pt>
                <c:pt idx="371">
                  <c:v>-0.63615155827047909</c:v>
                </c:pt>
              </c:numCache>
            </c:numRef>
          </c:val>
          <c:smooth val="0"/>
          <c:extLst>
            <c:ext xmlns:c16="http://schemas.microsoft.com/office/drawing/2014/chart" uri="{C3380CC4-5D6E-409C-BE32-E72D297353CC}">
              <c16:uniqueId val="{00000000-F026-4481-A577-143BA1D5E5ED}"/>
            </c:ext>
          </c:extLst>
        </c:ser>
        <c:ser>
          <c:idx val="0"/>
          <c:order val="1"/>
          <c:tx>
            <c:v>Deutschland</c:v>
          </c:tx>
          <c:spPr>
            <a:ln w="25400" cap="rnd">
              <a:solidFill>
                <a:srgbClr val="0018A8"/>
              </a:solidFill>
              <a:prstDash val="solid"/>
              <a:round/>
            </a:ln>
            <a:effectLst/>
          </c:spPr>
          <c:marker>
            <c:symbol val="none"/>
          </c:marker>
          <c:cat>
            <c:numRef>
              <c:f>Sheet1!$E$28:$E$471</c:f>
              <c:numCache>
                <c:formatCode>m/d/yyyy</c:formatCode>
                <c:ptCount val="444"/>
                <c:pt idx="0">
                  <c:v>45596</c:v>
                </c:pt>
                <c:pt idx="1">
                  <c:v>45565</c:v>
                </c:pt>
                <c:pt idx="2">
                  <c:v>45535</c:v>
                </c:pt>
                <c:pt idx="3">
                  <c:v>45504</c:v>
                </c:pt>
                <c:pt idx="4">
                  <c:v>45473</c:v>
                </c:pt>
                <c:pt idx="5">
                  <c:v>45443</c:v>
                </c:pt>
                <c:pt idx="6">
                  <c:v>45412</c:v>
                </c:pt>
                <c:pt idx="7">
                  <c:v>45382</c:v>
                </c:pt>
                <c:pt idx="8">
                  <c:v>45351</c:v>
                </c:pt>
                <c:pt idx="9">
                  <c:v>45322</c:v>
                </c:pt>
                <c:pt idx="10">
                  <c:v>45291</c:v>
                </c:pt>
                <c:pt idx="11">
                  <c:v>45260</c:v>
                </c:pt>
                <c:pt idx="12">
                  <c:v>45230</c:v>
                </c:pt>
                <c:pt idx="13">
                  <c:v>45199</c:v>
                </c:pt>
                <c:pt idx="14">
                  <c:v>45169</c:v>
                </c:pt>
                <c:pt idx="15">
                  <c:v>45138</c:v>
                </c:pt>
                <c:pt idx="16">
                  <c:v>45107</c:v>
                </c:pt>
                <c:pt idx="17">
                  <c:v>45077</c:v>
                </c:pt>
                <c:pt idx="18">
                  <c:v>45046</c:v>
                </c:pt>
                <c:pt idx="19">
                  <c:v>45016</c:v>
                </c:pt>
                <c:pt idx="20">
                  <c:v>44985</c:v>
                </c:pt>
                <c:pt idx="21">
                  <c:v>44957</c:v>
                </c:pt>
                <c:pt idx="22">
                  <c:v>44926</c:v>
                </c:pt>
                <c:pt idx="23">
                  <c:v>44895</c:v>
                </c:pt>
                <c:pt idx="24">
                  <c:v>44865</c:v>
                </c:pt>
                <c:pt idx="25">
                  <c:v>44834</c:v>
                </c:pt>
                <c:pt idx="26">
                  <c:v>44804</c:v>
                </c:pt>
                <c:pt idx="27">
                  <c:v>44773</c:v>
                </c:pt>
                <c:pt idx="28">
                  <c:v>44742</c:v>
                </c:pt>
                <c:pt idx="29">
                  <c:v>44712</c:v>
                </c:pt>
                <c:pt idx="30">
                  <c:v>44681</c:v>
                </c:pt>
                <c:pt idx="31">
                  <c:v>44651</c:v>
                </c:pt>
                <c:pt idx="32">
                  <c:v>44620</c:v>
                </c:pt>
                <c:pt idx="33">
                  <c:v>44592</c:v>
                </c:pt>
                <c:pt idx="34">
                  <c:v>44561</c:v>
                </c:pt>
                <c:pt idx="35">
                  <c:v>44530</c:v>
                </c:pt>
                <c:pt idx="36">
                  <c:v>44500</c:v>
                </c:pt>
                <c:pt idx="37">
                  <c:v>44469</c:v>
                </c:pt>
                <c:pt idx="38">
                  <c:v>44439</c:v>
                </c:pt>
                <c:pt idx="39">
                  <c:v>44408</c:v>
                </c:pt>
                <c:pt idx="40">
                  <c:v>44377</c:v>
                </c:pt>
                <c:pt idx="41">
                  <c:v>44347</c:v>
                </c:pt>
                <c:pt idx="42">
                  <c:v>44316</c:v>
                </c:pt>
                <c:pt idx="43">
                  <c:v>44286</c:v>
                </c:pt>
                <c:pt idx="44">
                  <c:v>44255</c:v>
                </c:pt>
                <c:pt idx="45">
                  <c:v>44227</c:v>
                </c:pt>
                <c:pt idx="46">
                  <c:v>44196</c:v>
                </c:pt>
                <c:pt idx="47">
                  <c:v>44165</c:v>
                </c:pt>
                <c:pt idx="48">
                  <c:v>44135</c:v>
                </c:pt>
                <c:pt idx="49">
                  <c:v>44104</c:v>
                </c:pt>
                <c:pt idx="50">
                  <c:v>44074</c:v>
                </c:pt>
                <c:pt idx="51">
                  <c:v>44043</c:v>
                </c:pt>
                <c:pt idx="52">
                  <c:v>44012</c:v>
                </c:pt>
                <c:pt idx="53">
                  <c:v>43982</c:v>
                </c:pt>
                <c:pt idx="54">
                  <c:v>43951</c:v>
                </c:pt>
                <c:pt idx="55">
                  <c:v>43921</c:v>
                </c:pt>
                <c:pt idx="56">
                  <c:v>43890</c:v>
                </c:pt>
                <c:pt idx="57">
                  <c:v>43861</c:v>
                </c:pt>
                <c:pt idx="58">
                  <c:v>43830</c:v>
                </c:pt>
                <c:pt idx="59">
                  <c:v>43799</c:v>
                </c:pt>
                <c:pt idx="60">
                  <c:v>43769</c:v>
                </c:pt>
                <c:pt idx="61">
                  <c:v>43738</c:v>
                </c:pt>
                <c:pt idx="62">
                  <c:v>43708</c:v>
                </c:pt>
                <c:pt idx="63">
                  <c:v>43677</c:v>
                </c:pt>
                <c:pt idx="64">
                  <c:v>43646</c:v>
                </c:pt>
                <c:pt idx="65">
                  <c:v>43616</c:v>
                </c:pt>
                <c:pt idx="66">
                  <c:v>43585</c:v>
                </c:pt>
                <c:pt idx="67">
                  <c:v>43555</c:v>
                </c:pt>
                <c:pt idx="68">
                  <c:v>43524</c:v>
                </c:pt>
                <c:pt idx="69">
                  <c:v>43496</c:v>
                </c:pt>
                <c:pt idx="70">
                  <c:v>43465</c:v>
                </c:pt>
                <c:pt idx="71">
                  <c:v>43434</c:v>
                </c:pt>
                <c:pt idx="72">
                  <c:v>43404</c:v>
                </c:pt>
                <c:pt idx="73">
                  <c:v>43373</c:v>
                </c:pt>
                <c:pt idx="74">
                  <c:v>43343</c:v>
                </c:pt>
                <c:pt idx="75">
                  <c:v>43312</c:v>
                </c:pt>
                <c:pt idx="76">
                  <c:v>43281</c:v>
                </c:pt>
                <c:pt idx="77">
                  <c:v>43251</c:v>
                </c:pt>
                <c:pt idx="78">
                  <c:v>43220</c:v>
                </c:pt>
                <c:pt idx="79">
                  <c:v>43190</c:v>
                </c:pt>
                <c:pt idx="80">
                  <c:v>43159</c:v>
                </c:pt>
                <c:pt idx="81">
                  <c:v>43131</c:v>
                </c:pt>
                <c:pt idx="82">
                  <c:v>43100</c:v>
                </c:pt>
                <c:pt idx="83">
                  <c:v>43069</c:v>
                </c:pt>
                <c:pt idx="84">
                  <c:v>43039</c:v>
                </c:pt>
                <c:pt idx="85">
                  <c:v>43008</c:v>
                </c:pt>
                <c:pt idx="86">
                  <c:v>42978</c:v>
                </c:pt>
                <c:pt idx="87">
                  <c:v>42947</c:v>
                </c:pt>
                <c:pt idx="88">
                  <c:v>42916</c:v>
                </c:pt>
                <c:pt idx="89">
                  <c:v>42886</c:v>
                </c:pt>
                <c:pt idx="90">
                  <c:v>42855</c:v>
                </c:pt>
                <c:pt idx="91">
                  <c:v>42825</c:v>
                </c:pt>
                <c:pt idx="92">
                  <c:v>42794</c:v>
                </c:pt>
                <c:pt idx="93">
                  <c:v>42766</c:v>
                </c:pt>
                <c:pt idx="94">
                  <c:v>42735</c:v>
                </c:pt>
                <c:pt idx="95">
                  <c:v>42704</c:v>
                </c:pt>
                <c:pt idx="96">
                  <c:v>42674</c:v>
                </c:pt>
                <c:pt idx="97">
                  <c:v>42643</c:v>
                </c:pt>
                <c:pt idx="98">
                  <c:v>42613</c:v>
                </c:pt>
                <c:pt idx="99">
                  <c:v>42582</c:v>
                </c:pt>
                <c:pt idx="100">
                  <c:v>42551</c:v>
                </c:pt>
                <c:pt idx="101">
                  <c:v>42521</c:v>
                </c:pt>
                <c:pt idx="102">
                  <c:v>42490</c:v>
                </c:pt>
                <c:pt idx="103">
                  <c:v>42460</c:v>
                </c:pt>
                <c:pt idx="104">
                  <c:v>42429</c:v>
                </c:pt>
                <c:pt idx="105">
                  <c:v>42400</c:v>
                </c:pt>
                <c:pt idx="106">
                  <c:v>42369</c:v>
                </c:pt>
                <c:pt idx="107">
                  <c:v>42338</c:v>
                </c:pt>
                <c:pt idx="108">
                  <c:v>42308</c:v>
                </c:pt>
                <c:pt idx="109">
                  <c:v>42277</c:v>
                </c:pt>
                <c:pt idx="110">
                  <c:v>42247</c:v>
                </c:pt>
                <c:pt idx="111">
                  <c:v>42216</c:v>
                </c:pt>
                <c:pt idx="112">
                  <c:v>42185</c:v>
                </c:pt>
                <c:pt idx="113">
                  <c:v>42155</c:v>
                </c:pt>
                <c:pt idx="114">
                  <c:v>42124</c:v>
                </c:pt>
                <c:pt idx="115">
                  <c:v>42094</c:v>
                </c:pt>
                <c:pt idx="116">
                  <c:v>42063</c:v>
                </c:pt>
                <c:pt idx="117">
                  <c:v>42035</c:v>
                </c:pt>
                <c:pt idx="118">
                  <c:v>42004</c:v>
                </c:pt>
                <c:pt idx="119">
                  <c:v>41973</c:v>
                </c:pt>
                <c:pt idx="120">
                  <c:v>41943</c:v>
                </c:pt>
                <c:pt idx="121">
                  <c:v>41912</c:v>
                </c:pt>
                <c:pt idx="122">
                  <c:v>41882</c:v>
                </c:pt>
                <c:pt idx="123">
                  <c:v>41851</c:v>
                </c:pt>
                <c:pt idx="124">
                  <c:v>41820</c:v>
                </c:pt>
                <c:pt idx="125">
                  <c:v>41790</c:v>
                </c:pt>
                <c:pt idx="126">
                  <c:v>41759</c:v>
                </c:pt>
                <c:pt idx="127">
                  <c:v>41729</c:v>
                </c:pt>
                <c:pt idx="128">
                  <c:v>41698</c:v>
                </c:pt>
                <c:pt idx="129">
                  <c:v>41670</c:v>
                </c:pt>
                <c:pt idx="130">
                  <c:v>41639</c:v>
                </c:pt>
                <c:pt idx="131">
                  <c:v>41608</c:v>
                </c:pt>
                <c:pt idx="132">
                  <c:v>41578</c:v>
                </c:pt>
                <c:pt idx="133">
                  <c:v>41547</c:v>
                </c:pt>
                <c:pt idx="134">
                  <c:v>41517</c:v>
                </c:pt>
                <c:pt idx="135">
                  <c:v>41486</c:v>
                </c:pt>
                <c:pt idx="136">
                  <c:v>41455</c:v>
                </c:pt>
                <c:pt idx="137">
                  <c:v>41425</c:v>
                </c:pt>
                <c:pt idx="138">
                  <c:v>41394</c:v>
                </c:pt>
                <c:pt idx="139">
                  <c:v>41364</c:v>
                </c:pt>
                <c:pt idx="140">
                  <c:v>41333</c:v>
                </c:pt>
                <c:pt idx="141">
                  <c:v>41305</c:v>
                </c:pt>
                <c:pt idx="142">
                  <c:v>41274</c:v>
                </c:pt>
                <c:pt idx="143">
                  <c:v>41243</c:v>
                </c:pt>
                <c:pt idx="144">
                  <c:v>41213</c:v>
                </c:pt>
                <c:pt idx="145">
                  <c:v>41182</c:v>
                </c:pt>
                <c:pt idx="146">
                  <c:v>41152</c:v>
                </c:pt>
                <c:pt idx="147">
                  <c:v>41121</c:v>
                </c:pt>
                <c:pt idx="148">
                  <c:v>41090</c:v>
                </c:pt>
                <c:pt idx="149">
                  <c:v>41060</c:v>
                </c:pt>
                <c:pt idx="150">
                  <c:v>41029</c:v>
                </c:pt>
                <c:pt idx="151">
                  <c:v>40999</c:v>
                </c:pt>
                <c:pt idx="152">
                  <c:v>40968</c:v>
                </c:pt>
                <c:pt idx="153">
                  <c:v>40939</c:v>
                </c:pt>
                <c:pt idx="154">
                  <c:v>40908</c:v>
                </c:pt>
                <c:pt idx="155">
                  <c:v>40877</c:v>
                </c:pt>
                <c:pt idx="156">
                  <c:v>40847</c:v>
                </c:pt>
                <c:pt idx="157">
                  <c:v>40816</c:v>
                </c:pt>
                <c:pt idx="158">
                  <c:v>40786</c:v>
                </c:pt>
                <c:pt idx="159">
                  <c:v>40755</c:v>
                </c:pt>
                <c:pt idx="160">
                  <c:v>40724</c:v>
                </c:pt>
                <c:pt idx="161">
                  <c:v>40694</c:v>
                </c:pt>
                <c:pt idx="162">
                  <c:v>40663</c:v>
                </c:pt>
                <c:pt idx="163">
                  <c:v>40633</c:v>
                </c:pt>
                <c:pt idx="164">
                  <c:v>40602</c:v>
                </c:pt>
                <c:pt idx="165">
                  <c:v>40574</c:v>
                </c:pt>
                <c:pt idx="166">
                  <c:v>40543</c:v>
                </c:pt>
                <c:pt idx="167">
                  <c:v>40512</c:v>
                </c:pt>
                <c:pt idx="168">
                  <c:v>40482</c:v>
                </c:pt>
                <c:pt idx="169">
                  <c:v>40451</c:v>
                </c:pt>
                <c:pt idx="170">
                  <c:v>40421</c:v>
                </c:pt>
                <c:pt idx="171">
                  <c:v>40390</c:v>
                </c:pt>
                <c:pt idx="172">
                  <c:v>40359</c:v>
                </c:pt>
                <c:pt idx="173">
                  <c:v>40329</c:v>
                </c:pt>
                <c:pt idx="174">
                  <c:v>40298</c:v>
                </c:pt>
                <c:pt idx="175">
                  <c:v>40268</c:v>
                </c:pt>
                <c:pt idx="176">
                  <c:v>40237</c:v>
                </c:pt>
                <c:pt idx="177">
                  <c:v>40209</c:v>
                </c:pt>
                <c:pt idx="178">
                  <c:v>40178</c:v>
                </c:pt>
                <c:pt idx="179">
                  <c:v>40147</c:v>
                </c:pt>
                <c:pt idx="180">
                  <c:v>40117</c:v>
                </c:pt>
                <c:pt idx="181">
                  <c:v>40086</c:v>
                </c:pt>
                <c:pt idx="182">
                  <c:v>40056</c:v>
                </c:pt>
                <c:pt idx="183">
                  <c:v>40025</c:v>
                </c:pt>
                <c:pt idx="184">
                  <c:v>39994</c:v>
                </c:pt>
                <c:pt idx="185">
                  <c:v>39964</c:v>
                </c:pt>
                <c:pt idx="186">
                  <c:v>39933</c:v>
                </c:pt>
                <c:pt idx="187">
                  <c:v>39903</c:v>
                </c:pt>
                <c:pt idx="188">
                  <c:v>39872</c:v>
                </c:pt>
                <c:pt idx="189">
                  <c:v>39844</c:v>
                </c:pt>
                <c:pt idx="190">
                  <c:v>39813</c:v>
                </c:pt>
                <c:pt idx="191">
                  <c:v>39782</c:v>
                </c:pt>
                <c:pt idx="192">
                  <c:v>39752</c:v>
                </c:pt>
                <c:pt idx="193">
                  <c:v>39721</c:v>
                </c:pt>
                <c:pt idx="194">
                  <c:v>39691</c:v>
                </c:pt>
                <c:pt idx="195">
                  <c:v>39660</c:v>
                </c:pt>
                <c:pt idx="196">
                  <c:v>39629</c:v>
                </c:pt>
                <c:pt idx="197">
                  <c:v>39599</c:v>
                </c:pt>
                <c:pt idx="198">
                  <c:v>39568</c:v>
                </c:pt>
                <c:pt idx="199">
                  <c:v>39538</c:v>
                </c:pt>
                <c:pt idx="200">
                  <c:v>39507</c:v>
                </c:pt>
                <c:pt idx="201">
                  <c:v>39478</c:v>
                </c:pt>
                <c:pt idx="202">
                  <c:v>39447</c:v>
                </c:pt>
                <c:pt idx="203">
                  <c:v>39416</c:v>
                </c:pt>
                <c:pt idx="204">
                  <c:v>39386</c:v>
                </c:pt>
                <c:pt idx="205">
                  <c:v>39355</c:v>
                </c:pt>
                <c:pt idx="206">
                  <c:v>39325</c:v>
                </c:pt>
                <c:pt idx="207">
                  <c:v>39294</c:v>
                </c:pt>
                <c:pt idx="208">
                  <c:v>39263</c:v>
                </c:pt>
                <c:pt idx="209">
                  <c:v>39233</c:v>
                </c:pt>
                <c:pt idx="210">
                  <c:v>39202</c:v>
                </c:pt>
                <c:pt idx="211">
                  <c:v>39172</c:v>
                </c:pt>
                <c:pt idx="212">
                  <c:v>39141</c:v>
                </c:pt>
                <c:pt idx="213">
                  <c:v>39113</c:v>
                </c:pt>
                <c:pt idx="214">
                  <c:v>39082</c:v>
                </c:pt>
                <c:pt idx="215">
                  <c:v>39051</c:v>
                </c:pt>
                <c:pt idx="216">
                  <c:v>39021</c:v>
                </c:pt>
                <c:pt idx="217">
                  <c:v>38990</c:v>
                </c:pt>
                <c:pt idx="218">
                  <c:v>38960</c:v>
                </c:pt>
                <c:pt idx="219">
                  <c:v>38929</c:v>
                </c:pt>
                <c:pt idx="220">
                  <c:v>38898</c:v>
                </c:pt>
                <c:pt idx="221">
                  <c:v>38868</c:v>
                </c:pt>
                <c:pt idx="222">
                  <c:v>38837</c:v>
                </c:pt>
                <c:pt idx="223">
                  <c:v>38807</c:v>
                </c:pt>
                <c:pt idx="224">
                  <c:v>38776</c:v>
                </c:pt>
                <c:pt idx="225">
                  <c:v>38748</c:v>
                </c:pt>
                <c:pt idx="226">
                  <c:v>38717</c:v>
                </c:pt>
                <c:pt idx="227">
                  <c:v>38686</c:v>
                </c:pt>
                <c:pt idx="228">
                  <c:v>38656</c:v>
                </c:pt>
                <c:pt idx="229">
                  <c:v>38625</c:v>
                </c:pt>
                <c:pt idx="230">
                  <c:v>38595</c:v>
                </c:pt>
                <c:pt idx="231">
                  <c:v>38564</c:v>
                </c:pt>
                <c:pt idx="232">
                  <c:v>38533</c:v>
                </c:pt>
                <c:pt idx="233">
                  <c:v>38503</c:v>
                </c:pt>
                <c:pt idx="234">
                  <c:v>38472</c:v>
                </c:pt>
                <c:pt idx="235">
                  <c:v>38442</c:v>
                </c:pt>
                <c:pt idx="236">
                  <c:v>38411</c:v>
                </c:pt>
                <c:pt idx="237">
                  <c:v>38383</c:v>
                </c:pt>
                <c:pt idx="238">
                  <c:v>38352</c:v>
                </c:pt>
                <c:pt idx="239">
                  <c:v>38321</c:v>
                </c:pt>
                <c:pt idx="240">
                  <c:v>38291</c:v>
                </c:pt>
                <c:pt idx="241">
                  <c:v>38260</c:v>
                </c:pt>
                <c:pt idx="242">
                  <c:v>38230</c:v>
                </c:pt>
                <c:pt idx="243">
                  <c:v>38199</c:v>
                </c:pt>
                <c:pt idx="244">
                  <c:v>38168</c:v>
                </c:pt>
                <c:pt idx="245">
                  <c:v>38138</c:v>
                </c:pt>
                <c:pt idx="246">
                  <c:v>38107</c:v>
                </c:pt>
                <c:pt idx="247">
                  <c:v>38077</c:v>
                </c:pt>
                <c:pt idx="248">
                  <c:v>38046</c:v>
                </c:pt>
                <c:pt idx="249">
                  <c:v>38017</c:v>
                </c:pt>
                <c:pt idx="250">
                  <c:v>37986</c:v>
                </c:pt>
                <c:pt idx="251">
                  <c:v>37955</c:v>
                </c:pt>
                <c:pt idx="252">
                  <c:v>37925</c:v>
                </c:pt>
                <c:pt idx="253">
                  <c:v>37894</c:v>
                </c:pt>
                <c:pt idx="254">
                  <c:v>37864</c:v>
                </c:pt>
                <c:pt idx="255">
                  <c:v>37833</c:v>
                </c:pt>
                <c:pt idx="256">
                  <c:v>37802</c:v>
                </c:pt>
                <c:pt idx="257">
                  <c:v>37772</c:v>
                </c:pt>
                <c:pt idx="258">
                  <c:v>37741</c:v>
                </c:pt>
                <c:pt idx="259">
                  <c:v>37711</c:v>
                </c:pt>
                <c:pt idx="260">
                  <c:v>37680</c:v>
                </c:pt>
                <c:pt idx="261">
                  <c:v>37652</c:v>
                </c:pt>
                <c:pt idx="262">
                  <c:v>37621</c:v>
                </c:pt>
                <c:pt idx="263">
                  <c:v>37590</c:v>
                </c:pt>
                <c:pt idx="264">
                  <c:v>37560</c:v>
                </c:pt>
                <c:pt idx="265">
                  <c:v>37529</c:v>
                </c:pt>
                <c:pt idx="266">
                  <c:v>37499</c:v>
                </c:pt>
                <c:pt idx="267">
                  <c:v>37468</c:v>
                </c:pt>
                <c:pt idx="268">
                  <c:v>37437</c:v>
                </c:pt>
                <c:pt idx="269">
                  <c:v>37407</c:v>
                </c:pt>
                <c:pt idx="270">
                  <c:v>37376</c:v>
                </c:pt>
                <c:pt idx="271">
                  <c:v>37346</c:v>
                </c:pt>
                <c:pt idx="272">
                  <c:v>37315</c:v>
                </c:pt>
                <c:pt idx="273">
                  <c:v>37287</c:v>
                </c:pt>
                <c:pt idx="274">
                  <c:v>37256</c:v>
                </c:pt>
                <c:pt idx="275">
                  <c:v>37225</c:v>
                </c:pt>
                <c:pt idx="276">
                  <c:v>37195</c:v>
                </c:pt>
                <c:pt idx="277">
                  <c:v>37164</c:v>
                </c:pt>
                <c:pt idx="278">
                  <c:v>37134</c:v>
                </c:pt>
                <c:pt idx="279">
                  <c:v>37103</c:v>
                </c:pt>
                <c:pt idx="280">
                  <c:v>37072</c:v>
                </c:pt>
                <c:pt idx="281">
                  <c:v>37042</c:v>
                </c:pt>
                <c:pt idx="282">
                  <c:v>37011</c:v>
                </c:pt>
                <c:pt idx="283">
                  <c:v>36981</c:v>
                </c:pt>
                <c:pt idx="284">
                  <c:v>36950</c:v>
                </c:pt>
                <c:pt idx="285">
                  <c:v>36922</c:v>
                </c:pt>
                <c:pt idx="286">
                  <c:v>36891</c:v>
                </c:pt>
                <c:pt idx="287">
                  <c:v>36860</c:v>
                </c:pt>
                <c:pt idx="288">
                  <c:v>36830</c:v>
                </c:pt>
                <c:pt idx="289">
                  <c:v>36799</c:v>
                </c:pt>
                <c:pt idx="290">
                  <c:v>36769</c:v>
                </c:pt>
                <c:pt idx="291">
                  <c:v>36738</c:v>
                </c:pt>
                <c:pt idx="292">
                  <c:v>36707</c:v>
                </c:pt>
                <c:pt idx="293">
                  <c:v>36677</c:v>
                </c:pt>
                <c:pt idx="294">
                  <c:v>36646</c:v>
                </c:pt>
                <c:pt idx="295">
                  <c:v>36616</c:v>
                </c:pt>
                <c:pt idx="296">
                  <c:v>36585</c:v>
                </c:pt>
                <c:pt idx="297">
                  <c:v>36556</c:v>
                </c:pt>
                <c:pt idx="298">
                  <c:v>36525</c:v>
                </c:pt>
                <c:pt idx="299">
                  <c:v>36494</c:v>
                </c:pt>
                <c:pt idx="300">
                  <c:v>36464</c:v>
                </c:pt>
                <c:pt idx="301">
                  <c:v>36433</c:v>
                </c:pt>
                <c:pt idx="302">
                  <c:v>36403</c:v>
                </c:pt>
                <c:pt idx="303">
                  <c:v>36372</c:v>
                </c:pt>
                <c:pt idx="304">
                  <c:v>36341</c:v>
                </c:pt>
                <c:pt idx="305">
                  <c:v>36311</c:v>
                </c:pt>
                <c:pt idx="306">
                  <c:v>36280</c:v>
                </c:pt>
                <c:pt idx="307">
                  <c:v>36250</c:v>
                </c:pt>
                <c:pt idx="308">
                  <c:v>36219</c:v>
                </c:pt>
                <c:pt idx="309">
                  <c:v>36191</c:v>
                </c:pt>
                <c:pt idx="310">
                  <c:v>36160</c:v>
                </c:pt>
                <c:pt idx="311">
                  <c:v>36129</c:v>
                </c:pt>
                <c:pt idx="312">
                  <c:v>36099</c:v>
                </c:pt>
                <c:pt idx="313">
                  <c:v>36068</c:v>
                </c:pt>
                <c:pt idx="314">
                  <c:v>36038</c:v>
                </c:pt>
                <c:pt idx="315">
                  <c:v>36007</c:v>
                </c:pt>
                <c:pt idx="316">
                  <c:v>35976</c:v>
                </c:pt>
                <c:pt idx="317">
                  <c:v>35946</c:v>
                </c:pt>
                <c:pt idx="318">
                  <c:v>35915</c:v>
                </c:pt>
                <c:pt idx="319">
                  <c:v>35885</c:v>
                </c:pt>
                <c:pt idx="320">
                  <c:v>35854</c:v>
                </c:pt>
                <c:pt idx="321">
                  <c:v>35826</c:v>
                </c:pt>
                <c:pt idx="322">
                  <c:v>35795</c:v>
                </c:pt>
                <c:pt idx="323">
                  <c:v>35764</c:v>
                </c:pt>
                <c:pt idx="324">
                  <c:v>35734</c:v>
                </c:pt>
                <c:pt idx="325">
                  <c:v>35703</c:v>
                </c:pt>
                <c:pt idx="326">
                  <c:v>35673</c:v>
                </c:pt>
                <c:pt idx="327">
                  <c:v>35642</c:v>
                </c:pt>
                <c:pt idx="328">
                  <c:v>35611</c:v>
                </c:pt>
                <c:pt idx="329">
                  <c:v>35581</c:v>
                </c:pt>
                <c:pt idx="330">
                  <c:v>35550</c:v>
                </c:pt>
                <c:pt idx="331">
                  <c:v>35520</c:v>
                </c:pt>
                <c:pt idx="332">
                  <c:v>35489</c:v>
                </c:pt>
                <c:pt idx="333">
                  <c:v>35461</c:v>
                </c:pt>
                <c:pt idx="334">
                  <c:v>35430</c:v>
                </c:pt>
                <c:pt idx="335">
                  <c:v>35399</c:v>
                </c:pt>
                <c:pt idx="336">
                  <c:v>35369</c:v>
                </c:pt>
                <c:pt idx="337">
                  <c:v>35338</c:v>
                </c:pt>
                <c:pt idx="338">
                  <c:v>35308</c:v>
                </c:pt>
                <c:pt idx="339">
                  <c:v>35277</c:v>
                </c:pt>
                <c:pt idx="340">
                  <c:v>35246</c:v>
                </c:pt>
                <c:pt idx="341">
                  <c:v>35216</c:v>
                </c:pt>
                <c:pt idx="342">
                  <c:v>35185</c:v>
                </c:pt>
                <c:pt idx="343">
                  <c:v>35155</c:v>
                </c:pt>
                <c:pt idx="344">
                  <c:v>35124</c:v>
                </c:pt>
                <c:pt idx="345">
                  <c:v>35095</c:v>
                </c:pt>
                <c:pt idx="346">
                  <c:v>35064</c:v>
                </c:pt>
                <c:pt idx="347">
                  <c:v>35033</c:v>
                </c:pt>
                <c:pt idx="348">
                  <c:v>35003</c:v>
                </c:pt>
                <c:pt idx="349">
                  <c:v>34972</c:v>
                </c:pt>
                <c:pt idx="350">
                  <c:v>34942</c:v>
                </c:pt>
                <c:pt idx="351">
                  <c:v>34911</c:v>
                </c:pt>
                <c:pt idx="352">
                  <c:v>34880</c:v>
                </c:pt>
                <c:pt idx="353">
                  <c:v>34850</c:v>
                </c:pt>
                <c:pt idx="354">
                  <c:v>34819</c:v>
                </c:pt>
                <c:pt idx="355">
                  <c:v>34789</c:v>
                </c:pt>
                <c:pt idx="356">
                  <c:v>34758</c:v>
                </c:pt>
                <c:pt idx="357">
                  <c:v>34730</c:v>
                </c:pt>
                <c:pt idx="358">
                  <c:v>34699</c:v>
                </c:pt>
                <c:pt idx="359">
                  <c:v>34668</c:v>
                </c:pt>
                <c:pt idx="360">
                  <c:v>34638</c:v>
                </c:pt>
                <c:pt idx="361">
                  <c:v>34607</c:v>
                </c:pt>
                <c:pt idx="362">
                  <c:v>34577</c:v>
                </c:pt>
                <c:pt idx="363">
                  <c:v>34546</c:v>
                </c:pt>
                <c:pt idx="364">
                  <c:v>34515</c:v>
                </c:pt>
                <c:pt idx="365">
                  <c:v>34485</c:v>
                </c:pt>
                <c:pt idx="366">
                  <c:v>34454</c:v>
                </c:pt>
                <c:pt idx="367">
                  <c:v>34424</c:v>
                </c:pt>
                <c:pt idx="368">
                  <c:v>34393</c:v>
                </c:pt>
                <c:pt idx="369">
                  <c:v>34365</c:v>
                </c:pt>
                <c:pt idx="370">
                  <c:v>34334</c:v>
                </c:pt>
                <c:pt idx="371">
                  <c:v>34303</c:v>
                </c:pt>
              </c:numCache>
            </c:numRef>
          </c:cat>
          <c:val>
            <c:numRef>
              <c:f>Sheet1!$G$28:$G$471</c:f>
              <c:numCache>
                <c:formatCode>0.00000</c:formatCode>
                <c:ptCount val="444"/>
                <c:pt idx="0">
                  <c:v>3.7624121326600317</c:v>
                </c:pt>
                <c:pt idx="1">
                  <c:v>3.0588215627345816</c:v>
                </c:pt>
                <c:pt idx="2">
                  <c:v>2.2157801923107288</c:v>
                </c:pt>
                <c:pt idx="3">
                  <c:v>3.9794377421035581</c:v>
                </c:pt>
                <c:pt idx="4">
                  <c:v>2.8933431424524128</c:v>
                </c:pt>
                <c:pt idx="5">
                  <c:v>2.710073682593348</c:v>
                </c:pt>
                <c:pt idx="6">
                  <c:v>2.7300184011005424</c:v>
                </c:pt>
                <c:pt idx="7">
                  <c:v>2.1908534680890828</c:v>
                </c:pt>
                <c:pt idx="8">
                  <c:v>2.4651685527865621</c:v>
                </c:pt>
                <c:pt idx="9">
                  <c:v>3.265731344037726</c:v>
                </c:pt>
                <c:pt idx="10">
                  <c:v>2.9223692170892068</c:v>
                </c:pt>
                <c:pt idx="11">
                  <c:v>2.6448215195599754</c:v>
                </c:pt>
                <c:pt idx="12">
                  <c:v>2.904699954023096</c:v>
                </c:pt>
                <c:pt idx="13">
                  <c:v>3.3123177112118145</c:v>
                </c:pt>
                <c:pt idx="14">
                  <c:v>2.8550064008313121</c:v>
                </c:pt>
                <c:pt idx="15">
                  <c:v>2.0112545976133358</c:v>
                </c:pt>
                <c:pt idx="16">
                  <c:v>1.780240726827496</c:v>
                </c:pt>
                <c:pt idx="17">
                  <c:v>1.5254709815546652</c:v>
                </c:pt>
                <c:pt idx="18">
                  <c:v>1.3103457439307975</c:v>
                </c:pt>
                <c:pt idx="19">
                  <c:v>2.3236935693624496</c:v>
                </c:pt>
                <c:pt idx="20">
                  <c:v>1.7231031879670968</c:v>
                </c:pt>
                <c:pt idx="21">
                  <c:v>2.0104383658653697</c:v>
                </c:pt>
                <c:pt idx="22">
                  <c:v>2.3937788536096178</c:v>
                </c:pt>
                <c:pt idx="23">
                  <c:v>3.4916915195464995</c:v>
                </c:pt>
                <c:pt idx="24">
                  <c:v>3.4053574787752443</c:v>
                </c:pt>
                <c:pt idx="25">
                  <c:v>3.9536508029715751</c:v>
                </c:pt>
                <c:pt idx="26">
                  <c:v>3.342578007241702</c:v>
                </c:pt>
                <c:pt idx="27">
                  <c:v>3.4759247825773874</c:v>
                </c:pt>
                <c:pt idx="28">
                  <c:v>2.423572389549026</c:v>
                </c:pt>
                <c:pt idx="29">
                  <c:v>2.5844432893277975</c:v>
                </c:pt>
                <c:pt idx="30">
                  <c:v>3.1339463599329895</c:v>
                </c:pt>
                <c:pt idx="31">
                  <c:v>3.5956272030117833</c:v>
                </c:pt>
                <c:pt idx="32">
                  <c:v>1.2564021007510553</c:v>
                </c:pt>
                <c:pt idx="33">
                  <c:v>1.7595780355554851</c:v>
                </c:pt>
                <c:pt idx="34">
                  <c:v>2.476064767893603</c:v>
                </c:pt>
                <c:pt idx="35">
                  <c:v>1.26509425077444</c:v>
                </c:pt>
                <c:pt idx="36">
                  <c:v>0.71847103008646473</c:v>
                </c:pt>
                <c:pt idx="37">
                  <c:v>1.0640009584500711</c:v>
                </c:pt>
                <c:pt idx="38">
                  <c:v>1.0767633761445055</c:v>
                </c:pt>
                <c:pt idx="39">
                  <c:v>0.97105059339627986</c:v>
                </c:pt>
                <c:pt idx="40">
                  <c:v>4.9878550632372835E-2</c:v>
                </c:pt>
                <c:pt idx="41">
                  <c:v>-9.3052724274033508E-2</c:v>
                </c:pt>
                <c:pt idx="42">
                  <c:v>0.31246910058532396</c:v>
                </c:pt>
                <c:pt idx="43">
                  <c:v>0.47574046373197548</c:v>
                </c:pt>
                <c:pt idx="44">
                  <c:v>0.23512222615105124</c:v>
                </c:pt>
                <c:pt idx="45">
                  <c:v>0.15600321923992744</c:v>
                </c:pt>
                <c:pt idx="46">
                  <c:v>0.26199306599057826</c:v>
                </c:pt>
                <c:pt idx="47">
                  <c:v>1.2167596875383961</c:v>
                </c:pt>
                <c:pt idx="48">
                  <c:v>1.5533532546056377</c:v>
                </c:pt>
                <c:pt idx="49">
                  <c:v>0.66516906234905637</c:v>
                </c:pt>
                <c:pt idx="50">
                  <c:v>0.18895241243719565</c:v>
                </c:pt>
                <c:pt idx="51">
                  <c:v>0.77056767965176765</c:v>
                </c:pt>
                <c:pt idx="52">
                  <c:v>0.56675269727160982</c:v>
                </c:pt>
                <c:pt idx="53">
                  <c:v>1.2779262635951851</c:v>
                </c:pt>
                <c:pt idx="54">
                  <c:v>1.1416739066962693</c:v>
                </c:pt>
                <c:pt idx="55">
                  <c:v>1.8783799082204429</c:v>
                </c:pt>
                <c:pt idx="56">
                  <c:v>0.71768836916039147</c:v>
                </c:pt>
                <c:pt idx="57">
                  <c:v>-0.31509229454589738</c:v>
                </c:pt>
                <c:pt idx="58">
                  <c:v>0.13813486504291628</c:v>
                </c:pt>
                <c:pt idx="59">
                  <c:v>-1.5903863831990737E-2</c:v>
                </c:pt>
                <c:pt idx="60">
                  <c:v>0.15572166715970909</c:v>
                </c:pt>
                <c:pt idx="61">
                  <c:v>0.13806413293689757</c:v>
                </c:pt>
                <c:pt idx="62">
                  <c:v>0.77850583260591777</c:v>
                </c:pt>
                <c:pt idx="63">
                  <c:v>0.37148959752354394</c:v>
                </c:pt>
                <c:pt idx="64">
                  <c:v>-7.6552216506274043E-2</c:v>
                </c:pt>
                <c:pt idx="65">
                  <c:v>-0.22882096718167064</c:v>
                </c:pt>
                <c:pt idx="66">
                  <c:v>8.430402221837327E-2</c:v>
                </c:pt>
                <c:pt idx="67">
                  <c:v>0.38425261362835056</c:v>
                </c:pt>
                <c:pt idx="68">
                  <c:v>-0.16884762140746429</c:v>
                </c:pt>
                <c:pt idx="69">
                  <c:v>-9.6196054278221643E-2</c:v>
                </c:pt>
                <c:pt idx="70">
                  <c:v>0.24974905120176177</c:v>
                </c:pt>
                <c:pt idx="71">
                  <c:v>-0.21536636820947139</c:v>
                </c:pt>
                <c:pt idx="72">
                  <c:v>5.8312486580063376E-2</c:v>
                </c:pt>
                <c:pt idx="73">
                  <c:v>0.28241483724665728</c:v>
                </c:pt>
                <c:pt idx="74">
                  <c:v>-5.6767572773698712E-2</c:v>
                </c:pt>
                <c:pt idx="75">
                  <c:v>0.20929202194914273</c:v>
                </c:pt>
                <c:pt idx="76">
                  <c:v>0.14864247245411458</c:v>
                </c:pt>
                <c:pt idx="77">
                  <c:v>-3.1578385762714434E-2</c:v>
                </c:pt>
                <c:pt idx="78">
                  <c:v>-0.3388584616912938</c:v>
                </c:pt>
                <c:pt idx="79">
                  <c:v>-0.4242914759648132</c:v>
                </c:pt>
                <c:pt idx="80">
                  <c:v>-0.51842400070929806</c:v>
                </c:pt>
                <c:pt idx="81">
                  <c:v>-0.20421900026913098</c:v>
                </c:pt>
                <c:pt idx="82">
                  <c:v>-0.43962101431584333</c:v>
                </c:pt>
                <c:pt idx="83">
                  <c:v>3.2751567045738873E-2</c:v>
                </c:pt>
                <c:pt idx="84">
                  <c:v>-0.24813077228373984</c:v>
                </c:pt>
                <c:pt idx="85">
                  <c:v>-0.11750209654160883</c:v>
                </c:pt>
                <c:pt idx="86">
                  <c:v>-0.47532744314502162</c:v>
                </c:pt>
                <c:pt idx="87">
                  <c:v>-0.24804190834343717</c:v>
                </c:pt>
                <c:pt idx="88">
                  <c:v>4.8242616356281999E-2</c:v>
                </c:pt>
                <c:pt idx="89">
                  <c:v>-0.19614746164297117</c:v>
                </c:pt>
                <c:pt idx="90">
                  <c:v>0.12372933214792245</c:v>
                </c:pt>
                <c:pt idx="91">
                  <c:v>0.22715977773578147</c:v>
                </c:pt>
                <c:pt idx="92">
                  <c:v>-8.2353505861589849E-2</c:v>
                </c:pt>
                <c:pt idx="93">
                  <c:v>0.90646607681540381</c:v>
                </c:pt>
                <c:pt idx="94">
                  <c:v>0.37491459929002496</c:v>
                </c:pt>
                <c:pt idx="95">
                  <c:v>0.82615246327784075</c:v>
                </c:pt>
                <c:pt idx="96">
                  <c:v>-0.21484102374353392</c:v>
                </c:pt>
                <c:pt idx="97">
                  <c:v>0.20893423238747963</c:v>
                </c:pt>
                <c:pt idx="98">
                  <c:v>0.23316979262899351</c:v>
                </c:pt>
                <c:pt idx="99">
                  <c:v>0.8826893178064158</c:v>
                </c:pt>
                <c:pt idx="100">
                  <c:v>1.6147682308080136</c:v>
                </c:pt>
                <c:pt idx="101">
                  <c:v>-0.31537001679973226</c:v>
                </c:pt>
                <c:pt idx="102">
                  <c:v>-0.35901220494157082</c:v>
                </c:pt>
                <c:pt idx="103">
                  <c:v>3.841390551258133E-2</c:v>
                </c:pt>
                <c:pt idx="104">
                  <c:v>-1.3772924495843481E-2</c:v>
                </c:pt>
                <c:pt idx="105">
                  <c:v>0.11868359572880983</c:v>
                </c:pt>
                <c:pt idx="106">
                  <c:v>-0.34155124852609553</c:v>
                </c:pt>
                <c:pt idx="107">
                  <c:v>5.6201773514503492E-2</c:v>
                </c:pt>
                <c:pt idx="108">
                  <c:v>2.078593276216683E-2</c:v>
                </c:pt>
                <c:pt idx="109">
                  <c:v>-0.10948232041266232</c:v>
                </c:pt>
                <c:pt idx="110">
                  <c:v>-0.15248450866120991</c:v>
                </c:pt>
                <c:pt idx="111">
                  <c:v>-4.6463305207044781E-2</c:v>
                </c:pt>
                <c:pt idx="112">
                  <c:v>0.17151748687292007</c:v>
                </c:pt>
                <c:pt idx="113">
                  <c:v>-0.42346692631267135</c:v>
                </c:pt>
                <c:pt idx="114">
                  <c:v>-0.47077551496522063</c:v>
                </c:pt>
                <c:pt idx="115">
                  <c:v>-0.61999572383941859</c:v>
                </c:pt>
                <c:pt idx="116">
                  <c:v>-0.13681854399881166</c:v>
                </c:pt>
                <c:pt idx="117">
                  <c:v>0.10238786399048865</c:v>
                </c:pt>
                <c:pt idx="118">
                  <c:v>-0.18995265762675936</c:v>
                </c:pt>
                <c:pt idx="119">
                  <c:v>-0.44704375641623767</c:v>
                </c:pt>
                <c:pt idx="120">
                  <c:v>-0.20067988164463163</c:v>
                </c:pt>
                <c:pt idx="121">
                  <c:v>-4.2831014087561431E-2</c:v>
                </c:pt>
                <c:pt idx="122">
                  <c:v>-0.24651338872919359</c:v>
                </c:pt>
                <c:pt idx="123">
                  <c:v>-0.47254160349731034</c:v>
                </c:pt>
                <c:pt idx="124">
                  <c:v>-0.68137503478359907</c:v>
                </c:pt>
                <c:pt idx="125">
                  <c:v>-0.32879355827360351</c:v>
                </c:pt>
                <c:pt idx="126">
                  <c:v>-0.54204170224129999</c:v>
                </c:pt>
                <c:pt idx="127">
                  <c:v>-0.31945620218668763</c:v>
                </c:pt>
                <c:pt idx="128">
                  <c:v>-0.29659477168333587</c:v>
                </c:pt>
                <c:pt idx="129">
                  <c:v>-0.46662063206751275</c:v>
                </c:pt>
                <c:pt idx="130">
                  <c:v>-0.10807360255497506</c:v>
                </c:pt>
                <c:pt idx="131">
                  <c:v>-0.44284345417126403</c:v>
                </c:pt>
                <c:pt idx="132">
                  <c:v>0.14867245281377225</c:v>
                </c:pt>
                <c:pt idx="133">
                  <c:v>-0.3217739652411008</c:v>
                </c:pt>
                <c:pt idx="134">
                  <c:v>-0.317071536852639</c:v>
                </c:pt>
                <c:pt idx="135">
                  <c:v>-0.1395373616848132</c:v>
                </c:pt>
                <c:pt idx="136">
                  <c:v>-0.34568835863574288</c:v>
                </c:pt>
                <c:pt idx="137">
                  <c:v>-0.71178140278539115</c:v>
                </c:pt>
                <c:pt idx="138">
                  <c:v>-0.31534883307254891</c:v>
                </c:pt>
                <c:pt idx="139">
                  <c:v>0.10077556692410797</c:v>
                </c:pt>
                <c:pt idx="140">
                  <c:v>-0.18994924668763674</c:v>
                </c:pt>
                <c:pt idx="141">
                  <c:v>8.8096088907289594E-2</c:v>
                </c:pt>
                <c:pt idx="142">
                  <c:v>-8.1666710277176452E-2</c:v>
                </c:pt>
                <c:pt idx="143">
                  <c:v>0.18345655173595707</c:v>
                </c:pt>
                <c:pt idx="144">
                  <c:v>-5.6608335773600735E-2</c:v>
                </c:pt>
                <c:pt idx="145">
                  <c:v>0.25887289446780237</c:v>
                </c:pt>
                <c:pt idx="146">
                  <c:v>-0.1349793297192137</c:v>
                </c:pt>
                <c:pt idx="147">
                  <c:v>0.32205886616732188</c:v>
                </c:pt>
                <c:pt idx="148">
                  <c:v>0.10967404884389936</c:v>
                </c:pt>
                <c:pt idx="149">
                  <c:v>-8.7164545732643761E-2</c:v>
                </c:pt>
                <c:pt idx="150">
                  <c:v>-0.26517870586017867</c:v>
                </c:pt>
                <c:pt idx="151">
                  <c:v>-0.4307383902709207</c:v>
                </c:pt>
                <c:pt idx="152">
                  <c:v>-0.34052078586480788</c:v>
                </c:pt>
                <c:pt idx="153">
                  <c:v>5.7442457739618459E-2</c:v>
                </c:pt>
                <c:pt idx="154">
                  <c:v>0.11395914583864339</c:v>
                </c:pt>
                <c:pt idx="155">
                  <c:v>0.86042970861459545</c:v>
                </c:pt>
                <c:pt idx="156">
                  <c:v>0.20140563149220611</c:v>
                </c:pt>
                <c:pt idx="157">
                  <c:v>1.15900895756939</c:v>
                </c:pt>
                <c:pt idx="158">
                  <c:v>0.57718029721601705</c:v>
                </c:pt>
                <c:pt idx="159">
                  <c:v>-8.9878358488051165E-4</c:v>
                </c:pt>
                <c:pt idx="160">
                  <c:v>-6.9223005947087093E-2</c:v>
                </c:pt>
                <c:pt idx="161">
                  <c:v>-0.54426294170264367</c:v>
                </c:pt>
                <c:pt idx="162">
                  <c:v>-0.62230624612832564</c:v>
                </c:pt>
                <c:pt idx="163">
                  <c:v>-0.36130112461603403</c:v>
                </c:pt>
                <c:pt idx="164">
                  <c:v>-0.54390347659193783</c:v>
                </c:pt>
                <c:pt idx="165">
                  <c:v>-0.25861294725411071</c:v>
                </c:pt>
                <c:pt idx="166">
                  <c:v>-2.8413692508231156E-2</c:v>
                </c:pt>
                <c:pt idx="167">
                  <c:v>-0.2809457420344767</c:v>
                </c:pt>
                <c:pt idx="168">
                  <c:v>-0.40561891806832207</c:v>
                </c:pt>
                <c:pt idx="169">
                  <c:v>-0.43426195022573749</c:v>
                </c:pt>
                <c:pt idx="170">
                  <c:v>-0.22282543381947106</c:v>
                </c:pt>
                <c:pt idx="171">
                  <c:v>5.8242891453752263E-2</c:v>
                </c:pt>
                <c:pt idx="172">
                  <c:v>-0.24560571987632415</c:v>
                </c:pt>
                <c:pt idx="173">
                  <c:v>-0.16624758818038596</c:v>
                </c:pt>
                <c:pt idx="174">
                  <c:v>-0.18147958564071329</c:v>
                </c:pt>
                <c:pt idx="175">
                  <c:v>-0.40507771572751566</c:v>
                </c:pt>
                <c:pt idx="176">
                  <c:v>-0.37535580950968472</c:v>
                </c:pt>
                <c:pt idx="177">
                  <c:v>-0.47029918030878337</c:v>
                </c:pt>
                <c:pt idx="178">
                  <c:v>-0.64526372149644906</c:v>
                </c:pt>
                <c:pt idx="179">
                  <c:v>-0.46431806863655867</c:v>
                </c:pt>
                <c:pt idx="180">
                  <c:v>-0.59718031109370495</c:v>
                </c:pt>
                <c:pt idx="181">
                  <c:v>-0.74546759819731778</c:v>
                </c:pt>
                <c:pt idx="182">
                  <c:v>-0.36672583432399308</c:v>
                </c:pt>
                <c:pt idx="183">
                  <c:v>-0.62718478668938726</c:v>
                </c:pt>
                <c:pt idx="184">
                  <c:v>-0.28628948681904887</c:v>
                </c:pt>
                <c:pt idx="185">
                  <c:v>-0.42702842548509873</c:v>
                </c:pt>
                <c:pt idx="186">
                  <c:v>-0.38209408982611803</c:v>
                </c:pt>
                <c:pt idx="187">
                  <c:v>-0.23834317223262358</c:v>
                </c:pt>
                <c:pt idx="188">
                  <c:v>-0.37199082830355629</c:v>
                </c:pt>
                <c:pt idx="189">
                  <c:v>-5.6488474176007331E-2</c:v>
                </c:pt>
                <c:pt idx="190">
                  <c:v>4.9823317354999501E-2</c:v>
                </c:pt>
                <c:pt idx="191">
                  <c:v>2.7492138282638991E-2</c:v>
                </c:pt>
                <c:pt idx="192">
                  <c:v>0.43031261903886919</c:v>
                </c:pt>
                <c:pt idx="193">
                  <c:v>-0.16905538948876453</c:v>
                </c:pt>
                <c:pt idx="194">
                  <c:v>-0.58586317413071232</c:v>
                </c:pt>
                <c:pt idx="195">
                  <c:v>-0.58905527458025175</c:v>
                </c:pt>
                <c:pt idx="196">
                  <c:v>-0.41731419054563984</c:v>
                </c:pt>
                <c:pt idx="197">
                  <c:v>-0.78072635622689712</c:v>
                </c:pt>
                <c:pt idx="198">
                  <c:v>-0.63421335587747607</c:v>
                </c:pt>
                <c:pt idx="199">
                  <c:v>-0.55375271291141204</c:v>
                </c:pt>
                <c:pt idx="200">
                  <c:v>-0.33997994257022485</c:v>
                </c:pt>
                <c:pt idx="201">
                  <c:v>1.4221849705141598E-2</c:v>
                </c:pt>
                <c:pt idx="202">
                  <c:v>-0.40765177794443158</c:v>
                </c:pt>
                <c:pt idx="203">
                  <c:v>-0.572798619039249</c:v>
                </c:pt>
                <c:pt idx="204">
                  <c:v>-0.25397927621743871</c:v>
                </c:pt>
                <c:pt idx="205">
                  <c:v>1.4711050184585682E-2</c:v>
                </c:pt>
                <c:pt idx="206">
                  <c:v>-0.39851853963554429</c:v>
                </c:pt>
                <c:pt idx="207">
                  <c:v>-0.87494684729612615</c:v>
                </c:pt>
                <c:pt idx="208">
                  <c:v>-0.82885416867927408</c:v>
                </c:pt>
                <c:pt idx="209">
                  <c:v>-0.9318955278429929</c:v>
                </c:pt>
                <c:pt idx="210">
                  <c:v>-0.68814191911583356</c:v>
                </c:pt>
                <c:pt idx="211">
                  <c:v>-0.50095825701084351</c:v>
                </c:pt>
                <c:pt idx="212">
                  <c:v>-0.8188326500135833</c:v>
                </c:pt>
                <c:pt idx="213">
                  <c:v>-0.65625765701730387</c:v>
                </c:pt>
                <c:pt idx="214">
                  <c:v>-0.59855701399646832</c:v>
                </c:pt>
                <c:pt idx="215">
                  <c:v>-0.67147960118337491</c:v>
                </c:pt>
                <c:pt idx="216">
                  <c:v>-0.77853707187943999</c:v>
                </c:pt>
                <c:pt idx="217">
                  <c:v>-0.54085026718983431</c:v>
                </c:pt>
                <c:pt idx="218">
                  <c:v>-0.7470713978364103</c:v>
                </c:pt>
                <c:pt idx="219">
                  <c:v>-0.51468273906099915</c:v>
                </c:pt>
                <c:pt idx="220">
                  <c:v>-0.4687101015648521</c:v>
                </c:pt>
                <c:pt idx="221">
                  <c:v>-0.67544939575289675</c:v>
                </c:pt>
                <c:pt idx="222">
                  <c:v>-0.62854030586496745</c:v>
                </c:pt>
                <c:pt idx="223">
                  <c:v>-0.53826770754563014</c:v>
                </c:pt>
                <c:pt idx="224">
                  <c:v>-0.64613823841468709</c:v>
                </c:pt>
                <c:pt idx="225">
                  <c:v>-0.57470790717345599</c:v>
                </c:pt>
                <c:pt idx="226">
                  <c:v>-0.72136626140233528</c:v>
                </c:pt>
                <c:pt idx="227">
                  <c:v>-0.2638807537624242</c:v>
                </c:pt>
                <c:pt idx="228">
                  <c:v>-0.60433759835289891</c:v>
                </c:pt>
                <c:pt idx="229">
                  <c:v>0.11011848822748735</c:v>
                </c:pt>
                <c:pt idx="230">
                  <c:v>-0.69202859448462783</c:v>
                </c:pt>
                <c:pt idx="231">
                  <c:v>-0.62116681293822229</c:v>
                </c:pt>
                <c:pt idx="232">
                  <c:v>-0.53329395989431827</c:v>
                </c:pt>
                <c:pt idx="233">
                  <c:v>-0.70470867091181855</c:v>
                </c:pt>
                <c:pt idx="234">
                  <c:v>-0.8949804895846607</c:v>
                </c:pt>
                <c:pt idx="235">
                  <c:v>-0.85867421419817991</c:v>
                </c:pt>
                <c:pt idx="236">
                  <c:v>-0.78391797794813878</c:v>
                </c:pt>
                <c:pt idx="237">
                  <c:v>-0.81253749257791852</c:v>
                </c:pt>
                <c:pt idx="238">
                  <c:v>-0.77314790774760211</c:v>
                </c:pt>
                <c:pt idx="239">
                  <c:v>-0.69440033415463243</c:v>
                </c:pt>
                <c:pt idx="240">
                  <c:v>-0.40798497283978874</c:v>
                </c:pt>
                <c:pt idx="241">
                  <c:v>-0.71033965267514687</c:v>
                </c:pt>
                <c:pt idx="242">
                  <c:v>-0.73916041271316768</c:v>
                </c:pt>
                <c:pt idx="243">
                  <c:v>-0.76000968833929528</c:v>
                </c:pt>
                <c:pt idx="244">
                  <c:v>-0.47497952735450322</c:v>
                </c:pt>
                <c:pt idx="245">
                  <c:v>-0.34333810189810787</c:v>
                </c:pt>
                <c:pt idx="246">
                  <c:v>-0.47443706835191479</c:v>
                </c:pt>
                <c:pt idx="247">
                  <c:v>-0.39987986339173676</c:v>
                </c:pt>
                <c:pt idx="248">
                  <c:v>-0.59982636207842155</c:v>
                </c:pt>
                <c:pt idx="249">
                  <c:v>-0.74612501183244595</c:v>
                </c:pt>
                <c:pt idx="250">
                  <c:v>-0.73359591434221394</c:v>
                </c:pt>
                <c:pt idx="251">
                  <c:v>-0.46601031332869314</c:v>
                </c:pt>
                <c:pt idx="252">
                  <c:v>-0.58067226335525324</c:v>
                </c:pt>
                <c:pt idx="253">
                  <c:v>-0.56673133627339745</c:v>
                </c:pt>
                <c:pt idx="254">
                  <c:v>-0.74365776586700505</c:v>
                </c:pt>
                <c:pt idx="255">
                  <c:v>-0.74696422253871186</c:v>
                </c:pt>
                <c:pt idx="256">
                  <c:v>-0.6313014910053355</c:v>
                </c:pt>
                <c:pt idx="257">
                  <c:v>-0.38132387583579086</c:v>
                </c:pt>
                <c:pt idx="258">
                  <c:v>-0.16962944455901621</c:v>
                </c:pt>
                <c:pt idx="259">
                  <c:v>0.27467344162295521</c:v>
                </c:pt>
                <c:pt idx="260">
                  <c:v>0.27973934447161808</c:v>
                </c:pt>
                <c:pt idx="261">
                  <c:v>-0.59861488027948029</c:v>
                </c:pt>
                <c:pt idx="262">
                  <c:v>-0.33463733476536039</c:v>
                </c:pt>
                <c:pt idx="263">
                  <c:v>-0.48426781379088163</c:v>
                </c:pt>
                <c:pt idx="264">
                  <c:v>-0.52550008368095602</c:v>
                </c:pt>
                <c:pt idx="265">
                  <c:v>-0.41064442821684727</c:v>
                </c:pt>
                <c:pt idx="266">
                  <c:v>-0.46038752978746678</c:v>
                </c:pt>
                <c:pt idx="267">
                  <c:v>-0.35804230140997095</c:v>
                </c:pt>
                <c:pt idx="268">
                  <c:v>-0.3813496673228417</c:v>
                </c:pt>
                <c:pt idx="269">
                  <c:v>-0.62065894205515904</c:v>
                </c:pt>
                <c:pt idx="270">
                  <c:v>-0.46197104331493466</c:v>
                </c:pt>
                <c:pt idx="271">
                  <c:v>-0.6646707682840346</c:v>
                </c:pt>
                <c:pt idx="272">
                  <c:v>-0.58454565401378</c:v>
                </c:pt>
                <c:pt idx="273">
                  <c:v>-0.53068836145077647</c:v>
                </c:pt>
                <c:pt idx="274">
                  <c:v>-0.45504731562409184</c:v>
                </c:pt>
                <c:pt idx="275">
                  <c:v>-3.8362923200934922E-2</c:v>
                </c:pt>
                <c:pt idx="276">
                  <c:v>0.55389591026144658</c:v>
                </c:pt>
                <c:pt idx="277">
                  <c:v>0.38383683810160102</c:v>
                </c:pt>
                <c:pt idx="278">
                  <c:v>-0.57380029816162381</c:v>
                </c:pt>
                <c:pt idx="279">
                  <c:v>-0.46367878683571451</c:v>
                </c:pt>
                <c:pt idx="280">
                  <c:v>-0.68441789168625999</c:v>
                </c:pt>
                <c:pt idx="281">
                  <c:v>-0.65935796131571589</c:v>
                </c:pt>
                <c:pt idx="282">
                  <c:v>-0.55101492561660514</c:v>
                </c:pt>
                <c:pt idx="283">
                  <c:v>-1.9939363860402966E-2</c:v>
                </c:pt>
                <c:pt idx="284">
                  <c:v>-0.29797422727381223</c:v>
                </c:pt>
                <c:pt idx="285">
                  <c:v>-0.44779691571095126</c:v>
                </c:pt>
                <c:pt idx="286">
                  <c:v>-0.55217733776500899</c:v>
                </c:pt>
                <c:pt idx="287">
                  <c:v>-0.55670927903837153</c:v>
                </c:pt>
                <c:pt idx="288">
                  <c:v>-0.59852045112271424</c:v>
                </c:pt>
                <c:pt idx="289">
                  <c:v>-0.69291831102632506</c:v>
                </c:pt>
                <c:pt idx="290">
                  <c:v>-0.64687901061469177</c:v>
                </c:pt>
                <c:pt idx="291">
                  <c:v>-0.65182882185110724</c:v>
                </c:pt>
                <c:pt idx="292">
                  <c:v>-0.75323334912317674</c:v>
                </c:pt>
                <c:pt idx="293">
                  <c:v>-0.29247525483863734</c:v>
                </c:pt>
                <c:pt idx="294">
                  <c:v>-0.68646373706745067</c:v>
                </c:pt>
                <c:pt idx="295">
                  <c:v>-0.527025970289561</c:v>
                </c:pt>
                <c:pt idx="296">
                  <c:v>-0.51944452975840383</c:v>
                </c:pt>
                <c:pt idx="297">
                  <c:v>-0.66380768100390952</c:v>
                </c:pt>
                <c:pt idx="298">
                  <c:v>-0.79033981885964244</c:v>
                </c:pt>
                <c:pt idx="299">
                  <c:v>-0.26495484053986046</c:v>
                </c:pt>
                <c:pt idx="300">
                  <c:v>-0.47887547808406988</c:v>
                </c:pt>
                <c:pt idx="301">
                  <c:v>-0.46448017800644414</c:v>
                </c:pt>
                <c:pt idx="302">
                  <c:v>-0.39485375483283913</c:v>
                </c:pt>
                <c:pt idx="303">
                  <c:v>-0.49032791563226419</c:v>
                </c:pt>
                <c:pt idx="304">
                  <c:v>-0.31225511128823341</c:v>
                </c:pt>
                <c:pt idx="305">
                  <c:v>-0.57639518505949949</c:v>
                </c:pt>
                <c:pt idx="306">
                  <c:v>-0.53158753287635774</c:v>
                </c:pt>
                <c:pt idx="307">
                  <c:v>-0.70930530034643846</c:v>
                </c:pt>
                <c:pt idx="308">
                  <c:v>-0.47457841288187769</c:v>
                </c:pt>
                <c:pt idx="309">
                  <c:v>-0.43625441740170939</c:v>
                </c:pt>
                <c:pt idx="310">
                  <c:v>-0.33962640172220587</c:v>
                </c:pt>
                <c:pt idx="311">
                  <c:v>-0.34170689506395913</c:v>
                </c:pt>
                <c:pt idx="312">
                  <c:v>-0.63703815204043124</c:v>
                </c:pt>
                <c:pt idx="313">
                  <c:v>-0.17177540399551094</c:v>
                </c:pt>
                <c:pt idx="314">
                  <c:v>-0.57614403222619959</c:v>
                </c:pt>
                <c:pt idx="315">
                  <c:v>-0.48129239773719124</c:v>
                </c:pt>
                <c:pt idx="316">
                  <c:v>-0.66153832934862411</c:v>
                </c:pt>
                <c:pt idx="317">
                  <c:v>-0.48201551683120991</c:v>
                </c:pt>
                <c:pt idx="318">
                  <c:v>-0.85022442037562063</c:v>
                </c:pt>
                <c:pt idx="319">
                  <c:v>-0.62451114898650262</c:v>
                </c:pt>
                <c:pt idx="320">
                  <c:v>-0.90776415084731554</c:v>
                </c:pt>
                <c:pt idx="321">
                  <c:v>-0.80729039106849032</c:v>
                </c:pt>
                <c:pt idx="322">
                  <c:v>-0.57016351896434736</c:v>
                </c:pt>
                <c:pt idx="323">
                  <c:v>-0.69101081812323517</c:v>
                </c:pt>
                <c:pt idx="324">
                  <c:v>-0.66622944778104742</c:v>
                </c:pt>
                <c:pt idx="325">
                  <c:v>-0.71902174940427532</c:v>
                </c:pt>
                <c:pt idx="326">
                  <c:v>-0.39476495073357365</c:v>
                </c:pt>
                <c:pt idx="327">
                  <c:v>-0.68766396875139069</c:v>
                </c:pt>
                <c:pt idx="328">
                  <c:v>-0.49967574390069724</c:v>
                </c:pt>
                <c:pt idx="329">
                  <c:v>-0.64301794720983652</c:v>
                </c:pt>
                <c:pt idx="330">
                  <c:v>-0.49425366719837677</c:v>
                </c:pt>
                <c:pt idx="331">
                  <c:v>-0.82049156324797468</c:v>
                </c:pt>
                <c:pt idx="332">
                  <c:v>-0.76516714797493657</c:v>
                </c:pt>
                <c:pt idx="333">
                  <c:v>-0.58333207777853524</c:v>
                </c:pt>
                <c:pt idx="334">
                  <c:v>-0.62047211833689309</c:v>
                </c:pt>
                <c:pt idx="335">
                  <c:v>-0.50260484299156316</c:v>
                </c:pt>
                <c:pt idx="336">
                  <c:v>-0.62326083035439195</c:v>
                </c:pt>
                <c:pt idx="337">
                  <c:v>-0.61649909235136013</c:v>
                </c:pt>
                <c:pt idx="338">
                  <c:v>-0.78420084653117639</c:v>
                </c:pt>
                <c:pt idx="339">
                  <c:v>-0.5021092395211344</c:v>
                </c:pt>
                <c:pt idx="340">
                  <c:v>-0.47807360818504224</c:v>
                </c:pt>
                <c:pt idx="341">
                  <c:v>-0.33788682276961385</c:v>
                </c:pt>
                <c:pt idx="342">
                  <c:v>-0.68747301600155508</c:v>
                </c:pt>
                <c:pt idx="343">
                  <c:v>-0.2858209314974528</c:v>
                </c:pt>
                <c:pt idx="344">
                  <c:v>-0.36595974936523551</c:v>
                </c:pt>
                <c:pt idx="345">
                  <c:v>-0.64149086378048681</c:v>
                </c:pt>
                <c:pt idx="346">
                  <c:v>-0.75041274183282847</c:v>
                </c:pt>
                <c:pt idx="347">
                  <c:v>-0.65354350693220709</c:v>
                </c:pt>
                <c:pt idx="348">
                  <c:v>-0.64847156013878293</c:v>
                </c:pt>
                <c:pt idx="349">
                  <c:v>-0.58585413813408882</c:v>
                </c:pt>
                <c:pt idx="350">
                  <c:v>-0.61522555539680013</c:v>
                </c:pt>
                <c:pt idx="351">
                  <c:v>-0.75205376259708479</c:v>
                </c:pt>
                <c:pt idx="352">
                  <c:v>-0.62405994756570649</c:v>
                </c:pt>
                <c:pt idx="353">
                  <c:v>-0.7568949025098709</c:v>
                </c:pt>
                <c:pt idx="354">
                  <c:v>-0.63434051808161296</c:v>
                </c:pt>
                <c:pt idx="355">
                  <c:v>-0.51104590002268535</c:v>
                </c:pt>
                <c:pt idx="356">
                  <c:v>-0.30520888899415854</c:v>
                </c:pt>
                <c:pt idx="357">
                  <c:v>-0.46140740058516294</c:v>
                </c:pt>
                <c:pt idx="358">
                  <c:v>-0.42328686463161352</c:v>
                </c:pt>
                <c:pt idx="359">
                  <c:v>-0.41614555492936295</c:v>
                </c:pt>
                <c:pt idx="360">
                  <c:v>-0.65932038114432856</c:v>
                </c:pt>
                <c:pt idx="361">
                  <c:v>-0.82269293548495426</c:v>
                </c:pt>
                <c:pt idx="362">
                  <c:v>-0.6948009698989599</c:v>
                </c:pt>
                <c:pt idx="363">
                  <c:v>-0.53147215935655734</c:v>
                </c:pt>
                <c:pt idx="364">
                  <c:v>-0.61622089136922742</c:v>
                </c:pt>
                <c:pt idx="365">
                  <c:v>-0.74823129666124988</c:v>
                </c:pt>
                <c:pt idx="366">
                  <c:v>-0.65855399698038486</c:v>
                </c:pt>
                <c:pt idx="367">
                  <c:v>-0.47544856140439712</c:v>
                </c:pt>
                <c:pt idx="368">
                  <c:v>-0.82567104438532057</c:v>
                </c:pt>
                <c:pt idx="369">
                  <c:v>-0.53923300331736257</c:v>
                </c:pt>
                <c:pt idx="370">
                  <c:v>-0.86691049519986396</c:v>
                </c:pt>
                <c:pt idx="371">
                  <c:v>-0.54093206988774256</c:v>
                </c:pt>
              </c:numCache>
            </c:numRef>
          </c:val>
          <c:smooth val="0"/>
          <c:extLst>
            <c:ext xmlns:c16="http://schemas.microsoft.com/office/drawing/2014/chart" uri="{C3380CC4-5D6E-409C-BE32-E72D297353CC}">
              <c16:uniqueId val="{00000001-F026-4481-A577-143BA1D5E5ED}"/>
            </c:ext>
          </c:extLst>
        </c:ser>
        <c:dLbls>
          <c:showLegendKey val="0"/>
          <c:showVal val="0"/>
          <c:showCatName val="0"/>
          <c:showSerName val="0"/>
          <c:showPercent val="0"/>
          <c:showBubbleSize val="0"/>
        </c:dLbls>
        <c:smooth val="0"/>
        <c:axId val="1088863503"/>
        <c:axId val="1608374575"/>
      </c:lineChart>
      <c:dateAx>
        <c:axId val="1088863503"/>
        <c:scaling>
          <c:orientation val="minMax"/>
        </c:scaling>
        <c:delete val="0"/>
        <c:axPos val="b"/>
        <c:numFmt formatCode="yy" sourceLinked="0"/>
        <c:majorTickMark val="none"/>
        <c:minorTickMark val="none"/>
        <c:tickLblPos val="low"/>
        <c:spPr>
          <a:noFill/>
          <a:ln w="25400" cap="flat" cmpd="sng" algn="ctr">
            <a:solidFill>
              <a:srgbClr val="72706F"/>
            </a:solidFill>
            <a:prstDash val="solid"/>
            <a:round/>
          </a:ln>
          <a:effectLst/>
        </c:spPr>
        <c:txPr>
          <a:bodyPr rot="0" spcFirstLastPara="1" vertOverflow="ellipsis" wrap="square" anchor="ctr" anchorCtr="1"/>
          <a:lstStyle/>
          <a:p>
            <a:pPr>
              <a:defRPr sz="1100" b="0" i="0" u="none" strike="noStrike" kern="1200" baseline="0">
                <a:solidFill>
                  <a:srgbClr val="000000"/>
                </a:solidFill>
                <a:latin typeface="Arial"/>
                <a:ea typeface="Arial"/>
                <a:cs typeface="Arial"/>
              </a:defRPr>
            </a:pPr>
            <a:endParaRPr lang="en-US"/>
          </a:p>
        </c:txPr>
        <c:crossAx val="1608374575"/>
        <c:crosses val="autoZero"/>
        <c:auto val="1"/>
        <c:lblOffset val="100"/>
        <c:baseTimeUnit val="months"/>
        <c:majorUnit val="4"/>
        <c:majorTimeUnit val="years"/>
      </c:dateAx>
      <c:valAx>
        <c:axId val="1608374575"/>
        <c:scaling>
          <c:orientation val="minMax"/>
        </c:scaling>
        <c:delete val="0"/>
        <c:axPos val="l"/>
        <c:numFmt formatCode="0" sourceLinked="0"/>
        <c:majorTickMark val="none"/>
        <c:minorTickMark val="none"/>
        <c:tickLblPos val="nextTo"/>
        <c:spPr>
          <a:noFill/>
          <a:ln w="25400">
            <a:noFill/>
          </a:ln>
          <a:effectLst/>
        </c:spPr>
        <c:txPr>
          <a:bodyPr rot="-60000000" spcFirstLastPara="1" vertOverflow="ellipsis" vert="horz" wrap="square" anchor="ctr" anchorCtr="1"/>
          <a:lstStyle/>
          <a:p>
            <a:pPr>
              <a:defRPr sz="1100" b="0" i="0" u="none" strike="noStrike" kern="1200" baseline="0">
                <a:solidFill>
                  <a:srgbClr val="000000"/>
                </a:solidFill>
                <a:latin typeface="Arial"/>
                <a:ea typeface="Arial"/>
                <a:cs typeface="Arial"/>
              </a:defRPr>
            </a:pPr>
            <a:endParaRPr lang="en-US"/>
          </a:p>
        </c:txPr>
        <c:crossAx val="1088863503"/>
        <c:crosses val="autoZero"/>
        <c:crossBetween val="between"/>
      </c:valAx>
      <c:spPr>
        <a:noFill/>
        <a:ln w="25400">
          <a:noFill/>
        </a:ln>
        <a:effectLst/>
      </c:spPr>
    </c:plotArea>
    <c:legend>
      <c:legendPos val="b"/>
      <c:layout>
        <c:manualLayout>
          <c:xMode val="edge"/>
          <c:yMode val="edge"/>
          <c:x val="7.9377846377319594E-2"/>
          <c:y val="0.86595261589066086"/>
          <c:w val="0.91927564069216627"/>
          <c:h val="5.5717355426985027E-2"/>
        </c:manualLayout>
      </c:layout>
      <c:overlay val="0"/>
      <c:spPr>
        <a:noFill/>
        <a:ln w="25400">
          <a:noFill/>
        </a:ln>
        <a:effectLst/>
        <a:extLst>
          <a:ext uri="{909E8E84-426E-40DD-AFC4-6F175D3DCCD1}">
            <a14:hiddenFill xmlns:a14="http://schemas.microsoft.com/office/drawing/2010/main">
              <a:noFill/>
            </a14:hiddenFill>
          </a:ext>
        </a:extLst>
      </c:spPr>
      <c:txPr>
        <a:bodyPr rot="0" spcFirstLastPara="1" vertOverflow="ellipsis" vert="horz" wrap="square" anchor="ctr" anchorCtr="1"/>
        <a:lstStyle/>
        <a:p>
          <a:pPr>
            <a:defRPr sz="1100" b="0" i="0" u="none" strike="noStrike" kern="1200" baseline="0">
              <a:solidFill>
                <a:srgbClr val="000000"/>
              </a:solidFill>
              <a:latin typeface="Arial"/>
              <a:ea typeface="Arial"/>
              <a:cs typeface="Arial"/>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a:extLst>
      <a:ext uri="{909E8E84-426E-40DD-AFC4-6F175D3DCCD1}">
        <a14:hiddenFill xmlns:a14="http://schemas.microsoft.com/office/drawing/2010/main">
          <a:solidFill>
            <a:sysClr val="window" lastClr="FFFFFF"/>
          </a:solidFill>
        </a14:hiddenFill>
      </a:ext>
    </a:extLst>
  </c:spPr>
  <c:txPr>
    <a:bodyPr/>
    <a:lstStyle/>
    <a:p>
      <a:pPr>
        <a:defRPr sz="1100">
          <a:latin typeface="Arial"/>
          <a:ea typeface="Arial"/>
          <a:cs typeface="Arial"/>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latin typeface="Deutsche Bank Display" panose="020F0403020203030304" pitchFamily="34" charset="0"/>
                <a:ea typeface="Deutsche Bank Display" panose="020F0403020203030304" pitchFamily="34" charset="0"/>
                <a:cs typeface="Deutsche Bank Display" panose="020F0403020203030304" pitchFamily="34" charset="0"/>
              </a:rPr>
              <a:t>Weltweites BIP in 10-Jahres-Zeiträumen (2010 USD, logarithmisches Diagram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5876823417329081E-2"/>
          <c:y val="6.6679992839841357E-2"/>
          <c:w val="0.96047010270974742"/>
          <c:h val="0.89273599062850661"/>
        </c:manualLayout>
      </c:layout>
      <c:lineChart>
        <c:grouping val="standard"/>
        <c:varyColors val="0"/>
        <c:ser>
          <c:idx val="0"/>
          <c:order val="0"/>
          <c:tx>
            <c:strRef>
              <c:f>'log and nominal scale Globa DE'!$H$8</c:f>
              <c:strCache>
                <c:ptCount val="1"/>
                <c:pt idx="0">
                  <c:v>ln</c:v>
                </c:pt>
              </c:strCache>
            </c:strRef>
          </c:tx>
          <c:spPr>
            <a:ln w="28575" cap="rnd">
              <a:solidFill>
                <a:schemeClr val="accent1"/>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H$9:$H$304</c:f>
              <c:numCache>
                <c:formatCode>General</c:formatCode>
                <c:ptCount val="296"/>
                <c:pt idx="0">
                  <c:v>30.034821674976754</c:v>
                </c:pt>
                <c:pt idx="1">
                  <c:v>30.073751266785738</c:v>
                </c:pt>
                <c:pt idx="2">
                  <c:v>30.125574959801018</c:v>
                </c:pt>
                <c:pt idx="3">
                  <c:v>30.174543813433733</c:v>
                </c:pt>
                <c:pt idx="4">
                  <c:v>30.238299570728</c:v>
                </c:pt>
                <c:pt idx="5">
                  <c:v>30.292747680268107</c:v>
                </c:pt>
                <c:pt idx="6">
                  <c:v>30.345704114107988</c:v>
                </c:pt>
                <c:pt idx="7">
                  <c:v>30.382378638885591</c:v>
                </c:pt>
                <c:pt idx="8">
                  <c:v>30.439946165613716</c:v>
                </c:pt>
                <c:pt idx="9">
                  <c:v>30.498016298495465</c:v>
                </c:pt>
                <c:pt idx="10">
                  <c:v>30.534692464763104</c:v>
                </c:pt>
                <c:pt idx="11">
                  <c:v>30.57686227736049</c:v>
                </c:pt>
                <c:pt idx="12">
                  <c:v>30.631704855770955</c:v>
                </c:pt>
                <c:pt idx="13">
                  <c:v>30.693816933248122</c:v>
                </c:pt>
                <c:pt idx="14">
                  <c:v>30.712779000562069</c:v>
                </c:pt>
                <c:pt idx="15">
                  <c:v>30.718031901525706</c:v>
                </c:pt>
                <c:pt idx="16">
                  <c:v>30.768860575113017</c:v>
                </c:pt>
                <c:pt idx="17">
                  <c:v>30.808258492335256</c:v>
                </c:pt>
                <c:pt idx="18">
                  <c:v>30.848336665529519</c:v>
                </c:pt>
                <c:pt idx="19">
                  <c:v>30.889309414805052</c:v>
                </c:pt>
                <c:pt idx="20">
                  <c:v>30.907950183048669</c:v>
                </c:pt>
                <c:pt idx="21">
                  <c:v>30.927031138543384</c:v>
                </c:pt>
                <c:pt idx="22">
                  <c:v>30.929992125457666</c:v>
                </c:pt>
                <c:pt idx="23">
                  <c:v>30.955525349464704</c:v>
                </c:pt>
                <c:pt idx="24">
                  <c:v>31.001208986882919</c:v>
                </c:pt>
                <c:pt idx="25">
                  <c:v>31.037567958465949</c:v>
                </c:pt>
                <c:pt idx="26">
                  <c:v>31.070532193524109</c:v>
                </c:pt>
                <c:pt idx="27">
                  <c:v>31.107101572969167</c:v>
                </c:pt>
                <c:pt idx="28">
                  <c:v>31.151995836426657</c:v>
                </c:pt>
                <c:pt idx="29">
                  <c:v>31.188493462264031</c:v>
                </c:pt>
                <c:pt idx="30">
                  <c:v>31.215763639074478</c:v>
                </c:pt>
                <c:pt idx="31">
                  <c:v>31.228243702026997</c:v>
                </c:pt>
                <c:pt idx="32">
                  <c:v>31.248235101737858</c:v>
                </c:pt>
                <c:pt idx="33">
                  <c:v>31.266202477436202</c:v>
                </c:pt>
                <c:pt idx="34">
                  <c:v>31.298901416541586</c:v>
                </c:pt>
                <c:pt idx="35">
                  <c:v>31.329281382314168</c:v>
                </c:pt>
                <c:pt idx="36">
                  <c:v>31.364404156784826</c:v>
                </c:pt>
                <c:pt idx="37">
                  <c:v>31.402948813202407</c:v>
                </c:pt>
                <c:pt idx="38">
                  <c:v>31.431088408304674</c:v>
                </c:pt>
                <c:pt idx="39">
                  <c:v>31.465970080583869</c:v>
                </c:pt>
                <c:pt idx="40">
                  <c:v>31.510284479531879</c:v>
                </c:pt>
                <c:pt idx="41">
                  <c:v>31.530336123556598</c:v>
                </c:pt>
                <c:pt idx="42">
                  <c:v>31.553103342193058</c:v>
                </c:pt>
                <c:pt idx="43">
                  <c:v>31.583674017497582</c:v>
                </c:pt>
                <c:pt idx="44">
                  <c:v>31.627396685998196</c:v>
                </c:pt>
                <c:pt idx="45">
                  <c:v>31.666673800544352</c:v>
                </c:pt>
                <c:pt idx="46">
                  <c:v>31.710143097746869</c:v>
                </c:pt>
                <c:pt idx="47">
                  <c:v>31.752946584039023</c:v>
                </c:pt>
                <c:pt idx="48">
                  <c:v>31.773361728932755</c:v>
                </c:pt>
                <c:pt idx="49">
                  <c:v>31.759711161525153</c:v>
                </c:pt>
                <c:pt idx="50">
                  <c:v>31.804010743562088</c:v>
                </c:pt>
                <c:pt idx="51">
                  <c:v>31.836740558422921</c:v>
                </c:pt>
                <c:pt idx="52">
                  <c:v>31.863471240624122</c:v>
                </c:pt>
                <c:pt idx="53">
                  <c:v>31.89174982706745</c:v>
                </c:pt>
                <c:pt idx="54">
                  <c:v>31.922510527230354</c:v>
                </c:pt>
                <c:pt idx="55">
                  <c:v>31.953293197596111</c:v>
                </c:pt>
                <c:pt idx="56">
                  <c:v>31.981108318227211</c:v>
                </c:pt>
                <c:pt idx="57">
                  <c:v>32.01512550802282</c:v>
                </c:pt>
                <c:pt idx="58">
                  <c:v>32.047463096233592</c:v>
                </c:pt>
                <c:pt idx="59">
                  <c:v>32.073542224583107</c:v>
                </c:pt>
                <c:pt idx="60">
                  <c:v>32.043783355885793</c:v>
                </c:pt>
                <c:pt idx="61">
                  <c:v>32.104500691375684</c:v>
                </c:pt>
                <c:pt idx="62">
                  <c:v>32.134929090790969</c:v>
                </c:pt>
                <c:pt idx="63">
                  <c:v>32.161759254910471</c:v>
                </c:pt>
              </c:numCache>
            </c:numRef>
          </c:val>
          <c:smooth val="0"/>
          <c:extLst>
            <c:ext xmlns:c16="http://schemas.microsoft.com/office/drawing/2014/chart" uri="{C3380CC4-5D6E-409C-BE32-E72D297353CC}">
              <c16:uniqueId val="{00000000-8EB8-4DC5-9978-B6ADE386155D}"/>
            </c:ext>
          </c:extLst>
        </c:ser>
        <c:ser>
          <c:idx val="1"/>
          <c:order val="1"/>
          <c:tx>
            <c:strRef>
              <c:f>'log and nominal scale Globa DE'!$I$8</c:f>
              <c:strCache>
                <c:ptCount val="1"/>
                <c:pt idx="0">
                  <c:v>1960</c:v>
                </c:pt>
              </c:strCache>
            </c:strRef>
          </c:tx>
          <c:spPr>
            <a:ln w="28575" cap="rnd">
              <a:solidFill>
                <a:schemeClr val="accent2">
                  <a:lumMod val="60000"/>
                  <a:lumOff val="40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I$9:$I$304</c:f>
              <c:numCache>
                <c:formatCode>General</c:formatCode>
                <c:ptCount val="296"/>
                <c:pt idx="0">
                  <c:v>30.034821674976754</c:v>
                </c:pt>
                <c:pt idx="1">
                  <c:v>30.034821674976754</c:v>
                </c:pt>
                <c:pt idx="2">
                  <c:v>30.034821674976754</c:v>
                </c:pt>
                <c:pt idx="3">
                  <c:v>30.034821674976754</c:v>
                </c:pt>
                <c:pt idx="4">
                  <c:v>30.034821674976754</c:v>
                </c:pt>
              </c:numCache>
            </c:numRef>
          </c:val>
          <c:smooth val="0"/>
          <c:extLst>
            <c:ext xmlns:c16="http://schemas.microsoft.com/office/drawing/2014/chart" uri="{C3380CC4-5D6E-409C-BE32-E72D297353CC}">
              <c16:uniqueId val="{00000001-8EB8-4DC5-9978-B6ADE386155D}"/>
            </c:ext>
          </c:extLst>
        </c:ser>
        <c:ser>
          <c:idx val="2"/>
          <c:order val="2"/>
          <c:tx>
            <c:strRef>
              <c:f>'log and nominal scale Globa DE'!$J$8</c:f>
              <c:strCache>
                <c:ptCount val="1"/>
                <c:pt idx="0">
                  <c:v>1963</c:v>
                </c:pt>
              </c:strCache>
            </c:strRef>
          </c:tx>
          <c:spPr>
            <a:ln w="28575" cap="rnd">
              <a:solidFill>
                <a:schemeClr val="accent2">
                  <a:lumMod val="60000"/>
                  <a:lumOff val="40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J$9:$J$304</c:f>
              <c:numCache>
                <c:formatCode>General</c:formatCode>
                <c:ptCount val="296"/>
                <c:pt idx="0">
                  <c:v>30.174543813433733</c:v>
                </c:pt>
                <c:pt idx="1">
                  <c:v>30.174543813433733</c:v>
                </c:pt>
                <c:pt idx="2">
                  <c:v>30.174543813433733</c:v>
                </c:pt>
                <c:pt idx="3">
                  <c:v>30.174543813433733</c:v>
                </c:pt>
                <c:pt idx="4">
                  <c:v>30.174543813433733</c:v>
                </c:pt>
              </c:numCache>
            </c:numRef>
          </c:val>
          <c:smooth val="0"/>
          <c:extLst>
            <c:ext xmlns:c16="http://schemas.microsoft.com/office/drawing/2014/chart" uri="{C3380CC4-5D6E-409C-BE32-E72D297353CC}">
              <c16:uniqueId val="{00000002-8EB8-4DC5-9978-B6ADE386155D}"/>
            </c:ext>
          </c:extLst>
        </c:ser>
        <c:ser>
          <c:idx val="3"/>
          <c:order val="3"/>
          <c:tx>
            <c:strRef>
              <c:f>'log and nominal scale Globa DE'!$K$8</c:f>
              <c:strCache>
                <c:ptCount val="1"/>
                <c:pt idx="0">
                  <c:v>1963</c:v>
                </c:pt>
              </c:strCache>
            </c:strRef>
          </c:tx>
          <c:spPr>
            <a:ln w="28575" cap="rnd">
              <a:solidFill>
                <a:schemeClr val="accent5">
                  <a:lumMod val="60000"/>
                  <a:lumOff val="40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K$9:$K$304</c:f>
              <c:numCache>
                <c:formatCode>General</c:formatCode>
                <c:ptCount val="296"/>
                <c:pt idx="4">
                  <c:v>30.174543813433733</c:v>
                </c:pt>
                <c:pt idx="5">
                  <c:v>30.174543813433733</c:v>
                </c:pt>
                <c:pt idx="6">
                  <c:v>30.174543813433733</c:v>
                </c:pt>
                <c:pt idx="7">
                  <c:v>30.174543813433733</c:v>
                </c:pt>
                <c:pt idx="8">
                  <c:v>30.174543813433733</c:v>
                </c:pt>
                <c:pt idx="9">
                  <c:v>30.174543813433733</c:v>
                </c:pt>
                <c:pt idx="10">
                  <c:v>30.174543813433733</c:v>
                </c:pt>
                <c:pt idx="11">
                  <c:v>30.174543813433733</c:v>
                </c:pt>
                <c:pt idx="12">
                  <c:v>30.174543813433733</c:v>
                </c:pt>
                <c:pt idx="13">
                  <c:v>30.174543813433733</c:v>
                </c:pt>
              </c:numCache>
            </c:numRef>
          </c:val>
          <c:smooth val="0"/>
          <c:extLst>
            <c:ext xmlns:c16="http://schemas.microsoft.com/office/drawing/2014/chart" uri="{C3380CC4-5D6E-409C-BE32-E72D297353CC}">
              <c16:uniqueId val="{00000003-8EB8-4DC5-9978-B6ADE386155D}"/>
            </c:ext>
          </c:extLst>
        </c:ser>
        <c:ser>
          <c:idx val="4"/>
          <c:order val="4"/>
          <c:tx>
            <c:strRef>
              <c:f>'log and nominal scale Globa DE'!$L$8</c:f>
              <c:strCache>
                <c:ptCount val="1"/>
                <c:pt idx="0">
                  <c:v>1973</c:v>
                </c:pt>
              </c:strCache>
            </c:strRef>
          </c:tx>
          <c:spPr>
            <a:ln w="28575" cap="rnd">
              <a:solidFill>
                <a:schemeClr val="accent5">
                  <a:lumMod val="60000"/>
                  <a:lumOff val="40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L$9:$L$304</c:f>
              <c:numCache>
                <c:formatCode>General</c:formatCode>
                <c:ptCount val="296"/>
                <c:pt idx="5">
                  <c:v>30.693816933248122</c:v>
                </c:pt>
                <c:pt idx="6">
                  <c:v>30.693816933248122</c:v>
                </c:pt>
                <c:pt idx="7">
                  <c:v>30.693816933248122</c:v>
                </c:pt>
                <c:pt idx="8">
                  <c:v>30.693816933248122</c:v>
                </c:pt>
                <c:pt idx="9">
                  <c:v>30.693816933248122</c:v>
                </c:pt>
                <c:pt idx="10">
                  <c:v>30.693816933248122</c:v>
                </c:pt>
                <c:pt idx="11">
                  <c:v>30.693816933248122</c:v>
                </c:pt>
                <c:pt idx="12">
                  <c:v>30.693816933248122</c:v>
                </c:pt>
                <c:pt idx="13">
                  <c:v>30.693816933248122</c:v>
                </c:pt>
              </c:numCache>
            </c:numRef>
          </c:val>
          <c:smooth val="0"/>
          <c:extLst>
            <c:ext xmlns:c16="http://schemas.microsoft.com/office/drawing/2014/chart" uri="{C3380CC4-5D6E-409C-BE32-E72D297353CC}">
              <c16:uniqueId val="{00000004-8EB8-4DC5-9978-B6ADE386155D}"/>
            </c:ext>
          </c:extLst>
        </c:ser>
        <c:ser>
          <c:idx val="5"/>
          <c:order val="5"/>
          <c:tx>
            <c:strRef>
              <c:f>'log and nominal scale Globa DE'!$M$8</c:f>
              <c:strCache>
                <c:ptCount val="1"/>
                <c:pt idx="0">
                  <c:v>1973</c:v>
                </c:pt>
              </c:strCache>
            </c:strRef>
          </c:tx>
          <c:spPr>
            <a:ln w="28575" cap="rnd">
              <a:solidFill>
                <a:schemeClr val="accent5">
                  <a:lumMod val="75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M$9:$M$304</c:f>
              <c:numCache>
                <c:formatCode>General</c:formatCode>
                <c:ptCount val="296"/>
                <c:pt idx="13">
                  <c:v>30.693816933248122</c:v>
                </c:pt>
                <c:pt idx="14">
                  <c:v>30.693816933248122</c:v>
                </c:pt>
                <c:pt idx="15">
                  <c:v>30.693816933248122</c:v>
                </c:pt>
                <c:pt idx="16">
                  <c:v>30.693816933248122</c:v>
                </c:pt>
                <c:pt idx="17">
                  <c:v>30.693816933248122</c:v>
                </c:pt>
                <c:pt idx="18">
                  <c:v>30.693816933248122</c:v>
                </c:pt>
                <c:pt idx="19">
                  <c:v>30.693816933248122</c:v>
                </c:pt>
                <c:pt idx="20">
                  <c:v>30.693816933248122</c:v>
                </c:pt>
                <c:pt idx="21">
                  <c:v>30.693816933248122</c:v>
                </c:pt>
                <c:pt idx="22">
                  <c:v>30.693816933248122</c:v>
                </c:pt>
                <c:pt idx="23">
                  <c:v>30.693816933248122</c:v>
                </c:pt>
                <c:pt idx="24">
                  <c:v>30.693816933248122</c:v>
                </c:pt>
              </c:numCache>
            </c:numRef>
          </c:val>
          <c:smooth val="0"/>
          <c:extLst>
            <c:ext xmlns:c16="http://schemas.microsoft.com/office/drawing/2014/chart" uri="{C3380CC4-5D6E-409C-BE32-E72D297353CC}">
              <c16:uniqueId val="{00000005-8EB8-4DC5-9978-B6ADE386155D}"/>
            </c:ext>
          </c:extLst>
        </c:ser>
        <c:ser>
          <c:idx val="6"/>
          <c:order val="6"/>
          <c:tx>
            <c:strRef>
              <c:f>'log and nominal scale Globa DE'!$N$8</c:f>
              <c:strCache>
                <c:ptCount val="1"/>
                <c:pt idx="0">
                  <c:v>1983</c:v>
                </c:pt>
              </c:strCache>
            </c:strRef>
          </c:tx>
          <c:spPr>
            <a:ln w="28575" cap="rnd">
              <a:solidFill>
                <a:schemeClr val="accent5">
                  <a:lumMod val="75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N$9:$N$304</c:f>
              <c:numCache>
                <c:formatCode>General</c:formatCode>
                <c:ptCount val="296"/>
                <c:pt idx="14">
                  <c:v>30.955525349464704</c:v>
                </c:pt>
                <c:pt idx="15">
                  <c:v>30.955525349464704</c:v>
                </c:pt>
                <c:pt idx="16">
                  <c:v>30.955525349464704</c:v>
                </c:pt>
                <c:pt idx="17">
                  <c:v>30.955525349464704</c:v>
                </c:pt>
                <c:pt idx="18">
                  <c:v>30.955525349464704</c:v>
                </c:pt>
                <c:pt idx="19">
                  <c:v>30.955525349464704</c:v>
                </c:pt>
                <c:pt idx="20">
                  <c:v>30.955525349464704</c:v>
                </c:pt>
                <c:pt idx="21">
                  <c:v>30.955525349464704</c:v>
                </c:pt>
                <c:pt idx="22">
                  <c:v>30.955525349464704</c:v>
                </c:pt>
                <c:pt idx="23">
                  <c:v>30.955525349464704</c:v>
                </c:pt>
                <c:pt idx="24">
                  <c:v>30.955525349464704</c:v>
                </c:pt>
              </c:numCache>
            </c:numRef>
          </c:val>
          <c:smooth val="0"/>
          <c:extLst>
            <c:ext xmlns:c16="http://schemas.microsoft.com/office/drawing/2014/chart" uri="{C3380CC4-5D6E-409C-BE32-E72D297353CC}">
              <c16:uniqueId val="{00000006-8EB8-4DC5-9978-B6ADE386155D}"/>
            </c:ext>
          </c:extLst>
        </c:ser>
        <c:ser>
          <c:idx val="7"/>
          <c:order val="7"/>
          <c:tx>
            <c:strRef>
              <c:f>'log and nominal scale Globa DE'!$O$8</c:f>
              <c:strCache>
                <c:ptCount val="1"/>
                <c:pt idx="0">
                  <c:v>1983</c:v>
                </c:pt>
              </c:strCache>
            </c:strRef>
          </c:tx>
          <c:spPr>
            <a:ln w="28575" cap="rnd">
              <a:solidFill>
                <a:schemeClr val="accent5">
                  <a:lumMod val="50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O$9:$O$304</c:f>
              <c:numCache>
                <c:formatCode>General</c:formatCode>
                <c:ptCount val="296"/>
                <c:pt idx="24">
                  <c:v>30.955525349464704</c:v>
                </c:pt>
                <c:pt idx="25">
                  <c:v>30.955525349464704</c:v>
                </c:pt>
                <c:pt idx="26">
                  <c:v>30.955525349464704</c:v>
                </c:pt>
                <c:pt idx="27">
                  <c:v>30.955525349464704</c:v>
                </c:pt>
                <c:pt idx="28">
                  <c:v>30.955525349464704</c:v>
                </c:pt>
                <c:pt idx="29">
                  <c:v>30.955525349464704</c:v>
                </c:pt>
                <c:pt idx="30">
                  <c:v>30.955525349464704</c:v>
                </c:pt>
                <c:pt idx="31">
                  <c:v>30.955525349464704</c:v>
                </c:pt>
                <c:pt idx="32">
                  <c:v>30.955525349464704</c:v>
                </c:pt>
                <c:pt idx="33">
                  <c:v>30.955525349464704</c:v>
                </c:pt>
                <c:pt idx="34">
                  <c:v>30.955525349464704</c:v>
                </c:pt>
              </c:numCache>
            </c:numRef>
          </c:val>
          <c:smooth val="0"/>
          <c:extLst>
            <c:ext xmlns:c16="http://schemas.microsoft.com/office/drawing/2014/chart" uri="{C3380CC4-5D6E-409C-BE32-E72D297353CC}">
              <c16:uniqueId val="{00000007-8EB8-4DC5-9978-B6ADE386155D}"/>
            </c:ext>
          </c:extLst>
        </c:ser>
        <c:ser>
          <c:idx val="8"/>
          <c:order val="8"/>
          <c:tx>
            <c:strRef>
              <c:f>'log and nominal scale Globa DE'!$P$8</c:f>
              <c:strCache>
                <c:ptCount val="1"/>
                <c:pt idx="0">
                  <c:v>1993</c:v>
                </c:pt>
              </c:strCache>
            </c:strRef>
          </c:tx>
          <c:spPr>
            <a:ln w="28575" cap="rnd">
              <a:solidFill>
                <a:schemeClr val="accent5">
                  <a:lumMod val="50000"/>
                </a:schemeClr>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P$9:$P$304</c:f>
              <c:numCache>
                <c:formatCode>General</c:formatCode>
                <c:ptCount val="296"/>
                <c:pt idx="25">
                  <c:v>31.266202477436202</c:v>
                </c:pt>
                <c:pt idx="26">
                  <c:v>31.266202477436202</c:v>
                </c:pt>
                <c:pt idx="27">
                  <c:v>31.266202477436202</c:v>
                </c:pt>
                <c:pt idx="28">
                  <c:v>31.266202477436202</c:v>
                </c:pt>
                <c:pt idx="29">
                  <c:v>31.266202477436202</c:v>
                </c:pt>
                <c:pt idx="30">
                  <c:v>31.266202477436202</c:v>
                </c:pt>
                <c:pt idx="31">
                  <c:v>31.266202477436202</c:v>
                </c:pt>
                <c:pt idx="32">
                  <c:v>31.266202477436202</c:v>
                </c:pt>
                <c:pt idx="33">
                  <c:v>31.266202477436202</c:v>
                </c:pt>
                <c:pt idx="34">
                  <c:v>31.266202477436202</c:v>
                </c:pt>
              </c:numCache>
            </c:numRef>
          </c:val>
          <c:smooth val="0"/>
          <c:extLst>
            <c:ext xmlns:c16="http://schemas.microsoft.com/office/drawing/2014/chart" uri="{C3380CC4-5D6E-409C-BE32-E72D297353CC}">
              <c16:uniqueId val="{00000008-8EB8-4DC5-9978-B6ADE386155D}"/>
            </c:ext>
          </c:extLst>
        </c:ser>
        <c:ser>
          <c:idx val="9"/>
          <c:order val="9"/>
          <c:tx>
            <c:strRef>
              <c:f>'log and nominal scale Globa DE'!$Q$8</c:f>
              <c:strCache>
                <c:ptCount val="1"/>
                <c:pt idx="0">
                  <c:v>1993</c:v>
                </c:pt>
              </c:strCache>
            </c:strRef>
          </c:tx>
          <c:spPr>
            <a:ln w="28575" cap="rnd">
              <a:solidFill>
                <a:schemeClr val="tx2"/>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Q$9:$Q$304</c:f>
              <c:numCache>
                <c:formatCode>General</c:formatCode>
                <c:ptCount val="296"/>
                <c:pt idx="34">
                  <c:v>31.266202477436202</c:v>
                </c:pt>
                <c:pt idx="35">
                  <c:v>31.266202477436202</c:v>
                </c:pt>
                <c:pt idx="36">
                  <c:v>31.266202477436202</c:v>
                </c:pt>
                <c:pt idx="37">
                  <c:v>31.266202477436202</c:v>
                </c:pt>
                <c:pt idx="38">
                  <c:v>31.266202477436202</c:v>
                </c:pt>
                <c:pt idx="39">
                  <c:v>31.266202477436202</c:v>
                </c:pt>
                <c:pt idx="40">
                  <c:v>31.266202477436202</c:v>
                </c:pt>
                <c:pt idx="41">
                  <c:v>31.266202477436202</c:v>
                </c:pt>
                <c:pt idx="42">
                  <c:v>31.266202477436202</c:v>
                </c:pt>
                <c:pt idx="43">
                  <c:v>31.266202477436202</c:v>
                </c:pt>
                <c:pt idx="44">
                  <c:v>31.266202477436202</c:v>
                </c:pt>
              </c:numCache>
            </c:numRef>
          </c:val>
          <c:smooth val="0"/>
          <c:extLst>
            <c:ext xmlns:c16="http://schemas.microsoft.com/office/drawing/2014/chart" uri="{C3380CC4-5D6E-409C-BE32-E72D297353CC}">
              <c16:uniqueId val="{00000009-8EB8-4DC5-9978-B6ADE386155D}"/>
            </c:ext>
          </c:extLst>
        </c:ser>
        <c:ser>
          <c:idx val="10"/>
          <c:order val="10"/>
          <c:tx>
            <c:strRef>
              <c:f>'log and nominal scale Globa DE'!$R$8</c:f>
              <c:strCache>
                <c:ptCount val="1"/>
                <c:pt idx="0">
                  <c:v>2003</c:v>
                </c:pt>
              </c:strCache>
            </c:strRef>
          </c:tx>
          <c:spPr>
            <a:ln w="28575" cap="rnd">
              <a:solidFill>
                <a:schemeClr val="tx2"/>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R$9:$R$304</c:f>
              <c:numCache>
                <c:formatCode>General</c:formatCode>
                <c:ptCount val="296"/>
                <c:pt idx="35">
                  <c:v>31.583674017497582</c:v>
                </c:pt>
                <c:pt idx="36">
                  <c:v>31.583674017497582</c:v>
                </c:pt>
                <c:pt idx="37">
                  <c:v>31.583674017497582</c:v>
                </c:pt>
                <c:pt idx="38">
                  <c:v>31.583674017497582</c:v>
                </c:pt>
                <c:pt idx="39">
                  <c:v>31.583674017497582</c:v>
                </c:pt>
                <c:pt idx="40">
                  <c:v>31.583674017497582</c:v>
                </c:pt>
                <c:pt idx="41">
                  <c:v>31.583674017497582</c:v>
                </c:pt>
                <c:pt idx="42">
                  <c:v>31.583674017497582</c:v>
                </c:pt>
                <c:pt idx="43">
                  <c:v>31.583674017497582</c:v>
                </c:pt>
                <c:pt idx="44">
                  <c:v>31.583674017497582</c:v>
                </c:pt>
              </c:numCache>
            </c:numRef>
          </c:val>
          <c:smooth val="0"/>
          <c:extLst>
            <c:ext xmlns:c16="http://schemas.microsoft.com/office/drawing/2014/chart" uri="{C3380CC4-5D6E-409C-BE32-E72D297353CC}">
              <c16:uniqueId val="{0000000A-8EB8-4DC5-9978-B6ADE386155D}"/>
            </c:ext>
          </c:extLst>
        </c:ser>
        <c:ser>
          <c:idx val="11"/>
          <c:order val="11"/>
          <c:tx>
            <c:strRef>
              <c:f>'log and nominal scale Globa DE'!$S$8</c:f>
              <c:strCache>
                <c:ptCount val="1"/>
                <c:pt idx="0">
                  <c:v>2003</c:v>
                </c:pt>
              </c:strCache>
            </c:strRef>
          </c:tx>
          <c:spPr>
            <a:ln w="28575" cap="rnd">
              <a:solidFill>
                <a:schemeClr val="accent2"/>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S$9:$S$304</c:f>
              <c:numCache>
                <c:formatCode>General</c:formatCode>
                <c:ptCount val="296"/>
                <c:pt idx="44">
                  <c:v>31.583674017497582</c:v>
                </c:pt>
                <c:pt idx="45">
                  <c:v>31.583674017497582</c:v>
                </c:pt>
                <c:pt idx="46">
                  <c:v>31.583674017497582</c:v>
                </c:pt>
                <c:pt idx="47">
                  <c:v>31.583674017497582</c:v>
                </c:pt>
                <c:pt idx="48">
                  <c:v>31.583674017497582</c:v>
                </c:pt>
                <c:pt idx="49">
                  <c:v>31.583674017497582</c:v>
                </c:pt>
                <c:pt idx="50">
                  <c:v>31.583674017497582</c:v>
                </c:pt>
                <c:pt idx="51">
                  <c:v>31.583674017497582</c:v>
                </c:pt>
                <c:pt idx="52">
                  <c:v>31.583674017497582</c:v>
                </c:pt>
                <c:pt idx="53">
                  <c:v>31.583674017497582</c:v>
                </c:pt>
                <c:pt idx="54">
                  <c:v>31.583674017497582</c:v>
                </c:pt>
              </c:numCache>
            </c:numRef>
          </c:val>
          <c:smooth val="0"/>
          <c:extLst>
            <c:ext xmlns:c16="http://schemas.microsoft.com/office/drawing/2014/chart" uri="{C3380CC4-5D6E-409C-BE32-E72D297353CC}">
              <c16:uniqueId val="{0000000B-8EB8-4DC5-9978-B6ADE386155D}"/>
            </c:ext>
          </c:extLst>
        </c:ser>
        <c:ser>
          <c:idx val="12"/>
          <c:order val="12"/>
          <c:tx>
            <c:strRef>
              <c:f>'log and nominal scale Globa DE'!$T$8</c:f>
              <c:strCache>
                <c:ptCount val="1"/>
                <c:pt idx="0">
                  <c:v>2013</c:v>
                </c:pt>
              </c:strCache>
            </c:strRef>
          </c:tx>
          <c:spPr>
            <a:ln w="28575" cap="rnd">
              <a:solidFill>
                <a:schemeClr val="accent2"/>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T$9:$T$304</c:f>
              <c:numCache>
                <c:formatCode>General</c:formatCode>
                <c:ptCount val="296"/>
                <c:pt idx="45">
                  <c:v>31.89174982706745</c:v>
                </c:pt>
                <c:pt idx="46">
                  <c:v>31.89174982706745</c:v>
                </c:pt>
                <c:pt idx="47">
                  <c:v>31.89174982706745</c:v>
                </c:pt>
                <c:pt idx="48">
                  <c:v>31.89174982706745</c:v>
                </c:pt>
                <c:pt idx="49">
                  <c:v>31.89174982706745</c:v>
                </c:pt>
                <c:pt idx="50">
                  <c:v>31.89174982706745</c:v>
                </c:pt>
                <c:pt idx="51">
                  <c:v>31.89174982706745</c:v>
                </c:pt>
                <c:pt idx="52">
                  <c:v>31.89174982706745</c:v>
                </c:pt>
                <c:pt idx="53">
                  <c:v>31.89174982706745</c:v>
                </c:pt>
                <c:pt idx="54">
                  <c:v>31.89174982706745</c:v>
                </c:pt>
              </c:numCache>
            </c:numRef>
          </c:val>
          <c:smooth val="0"/>
          <c:extLst>
            <c:ext xmlns:c16="http://schemas.microsoft.com/office/drawing/2014/chart" uri="{C3380CC4-5D6E-409C-BE32-E72D297353CC}">
              <c16:uniqueId val="{0000000C-8EB8-4DC5-9978-B6ADE386155D}"/>
            </c:ext>
          </c:extLst>
        </c:ser>
        <c:ser>
          <c:idx val="13"/>
          <c:order val="13"/>
          <c:tx>
            <c:strRef>
              <c:f>'log and nominal scale Globa DE'!$U$8</c:f>
              <c:strCache>
                <c:ptCount val="1"/>
                <c:pt idx="0">
                  <c:v>2013</c:v>
                </c:pt>
              </c:strCache>
            </c:strRef>
          </c:tx>
          <c:spPr>
            <a:ln w="28575" cap="rnd">
              <a:solidFill>
                <a:schemeClr val="accent5"/>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U$9:$U$304</c:f>
              <c:numCache>
                <c:formatCode>General</c:formatCode>
                <c:ptCount val="296"/>
                <c:pt idx="54">
                  <c:v>31.89174982706745</c:v>
                </c:pt>
                <c:pt idx="55">
                  <c:v>31.89174982706745</c:v>
                </c:pt>
                <c:pt idx="56">
                  <c:v>31.89174982706745</c:v>
                </c:pt>
                <c:pt idx="57">
                  <c:v>31.89174982706745</c:v>
                </c:pt>
                <c:pt idx="58">
                  <c:v>31.89174982706745</c:v>
                </c:pt>
                <c:pt idx="59">
                  <c:v>31.89174982706745</c:v>
                </c:pt>
                <c:pt idx="60">
                  <c:v>31.89174982706745</c:v>
                </c:pt>
                <c:pt idx="61">
                  <c:v>31.89174982706745</c:v>
                </c:pt>
                <c:pt idx="62">
                  <c:v>31.89174982706745</c:v>
                </c:pt>
                <c:pt idx="63">
                  <c:v>31.89174982706745</c:v>
                </c:pt>
              </c:numCache>
            </c:numRef>
          </c:val>
          <c:smooth val="0"/>
          <c:extLst>
            <c:ext xmlns:c16="http://schemas.microsoft.com/office/drawing/2014/chart" uri="{C3380CC4-5D6E-409C-BE32-E72D297353CC}">
              <c16:uniqueId val="{0000000D-8EB8-4DC5-9978-B6ADE386155D}"/>
            </c:ext>
          </c:extLst>
        </c:ser>
        <c:ser>
          <c:idx val="14"/>
          <c:order val="14"/>
          <c:tx>
            <c:strRef>
              <c:f>'log and nominal scale Globa DE'!$V$8</c:f>
              <c:strCache>
                <c:ptCount val="1"/>
                <c:pt idx="0">
                  <c:v>2023</c:v>
                </c:pt>
              </c:strCache>
            </c:strRef>
          </c:tx>
          <c:spPr>
            <a:ln w="28575" cap="rnd">
              <a:solidFill>
                <a:schemeClr val="accent5"/>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V$9:$V$304</c:f>
              <c:numCache>
                <c:formatCode>General</c:formatCode>
                <c:ptCount val="296"/>
                <c:pt idx="55">
                  <c:v>32.161759254910471</c:v>
                </c:pt>
                <c:pt idx="56">
                  <c:v>32.161759254910471</c:v>
                </c:pt>
                <c:pt idx="57">
                  <c:v>32.161759254910471</c:v>
                </c:pt>
                <c:pt idx="58">
                  <c:v>32.161759254910471</c:v>
                </c:pt>
                <c:pt idx="59">
                  <c:v>32.161759254910471</c:v>
                </c:pt>
                <c:pt idx="60">
                  <c:v>32.161759254910471</c:v>
                </c:pt>
                <c:pt idx="61">
                  <c:v>32.161759254910471</c:v>
                </c:pt>
                <c:pt idx="62">
                  <c:v>32.161759254910471</c:v>
                </c:pt>
                <c:pt idx="63">
                  <c:v>32.161759254910471</c:v>
                </c:pt>
              </c:numCache>
            </c:numRef>
          </c:val>
          <c:smooth val="0"/>
          <c:extLst>
            <c:ext xmlns:c16="http://schemas.microsoft.com/office/drawing/2014/chart" uri="{C3380CC4-5D6E-409C-BE32-E72D297353CC}">
              <c16:uniqueId val="{0000000E-8EB8-4DC5-9978-B6ADE386155D}"/>
            </c:ext>
          </c:extLst>
        </c:ser>
        <c:ser>
          <c:idx val="15"/>
          <c:order val="15"/>
          <c:tx>
            <c:strRef>
              <c:f>'log and nominal scale Globa DE'!$W$8</c:f>
              <c:strCache>
                <c:ptCount val="1"/>
              </c:strCache>
            </c:strRef>
          </c:tx>
          <c:spPr>
            <a:ln w="28575" cap="rnd">
              <a:solidFill>
                <a:schemeClr val="accent3"/>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W$9:$W$304</c:f>
              <c:numCache>
                <c:formatCode>General</c:formatCode>
                <c:ptCount val="296"/>
              </c:numCache>
            </c:numRef>
          </c:val>
          <c:smooth val="0"/>
          <c:extLst>
            <c:ext xmlns:c16="http://schemas.microsoft.com/office/drawing/2014/chart" uri="{C3380CC4-5D6E-409C-BE32-E72D297353CC}">
              <c16:uniqueId val="{0000000F-8EB8-4DC5-9978-B6ADE386155D}"/>
            </c:ext>
          </c:extLst>
        </c:ser>
        <c:ser>
          <c:idx val="16"/>
          <c:order val="16"/>
          <c:tx>
            <c:strRef>
              <c:f>'log and nominal scale Globa DE'!$X$8</c:f>
              <c:strCache>
                <c:ptCount val="1"/>
              </c:strCache>
            </c:strRef>
          </c:tx>
          <c:spPr>
            <a:ln w="28575" cap="rnd">
              <a:solidFill>
                <a:schemeClr val="accent3"/>
              </a:solidFill>
              <a:round/>
            </a:ln>
            <a:effectLst/>
          </c:spPr>
          <c:marker>
            <c:symbol val="none"/>
          </c:marker>
          <c:cat>
            <c:numRef>
              <c:f>'log and nominal scale Globa DE'!$D$9:$D$305</c:f>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f>'log and nominal scale Globa DE'!$X$9:$X$304</c:f>
              <c:numCache>
                <c:formatCode>General</c:formatCode>
                <c:ptCount val="296"/>
              </c:numCache>
            </c:numRef>
          </c:val>
          <c:smooth val="0"/>
          <c:extLst>
            <c:ext xmlns:c16="http://schemas.microsoft.com/office/drawing/2014/chart" uri="{C3380CC4-5D6E-409C-BE32-E72D297353CC}">
              <c16:uniqueId val="{00000010-8EB8-4DC5-9978-B6ADE386155D}"/>
            </c:ext>
          </c:extLst>
        </c:ser>
        <c:dLbls>
          <c:showLegendKey val="0"/>
          <c:showVal val="0"/>
          <c:showCatName val="0"/>
          <c:showSerName val="0"/>
          <c:showPercent val="0"/>
          <c:showBubbleSize val="0"/>
        </c:dLbls>
        <c:marker val="1"/>
        <c:smooth val="0"/>
        <c:axId val="1421106368"/>
        <c:axId val="1421104448"/>
        <c:extLst/>
      </c:lineChart>
      <c:lineChart>
        <c:grouping val="standard"/>
        <c:varyColors val="0"/>
        <c:dLbls>
          <c:showLegendKey val="0"/>
          <c:showVal val="0"/>
          <c:showCatName val="0"/>
          <c:showSerName val="0"/>
          <c:showPercent val="0"/>
          <c:showBubbleSize val="0"/>
        </c:dLbls>
        <c:marker val="1"/>
        <c:smooth val="0"/>
        <c:axId val="288862576"/>
        <c:axId val="288862096"/>
        <c:extLst>
          <c:ext xmlns:c15="http://schemas.microsoft.com/office/drawing/2012/chart" uri="{02D57815-91ED-43cb-92C2-25804820EDAC}">
            <c15:filteredLineSeries>
              <c15:ser>
                <c:idx val="17"/>
                <c:order val="17"/>
                <c:tx>
                  <c:strRef>
                    <c:extLst>
                      <c:ext uri="{02D57815-91ED-43cb-92C2-25804820EDAC}">
                        <c15:formulaRef>
                          <c15:sqref>'log and nominal scale Globa DE'!$E$8</c15:sqref>
                        </c15:formulaRef>
                      </c:ext>
                    </c:extLst>
                    <c:strCache>
                      <c:ptCount val="1"/>
                      <c:pt idx="0">
                        <c:v>WD GDP (CONSTANT 2010 US$) CONN</c:v>
                      </c:pt>
                    </c:strCache>
                  </c:strRef>
                </c:tx>
                <c:spPr>
                  <a:ln w="28575" cap="rnd">
                    <a:solidFill>
                      <a:schemeClr val="accent6">
                        <a:lumMod val="80000"/>
                        <a:lumOff val="20000"/>
                      </a:schemeClr>
                    </a:solidFill>
                    <a:round/>
                  </a:ln>
                  <a:effectLst/>
                </c:spPr>
                <c:marker>
                  <c:symbol val="none"/>
                </c:marker>
                <c:cat>
                  <c:numRef>
                    <c:extLst>
                      <c:ext uri="{02D57815-91ED-43cb-92C2-25804820EDAC}">
                        <c15:formulaRef>
                          <c15:sqref>'log and nominal scale Globa DE'!$D$9:$D$305</c15:sqref>
                        </c15:formulaRef>
                      </c:ext>
                    </c:extLst>
                    <c:numCache>
                      <c:formatCode>m/d/yyyy</c:formatCode>
                      <c:ptCount val="297"/>
                      <c:pt idx="0">
                        <c:v>22097</c:v>
                      </c:pt>
                      <c:pt idx="1">
                        <c:v>22462</c:v>
                      </c:pt>
                      <c:pt idx="2">
                        <c:v>22826</c:v>
                      </c:pt>
                      <c:pt idx="3">
                        <c:v>23190</c:v>
                      </c:pt>
                      <c:pt idx="4">
                        <c:v>23558</c:v>
                      </c:pt>
                      <c:pt idx="5">
                        <c:v>23923</c:v>
                      </c:pt>
                      <c:pt idx="6">
                        <c:v>24288</c:v>
                      </c:pt>
                      <c:pt idx="7">
                        <c:v>24653</c:v>
                      </c:pt>
                      <c:pt idx="8">
                        <c:v>25017</c:v>
                      </c:pt>
                      <c:pt idx="9">
                        <c:v>25384</c:v>
                      </c:pt>
                      <c:pt idx="10">
                        <c:v>25749</c:v>
                      </c:pt>
                      <c:pt idx="11">
                        <c:v>26114</c:v>
                      </c:pt>
                      <c:pt idx="12">
                        <c:v>26480</c:v>
                      </c:pt>
                      <c:pt idx="13">
                        <c:v>26844</c:v>
                      </c:pt>
                      <c:pt idx="14">
                        <c:v>27208</c:v>
                      </c:pt>
                      <c:pt idx="15">
                        <c:v>27575</c:v>
                      </c:pt>
                      <c:pt idx="16">
                        <c:v>27941</c:v>
                      </c:pt>
                      <c:pt idx="17">
                        <c:v>28306</c:v>
                      </c:pt>
                      <c:pt idx="18">
                        <c:v>28671</c:v>
                      </c:pt>
                      <c:pt idx="19">
                        <c:v>29035</c:v>
                      </c:pt>
                      <c:pt idx="20">
                        <c:v>29402</c:v>
                      </c:pt>
                      <c:pt idx="21">
                        <c:v>29767</c:v>
                      </c:pt>
                      <c:pt idx="22">
                        <c:v>30132</c:v>
                      </c:pt>
                      <c:pt idx="23">
                        <c:v>30497</c:v>
                      </c:pt>
                      <c:pt idx="24">
                        <c:v>30862</c:v>
                      </c:pt>
                      <c:pt idx="25">
                        <c:v>31226</c:v>
                      </c:pt>
                      <c:pt idx="26">
                        <c:v>31593</c:v>
                      </c:pt>
                      <c:pt idx="27">
                        <c:v>31958</c:v>
                      </c:pt>
                      <c:pt idx="28">
                        <c:v>32324</c:v>
                      </c:pt>
                      <c:pt idx="29">
                        <c:v>32689</c:v>
                      </c:pt>
                      <c:pt idx="30">
                        <c:v>33053</c:v>
                      </c:pt>
                      <c:pt idx="31">
                        <c:v>33417</c:v>
                      </c:pt>
                      <c:pt idx="32">
                        <c:v>33785</c:v>
                      </c:pt>
                      <c:pt idx="33">
                        <c:v>34150</c:v>
                      </c:pt>
                      <c:pt idx="34">
                        <c:v>34515</c:v>
                      </c:pt>
                      <c:pt idx="35">
                        <c:v>34880</c:v>
                      </c:pt>
                      <c:pt idx="36">
                        <c:v>35244</c:v>
                      </c:pt>
                      <c:pt idx="37">
                        <c:v>35611</c:v>
                      </c:pt>
                      <c:pt idx="38">
                        <c:v>35976</c:v>
                      </c:pt>
                      <c:pt idx="39">
                        <c:v>36341</c:v>
                      </c:pt>
                      <c:pt idx="40">
                        <c:v>36707</c:v>
                      </c:pt>
                      <c:pt idx="41">
                        <c:v>37071</c:v>
                      </c:pt>
                      <c:pt idx="42">
                        <c:v>37435</c:v>
                      </c:pt>
                      <c:pt idx="43">
                        <c:v>37802</c:v>
                      </c:pt>
                      <c:pt idx="44">
                        <c:v>38168</c:v>
                      </c:pt>
                      <c:pt idx="45">
                        <c:v>38533</c:v>
                      </c:pt>
                      <c:pt idx="46">
                        <c:v>38898</c:v>
                      </c:pt>
                      <c:pt idx="47">
                        <c:v>39262</c:v>
                      </c:pt>
                      <c:pt idx="48">
                        <c:v>39629</c:v>
                      </c:pt>
                      <c:pt idx="49">
                        <c:v>39994</c:v>
                      </c:pt>
                      <c:pt idx="50">
                        <c:v>40359</c:v>
                      </c:pt>
                      <c:pt idx="51">
                        <c:v>40724</c:v>
                      </c:pt>
                      <c:pt idx="52">
                        <c:v>41089</c:v>
                      </c:pt>
                      <c:pt idx="53">
                        <c:v>41453</c:v>
                      </c:pt>
                      <c:pt idx="54">
                        <c:v>41820</c:v>
                      </c:pt>
                      <c:pt idx="55">
                        <c:v>42185</c:v>
                      </c:pt>
                      <c:pt idx="56">
                        <c:v>42551</c:v>
                      </c:pt>
                      <c:pt idx="57">
                        <c:v>42916</c:v>
                      </c:pt>
                      <c:pt idx="58">
                        <c:v>43280</c:v>
                      </c:pt>
                      <c:pt idx="59">
                        <c:v>43644</c:v>
                      </c:pt>
                      <c:pt idx="60">
                        <c:v>44012</c:v>
                      </c:pt>
                      <c:pt idx="61">
                        <c:v>44377</c:v>
                      </c:pt>
                      <c:pt idx="62">
                        <c:v>44742</c:v>
                      </c:pt>
                      <c:pt idx="63">
                        <c:v>45107</c:v>
                      </c:pt>
                      <c:pt idx="64">
                        <c:v>45471</c:v>
                      </c:pt>
                    </c:numCache>
                  </c:numRef>
                </c:cat>
                <c:val>
                  <c:numRef>
                    <c:extLst>
                      <c:ext uri="{02D57815-91ED-43cb-92C2-25804820EDAC}">
                        <c15:formulaRef>
                          <c15:sqref>'log and nominal scale Globa DE'!$E$9:$E$304</c15:sqref>
                        </c15:formulaRef>
                      </c:ext>
                    </c:extLst>
                    <c:numCache>
                      <c:formatCode>General</c:formatCode>
                      <c:ptCount val="296"/>
                      <c:pt idx="0">
                        <c:v>11065150325078.699</c:v>
                      </c:pt>
                      <c:pt idx="1">
                        <c:v>11504406672190.1</c:v>
                      </c:pt>
                      <c:pt idx="2">
                        <c:v>12116326539172</c:v>
                      </c:pt>
                      <c:pt idx="3">
                        <c:v>12724416382131.801</c:v>
                      </c:pt>
                      <c:pt idx="4">
                        <c:v>13562090737377.199</c:v>
                      </c:pt>
                      <c:pt idx="5">
                        <c:v>14320993882685.801</c:v>
                      </c:pt>
                      <c:pt idx="6">
                        <c:v>15099822641855.9</c:v>
                      </c:pt>
                      <c:pt idx="7">
                        <c:v>15663881536261.4</c:v>
                      </c:pt>
                      <c:pt idx="8">
                        <c:v>16592072975061.6</c:v>
                      </c:pt>
                      <c:pt idx="9">
                        <c:v>17584101722075.199</c:v>
                      </c:pt>
                      <c:pt idx="10">
                        <c:v>18240991629750.199</c:v>
                      </c:pt>
                      <c:pt idx="11">
                        <c:v>19026660149871.102</c:v>
                      </c:pt>
                      <c:pt idx="12">
                        <c:v>20099274901104.398</c:v>
                      </c:pt>
                      <c:pt idx="13">
                        <c:v>21387268547893.102</c:v>
                      </c:pt>
                      <c:pt idx="14">
                        <c:v>21796684795581.898</c:v>
                      </c:pt>
                      <c:pt idx="15">
                        <c:v>21911481867006.398</c:v>
                      </c:pt>
                      <c:pt idx="16">
                        <c:v>23054003896256.5</c:v>
                      </c:pt>
                      <c:pt idx="17">
                        <c:v>23980413102398.199</c:v>
                      </c:pt>
                      <c:pt idx="18">
                        <c:v>24961023533235</c:v>
                      </c:pt>
                      <c:pt idx="19">
                        <c:v>26004986260300</c:v>
                      </c:pt>
                      <c:pt idx="20">
                        <c:v>26494285470627.199</c:v>
                      </c:pt>
                      <c:pt idx="21">
                        <c:v>27004675633280.398</c:v>
                      </c:pt>
                      <c:pt idx="22">
                        <c:v>27084754622367</c:v>
                      </c:pt>
                      <c:pt idx="23">
                        <c:v>27785220247129.602</c:v>
                      </c:pt>
                      <c:pt idx="24">
                        <c:v>29083990581629.801</c:v>
                      </c:pt>
                      <c:pt idx="25">
                        <c:v>30160913843677.398</c:v>
                      </c:pt>
                      <c:pt idx="26">
                        <c:v>31171713892672.301</c:v>
                      </c:pt>
                      <c:pt idx="27">
                        <c:v>32332743811680.5</c:v>
                      </c:pt>
                      <c:pt idx="28">
                        <c:v>33817374892961.602</c:v>
                      </c:pt>
                      <c:pt idx="29">
                        <c:v>35074428995817.398</c:v>
                      </c:pt>
                      <c:pt idx="30">
                        <c:v>36044076008699.203</c:v>
                      </c:pt>
                      <c:pt idx="31">
                        <c:v>36496727027868.398</c:v>
                      </c:pt>
                      <c:pt idx="32">
                        <c:v>37233689598548.797</c:v>
                      </c:pt>
                      <c:pt idx="33">
                        <c:v>37908727457697.898</c:v>
                      </c:pt>
                      <c:pt idx="34">
                        <c:v>39168791739111.398</c:v>
                      </c:pt>
                      <c:pt idx="35">
                        <c:v>40376997999962.898</c:v>
                      </c:pt>
                      <c:pt idx="36">
                        <c:v>41820349066965.898</c:v>
                      </c:pt>
                      <c:pt idx="37">
                        <c:v>43463769120916.102</c:v>
                      </c:pt>
                      <c:pt idx="38">
                        <c:v>44704192643432.703</c:v>
                      </c:pt>
                      <c:pt idx="39">
                        <c:v>46291065127200.102</c:v>
                      </c:pt>
                      <c:pt idx="40">
                        <c:v>48388557167110.898</c:v>
                      </c:pt>
                      <c:pt idx="41">
                        <c:v>49368620392265.297</c:v>
                      </c:pt>
                      <c:pt idx="42">
                        <c:v>50505499243552.297</c:v>
                      </c:pt>
                      <c:pt idx="43">
                        <c:v>52073329170330.5</c:v>
                      </c:pt>
                      <c:pt idx="44">
                        <c:v>54400621045246.602</c:v>
                      </c:pt>
                      <c:pt idx="45">
                        <c:v>56579836978678.898</c:v>
                      </c:pt>
                      <c:pt idx="46">
                        <c:v>59093561843411.602</c:v>
                      </c:pt>
                      <c:pt idx="47">
                        <c:v>61677886808801.602</c:v>
                      </c:pt>
                      <c:pt idx="48">
                        <c:v>62949990715747.703</c:v>
                      </c:pt>
                      <c:pt idx="49">
                        <c:v>62096526015584.398</c:v>
                      </c:pt>
                      <c:pt idx="50">
                        <c:v>64909216709023.797</c:v>
                      </c:pt>
                      <c:pt idx="51">
                        <c:v>67068832481271.5</c:v>
                      </c:pt>
                      <c:pt idx="52">
                        <c:v>68885804388550.398</c:v>
                      </c:pt>
                      <c:pt idx="53">
                        <c:v>70861602283288.797</c:v>
                      </c:pt>
                      <c:pt idx="54">
                        <c:v>73075226555102.297</c:v>
                      </c:pt>
                      <c:pt idx="55">
                        <c:v>75359657218242.5</c:v>
                      </c:pt>
                      <c:pt idx="56">
                        <c:v>77485219519915.797</c:v>
                      </c:pt>
                      <c:pt idx="57">
                        <c:v>80166393396326.797</c:v>
                      </c:pt>
                      <c:pt idx="58">
                        <c:v>82801152494085.703</c:v>
                      </c:pt>
                      <c:pt idx="59">
                        <c:v>84988938153813.906</c:v>
                      </c:pt>
                      <c:pt idx="60">
                        <c:v>82497025649488.297</c:v>
                      </c:pt>
                      <c:pt idx="61">
                        <c:v>87661216769258.703</c:v>
                      </c:pt>
                      <c:pt idx="62">
                        <c:v>90369604265987.203</c:v>
                      </c:pt>
                      <c:pt idx="63">
                        <c:v>92827055067884.406</c:v>
                      </c:pt>
                      <c:pt idx="64">
                        <c:v>0</c:v>
                      </c:pt>
                    </c:numCache>
                  </c:numRef>
                </c:val>
                <c:smooth val="0"/>
                <c:extLst>
                  <c:ext xmlns:c16="http://schemas.microsoft.com/office/drawing/2014/chart" uri="{C3380CC4-5D6E-409C-BE32-E72D297353CC}">
                    <c16:uniqueId val="{00000011-8EB8-4DC5-9978-B6ADE386155D}"/>
                  </c:ext>
                </c:extLst>
              </c15:ser>
            </c15:filteredLineSeries>
          </c:ext>
        </c:extLst>
      </c:lineChart>
      <c:dateAx>
        <c:axId val="1421106368"/>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21104448"/>
        <c:crosses val="autoZero"/>
        <c:auto val="1"/>
        <c:lblOffset val="100"/>
        <c:baseTimeUnit val="months"/>
        <c:majorUnit val="5"/>
        <c:majorTimeUnit val="years"/>
      </c:dateAx>
      <c:valAx>
        <c:axId val="1421104448"/>
        <c:scaling>
          <c:orientation val="minMax"/>
          <c:min val="3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21106368"/>
        <c:crosses val="autoZero"/>
        <c:crossBetween val="between"/>
      </c:valAx>
      <c:valAx>
        <c:axId val="288862096"/>
        <c:scaling>
          <c:orientation val="minMax"/>
          <c:min val="1000000000000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88862576"/>
        <c:crosses val="max"/>
        <c:crossBetween val="between"/>
        <c:dispUnits>
          <c:builtInUnit val="trillions"/>
        </c:dispUnits>
      </c:valAx>
      <c:catAx>
        <c:axId val="288862576"/>
        <c:scaling>
          <c:orientation val="minMax"/>
        </c:scaling>
        <c:delete val="1"/>
        <c:axPos val="b"/>
        <c:numFmt formatCode="m/d/yyyy" sourceLinked="1"/>
        <c:majorTickMark val="out"/>
        <c:minorTickMark val="none"/>
        <c:tickLblPos val="nextTo"/>
        <c:crossAx val="288862096"/>
        <c:crosses val="autoZero"/>
        <c:auto val="1"/>
        <c:lblAlgn val="ctr"/>
        <c:lblOffset val="100"/>
        <c:tickLblSkip val="1"/>
        <c:tickMarkSkip val="1"/>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2776059073680388E-2"/>
          <c:y val="0.10593882764794565"/>
          <c:w val="0.98177625951696945"/>
          <c:h val="0.66776195460057564"/>
        </c:manualLayout>
      </c:layout>
      <c:lineChart>
        <c:grouping val="standard"/>
        <c:varyColors val="0"/>
        <c:ser>
          <c:idx val="0"/>
          <c:order val="0"/>
          <c:tx>
            <c:v>Export-Performance (links)</c:v>
          </c:tx>
          <c:spPr>
            <a:ln w="25400" cap="rnd">
              <a:solidFill>
                <a:srgbClr val="0018A8"/>
              </a:solidFill>
              <a:prstDash val="solid"/>
              <a:round/>
            </a:ln>
            <a:effectLst/>
          </c:spPr>
          <c:marker>
            <c:symbol val="none"/>
          </c:marker>
          <c:cat>
            <c:numRef>
              <c:f>'[german competitiveness vs exports.xlsx]Sheet2'!$D$28:$D$147</c:f>
              <c:numCache>
                <c:formatCode>m/d/yyyy</c:formatCode>
                <c:ptCount val="120"/>
                <c:pt idx="0">
                  <c:v>45291</c:v>
                </c:pt>
                <c:pt idx="1">
                  <c:v>45199</c:v>
                </c:pt>
                <c:pt idx="2">
                  <c:v>45107</c:v>
                </c:pt>
                <c:pt idx="3">
                  <c:v>45016</c:v>
                </c:pt>
                <c:pt idx="4">
                  <c:v>44926</c:v>
                </c:pt>
                <c:pt idx="5">
                  <c:v>44834</c:v>
                </c:pt>
                <c:pt idx="6">
                  <c:v>44742</c:v>
                </c:pt>
                <c:pt idx="7">
                  <c:v>44651</c:v>
                </c:pt>
                <c:pt idx="8">
                  <c:v>44561</c:v>
                </c:pt>
                <c:pt idx="9">
                  <c:v>44469</c:v>
                </c:pt>
                <c:pt idx="10">
                  <c:v>44377</c:v>
                </c:pt>
                <c:pt idx="11">
                  <c:v>44286</c:v>
                </c:pt>
                <c:pt idx="12">
                  <c:v>44196</c:v>
                </c:pt>
                <c:pt idx="13">
                  <c:v>44104</c:v>
                </c:pt>
                <c:pt idx="14">
                  <c:v>44012</c:v>
                </c:pt>
                <c:pt idx="15">
                  <c:v>43921</c:v>
                </c:pt>
                <c:pt idx="16">
                  <c:v>43830</c:v>
                </c:pt>
                <c:pt idx="17">
                  <c:v>43738</c:v>
                </c:pt>
                <c:pt idx="18">
                  <c:v>43646</c:v>
                </c:pt>
                <c:pt idx="19">
                  <c:v>43555</c:v>
                </c:pt>
                <c:pt idx="20">
                  <c:v>43465</c:v>
                </c:pt>
                <c:pt idx="21">
                  <c:v>43373</c:v>
                </c:pt>
                <c:pt idx="22">
                  <c:v>43281</c:v>
                </c:pt>
                <c:pt idx="23">
                  <c:v>43190</c:v>
                </c:pt>
                <c:pt idx="24">
                  <c:v>43100</c:v>
                </c:pt>
                <c:pt idx="25">
                  <c:v>43008</c:v>
                </c:pt>
                <c:pt idx="26">
                  <c:v>42916</c:v>
                </c:pt>
                <c:pt idx="27">
                  <c:v>42825</c:v>
                </c:pt>
                <c:pt idx="28">
                  <c:v>42735</c:v>
                </c:pt>
                <c:pt idx="29">
                  <c:v>42643</c:v>
                </c:pt>
                <c:pt idx="30">
                  <c:v>42551</c:v>
                </c:pt>
                <c:pt idx="31">
                  <c:v>42460</c:v>
                </c:pt>
                <c:pt idx="32">
                  <c:v>42369</c:v>
                </c:pt>
                <c:pt idx="33">
                  <c:v>42277</c:v>
                </c:pt>
                <c:pt idx="34">
                  <c:v>42185</c:v>
                </c:pt>
                <c:pt idx="35">
                  <c:v>42094</c:v>
                </c:pt>
                <c:pt idx="36">
                  <c:v>42004</c:v>
                </c:pt>
                <c:pt idx="37">
                  <c:v>41912</c:v>
                </c:pt>
                <c:pt idx="38">
                  <c:v>41820</c:v>
                </c:pt>
                <c:pt idx="39">
                  <c:v>41729</c:v>
                </c:pt>
                <c:pt idx="40">
                  <c:v>41639</c:v>
                </c:pt>
                <c:pt idx="41">
                  <c:v>41547</c:v>
                </c:pt>
                <c:pt idx="42">
                  <c:v>41455</c:v>
                </c:pt>
                <c:pt idx="43">
                  <c:v>41364</c:v>
                </c:pt>
                <c:pt idx="44">
                  <c:v>41274</c:v>
                </c:pt>
                <c:pt idx="45">
                  <c:v>41182</c:v>
                </c:pt>
                <c:pt idx="46">
                  <c:v>41090</c:v>
                </c:pt>
                <c:pt idx="47">
                  <c:v>40999</c:v>
                </c:pt>
                <c:pt idx="48">
                  <c:v>40908</c:v>
                </c:pt>
                <c:pt idx="49">
                  <c:v>40816</c:v>
                </c:pt>
                <c:pt idx="50">
                  <c:v>40724</c:v>
                </c:pt>
                <c:pt idx="51">
                  <c:v>40633</c:v>
                </c:pt>
                <c:pt idx="52">
                  <c:v>40543</c:v>
                </c:pt>
                <c:pt idx="53">
                  <c:v>40451</c:v>
                </c:pt>
                <c:pt idx="54">
                  <c:v>40359</c:v>
                </c:pt>
                <c:pt idx="55">
                  <c:v>40268</c:v>
                </c:pt>
                <c:pt idx="56">
                  <c:v>40178</c:v>
                </c:pt>
                <c:pt idx="57">
                  <c:v>40086</c:v>
                </c:pt>
                <c:pt idx="58">
                  <c:v>39994</c:v>
                </c:pt>
                <c:pt idx="59">
                  <c:v>39903</c:v>
                </c:pt>
                <c:pt idx="60">
                  <c:v>39813</c:v>
                </c:pt>
                <c:pt idx="61">
                  <c:v>39721</c:v>
                </c:pt>
                <c:pt idx="62">
                  <c:v>39629</c:v>
                </c:pt>
                <c:pt idx="63">
                  <c:v>39538</c:v>
                </c:pt>
                <c:pt idx="64">
                  <c:v>39447</c:v>
                </c:pt>
                <c:pt idx="65">
                  <c:v>39355</c:v>
                </c:pt>
                <c:pt idx="66">
                  <c:v>39263</c:v>
                </c:pt>
                <c:pt idx="67">
                  <c:v>39172</c:v>
                </c:pt>
                <c:pt idx="68">
                  <c:v>39082</c:v>
                </c:pt>
                <c:pt idx="69">
                  <c:v>38990</c:v>
                </c:pt>
                <c:pt idx="70">
                  <c:v>38898</c:v>
                </c:pt>
                <c:pt idx="71">
                  <c:v>38807</c:v>
                </c:pt>
                <c:pt idx="72">
                  <c:v>38717</c:v>
                </c:pt>
                <c:pt idx="73">
                  <c:v>38625</c:v>
                </c:pt>
                <c:pt idx="74">
                  <c:v>38533</c:v>
                </c:pt>
                <c:pt idx="75">
                  <c:v>38442</c:v>
                </c:pt>
                <c:pt idx="76">
                  <c:v>38352</c:v>
                </c:pt>
                <c:pt idx="77">
                  <c:v>38260</c:v>
                </c:pt>
                <c:pt idx="78">
                  <c:v>38168</c:v>
                </c:pt>
                <c:pt idx="79">
                  <c:v>38077</c:v>
                </c:pt>
                <c:pt idx="80">
                  <c:v>37986</c:v>
                </c:pt>
                <c:pt idx="81">
                  <c:v>37894</c:v>
                </c:pt>
                <c:pt idx="82">
                  <c:v>37802</c:v>
                </c:pt>
                <c:pt idx="83">
                  <c:v>37711</c:v>
                </c:pt>
                <c:pt idx="84">
                  <c:v>37621</c:v>
                </c:pt>
                <c:pt idx="85">
                  <c:v>37529</c:v>
                </c:pt>
                <c:pt idx="86">
                  <c:v>37437</c:v>
                </c:pt>
                <c:pt idx="87">
                  <c:v>37346</c:v>
                </c:pt>
                <c:pt idx="88">
                  <c:v>37256</c:v>
                </c:pt>
                <c:pt idx="89">
                  <c:v>37164</c:v>
                </c:pt>
                <c:pt idx="90">
                  <c:v>37072</c:v>
                </c:pt>
                <c:pt idx="91">
                  <c:v>36981</c:v>
                </c:pt>
                <c:pt idx="92">
                  <c:v>36891</c:v>
                </c:pt>
                <c:pt idx="93">
                  <c:v>36799</c:v>
                </c:pt>
                <c:pt idx="94">
                  <c:v>36707</c:v>
                </c:pt>
                <c:pt idx="95">
                  <c:v>36616</c:v>
                </c:pt>
                <c:pt idx="96">
                  <c:v>36525</c:v>
                </c:pt>
                <c:pt idx="97">
                  <c:v>36433</c:v>
                </c:pt>
                <c:pt idx="98">
                  <c:v>36341</c:v>
                </c:pt>
                <c:pt idx="99">
                  <c:v>36250</c:v>
                </c:pt>
                <c:pt idx="100">
                  <c:v>36160</c:v>
                </c:pt>
                <c:pt idx="101">
                  <c:v>36068</c:v>
                </c:pt>
                <c:pt idx="102">
                  <c:v>35976</c:v>
                </c:pt>
                <c:pt idx="103">
                  <c:v>35885</c:v>
                </c:pt>
                <c:pt idx="104">
                  <c:v>35795</c:v>
                </c:pt>
                <c:pt idx="105">
                  <c:v>35703</c:v>
                </c:pt>
                <c:pt idx="106">
                  <c:v>35611</c:v>
                </c:pt>
                <c:pt idx="107">
                  <c:v>35520</c:v>
                </c:pt>
                <c:pt idx="108">
                  <c:v>35430</c:v>
                </c:pt>
                <c:pt idx="109">
                  <c:v>35338</c:v>
                </c:pt>
                <c:pt idx="110">
                  <c:v>35246</c:v>
                </c:pt>
                <c:pt idx="111">
                  <c:v>35155</c:v>
                </c:pt>
                <c:pt idx="112">
                  <c:v>35064</c:v>
                </c:pt>
                <c:pt idx="113">
                  <c:v>34972</c:v>
                </c:pt>
                <c:pt idx="114">
                  <c:v>34880</c:v>
                </c:pt>
                <c:pt idx="115">
                  <c:v>34789</c:v>
                </c:pt>
                <c:pt idx="116">
                  <c:v>34699</c:v>
                </c:pt>
                <c:pt idx="117">
                  <c:v>34607</c:v>
                </c:pt>
                <c:pt idx="118">
                  <c:v>34515</c:v>
                </c:pt>
                <c:pt idx="119">
                  <c:v>34424</c:v>
                </c:pt>
              </c:numCache>
            </c:numRef>
          </c:cat>
          <c:val>
            <c:numRef>
              <c:f>'[german competitiveness vs exports.xlsx]Sheet2'!$K$28:$K$147</c:f>
              <c:numCache>
                <c:formatCode>General</c:formatCode>
                <c:ptCount val="120"/>
                <c:pt idx="0">
                  <c:v>-2.4677218196721293</c:v>
                </c:pt>
                <c:pt idx="1">
                  <c:v>-2.1431688365859984</c:v>
                </c:pt>
                <c:pt idx="2">
                  <c:v>-1.8186158534998706</c:v>
                </c:pt>
                <c:pt idx="3">
                  <c:v>-1.4940628704137395</c:v>
                </c:pt>
                <c:pt idx="4">
                  <c:v>-1.8186158534998706</c:v>
                </c:pt>
                <c:pt idx="5">
                  <c:v>-1.4940628704137395</c:v>
                </c:pt>
                <c:pt idx="6">
                  <c:v>-1.1695098873276082</c:v>
                </c:pt>
                <c:pt idx="7">
                  <c:v>-1.4940628704137395</c:v>
                </c:pt>
                <c:pt idx="8">
                  <c:v>-1.1695098873276082</c:v>
                </c:pt>
                <c:pt idx="9">
                  <c:v>-0.84495690424147707</c:v>
                </c:pt>
                <c:pt idx="10">
                  <c:v>-0.52040392115534584</c:v>
                </c:pt>
                <c:pt idx="11">
                  <c:v>-0.19585093806921464</c:v>
                </c:pt>
                <c:pt idx="12">
                  <c:v>-0.19585093806921464</c:v>
                </c:pt>
                <c:pt idx="13">
                  <c:v>-0.19585093806921464</c:v>
                </c:pt>
                <c:pt idx="14">
                  <c:v>-1.4940628704137395</c:v>
                </c:pt>
                <c:pt idx="15">
                  <c:v>0.4532550281030478</c:v>
                </c:pt>
                <c:pt idx="16">
                  <c:v>0.12870204501691659</c:v>
                </c:pt>
                <c:pt idx="17">
                  <c:v>0.4532550281030478</c:v>
                </c:pt>
                <c:pt idx="18">
                  <c:v>0.12870204501691659</c:v>
                </c:pt>
                <c:pt idx="19">
                  <c:v>0.77780801118917897</c:v>
                </c:pt>
                <c:pt idx="20">
                  <c:v>0.12870204501691659</c:v>
                </c:pt>
                <c:pt idx="21">
                  <c:v>0.12870204501691659</c:v>
                </c:pt>
                <c:pt idx="22">
                  <c:v>0.4532550281030478</c:v>
                </c:pt>
                <c:pt idx="23">
                  <c:v>0.77780801118917897</c:v>
                </c:pt>
                <c:pt idx="24">
                  <c:v>1.1023609942753103</c:v>
                </c:pt>
                <c:pt idx="25">
                  <c:v>1.1023609942753103</c:v>
                </c:pt>
                <c:pt idx="26">
                  <c:v>0.77780801118917897</c:v>
                </c:pt>
                <c:pt idx="27">
                  <c:v>0.77780801118917897</c:v>
                </c:pt>
                <c:pt idx="28">
                  <c:v>0.4532550281030478</c:v>
                </c:pt>
                <c:pt idx="29">
                  <c:v>0.77780801118917897</c:v>
                </c:pt>
                <c:pt idx="30">
                  <c:v>1.1023609942753103</c:v>
                </c:pt>
                <c:pt idx="31">
                  <c:v>1.1023609942753103</c:v>
                </c:pt>
                <c:pt idx="32">
                  <c:v>0.77780801118917897</c:v>
                </c:pt>
                <c:pt idx="33">
                  <c:v>1.4269139773614414</c:v>
                </c:pt>
                <c:pt idx="34">
                  <c:v>1.4269139773614414</c:v>
                </c:pt>
                <c:pt idx="35">
                  <c:v>1.4269139773614414</c:v>
                </c:pt>
                <c:pt idx="36">
                  <c:v>1.1023609942753103</c:v>
                </c:pt>
                <c:pt idx="37">
                  <c:v>0.77780801118917897</c:v>
                </c:pt>
                <c:pt idx="38">
                  <c:v>0.77780801118917897</c:v>
                </c:pt>
                <c:pt idx="39">
                  <c:v>0.4532550281030478</c:v>
                </c:pt>
                <c:pt idx="40">
                  <c:v>1.1023609942753103</c:v>
                </c:pt>
                <c:pt idx="41">
                  <c:v>0.4532550281030478</c:v>
                </c:pt>
                <c:pt idx="42">
                  <c:v>0.12870204501691659</c:v>
                </c:pt>
                <c:pt idx="43">
                  <c:v>0.77780801118917897</c:v>
                </c:pt>
                <c:pt idx="44">
                  <c:v>1.1023609942753103</c:v>
                </c:pt>
                <c:pt idx="45">
                  <c:v>1.7514669604475726</c:v>
                </c:pt>
                <c:pt idx="46">
                  <c:v>1.4269139773614414</c:v>
                </c:pt>
                <c:pt idx="47">
                  <c:v>1.1023609942753103</c:v>
                </c:pt>
                <c:pt idx="48">
                  <c:v>0.77780801118917897</c:v>
                </c:pt>
                <c:pt idx="49">
                  <c:v>0.77780801118917897</c:v>
                </c:pt>
                <c:pt idx="50">
                  <c:v>0.77780801118917897</c:v>
                </c:pt>
                <c:pt idx="51">
                  <c:v>0.4532550281030478</c:v>
                </c:pt>
                <c:pt idx="52">
                  <c:v>0.4532550281030478</c:v>
                </c:pt>
                <c:pt idx="53">
                  <c:v>0.12870204501691659</c:v>
                </c:pt>
                <c:pt idx="54">
                  <c:v>0.4532550281030478</c:v>
                </c:pt>
                <c:pt idx="55">
                  <c:v>-0.52040392115534584</c:v>
                </c:pt>
                <c:pt idx="63">
                  <c:v>0.77780801118917897</c:v>
                </c:pt>
                <c:pt idx="64">
                  <c:v>1.1023609942753103</c:v>
                </c:pt>
                <c:pt idx="65">
                  <c:v>1.1023609942753103</c:v>
                </c:pt>
                <c:pt idx="66">
                  <c:v>1.4269139773614414</c:v>
                </c:pt>
                <c:pt idx="67">
                  <c:v>0.77780801118917897</c:v>
                </c:pt>
                <c:pt idx="68">
                  <c:v>2.0760199435337037</c:v>
                </c:pt>
                <c:pt idx="69">
                  <c:v>1.1023609942753103</c:v>
                </c:pt>
                <c:pt idx="70">
                  <c:v>0.12870204501691659</c:v>
                </c:pt>
                <c:pt idx="71">
                  <c:v>-0.19585093806921464</c:v>
                </c:pt>
                <c:pt idx="72">
                  <c:v>-0.19585093806921464</c:v>
                </c:pt>
                <c:pt idx="73">
                  <c:v>0.12870204501691659</c:v>
                </c:pt>
                <c:pt idx="74">
                  <c:v>-0.52040392115534584</c:v>
                </c:pt>
                <c:pt idx="75">
                  <c:v>-0.19585093806921464</c:v>
                </c:pt>
                <c:pt idx="76">
                  <c:v>-0.84495690424147707</c:v>
                </c:pt>
                <c:pt idx="77">
                  <c:v>-0.19585093806921464</c:v>
                </c:pt>
                <c:pt idx="78">
                  <c:v>0.77780801118917897</c:v>
                </c:pt>
                <c:pt idx="79">
                  <c:v>0.4532550281030478</c:v>
                </c:pt>
                <c:pt idx="80">
                  <c:v>-0.19585093806921464</c:v>
                </c:pt>
                <c:pt idx="81">
                  <c:v>0.12870204501691659</c:v>
                </c:pt>
                <c:pt idx="82">
                  <c:v>-0.19585093806921464</c:v>
                </c:pt>
                <c:pt idx="83">
                  <c:v>-0.19585093806921464</c:v>
                </c:pt>
                <c:pt idx="84">
                  <c:v>1.4269139773614414</c:v>
                </c:pt>
                <c:pt idx="85">
                  <c:v>1.1023609942753103</c:v>
                </c:pt>
                <c:pt idx="86">
                  <c:v>0.77780801118917897</c:v>
                </c:pt>
                <c:pt idx="87">
                  <c:v>0.4532550281030478</c:v>
                </c:pt>
                <c:pt idx="88">
                  <c:v>1.4269139773614414</c:v>
                </c:pt>
                <c:pt idx="89">
                  <c:v>0.77780801118917897</c:v>
                </c:pt>
                <c:pt idx="90">
                  <c:v>0.4532550281030478</c:v>
                </c:pt>
                <c:pt idx="91">
                  <c:v>0.12870204501691659</c:v>
                </c:pt>
                <c:pt idx="92">
                  <c:v>-0.19585093806921464</c:v>
                </c:pt>
                <c:pt idx="93">
                  <c:v>-0.84495690424147707</c:v>
                </c:pt>
                <c:pt idx="94">
                  <c:v>-0.52040392115534584</c:v>
                </c:pt>
                <c:pt idx="95">
                  <c:v>-0.84495690424147707</c:v>
                </c:pt>
                <c:pt idx="96">
                  <c:v>-1.1695098873276082</c:v>
                </c:pt>
                <c:pt idx="97">
                  <c:v>-0.84495690424147707</c:v>
                </c:pt>
                <c:pt idx="98">
                  <c:v>-0.84495690424147707</c:v>
                </c:pt>
                <c:pt idx="99">
                  <c:v>-1.4940628704137395</c:v>
                </c:pt>
                <c:pt idx="100">
                  <c:v>-1.8186158534998706</c:v>
                </c:pt>
                <c:pt idx="101">
                  <c:v>-0.84495690424147707</c:v>
                </c:pt>
                <c:pt idx="102">
                  <c:v>-0.52040392115534584</c:v>
                </c:pt>
                <c:pt idx="103">
                  <c:v>-0.84495690424147707</c:v>
                </c:pt>
                <c:pt idx="104">
                  <c:v>-0.84495690424147707</c:v>
                </c:pt>
                <c:pt idx="105">
                  <c:v>-0.52040392115534584</c:v>
                </c:pt>
                <c:pt idx="106">
                  <c:v>-1.4940628704137395</c:v>
                </c:pt>
                <c:pt idx="107">
                  <c:v>-1.1695098873276082</c:v>
                </c:pt>
                <c:pt idx="108">
                  <c:v>-0.84495690424147707</c:v>
                </c:pt>
                <c:pt idx="109">
                  <c:v>-1.4940628704137395</c:v>
                </c:pt>
                <c:pt idx="110">
                  <c:v>-1.8186158534998706</c:v>
                </c:pt>
                <c:pt idx="111">
                  <c:v>-1.4940628704137395</c:v>
                </c:pt>
                <c:pt idx="112">
                  <c:v>-1.4940628704137395</c:v>
                </c:pt>
                <c:pt idx="113">
                  <c:v>-1.1695098873276082</c:v>
                </c:pt>
                <c:pt idx="114">
                  <c:v>-1.4940628704137395</c:v>
                </c:pt>
                <c:pt idx="115">
                  <c:v>-0.84495690424147707</c:v>
                </c:pt>
                <c:pt idx="116">
                  <c:v>-1.4940628704137395</c:v>
                </c:pt>
                <c:pt idx="117">
                  <c:v>-0.52040392115534584</c:v>
                </c:pt>
                <c:pt idx="118">
                  <c:v>0.12870204501691659</c:v>
                </c:pt>
                <c:pt idx="119">
                  <c:v>-0.52040392115534584</c:v>
                </c:pt>
              </c:numCache>
            </c:numRef>
          </c:val>
          <c:smooth val="0"/>
          <c:extLst>
            <c:ext xmlns:c16="http://schemas.microsoft.com/office/drawing/2014/chart" uri="{C3380CC4-5D6E-409C-BE32-E72D297353CC}">
              <c16:uniqueId val="{00000000-A67A-44EF-B959-35D18704E848}"/>
            </c:ext>
          </c:extLst>
        </c:ser>
        <c:dLbls>
          <c:showLegendKey val="0"/>
          <c:showVal val="0"/>
          <c:showCatName val="0"/>
          <c:showSerName val="0"/>
          <c:showPercent val="0"/>
          <c:showBubbleSize val="0"/>
        </c:dLbls>
        <c:marker val="1"/>
        <c:smooth val="0"/>
        <c:axId val="152049823"/>
        <c:axId val="1920880976"/>
      </c:lineChart>
      <c:lineChart>
        <c:grouping val="standard"/>
        <c:varyColors val="0"/>
        <c:ser>
          <c:idx val="1"/>
          <c:order val="1"/>
          <c:tx>
            <c:v>Relative Lohnstückkosten (rechts, invers)</c:v>
          </c:tx>
          <c:spPr>
            <a:ln w="25400" cap="rnd">
              <a:solidFill>
                <a:schemeClr val="accent5"/>
              </a:solidFill>
              <a:prstDash val="solid"/>
              <a:round/>
            </a:ln>
            <a:effectLst/>
          </c:spPr>
          <c:marker>
            <c:symbol val="none"/>
          </c:marker>
          <c:cat>
            <c:numRef>
              <c:f>'[german competitiveness vs exports.xlsx]Sheet2'!$D$28:$D$147</c:f>
              <c:numCache>
                <c:formatCode>m/d/yyyy</c:formatCode>
                <c:ptCount val="120"/>
                <c:pt idx="0">
                  <c:v>45291</c:v>
                </c:pt>
                <c:pt idx="1">
                  <c:v>45199</c:v>
                </c:pt>
                <c:pt idx="2">
                  <c:v>45107</c:v>
                </c:pt>
                <c:pt idx="3">
                  <c:v>45016</c:v>
                </c:pt>
                <c:pt idx="4">
                  <c:v>44926</c:v>
                </c:pt>
                <c:pt idx="5">
                  <c:v>44834</c:v>
                </c:pt>
                <c:pt idx="6">
                  <c:v>44742</c:v>
                </c:pt>
                <c:pt idx="7">
                  <c:v>44651</c:v>
                </c:pt>
                <c:pt idx="8">
                  <c:v>44561</c:v>
                </c:pt>
                <c:pt idx="9">
                  <c:v>44469</c:v>
                </c:pt>
                <c:pt idx="10">
                  <c:v>44377</c:v>
                </c:pt>
                <c:pt idx="11">
                  <c:v>44286</c:v>
                </c:pt>
                <c:pt idx="12">
                  <c:v>44196</c:v>
                </c:pt>
                <c:pt idx="13">
                  <c:v>44104</c:v>
                </c:pt>
                <c:pt idx="14">
                  <c:v>44012</c:v>
                </c:pt>
                <c:pt idx="15">
                  <c:v>43921</c:v>
                </c:pt>
                <c:pt idx="16">
                  <c:v>43830</c:v>
                </c:pt>
                <c:pt idx="17">
                  <c:v>43738</c:v>
                </c:pt>
                <c:pt idx="18">
                  <c:v>43646</c:v>
                </c:pt>
                <c:pt idx="19">
                  <c:v>43555</c:v>
                </c:pt>
                <c:pt idx="20">
                  <c:v>43465</c:v>
                </c:pt>
                <c:pt idx="21">
                  <c:v>43373</c:v>
                </c:pt>
                <c:pt idx="22">
                  <c:v>43281</c:v>
                </c:pt>
                <c:pt idx="23">
                  <c:v>43190</c:v>
                </c:pt>
                <c:pt idx="24">
                  <c:v>43100</c:v>
                </c:pt>
                <c:pt idx="25">
                  <c:v>43008</c:v>
                </c:pt>
                <c:pt idx="26">
                  <c:v>42916</c:v>
                </c:pt>
                <c:pt idx="27">
                  <c:v>42825</c:v>
                </c:pt>
                <c:pt idx="28">
                  <c:v>42735</c:v>
                </c:pt>
                <c:pt idx="29">
                  <c:v>42643</c:v>
                </c:pt>
                <c:pt idx="30">
                  <c:v>42551</c:v>
                </c:pt>
                <c:pt idx="31">
                  <c:v>42460</c:v>
                </c:pt>
                <c:pt idx="32">
                  <c:v>42369</c:v>
                </c:pt>
                <c:pt idx="33">
                  <c:v>42277</c:v>
                </c:pt>
                <c:pt idx="34">
                  <c:v>42185</c:v>
                </c:pt>
                <c:pt idx="35">
                  <c:v>42094</c:v>
                </c:pt>
                <c:pt idx="36">
                  <c:v>42004</c:v>
                </c:pt>
                <c:pt idx="37">
                  <c:v>41912</c:v>
                </c:pt>
                <c:pt idx="38">
                  <c:v>41820</c:v>
                </c:pt>
                <c:pt idx="39">
                  <c:v>41729</c:v>
                </c:pt>
                <c:pt idx="40">
                  <c:v>41639</c:v>
                </c:pt>
                <c:pt idx="41">
                  <c:v>41547</c:v>
                </c:pt>
                <c:pt idx="42">
                  <c:v>41455</c:v>
                </c:pt>
                <c:pt idx="43">
                  <c:v>41364</c:v>
                </c:pt>
                <c:pt idx="44">
                  <c:v>41274</c:v>
                </c:pt>
                <c:pt idx="45">
                  <c:v>41182</c:v>
                </c:pt>
                <c:pt idx="46">
                  <c:v>41090</c:v>
                </c:pt>
                <c:pt idx="47">
                  <c:v>40999</c:v>
                </c:pt>
                <c:pt idx="48">
                  <c:v>40908</c:v>
                </c:pt>
                <c:pt idx="49">
                  <c:v>40816</c:v>
                </c:pt>
                <c:pt idx="50">
                  <c:v>40724</c:v>
                </c:pt>
                <c:pt idx="51">
                  <c:v>40633</c:v>
                </c:pt>
                <c:pt idx="52">
                  <c:v>40543</c:v>
                </c:pt>
                <c:pt idx="53">
                  <c:v>40451</c:v>
                </c:pt>
                <c:pt idx="54">
                  <c:v>40359</c:v>
                </c:pt>
                <c:pt idx="55">
                  <c:v>40268</c:v>
                </c:pt>
                <c:pt idx="56">
                  <c:v>40178</c:v>
                </c:pt>
                <c:pt idx="57">
                  <c:v>40086</c:v>
                </c:pt>
                <c:pt idx="58">
                  <c:v>39994</c:v>
                </c:pt>
                <c:pt idx="59">
                  <c:v>39903</c:v>
                </c:pt>
                <c:pt idx="60">
                  <c:v>39813</c:v>
                </c:pt>
                <c:pt idx="61">
                  <c:v>39721</c:v>
                </c:pt>
                <c:pt idx="62">
                  <c:v>39629</c:v>
                </c:pt>
                <c:pt idx="63">
                  <c:v>39538</c:v>
                </c:pt>
                <c:pt idx="64">
                  <c:v>39447</c:v>
                </c:pt>
                <c:pt idx="65">
                  <c:v>39355</c:v>
                </c:pt>
                <c:pt idx="66">
                  <c:v>39263</c:v>
                </c:pt>
                <c:pt idx="67">
                  <c:v>39172</c:v>
                </c:pt>
                <c:pt idx="68">
                  <c:v>39082</c:v>
                </c:pt>
                <c:pt idx="69">
                  <c:v>38990</c:v>
                </c:pt>
                <c:pt idx="70">
                  <c:v>38898</c:v>
                </c:pt>
                <c:pt idx="71">
                  <c:v>38807</c:v>
                </c:pt>
                <c:pt idx="72">
                  <c:v>38717</c:v>
                </c:pt>
                <c:pt idx="73">
                  <c:v>38625</c:v>
                </c:pt>
                <c:pt idx="74">
                  <c:v>38533</c:v>
                </c:pt>
                <c:pt idx="75">
                  <c:v>38442</c:v>
                </c:pt>
                <c:pt idx="76">
                  <c:v>38352</c:v>
                </c:pt>
                <c:pt idx="77">
                  <c:v>38260</c:v>
                </c:pt>
                <c:pt idx="78">
                  <c:v>38168</c:v>
                </c:pt>
                <c:pt idx="79">
                  <c:v>38077</c:v>
                </c:pt>
                <c:pt idx="80">
                  <c:v>37986</c:v>
                </c:pt>
                <c:pt idx="81">
                  <c:v>37894</c:v>
                </c:pt>
                <c:pt idx="82">
                  <c:v>37802</c:v>
                </c:pt>
                <c:pt idx="83">
                  <c:v>37711</c:v>
                </c:pt>
                <c:pt idx="84">
                  <c:v>37621</c:v>
                </c:pt>
                <c:pt idx="85">
                  <c:v>37529</c:v>
                </c:pt>
                <c:pt idx="86">
                  <c:v>37437</c:v>
                </c:pt>
                <c:pt idx="87">
                  <c:v>37346</c:v>
                </c:pt>
                <c:pt idx="88">
                  <c:v>37256</c:v>
                </c:pt>
                <c:pt idx="89">
                  <c:v>37164</c:v>
                </c:pt>
                <c:pt idx="90">
                  <c:v>37072</c:v>
                </c:pt>
                <c:pt idx="91">
                  <c:v>36981</c:v>
                </c:pt>
                <c:pt idx="92">
                  <c:v>36891</c:v>
                </c:pt>
                <c:pt idx="93">
                  <c:v>36799</c:v>
                </c:pt>
                <c:pt idx="94">
                  <c:v>36707</c:v>
                </c:pt>
                <c:pt idx="95">
                  <c:v>36616</c:v>
                </c:pt>
                <c:pt idx="96">
                  <c:v>36525</c:v>
                </c:pt>
                <c:pt idx="97">
                  <c:v>36433</c:v>
                </c:pt>
                <c:pt idx="98">
                  <c:v>36341</c:v>
                </c:pt>
                <c:pt idx="99">
                  <c:v>36250</c:v>
                </c:pt>
                <c:pt idx="100">
                  <c:v>36160</c:v>
                </c:pt>
                <c:pt idx="101">
                  <c:v>36068</c:v>
                </c:pt>
                <c:pt idx="102">
                  <c:v>35976</c:v>
                </c:pt>
                <c:pt idx="103">
                  <c:v>35885</c:v>
                </c:pt>
                <c:pt idx="104">
                  <c:v>35795</c:v>
                </c:pt>
                <c:pt idx="105">
                  <c:v>35703</c:v>
                </c:pt>
                <c:pt idx="106">
                  <c:v>35611</c:v>
                </c:pt>
                <c:pt idx="107">
                  <c:v>35520</c:v>
                </c:pt>
                <c:pt idx="108">
                  <c:v>35430</c:v>
                </c:pt>
                <c:pt idx="109">
                  <c:v>35338</c:v>
                </c:pt>
                <c:pt idx="110">
                  <c:v>35246</c:v>
                </c:pt>
                <c:pt idx="111">
                  <c:v>35155</c:v>
                </c:pt>
                <c:pt idx="112">
                  <c:v>35064</c:v>
                </c:pt>
                <c:pt idx="113">
                  <c:v>34972</c:v>
                </c:pt>
                <c:pt idx="114">
                  <c:v>34880</c:v>
                </c:pt>
                <c:pt idx="115">
                  <c:v>34789</c:v>
                </c:pt>
                <c:pt idx="116">
                  <c:v>34699</c:v>
                </c:pt>
                <c:pt idx="117">
                  <c:v>34607</c:v>
                </c:pt>
                <c:pt idx="118">
                  <c:v>34515</c:v>
                </c:pt>
                <c:pt idx="119">
                  <c:v>34424</c:v>
                </c:pt>
              </c:numCache>
            </c:numRef>
          </c:cat>
          <c:val>
            <c:numRef>
              <c:f>'[german competitiveness vs exports.xlsx]Sheet2'!$F$28:$F$147</c:f>
              <c:numCache>
                <c:formatCode>General</c:formatCode>
                <c:ptCount val="120"/>
                <c:pt idx="0">
                  <c:v>-0.18193766364593453</c:v>
                </c:pt>
                <c:pt idx="1">
                  <c:v>-0.16066502005476965</c:v>
                </c:pt>
                <c:pt idx="2">
                  <c:v>-0.23300949861917519</c:v>
                </c:pt>
                <c:pt idx="3">
                  <c:v>-0.15465271071502534</c:v>
                </c:pt>
                <c:pt idx="4">
                  <c:v>-0.3035940102677655</c:v>
                </c:pt>
                <c:pt idx="5">
                  <c:v>-0.5327723108272634</c:v>
                </c:pt>
                <c:pt idx="6">
                  <c:v>-0.40179141899306758</c:v>
                </c:pt>
                <c:pt idx="7">
                  <c:v>-0.20182201035319547</c:v>
                </c:pt>
                <c:pt idx="8">
                  <c:v>-8.957766071594668E-2</c:v>
                </c:pt>
                <c:pt idx="9">
                  <c:v>-2.4841486334197849E-2</c:v>
                </c:pt>
                <c:pt idx="10">
                  <c:v>-0.16007472059232117</c:v>
                </c:pt>
                <c:pt idx="11">
                  <c:v>-1.9791146488813353E-2</c:v>
                </c:pt>
                <c:pt idx="12">
                  <c:v>-0.15845686280635446</c:v>
                </c:pt>
                <c:pt idx="13">
                  <c:v>-9.8935000342893001E-2</c:v>
                </c:pt>
                <c:pt idx="14">
                  <c:v>-1.0237040374384195E-2</c:v>
                </c:pt>
                <c:pt idx="15">
                  <c:v>-0.17460264625144772</c:v>
                </c:pt>
                <c:pt idx="16">
                  <c:v>-0.25429307368186721</c:v>
                </c:pt>
                <c:pt idx="17">
                  <c:v>-9.8552398839454505E-2</c:v>
                </c:pt>
                <c:pt idx="18">
                  <c:v>-0.16883082928529336</c:v>
                </c:pt>
                <c:pt idx="19">
                  <c:v>-0.23891249324365094</c:v>
                </c:pt>
                <c:pt idx="20">
                  <c:v>-0.18565436396504939</c:v>
                </c:pt>
                <c:pt idx="21">
                  <c:v>-8.0898072323661557E-2</c:v>
                </c:pt>
                <c:pt idx="22">
                  <c:v>-0.31972886224133157</c:v>
                </c:pt>
                <c:pt idx="23">
                  <c:v>-0.29254229255416381</c:v>
                </c:pt>
                <c:pt idx="24">
                  <c:v>-0.45051298758804453</c:v>
                </c:pt>
                <c:pt idx="25">
                  <c:v>-0.45194501035805557</c:v>
                </c:pt>
                <c:pt idx="26">
                  <c:v>-0.6090630506128466</c:v>
                </c:pt>
                <c:pt idx="27">
                  <c:v>-0.61811430903704145</c:v>
                </c:pt>
                <c:pt idx="28">
                  <c:v>-0.49932200795523568</c:v>
                </c:pt>
                <c:pt idx="29">
                  <c:v>-0.53724328268172805</c:v>
                </c:pt>
                <c:pt idx="30">
                  <c:v>-0.568583811549082</c:v>
                </c:pt>
                <c:pt idx="31">
                  <c:v>-0.55578305839119069</c:v>
                </c:pt>
                <c:pt idx="32">
                  <c:v>-0.63716786390826552</c:v>
                </c:pt>
                <c:pt idx="33">
                  <c:v>-0.66468237774123751</c:v>
                </c:pt>
                <c:pt idx="34">
                  <c:v>-0.8552507208680562</c:v>
                </c:pt>
                <c:pt idx="35">
                  <c:v>-0.76149148958263724</c:v>
                </c:pt>
                <c:pt idx="36">
                  <c:v>-0.73180161291583001</c:v>
                </c:pt>
                <c:pt idx="37">
                  <c:v>-0.70578471068203052</c:v>
                </c:pt>
                <c:pt idx="38">
                  <c:v>-0.64365022652366255</c:v>
                </c:pt>
                <c:pt idx="39">
                  <c:v>-0.67269514637038696</c:v>
                </c:pt>
                <c:pt idx="40">
                  <c:v>-0.75077864748636536</c:v>
                </c:pt>
                <c:pt idx="41">
                  <c:v>-0.89046099065590067</c:v>
                </c:pt>
                <c:pt idx="42">
                  <c:v>-1.0236719026815644</c:v>
                </c:pt>
                <c:pt idx="43">
                  <c:v>-0.99762220603318497</c:v>
                </c:pt>
                <c:pt idx="44">
                  <c:v>-1.176679709642275</c:v>
                </c:pt>
                <c:pt idx="45">
                  <c:v>-1.2962372137309577</c:v>
                </c:pt>
                <c:pt idx="46">
                  <c:v>-1.1720010398288017</c:v>
                </c:pt>
                <c:pt idx="47">
                  <c:v>-1.181598871829338</c:v>
                </c:pt>
                <c:pt idx="48">
                  <c:v>-1.0808216358237093</c:v>
                </c:pt>
                <c:pt idx="49">
                  <c:v>-1.1367361126833244</c:v>
                </c:pt>
                <c:pt idx="50">
                  <c:v>-1.023016014389956</c:v>
                </c:pt>
                <c:pt idx="51">
                  <c:v>-1.1653219107259234</c:v>
                </c:pt>
                <c:pt idx="52">
                  <c:v>-1.033958417388289</c:v>
                </c:pt>
                <c:pt idx="53">
                  <c:v>-1.0865825213183349</c:v>
                </c:pt>
                <c:pt idx="54">
                  <c:v>-1.0575266700000834</c:v>
                </c:pt>
                <c:pt idx="55">
                  <c:v>-0.62790890752506057</c:v>
                </c:pt>
                <c:pt idx="56">
                  <c:v>-0.44149452357842955</c:v>
                </c:pt>
                <c:pt idx="57">
                  <c:v>-0.42250655753636546</c:v>
                </c:pt>
                <c:pt idx="58">
                  <c:v>-0.47560071474206567</c:v>
                </c:pt>
                <c:pt idx="59">
                  <c:v>-0.40714784004120352</c:v>
                </c:pt>
                <c:pt idx="60">
                  <c:v>-0.96834772528439617</c:v>
                </c:pt>
                <c:pt idx="61">
                  <c:v>-0.97949782624173931</c:v>
                </c:pt>
                <c:pt idx="62">
                  <c:v>-0.87144023019925654</c:v>
                </c:pt>
                <c:pt idx="63">
                  <c:v>-0.96939714655097031</c:v>
                </c:pt>
                <c:pt idx="64">
                  <c:v>-0.91134010127209986</c:v>
                </c:pt>
                <c:pt idx="65">
                  <c:v>-0.91250976872546807</c:v>
                </c:pt>
                <c:pt idx="66">
                  <c:v>-0.84587151829805551</c:v>
                </c:pt>
                <c:pt idx="67">
                  <c:v>-0.78016244295042281</c:v>
                </c:pt>
                <c:pt idx="68">
                  <c:v>-0.81515408330773009</c:v>
                </c:pt>
                <c:pt idx="69">
                  <c:v>-0.54982540640908217</c:v>
                </c:pt>
                <c:pt idx="70">
                  <c:v>-0.56083339823657519</c:v>
                </c:pt>
                <c:pt idx="71">
                  <c:v>-0.51057049215632022</c:v>
                </c:pt>
                <c:pt idx="72">
                  <c:v>-0.38763516336585391</c:v>
                </c:pt>
                <c:pt idx="73">
                  <c:v>-0.25279546208269471</c:v>
                </c:pt>
                <c:pt idx="74">
                  <c:v>1.1287027061897789E-2</c:v>
                </c:pt>
                <c:pt idx="75">
                  <c:v>0.23377526704699014</c:v>
                </c:pt>
                <c:pt idx="76">
                  <c:v>0.36088641796069687</c:v>
                </c:pt>
                <c:pt idx="77">
                  <c:v>0.33239900316183946</c:v>
                </c:pt>
                <c:pt idx="78">
                  <c:v>0.35852522011090598</c:v>
                </c:pt>
                <c:pt idx="79">
                  <c:v>0.62071656468136027</c:v>
                </c:pt>
                <c:pt idx="80">
                  <c:v>0.47208134633137311</c:v>
                </c:pt>
                <c:pt idx="81">
                  <c:v>0.415718679139158</c:v>
                </c:pt>
                <c:pt idx="82">
                  <c:v>0.50738999936295748</c:v>
                </c:pt>
                <c:pt idx="83">
                  <c:v>0.45631816438971834</c:v>
                </c:pt>
                <c:pt idx="84">
                  <c:v>0.14352503812167611</c:v>
                </c:pt>
                <c:pt idx="85">
                  <c:v>0.12673429785650156</c:v>
                </c:pt>
                <c:pt idx="86">
                  <c:v>-4.7502426809268167E-2</c:v>
                </c:pt>
                <c:pt idx="87">
                  <c:v>-8.6560574574547341E-2</c:v>
                </c:pt>
                <c:pt idx="88">
                  <c:v>0.10740745619710763</c:v>
                </c:pt>
                <c:pt idx="89">
                  <c:v>7.3519894464007154E-2</c:v>
                </c:pt>
                <c:pt idx="90">
                  <c:v>7.5913886728378024E-2</c:v>
                </c:pt>
                <c:pt idx="91">
                  <c:v>0.31040488244990472</c:v>
                </c:pt>
                <c:pt idx="92">
                  <c:v>0.37069194792024163</c:v>
                </c:pt>
                <c:pt idx="93">
                  <c:v>0.45505011369260867</c:v>
                </c:pt>
                <c:pt idx="94">
                  <c:v>0.55603504765724732</c:v>
                </c:pt>
                <c:pt idx="95">
                  <c:v>0.77579041976063901</c:v>
                </c:pt>
                <c:pt idx="96">
                  <c:v>1.0636488594760343</c:v>
                </c:pt>
                <c:pt idx="97">
                  <c:v>1.1963787867545197</c:v>
                </c:pt>
                <c:pt idx="98">
                  <c:v>1.4181018237327365</c:v>
                </c:pt>
                <c:pt idx="99">
                  <c:v>1.4939443731857198</c:v>
                </c:pt>
                <c:pt idx="100">
                  <c:v>1.7679307755335985</c:v>
                </c:pt>
                <c:pt idx="101">
                  <c:v>1.4210095951588673</c:v>
                </c:pt>
                <c:pt idx="102">
                  <c:v>1.2906845916162799</c:v>
                </c:pt>
                <c:pt idx="103">
                  <c:v>1.1006518905942739</c:v>
                </c:pt>
                <c:pt idx="104">
                  <c:v>1.1973626191919322</c:v>
                </c:pt>
                <c:pt idx="105">
                  <c:v>0.95199480930123237</c:v>
                </c:pt>
                <c:pt idx="106">
                  <c:v>1.2248115441957428</c:v>
                </c:pt>
                <c:pt idx="107">
                  <c:v>1.5809807494821533</c:v>
                </c:pt>
                <c:pt idx="108">
                  <c:v>1.9103787809994144</c:v>
                </c:pt>
                <c:pt idx="109">
                  <c:v>2.2227674428209636</c:v>
                </c:pt>
                <c:pt idx="110">
                  <c:v>2.1704275571506151</c:v>
                </c:pt>
                <c:pt idx="111">
                  <c:v>2.7637987630971983</c:v>
                </c:pt>
                <c:pt idx="112">
                  <c:v>2.9661403010583869</c:v>
                </c:pt>
                <c:pt idx="113">
                  <c:v>2.9178341283814317</c:v>
                </c:pt>
                <c:pt idx="114">
                  <c:v>3.1109057784878882</c:v>
                </c:pt>
                <c:pt idx="115">
                  <c:v>2.8724575900736551</c:v>
                </c:pt>
                <c:pt idx="116">
                  <c:v>2.3337656047041571</c:v>
                </c:pt>
                <c:pt idx="117">
                  <c:v>2.3420407286499509</c:v>
                </c:pt>
                <c:pt idx="118">
                  <c:v>2.075061399550755</c:v>
                </c:pt>
                <c:pt idx="119">
                  <c:v>2.0318602240768153</c:v>
                </c:pt>
              </c:numCache>
            </c:numRef>
          </c:val>
          <c:smooth val="0"/>
          <c:extLst>
            <c:ext xmlns:c16="http://schemas.microsoft.com/office/drawing/2014/chart" uri="{C3380CC4-5D6E-409C-BE32-E72D297353CC}">
              <c16:uniqueId val="{00000001-A67A-44EF-B959-35D18704E848}"/>
            </c:ext>
          </c:extLst>
        </c:ser>
        <c:dLbls>
          <c:showLegendKey val="0"/>
          <c:showVal val="0"/>
          <c:showCatName val="0"/>
          <c:showSerName val="0"/>
          <c:showPercent val="0"/>
          <c:showBubbleSize val="0"/>
        </c:dLbls>
        <c:marker val="1"/>
        <c:smooth val="0"/>
        <c:axId val="1930227856"/>
        <c:axId val="1677068528"/>
      </c:lineChart>
      <c:dateAx>
        <c:axId val="152049823"/>
        <c:scaling>
          <c:orientation val="minMax"/>
          <c:min val="34335"/>
        </c:scaling>
        <c:delete val="0"/>
        <c:axPos val="b"/>
        <c:numFmt formatCode="yy" sourceLinked="0"/>
        <c:majorTickMark val="none"/>
        <c:minorTickMark val="none"/>
        <c:tickLblPos val="low"/>
        <c:spPr>
          <a:noFill/>
          <a:ln w="25400" cap="flat" cmpd="sng" algn="ctr">
            <a:solidFill>
              <a:srgbClr val="72706F"/>
            </a:solidFill>
            <a:prstDash val="solid"/>
            <a:round/>
          </a:ln>
          <a:effectLst/>
        </c:spPr>
        <c:txPr>
          <a:bodyPr rot="0" spcFirstLastPara="1" vertOverflow="ellipsis" wrap="square" anchor="ctr" anchorCtr="1"/>
          <a:lstStyle/>
          <a:p>
            <a:pPr>
              <a:defRPr sz="1100" b="0" i="0" u="none" strike="noStrike" kern="1200" baseline="0">
                <a:solidFill>
                  <a:srgbClr val="000000"/>
                </a:solidFill>
                <a:latin typeface="Arial"/>
                <a:ea typeface="Arial"/>
                <a:cs typeface="Arial"/>
              </a:defRPr>
            </a:pPr>
            <a:endParaRPr lang="en-US"/>
          </a:p>
        </c:txPr>
        <c:crossAx val="1920880976"/>
        <c:crosses val="autoZero"/>
        <c:auto val="1"/>
        <c:lblOffset val="100"/>
        <c:baseTimeUnit val="months"/>
        <c:majorUnit val="4"/>
        <c:majorTimeUnit val="years"/>
      </c:dateAx>
      <c:valAx>
        <c:axId val="1920880976"/>
        <c:scaling>
          <c:orientation val="minMax"/>
        </c:scaling>
        <c:delete val="0"/>
        <c:axPos val="l"/>
        <c:numFmt formatCode="General" sourceLinked="1"/>
        <c:majorTickMark val="none"/>
        <c:minorTickMark val="none"/>
        <c:tickLblPos val="nextTo"/>
        <c:spPr>
          <a:noFill/>
          <a:ln w="25400">
            <a:noFill/>
          </a:ln>
          <a:effectLst/>
        </c:spPr>
        <c:txPr>
          <a:bodyPr rot="-60000000" spcFirstLastPara="1" vertOverflow="ellipsis" vert="horz" wrap="square" anchor="ctr" anchorCtr="1"/>
          <a:lstStyle/>
          <a:p>
            <a:pPr>
              <a:defRPr sz="1100" b="0" i="0" u="none" strike="noStrike" kern="1200" baseline="0">
                <a:solidFill>
                  <a:srgbClr val="000000"/>
                </a:solidFill>
                <a:latin typeface="Arial"/>
                <a:ea typeface="Arial"/>
                <a:cs typeface="Arial"/>
              </a:defRPr>
            </a:pPr>
            <a:endParaRPr lang="en-US"/>
          </a:p>
        </c:txPr>
        <c:crossAx val="152049823"/>
        <c:crosses val="autoZero"/>
        <c:crossBetween val="between"/>
        <c:majorUnit val="1"/>
      </c:valAx>
      <c:valAx>
        <c:axId val="1677068528"/>
        <c:scaling>
          <c:orientation val="maxMin"/>
          <c:max val="3"/>
          <c:min val="-3"/>
        </c:scaling>
        <c:delete val="0"/>
        <c:axPos val="r"/>
        <c:numFmt formatCode="General" sourceLinked="1"/>
        <c:majorTickMark val="none"/>
        <c:minorTickMark val="none"/>
        <c:tickLblPos val="nextTo"/>
        <c:spPr>
          <a:noFill/>
          <a:ln w="25400">
            <a:noFill/>
          </a:ln>
          <a:effectLst/>
        </c:spPr>
        <c:txPr>
          <a:bodyPr rot="-60000000" spcFirstLastPara="1" vertOverflow="ellipsis" vert="horz" wrap="square" anchor="ctr" anchorCtr="1"/>
          <a:lstStyle/>
          <a:p>
            <a:pPr>
              <a:defRPr sz="1100" b="0" i="0" u="none" strike="noStrike" kern="1200" baseline="0">
                <a:solidFill>
                  <a:srgbClr val="000000"/>
                </a:solidFill>
                <a:latin typeface="Arial"/>
                <a:ea typeface="Arial"/>
                <a:cs typeface="Arial"/>
              </a:defRPr>
            </a:pPr>
            <a:endParaRPr lang="en-US"/>
          </a:p>
        </c:txPr>
        <c:crossAx val="1930227856"/>
        <c:crosses val="max"/>
        <c:crossBetween val="midCat"/>
        <c:majorUnit val="1"/>
      </c:valAx>
      <c:dateAx>
        <c:axId val="1930227856"/>
        <c:scaling>
          <c:orientation val="minMax"/>
          <c:min val="34335"/>
        </c:scaling>
        <c:delete val="0"/>
        <c:axPos val="t"/>
        <c:numFmt formatCode="m/d/yyyy" sourceLinked="1"/>
        <c:majorTickMark val="none"/>
        <c:minorTickMark val="none"/>
        <c:tickLblPos val="none"/>
        <c:spPr>
          <a:noFill/>
          <a:ln w="25400" cap="flat" cmpd="sng" algn="ctr">
            <a:solidFill>
              <a:srgbClr val="72706F"/>
            </a:solidFill>
            <a:prstDash val="solid"/>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a:ea typeface="Arial"/>
                <a:cs typeface="Arial"/>
              </a:defRPr>
            </a:pPr>
            <a:endParaRPr lang="en-US"/>
          </a:p>
        </c:txPr>
        <c:crossAx val="1677068528"/>
        <c:crosses val="autoZero"/>
        <c:auto val="1"/>
        <c:lblOffset val="100"/>
        <c:baseTimeUnit val="months"/>
        <c:majorUnit val="18"/>
        <c:majorTimeUnit val="years"/>
      </c:dateAx>
      <c:spPr>
        <a:noFill/>
        <a:ln w="25400">
          <a:noFill/>
        </a:ln>
        <a:effectLst/>
      </c:spPr>
    </c:plotArea>
    <c:legend>
      <c:legendPos val="b"/>
      <c:layout>
        <c:manualLayout>
          <c:xMode val="edge"/>
          <c:yMode val="edge"/>
          <c:x val="7.9051865518397393E-2"/>
          <c:y val="0.78610579719558737"/>
          <c:w val="0.84922464662753538"/>
          <c:h val="0.13040271704751591"/>
        </c:manualLayout>
      </c:layout>
      <c:overlay val="0"/>
      <c:spPr>
        <a:noFill/>
        <a:ln w="25400">
          <a:noFill/>
        </a:ln>
        <a:effectLst/>
        <a:extLst>
          <a:ext uri="{909E8E84-426E-40DD-AFC4-6F175D3DCCD1}">
            <a14:hiddenFill xmlns:a14="http://schemas.microsoft.com/office/drawing/2010/main">
              <a:noFill/>
            </a14:hiddenFill>
          </a:ext>
        </a:extLst>
      </c:spPr>
      <c:txPr>
        <a:bodyPr rot="0" spcFirstLastPara="1" vertOverflow="ellipsis" vert="horz" wrap="square" anchor="ctr" anchorCtr="1"/>
        <a:lstStyle/>
        <a:p>
          <a:pPr>
            <a:defRPr sz="1100" b="0" i="0" u="none" strike="noStrike" kern="1200" baseline="0">
              <a:solidFill>
                <a:srgbClr val="000000"/>
              </a:solidFill>
              <a:latin typeface="Arial"/>
              <a:ea typeface="Arial"/>
              <a:cs typeface="Arial"/>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a:extLst>
      <a:ext uri="{909E8E84-426E-40DD-AFC4-6F175D3DCCD1}">
        <a14:hiddenFill xmlns:a14="http://schemas.microsoft.com/office/drawing/2010/main">
          <a:solidFill>
            <a:sysClr val="window" lastClr="FFFFFF"/>
          </a:solidFill>
        </a14:hiddenFill>
      </a:ext>
    </a:extLst>
  </c:spPr>
  <c:txPr>
    <a:bodyPr/>
    <a:lstStyle/>
    <a:p>
      <a:pPr>
        <a:defRPr sz="1100">
          <a:latin typeface="Arial"/>
          <a:ea typeface="Arial"/>
          <a:cs typeface="Arial"/>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7184587182229E-2"/>
          <c:y val="0.10309695915400847"/>
          <c:w val="0.90952696330816718"/>
          <c:h val="0.56464866735267327"/>
        </c:manualLayout>
      </c:layout>
      <c:lineChart>
        <c:grouping val="standard"/>
        <c:varyColors val="0"/>
        <c:ser>
          <c:idx val="0"/>
          <c:order val="0"/>
          <c:tx>
            <c:strRef>
              <c:f>'1'!$CD$18</c:f>
              <c:strCache>
                <c:ptCount val="1"/>
                <c:pt idx="0">
                  <c:v>VPI: Gesamtrate</c:v>
                </c:pt>
              </c:strCache>
            </c:strRef>
          </c:tx>
          <c:spPr>
            <a:ln w="28575" cap="rnd">
              <a:solidFill>
                <a:srgbClr val="193296"/>
              </a:solidFill>
              <a:prstDash val="solid"/>
              <a:round/>
            </a:ln>
            <a:effectLst/>
          </c:spPr>
          <c:marker>
            <c:symbol val="none"/>
          </c:marker>
          <c:cat>
            <c:numRef>
              <c:f>'1'!$A$24:$A$155</c:f>
              <c:numCache>
                <c:formatCode>m/d/yyyy</c:formatCode>
                <c:ptCount val="132"/>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pt idx="54">
                  <c:v>44013</c:v>
                </c:pt>
                <c:pt idx="55">
                  <c:v>44044</c:v>
                </c:pt>
                <c:pt idx="56">
                  <c:v>44075</c:v>
                </c:pt>
                <c:pt idx="57">
                  <c:v>44105</c:v>
                </c:pt>
                <c:pt idx="58">
                  <c:v>44136</c:v>
                </c:pt>
                <c:pt idx="59">
                  <c:v>44166</c:v>
                </c:pt>
                <c:pt idx="60">
                  <c:v>44197</c:v>
                </c:pt>
                <c:pt idx="61">
                  <c:v>44228</c:v>
                </c:pt>
                <c:pt idx="62">
                  <c:v>44256</c:v>
                </c:pt>
                <c:pt idx="63">
                  <c:v>44287</c:v>
                </c:pt>
                <c:pt idx="64">
                  <c:v>44317</c:v>
                </c:pt>
                <c:pt idx="65">
                  <c:v>44348</c:v>
                </c:pt>
                <c:pt idx="66">
                  <c:v>44378</c:v>
                </c:pt>
                <c:pt idx="67">
                  <c:v>44409</c:v>
                </c:pt>
                <c:pt idx="68">
                  <c:v>44440</c:v>
                </c:pt>
                <c:pt idx="69">
                  <c:v>44470</c:v>
                </c:pt>
                <c:pt idx="70">
                  <c:v>44501</c:v>
                </c:pt>
                <c:pt idx="71">
                  <c:v>44531</c:v>
                </c:pt>
                <c:pt idx="72">
                  <c:v>44562</c:v>
                </c:pt>
                <c:pt idx="73">
                  <c:v>44593</c:v>
                </c:pt>
                <c:pt idx="74">
                  <c:v>44621</c:v>
                </c:pt>
                <c:pt idx="75">
                  <c:v>44652</c:v>
                </c:pt>
                <c:pt idx="76">
                  <c:v>44682</c:v>
                </c:pt>
                <c:pt idx="77">
                  <c:v>44713</c:v>
                </c:pt>
                <c:pt idx="78">
                  <c:v>44743</c:v>
                </c:pt>
                <c:pt idx="79">
                  <c:v>44774</c:v>
                </c:pt>
                <c:pt idx="80">
                  <c:v>44805</c:v>
                </c:pt>
                <c:pt idx="81">
                  <c:v>44835</c:v>
                </c:pt>
                <c:pt idx="82">
                  <c:v>44866</c:v>
                </c:pt>
                <c:pt idx="83">
                  <c:v>44896</c:v>
                </c:pt>
                <c:pt idx="84">
                  <c:v>44927</c:v>
                </c:pt>
                <c:pt idx="85">
                  <c:v>44958</c:v>
                </c:pt>
                <c:pt idx="86">
                  <c:v>44986</c:v>
                </c:pt>
                <c:pt idx="87">
                  <c:v>45017</c:v>
                </c:pt>
                <c:pt idx="88">
                  <c:v>45047</c:v>
                </c:pt>
                <c:pt idx="89">
                  <c:v>45078</c:v>
                </c:pt>
                <c:pt idx="90">
                  <c:v>45108</c:v>
                </c:pt>
                <c:pt idx="91">
                  <c:v>45139</c:v>
                </c:pt>
                <c:pt idx="92">
                  <c:v>45170</c:v>
                </c:pt>
                <c:pt idx="93">
                  <c:v>45200</c:v>
                </c:pt>
                <c:pt idx="94">
                  <c:v>45231</c:v>
                </c:pt>
                <c:pt idx="95">
                  <c:v>45261</c:v>
                </c:pt>
                <c:pt idx="96">
                  <c:v>45292</c:v>
                </c:pt>
                <c:pt idx="97">
                  <c:v>45323</c:v>
                </c:pt>
                <c:pt idx="98">
                  <c:v>45352</c:v>
                </c:pt>
                <c:pt idx="99">
                  <c:v>45383</c:v>
                </c:pt>
                <c:pt idx="100">
                  <c:v>45413</c:v>
                </c:pt>
                <c:pt idx="101">
                  <c:v>45444</c:v>
                </c:pt>
                <c:pt idx="102">
                  <c:v>45474</c:v>
                </c:pt>
                <c:pt idx="103">
                  <c:v>45505</c:v>
                </c:pt>
                <c:pt idx="104">
                  <c:v>45536</c:v>
                </c:pt>
                <c:pt idx="105">
                  <c:v>45566</c:v>
                </c:pt>
                <c:pt idx="106">
                  <c:v>45597</c:v>
                </c:pt>
                <c:pt idx="107">
                  <c:v>45627</c:v>
                </c:pt>
                <c:pt idx="108">
                  <c:v>45658</c:v>
                </c:pt>
                <c:pt idx="109">
                  <c:v>45689</c:v>
                </c:pt>
                <c:pt idx="110">
                  <c:v>45717</c:v>
                </c:pt>
                <c:pt idx="111">
                  <c:v>45748</c:v>
                </c:pt>
                <c:pt idx="112">
                  <c:v>45778</c:v>
                </c:pt>
                <c:pt idx="113">
                  <c:v>45809</c:v>
                </c:pt>
                <c:pt idx="114">
                  <c:v>45839</c:v>
                </c:pt>
                <c:pt idx="115">
                  <c:v>45870</c:v>
                </c:pt>
                <c:pt idx="116">
                  <c:v>45901</c:v>
                </c:pt>
                <c:pt idx="117">
                  <c:v>45931</c:v>
                </c:pt>
                <c:pt idx="118">
                  <c:v>45962</c:v>
                </c:pt>
                <c:pt idx="119">
                  <c:v>45992</c:v>
                </c:pt>
                <c:pt idx="120">
                  <c:v>46023</c:v>
                </c:pt>
                <c:pt idx="121">
                  <c:v>46054</c:v>
                </c:pt>
                <c:pt idx="122">
                  <c:v>46082</c:v>
                </c:pt>
                <c:pt idx="123">
                  <c:v>46113</c:v>
                </c:pt>
                <c:pt idx="124">
                  <c:v>46143</c:v>
                </c:pt>
                <c:pt idx="125">
                  <c:v>46174</c:v>
                </c:pt>
                <c:pt idx="126">
                  <c:v>46204</c:v>
                </c:pt>
                <c:pt idx="127">
                  <c:v>46235</c:v>
                </c:pt>
                <c:pt idx="128">
                  <c:v>46266</c:v>
                </c:pt>
                <c:pt idx="129">
                  <c:v>46296</c:v>
                </c:pt>
                <c:pt idx="130">
                  <c:v>46327</c:v>
                </c:pt>
                <c:pt idx="131">
                  <c:v>46357</c:v>
                </c:pt>
              </c:numCache>
            </c:numRef>
          </c:cat>
          <c:val>
            <c:numRef>
              <c:f>'1'!$CD$24:$CD$155</c:f>
              <c:numCache>
                <c:formatCode>0.0</c:formatCode>
                <c:ptCount val="132"/>
                <c:pt idx="0">
                  <c:v>0.53705692803437166</c:v>
                </c:pt>
                <c:pt idx="1">
                  <c:v>0.10660980810234541</c:v>
                </c:pt>
                <c:pt idx="2">
                  <c:v>0.21208907741251326</c:v>
                </c:pt>
                <c:pt idx="3">
                  <c:v>-0.10559662090813093</c:v>
                </c:pt>
                <c:pt idx="4">
                  <c:v>0.21074815595363541</c:v>
                </c:pt>
                <c:pt idx="5">
                  <c:v>0.31612223393045313</c:v>
                </c:pt>
                <c:pt idx="6">
                  <c:v>0.4206098843322818</c:v>
                </c:pt>
                <c:pt idx="7">
                  <c:v>0.42105263157894735</c:v>
                </c:pt>
                <c:pt idx="8">
                  <c:v>0.63224446786090627</c:v>
                </c:pt>
                <c:pt idx="9">
                  <c:v>0.7376185458377239</c:v>
                </c:pt>
                <c:pt idx="10">
                  <c:v>0.74231177094379641</c:v>
                </c:pt>
                <c:pt idx="11">
                  <c:v>1.3785790031813361</c:v>
                </c:pt>
                <c:pt idx="12">
                  <c:v>1.6025641025641026</c:v>
                </c:pt>
                <c:pt idx="13">
                  <c:v>1.8104366347177849</c:v>
                </c:pt>
                <c:pt idx="14">
                  <c:v>1.3756613756613756</c:v>
                </c:pt>
                <c:pt idx="15">
                  <c:v>1.6913319238900635</c:v>
                </c:pt>
                <c:pt idx="16">
                  <c:v>1.1566771819137749</c:v>
                </c:pt>
                <c:pt idx="17">
                  <c:v>1.365546218487395</c:v>
                </c:pt>
                <c:pt idx="18">
                  <c:v>1.4659685863874345</c:v>
                </c:pt>
                <c:pt idx="19">
                  <c:v>1.6771488469601676</c:v>
                </c:pt>
                <c:pt idx="20">
                  <c:v>1.5706806282722512</c:v>
                </c:pt>
                <c:pt idx="21">
                  <c:v>1.3598326359832635</c:v>
                </c:pt>
                <c:pt idx="22">
                  <c:v>1.5789473684210527</c:v>
                </c:pt>
                <c:pt idx="23">
                  <c:v>1.3598326359832635</c:v>
                </c:pt>
                <c:pt idx="24">
                  <c:v>1.3669821240799158</c:v>
                </c:pt>
                <c:pt idx="25">
                  <c:v>1.1506276150627615</c:v>
                </c:pt>
                <c:pt idx="26">
                  <c:v>1.4613778705636744</c:v>
                </c:pt>
                <c:pt idx="27">
                  <c:v>1.3513513513513513</c:v>
                </c:pt>
                <c:pt idx="28">
                  <c:v>2.0790020790020791</c:v>
                </c:pt>
                <c:pt idx="29">
                  <c:v>1.8652849740932642</c:v>
                </c:pt>
                <c:pt idx="30">
                  <c:v>1.8575851393188854</c:v>
                </c:pt>
                <c:pt idx="31">
                  <c:v>1.8556701030927836</c:v>
                </c:pt>
                <c:pt idx="32">
                  <c:v>2.0618556701030926</c:v>
                </c:pt>
                <c:pt idx="33">
                  <c:v>2.2703818369453046</c:v>
                </c:pt>
                <c:pt idx="34">
                  <c:v>2.0725388601036268</c:v>
                </c:pt>
                <c:pt idx="35">
                  <c:v>1.6511867905056758</c:v>
                </c:pt>
                <c:pt idx="36">
                  <c:v>1.3485477178423237</c:v>
                </c:pt>
                <c:pt idx="37">
                  <c:v>1.4477766287487073</c:v>
                </c:pt>
                <c:pt idx="38">
                  <c:v>1.3374485596707819</c:v>
                </c:pt>
                <c:pt idx="39">
                  <c:v>1.9487179487179487</c:v>
                </c:pt>
                <c:pt idx="40">
                  <c:v>1.4256619144602851</c:v>
                </c:pt>
                <c:pt idx="41">
                  <c:v>1.6276703967446593</c:v>
                </c:pt>
                <c:pt idx="42">
                  <c:v>1.6210739614994933</c:v>
                </c:pt>
                <c:pt idx="43">
                  <c:v>1.417004048582996</c:v>
                </c:pt>
                <c:pt idx="44">
                  <c:v>1.2121212121212122</c:v>
                </c:pt>
                <c:pt idx="45">
                  <c:v>1.1099899091826437</c:v>
                </c:pt>
                <c:pt idx="46">
                  <c:v>1.015228426395939</c:v>
                </c:pt>
                <c:pt idx="47">
                  <c:v>1.5228426395939085</c:v>
                </c:pt>
                <c:pt idx="48">
                  <c:v>2.1494370522006143</c:v>
                </c:pt>
                <c:pt idx="49">
                  <c:v>2.038735983690112</c:v>
                </c:pt>
                <c:pt idx="50">
                  <c:v>1.8274111675126903</c:v>
                </c:pt>
                <c:pt idx="51">
                  <c:v>1.0060362173038229</c:v>
                </c:pt>
                <c:pt idx="52">
                  <c:v>0.80321285140562249</c:v>
                </c:pt>
                <c:pt idx="53">
                  <c:v>0.60060060060060061</c:v>
                </c:pt>
                <c:pt idx="54">
                  <c:v>-0.59820538384845467</c:v>
                </c:pt>
                <c:pt idx="55">
                  <c:v>-0.49900199600798401</c:v>
                </c:pt>
                <c:pt idx="56">
                  <c:v>-0.49900199600798401</c:v>
                </c:pt>
                <c:pt idx="57">
                  <c:v>-0.29940119760479039</c:v>
                </c:pt>
                <c:pt idx="58">
                  <c:v>0.20100502512562815</c:v>
                </c:pt>
                <c:pt idx="59">
                  <c:v>-0.2</c:v>
                </c:pt>
                <c:pt idx="60">
                  <c:v>1.2024048096192386</c:v>
                </c:pt>
                <c:pt idx="61">
                  <c:v>1.4985014985014986</c:v>
                </c:pt>
                <c:pt idx="62">
                  <c:v>1.7946161515453638</c:v>
                </c:pt>
                <c:pt idx="63">
                  <c:v>1.9920318725099602</c:v>
                </c:pt>
                <c:pt idx="64">
                  <c:v>2.191235059760956</c:v>
                </c:pt>
                <c:pt idx="65">
                  <c:v>2.3880597014925371</c:v>
                </c:pt>
                <c:pt idx="66">
                  <c:v>3.7111334002006018</c:v>
                </c:pt>
                <c:pt idx="67">
                  <c:v>3.8114343029087263</c:v>
                </c:pt>
                <c:pt idx="68">
                  <c:v>4.112337011033099</c:v>
                </c:pt>
                <c:pt idx="69">
                  <c:v>4.4044044044044046</c:v>
                </c:pt>
                <c:pt idx="70">
                  <c:v>4.8144433299899703</c:v>
                </c:pt>
                <c:pt idx="71">
                  <c:v>4.9098196392785569</c:v>
                </c:pt>
                <c:pt idx="72">
                  <c:v>4.1584158415841586</c:v>
                </c:pt>
                <c:pt idx="73">
                  <c:v>4.3307086614173231</c:v>
                </c:pt>
                <c:pt idx="74">
                  <c:v>5.8765915768854065</c:v>
                </c:pt>
                <c:pt idx="75">
                  <c:v>6.25</c:v>
                </c:pt>
                <c:pt idx="76">
                  <c:v>7.0175438596491224</c:v>
                </c:pt>
                <c:pt idx="77">
                  <c:v>6.7055393586005829</c:v>
                </c:pt>
                <c:pt idx="78">
                  <c:v>6.6731141199226309</c:v>
                </c:pt>
                <c:pt idx="79">
                  <c:v>6.9565217391304346</c:v>
                </c:pt>
                <c:pt idx="80">
                  <c:v>8.574181117533719</c:v>
                </c:pt>
                <c:pt idx="81">
                  <c:v>8.8207094918504314</c:v>
                </c:pt>
                <c:pt idx="82">
                  <c:v>8.803827751196172</c:v>
                </c:pt>
                <c:pt idx="83">
                  <c:v>8.1184336198662841</c:v>
                </c:pt>
                <c:pt idx="84">
                  <c:v>8.6501901140684403</c:v>
                </c:pt>
                <c:pt idx="85">
                  <c:v>8.6792452830188687</c:v>
                </c:pt>
                <c:pt idx="86">
                  <c:v>7.4005550416281221</c:v>
                </c:pt>
                <c:pt idx="87">
                  <c:v>7.1691176470588234</c:v>
                </c:pt>
                <c:pt idx="88">
                  <c:v>6.10200364298725</c:v>
                </c:pt>
                <c:pt idx="89">
                  <c:v>6.3752276867030968</c:v>
                </c:pt>
                <c:pt idx="90">
                  <c:v>6.1650045330915688</c:v>
                </c:pt>
                <c:pt idx="91">
                  <c:v>6.1427280939476061</c:v>
                </c:pt>
                <c:pt idx="92">
                  <c:v>4.5252883762200531</c:v>
                </c:pt>
                <c:pt idx="93">
                  <c:v>3.7885462555066081</c:v>
                </c:pt>
                <c:pt idx="94">
                  <c:v>3.1662269129287597</c:v>
                </c:pt>
                <c:pt idx="95">
                  <c:v>3.7102473498233217</c:v>
                </c:pt>
                <c:pt idx="96">
                  <c:v>2.8871391076115485</c:v>
                </c:pt>
                <c:pt idx="97">
                  <c:v>2.5173611111111112</c:v>
                </c:pt>
                <c:pt idx="98">
                  <c:v>2.1533161068044788</c:v>
                </c:pt>
                <c:pt idx="99">
                  <c:v>2.229845626072041</c:v>
                </c:pt>
                <c:pt idx="100">
                  <c:v>2.4034334763948499</c:v>
                </c:pt>
                <c:pt idx="101">
                  <c:v>2.2260273972602738</c:v>
                </c:pt>
                <c:pt idx="102">
                  <c:v>2.3057216054654144</c:v>
                </c:pt>
                <c:pt idx="103">
                  <c:v>1.8723404255319149</c:v>
                </c:pt>
                <c:pt idx="104">
                  <c:v>1.6129032258064515</c:v>
                </c:pt>
                <c:pt idx="105">
                  <c:v>2.037351443123939</c:v>
                </c:pt>
                <c:pt idx="106">
                  <c:v>2.2513018014459485</c:v>
                </c:pt>
                <c:pt idx="107">
                  <c:v>2.4073040337436069</c:v>
                </c:pt>
                <c:pt idx="108">
                  <c:v>2.3501656198156473</c:v>
                </c:pt>
                <c:pt idx="109">
                  <c:v>2.2582281842809859</c:v>
                </c:pt>
                <c:pt idx="110">
                  <c:v>2.2428970472458509</c:v>
                </c:pt>
                <c:pt idx="111">
                  <c:v>2.0969436186855983</c:v>
                </c:pt>
                <c:pt idx="112">
                  <c:v>2.1626477477175721</c:v>
                </c:pt>
                <c:pt idx="113">
                  <c:v>2.2017705490417816</c:v>
                </c:pt>
                <c:pt idx="114">
                  <c:v>2.091523505249171</c:v>
                </c:pt>
                <c:pt idx="115">
                  <c:v>2.2440045857790025</c:v>
                </c:pt>
                <c:pt idx="116">
                  <c:v>2.4466485631783108</c:v>
                </c:pt>
                <c:pt idx="117">
                  <c:v>2.1599982290749109</c:v>
                </c:pt>
                <c:pt idx="118">
                  <c:v>2.3252880142584864</c:v>
                </c:pt>
                <c:pt idx="119">
                  <c:v>2.3865392683397157</c:v>
                </c:pt>
                <c:pt idx="120">
                  <c:v>2.3090624142860561</c:v>
                </c:pt>
                <c:pt idx="121">
                  <c:v>2.3534969743838063</c:v>
                </c:pt>
                <c:pt idx="122">
                  <c:v>2.3739388818170504</c:v>
                </c:pt>
                <c:pt idx="123">
                  <c:v>2.3778427770895894</c:v>
                </c:pt>
                <c:pt idx="124">
                  <c:v>2.3868147232819048</c:v>
                </c:pt>
                <c:pt idx="125">
                  <c:v>2.379258849243393</c:v>
                </c:pt>
                <c:pt idx="126">
                  <c:v>2.3765852350890349</c:v>
                </c:pt>
                <c:pt idx="127">
                  <c:v>2.3522492267497253</c:v>
                </c:pt>
                <c:pt idx="128">
                  <c:v>2.3239448150400355</c:v>
                </c:pt>
                <c:pt idx="129">
                  <c:v>2.2881874026807969</c:v>
                </c:pt>
                <c:pt idx="130">
                  <c:v>2.2404445806205819</c:v>
                </c:pt>
                <c:pt idx="131">
                  <c:v>2.1790172882783843</c:v>
                </c:pt>
              </c:numCache>
            </c:numRef>
          </c:val>
          <c:smooth val="0"/>
          <c:extLst xmlns:c15="http://schemas.microsoft.com/office/drawing/2012/chart">
            <c:ext xmlns:c16="http://schemas.microsoft.com/office/drawing/2014/chart" uri="{C3380CC4-5D6E-409C-BE32-E72D297353CC}">
              <c16:uniqueId val="{00000000-0917-483E-83A3-1F111F9EC363}"/>
            </c:ext>
          </c:extLst>
        </c:ser>
        <c:ser>
          <c:idx val="1"/>
          <c:order val="1"/>
          <c:tx>
            <c:strRef>
              <c:f>'1'!$CE$18</c:f>
              <c:strCache>
                <c:ptCount val="1"/>
                <c:pt idx="0">
                  <c:v>VPI: Kernrate (ohne Energie u. Nahrungsmittel)</c:v>
                </c:pt>
              </c:strCache>
            </c:strRef>
          </c:tx>
          <c:spPr>
            <a:ln w="28575" cap="rnd">
              <a:solidFill>
                <a:srgbClr val="E4002B"/>
              </a:solidFill>
              <a:prstDash val="solid"/>
              <a:round/>
            </a:ln>
            <a:effectLst/>
          </c:spPr>
          <c:marker>
            <c:symbol val="none"/>
          </c:marker>
          <c:cat>
            <c:numRef>
              <c:f>'1'!$A$24:$A$155</c:f>
              <c:numCache>
                <c:formatCode>m/d/yyyy</c:formatCode>
                <c:ptCount val="132"/>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pt idx="54">
                  <c:v>44013</c:v>
                </c:pt>
                <c:pt idx="55">
                  <c:v>44044</c:v>
                </c:pt>
                <c:pt idx="56">
                  <c:v>44075</c:v>
                </c:pt>
                <c:pt idx="57">
                  <c:v>44105</c:v>
                </c:pt>
                <c:pt idx="58">
                  <c:v>44136</c:v>
                </c:pt>
                <c:pt idx="59">
                  <c:v>44166</c:v>
                </c:pt>
                <c:pt idx="60">
                  <c:v>44197</c:v>
                </c:pt>
                <c:pt idx="61">
                  <c:v>44228</c:v>
                </c:pt>
                <c:pt idx="62">
                  <c:v>44256</c:v>
                </c:pt>
                <c:pt idx="63">
                  <c:v>44287</c:v>
                </c:pt>
                <c:pt idx="64">
                  <c:v>44317</c:v>
                </c:pt>
                <c:pt idx="65">
                  <c:v>44348</c:v>
                </c:pt>
                <c:pt idx="66">
                  <c:v>44378</c:v>
                </c:pt>
                <c:pt idx="67">
                  <c:v>44409</c:v>
                </c:pt>
                <c:pt idx="68">
                  <c:v>44440</c:v>
                </c:pt>
                <c:pt idx="69">
                  <c:v>44470</c:v>
                </c:pt>
                <c:pt idx="70">
                  <c:v>44501</c:v>
                </c:pt>
                <c:pt idx="71">
                  <c:v>44531</c:v>
                </c:pt>
                <c:pt idx="72">
                  <c:v>44562</c:v>
                </c:pt>
                <c:pt idx="73">
                  <c:v>44593</c:v>
                </c:pt>
                <c:pt idx="74">
                  <c:v>44621</c:v>
                </c:pt>
                <c:pt idx="75">
                  <c:v>44652</c:v>
                </c:pt>
                <c:pt idx="76">
                  <c:v>44682</c:v>
                </c:pt>
                <c:pt idx="77">
                  <c:v>44713</c:v>
                </c:pt>
                <c:pt idx="78">
                  <c:v>44743</c:v>
                </c:pt>
                <c:pt idx="79">
                  <c:v>44774</c:v>
                </c:pt>
                <c:pt idx="80">
                  <c:v>44805</c:v>
                </c:pt>
                <c:pt idx="81">
                  <c:v>44835</c:v>
                </c:pt>
                <c:pt idx="82">
                  <c:v>44866</c:v>
                </c:pt>
                <c:pt idx="83">
                  <c:v>44896</c:v>
                </c:pt>
                <c:pt idx="84">
                  <c:v>44927</c:v>
                </c:pt>
                <c:pt idx="85">
                  <c:v>44958</c:v>
                </c:pt>
                <c:pt idx="86">
                  <c:v>44986</c:v>
                </c:pt>
                <c:pt idx="87">
                  <c:v>45017</c:v>
                </c:pt>
                <c:pt idx="88">
                  <c:v>45047</c:v>
                </c:pt>
                <c:pt idx="89">
                  <c:v>45078</c:v>
                </c:pt>
                <c:pt idx="90">
                  <c:v>45108</c:v>
                </c:pt>
                <c:pt idx="91">
                  <c:v>45139</c:v>
                </c:pt>
                <c:pt idx="92">
                  <c:v>45170</c:v>
                </c:pt>
                <c:pt idx="93">
                  <c:v>45200</c:v>
                </c:pt>
                <c:pt idx="94">
                  <c:v>45231</c:v>
                </c:pt>
                <c:pt idx="95">
                  <c:v>45261</c:v>
                </c:pt>
                <c:pt idx="96">
                  <c:v>45292</c:v>
                </c:pt>
                <c:pt idx="97">
                  <c:v>45323</c:v>
                </c:pt>
                <c:pt idx="98">
                  <c:v>45352</c:v>
                </c:pt>
                <c:pt idx="99">
                  <c:v>45383</c:v>
                </c:pt>
                <c:pt idx="100">
                  <c:v>45413</c:v>
                </c:pt>
                <c:pt idx="101">
                  <c:v>45444</c:v>
                </c:pt>
                <c:pt idx="102">
                  <c:v>45474</c:v>
                </c:pt>
                <c:pt idx="103">
                  <c:v>45505</c:v>
                </c:pt>
                <c:pt idx="104">
                  <c:v>45536</c:v>
                </c:pt>
                <c:pt idx="105">
                  <c:v>45566</c:v>
                </c:pt>
                <c:pt idx="106">
                  <c:v>45597</c:v>
                </c:pt>
                <c:pt idx="107">
                  <c:v>45627</c:v>
                </c:pt>
                <c:pt idx="108">
                  <c:v>45658</c:v>
                </c:pt>
                <c:pt idx="109">
                  <c:v>45689</c:v>
                </c:pt>
                <c:pt idx="110">
                  <c:v>45717</c:v>
                </c:pt>
                <c:pt idx="111">
                  <c:v>45748</c:v>
                </c:pt>
                <c:pt idx="112">
                  <c:v>45778</c:v>
                </c:pt>
                <c:pt idx="113">
                  <c:v>45809</c:v>
                </c:pt>
                <c:pt idx="114">
                  <c:v>45839</c:v>
                </c:pt>
                <c:pt idx="115">
                  <c:v>45870</c:v>
                </c:pt>
                <c:pt idx="116">
                  <c:v>45901</c:v>
                </c:pt>
                <c:pt idx="117">
                  <c:v>45931</c:v>
                </c:pt>
                <c:pt idx="118">
                  <c:v>45962</c:v>
                </c:pt>
                <c:pt idx="119">
                  <c:v>45992</c:v>
                </c:pt>
                <c:pt idx="120">
                  <c:v>46023</c:v>
                </c:pt>
                <c:pt idx="121">
                  <c:v>46054</c:v>
                </c:pt>
                <c:pt idx="122">
                  <c:v>46082</c:v>
                </c:pt>
                <c:pt idx="123">
                  <c:v>46113</c:v>
                </c:pt>
                <c:pt idx="124">
                  <c:v>46143</c:v>
                </c:pt>
                <c:pt idx="125">
                  <c:v>46174</c:v>
                </c:pt>
                <c:pt idx="126">
                  <c:v>46204</c:v>
                </c:pt>
                <c:pt idx="127">
                  <c:v>46235</c:v>
                </c:pt>
                <c:pt idx="128">
                  <c:v>46266</c:v>
                </c:pt>
                <c:pt idx="129">
                  <c:v>46296</c:v>
                </c:pt>
                <c:pt idx="130">
                  <c:v>46327</c:v>
                </c:pt>
                <c:pt idx="131">
                  <c:v>46357</c:v>
                </c:pt>
              </c:numCache>
            </c:numRef>
          </c:cat>
          <c:val>
            <c:numRef>
              <c:f>'1'!$CE$24:$CE$155</c:f>
              <c:numCache>
                <c:formatCode>0.0</c:formatCode>
                <c:ptCount val="132"/>
                <c:pt idx="0">
                  <c:v>1.1853448275862069</c:v>
                </c:pt>
                <c:pt idx="1">
                  <c:v>1.1802575107296138</c:v>
                </c:pt>
                <c:pt idx="2">
                  <c:v>1.2806830309498398</c:v>
                </c:pt>
                <c:pt idx="3">
                  <c:v>0.95642933049946866</c:v>
                </c:pt>
                <c:pt idx="4">
                  <c:v>1.1664899257688228</c:v>
                </c:pt>
                <c:pt idx="5">
                  <c:v>1.1652542372881356</c:v>
                </c:pt>
                <c:pt idx="6">
                  <c:v>1.3727560718057021</c:v>
                </c:pt>
                <c:pt idx="7">
                  <c:v>1.0526315789473684</c:v>
                </c:pt>
                <c:pt idx="8">
                  <c:v>1.1591148577449948</c:v>
                </c:pt>
                <c:pt idx="9">
                  <c:v>1.2644889357218125</c:v>
                </c:pt>
                <c:pt idx="10">
                  <c:v>1.167728237791932</c:v>
                </c:pt>
                <c:pt idx="11">
                  <c:v>1.2698412698412698</c:v>
                </c:pt>
                <c:pt idx="12">
                  <c:v>0.95846645367412142</c:v>
                </c:pt>
                <c:pt idx="13">
                  <c:v>1.0604453870625663</c:v>
                </c:pt>
                <c:pt idx="14">
                  <c:v>0.94836670179135929</c:v>
                </c:pt>
                <c:pt idx="15">
                  <c:v>1.368421052631579</c:v>
                </c:pt>
                <c:pt idx="16">
                  <c:v>1.0482180293501049</c:v>
                </c:pt>
                <c:pt idx="17">
                  <c:v>1.4659685863874345</c:v>
                </c:pt>
                <c:pt idx="18">
                  <c:v>1.4583333333333333</c:v>
                </c:pt>
                <c:pt idx="19">
                  <c:v>1.4583333333333333</c:v>
                </c:pt>
                <c:pt idx="20">
                  <c:v>1.3541666666666667</c:v>
                </c:pt>
                <c:pt idx="21">
                  <c:v>1.0405827263267429</c:v>
                </c:pt>
                <c:pt idx="22">
                  <c:v>1.1542497376705141</c:v>
                </c:pt>
                <c:pt idx="23">
                  <c:v>1.2539184952978057</c:v>
                </c:pt>
                <c:pt idx="24">
                  <c:v>1.371308016877637</c:v>
                </c:pt>
                <c:pt idx="25">
                  <c:v>1.2591815320041972</c:v>
                </c:pt>
                <c:pt idx="26">
                  <c:v>1.4613778705636744</c:v>
                </c:pt>
                <c:pt idx="27">
                  <c:v>1.0384215991692627</c:v>
                </c:pt>
                <c:pt idx="28">
                  <c:v>1.5560165975103735</c:v>
                </c:pt>
                <c:pt idx="29">
                  <c:v>1.1351909184726523</c:v>
                </c:pt>
                <c:pt idx="30">
                  <c:v>1.2320328542094456</c:v>
                </c:pt>
                <c:pt idx="31">
                  <c:v>1.2320328542094456</c:v>
                </c:pt>
                <c:pt idx="32">
                  <c:v>1.2332990750256938</c:v>
                </c:pt>
                <c:pt idx="33">
                  <c:v>1.6477857878475799</c:v>
                </c:pt>
                <c:pt idx="34">
                  <c:v>1.3485477178423237</c:v>
                </c:pt>
                <c:pt idx="35">
                  <c:v>1.2383900928792571</c:v>
                </c:pt>
                <c:pt idx="36">
                  <c:v>1.2486992715920915</c:v>
                </c:pt>
                <c:pt idx="37">
                  <c:v>1.3471502590673574</c:v>
                </c:pt>
                <c:pt idx="38">
                  <c:v>1.131687242798354</c:v>
                </c:pt>
                <c:pt idx="39">
                  <c:v>1.8499486125385405</c:v>
                </c:pt>
                <c:pt idx="40">
                  <c:v>1.2257405515832482</c:v>
                </c:pt>
                <c:pt idx="41">
                  <c:v>1.6326530612244898</c:v>
                </c:pt>
                <c:pt idx="42">
                  <c:v>1.5212981744421907</c:v>
                </c:pt>
                <c:pt idx="43">
                  <c:v>1.5212981744421907</c:v>
                </c:pt>
                <c:pt idx="44">
                  <c:v>1.5228426395939085</c:v>
                </c:pt>
                <c:pt idx="45">
                  <c:v>1.5197568389057752</c:v>
                </c:pt>
                <c:pt idx="46">
                  <c:v>1.5353121801432958</c:v>
                </c:pt>
                <c:pt idx="47">
                  <c:v>1.7329255861365953</c:v>
                </c:pt>
                <c:pt idx="48">
                  <c:v>2.0554984583761562</c:v>
                </c:pt>
                <c:pt idx="49">
                  <c:v>1.8404907975460123</c:v>
                </c:pt>
                <c:pt idx="50">
                  <c:v>1.7293997965412005</c:v>
                </c:pt>
                <c:pt idx="51">
                  <c:v>1.2108980827447022</c:v>
                </c:pt>
                <c:pt idx="52">
                  <c:v>1.3118062563067607</c:v>
                </c:pt>
                <c:pt idx="53">
                  <c:v>0.90361445783132532</c:v>
                </c:pt>
                <c:pt idx="54">
                  <c:v>-0.29970029970029971</c:v>
                </c:pt>
                <c:pt idx="55">
                  <c:v>-0.19980019980019981</c:v>
                </c:pt>
                <c:pt idx="56">
                  <c:v>0</c:v>
                </c:pt>
                <c:pt idx="57">
                  <c:v>0</c:v>
                </c:pt>
                <c:pt idx="58">
                  <c:v>0.80645161290322576</c:v>
                </c:pt>
                <c:pt idx="59">
                  <c:v>0.30060120240480964</c:v>
                </c:pt>
                <c:pt idx="60">
                  <c:v>1.4098690835850956</c:v>
                </c:pt>
                <c:pt idx="61">
                  <c:v>1.5060240963855422</c:v>
                </c:pt>
                <c:pt idx="62">
                  <c:v>1.5</c:v>
                </c:pt>
                <c:pt idx="63">
                  <c:v>1.3958125623130608</c:v>
                </c:pt>
                <c:pt idx="64">
                  <c:v>1.593625498007968</c:v>
                </c:pt>
                <c:pt idx="65">
                  <c:v>1.8905472636815921</c:v>
                </c:pt>
                <c:pt idx="66">
                  <c:v>3.0060120240480961</c:v>
                </c:pt>
                <c:pt idx="67">
                  <c:v>3.0030030030030028</c:v>
                </c:pt>
                <c:pt idx="68">
                  <c:v>3.1</c:v>
                </c:pt>
                <c:pt idx="69">
                  <c:v>3.093812375249501</c:v>
                </c:pt>
                <c:pt idx="70">
                  <c:v>3.3</c:v>
                </c:pt>
                <c:pt idx="71">
                  <c:v>3.5964035964035963</c:v>
                </c:pt>
                <c:pt idx="72">
                  <c:v>2.6812313803376364</c:v>
                </c:pt>
                <c:pt idx="73">
                  <c:v>2.7695351137487636</c:v>
                </c:pt>
                <c:pt idx="74">
                  <c:v>2.9556650246305418</c:v>
                </c:pt>
                <c:pt idx="75">
                  <c:v>3.4414945919370696</c:v>
                </c:pt>
                <c:pt idx="76">
                  <c:v>3.7254901960784315</c:v>
                </c:pt>
                <c:pt idx="77">
                  <c:v>3.3203125</c:v>
                </c:pt>
                <c:pt idx="78">
                  <c:v>3.5019455252918288</c:v>
                </c:pt>
                <c:pt idx="79">
                  <c:v>3.6929057337220601</c:v>
                </c:pt>
                <c:pt idx="80">
                  <c:v>4.5586808923375362</c:v>
                </c:pt>
                <c:pt idx="81">
                  <c:v>4.8402710551790902</c:v>
                </c:pt>
                <c:pt idx="82">
                  <c:v>5.0338818973862534</c:v>
                </c:pt>
                <c:pt idx="83">
                  <c:v>5.2073288331726131</c:v>
                </c:pt>
                <c:pt idx="84">
                  <c:v>5.6092843326885884</c:v>
                </c:pt>
                <c:pt idx="85">
                  <c:v>5.6785370548604428</c:v>
                </c:pt>
                <c:pt idx="86">
                  <c:v>5.8373205741626792</c:v>
                </c:pt>
                <c:pt idx="87">
                  <c:v>5.7984790874524714</c:v>
                </c:pt>
                <c:pt idx="88">
                  <c:v>5.3875236294896034</c:v>
                </c:pt>
                <c:pt idx="89">
                  <c:v>5.7655954631379966</c:v>
                </c:pt>
                <c:pt idx="90">
                  <c:v>5.5451127819548871</c:v>
                </c:pt>
                <c:pt idx="91">
                  <c:v>5.5295220243673855</c:v>
                </c:pt>
                <c:pt idx="92">
                  <c:v>4.6382189239332092</c:v>
                </c:pt>
                <c:pt idx="93">
                  <c:v>4.3397968605724841</c:v>
                </c:pt>
                <c:pt idx="94">
                  <c:v>3.7788018433179724</c:v>
                </c:pt>
                <c:pt idx="95">
                  <c:v>3.4830430797433549</c:v>
                </c:pt>
                <c:pt idx="96">
                  <c:v>3.3882783882783882</c:v>
                </c:pt>
                <c:pt idx="97">
                  <c:v>3.3697632058287796</c:v>
                </c:pt>
                <c:pt idx="98">
                  <c:v>3.3453887884267632</c:v>
                </c:pt>
                <c:pt idx="99">
                  <c:v>2.9649595687331538</c:v>
                </c:pt>
                <c:pt idx="100">
                  <c:v>3.0493273542600896</c:v>
                </c:pt>
                <c:pt idx="101">
                  <c:v>2.9490616621983916</c:v>
                </c:pt>
                <c:pt idx="102">
                  <c:v>2.9385574354407837</c:v>
                </c:pt>
                <c:pt idx="103">
                  <c:v>2.7531083481349912</c:v>
                </c:pt>
                <c:pt idx="104">
                  <c:v>2.74822695035461</c:v>
                </c:pt>
                <c:pt idx="105">
                  <c:v>2.9203539823008851</c:v>
                </c:pt>
                <c:pt idx="106">
                  <c:v>3.0155973166977601</c:v>
                </c:pt>
                <c:pt idx="107">
                  <c:v>3.007081370346909</c:v>
                </c:pt>
                <c:pt idx="108">
                  <c:v>2.9698310082908019</c:v>
                </c:pt>
                <c:pt idx="109">
                  <c:v>2.7355021896539711</c:v>
                </c:pt>
                <c:pt idx="110">
                  <c:v>2.5519036095099867</c:v>
                </c:pt>
                <c:pt idx="111">
                  <c:v>2.6929332232363379</c:v>
                </c:pt>
                <c:pt idx="112">
                  <c:v>2.6070399424023893</c:v>
                </c:pt>
                <c:pt idx="113">
                  <c:v>2.5221242168931512</c:v>
                </c:pt>
                <c:pt idx="114">
                  <c:v>2.4117458565696248</c:v>
                </c:pt>
                <c:pt idx="115">
                  <c:v>2.4095705531335998</c:v>
                </c:pt>
                <c:pt idx="116">
                  <c:v>2.4146307702169301</c:v>
                </c:pt>
                <c:pt idx="117">
                  <c:v>2.1824100973050653</c:v>
                </c:pt>
                <c:pt idx="118">
                  <c:v>2.287150108614866</c:v>
                </c:pt>
                <c:pt idx="119">
                  <c:v>2.2997053032987269</c:v>
                </c:pt>
                <c:pt idx="120">
                  <c:v>2.1568351975431277</c:v>
                </c:pt>
                <c:pt idx="121">
                  <c:v>2.1548711037270074</c:v>
                </c:pt>
                <c:pt idx="122">
                  <c:v>2.1529109081785958</c:v>
                </c:pt>
                <c:pt idx="123">
                  <c:v>2.1468152311125976</c:v>
                </c:pt>
                <c:pt idx="124">
                  <c:v>2.1407035496163074</c:v>
                </c:pt>
                <c:pt idx="125">
                  <c:v>2.1345894122013709</c:v>
                </c:pt>
                <c:pt idx="126">
                  <c:v>2.1284765335652045</c:v>
                </c:pt>
                <c:pt idx="127">
                  <c:v>2.1223517309171935</c:v>
                </c:pt>
                <c:pt idx="128">
                  <c:v>2.1162301755373036</c:v>
                </c:pt>
                <c:pt idx="129">
                  <c:v>2.1101024725521889</c:v>
                </c:pt>
                <c:pt idx="130">
                  <c:v>2.1039552890546487</c:v>
                </c:pt>
                <c:pt idx="131">
                  <c:v>2.0978320070142775</c:v>
                </c:pt>
              </c:numCache>
            </c:numRef>
          </c:val>
          <c:smooth val="0"/>
          <c:extLst>
            <c:ext xmlns:c16="http://schemas.microsoft.com/office/drawing/2014/chart" uri="{C3380CC4-5D6E-409C-BE32-E72D297353CC}">
              <c16:uniqueId val="{00000001-0917-483E-83A3-1F111F9EC363}"/>
            </c:ext>
          </c:extLst>
        </c:ser>
        <c:ser>
          <c:idx val="6"/>
          <c:order val="5"/>
          <c:tx>
            <c:strRef>
              <c:f>'1'!$CJ$18</c:f>
              <c:strCache>
                <c:ptCount val="1"/>
                <c:pt idx="0">
                  <c:v>VPI: Dienstleistungen</c:v>
                </c:pt>
              </c:strCache>
            </c:strRef>
          </c:tx>
          <c:spPr>
            <a:ln w="28575" cap="rnd">
              <a:solidFill>
                <a:srgbClr val="00A3E0"/>
              </a:solidFill>
              <a:prstDash val="solid"/>
              <a:round/>
            </a:ln>
            <a:effectLst/>
          </c:spPr>
          <c:marker>
            <c:symbol val="none"/>
          </c:marker>
          <c:cat>
            <c:numRef>
              <c:f>'1'!$A$24:$A$155</c:f>
              <c:numCache>
                <c:formatCode>m/d/yyyy</c:formatCode>
                <c:ptCount val="132"/>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pt idx="54">
                  <c:v>44013</c:v>
                </c:pt>
                <c:pt idx="55">
                  <c:v>44044</c:v>
                </c:pt>
                <c:pt idx="56">
                  <c:v>44075</c:v>
                </c:pt>
                <c:pt idx="57">
                  <c:v>44105</c:v>
                </c:pt>
                <c:pt idx="58">
                  <c:v>44136</c:v>
                </c:pt>
                <c:pt idx="59">
                  <c:v>44166</c:v>
                </c:pt>
                <c:pt idx="60">
                  <c:v>44197</c:v>
                </c:pt>
                <c:pt idx="61">
                  <c:v>44228</c:v>
                </c:pt>
                <c:pt idx="62">
                  <c:v>44256</c:v>
                </c:pt>
                <c:pt idx="63">
                  <c:v>44287</c:v>
                </c:pt>
                <c:pt idx="64">
                  <c:v>44317</c:v>
                </c:pt>
                <c:pt idx="65">
                  <c:v>44348</c:v>
                </c:pt>
                <c:pt idx="66">
                  <c:v>44378</c:v>
                </c:pt>
                <c:pt idx="67">
                  <c:v>44409</c:v>
                </c:pt>
                <c:pt idx="68">
                  <c:v>44440</c:v>
                </c:pt>
                <c:pt idx="69">
                  <c:v>44470</c:v>
                </c:pt>
                <c:pt idx="70">
                  <c:v>44501</c:v>
                </c:pt>
                <c:pt idx="71">
                  <c:v>44531</c:v>
                </c:pt>
                <c:pt idx="72">
                  <c:v>44562</c:v>
                </c:pt>
                <c:pt idx="73">
                  <c:v>44593</c:v>
                </c:pt>
                <c:pt idx="74">
                  <c:v>44621</c:v>
                </c:pt>
                <c:pt idx="75">
                  <c:v>44652</c:v>
                </c:pt>
                <c:pt idx="76">
                  <c:v>44682</c:v>
                </c:pt>
                <c:pt idx="77">
                  <c:v>44713</c:v>
                </c:pt>
                <c:pt idx="78">
                  <c:v>44743</c:v>
                </c:pt>
                <c:pt idx="79">
                  <c:v>44774</c:v>
                </c:pt>
                <c:pt idx="80">
                  <c:v>44805</c:v>
                </c:pt>
                <c:pt idx="81">
                  <c:v>44835</c:v>
                </c:pt>
                <c:pt idx="82">
                  <c:v>44866</c:v>
                </c:pt>
                <c:pt idx="83">
                  <c:v>44896</c:v>
                </c:pt>
                <c:pt idx="84">
                  <c:v>44927</c:v>
                </c:pt>
                <c:pt idx="85">
                  <c:v>44958</c:v>
                </c:pt>
                <c:pt idx="86">
                  <c:v>44986</c:v>
                </c:pt>
                <c:pt idx="87">
                  <c:v>45017</c:v>
                </c:pt>
                <c:pt idx="88">
                  <c:v>45047</c:v>
                </c:pt>
                <c:pt idx="89">
                  <c:v>45078</c:v>
                </c:pt>
                <c:pt idx="90">
                  <c:v>45108</c:v>
                </c:pt>
                <c:pt idx="91">
                  <c:v>45139</c:v>
                </c:pt>
                <c:pt idx="92">
                  <c:v>45170</c:v>
                </c:pt>
                <c:pt idx="93">
                  <c:v>45200</c:v>
                </c:pt>
                <c:pt idx="94">
                  <c:v>45231</c:v>
                </c:pt>
                <c:pt idx="95">
                  <c:v>45261</c:v>
                </c:pt>
                <c:pt idx="96">
                  <c:v>45292</c:v>
                </c:pt>
                <c:pt idx="97">
                  <c:v>45323</c:v>
                </c:pt>
                <c:pt idx="98">
                  <c:v>45352</c:v>
                </c:pt>
                <c:pt idx="99">
                  <c:v>45383</c:v>
                </c:pt>
                <c:pt idx="100">
                  <c:v>45413</c:v>
                </c:pt>
                <c:pt idx="101">
                  <c:v>45444</c:v>
                </c:pt>
                <c:pt idx="102">
                  <c:v>45474</c:v>
                </c:pt>
                <c:pt idx="103">
                  <c:v>45505</c:v>
                </c:pt>
                <c:pt idx="104">
                  <c:v>45536</c:v>
                </c:pt>
                <c:pt idx="105">
                  <c:v>45566</c:v>
                </c:pt>
                <c:pt idx="106">
                  <c:v>45597</c:v>
                </c:pt>
                <c:pt idx="107">
                  <c:v>45627</c:v>
                </c:pt>
                <c:pt idx="108">
                  <c:v>45658</c:v>
                </c:pt>
                <c:pt idx="109">
                  <c:v>45689</c:v>
                </c:pt>
                <c:pt idx="110">
                  <c:v>45717</c:v>
                </c:pt>
                <c:pt idx="111">
                  <c:v>45748</c:v>
                </c:pt>
                <c:pt idx="112">
                  <c:v>45778</c:v>
                </c:pt>
                <c:pt idx="113">
                  <c:v>45809</c:v>
                </c:pt>
                <c:pt idx="114">
                  <c:v>45839</c:v>
                </c:pt>
                <c:pt idx="115">
                  <c:v>45870</c:v>
                </c:pt>
                <c:pt idx="116">
                  <c:v>45901</c:v>
                </c:pt>
                <c:pt idx="117">
                  <c:v>45931</c:v>
                </c:pt>
                <c:pt idx="118">
                  <c:v>45962</c:v>
                </c:pt>
                <c:pt idx="119">
                  <c:v>45992</c:v>
                </c:pt>
                <c:pt idx="120">
                  <c:v>46023</c:v>
                </c:pt>
                <c:pt idx="121">
                  <c:v>46054</c:v>
                </c:pt>
                <c:pt idx="122">
                  <c:v>46082</c:v>
                </c:pt>
                <c:pt idx="123">
                  <c:v>46113</c:v>
                </c:pt>
                <c:pt idx="124">
                  <c:v>46143</c:v>
                </c:pt>
                <c:pt idx="125">
                  <c:v>46174</c:v>
                </c:pt>
                <c:pt idx="126">
                  <c:v>46204</c:v>
                </c:pt>
                <c:pt idx="127">
                  <c:v>46235</c:v>
                </c:pt>
                <c:pt idx="128">
                  <c:v>46266</c:v>
                </c:pt>
                <c:pt idx="129">
                  <c:v>46296</c:v>
                </c:pt>
                <c:pt idx="130">
                  <c:v>46327</c:v>
                </c:pt>
                <c:pt idx="131">
                  <c:v>46357</c:v>
                </c:pt>
              </c:numCache>
            </c:numRef>
          </c:cat>
          <c:val>
            <c:numRef>
              <c:f>'1'!$CJ$24:$CJ$155</c:f>
              <c:numCache>
                <c:formatCode>0.0</c:formatCode>
                <c:ptCount val="132"/>
                <c:pt idx="0">
                  <c:v>1.3086150490730644</c:v>
                </c:pt>
                <c:pt idx="1">
                  <c:v>1.1917659804983749</c:v>
                </c:pt>
                <c:pt idx="2">
                  <c:v>1.6216216216216217</c:v>
                </c:pt>
                <c:pt idx="3">
                  <c:v>0.86021505376344087</c:v>
                </c:pt>
                <c:pt idx="4">
                  <c:v>1.1777301927194861</c:v>
                </c:pt>
                <c:pt idx="5">
                  <c:v>1.2820512820512822</c:v>
                </c:pt>
                <c:pt idx="6">
                  <c:v>1.4814814814814814</c:v>
                </c:pt>
                <c:pt idx="7">
                  <c:v>1.2684989429175475</c:v>
                </c:pt>
                <c:pt idx="8">
                  <c:v>1.3829787234042552</c:v>
                </c:pt>
                <c:pt idx="9">
                  <c:v>1.3844515441959531</c:v>
                </c:pt>
                <c:pt idx="10">
                  <c:v>1.2931034482758621</c:v>
                </c:pt>
                <c:pt idx="11">
                  <c:v>1.2820512820512822</c:v>
                </c:pt>
                <c:pt idx="12">
                  <c:v>1.0764262648008611</c:v>
                </c:pt>
                <c:pt idx="13">
                  <c:v>1.0706638115631693</c:v>
                </c:pt>
                <c:pt idx="14">
                  <c:v>0.74468085106382975</c:v>
                </c:pt>
                <c:pt idx="15">
                  <c:v>1.5991471215351811</c:v>
                </c:pt>
                <c:pt idx="16">
                  <c:v>1.0582010582010581</c:v>
                </c:pt>
                <c:pt idx="17">
                  <c:v>1.6877637130801688</c:v>
                </c:pt>
                <c:pt idx="18">
                  <c:v>1.5641293013555788</c:v>
                </c:pt>
                <c:pt idx="19">
                  <c:v>1.6701461377870563</c:v>
                </c:pt>
                <c:pt idx="20">
                  <c:v>1.4690451206715636</c:v>
                </c:pt>
                <c:pt idx="21">
                  <c:v>1.0504201680672269</c:v>
                </c:pt>
                <c:pt idx="22">
                  <c:v>1.3829787234042552</c:v>
                </c:pt>
                <c:pt idx="23">
                  <c:v>1.4767932489451476</c:v>
                </c:pt>
                <c:pt idx="24">
                  <c:v>1.490947816826411</c:v>
                </c:pt>
                <c:pt idx="25">
                  <c:v>1.4830508474576272</c:v>
                </c:pt>
                <c:pt idx="26">
                  <c:v>1.7951425554382259</c:v>
                </c:pt>
                <c:pt idx="27">
                  <c:v>1.1542497376705141</c:v>
                </c:pt>
                <c:pt idx="28">
                  <c:v>1.8848167539267016</c:v>
                </c:pt>
                <c:pt idx="29">
                  <c:v>1.2448132780082988</c:v>
                </c:pt>
                <c:pt idx="30">
                  <c:v>1.540041067761807</c:v>
                </c:pt>
                <c:pt idx="31">
                  <c:v>1.3347022587268993</c:v>
                </c:pt>
                <c:pt idx="32">
                  <c:v>1.344364012409514</c:v>
                </c:pt>
                <c:pt idx="33">
                  <c:v>1.9750519750519751</c:v>
                </c:pt>
                <c:pt idx="34">
                  <c:v>1.2591815320041972</c:v>
                </c:pt>
                <c:pt idx="35">
                  <c:v>1.2474012474012475</c:v>
                </c:pt>
                <c:pt idx="36">
                  <c:v>1.3641133263378804</c:v>
                </c:pt>
                <c:pt idx="37">
                  <c:v>1.3569937369519833</c:v>
                </c:pt>
                <c:pt idx="38">
                  <c:v>1.1410788381742738</c:v>
                </c:pt>
                <c:pt idx="39">
                  <c:v>2.1784232365145226</c:v>
                </c:pt>
                <c:pt idx="40">
                  <c:v>1.2332990750256938</c:v>
                </c:pt>
                <c:pt idx="41">
                  <c:v>1.8442622950819672</c:v>
                </c:pt>
                <c:pt idx="42">
                  <c:v>1.6177957532861476</c:v>
                </c:pt>
                <c:pt idx="43">
                  <c:v>1.7223910840932117</c:v>
                </c:pt>
                <c:pt idx="44">
                  <c:v>1.8367346938775511</c:v>
                </c:pt>
                <c:pt idx="45">
                  <c:v>1.7329255861365953</c:v>
                </c:pt>
                <c:pt idx="46">
                  <c:v>1.8652849740932642</c:v>
                </c:pt>
                <c:pt idx="47">
                  <c:v>1.9507186858316221</c:v>
                </c:pt>
                <c:pt idx="48">
                  <c:v>2.3809523809523809</c:v>
                </c:pt>
                <c:pt idx="49">
                  <c:v>2.2657054582904221</c:v>
                </c:pt>
                <c:pt idx="50">
                  <c:v>2.0512820512820511</c:v>
                </c:pt>
                <c:pt idx="51">
                  <c:v>1.3197969543147208</c:v>
                </c:pt>
                <c:pt idx="52">
                  <c:v>1.5228426395939085</c:v>
                </c:pt>
                <c:pt idx="53">
                  <c:v>0.90543259557344069</c:v>
                </c:pt>
                <c:pt idx="54">
                  <c:v>0</c:v>
                </c:pt>
                <c:pt idx="55">
                  <c:v>9.9601593625498003E-2</c:v>
                </c:pt>
                <c:pt idx="56">
                  <c:v>0.50100200400801598</c:v>
                </c:pt>
                <c:pt idx="57">
                  <c:v>0.60120240480961928</c:v>
                </c:pt>
                <c:pt idx="58">
                  <c:v>1.8311291963377416</c:v>
                </c:pt>
                <c:pt idx="59">
                  <c:v>1.2084592145015105</c:v>
                </c:pt>
                <c:pt idx="60">
                  <c:v>1.6177957532861476</c:v>
                </c:pt>
                <c:pt idx="61">
                  <c:v>1.6112789526686808</c:v>
                </c:pt>
                <c:pt idx="62">
                  <c:v>1.9095477386934674</c:v>
                </c:pt>
                <c:pt idx="63">
                  <c:v>1.7034068136272544</c:v>
                </c:pt>
                <c:pt idx="64">
                  <c:v>1.9</c:v>
                </c:pt>
                <c:pt idx="65">
                  <c:v>1.9940179461615155</c:v>
                </c:pt>
                <c:pt idx="66">
                  <c:v>2.3880597014925371</c:v>
                </c:pt>
                <c:pt idx="67">
                  <c:v>2.5870646766169156</c:v>
                </c:pt>
                <c:pt idx="68">
                  <c:v>2.5922233300099702</c:v>
                </c:pt>
                <c:pt idx="69">
                  <c:v>2.689243027888446</c:v>
                </c:pt>
                <c:pt idx="70">
                  <c:v>2.6973026973026974</c:v>
                </c:pt>
                <c:pt idx="71">
                  <c:v>2.8855721393034828</c:v>
                </c:pt>
                <c:pt idx="72">
                  <c:v>2.2885572139303481</c:v>
                </c:pt>
                <c:pt idx="73">
                  <c:v>2.2794846382556986</c:v>
                </c:pt>
                <c:pt idx="74">
                  <c:v>2.1696252465483234</c:v>
                </c:pt>
                <c:pt idx="75">
                  <c:v>2.8571428571428572</c:v>
                </c:pt>
                <c:pt idx="76">
                  <c:v>2.649656526005888</c:v>
                </c:pt>
                <c:pt idx="77">
                  <c:v>1.9550342130987293</c:v>
                </c:pt>
                <c:pt idx="78">
                  <c:v>2.3323615160349855</c:v>
                </c:pt>
                <c:pt idx="79">
                  <c:v>2.3278370514064015</c:v>
                </c:pt>
                <c:pt idx="80">
                  <c:v>3.4985422740524781</c:v>
                </c:pt>
                <c:pt idx="81">
                  <c:v>3.4917555771096023</c:v>
                </c:pt>
                <c:pt idx="82">
                  <c:v>3.6964980544747084</c:v>
                </c:pt>
                <c:pt idx="83">
                  <c:v>3.8684719535783367</c:v>
                </c:pt>
                <c:pt idx="84">
                  <c:v>4.4747081712062258</c:v>
                </c:pt>
                <c:pt idx="85">
                  <c:v>4.6511627906976747</c:v>
                </c:pt>
                <c:pt idx="86">
                  <c:v>4.8262548262548259</c:v>
                </c:pt>
                <c:pt idx="87">
                  <c:v>4.6934865900383143</c:v>
                </c:pt>
                <c:pt idx="88">
                  <c:v>4.4933078393881454</c:v>
                </c:pt>
                <c:pt idx="89">
                  <c:v>5.2732502396931924</c:v>
                </c:pt>
                <c:pt idx="90">
                  <c:v>5.2231718898385564</c:v>
                </c:pt>
                <c:pt idx="91">
                  <c:v>5.1184834123222744</c:v>
                </c:pt>
                <c:pt idx="92">
                  <c:v>4.037558685446009</c:v>
                </c:pt>
                <c:pt idx="93">
                  <c:v>3.936269915651359</c:v>
                </c:pt>
                <c:pt idx="94">
                  <c:v>3.3771106941838651</c:v>
                </c:pt>
                <c:pt idx="95">
                  <c:v>3.1657355679702048</c:v>
                </c:pt>
                <c:pt idx="96">
                  <c:v>3.3519553072625698</c:v>
                </c:pt>
                <c:pt idx="97">
                  <c:v>3.425925925925926</c:v>
                </c:pt>
                <c:pt idx="98">
                  <c:v>3.6832412523020257</c:v>
                </c:pt>
                <c:pt idx="99">
                  <c:v>3.3851784080512353</c:v>
                </c:pt>
                <c:pt idx="100">
                  <c:v>3.9341262580054894</c:v>
                </c:pt>
                <c:pt idx="101">
                  <c:v>3.9162112932604738</c:v>
                </c:pt>
                <c:pt idx="102">
                  <c:v>3.8808664259927799</c:v>
                </c:pt>
                <c:pt idx="103">
                  <c:v>3.8773669972948603</c:v>
                </c:pt>
                <c:pt idx="104">
                  <c:v>3.7906137184115525</c:v>
                </c:pt>
                <c:pt idx="105">
                  <c:v>3.9675383228133452</c:v>
                </c:pt>
                <c:pt idx="106">
                  <c:v>4.1979814345830535</c:v>
                </c:pt>
                <c:pt idx="107">
                  <c:v>4.2123144346197572</c:v>
                </c:pt>
                <c:pt idx="108">
                  <c:v>4.0982425889958485</c:v>
                </c:pt>
                <c:pt idx="109">
                  <c:v>3.884036212802866</c:v>
                </c:pt>
                <c:pt idx="110">
                  <c:v>3.4873065821211524</c:v>
                </c:pt>
                <c:pt idx="111">
                  <c:v>3.4614158061598177</c:v>
                </c:pt>
                <c:pt idx="112">
                  <c:v>3.092816737109394</c:v>
                </c:pt>
                <c:pt idx="113">
                  <c:v>3.1089487074575928</c:v>
                </c:pt>
                <c:pt idx="114">
                  <c:v>2.8388849223934809</c:v>
                </c:pt>
                <c:pt idx="115">
                  <c:v>2.7627783883833024</c:v>
                </c:pt>
                <c:pt idx="116">
                  <c:v>2.7943068174425711</c:v>
                </c:pt>
                <c:pt idx="117">
                  <c:v>2.6079819199432697</c:v>
                </c:pt>
                <c:pt idx="118">
                  <c:v>2.6644406777117435</c:v>
                </c:pt>
                <c:pt idx="119">
                  <c:v>2.6848669343008336</c:v>
                </c:pt>
                <c:pt idx="120">
                  <c:v>2.449070063011094</c:v>
                </c:pt>
                <c:pt idx="121">
                  <c:v>2.4456817462518599</c:v>
                </c:pt>
                <c:pt idx="122">
                  <c:v>2.4422941248683383</c:v>
                </c:pt>
                <c:pt idx="123">
                  <c:v>2.432094464718304</c:v>
                </c:pt>
                <c:pt idx="124">
                  <c:v>2.4218798028349031</c:v>
                </c:pt>
                <c:pt idx="125">
                  <c:v>2.411694936767339</c:v>
                </c:pt>
                <c:pt idx="126">
                  <c:v>2.4015269084352031</c:v>
                </c:pt>
                <c:pt idx="127">
                  <c:v>2.3912989560305187</c:v>
                </c:pt>
                <c:pt idx="128">
                  <c:v>2.3810560687376192</c:v>
                </c:pt>
                <c:pt idx="129">
                  <c:v>2.3708369367463344</c:v>
                </c:pt>
                <c:pt idx="130">
                  <c:v>2.3605741869052288</c:v>
                </c:pt>
                <c:pt idx="131">
                  <c:v>2.3504078049749744</c:v>
                </c:pt>
              </c:numCache>
            </c:numRef>
          </c:val>
          <c:smooth val="0"/>
          <c:extLst>
            <c:ext xmlns:c16="http://schemas.microsoft.com/office/drawing/2014/chart" uri="{C3380CC4-5D6E-409C-BE32-E72D297353CC}">
              <c16:uniqueId val="{00000003-0917-483E-83A3-1F111F9EC363}"/>
            </c:ext>
          </c:extLst>
        </c:ser>
        <c:dLbls>
          <c:showLegendKey val="0"/>
          <c:showVal val="0"/>
          <c:showCatName val="0"/>
          <c:showSerName val="0"/>
          <c:showPercent val="0"/>
          <c:showBubbleSize val="0"/>
        </c:dLbls>
        <c:smooth val="0"/>
        <c:axId val="315298272"/>
        <c:axId val="315272832"/>
        <c:extLst>
          <c:ext xmlns:c15="http://schemas.microsoft.com/office/drawing/2012/chart" uri="{02D57815-91ED-43cb-92C2-25804820EDAC}">
            <c15:filteredLineSeries>
              <c15:ser>
                <c:idx val="2"/>
                <c:order val="2"/>
                <c:tx>
                  <c:strRef>
                    <c:extLst>
                      <c:ext uri="{02D57815-91ED-43cb-92C2-25804820EDAC}">
                        <c15:formulaRef>
                          <c15:sqref>'1'!$CF$19</c15:sqref>
                        </c15:formulaRef>
                      </c:ext>
                    </c:extLst>
                    <c:strCache>
                      <c:ptCount val="1"/>
                      <c:pt idx="0">
                        <c:v>CPI: Food</c:v>
                      </c:pt>
                    </c:strCache>
                  </c:strRef>
                </c:tx>
                <c:spPr>
                  <a:ln w="28575" cap="rnd">
                    <a:solidFill>
                      <a:schemeClr val="accent3"/>
                    </a:solidFill>
                    <a:round/>
                  </a:ln>
                  <a:effectLst/>
                </c:spPr>
                <c:marker>
                  <c:symbol val="none"/>
                </c:marker>
                <c:cat>
                  <c:numRef>
                    <c:extLst>
                      <c:ext uri="{02D57815-91ED-43cb-92C2-25804820EDAC}">
                        <c15:formulaRef>
                          <c15:sqref>'1'!$A$24:$A$155</c15:sqref>
                        </c15:formulaRef>
                      </c:ext>
                    </c:extLst>
                    <c:numCache>
                      <c:formatCode>m/d/yyyy</c:formatCode>
                      <c:ptCount val="132"/>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pt idx="54">
                        <c:v>44013</c:v>
                      </c:pt>
                      <c:pt idx="55">
                        <c:v>44044</c:v>
                      </c:pt>
                      <c:pt idx="56">
                        <c:v>44075</c:v>
                      </c:pt>
                      <c:pt idx="57">
                        <c:v>44105</c:v>
                      </c:pt>
                      <c:pt idx="58">
                        <c:v>44136</c:v>
                      </c:pt>
                      <c:pt idx="59">
                        <c:v>44166</c:v>
                      </c:pt>
                      <c:pt idx="60">
                        <c:v>44197</c:v>
                      </c:pt>
                      <c:pt idx="61">
                        <c:v>44228</c:v>
                      </c:pt>
                      <c:pt idx="62">
                        <c:v>44256</c:v>
                      </c:pt>
                      <c:pt idx="63">
                        <c:v>44287</c:v>
                      </c:pt>
                      <c:pt idx="64">
                        <c:v>44317</c:v>
                      </c:pt>
                      <c:pt idx="65">
                        <c:v>44348</c:v>
                      </c:pt>
                      <c:pt idx="66">
                        <c:v>44378</c:v>
                      </c:pt>
                      <c:pt idx="67">
                        <c:v>44409</c:v>
                      </c:pt>
                      <c:pt idx="68">
                        <c:v>44440</c:v>
                      </c:pt>
                      <c:pt idx="69">
                        <c:v>44470</c:v>
                      </c:pt>
                      <c:pt idx="70">
                        <c:v>44501</c:v>
                      </c:pt>
                      <c:pt idx="71">
                        <c:v>44531</c:v>
                      </c:pt>
                      <c:pt idx="72">
                        <c:v>44562</c:v>
                      </c:pt>
                      <c:pt idx="73">
                        <c:v>44593</c:v>
                      </c:pt>
                      <c:pt idx="74">
                        <c:v>44621</c:v>
                      </c:pt>
                      <c:pt idx="75">
                        <c:v>44652</c:v>
                      </c:pt>
                      <c:pt idx="76">
                        <c:v>44682</c:v>
                      </c:pt>
                      <c:pt idx="77">
                        <c:v>44713</c:v>
                      </c:pt>
                      <c:pt idx="78">
                        <c:v>44743</c:v>
                      </c:pt>
                      <c:pt idx="79">
                        <c:v>44774</c:v>
                      </c:pt>
                      <c:pt idx="80">
                        <c:v>44805</c:v>
                      </c:pt>
                      <c:pt idx="81">
                        <c:v>44835</c:v>
                      </c:pt>
                      <c:pt idx="82">
                        <c:v>44866</c:v>
                      </c:pt>
                      <c:pt idx="83">
                        <c:v>44896</c:v>
                      </c:pt>
                      <c:pt idx="84">
                        <c:v>44927</c:v>
                      </c:pt>
                      <c:pt idx="85">
                        <c:v>44958</c:v>
                      </c:pt>
                      <c:pt idx="86">
                        <c:v>44986</c:v>
                      </c:pt>
                      <c:pt idx="87">
                        <c:v>45017</c:v>
                      </c:pt>
                      <c:pt idx="88">
                        <c:v>45047</c:v>
                      </c:pt>
                      <c:pt idx="89">
                        <c:v>45078</c:v>
                      </c:pt>
                      <c:pt idx="90">
                        <c:v>45108</c:v>
                      </c:pt>
                      <c:pt idx="91">
                        <c:v>45139</c:v>
                      </c:pt>
                      <c:pt idx="92">
                        <c:v>45170</c:v>
                      </c:pt>
                      <c:pt idx="93">
                        <c:v>45200</c:v>
                      </c:pt>
                      <c:pt idx="94">
                        <c:v>45231</c:v>
                      </c:pt>
                      <c:pt idx="95">
                        <c:v>45261</c:v>
                      </c:pt>
                      <c:pt idx="96">
                        <c:v>45292</c:v>
                      </c:pt>
                      <c:pt idx="97">
                        <c:v>45323</c:v>
                      </c:pt>
                      <c:pt idx="98">
                        <c:v>45352</c:v>
                      </c:pt>
                      <c:pt idx="99">
                        <c:v>45383</c:v>
                      </c:pt>
                      <c:pt idx="100">
                        <c:v>45413</c:v>
                      </c:pt>
                      <c:pt idx="101">
                        <c:v>45444</c:v>
                      </c:pt>
                      <c:pt idx="102">
                        <c:v>45474</c:v>
                      </c:pt>
                      <c:pt idx="103">
                        <c:v>45505</c:v>
                      </c:pt>
                      <c:pt idx="104">
                        <c:v>45536</c:v>
                      </c:pt>
                      <c:pt idx="105">
                        <c:v>45566</c:v>
                      </c:pt>
                      <c:pt idx="106">
                        <c:v>45597</c:v>
                      </c:pt>
                      <c:pt idx="107">
                        <c:v>45627</c:v>
                      </c:pt>
                      <c:pt idx="108">
                        <c:v>45658</c:v>
                      </c:pt>
                      <c:pt idx="109">
                        <c:v>45689</c:v>
                      </c:pt>
                      <c:pt idx="110">
                        <c:v>45717</c:v>
                      </c:pt>
                      <c:pt idx="111">
                        <c:v>45748</c:v>
                      </c:pt>
                      <c:pt idx="112">
                        <c:v>45778</c:v>
                      </c:pt>
                      <c:pt idx="113">
                        <c:v>45809</c:v>
                      </c:pt>
                      <c:pt idx="114">
                        <c:v>45839</c:v>
                      </c:pt>
                      <c:pt idx="115">
                        <c:v>45870</c:v>
                      </c:pt>
                      <c:pt idx="116">
                        <c:v>45901</c:v>
                      </c:pt>
                      <c:pt idx="117">
                        <c:v>45931</c:v>
                      </c:pt>
                      <c:pt idx="118">
                        <c:v>45962</c:v>
                      </c:pt>
                      <c:pt idx="119">
                        <c:v>45992</c:v>
                      </c:pt>
                      <c:pt idx="120">
                        <c:v>46023</c:v>
                      </c:pt>
                      <c:pt idx="121">
                        <c:v>46054</c:v>
                      </c:pt>
                      <c:pt idx="122">
                        <c:v>46082</c:v>
                      </c:pt>
                      <c:pt idx="123">
                        <c:v>46113</c:v>
                      </c:pt>
                      <c:pt idx="124">
                        <c:v>46143</c:v>
                      </c:pt>
                      <c:pt idx="125">
                        <c:v>46174</c:v>
                      </c:pt>
                      <c:pt idx="126">
                        <c:v>46204</c:v>
                      </c:pt>
                      <c:pt idx="127">
                        <c:v>46235</c:v>
                      </c:pt>
                      <c:pt idx="128">
                        <c:v>46266</c:v>
                      </c:pt>
                      <c:pt idx="129">
                        <c:v>46296</c:v>
                      </c:pt>
                      <c:pt idx="130">
                        <c:v>46327</c:v>
                      </c:pt>
                      <c:pt idx="131">
                        <c:v>46357</c:v>
                      </c:pt>
                    </c:numCache>
                  </c:numRef>
                </c:cat>
                <c:val>
                  <c:numRef>
                    <c:extLst>
                      <c:ext uri="{02D57815-91ED-43cb-92C2-25804820EDAC}">
                        <c15:formulaRef>
                          <c15:sqref>'1'!$CF$24:$CF$155</c15:sqref>
                        </c15:formulaRef>
                      </c:ext>
                    </c:extLst>
                    <c:numCache>
                      <c:formatCode>0.0</c:formatCode>
                      <c:ptCount val="132"/>
                      <c:pt idx="0">
                        <c:v>0.66592674805771368</c:v>
                      </c:pt>
                      <c:pt idx="1">
                        <c:v>0.55005500550055009</c:v>
                      </c:pt>
                      <c:pt idx="2">
                        <c:v>1.2114537444933922</c:v>
                      </c:pt>
                      <c:pt idx="3">
                        <c:v>0.65573770491803274</c:v>
                      </c:pt>
                      <c:pt idx="4">
                        <c:v>0</c:v>
                      </c:pt>
                      <c:pt idx="5">
                        <c:v>0.22026431718061673</c:v>
                      </c:pt>
                      <c:pt idx="6">
                        <c:v>1.3303769401330376</c:v>
                      </c:pt>
                      <c:pt idx="7">
                        <c:v>1.1123470522803114</c:v>
                      </c:pt>
                      <c:pt idx="8">
                        <c:v>0.66371681415929207</c:v>
                      </c:pt>
                      <c:pt idx="9">
                        <c:v>0.11001100110011001</c:v>
                      </c:pt>
                      <c:pt idx="10">
                        <c:v>1.4301430143014302</c:v>
                      </c:pt>
                      <c:pt idx="11">
                        <c:v>2.759381898454746</c:v>
                      </c:pt>
                      <c:pt idx="12">
                        <c:v>3.528114663726571</c:v>
                      </c:pt>
                      <c:pt idx="13">
                        <c:v>4.9234135667396064</c:v>
                      </c:pt>
                      <c:pt idx="14">
                        <c:v>2.2850924918389555</c:v>
                      </c:pt>
                      <c:pt idx="15">
                        <c:v>1.6286644951140066</c:v>
                      </c:pt>
                      <c:pt idx="16">
                        <c:v>2.1857923497267762</c:v>
                      </c:pt>
                      <c:pt idx="17">
                        <c:v>2.5274725274725274</c:v>
                      </c:pt>
                      <c:pt idx="18">
                        <c:v>2.4070021881838075</c:v>
                      </c:pt>
                      <c:pt idx="19">
                        <c:v>2.8602860286028604</c:v>
                      </c:pt>
                      <c:pt idx="20">
                        <c:v>3.2967032967032965</c:v>
                      </c:pt>
                      <c:pt idx="21">
                        <c:v>4.1758241758241761</c:v>
                      </c:pt>
                      <c:pt idx="22">
                        <c:v>3.0368763557483729</c:v>
                      </c:pt>
                      <c:pt idx="23">
                        <c:v>2.6852846401718584</c:v>
                      </c:pt>
                      <c:pt idx="24">
                        <c:v>2.6624068157614484</c:v>
                      </c:pt>
                      <c:pt idx="25">
                        <c:v>0.41710114702815432</c:v>
                      </c:pt>
                      <c:pt idx="26">
                        <c:v>2.6595744680851063</c:v>
                      </c:pt>
                      <c:pt idx="27">
                        <c:v>3.0982905982905984</c:v>
                      </c:pt>
                      <c:pt idx="28">
                        <c:v>3.4224598930481283</c:v>
                      </c:pt>
                      <c:pt idx="29">
                        <c:v>3.429796355841372</c:v>
                      </c:pt>
                      <c:pt idx="30">
                        <c:v>2.6709401709401708</c:v>
                      </c:pt>
                      <c:pt idx="31">
                        <c:v>2.3529411764705883</c:v>
                      </c:pt>
                      <c:pt idx="32">
                        <c:v>2.978723404255319</c:v>
                      </c:pt>
                      <c:pt idx="33">
                        <c:v>1.8987341772151898</c:v>
                      </c:pt>
                      <c:pt idx="34">
                        <c:v>1.4736842105263157</c:v>
                      </c:pt>
                      <c:pt idx="35">
                        <c:v>1.1506276150627615</c:v>
                      </c:pt>
                      <c:pt idx="36">
                        <c:v>0.82987551867219922</c:v>
                      </c:pt>
                      <c:pt idx="37">
                        <c:v>1.4537902388369679</c:v>
                      </c:pt>
                      <c:pt idx="38">
                        <c:v>0.72538860103626945</c:v>
                      </c:pt>
                      <c:pt idx="39">
                        <c:v>0.72538860103626945</c:v>
                      </c:pt>
                      <c:pt idx="40">
                        <c:v>0.93071354705274045</c:v>
                      </c:pt>
                      <c:pt idx="41">
                        <c:v>1.2435233160621761</c:v>
                      </c:pt>
                      <c:pt idx="42">
                        <c:v>2.0811654526534857</c:v>
                      </c:pt>
                      <c:pt idx="43">
                        <c:v>2.6123301985370952</c:v>
                      </c:pt>
                      <c:pt idx="44">
                        <c:v>1.2396694214876034</c:v>
                      </c:pt>
                      <c:pt idx="45">
                        <c:v>1.1387163561076605</c:v>
                      </c:pt>
                      <c:pt idx="46">
                        <c:v>1.7634854771784232</c:v>
                      </c:pt>
                      <c:pt idx="47">
                        <c:v>2.0682523267838677</c:v>
                      </c:pt>
                      <c:pt idx="48">
                        <c:v>2.3662551440329218</c:v>
                      </c:pt>
                      <c:pt idx="49">
                        <c:v>3.3776867963152508</c:v>
                      </c:pt>
                      <c:pt idx="50">
                        <c:v>3.8065843621399176</c:v>
                      </c:pt>
                      <c:pt idx="51">
                        <c:v>5.0411522633744852</c:v>
                      </c:pt>
                      <c:pt idx="52">
                        <c:v>4.3032786885245899</c:v>
                      </c:pt>
                      <c:pt idx="53">
                        <c:v>3.9918116683725691</c:v>
                      </c:pt>
                      <c:pt idx="54">
                        <c:v>0.8154943934760448</c:v>
                      </c:pt>
                      <c:pt idx="55">
                        <c:v>0.40733197556008144</c:v>
                      </c:pt>
                      <c:pt idx="56">
                        <c:v>0.40816326530612246</c:v>
                      </c:pt>
                      <c:pt idx="57">
                        <c:v>1.1258955987717503</c:v>
                      </c:pt>
                      <c:pt idx="58">
                        <c:v>1.3251783893985729</c:v>
                      </c:pt>
                      <c:pt idx="59">
                        <c:v>0.303951367781155</c:v>
                      </c:pt>
                      <c:pt idx="60">
                        <c:v>2.0100502512562812</c:v>
                      </c:pt>
                      <c:pt idx="61">
                        <c:v>1.4851485148514851</c:v>
                      </c:pt>
                      <c:pt idx="62">
                        <c:v>1.5857284440039643</c:v>
                      </c:pt>
                      <c:pt idx="63">
                        <c:v>1.762977473065622</c:v>
                      </c:pt>
                      <c:pt idx="64">
                        <c:v>1.4734774066797642</c:v>
                      </c:pt>
                      <c:pt idx="65">
                        <c:v>1.0826771653543308</c:v>
                      </c:pt>
                      <c:pt idx="66">
                        <c:v>4.2467138523761374</c:v>
                      </c:pt>
                      <c:pt idx="67">
                        <c:v>4.5638945233265718</c:v>
                      </c:pt>
                      <c:pt idx="68">
                        <c:v>4.8780487804878048</c:v>
                      </c:pt>
                      <c:pt idx="69">
                        <c:v>4.3522267206477734</c:v>
                      </c:pt>
                      <c:pt idx="70">
                        <c:v>4.4265593561368206</c:v>
                      </c:pt>
                      <c:pt idx="71">
                        <c:v>6.0606060606060606</c:v>
                      </c:pt>
                      <c:pt idx="72">
                        <c:v>5.2216748768472909</c:v>
                      </c:pt>
                      <c:pt idx="73">
                        <c:v>5.3658536585365857</c:v>
                      </c:pt>
                      <c:pt idx="74">
                        <c:v>6.2439024390243905</c:v>
                      </c:pt>
                      <c:pt idx="75">
                        <c:v>8.46968238691049</c:v>
                      </c:pt>
                      <c:pt idx="76">
                        <c:v>10.939012584704743</c:v>
                      </c:pt>
                      <c:pt idx="77">
                        <c:v>12.658227848101266</c:v>
                      </c:pt>
                      <c:pt idx="78">
                        <c:v>14.54898157129001</c:v>
                      </c:pt>
                      <c:pt idx="79">
                        <c:v>16.294859359844811</c:v>
                      </c:pt>
                      <c:pt idx="80">
                        <c:v>18.313953488372093</c:v>
                      </c:pt>
                      <c:pt idx="81">
                        <c:v>20.077594568380214</c:v>
                      </c:pt>
                      <c:pt idx="82">
                        <c:v>20.616570327552985</c:v>
                      </c:pt>
                      <c:pt idx="83">
                        <c:v>20.38095238095238</c:v>
                      </c:pt>
                      <c:pt idx="84">
                        <c:v>20.224719101123597</c:v>
                      </c:pt>
                      <c:pt idx="85">
                        <c:v>21.75925925925926</c:v>
                      </c:pt>
                      <c:pt idx="86">
                        <c:v>22.314049586776861</c:v>
                      </c:pt>
                      <c:pt idx="87">
                        <c:v>17.213842058562555</c:v>
                      </c:pt>
                      <c:pt idx="88">
                        <c:v>14.921465968586388</c:v>
                      </c:pt>
                      <c:pt idx="89">
                        <c:v>13.656006914433881</c:v>
                      </c:pt>
                      <c:pt idx="90">
                        <c:v>11.00762066045724</c:v>
                      </c:pt>
                      <c:pt idx="91">
                        <c:v>9.007506255212677</c:v>
                      </c:pt>
                      <c:pt idx="92">
                        <c:v>7.4529074529074526</c:v>
                      </c:pt>
                      <c:pt idx="93">
                        <c:v>6.0581583198707589</c:v>
                      </c:pt>
                      <c:pt idx="94">
                        <c:v>5.5111821086261985</c:v>
                      </c:pt>
                      <c:pt idx="95">
                        <c:v>4.5886075949367084</c:v>
                      </c:pt>
                      <c:pt idx="96">
                        <c:v>3.8161993769470404</c:v>
                      </c:pt>
                      <c:pt idx="97">
                        <c:v>0.9125475285171103</c:v>
                      </c:pt>
                      <c:pt idx="98">
                        <c:v>-0.67567567567567566</c:v>
                      </c:pt>
                      <c:pt idx="99">
                        <c:v>0.52990158970476908</c:v>
                      </c:pt>
                      <c:pt idx="100">
                        <c:v>0.60744115413819288</c:v>
                      </c:pt>
                      <c:pt idx="101">
                        <c:v>1.064638783269962</c:v>
                      </c:pt>
                      <c:pt idx="102">
                        <c:v>1.2967200610221206</c:v>
                      </c:pt>
                      <c:pt idx="103">
                        <c:v>1.4537107880642692</c:v>
                      </c:pt>
                      <c:pt idx="104">
                        <c:v>1.600609756097561</c:v>
                      </c:pt>
                      <c:pt idx="105">
                        <c:v>2.2848438690022848</c:v>
                      </c:pt>
                      <c:pt idx="106">
                        <c:v>1.9318051998953534</c:v>
                      </c:pt>
                      <c:pt idx="107">
                        <c:v>2.1742886969631448</c:v>
                      </c:pt>
                      <c:pt idx="108">
                        <c:v>2.1233719960983999</c:v>
                      </c:pt>
                      <c:pt idx="109">
                        <c:v>3.4812978667183359</c:v>
                      </c:pt>
                      <c:pt idx="110">
                        <c:v>3.6633768020887247</c:v>
                      </c:pt>
                      <c:pt idx="111">
                        <c:v>3.529469284450637</c:v>
                      </c:pt>
                      <c:pt idx="112">
                        <c:v>3.7617988450591389</c:v>
                      </c:pt>
                      <c:pt idx="113">
                        <c:v>3.1493397966402714</c:v>
                      </c:pt>
                      <c:pt idx="114">
                        <c:v>3.4341337208561251</c:v>
                      </c:pt>
                      <c:pt idx="115">
                        <c:v>3.3527321022654766</c:v>
                      </c:pt>
                      <c:pt idx="116">
                        <c:v>3.0810240523039711</c:v>
                      </c:pt>
                      <c:pt idx="117">
                        <c:v>2.3797286199809253</c:v>
                      </c:pt>
                      <c:pt idx="118">
                        <c:v>2.3797286199809475</c:v>
                      </c:pt>
                      <c:pt idx="119">
                        <c:v>2.3797286199809475</c:v>
                      </c:pt>
                      <c:pt idx="120">
                        <c:v>2.3797286199809475</c:v>
                      </c:pt>
                      <c:pt idx="121">
                        <c:v>2.3797286199809475</c:v>
                      </c:pt>
                      <c:pt idx="122">
                        <c:v>2.3797286199809475</c:v>
                      </c:pt>
                      <c:pt idx="123">
                        <c:v>2.3797286199809475</c:v>
                      </c:pt>
                      <c:pt idx="124">
                        <c:v>2.3797286199809475</c:v>
                      </c:pt>
                      <c:pt idx="125">
                        <c:v>2.3797286199809475</c:v>
                      </c:pt>
                      <c:pt idx="126">
                        <c:v>2.3797286199809697</c:v>
                      </c:pt>
                      <c:pt idx="127">
                        <c:v>2.3797286199809697</c:v>
                      </c:pt>
                      <c:pt idx="128">
                        <c:v>2.3797286199809697</c:v>
                      </c:pt>
                      <c:pt idx="129">
                        <c:v>2.3797286199809697</c:v>
                      </c:pt>
                      <c:pt idx="130">
                        <c:v>2.3797286199809475</c:v>
                      </c:pt>
                      <c:pt idx="131">
                        <c:v>2.3797286199809475</c:v>
                      </c:pt>
                    </c:numCache>
                  </c:numRef>
                </c:val>
                <c:smooth val="0"/>
                <c:extLst>
                  <c:ext xmlns:c16="http://schemas.microsoft.com/office/drawing/2014/chart" uri="{C3380CC4-5D6E-409C-BE32-E72D297353CC}">
                    <c16:uniqueId val="{00000004-0917-483E-83A3-1F111F9EC363}"/>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1'!$CG$19</c15:sqref>
                        </c15:formulaRef>
                      </c:ext>
                    </c:extLst>
                    <c:strCache>
                      <c:ptCount val="1"/>
                      <c:pt idx="0">
                        <c:v>CPI: Energy</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1'!$A$24:$A$155</c15:sqref>
                        </c15:formulaRef>
                      </c:ext>
                    </c:extLst>
                    <c:numCache>
                      <c:formatCode>m/d/yyyy</c:formatCode>
                      <c:ptCount val="132"/>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pt idx="54">
                        <c:v>44013</c:v>
                      </c:pt>
                      <c:pt idx="55">
                        <c:v>44044</c:v>
                      </c:pt>
                      <c:pt idx="56">
                        <c:v>44075</c:v>
                      </c:pt>
                      <c:pt idx="57">
                        <c:v>44105</c:v>
                      </c:pt>
                      <c:pt idx="58">
                        <c:v>44136</c:v>
                      </c:pt>
                      <c:pt idx="59">
                        <c:v>44166</c:v>
                      </c:pt>
                      <c:pt idx="60">
                        <c:v>44197</c:v>
                      </c:pt>
                      <c:pt idx="61">
                        <c:v>44228</c:v>
                      </c:pt>
                      <c:pt idx="62">
                        <c:v>44256</c:v>
                      </c:pt>
                      <c:pt idx="63">
                        <c:v>44287</c:v>
                      </c:pt>
                      <c:pt idx="64">
                        <c:v>44317</c:v>
                      </c:pt>
                      <c:pt idx="65">
                        <c:v>44348</c:v>
                      </c:pt>
                      <c:pt idx="66">
                        <c:v>44378</c:v>
                      </c:pt>
                      <c:pt idx="67">
                        <c:v>44409</c:v>
                      </c:pt>
                      <c:pt idx="68">
                        <c:v>44440</c:v>
                      </c:pt>
                      <c:pt idx="69">
                        <c:v>44470</c:v>
                      </c:pt>
                      <c:pt idx="70">
                        <c:v>44501</c:v>
                      </c:pt>
                      <c:pt idx="71">
                        <c:v>44531</c:v>
                      </c:pt>
                      <c:pt idx="72">
                        <c:v>44562</c:v>
                      </c:pt>
                      <c:pt idx="73">
                        <c:v>44593</c:v>
                      </c:pt>
                      <c:pt idx="74">
                        <c:v>44621</c:v>
                      </c:pt>
                      <c:pt idx="75">
                        <c:v>44652</c:v>
                      </c:pt>
                      <c:pt idx="76">
                        <c:v>44682</c:v>
                      </c:pt>
                      <c:pt idx="77">
                        <c:v>44713</c:v>
                      </c:pt>
                      <c:pt idx="78">
                        <c:v>44743</c:v>
                      </c:pt>
                      <c:pt idx="79">
                        <c:v>44774</c:v>
                      </c:pt>
                      <c:pt idx="80">
                        <c:v>44805</c:v>
                      </c:pt>
                      <c:pt idx="81">
                        <c:v>44835</c:v>
                      </c:pt>
                      <c:pt idx="82">
                        <c:v>44866</c:v>
                      </c:pt>
                      <c:pt idx="83">
                        <c:v>44896</c:v>
                      </c:pt>
                      <c:pt idx="84">
                        <c:v>44927</c:v>
                      </c:pt>
                      <c:pt idx="85">
                        <c:v>44958</c:v>
                      </c:pt>
                      <c:pt idx="86">
                        <c:v>44986</c:v>
                      </c:pt>
                      <c:pt idx="87">
                        <c:v>45017</c:v>
                      </c:pt>
                      <c:pt idx="88">
                        <c:v>45047</c:v>
                      </c:pt>
                      <c:pt idx="89">
                        <c:v>45078</c:v>
                      </c:pt>
                      <c:pt idx="90">
                        <c:v>45108</c:v>
                      </c:pt>
                      <c:pt idx="91">
                        <c:v>45139</c:v>
                      </c:pt>
                      <c:pt idx="92">
                        <c:v>45170</c:v>
                      </c:pt>
                      <c:pt idx="93">
                        <c:v>45200</c:v>
                      </c:pt>
                      <c:pt idx="94">
                        <c:v>45231</c:v>
                      </c:pt>
                      <c:pt idx="95">
                        <c:v>45261</c:v>
                      </c:pt>
                      <c:pt idx="96">
                        <c:v>45292</c:v>
                      </c:pt>
                      <c:pt idx="97">
                        <c:v>45323</c:v>
                      </c:pt>
                      <c:pt idx="98">
                        <c:v>45352</c:v>
                      </c:pt>
                      <c:pt idx="99">
                        <c:v>45383</c:v>
                      </c:pt>
                      <c:pt idx="100">
                        <c:v>45413</c:v>
                      </c:pt>
                      <c:pt idx="101">
                        <c:v>45444</c:v>
                      </c:pt>
                      <c:pt idx="102">
                        <c:v>45474</c:v>
                      </c:pt>
                      <c:pt idx="103">
                        <c:v>45505</c:v>
                      </c:pt>
                      <c:pt idx="104">
                        <c:v>45536</c:v>
                      </c:pt>
                      <c:pt idx="105">
                        <c:v>45566</c:v>
                      </c:pt>
                      <c:pt idx="106">
                        <c:v>45597</c:v>
                      </c:pt>
                      <c:pt idx="107">
                        <c:v>45627</c:v>
                      </c:pt>
                      <c:pt idx="108">
                        <c:v>45658</c:v>
                      </c:pt>
                      <c:pt idx="109">
                        <c:v>45689</c:v>
                      </c:pt>
                      <c:pt idx="110">
                        <c:v>45717</c:v>
                      </c:pt>
                      <c:pt idx="111">
                        <c:v>45748</c:v>
                      </c:pt>
                      <c:pt idx="112">
                        <c:v>45778</c:v>
                      </c:pt>
                      <c:pt idx="113">
                        <c:v>45809</c:v>
                      </c:pt>
                      <c:pt idx="114">
                        <c:v>45839</c:v>
                      </c:pt>
                      <c:pt idx="115">
                        <c:v>45870</c:v>
                      </c:pt>
                      <c:pt idx="116">
                        <c:v>45901</c:v>
                      </c:pt>
                      <c:pt idx="117">
                        <c:v>45931</c:v>
                      </c:pt>
                      <c:pt idx="118">
                        <c:v>45962</c:v>
                      </c:pt>
                      <c:pt idx="119">
                        <c:v>45992</c:v>
                      </c:pt>
                      <c:pt idx="120">
                        <c:v>46023</c:v>
                      </c:pt>
                      <c:pt idx="121">
                        <c:v>46054</c:v>
                      </c:pt>
                      <c:pt idx="122">
                        <c:v>46082</c:v>
                      </c:pt>
                      <c:pt idx="123">
                        <c:v>46113</c:v>
                      </c:pt>
                      <c:pt idx="124">
                        <c:v>46143</c:v>
                      </c:pt>
                      <c:pt idx="125">
                        <c:v>46174</c:v>
                      </c:pt>
                      <c:pt idx="126">
                        <c:v>46204</c:v>
                      </c:pt>
                      <c:pt idx="127">
                        <c:v>46235</c:v>
                      </c:pt>
                      <c:pt idx="128">
                        <c:v>46266</c:v>
                      </c:pt>
                      <c:pt idx="129">
                        <c:v>46296</c:v>
                      </c:pt>
                      <c:pt idx="130">
                        <c:v>46327</c:v>
                      </c:pt>
                      <c:pt idx="131">
                        <c:v>46357</c:v>
                      </c:pt>
                    </c:numCache>
                  </c:numRef>
                </c:cat>
                <c:val>
                  <c:numRef>
                    <c:extLst xmlns:c15="http://schemas.microsoft.com/office/drawing/2012/chart">
                      <c:ext xmlns:c15="http://schemas.microsoft.com/office/drawing/2012/chart" uri="{02D57815-91ED-43cb-92C2-25804820EDAC}">
                        <c15:formulaRef>
                          <c15:sqref>'1'!$CG$24:$CG$155</c15:sqref>
                        </c15:formulaRef>
                      </c:ext>
                    </c:extLst>
                    <c:numCache>
                      <c:formatCode>0.0</c:formatCode>
                      <c:ptCount val="132"/>
                      <c:pt idx="0">
                        <c:v>-5.4054054054054053</c:v>
                      </c:pt>
                      <c:pt idx="1">
                        <c:v>-7.956777996070727</c:v>
                      </c:pt>
                      <c:pt idx="2">
                        <c:v>-8.4302325581395348</c:v>
                      </c:pt>
                      <c:pt idx="3">
                        <c:v>-8.1967213114754092</c:v>
                      </c:pt>
                      <c:pt idx="4">
                        <c:v>-7.6481835564053533</c:v>
                      </c:pt>
                      <c:pt idx="5">
                        <c:v>-6.2380038387715935</c:v>
                      </c:pt>
                      <c:pt idx="6">
                        <c:v>-6.9364161849710984</c:v>
                      </c:pt>
                      <c:pt idx="7">
                        <c:v>-5.8013765978367751</c:v>
                      </c:pt>
                      <c:pt idx="8">
                        <c:v>-3.7</c:v>
                      </c:pt>
                      <c:pt idx="9">
                        <c:v>-1.513622603430878</c:v>
                      </c:pt>
                      <c:pt idx="10">
                        <c:v>-2.7190332326283988</c:v>
                      </c:pt>
                      <c:pt idx="11">
                        <c:v>1.8614270941054809</c:v>
                      </c:pt>
                      <c:pt idx="12">
                        <c:v>5.0793650793650791</c:v>
                      </c:pt>
                      <c:pt idx="13">
                        <c:v>6.1899679829242267</c:v>
                      </c:pt>
                      <c:pt idx="14">
                        <c:v>4.3386243386243386</c:v>
                      </c:pt>
                      <c:pt idx="15">
                        <c:v>4.4117647058823533</c:v>
                      </c:pt>
                      <c:pt idx="16">
                        <c:v>1.5527950310559007</c:v>
                      </c:pt>
                      <c:pt idx="17">
                        <c:v>-0.30706243602865918</c:v>
                      </c:pt>
                      <c:pt idx="18">
                        <c:v>0.51759834368530022</c:v>
                      </c:pt>
                      <c:pt idx="19">
                        <c:v>1.7745302713987474</c:v>
                      </c:pt>
                      <c:pt idx="20">
                        <c:v>2.3883696780893042</c:v>
                      </c:pt>
                      <c:pt idx="21">
                        <c:v>0.92213114754098358</c:v>
                      </c:pt>
                      <c:pt idx="22">
                        <c:v>3.2091097308488612</c:v>
                      </c:pt>
                      <c:pt idx="23">
                        <c:v>1.116751269035533</c:v>
                      </c:pt>
                      <c:pt idx="24">
                        <c:v>0.70493454179254789</c:v>
                      </c:pt>
                      <c:pt idx="25">
                        <c:v>0.10050251256281408</c:v>
                      </c:pt>
                      <c:pt idx="26">
                        <c:v>0.40567951318458417</c:v>
                      </c:pt>
                      <c:pt idx="27">
                        <c:v>1.2072434607645874</c:v>
                      </c:pt>
                      <c:pt idx="28">
                        <c:v>4.7910295616717633</c:v>
                      </c:pt>
                      <c:pt idx="29">
                        <c:v>5.9548254620123204</c:v>
                      </c:pt>
                      <c:pt idx="30">
                        <c:v>6.282183316168898</c:v>
                      </c:pt>
                      <c:pt idx="31">
                        <c:v>6.5641025641025639</c:v>
                      </c:pt>
                      <c:pt idx="32">
                        <c:v>7.3022312373225153</c:v>
                      </c:pt>
                      <c:pt idx="33">
                        <c:v>8.4263959390862944</c:v>
                      </c:pt>
                      <c:pt idx="34">
                        <c:v>8.9267803410230684</c:v>
                      </c:pt>
                      <c:pt idx="35">
                        <c:v>4.8192771084337354</c:v>
                      </c:pt>
                      <c:pt idx="36">
                        <c:v>2.2999999999999998</c:v>
                      </c:pt>
                      <c:pt idx="37">
                        <c:v>2.9116465863453813</c:v>
                      </c:pt>
                      <c:pt idx="38">
                        <c:v>4.2424242424242422</c:v>
                      </c:pt>
                      <c:pt idx="39">
                        <c:v>4.6719681908548711</c:v>
                      </c:pt>
                      <c:pt idx="40">
                        <c:v>4.0856031128404666</c:v>
                      </c:pt>
                      <c:pt idx="41">
                        <c:v>2.4224806201550386</c:v>
                      </c:pt>
                      <c:pt idx="42">
                        <c:v>2.3255813953488373</c:v>
                      </c:pt>
                      <c:pt idx="43">
                        <c:v>0.67372473532242538</c:v>
                      </c:pt>
                      <c:pt idx="44">
                        <c:v>-1.1342155009451795</c:v>
                      </c:pt>
                      <c:pt idx="45">
                        <c:v>-2.0599250936329589</c:v>
                      </c:pt>
                      <c:pt idx="46">
                        <c:v>-3.7753222836095763</c:v>
                      </c:pt>
                      <c:pt idx="47">
                        <c:v>0</c:v>
                      </c:pt>
                      <c:pt idx="48">
                        <c:v>3.616813294232649</c:v>
                      </c:pt>
                      <c:pt idx="49">
                        <c:v>2.5365853658536586</c:v>
                      </c:pt>
                      <c:pt idx="50">
                        <c:v>-0.48449612403100772</c:v>
                      </c:pt>
                      <c:pt idx="51">
                        <c:v>-5.982905982905983</c:v>
                      </c:pt>
                      <c:pt idx="52">
                        <c:v>-8.5981308411214954</c:v>
                      </c:pt>
                      <c:pt idx="53">
                        <c:v>-5.7710501419110694</c:v>
                      </c:pt>
                      <c:pt idx="54">
                        <c:v>-6.0606060606060606</c:v>
                      </c:pt>
                      <c:pt idx="55">
                        <c:v>-5.5449330783938811</c:v>
                      </c:pt>
                      <c:pt idx="56">
                        <c:v>-6.1185468451242828</c:v>
                      </c:pt>
                      <c:pt idx="57">
                        <c:v>-5.9273422562141489</c:v>
                      </c:pt>
                      <c:pt idx="58">
                        <c:v>-7.1770334928229662</c:v>
                      </c:pt>
                      <c:pt idx="59">
                        <c:v>-5.842911877394636</c:v>
                      </c:pt>
                      <c:pt idx="60">
                        <c:v>-1.9811320754716981</c:v>
                      </c:pt>
                      <c:pt idx="61">
                        <c:v>0.38058991436726924</c:v>
                      </c:pt>
                      <c:pt idx="62">
                        <c:v>5.0632911392405067</c:v>
                      </c:pt>
                      <c:pt idx="63">
                        <c:v>8.9898989898989896</c:v>
                      </c:pt>
                      <c:pt idx="64">
                        <c:v>10.940695296523517</c:v>
                      </c:pt>
                      <c:pt idx="65">
                        <c:v>9.9397590361445776</c:v>
                      </c:pt>
                      <c:pt idx="66">
                        <c:v>11.89516129032258</c:v>
                      </c:pt>
                      <c:pt idx="67">
                        <c:v>12.955465587044534</c:v>
                      </c:pt>
                      <c:pt idx="68">
                        <c:v>14.256619144602851</c:v>
                      </c:pt>
                      <c:pt idx="69">
                        <c:v>18.191056910569106</c:v>
                      </c:pt>
                      <c:pt idx="70">
                        <c:v>22.268041237113401</c:v>
                      </c:pt>
                      <c:pt idx="71">
                        <c:v>18.514750762970497</c:v>
                      </c:pt>
                      <c:pt idx="72">
                        <c:v>18.768046198267566</c:v>
                      </c:pt>
                      <c:pt idx="73">
                        <c:v>20.85308056872038</c:v>
                      </c:pt>
                      <c:pt idx="74">
                        <c:v>35.959221501390175</c:v>
                      </c:pt>
                      <c:pt idx="75">
                        <c:v>32.622798887859126</c:v>
                      </c:pt>
                      <c:pt idx="76">
                        <c:v>35.483870967741936</c:v>
                      </c:pt>
                      <c:pt idx="77">
                        <c:v>33.424657534246577</c:v>
                      </c:pt>
                      <c:pt idx="78">
                        <c:v>28.198198198198199</c:v>
                      </c:pt>
                      <c:pt idx="79">
                        <c:v>27.060931899641577</c:v>
                      </c:pt>
                      <c:pt idx="80">
                        <c:v>36.541889483065951</c:v>
                      </c:pt>
                      <c:pt idx="81">
                        <c:v>35.081685296646604</c:v>
                      </c:pt>
                      <c:pt idx="82">
                        <c:v>31.365935919055648</c:v>
                      </c:pt>
                      <c:pt idx="83">
                        <c:v>20.343347639484978</c:v>
                      </c:pt>
                      <c:pt idx="84">
                        <c:v>23.095623987034035</c:v>
                      </c:pt>
                      <c:pt idx="85">
                        <c:v>19.137254901960784</c:v>
                      </c:pt>
                      <c:pt idx="86">
                        <c:v>3.5446489434219495</c:v>
                      </c:pt>
                      <c:pt idx="87">
                        <c:v>6.8483577917540179</c:v>
                      </c:pt>
                      <c:pt idx="88">
                        <c:v>2.5850340136054424</c:v>
                      </c:pt>
                      <c:pt idx="89">
                        <c:v>3.0116358658453115</c:v>
                      </c:pt>
                      <c:pt idx="90">
                        <c:v>5.692199578355587</c:v>
                      </c:pt>
                      <c:pt idx="91">
                        <c:v>8.2510578279266564</c:v>
                      </c:pt>
                      <c:pt idx="92">
                        <c:v>0.97911227154046998</c:v>
                      </c:pt>
                      <c:pt idx="93">
                        <c:v>-3.2463399108847866</c:v>
                      </c:pt>
                      <c:pt idx="94">
                        <c:v>-4.4929396662387679</c:v>
                      </c:pt>
                      <c:pt idx="95">
                        <c:v>4.0656205420827387</c:v>
                      </c:pt>
                      <c:pt idx="96">
                        <c:v>-2.8308097432521397</c:v>
                      </c:pt>
                      <c:pt idx="97">
                        <c:v>-2.3699802501645819</c:v>
                      </c:pt>
                      <c:pt idx="98">
                        <c:v>-2.6991441737985515</c:v>
                      </c:pt>
                      <c:pt idx="99">
                        <c:v>-1.1772400261608895</c:v>
                      </c:pt>
                      <c:pt idx="100">
                        <c:v>-1.1273209549071619</c:v>
                      </c:pt>
                      <c:pt idx="101">
                        <c:v>-2.0598006644518274</c:v>
                      </c:pt>
                      <c:pt idx="102">
                        <c:v>-1.7287234042553192</c:v>
                      </c:pt>
                      <c:pt idx="103">
                        <c:v>-5.0814332247556999</c:v>
                      </c:pt>
                      <c:pt idx="104">
                        <c:v>-7.5630252100840334</c:v>
                      </c:pt>
                      <c:pt idx="105">
                        <c:v>-5.5263157894736841</c:v>
                      </c:pt>
                      <c:pt idx="106">
                        <c:v>-3.9301056289483882</c:v>
                      </c:pt>
                      <c:pt idx="107">
                        <c:v>-2.0649836646327135</c:v>
                      </c:pt>
                      <c:pt idx="108">
                        <c:v>-2.6281518885845956</c:v>
                      </c:pt>
                      <c:pt idx="109">
                        <c:v>-3.1821601055543325</c:v>
                      </c:pt>
                      <c:pt idx="110">
                        <c:v>-2.7768528509640844</c:v>
                      </c:pt>
                      <c:pt idx="111">
                        <c:v>-4.7357000691660156</c:v>
                      </c:pt>
                      <c:pt idx="112">
                        <c:v>-3.3781840768485782</c:v>
                      </c:pt>
                      <c:pt idx="113">
                        <c:v>-2.0972659789750492</c:v>
                      </c:pt>
                      <c:pt idx="114">
                        <c:v>-2.2167053108498203</c:v>
                      </c:pt>
                      <c:pt idx="115">
                        <c:v>-0.51635467112924882</c:v>
                      </c:pt>
                      <c:pt idx="116">
                        <c:v>1.6618300420686571</c:v>
                      </c:pt>
                      <c:pt idx="117">
                        <c:v>1.6489308132269453</c:v>
                      </c:pt>
                      <c:pt idx="118">
                        <c:v>2.5966153070464904</c:v>
                      </c:pt>
                      <c:pt idx="119">
                        <c:v>3.1812083192680252</c:v>
                      </c:pt>
                      <c:pt idx="120">
                        <c:v>3.5828894590632432</c:v>
                      </c:pt>
                      <c:pt idx="121">
                        <c:v>4.1109191571390147</c:v>
                      </c:pt>
                      <c:pt idx="122">
                        <c:v>4.3701610906978328</c:v>
                      </c:pt>
                      <c:pt idx="123">
                        <c:v>4.47476187910818</c:v>
                      </c:pt>
                      <c:pt idx="124">
                        <c:v>4.6350707145166981</c:v>
                      </c:pt>
                      <c:pt idx="125">
                        <c:v>4.6043595421163319</c:v>
                      </c:pt>
                      <c:pt idx="126">
                        <c:v>4.6314039473819735</c:v>
                      </c:pt>
                      <c:pt idx="127">
                        <c:v>4.4043179160859536</c:v>
                      </c:pt>
                      <c:pt idx="128">
                        <c:v>4.134350010261878</c:v>
                      </c:pt>
                      <c:pt idx="129">
                        <c:v>3.7775735564792967</c:v>
                      </c:pt>
                      <c:pt idx="130">
                        <c:v>3.282285397050666</c:v>
                      </c:pt>
                      <c:pt idx="131">
                        <c:v>2.6404882073636671</c:v>
                      </c:pt>
                    </c:numCache>
                  </c:numRef>
                </c:val>
                <c:smooth val="0"/>
                <c:extLst xmlns:c15="http://schemas.microsoft.com/office/drawing/2012/chart">
                  <c:ext xmlns:c16="http://schemas.microsoft.com/office/drawing/2014/chart" uri="{C3380CC4-5D6E-409C-BE32-E72D297353CC}">
                    <c16:uniqueId val="{00000005-0917-483E-83A3-1F111F9EC363}"/>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1'!$CH$19</c15:sqref>
                        </c15:formulaRef>
                      </c:ext>
                    </c:extLst>
                    <c:strCache>
                      <c:ptCount val="1"/>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1'!$A$24:$A$155</c15:sqref>
                        </c15:formulaRef>
                      </c:ext>
                    </c:extLst>
                    <c:numCache>
                      <c:formatCode>m/d/yyyy</c:formatCode>
                      <c:ptCount val="132"/>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pt idx="54">
                        <c:v>44013</c:v>
                      </c:pt>
                      <c:pt idx="55">
                        <c:v>44044</c:v>
                      </c:pt>
                      <c:pt idx="56">
                        <c:v>44075</c:v>
                      </c:pt>
                      <c:pt idx="57">
                        <c:v>44105</c:v>
                      </c:pt>
                      <c:pt idx="58">
                        <c:v>44136</c:v>
                      </c:pt>
                      <c:pt idx="59">
                        <c:v>44166</c:v>
                      </c:pt>
                      <c:pt idx="60">
                        <c:v>44197</c:v>
                      </c:pt>
                      <c:pt idx="61">
                        <c:v>44228</c:v>
                      </c:pt>
                      <c:pt idx="62">
                        <c:v>44256</c:v>
                      </c:pt>
                      <c:pt idx="63">
                        <c:v>44287</c:v>
                      </c:pt>
                      <c:pt idx="64">
                        <c:v>44317</c:v>
                      </c:pt>
                      <c:pt idx="65">
                        <c:v>44348</c:v>
                      </c:pt>
                      <c:pt idx="66">
                        <c:v>44378</c:v>
                      </c:pt>
                      <c:pt idx="67">
                        <c:v>44409</c:v>
                      </c:pt>
                      <c:pt idx="68">
                        <c:v>44440</c:v>
                      </c:pt>
                      <c:pt idx="69">
                        <c:v>44470</c:v>
                      </c:pt>
                      <c:pt idx="70">
                        <c:v>44501</c:v>
                      </c:pt>
                      <c:pt idx="71">
                        <c:v>44531</c:v>
                      </c:pt>
                      <c:pt idx="72">
                        <c:v>44562</c:v>
                      </c:pt>
                      <c:pt idx="73">
                        <c:v>44593</c:v>
                      </c:pt>
                      <c:pt idx="74">
                        <c:v>44621</c:v>
                      </c:pt>
                      <c:pt idx="75">
                        <c:v>44652</c:v>
                      </c:pt>
                      <c:pt idx="76">
                        <c:v>44682</c:v>
                      </c:pt>
                      <c:pt idx="77">
                        <c:v>44713</c:v>
                      </c:pt>
                      <c:pt idx="78">
                        <c:v>44743</c:v>
                      </c:pt>
                      <c:pt idx="79">
                        <c:v>44774</c:v>
                      </c:pt>
                      <c:pt idx="80">
                        <c:v>44805</c:v>
                      </c:pt>
                      <c:pt idx="81">
                        <c:v>44835</c:v>
                      </c:pt>
                      <c:pt idx="82">
                        <c:v>44866</c:v>
                      </c:pt>
                      <c:pt idx="83">
                        <c:v>44896</c:v>
                      </c:pt>
                      <c:pt idx="84">
                        <c:v>44927</c:v>
                      </c:pt>
                      <c:pt idx="85">
                        <c:v>44958</c:v>
                      </c:pt>
                      <c:pt idx="86">
                        <c:v>44986</c:v>
                      </c:pt>
                      <c:pt idx="87">
                        <c:v>45017</c:v>
                      </c:pt>
                      <c:pt idx="88">
                        <c:v>45047</c:v>
                      </c:pt>
                      <c:pt idx="89">
                        <c:v>45078</c:v>
                      </c:pt>
                      <c:pt idx="90">
                        <c:v>45108</c:v>
                      </c:pt>
                      <c:pt idx="91">
                        <c:v>45139</c:v>
                      </c:pt>
                      <c:pt idx="92">
                        <c:v>45170</c:v>
                      </c:pt>
                      <c:pt idx="93">
                        <c:v>45200</c:v>
                      </c:pt>
                      <c:pt idx="94">
                        <c:v>45231</c:v>
                      </c:pt>
                      <c:pt idx="95">
                        <c:v>45261</c:v>
                      </c:pt>
                      <c:pt idx="96">
                        <c:v>45292</c:v>
                      </c:pt>
                      <c:pt idx="97">
                        <c:v>45323</c:v>
                      </c:pt>
                      <c:pt idx="98">
                        <c:v>45352</c:v>
                      </c:pt>
                      <c:pt idx="99">
                        <c:v>45383</c:v>
                      </c:pt>
                      <c:pt idx="100">
                        <c:v>45413</c:v>
                      </c:pt>
                      <c:pt idx="101">
                        <c:v>45444</c:v>
                      </c:pt>
                      <c:pt idx="102">
                        <c:v>45474</c:v>
                      </c:pt>
                      <c:pt idx="103">
                        <c:v>45505</c:v>
                      </c:pt>
                      <c:pt idx="104">
                        <c:v>45536</c:v>
                      </c:pt>
                      <c:pt idx="105">
                        <c:v>45566</c:v>
                      </c:pt>
                      <c:pt idx="106">
                        <c:v>45597</c:v>
                      </c:pt>
                      <c:pt idx="107">
                        <c:v>45627</c:v>
                      </c:pt>
                      <c:pt idx="108">
                        <c:v>45658</c:v>
                      </c:pt>
                      <c:pt idx="109">
                        <c:v>45689</c:v>
                      </c:pt>
                      <c:pt idx="110">
                        <c:v>45717</c:v>
                      </c:pt>
                      <c:pt idx="111">
                        <c:v>45748</c:v>
                      </c:pt>
                      <c:pt idx="112">
                        <c:v>45778</c:v>
                      </c:pt>
                      <c:pt idx="113">
                        <c:v>45809</c:v>
                      </c:pt>
                      <c:pt idx="114">
                        <c:v>45839</c:v>
                      </c:pt>
                      <c:pt idx="115">
                        <c:v>45870</c:v>
                      </c:pt>
                      <c:pt idx="116">
                        <c:v>45901</c:v>
                      </c:pt>
                      <c:pt idx="117">
                        <c:v>45931</c:v>
                      </c:pt>
                      <c:pt idx="118">
                        <c:v>45962</c:v>
                      </c:pt>
                      <c:pt idx="119">
                        <c:v>45992</c:v>
                      </c:pt>
                      <c:pt idx="120">
                        <c:v>46023</c:v>
                      </c:pt>
                      <c:pt idx="121">
                        <c:v>46054</c:v>
                      </c:pt>
                      <c:pt idx="122">
                        <c:v>46082</c:v>
                      </c:pt>
                      <c:pt idx="123">
                        <c:v>46113</c:v>
                      </c:pt>
                      <c:pt idx="124">
                        <c:v>46143</c:v>
                      </c:pt>
                      <c:pt idx="125">
                        <c:v>46174</c:v>
                      </c:pt>
                      <c:pt idx="126">
                        <c:v>46204</c:v>
                      </c:pt>
                      <c:pt idx="127">
                        <c:v>46235</c:v>
                      </c:pt>
                      <c:pt idx="128">
                        <c:v>46266</c:v>
                      </c:pt>
                      <c:pt idx="129">
                        <c:v>46296</c:v>
                      </c:pt>
                      <c:pt idx="130">
                        <c:v>46327</c:v>
                      </c:pt>
                      <c:pt idx="131">
                        <c:v>46357</c:v>
                      </c:pt>
                    </c:numCache>
                  </c:numRef>
                </c:cat>
                <c:val>
                  <c:numRef>
                    <c:extLst xmlns:c15="http://schemas.microsoft.com/office/drawing/2012/chart">
                      <c:ext xmlns:c15="http://schemas.microsoft.com/office/drawing/2012/chart" uri="{02D57815-91ED-43cb-92C2-25804820EDAC}">
                        <c15:formulaRef>
                          <c15:sqref>'1'!$CH$24:$CH$155</c15:sqref>
                        </c15:formulaRef>
                      </c:ext>
                    </c:extLst>
                    <c:numCache>
                      <c:formatCode>General</c:formatCode>
                      <c:ptCount val="132"/>
                    </c:numCache>
                  </c:numRef>
                </c:val>
                <c:smooth val="0"/>
                <c:extLst xmlns:c15="http://schemas.microsoft.com/office/drawing/2012/chart">
                  <c:ext xmlns:c16="http://schemas.microsoft.com/office/drawing/2014/chart" uri="{C3380CC4-5D6E-409C-BE32-E72D297353CC}">
                    <c16:uniqueId val="{00000006-0917-483E-83A3-1F111F9EC363}"/>
                  </c:ext>
                </c:extLst>
              </c15:ser>
            </c15:filteredLineSeries>
          </c:ext>
        </c:extLst>
      </c:lineChart>
      <c:dateAx>
        <c:axId val="315298272"/>
        <c:scaling>
          <c:orientation val="minMax"/>
        </c:scaling>
        <c:delete val="0"/>
        <c:axPos val="b"/>
        <c:numFmt formatCode="yy" sourceLinked="0"/>
        <c:majorTickMark val="none"/>
        <c:minorTickMark val="none"/>
        <c:tickLblPos val="low"/>
        <c:spPr>
          <a:noFill/>
          <a:ln w="25400" cap="flat" cmpd="sng" algn="ctr">
            <a:solidFill>
              <a:srgbClr val="72706F"/>
            </a:solidFill>
            <a:prstDash val="solid"/>
            <a:round/>
          </a:ln>
          <a:effectLst/>
        </c:spPr>
        <c:txPr>
          <a:bodyPr rot="0" spcFirstLastPara="1" vertOverflow="ellipsis" wrap="square" anchor="ctr" anchorCtr="1"/>
          <a:lstStyle/>
          <a:p>
            <a:pPr>
              <a:defRPr sz="1200" b="0" i="0" u="none" strike="noStrike" kern="1200" baseline="0">
                <a:solidFill>
                  <a:srgbClr val="000000"/>
                </a:solidFill>
                <a:latin typeface="Arial"/>
                <a:ea typeface="Arial"/>
                <a:cs typeface="Arial"/>
              </a:defRPr>
            </a:pPr>
            <a:endParaRPr lang="en-US"/>
          </a:p>
        </c:txPr>
        <c:crossAx val="315272832"/>
        <c:crosses val="autoZero"/>
        <c:auto val="1"/>
        <c:lblOffset val="100"/>
        <c:baseTimeUnit val="months"/>
        <c:majorUnit val="1"/>
        <c:majorTimeUnit val="years"/>
      </c:dateAx>
      <c:valAx>
        <c:axId val="315272832"/>
        <c:scaling>
          <c:orientation val="minMax"/>
        </c:scaling>
        <c:delete val="0"/>
        <c:axPos val="l"/>
        <c:numFmt formatCode="0%" sourceLinked="0"/>
        <c:majorTickMark val="none"/>
        <c:minorTickMark val="none"/>
        <c:tickLblPos val="nextTo"/>
        <c:spPr>
          <a:noFill/>
          <a:ln w="25400">
            <a:noFill/>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315298272"/>
        <c:crosses val="autoZero"/>
        <c:crossBetween val="between"/>
        <c:dispUnits>
          <c:builtInUnit val="hundreds"/>
          <c:dispUnitsLbl>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Arial"/>
                    <a:ea typeface="Arial"/>
                    <a:cs typeface="Arial"/>
                  </a:defRPr>
                </a:pPr>
                <a:endParaRPr lang="en-US"/>
              </a:p>
            </c:txPr>
          </c:dispUnitsLbl>
        </c:dispUnits>
      </c:valAx>
      <c:spPr>
        <a:noFill/>
        <a:ln w="25400">
          <a:noFill/>
        </a:ln>
        <a:effectLst/>
      </c:spPr>
    </c:plotArea>
    <c:legend>
      <c:legendPos val="b"/>
      <c:layout>
        <c:manualLayout>
          <c:xMode val="edge"/>
          <c:yMode val="edge"/>
          <c:x val="0"/>
          <c:y val="0.7406405070195351"/>
          <c:w val="0.97673929227206913"/>
          <c:h val="0.15774653457270799"/>
        </c:manualLayout>
      </c:layout>
      <c:overlay val="0"/>
      <c:spPr>
        <a:noFill/>
        <a:ln w="25400">
          <a:noFill/>
        </a:ln>
        <a:effectLst/>
        <a:extLst>
          <a:ext uri="{909E8E84-426E-40DD-AFC4-6F175D3DCCD1}">
            <a14:hiddenFill xmlns:a14="http://schemas.microsoft.com/office/drawing/2010/main">
              <a:noFill/>
            </a14:hiddenFill>
          </a:ext>
        </a:extLst>
      </c:spPr>
      <c:txPr>
        <a:bodyPr rot="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a:extLst>
      <a:ext uri="{909E8E84-426E-40DD-AFC4-6F175D3DCCD1}">
        <a14:hiddenFill xmlns:a14="http://schemas.microsoft.com/office/drawing/2010/main">
          <a:solidFill>
            <a:sysClr val="window" lastClr="FFFFFF"/>
          </a:solidFill>
        </a14:hiddenFill>
      </a:ext>
    </a:extLst>
  </c:spPr>
  <c:txPr>
    <a:bodyPr/>
    <a:lstStyle/>
    <a:p>
      <a:pPr>
        <a:defRPr sz="1100">
          <a:latin typeface="Arial"/>
          <a:ea typeface="Arial"/>
          <a:cs typeface="Arial"/>
        </a:defRPr>
      </a:pPr>
      <a:endParaRPr lang="en-US"/>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DE" dirty="0"/>
              <a:t>Differenz der US-Staatsanleiherenditen (</a:t>
            </a:r>
            <a:r>
              <a:rPr lang="de-DE" dirty="0" err="1"/>
              <a:t>Bp</a:t>
            </a:r>
            <a:r>
              <a:rPr lang="de-DE" dirty="0"/>
              <a:t>)</a:t>
            </a:r>
          </a:p>
        </c:rich>
      </c:tx>
      <c:layout>
        <c:manualLayout>
          <c:xMode val="edge"/>
          <c:yMode val="edge"/>
          <c:x val="0.25217324638543898"/>
          <c:y val="1.9888665659992949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848651711941062E-2"/>
          <c:y val="8.605098793792236E-2"/>
          <c:w val="0.86300331015324117"/>
          <c:h val="0.71269444280095384"/>
        </c:manualLayout>
      </c:layout>
      <c:lineChart>
        <c:grouping val="standard"/>
        <c:varyColors val="0"/>
        <c:ser>
          <c:idx val="0"/>
          <c:order val="0"/>
          <c:tx>
            <c:strRef>
              <c:f>'10y-2y'!$H$6</c:f>
              <c:strCache>
                <c:ptCount val="1"/>
                <c:pt idx="0">
                  <c:v>10-jährige - 2-jährige</c:v>
                </c:pt>
              </c:strCache>
            </c:strRef>
          </c:tx>
          <c:spPr>
            <a:ln w="28575" cap="rnd">
              <a:solidFill>
                <a:schemeClr val="accent1"/>
              </a:solidFill>
              <a:round/>
            </a:ln>
            <a:effectLst/>
          </c:spPr>
          <c:marker>
            <c:symbol val="none"/>
          </c:marker>
          <c:cat>
            <c:numRef>
              <c:f>'10y-2y'!$G$8:$G$1313</c:f>
              <c:numCache>
                <c:formatCode>m/d/yyyy</c:formatCode>
                <c:ptCount val="1306"/>
                <c:pt idx="0">
                  <c:v>43794</c:v>
                </c:pt>
                <c:pt idx="1">
                  <c:v>43795</c:v>
                </c:pt>
                <c:pt idx="2">
                  <c:v>43796</c:v>
                </c:pt>
                <c:pt idx="3">
                  <c:v>43797</c:v>
                </c:pt>
                <c:pt idx="4">
                  <c:v>43798</c:v>
                </c:pt>
                <c:pt idx="5">
                  <c:v>43801</c:v>
                </c:pt>
                <c:pt idx="6">
                  <c:v>43802</c:v>
                </c:pt>
                <c:pt idx="7">
                  <c:v>43803</c:v>
                </c:pt>
                <c:pt idx="8">
                  <c:v>43804</c:v>
                </c:pt>
                <c:pt idx="9">
                  <c:v>43805</c:v>
                </c:pt>
                <c:pt idx="10">
                  <c:v>43808</c:v>
                </c:pt>
                <c:pt idx="11">
                  <c:v>43809</c:v>
                </c:pt>
                <c:pt idx="12">
                  <c:v>43810</c:v>
                </c:pt>
                <c:pt idx="13">
                  <c:v>43811</c:v>
                </c:pt>
                <c:pt idx="14">
                  <c:v>43812</c:v>
                </c:pt>
                <c:pt idx="15">
                  <c:v>43815</c:v>
                </c:pt>
                <c:pt idx="16">
                  <c:v>43816</c:v>
                </c:pt>
                <c:pt idx="17">
                  <c:v>43817</c:v>
                </c:pt>
                <c:pt idx="18">
                  <c:v>43818</c:v>
                </c:pt>
                <c:pt idx="19">
                  <c:v>43819</c:v>
                </c:pt>
                <c:pt idx="20">
                  <c:v>43822</c:v>
                </c:pt>
                <c:pt idx="21">
                  <c:v>43823</c:v>
                </c:pt>
                <c:pt idx="22">
                  <c:v>43824</c:v>
                </c:pt>
                <c:pt idx="23">
                  <c:v>43825</c:v>
                </c:pt>
                <c:pt idx="24">
                  <c:v>43826</c:v>
                </c:pt>
                <c:pt idx="25">
                  <c:v>43829</c:v>
                </c:pt>
                <c:pt idx="26">
                  <c:v>43830</c:v>
                </c:pt>
                <c:pt idx="27">
                  <c:v>43831</c:v>
                </c:pt>
                <c:pt idx="28">
                  <c:v>43832</c:v>
                </c:pt>
                <c:pt idx="29">
                  <c:v>43833</c:v>
                </c:pt>
                <c:pt idx="30">
                  <c:v>43836</c:v>
                </c:pt>
                <c:pt idx="31">
                  <c:v>43837</c:v>
                </c:pt>
                <c:pt idx="32">
                  <c:v>43838</c:v>
                </c:pt>
                <c:pt idx="33">
                  <c:v>43839</c:v>
                </c:pt>
                <c:pt idx="34">
                  <c:v>43840</c:v>
                </c:pt>
                <c:pt idx="35">
                  <c:v>43843</c:v>
                </c:pt>
                <c:pt idx="36">
                  <c:v>43844</c:v>
                </c:pt>
                <c:pt idx="37">
                  <c:v>43845</c:v>
                </c:pt>
                <c:pt idx="38">
                  <c:v>43846</c:v>
                </c:pt>
                <c:pt idx="39">
                  <c:v>43847</c:v>
                </c:pt>
                <c:pt idx="40">
                  <c:v>43850</c:v>
                </c:pt>
                <c:pt idx="41">
                  <c:v>43851</c:v>
                </c:pt>
                <c:pt idx="42">
                  <c:v>43852</c:v>
                </c:pt>
                <c:pt idx="43">
                  <c:v>43853</c:v>
                </c:pt>
                <c:pt idx="44">
                  <c:v>43854</c:v>
                </c:pt>
                <c:pt idx="45">
                  <c:v>43857</c:v>
                </c:pt>
                <c:pt idx="46">
                  <c:v>43858</c:v>
                </c:pt>
                <c:pt idx="47">
                  <c:v>43859</c:v>
                </c:pt>
                <c:pt idx="48">
                  <c:v>43860</c:v>
                </c:pt>
                <c:pt idx="49">
                  <c:v>43861</c:v>
                </c:pt>
                <c:pt idx="50">
                  <c:v>43864</c:v>
                </c:pt>
                <c:pt idx="51">
                  <c:v>43865</c:v>
                </c:pt>
                <c:pt idx="52">
                  <c:v>43866</c:v>
                </c:pt>
                <c:pt idx="53">
                  <c:v>43867</c:v>
                </c:pt>
                <c:pt idx="54">
                  <c:v>43868</c:v>
                </c:pt>
                <c:pt idx="55">
                  <c:v>43871</c:v>
                </c:pt>
                <c:pt idx="56">
                  <c:v>43872</c:v>
                </c:pt>
                <c:pt idx="57">
                  <c:v>43873</c:v>
                </c:pt>
                <c:pt idx="58">
                  <c:v>43874</c:v>
                </c:pt>
                <c:pt idx="59">
                  <c:v>43875</c:v>
                </c:pt>
                <c:pt idx="60">
                  <c:v>43878</c:v>
                </c:pt>
                <c:pt idx="61">
                  <c:v>43879</c:v>
                </c:pt>
                <c:pt idx="62">
                  <c:v>43880</c:v>
                </c:pt>
                <c:pt idx="63">
                  <c:v>43881</c:v>
                </c:pt>
                <c:pt idx="64">
                  <c:v>43882</c:v>
                </c:pt>
                <c:pt idx="65">
                  <c:v>43885</c:v>
                </c:pt>
                <c:pt idx="66">
                  <c:v>43886</c:v>
                </c:pt>
                <c:pt idx="67">
                  <c:v>43887</c:v>
                </c:pt>
                <c:pt idx="68">
                  <c:v>43888</c:v>
                </c:pt>
                <c:pt idx="69">
                  <c:v>43889</c:v>
                </c:pt>
                <c:pt idx="70">
                  <c:v>43892</c:v>
                </c:pt>
                <c:pt idx="71">
                  <c:v>43893</c:v>
                </c:pt>
                <c:pt idx="72">
                  <c:v>43894</c:v>
                </c:pt>
                <c:pt idx="73">
                  <c:v>43895</c:v>
                </c:pt>
                <c:pt idx="74">
                  <c:v>43896</c:v>
                </c:pt>
                <c:pt idx="75">
                  <c:v>43899</c:v>
                </c:pt>
                <c:pt idx="76">
                  <c:v>43900</c:v>
                </c:pt>
                <c:pt idx="77">
                  <c:v>43901</c:v>
                </c:pt>
                <c:pt idx="78">
                  <c:v>43902</c:v>
                </c:pt>
                <c:pt idx="79">
                  <c:v>43903</c:v>
                </c:pt>
                <c:pt idx="80">
                  <c:v>43906</c:v>
                </c:pt>
                <c:pt idx="81">
                  <c:v>43907</c:v>
                </c:pt>
                <c:pt idx="82">
                  <c:v>43908</c:v>
                </c:pt>
                <c:pt idx="83">
                  <c:v>43909</c:v>
                </c:pt>
                <c:pt idx="84">
                  <c:v>43910</c:v>
                </c:pt>
                <c:pt idx="85">
                  <c:v>43913</c:v>
                </c:pt>
                <c:pt idx="86">
                  <c:v>43914</c:v>
                </c:pt>
                <c:pt idx="87">
                  <c:v>43915</c:v>
                </c:pt>
                <c:pt idx="88">
                  <c:v>43916</c:v>
                </c:pt>
                <c:pt idx="89">
                  <c:v>43917</c:v>
                </c:pt>
                <c:pt idx="90">
                  <c:v>43920</c:v>
                </c:pt>
                <c:pt idx="91">
                  <c:v>43921</c:v>
                </c:pt>
                <c:pt idx="92">
                  <c:v>43922</c:v>
                </c:pt>
                <c:pt idx="93">
                  <c:v>43923</c:v>
                </c:pt>
                <c:pt idx="94">
                  <c:v>43924</c:v>
                </c:pt>
                <c:pt idx="95">
                  <c:v>43927</c:v>
                </c:pt>
                <c:pt idx="96">
                  <c:v>43928</c:v>
                </c:pt>
                <c:pt idx="97">
                  <c:v>43929</c:v>
                </c:pt>
                <c:pt idx="98">
                  <c:v>43930</c:v>
                </c:pt>
                <c:pt idx="99">
                  <c:v>43931</c:v>
                </c:pt>
                <c:pt idx="100">
                  <c:v>43934</c:v>
                </c:pt>
                <c:pt idx="101">
                  <c:v>43935</c:v>
                </c:pt>
                <c:pt idx="102">
                  <c:v>43936</c:v>
                </c:pt>
                <c:pt idx="103">
                  <c:v>43937</c:v>
                </c:pt>
                <c:pt idx="104">
                  <c:v>43938</c:v>
                </c:pt>
                <c:pt idx="105">
                  <c:v>43941</c:v>
                </c:pt>
                <c:pt idx="106">
                  <c:v>43942</c:v>
                </c:pt>
                <c:pt idx="107">
                  <c:v>43943</c:v>
                </c:pt>
                <c:pt idx="108">
                  <c:v>43944</c:v>
                </c:pt>
                <c:pt idx="109">
                  <c:v>43945</c:v>
                </c:pt>
                <c:pt idx="110">
                  <c:v>43948</c:v>
                </c:pt>
                <c:pt idx="111">
                  <c:v>43949</c:v>
                </c:pt>
                <c:pt idx="112">
                  <c:v>43950</c:v>
                </c:pt>
                <c:pt idx="113">
                  <c:v>43951</c:v>
                </c:pt>
                <c:pt idx="114">
                  <c:v>43952</c:v>
                </c:pt>
                <c:pt idx="115">
                  <c:v>43955</c:v>
                </c:pt>
                <c:pt idx="116">
                  <c:v>43956</c:v>
                </c:pt>
                <c:pt idx="117">
                  <c:v>43957</c:v>
                </c:pt>
                <c:pt idx="118">
                  <c:v>43958</c:v>
                </c:pt>
                <c:pt idx="119">
                  <c:v>43959</c:v>
                </c:pt>
                <c:pt idx="120">
                  <c:v>43962</c:v>
                </c:pt>
                <c:pt idx="121">
                  <c:v>43963</c:v>
                </c:pt>
                <c:pt idx="122">
                  <c:v>43964</c:v>
                </c:pt>
                <c:pt idx="123">
                  <c:v>43965</c:v>
                </c:pt>
                <c:pt idx="124">
                  <c:v>43966</c:v>
                </c:pt>
                <c:pt idx="125">
                  <c:v>43969</c:v>
                </c:pt>
                <c:pt idx="126">
                  <c:v>43970</c:v>
                </c:pt>
                <c:pt idx="127">
                  <c:v>43971</c:v>
                </c:pt>
                <c:pt idx="128">
                  <c:v>43972</c:v>
                </c:pt>
                <c:pt idx="129">
                  <c:v>43973</c:v>
                </c:pt>
                <c:pt idx="130">
                  <c:v>43976</c:v>
                </c:pt>
                <c:pt idx="131">
                  <c:v>43977</c:v>
                </c:pt>
                <c:pt idx="132">
                  <c:v>43978</c:v>
                </c:pt>
                <c:pt idx="133">
                  <c:v>43979</c:v>
                </c:pt>
                <c:pt idx="134">
                  <c:v>43980</c:v>
                </c:pt>
                <c:pt idx="135">
                  <c:v>43983</c:v>
                </c:pt>
                <c:pt idx="136">
                  <c:v>43984</c:v>
                </c:pt>
                <c:pt idx="137">
                  <c:v>43985</c:v>
                </c:pt>
                <c:pt idx="138">
                  <c:v>43986</c:v>
                </c:pt>
                <c:pt idx="139">
                  <c:v>43987</c:v>
                </c:pt>
                <c:pt idx="140">
                  <c:v>43990</c:v>
                </c:pt>
                <c:pt idx="141">
                  <c:v>43991</c:v>
                </c:pt>
                <c:pt idx="142">
                  <c:v>43992</c:v>
                </c:pt>
                <c:pt idx="143">
                  <c:v>43993</c:v>
                </c:pt>
                <c:pt idx="144">
                  <c:v>43994</c:v>
                </c:pt>
                <c:pt idx="145">
                  <c:v>43997</c:v>
                </c:pt>
                <c:pt idx="146">
                  <c:v>43998</c:v>
                </c:pt>
                <c:pt idx="147">
                  <c:v>43999</c:v>
                </c:pt>
                <c:pt idx="148">
                  <c:v>44000</c:v>
                </c:pt>
                <c:pt idx="149">
                  <c:v>44001</c:v>
                </c:pt>
                <c:pt idx="150">
                  <c:v>44004</c:v>
                </c:pt>
                <c:pt idx="151">
                  <c:v>44005</c:v>
                </c:pt>
                <c:pt idx="152">
                  <c:v>44006</c:v>
                </c:pt>
                <c:pt idx="153">
                  <c:v>44007</c:v>
                </c:pt>
                <c:pt idx="154">
                  <c:v>44008</c:v>
                </c:pt>
                <c:pt idx="155">
                  <c:v>44011</c:v>
                </c:pt>
                <c:pt idx="156">
                  <c:v>44012</c:v>
                </c:pt>
                <c:pt idx="157">
                  <c:v>44013</c:v>
                </c:pt>
                <c:pt idx="158">
                  <c:v>44014</c:v>
                </c:pt>
                <c:pt idx="159">
                  <c:v>44015</c:v>
                </c:pt>
                <c:pt idx="160">
                  <c:v>44018</c:v>
                </c:pt>
                <c:pt idx="161">
                  <c:v>44019</c:v>
                </c:pt>
                <c:pt idx="162">
                  <c:v>44020</c:v>
                </c:pt>
                <c:pt idx="163">
                  <c:v>44021</c:v>
                </c:pt>
                <c:pt idx="164">
                  <c:v>44022</c:v>
                </c:pt>
                <c:pt idx="165">
                  <c:v>44025</c:v>
                </c:pt>
                <c:pt idx="166">
                  <c:v>44026</c:v>
                </c:pt>
                <c:pt idx="167">
                  <c:v>44027</c:v>
                </c:pt>
                <c:pt idx="168">
                  <c:v>44028</c:v>
                </c:pt>
                <c:pt idx="169">
                  <c:v>44029</c:v>
                </c:pt>
                <c:pt idx="170">
                  <c:v>44032</c:v>
                </c:pt>
                <c:pt idx="171">
                  <c:v>44033</c:v>
                </c:pt>
                <c:pt idx="172">
                  <c:v>44034</c:v>
                </c:pt>
                <c:pt idx="173">
                  <c:v>44035</c:v>
                </c:pt>
                <c:pt idx="174">
                  <c:v>44036</c:v>
                </c:pt>
                <c:pt idx="175">
                  <c:v>44039</c:v>
                </c:pt>
                <c:pt idx="176">
                  <c:v>44040</c:v>
                </c:pt>
                <c:pt idx="177">
                  <c:v>44041</c:v>
                </c:pt>
                <c:pt idx="178">
                  <c:v>44042</c:v>
                </c:pt>
                <c:pt idx="179">
                  <c:v>44043</c:v>
                </c:pt>
                <c:pt idx="180">
                  <c:v>44046</c:v>
                </c:pt>
                <c:pt idx="181">
                  <c:v>44047</c:v>
                </c:pt>
                <c:pt idx="182">
                  <c:v>44048</c:v>
                </c:pt>
                <c:pt idx="183">
                  <c:v>44049</c:v>
                </c:pt>
                <c:pt idx="184">
                  <c:v>44050</c:v>
                </c:pt>
                <c:pt idx="185">
                  <c:v>44053</c:v>
                </c:pt>
                <c:pt idx="186">
                  <c:v>44054</c:v>
                </c:pt>
                <c:pt idx="187">
                  <c:v>44055</c:v>
                </c:pt>
                <c:pt idx="188">
                  <c:v>44056</c:v>
                </c:pt>
                <c:pt idx="189">
                  <c:v>44057</c:v>
                </c:pt>
                <c:pt idx="190">
                  <c:v>44060</c:v>
                </c:pt>
                <c:pt idx="191">
                  <c:v>44061</c:v>
                </c:pt>
                <c:pt idx="192">
                  <c:v>44062</c:v>
                </c:pt>
                <c:pt idx="193">
                  <c:v>44063</c:v>
                </c:pt>
                <c:pt idx="194">
                  <c:v>44064</c:v>
                </c:pt>
                <c:pt idx="195">
                  <c:v>44067</c:v>
                </c:pt>
                <c:pt idx="196">
                  <c:v>44068</c:v>
                </c:pt>
                <c:pt idx="197">
                  <c:v>44069</c:v>
                </c:pt>
                <c:pt idx="198">
                  <c:v>44070</c:v>
                </c:pt>
                <c:pt idx="199">
                  <c:v>44071</c:v>
                </c:pt>
                <c:pt idx="200">
                  <c:v>44074</c:v>
                </c:pt>
                <c:pt idx="201">
                  <c:v>44075</c:v>
                </c:pt>
                <c:pt idx="202">
                  <c:v>44076</c:v>
                </c:pt>
                <c:pt idx="203">
                  <c:v>44077</c:v>
                </c:pt>
                <c:pt idx="204">
                  <c:v>44078</c:v>
                </c:pt>
                <c:pt idx="205">
                  <c:v>44081</c:v>
                </c:pt>
                <c:pt idx="206">
                  <c:v>44082</c:v>
                </c:pt>
                <c:pt idx="207">
                  <c:v>44083</c:v>
                </c:pt>
                <c:pt idx="208">
                  <c:v>44084</c:v>
                </c:pt>
                <c:pt idx="209">
                  <c:v>44085</c:v>
                </c:pt>
                <c:pt idx="210">
                  <c:v>44088</c:v>
                </c:pt>
                <c:pt idx="211">
                  <c:v>44089</c:v>
                </c:pt>
                <c:pt idx="212">
                  <c:v>44090</c:v>
                </c:pt>
                <c:pt idx="213">
                  <c:v>44091</c:v>
                </c:pt>
                <c:pt idx="214">
                  <c:v>44092</c:v>
                </c:pt>
                <c:pt idx="215">
                  <c:v>44095</c:v>
                </c:pt>
                <c:pt idx="216">
                  <c:v>44096</c:v>
                </c:pt>
                <c:pt idx="217">
                  <c:v>44097</c:v>
                </c:pt>
                <c:pt idx="218">
                  <c:v>44098</c:v>
                </c:pt>
                <c:pt idx="219">
                  <c:v>44099</c:v>
                </c:pt>
                <c:pt idx="220">
                  <c:v>44102</c:v>
                </c:pt>
                <c:pt idx="221">
                  <c:v>44103</c:v>
                </c:pt>
                <c:pt idx="222">
                  <c:v>44104</c:v>
                </c:pt>
                <c:pt idx="223">
                  <c:v>44105</c:v>
                </c:pt>
                <c:pt idx="224">
                  <c:v>44106</c:v>
                </c:pt>
                <c:pt idx="225">
                  <c:v>44109</c:v>
                </c:pt>
                <c:pt idx="226">
                  <c:v>44110</c:v>
                </c:pt>
                <c:pt idx="227">
                  <c:v>44111</c:v>
                </c:pt>
                <c:pt idx="228">
                  <c:v>44112</c:v>
                </c:pt>
                <c:pt idx="229">
                  <c:v>44113</c:v>
                </c:pt>
                <c:pt idx="230">
                  <c:v>44116</c:v>
                </c:pt>
                <c:pt idx="231">
                  <c:v>44117</c:v>
                </c:pt>
                <c:pt idx="232">
                  <c:v>44118</c:v>
                </c:pt>
                <c:pt idx="233">
                  <c:v>44119</c:v>
                </c:pt>
                <c:pt idx="234">
                  <c:v>44120</c:v>
                </c:pt>
                <c:pt idx="235">
                  <c:v>44123</c:v>
                </c:pt>
                <c:pt idx="236">
                  <c:v>44124</c:v>
                </c:pt>
                <c:pt idx="237">
                  <c:v>44125</c:v>
                </c:pt>
                <c:pt idx="238">
                  <c:v>44126</c:v>
                </c:pt>
                <c:pt idx="239">
                  <c:v>44127</c:v>
                </c:pt>
                <c:pt idx="240">
                  <c:v>44130</c:v>
                </c:pt>
                <c:pt idx="241">
                  <c:v>44131</c:v>
                </c:pt>
                <c:pt idx="242">
                  <c:v>44132</c:v>
                </c:pt>
                <c:pt idx="243">
                  <c:v>44133</c:v>
                </c:pt>
                <c:pt idx="244">
                  <c:v>44134</c:v>
                </c:pt>
                <c:pt idx="245">
                  <c:v>44137</c:v>
                </c:pt>
                <c:pt idx="246">
                  <c:v>44138</c:v>
                </c:pt>
                <c:pt idx="247">
                  <c:v>44139</c:v>
                </c:pt>
                <c:pt idx="248">
                  <c:v>44140</c:v>
                </c:pt>
                <c:pt idx="249">
                  <c:v>44141</c:v>
                </c:pt>
                <c:pt idx="250">
                  <c:v>44144</c:v>
                </c:pt>
                <c:pt idx="251">
                  <c:v>44145</c:v>
                </c:pt>
                <c:pt idx="252">
                  <c:v>44146</c:v>
                </c:pt>
                <c:pt idx="253">
                  <c:v>44147</c:v>
                </c:pt>
                <c:pt idx="254">
                  <c:v>44148</c:v>
                </c:pt>
                <c:pt idx="255">
                  <c:v>44151</c:v>
                </c:pt>
                <c:pt idx="256">
                  <c:v>44152</c:v>
                </c:pt>
                <c:pt idx="257">
                  <c:v>44153</c:v>
                </c:pt>
                <c:pt idx="258">
                  <c:v>44154</c:v>
                </c:pt>
                <c:pt idx="259">
                  <c:v>44155</c:v>
                </c:pt>
                <c:pt idx="260">
                  <c:v>44158</c:v>
                </c:pt>
                <c:pt idx="261">
                  <c:v>44159</c:v>
                </c:pt>
                <c:pt idx="262">
                  <c:v>44160</c:v>
                </c:pt>
                <c:pt idx="263">
                  <c:v>44161</c:v>
                </c:pt>
                <c:pt idx="264">
                  <c:v>44162</c:v>
                </c:pt>
                <c:pt idx="265">
                  <c:v>44165</c:v>
                </c:pt>
                <c:pt idx="266">
                  <c:v>44166</c:v>
                </c:pt>
                <c:pt idx="267">
                  <c:v>44167</c:v>
                </c:pt>
                <c:pt idx="268">
                  <c:v>44168</c:v>
                </c:pt>
                <c:pt idx="269">
                  <c:v>44169</c:v>
                </c:pt>
                <c:pt idx="270">
                  <c:v>44172</c:v>
                </c:pt>
                <c:pt idx="271">
                  <c:v>44173</c:v>
                </c:pt>
                <c:pt idx="272">
                  <c:v>44174</c:v>
                </c:pt>
                <c:pt idx="273">
                  <c:v>44175</c:v>
                </c:pt>
                <c:pt idx="274">
                  <c:v>44176</c:v>
                </c:pt>
                <c:pt idx="275">
                  <c:v>44179</c:v>
                </c:pt>
                <c:pt idx="276">
                  <c:v>44180</c:v>
                </c:pt>
                <c:pt idx="277">
                  <c:v>44181</c:v>
                </c:pt>
                <c:pt idx="278">
                  <c:v>44182</c:v>
                </c:pt>
                <c:pt idx="279">
                  <c:v>44183</c:v>
                </c:pt>
                <c:pt idx="280">
                  <c:v>44186</c:v>
                </c:pt>
                <c:pt idx="281">
                  <c:v>44187</c:v>
                </c:pt>
                <c:pt idx="282">
                  <c:v>44188</c:v>
                </c:pt>
                <c:pt idx="283">
                  <c:v>44189</c:v>
                </c:pt>
                <c:pt idx="284">
                  <c:v>44190</c:v>
                </c:pt>
                <c:pt idx="285">
                  <c:v>44193</c:v>
                </c:pt>
                <c:pt idx="286">
                  <c:v>44194</c:v>
                </c:pt>
                <c:pt idx="287">
                  <c:v>44195</c:v>
                </c:pt>
                <c:pt idx="288">
                  <c:v>44196</c:v>
                </c:pt>
                <c:pt idx="289">
                  <c:v>44197</c:v>
                </c:pt>
                <c:pt idx="290">
                  <c:v>44200</c:v>
                </c:pt>
                <c:pt idx="291">
                  <c:v>44201</c:v>
                </c:pt>
                <c:pt idx="292">
                  <c:v>44202</c:v>
                </c:pt>
                <c:pt idx="293">
                  <c:v>44203</c:v>
                </c:pt>
                <c:pt idx="294">
                  <c:v>44204</c:v>
                </c:pt>
                <c:pt idx="295">
                  <c:v>44207</c:v>
                </c:pt>
                <c:pt idx="296">
                  <c:v>44208</c:v>
                </c:pt>
                <c:pt idx="297">
                  <c:v>44209</c:v>
                </c:pt>
                <c:pt idx="298">
                  <c:v>44210</c:v>
                </c:pt>
                <c:pt idx="299">
                  <c:v>44211</c:v>
                </c:pt>
                <c:pt idx="300">
                  <c:v>44214</c:v>
                </c:pt>
                <c:pt idx="301">
                  <c:v>44215</c:v>
                </c:pt>
                <c:pt idx="302">
                  <c:v>44216</c:v>
                </c:pt>
                <c:pt idx="303">
                  <c:v>44217</c:v>
                </c:pt>
                <c:pt idx="304">
                  <c:v>44218</c:v>
                </c:pt>
                <c:pt idx="305">
                  <c:v>44221</c:v>
                </c:pt>
                <c:pt idx="306">
                  <c:v>44222</c:v>
                </c:pt>
                <c:pt idx="307">
                  <c:v>44223</c:v>
                </c:pt>
                <c:pt idx="308">
                  <c:v>44224</c:v>
                </c:pt>
                <c:pt idx="309">
                  <c:v>44225</c:v>
                </c:pt>
                <c:pt idx="310">
                  <c:v>44228</c:v>
                </c:pt>
                <c:pt idx="311">
                  <c:v>44229</c:v>
                </c:pt>
                <c:pt idx="312">
                  <c:v>44230</c:v>
                </c:pt>
                <c:pt idx="313">
                  <c:v>44231</c:v>
                </c:pt>
                <c:pt idx="314">
                  <c:v>44232</c:v>
                </c:pt>
                <c:pt idx="315">
                  <c:v>44235</c:v>
                </c:pt>
                <c:pt idx="316">
                  <c:v>44236</c:v>
                </c:pt>
                <c:pt idx="317">
                  <c:v>44237</c:v>
                </c:pt>
                <c:pt idx="318">
                  <c:v>44238</c:v>
                </c:pt>
                <c:pt idx="319">
                  <c:v>44239</c:v>
                </c:pt>
                <c:pt idx="320">
                  <c:v>44242</c:v>
                </c:pt>
                <c:pt idx="321">
                  <c:v>44243</c:v>
                </c:pt>
                <c:pt idx="322">
                  <c:v>44244</c:v>
                </c:pt>
                <c:pt idx="323">
                  <c:v>44245</c:v>
                </c:pt>
                <c:pt idx="324">
                  <c:v>44246</c:v>
                </c:pt>
                <c:pt idx="325">
                  <c:v>44249</c:v>
                </c:pt>
                <c:pt idx="326">
                  <c:v>44250</c:v>
                </c:pt>
                <c:pt idx="327">
                  <c:v>44251</c:v>
                </c:pt>
                <c:pt idx="328">
                  <c:v>44252</c:v>
                </c:pt>
                <c:pt idx="329">
                  <c:v>44253</c:v>
                </c:pt>
                <c:pt idx="330">
                  <c:v>44256</c:v>
                </c:pt>
                <c:pt idx="331">
                  <c:v>44257</c:v>
                </c:pt>
                <c:pt idx="332">
                  <c:v>44258</c:v>
                </c:pt>
                <c:pt idx="333">
                  <c:v>44259</c:v>
                </c:pt>
                <c:pt idx="334">
                  <c:v>44260</c:v>
                </c:pt>
                <c:pt idx="335">
                  <c:v>44263</c:v>
                </c:pt>
                <c:pt idx="336">
                  <c:v>44264</c:v>
                </c:pt>
                <c:pt idx="337">
                  <c:v>44265</c:v>
                </c:pt>
                <c:pt idx="338">
                  <c:v>44266</c:v>
                </c:pt>
                <c:pt idx="339">
                  <c:v>44267</c:v>
                </c:pt>
                <c:pt idx="340">
                  <c:v>44270</c:v>
                </c:pt>
                <c:pt idx="341">
                  <c:v>44271</c:v>
                </c:pt>
                <c:pt idx="342">
                  <c:v>44272</c:v>
                </c:pt>
                <c:pt idx="343">
                  <c:v>44273</c:v>
                </c:pt>
                <c:pt idx="344">
                  <c:v>44274</c:v>
                </c:pt>
                <c:pt idx="345">
                  <c:v>44277</c:v>
                </c:pt>
                <c:pt idx="346">
                  <c:v>44278</c:v>
                </c:pt>
                <c:pt idx="347">
                  <c:v>44279</c:v>
                </c:pt>
                <c:pt idx="348">
                  <c:v>44280</c:v>
                </c:pt>
                <c:pt idx="349">
                  <c:v>44281</c:v>
                </c:pt>
                <c:pt idx="350">
                  <c:v>44284</c:v>
                </c:pt>
                <c:pt idx="351">
                  <c:v>44285</c:v>
                </c:pt>
                <c:pt idx="352">
                  <c:v>44286</c:v>
                </c:pt>
                <c:pt idx="353">
                  <c:v>44287</c:v>
                </c:pt>
                <c:pt idx="354">
                  <c:v>44288</c:v>
                </c:pt>
                <c:pt idx="355">
                  <c:v>44291</c:v>
                </c:pt>
                <c:pt idx="356">
                  <c:v>44292</c:v>
                </c:pt>
                <c:pt idx="357">
                  <c:v>44293</c:v>
                </c:pt>
                <c:pt idx="358">
                  <c:v>44294</c:v>
                </c:pt>
                <c:pt idx="359">
                  <c:v>44295</c:v>
                </c:pt>
                <c:pt idx="360">
                  <c:v>44298</c:v>
                </c:pt>
                <c:pt idx="361">
                  <c:v>44299</c:v>
                </c:pt>
                <c:pt idx="362">
                  <c:v>44300</c:v>
                </c:pt>
                <c:pt idx="363">
                  <c:v>44301</c:v>
                </c:pt>
                <c:pt idx="364">
                  <c:v>44302</c:v>
                </c:pt>
                <c:pt idx="365">
                  <c:v>44305</c:v>
                </c:pt>
                <c:pt idx="366">
                  <c:v>44306</c:v>
                </c:pt>
                <c:pt idx="367">
                  <c:v>44307</c:v>
                </c:pt>
                <c:pt idx="368">
                  <c:v>44308</c:v>
                </c:pt>
                <c:pt idx="369">
                  <c:v>44309</c:v>
                </c:pt>
                <c:pt idx="370">
                  <c:v>44312</c:v>
                </c:pt>
                <c:pt idx="371">
                  <c:v>44313</c:v>
                </c:pt>
                <c:pt idx="372">
                  <c:v>44314</c:v>
                </c:pt>
                <c:pt idx="373">
                  <c:v>44315</c:v>
                </c:pt>
                <c:pt idx="374">
                  <c:v>44316</c:v>
                </c:pt>
                <c:pt idx="375">
                  <c:v>44319</c:v>
                </c:pt>
                <c:pt idx="376">
                  <c:v>44320</c:v>
                </c:pt>
                <c:pt idx="377">
                  <c:v>44321</c:v>
                </c:pt>
                <c:pt idx="378">
                  <c:v>44322</c:v>
                </c:pt>
                <c:pt idx="379">
                  <c:v>44323</c:v>
                </c:pt>
                <c:pt idx="380">
                  <c:v>44326</c:v>
                </c:pt>
                <c:pt idx="381">
                  <c:v>44327</c:v>
                </c:pt>
                <c:pt idx="382">
                  <c:v>44328</c:v>
                </c:pt>
                <c:pt idx="383">
                  <c:v>44329</c:v>
                </c:pt>
                <c:pt idx="384">
                  <c:v>44330</c:v>
                </c:pt>
                <c:pt idx="385">
                  <c:v>44333</c:v>
                </c:pt>
                <c:pt idx="386">
                  <c:v>44334</c:v>
                </c:pt>
                <c:pt idx="387">
                  <c:v>44335</c:v>
                </c:pt>
                <c:pt idx="388">
                  <c:v>44336</c:v>
                </c:pt>
                <c:pt idx="389">
                  <c:v>44337</c:v>
                </c:pt>
                <c:pt idx="390">
                  <c:v>44340</c:v>
                </c:pt>
                <c:pt idx="391">
                  <c:v>44341</c:v>
                </c:pt>
                <c:pt idx="392">
                  <c:v>44342</c:v>
                </c:pt>
                <c:pt idx="393">
                  <c:v>44343</c:v>
                </c:pt>
                <c:pt idx="394">
                  <c:v>44344</c:v>
                </c:pt>
                <c:pt idx="395">
                  <c:v>44347</c:v>
                </c:pt>
                <c:pt idx="396">
                  <c:v>44348</c:v>
                </c:pt>
                <c:pt idx="397">
                  <c:v>44349</c:v>
                </c:pt>
                <c:pt idx="398">
                  <c:v>44350</c:v>
                </c:pt>
                <c:pt idx="399">
                  <c:v>44351</c:v>
                </c:pt>
                <c:pt idx="400">
                  <c:v>44354</c:v>
                </c:pt>
                <c:pt idx="401">
                  <c:v>44355</c:v>
                </c:pt>
                <c:pt idx="402">
                  <c:v>44356</c:v>
                </c:pt>
                <c:pt idx="403">
                  <c:v>44357</c:v>
                </c:pt>
                <c:pt idx="404">
                  <c:v>44358</c:v>
                </c:pt>
                <c:pt idx="405">
                  <c:v>44361</c:v>
                </c:pt>
                <c:pt idx="406">
                  <c:v>44362</c:v>
                </c:pt>
                <c:pt idx="407">
                  <c:v>44363</c:v>
                </c:pt>
                <c:pt idx="408">
                  <c:v>44364</c:v>
                </c:pt>
                <c:pt idx="409">
                  <c:v>44365</c:v>
                </c:pt>
                <c:pt idx="410">
                  <c:v>44368</c:v>
                </c:pt>
                <c:pt idx="411">
                  <c:v>44369</c:v>
                </c:pt>
                <c:pt idx="412">
                  <c:v>44370</c:v>
                </c:pt>
                <c:pt idx="413">
                  <c:v>44371</c:v>
                </c:pt>
                <c:pt idx="414">
                  <c:v>44372</c:v>
                </c:pt>
                <c:pt idx="415">
                  <c:v>44375</c:v>
                </c:pt>
                <c:pt idx="416">
                  <c:v>44376</c:v>
                </c:pt>
                <c:pt idx="417">
                  <c:v>44377</c:v>
                </c:pt>
                <c:pt idx="418">
                  <c:v>44378</c:v>
                </c:pt>
                <c:pt idx="419">
                  <c:v>44379</c:v>
                </c:pt>
                <c:pt idx="420">
                  <c:v>44382</c:v>
                </c:pt>
                <c:pt idx="421">
                  <c:v>44383</c:v>
                </c:pt>
                <c:pt idx="422">
                  <c:v>44384</c:v>
                </c:pt>
                <c:pt idx="423">
                  <c:v>44385</c:v>
                </c:pt>
                <c:pt idx="424">
                  <c:v>44386</c:v>
                </c:pt>
                <c:pt idx="425">
                  <c:v>44389</c:v>
                </c:pt>
                <c:pt idx="426">
                  <c:v>44390</c:v>
                </c:pt>
                <c:pt idx="427">
                  <c:v>44391</c:v>
                </c:pt>
                <c:pt idx="428">
                  <c:v>44392</c:v>
                </c:pt>
                <c:pt idx="429">
                  <c:v>44393</c:v>
                </c:pt>
                <c:pt idx="430">
                  <c:v>44396</c:v>
                </c:pt>
                <c:pt idx="431">
                  <c:v>44397</c:v>
                </c:pt>
                <c:pt idx="432">
                  <c:v>44398</c:v>
                </c:pt>
                <c:pt idx="433">
                  <c:v>44399</c:v>
                </c:pt>
                <c:pt idx="434">
                  <c:v>44400</c:v>
                </c:pt>
                <c:pt idx="435">
                  <c:v>44403</c:v>
                </c:pt>
                <c:pt idx="436">
                  <c:v>44404</c:v>
                </c:pt>
                <c:pt idx="437">
                  <c:v>44405</c:v>
                </c:pt>
                <c:pt idx="438">
                  <c:v>44406</c:v>
                </c:pt>
                <c:pt idx="439">
                  <c:v>44407</c:v>
                </c:pt>
                <c:pt idx="440">
                  <c:v>44410</c:v>
                </c:pt>
                <c:pt idx="441">
                  <c:v>44411</c:v>
                </c:pt>
                <c:pt idx="442">
                  <c:v>44412</c:v>
                </c:pt>
                <c:pt idx="443">
                  <c:v>44413</c:v>
                </c:pt>
                <c:pt idx="444">
                  <c:v>44414</c:v>
                </c:pt>
                <c:pt idx="445">
                  <c:v>44417</c:v>
                </c:pt>
                <c:pt idx="446">
                  <c:v>44418</c:v>
                </c:pt>
                <c:pt idx="447">
                  <c:v>44419</c:v>
                </c:pt>
                <c:pt idx="448">
                  <c:v>44420</c:v>
                </c:pt>
                <c:pt idx="449">
                  <c:v>44421</c:v>
                </c:pt>
                <c:pt idx="450">
                  <c:v>44424</c:v>
                </c:pt>
                <c:pt idx="451">
                  <c:v>44425</c:v>
                </c:pt>
                <c:pt idx="452">
                  <c:v>44426</c:v>
                </c:pt>
                <c:pt idx="453">
                  <c:v>44427</c:v>
                </c:pt>
                <c:pt idx="454">
                  <c:v>44428</c:v>
                </c:pt>
                <c:pt idx="455">
                  <c:v>44431</c:v>
                </c:pt>
                <c:pt idx="456">
                  <c:v>44432</c:v>
                </c:pt>
                <c:pt idx="457">
                  <c:v>44433</c:v>
                </c:pt>
                <c:pt idx="458">
                  <c:v>44434</c:v>
                </c:pt>
                <c:pt idx="459">
                  <c:v>44435</c:v>
                </c:pt>
                <c:pt idx="460">
                  <c:v>44438</c:v>
                </c:pt>
                <c:pt idx="461">
                  <c:v>44439</c:v>
                </c:pt>
                <c:pt idx="462">
                  <c:v>44440</c:v>
                </c:pt>
                <c:pt idx="463">
                  <c:v>44441</c:v>
                </c:pt>
                <c:pt idx="464">
                  <c:v>44442</c:v>
                </c:pt>
                <c:pt idx="465">
                  <c:v>44445</c:v>
                </c:pt>
                <c:pt idx="466">
                  <c:v>44446</c:v>
                </c:pt>
                <c:pt idx="467">
                  <c:v>44447</c:v>
                </c:pt>
                <c:pt idx="468">
                  <c:v>44448</c:v>
                </c:pt>
                <c:pt idx="469">
                  <c:v>44449</c:v>
                </c:pt>
                <c:pt idx="470">
                  <c:v>44452</c:v>
                </c:pt>
                <c:pt idx="471">
                  <c:v>44453</c:v>
                </c:pt>
                <c:pt idx="472">
                  <c:v>44454</c:v>
                </c:pt>
                <c:pt idx="473">
                  <c:v>44455</c:v>
                </c:pt>
                <c:pt idx="474">
                  <c:v>44456</c:v>
                </c:pt>
                <c:pt idx="475">
                  <c:v>44459</c:v>
                </c:pt>
                <c:pt idx="476">
                  <c:v>44460</c:v>
                </c:pt>
                <c:pt idx="477">
                  <c:v>44461</c:v>
                </c:pt>
                <c:pt idx="478">
                  <c:v>44462</c:v>
                </c:pt>
                <c:pt idx="479">
                  <c:v>44463</c:v>
                </c:pt>
                <c:pt idx="480">
                  <c:v>44466</c:v>
                </c:pt>
                <c:pt idx="481">
                  <c:v>44467</c:v>
                </c:pt>
                <c:pt idx="482">
                  <c:v>44468</c:v>
                </c:pt>
                <c:pt idx="483">
                  <c:v>44469</c:v>
                </c:pt>
                <c:pt idx="484">
                  <c:v>44470</c:v>
                </c:pt>
                <c:pt idx="485">
                  <c:v>44473</c:v>
                </c:pt>
                <c:pt idx="486">
                  <c:v>44474</c:v>
                </c:pt>
                <c:pt idx="487">
                  <c:v>44475</c:v>
                </c:pt>
                <c:pt idx="488">
                  <c:v>44476</c:v>
                </c:pt>
                <c:pt idx="489">
                  <c:v>44477</c:v>
                </c:pt>
                <c:pt idx="490">
                  <c:v>44480</c:v>
                </c:pt>
                <c:pt idx="491">
                  <c:v>44481</c:v>
                </c:pt>
                <c:pt idx="492">
                  <c:v>44482</c:v>
                </c:pt>
                <c:pt idx="493">
                  <c:v>44483</c:v>
                </c:pt>
                <c:pt idx="494">
                  <c:v>44484</c:v>
                </c:pt>
                <c:pt idx="495">
                  <c:v>44487</c:v>
                </c:pt>
                <c:pt idx="496">
                  <c:v>44488</c:v>
                </c:pt>
                <c:pt idx="497">
                  <c:v>44489</c:v>
                </c:pt>
                <c:pt idx="498">
                  <c:v>44490</c:v>
                </c:pt>
                <c:pt idx="499">
                  <c:v>44491</c:v>
                </c:pt>
                <c:pt idx="500">
                  <c:v>44494</c:v>
                </c:pt>
                <c:pt idx="501">
                  <c:v>44495</c:v>
                </c:pt>
                <c:pt idx="502">
                  <c:v>44496</c:v>
                </c:pt>
                <c:pt idx="503">
                  <c:v>44497</c:v>
                </c:pt>
                <c:pt idx="504">
                  <c:v>44498</c:v>
                </c:pt>
                <c:pt idx="505">
                  <c:v>44501</c:v>
                </c:pt>
                <c:pt idx="506">
                  <c:v>44502</c:v>
                </c:pt>
                <c:pt idx="507">
                  <c:v>44503</c:v>
                </c:pt>
                <c:pt idx="508">
                  <c:v>44504</c:v>
                </c:pt>
                <c:pt idx="509">
                  <c:v>44505</c:v>
                </c:pt>
                <c:pt idx="510">
                  <c:v>44508</c:v>
                </c:pt>
                <c:pt idx="511">
                  <c:v>44509</c:v>
                </c:pt>
                <c:pt idx="512">
                  <c:v>44510</c:v>
                </c:pt>
                <c:pt idx="513">
                  <c:v>44511</c:v>
                </c:pt>
                <c:pt idx="514">
                  <c:v>44512</c:v>
                </c:pt>
                <c:pt idx="515">
                  <c:v>44515</c:v>
                </c:pt>
                <c:pt idx="516">
                  <c:v>44516</c:v>
                </c:pt>
                <c:pt idx="517">
                  <c:v>44517</c:v>
                </c:pt>
                <c:pt idx="518">
                  <c:v>44518</c:v>
                </c:pt>
                <c:pt idx="519">
                  <c:v>44519</c:v>
                </c:pt>
                <c:pt idx="520">
                  <c:v>44522</c:v>
                </c:pt>
                <c:pt idx="521">
                  <c:v>44523</c:v>
                </c:pt>
                <c:pt idx="522">
                  <c:v>44524</c:v>
                </c:pt>
                <c:pt idx="523">
                  <c:v>44525</c:v>
                </c:pt>
                <c:pt idx="524">
                  <c:v>44526</c:v>
                </c:pt>
                <c:pt idx="525">
                  <c:v>44529</c:v>
                </c:pt>
                <c:pt idx="526">
                  <c:v>44530</c:v>
                </c:pt>
                <c:pt idx="527">
                  <c:v>44531</c:v>
                </c:pt>
                <c:pt idx="528">
                  <c:v>44532</c:v>
                </c:pt>
                <c:pt idx="529">
                  <c:v>44533</c:v>
                </c:pt>
                <c:pt idx="530">
                  <c:v>44536</c:v>
                </c:pt>
                <c:pt idx="531">
                  <c:v>44537</c:v>
                </c:pt>
                <c:pt idx="532">
                  <c:v>44538</c:v>
                </c:pt>
                <c:pt idx="533">
                  <c:v>44539</c:v>
                </c:pt>
                <c:pt idx="534">
                  <c:v>44540</c:v>
                </c:pt>
                <c:pt idx="535">
                  <c:v>44543</c:v>
                </c:pt>
                <c:pt idx="536">
                  <c:v>44544</c:v>
                </c:pt>
                <c:pt idx="537">
                  <c:v>44545</c:v>
                </c:pt>
                <c:pt idx="538">
                  <c:v>44546</c:v>
                </c:pt>
                <c:pt idx="539">
                  <c:v>44547</c:v>
                </c:pt>
                <c:pt idx="540">
                  <c:v>44550</c:v>
                </c:pt>
                <c:pt idx="541">
                  <c:v>44551</c:v>
                </c:pt>
                <c:pt idx="542">
                  <c:v>44552</c:v>
                </c:pt>
                <c:pt idx="543">
                  <c:v>44553</c:v>
                </c:pt>
                <c:pt idx="544">
                  <c:v>44554</c:v>
                </c:pt>
                <c:pt idx="545">
                  <c:v>44557</c:v>
                </c:pt>
                <c:pt idx="546">
                  <c:v>44558</c:v>
                </c:pt>
                <c:pt idx="547">
                  <c:v>44559</c:v>
                </c:pt>
                <c:pt idx="548">
                  <c:v>44560</c:v>
                </c:pt>
                <c:pt idx="549">
                  <c:v>44561</c:v>
                </c:pt>
                <c:pt idx="550">
                  <c:v>44564</c:v>
                </c:pt>
                <c:pt idx="551">
                  <c:v>44565</c:v>
                </c:pt>
                <c:pt idx="552">
                  <c:v>44566</c:v>
                </c:pt>
                <c:pt idx="553">
                  <c:v>44567</c:v>
                </c:pt>
                <c:pt idx="554">
                  <c:v>44568</c:v>
                </c:pt>
                <c:pt idx="555">
                  <c:v>44571</c:v>
                </c:pt>
                <c:pt idx="556">
                  <c:v>44572</c:v>
                </c:pt>
                <c:pt idx="557">
                  <c:v>44573</c:v>
                </c:pt>
                <c:pt idx="558">
                  <c:v>44574</c:v>
                </c:pt>
                <c:pt idx="559">
                  <c:v>44575</c:v>
                </c:pt>
                <c:pt idx="560">
                  <c:v>44578</c:v>
                </c:pt>
                <c:pt idx="561">
                  <c:v>44579</c:v>
                </c:pt>
                <c:pt idx="562">
                  <c:v>44580</c:v>
                </c:pt>
                <c:pt idx="563">
                  <c:v>44581</c:v>
                </c:pt>
                <c:pt idx="564">
                  <c:v>44582</c:v>
                </c:pt>
                <c:pt idx="565">
                  <c:v>44585</c:v>
                </c:pt>
                <c:pt idx="566">
                  <c:v>44586</c:v>
                </c:pt>
                <c:pt idx="567">
                  <c:v>44587</c:v>
                </c:pt>
                <c:pt idx="568">
                  <c:v>44588</c:v>
                </c:pt>
                <c:pt idx="569">
                  <c:v>44589</c:v>
                </c:pt>
                <c:pt idx="570">
                  <c:v>44592</c:v>
                </c:pt>
                <c:pt idx="571">
                  <c:v>44593</c:v>
                </c:pt>
                <c:pt idx="572">
                  <c:v>44594</c:v>
                </c:pt>
                <c:pt idx="573">
                  <c:v>44595</c:v>
                </c:pt>
                <c:pt idx="574">
                  <c:v>44596</c:v>
                </c:pt>
                <c:pt idx="575">
                  <c:v>44599</c:v>
                </c:pt>
                <c:pt idx="576">
                  <c:v>44600</c:v>
                </c:pt>
                <c:pt idx="577">
                  <c:v>44601</c:v>
                </c:pt>
                <c:pt idx="578">
                  <c:v>44602</c:v>
                </c:pt>
                <c:pt idx="579">
                  <c:v>44603</c:v>
                </c:pt>
                <c:pt idx="580">
                  <c:v>44606</c:v>
                </c:pt>
                <c:pt idx="581">
                  <c:v>44607</c:v>
                </c:pt>
                <c:pt idx="582">
                  <c:v>44608</c:v>
                </c:pt>
                <c:pt idx="583">
                  <c:v>44609</c:v>
                </c:pt>
                <c:pt idx="584">
                  <c:v>44610</c:v>
                </c:pt>
                <c:pt idx="585">
                  <c:v>44613</c:v>
                </c:pt>
                <c:pt idx="586">
                  <c:v>44614</c:v>
                </c:pt>
                <c:pt idx="587">
                  <c:v>44615</c:v>
                </c:pt>
                <c:pt idx="588">
                  <c:v>44616</c:v>
                </c:pt>
                <c:pt idx="589">
                  <c:v>44617</c:v>
                </c:pt>
                <c:pt idx="590">
                  <c:v>44620</c:v>
                </c:pt>
                <c:pt idx="591">
                  <c:v>44621</c:v>
                </c:pt>
                <c:pt idx="592">
                  <c:v>44622</c:v>
                </c:pt>
                <c:pt idx="593">
                  <c:v>44623</c:v>
                </c:pt>
                <c:pt idx="594">
                  <c:v>44624</c:v>
                </c:pt>
                <c:pt idx="595">
                  <c:v>44627</c:v>
                </c:pt>
                <c:pt idx="596">
                  <c:v>44628</c:v>
                </c:pt>
                <c:pt idx="597">
                  <c:v>44629</c:v>
                </c:pt>
                <c:pt idx="598">
                  <c:v>44630</c:v>
                </c:pt>
                <c:pt idx="599">
                  <c:v>44631</c:v>
                </c:pt>
                <c:pt idx="600">
                  <c:v>44634</c:v>
                </c:pt>
                <c:pt idx="601">
                  <c:v>44635</c:v>
                </c:pt>
                <c:pt idx="602">
                  <c:v>44636</c:v>
                </c:pt>
                <c:pt idx="603">
                  <c:v>44637</c:v>
                </c:pt>
                <c:pt idx="604">
                  <c:v>44638</c:v>
                </c:pt>
                <c:pt idx="605">
                  <c:v>44641</c:v>
                </c:pt>
                <c:pt idx="606">
                  <c:v>44642</c:v>
                </c:pt>
                <c:pt idx="607">
                  <c:v>44643</c:v>
                </c:pt>
                <c:pt idx="608">
                  <c:v>44644</c:v>
                </c:pt>
                <c:pt idx="609">
                  <c:v>44645</c:v>
                </c:pt>
                <c:pt idx="610">
                  <c:v>44648</c:v>
                </c:pt>
                <c:pt idx="611">
                  <c:v>44649</c:v>
                </c:pt>
                <c:pt idx="612">
                  <c:v>44650</c:v>
                </c:pt>
                <c:pt idx="613">
                  <c:v>44651</c:v>
                </c:pt>
                <c:pt idx="614">
                  <c:v>44652</c:v>
                </c:pt>
                <c:pt idx="615">
                  <c:v>44655</c:v>
                </c:pt>
                <c:pt idx="616">
                  <c:v>44656</c:v>
                </c:pt>
                <c:pt idx="617">
                  <c:v>44657</c:v>
                </c:pt>
                <c:pt idx="618">
                  <c:v>44658</c:v>
                </c:pt>
                <c:pt idx="619">
                  <c:v>44659</c:v>
                </c:pt>
                <c:pt idx="620">
                  <c:v>44662</c:v>
                </c:pt>
                <c:pt idx="621">
                  <c:v>44663</c:v>
                </c:pt>
                <c:pt idx="622">
                  <c:v>44664</c:v>
                </c:pt>
                <c:pt idx="623">
                  <c:v>44665</c:v>
                </c:pt>
                <c:pt idx="624">
                  <c:v>44666</c:v>
                </c:pt>
                <c:pt idx="625">
                  <c:v>44669</c:v>
                </c:pt>
                <c:pt idx="626">
                  <c:v>44670</c:v>
                </c:pt>
                <c:pt idx="627">
                  <c:v>44671</c:v>
                </c:pt>
                <c:pt idx="628">
                  <c:v>44672</c:v>
                </c:pt>
                <c:pt idx="629">
                  <c:v>44673</c:v>
                </c:pt>
                <c:pt idx="630">
                  <c:v>44676</c:v>
                </c:pt>
                <c:pt idx="631">
                  <c:v>44677</c:v>
                </c:pt>
                <c:pt idx="632">
                  <c:v>44678</c:v>
                </c:pt>
                <c:pt idx="633">
                  <c:v>44679</c:v>
                </c:pt>
                <c:pt idx="634">
                  <c:v>44680</c:v>
                </c:pt>
                <c:pt idx="635">
                  <c:v>44683</c:v>
                </c:pt>
                <c:pt idx="636">
                  <c:v>44684</c:v>
                </c:pt>
                <c:pt idx="637">
                  <c:v>44685</c:v>
                </c:pt>
                <c:pt idx="638">
                  <c:v>44686</c:v>
                </c:pt>
                <c:pt idx="639">
                  <c:v>44687</c:v>
                </c:pt>
                <c:pt idx="640">
                  <c:v>44690</c:v>
                </c:pt>
                <c:pt idx="641">
                  <c:v>44691</c:v>
                </c:pt>
                <c:pt idx="642">
                  <c:v>44692</c:v>
                </c:pt>
                <c:pt idx="643">
                  <c:v>44693</c:v>
                </c:pt>
                <c:pt idx="644">
                  <c:v>44694</c:v>
                </c:pt>
                <c:pt idx="645">
                  <c:v>44697</c:v>
                </c:pt>
                <c:pt idx="646">
                  <c:v>44698</c:v>
                </c:pt>
                <c:pt idx="647">
                  <c:v>44699</c:v>
                </c:pt>
                <c:pt idx="648">
                  <c:v>44700</c:v>
                </c:pt>
                <c:pt idx="649">
                  <c:v>44701</c:v>
                </c:pt>
                <c:pt idx="650">
                  <c:v>44704</c:v>
                </c:pt>
                <c:pt idx="651">
                  <c:v>44705</c:v>
                </c:pt>
                <c:pt idx="652">
                  <c:v>44706</c:v>
                </c:pt>
                <c:pt idx="653">
                  <c:v>44707</c:v>
                </c:pt>
                <c:pt idx="654">
                  <c:v>44708</c:v>
                </c:pt>
                <c:pt idx="655">
                  <c:v>44711</c:v>
                </c:pt>
                <c:pt idx="656">
                  <c:v>44712</c:v>
                </c:pt>
                <c:pt idx="657">
                  <c:v>44713</c:v>
                </c:pt>
                <c:pt idx="658">
                  <c:v>44714</c:v>
                </c:pt>
                <c:pt idx="659">
                  <c:v>44715</c:v>
                </c:pt>
                <c:pt idx="660">
                  <c:v>44718</c:v>
                </c:pt>
                <c:pt idx="661">
                  <c:v>44719</c:v>
                </c:pt>
                <c:pt idx="662">
                  <c:v>44720</c:v>
                </c:pt>
                <c:pt idx="663">
                  <c:v>44721</c:v>
                </c:pt>
                <c:pt idx="664">
                  <c:v>44722</c:v>
                </c:pt>
                <c:pt idx="665">
                  <c:v>44725</c:v>
                </c:pt>
                <c:pt idx="666">
                  <c:v>44726</c:v>
                </c:pt>
                <c:pt idx="667">
                  <c:v>44727</c:v>
                </c:pt>
                <c:pt idx="668">
                  <c:v>44728</c:v>
                </c:pt>
                <c:pt idx="669">
                  <c:v>44729</c:v>
                </c:pt>
                <c:pt idx="670">
                  <c:v>44732</c:v>
                </c:pt>
                <c:pt idx="671">
                  <c:v>44733</c:v>
                </c:pt>
                <c:pt idx="672">
                  <c:v>44734</c:v>
                </c:pt>
                <c:pt idx="673">
                  <c:v>44735</c:v>
                </c:pt>
                <c:pt idx="674">
                  <c:v>44736</c:v>
                </c:pt>
                <c:pt idx="675">
                  <c:v>44739</c:v>
                </c:pt>
                <c:pt idx="676">
                  <c:v>44740</c:v>
                </c:pt>
                <c:pt idx="677">
                  <c:v>44741</c:v>
                </c:pt>
                <c:pt idx="678">
                  <c:v>44742</c:v>
                </c:pt>
                <c:pt idx="679">
                  <c:v>44743</c:v>
                </c:pt>
                <c:pt idx="680">
                  <c:v>44746</c:v>
                </c:pt>
                <c:pt idx="681">
                  <c:v>44747</c:v>
                </c:pt>
                <c:pt idx="682">
                  <c:v>44748</c:v>
                </c:pt>
                <c:pt idx="683">
                  <c:v>44749</c:v>
                </c:pt>
                <c:pt idx="684">
                  <c:v>44750</c:v>
                </c:pt>
                <c:pt idx="685">
                  <c:v>44753</c:v>
                </c:pt>
                <c:pt idx="686">
                  <c:v>44754</c:v>
                </c:pt>
                <c:pt idx="687">
                  <c:v>44755</c:v>
                </c:pt>
                <c:pt idx="688">
                  <c:v>44756</c:v>
                </c:pt>
                <c:pt idx="689">
                  <c:v>44757</c:v>
                </c:pt>
                <c:pt idx="690">
                  <c:v>44760</c:v>
                </c:pt>
                <c:pt idx="691">
                  <c:v>44761</c:v>
                </c:pt>
                <c:pt idx="692">
                  <c:v>44762</c:v>
                </c:pt>
                <c:pt idx="693">
                  <c:v>44763</c:v>
                </c:pt>
                <c:pt idx="694">
                  <c:v>44764</c:v>
                </c:pt>
                <c:pt idx="695">
                  <c:v>44767</c:v>
                </c:pt>
                <c:pt idx="696">
                  <c:v>44768</c:v>
                </c:pt>
                <c:pt idx="697">
                  <c:v>44769</c:v>
                </c:pt>
                <c:pt idx="698">
                  <c:v>44770</c:v>
                </c:pt>
                <c:pt idx="699">
                  <c:v>44771</c:v>
                </c:pt>
                <c:pt idx="700">
                  <c:v>44774</c:v>
                </c:pt>
                <c:pt idx="701">
                  <c:v>44775</c:v>
                </c:pt>
                <c:pt idx="702">
                  <c:v>44776</c:v>
                </c:pt>
                <c:pt idx="703">
                  <c:v>44777</c:v>
                </c:pt>
                <c:pt idx="704">
                  <c:v>44778</c:v>
                </c:pt>
                <c:pt idx="705">
                  <c:v>44781</c:v>
                </c:pt>
                <c:pt idx="706">
                  <c:v>44782</c:v>
                </c:pt>
                <c:pt idx="707">
                  <c:v>44783</c:v>
                </c:pt>
                <c:pt idx="708">
                  <c:v>44784</c:v>
                </c:pt>
                <c:pt idx="709">
                  <c:v>44785</c:v>
                </c:pt>
                <c:pt idx="710">
                  <c:v>44788</c:v>
                </c:pt>
                <c:pt idx="711">
                  <c:v>44789</c:v>
                </c:pt>
                <c:pt idx="712">
                  <c:v>44790</c:v>
                </c:pt>
                <c:pt idx="713">
                  <c:v>44791</c:v>
                </c:pt>
                <c:pt idx="714">
                  <c:v>44792</c:v>
                </c:pt>
                <c:pt idx="715">
                  <c:v>44795</c:v>
                </c:pt>
                <c:pt idx="716">
                  <c:v>44796</c:v>
                </c:pt>
                <c:pt idx="717">
                  <c:v>44797</c:v>
                </c:pt>
                <c:pt idx="718">
                  <c:v>44798</c:v>
                </c:pt>
                <c:pt idx="719">
                  <c:v>44799</c:v>
                </c:pt>
                <c:pt idx="720">
                  <c:v>44802</c:v>
                </c:pt>
                <c:pt idx="721">
                  <c:v>44803</c:v>
                </c:pt>
                <c:pt idx="722">
                  <c:v>44804</c:v>
                </c:pt>
                <c:pt idx="723">
                  <c:v>44805</c:v>
                </c:pt>
                <c:pt idx="724">
                  <c:v>44806</c:v>
                </c:pt>
                <c:pt idx="725">
                  <c:v>44809</c:v>
                </c:pt>
                <c:pt idx="726">
                  <c:v>44810</c:v>
                </c:pt>
                <c:pt idx="727">
                  <c:v>44811</c:v>
                </c:pt>
                <c:pt idx="728">
                  <c:v>44812</c:v>
                </c:pt>
                <c:pt idx="729">
                  <c:v>44813</c:v>
                </c:pt>
                <c:pt idx="730">
                  <c:v>44816</c:v>
                </c:pt>
                <c:pt idx="731">
                  <c:v>44817</c:v>
                </c:pt>
                <c:pt idx="732">
                  <c:v>44818</c:v>
                </c:pt>
                <c:pt idx="733">
                  <c:v>44819</c:v>
                </c:pt>
                <c:pt idx="734">
                  <c:v>44820</c:v>
                </c:pt>
                <c:pt idx="735">
                  <c:v>44823</c:v>
                </c:pt>
                <c:pt idx="736">
                  <c:v>44824</c:v>
                </c:pt>
                <c:pt idx="737">
                  <c:v>44825</c:v>
                </c:pt>
                <c:pt idx="738">
                  <c:v>44826</c:v>
                </c:pt>
                <c:pt idx="739">
                  <c:v>44827</c:v>
                </c:pt>
                <c:pt idx="740">
                  <c:v>44830</c:v>
                </c:pt>
                <c:pt idx="741">
                  <c:v>44831</c:v>
                </c:pt>
                <c:pt idx="742">
                  <c:v>44832</c:v>
                </c:pt>
                <c:pt idx="743">
                  <c:v>44833</c:v>
                </c:pt>
                <c:pt idx="744">
                  <c:v>44834</c:v>
                </c:pt>
                <c:pt idx="745">
                  <c:v>44837</c:v>
                </c:pt>
                <c:pt idx="746">
                  <c:v>44838</c:v>
                </c:pt>
                <c:pt idx="747">
                  <c:v>44839</c:v>
                </c:pt>
                <c:pt idx="748">
                  <c:v>44840</c:v>
                </c:pt>
                <c:pt idx="749">
                  <c:v>44841</c:v>
                </c:pt>
                <c:pt idx="750">
                  <c:v>44844</c:v>
                </c:pt>
                <c:pt idx="751">
                  <c:v>44845</c:v>
                </c:pt>
                <c:pt idx="752">
                  <c:v>44846</c:v>
                </c:pt>
                <c:pt idx="753">
                  <c:v>44847</c:v>
                </c:pt>
                <c:pt idx="754">
                  <c:v>44848</c:v>
                </c:pt>
                <c:pt idx="755">
                  <c:v>44851</c:v>
                </c:pt>
                <c:pt idx="756">
                  <c:v>44852</c:v>
                </c:pt>
                <c:pt idx="757">
                  <c:v>44853</c:v>
                </c:pt>
                <c:pt idx="758">
                  <c:v>44854</c:v>
                </c:pt>
                <c:pt idx="759">
                  <c:v>44855</c:v>
                </c:pt>
                <c:pt idx="760">
                  <c:v>44858</c:v>
                </c:pt>
                <c:pt idx="761">
                  <c:v>44859</c:v>
                </c:pt>
                <c:pt idx="762">
                  <c:v>44860</c:v>
                </c:pt>
                <c:pt idx="763">
                  <c:v>44861</c:v>
                </c:pt>
                <c:pt idx="764">
                  <c:v>44862</c:v>
                </c:pt>
                <c:pt idx="765">
                  <c:v>44865</c:v>
                </c:pt>
                <c:pt idx="766">
                  <c:v>44866</c:v>
                </c:pt>
                <c:pt idx="767">
                  <c:v>44867</c:v>
                </c:pt>
                <c:pt idx="768">
                  <c:v>44868</c:v>
                </c:pt>
                <c:pt idx="769">
                  <c:v>44869</c:v>
                </c:pt>
                <c:pt idx="770">
                  <c:v>44872</c:v>
                </c:pt>
                <c:pt idx="771">
                  <c:v>44873</c:v>
                </c:pt>
                <c:pt idx="772">
                  <c:v>44874</c:v>
                </c:pt>
                <c:pt idx="773">
                  <c:v>44875</c:v>
                </c:pt>
                <c:pt idx="774">
                  <c:v>44876</c:v>
                </c:pt>
                <c:pt idx="775">
                  <c:v>44879</c:v>
                </c:pt>
                <c:pt idx="776">
                  <c:v>44880</c:v>
                </c:pt>
                <c:pt idx="777">
                  <c:v>44881</c:v>
                </c:pt>
                <c:pt idx="778">
                  <c:v>44882</c:v>
                </c:pt>
                <c:pt idx="779">
                  <c:v>44883</c:v>
                </c:pt>
                <c:pt idx="780">
                  <c:v>44886</c:v>
                </c:pt>
                <c:pt idx="781">
                  <c:v>44887</c:v>
                </c:pt>
                <c:pt idx="782">
                  <c:v>44888</c:v>
                </c:pt>
                <c:pt idx="783">
                  <c:v>44889</c:v>
                </c:pt>
                <c:pt idx="784">
                  <c:v>44890</c:v>
                </c:pt>
                <c:pt idx="785">
                  <c:v>44893</c:v>
                </c:pt>
                <c:pt idx="786">
                  <c:v>44894</c:v>
                </c:pt>
                <c:pt idx="787">
                  <c:v>44895</c:v>
                </c:pt>
                <c:pt idx="788">
                  <c:v>44896</c:v>
                </c:pt>
                <c:pt idx="789">
                  <c:v>44897</c:v>
                </c:pt>
                <c:pt idx="790">
                  <c:v>44900</c:v>
                </c:pt>
                <c:pt idx="791">
                  <c:v>44901</c:v>
                </c:pt>
                <c:pt idx="792">
                  <c:v>44902</c:v>
                </c:pt>
                <c:pt idx="793">
                  <c:v>44903</c:v>
                </c:pt>
                <c:pt idx="794">
                  <c:v>44904</c:v>
                </c:pt>
                <c:pt idx="795">
                  <c:v>44907</c:v>
                </c:pt>
                <c:pt idx="796">
                  <c:v>44908</c:v>
                </c:pt>
                <c:pt idx="797">
                  <c:v>44909</c:v>
                </c:pt>
                <c:pt idx="798">
                  <c:v>44910</c:v>
                </c:pt>
                <c:pt idx="799">
                  <c:v>44911</c:v>
                </c:pt>
                <c:pt idx="800">
                  <c:v>44914</c:v>
                </c:pt>
                <c:pt idx="801">
                  <c:v>44915</c:v>
                </c:pt>
                <c:pt idx="802">
                  <c:v>44916</c:v>
                </c:pt>
                <c:pt idx="803">
                  <c:v>44917</c:v>
                </c:pt>
                <c:pt idx="804">
                  <c:v>44918</c:v>
                </c:pt>
                <c:pt idx="805">
                  <c:v>44921</c:v>
                </c:pt>
                <c:pt idx="806">
                  <c:v>44922</c:v>
                </c:pt>
                <c:pt idx="807">
                  <c:v>44923</c:v>
                </c:pt>
                <c:pt idx="808">
                  <c:v>44924</c:v>
                </c:pt>
                <c:pt idx="809">
                  <c:v>44925</c:v>
                </c:pt>
                <c:pt idx="810">
                  <c:v>44928</c:v>
                </c:pt>
                <c:pt idx="811">
                  <c:v>44929</c:v>
                </c:pt>
                <c:pt idx="812">
                  <c:v>44930</c:v>
                </c:pt>
                <c:pt idx="813">
                  <c:v>44931</c:v>
                </c:pt>
                <c:pt idx="814">
                  <c:v>44932</c:v>
                </c:pt>
                <c:pt idx="815">
                  <c:v>44935</c:v>
                </c:pt>
                <c:pt idx="816">
                  <c:v>44936</c:v>
                </c:pt>
                <c:pt idx="817">
                  <c:v>44937</c:v>
                </c:pt>
                <c:pt idx="818">
                  <c:v>44938</c:v>
                </c:pt>
                <c:pt idx="819">
                  <c:v>44939</c:v>
                </c:pt>
                <c:pt idx="820">
                  <c:v>44942</c:v>
                </c:pt>
                <c:pt idx="821">
                  <c:v>44943</c:v>
                </c:pt>
                <c:pt idx="822">
                  <c:v>44944</c:v>
                </c:pt>
                <c:pt idx="823">
                  <c:v>44945</c:v>
                </c:pt>
                <c:pt idx="824">
                  <c:v>44946</c:v>
                </c:pt>
                <c:pt idx="825">
                  <c:v>44949</c:v>
                </c:pt>
                <c:pt idx="826">
                  <c:v>44950</c:v>
                </c:pt>
                <c:pt idx="827">
                  <c:v>44951</c:v>
                </c:pt>
                <c:pt idx="828">
                  <c:v>44952</c:v>
                </c:pt>
                <c:pt idx="829">
                  <c:v>44953</c:v>
                </c:pt>
                <c:pt idx="830">
                  <c:v>44956</c:v>
                </c:pt>
                <c:pt idx="831">
                  <c:v>44957</c:v>
                </c:pt>
                <c:pt idx="832">
                  <c:v>44958</c:v>
                </c:pt>
                <c:pt idx="833">
                  <c:v>44959</c:v>
                </c:pt>
                <c:pt idx="834">
                  <c:v>44960</c:v>
                </c:pt>
                <c:pt idx="835">
                  <c:v>44963</c:v>
                </c:pt>
                <c:pt idx="836">
                  <c:v>44964</c:v>
                </c:pt>
                <c:pt idx="837">
                  <c:v>44965</c:v>
                </c:pt>
                <c:pt idx="838">
                  <c:v>44966</c:v>
                </c:pt>
                <c:pt idx="839">
                  <c:v>44967</c:v>
                </c:pt>
                <c:pt idx="840">
                  <c:v>44970</c:v>
                </c:pt>
                <c:pt idx="841">
                  <c:v>44971</c:v>
                </c:pt>
                <c:pt idx="842">
                  <c:v>44972</c:v>
                </c:pt>
                <c:pt idx="843">
                  <c:v>44973</c:v>
                </c:pt>
                <c:pt idx="844">
                  <c:v>44974</c:v>
                </c:pt>
                <c:pt idx="845">
                  <c:v>44977</c:v>
                </c:pt>
                <c:pt idx="846">
                  <c:v>44978</c:v>
                </c:pt>
                <c:pt idx="847">
                  <c:v>44979</c:v>
                </c:pt>
                <c:pt idx="848">
                  <c:v>44980</c:v>
                </c:pt>
                <c:pt idx="849">
                  <c:v>44981</c:v>
                </c:pt>
                <c:pt idx="850">
                  <c:v>44984</c:v>
                </c:pt>
                <c:pt idx="851">
                  <c:v>44985</c:v>
                </c:pt>
                <c:pt idx="852">
                  <c:v>44986</c:v>
                </c:pt>
                <c:pt idx="853">
                  <c:v>44987</c:v>
                </c:pt>
                <c:pt idx="854">
                  <c:v>44988</c:v>
                </c:pt>
                <c:pt idx="855">
                  <c:v>44991</c:v>
                </c:pt>
                <c:pt idx="856">
                  <c:v>44992</c:v>
                </c:pt>
                <c:pt idx="857">
                  <c:v>44993</c:v>
                </c:pt>
                <c:pt idx="858">
                  <c:v>44994</c:v>
                </c:pt>
                <c:pt idx="859">
                  <c:v>44995</c:v>
                </c:pt>
                <c:pt idx="860">
                  <c:v>44998</c:v>
                </c:pt>
                <c:pt idx="861">
                  <c:v>44999</c:v>
                </c:pt>
                <c:pt idx="862">
                  <c:v>45000</c:v>
                </c:pt>
                <c:pt idx="863">
                  <c:v>45001</c:v>
                </c:pt>
                <c:pt idx="864">
                  <c:v>45002</c:v>
                </c:pt>
                <c:pt idx="865">
                  <c:v>45005</c:v>
                </c:pt>
                <c:pt idx="866">
                  <c:v>45006</c:v>
                </c:pt>
                <c:pt idx="867">
                  <c:v>45007</c:v>
                </c:pt>
                <c:pt idx="868">
                  <c:v>45008</c:v>
                </c:pt>
                <c:pt idx="869">
                  <c:v>45009</c:v>
                </c:pt>
                <c:pt idx="870">
                  <c:v>45012</c:v>
                </c:pt>
                <c:pt idx="871">
                  <c:v>45013</c:v>
                </c:pt>
                <c:pt idx="872">
                  <c:v>45014</c:v>
                </c:pt>
                <c:pt idx="873">
                  <c:v>45015</c:v>
                </c:pt>
                <c:pt idx="874">
                  <c:v>45016</c:v>
                </c:pt>
                <c:pt idx="875">
                  <c:v>45019</c:v>
                </c:pt>
                <c:pt idx="876">
                  <c:v>45020</c:v>
                </c:pt>
                <c:pt idx="877">
                  <c:v>45021</c:v>
                </c:pt>
                <c:pt idx="878">
                  <c:v>45022</c:v>
                </c:pt>
                <c:pt idx="879">
                  <c:v>45023</c:v>
                </c:pt>
                <c:pt idx="880">
                  <c:v>45026</c:v>
                </c:pt>
                <c:pt idx="881">
                  <c:v>45027</c:v>
                </c:pt>
                <c:pt idx="882">
                  <c:v>45028</c:v>
                </c:pt>
                <c:pt idx="883">
                  <c:v>45029</c:v>
                </c:pt>
                <c:pt idx="884">
                  <c:v>45030</c:v>
                </c:pt>
                <c:pt idx="885">
                  <c:v>45033</c:v>
                </c:pt>
                <c:pt idx="886">
                  <c:v>45034</c:v>
                </c:pt>
                <c:pt idx="887">
                  <c:v>45035</c:v>
                </c:pt>
                <c:pt idx="888">
                  <c:v>45036</c:v>
                </c:pt>
                <c:pt idx="889">
                  <c:v>45037</c:v>
                </c:pt>
                <c:pt idx="890">
                  <c:v>45040</c:v>
                </c:pt>
                <c:pt idx="891">
                  <c:v>45041</c:v>
                </c:pt>
                <c:pt idx="892">
                  <c:v>45042</c:v>
                </c:pt>
                <c:pt idx="893">
                  <c:v>45043</c:v>
                </c:pt>
                <c:pt idx="894">
                  <c:v>45044</c:v>
                </c:pt>
                <c:pt idx="895">
                  <c:v>45047</c:v>
                </c:pt>
                <c:pt idx="896">
                  <c:v>45048</c:v>
                </c:pt>
                <c:pt idx="897">
                  <c:v>45049</c:v>
                </c:pt>
                <c:pt idx="898">
                  <c:v>45050</c:v>
                </c:pt>
                <c:pt idx="899">
                  <c:v>45051</c:v>
                </c:pt>
                <c:pt idx="900">
                  <c:v>45054</c:v>
                </c:pt>
                <c:pt idx="901">
                  <c:v>45055</c:v>
                </c:pt>
                <c:pt idx="902">
                  <c:v>45056</c:v>
                </c:pt>
                <c:pt idx="903">
                  <c:v>45057</c:v>
                </c:pt>
                <c:pt idx="904">
                  <c:v>45058</c:v>
                </c:pt>
                <c:pt idx="905">
                  <c:v>45061</c:v>
                </c:pt>
                <c:pt idx="906">
                  <c:v>45062</c:v>
                </c:pt>
                <c:pt idx="907">
                  <c:v>45063</c:v>
                </c:pt>
                <c:pt idx="908">
                  <c:v>45064</c:v>
                </c:pt>
                <c:pt idx="909">
                  <c:v>45065</c:v>
                </c:pt>
                <c:pt idx="910">
                  <c:v>45068</c:v>
                </c:pt>
                <c:pt idx="911">
                  <c:v>45069</c:v>
                </c:pt>
                <c:pt idx="912">
                  <c:v>45070</c:v>
                </c:pt>
                <c:pt idx="913">
                  <c:v>45071</c:v>
                </c:pt>
                <c:pt idx="914">
                  <c:v>45072</c:v>
                </c:pt>
                <c:pt idx="915">
                  <c:v>45075</c:v>
                </c:pt>
                <c:pt idx="916">
                  <c:v>45076</c:v>
                </c:pt>
                <c:pt idx="917">
                  <c:v>45077</c:v>
                </c:pt>
                <c:pt idx="918">
                  <c:v>45078</c:v>
                </c:pt>
                <c:pt idx="919">
                  <c:v>45079</c:v>
                </c:pt>
                <c:pt idx="920">
                  <c:v>45082</c:v>
                </c:pt>
                <c:pt idx="921">
                  <c:v>45083</c:v>
                </c:pt>
                <c:pt idx="922">
                  <c:v>45084</c:v>
                </c:pt>
                <c:pt idx="923">
                  <c:v>45085</c:v>
                </c:pt>
                <c:pt idx="924">
                  <c:v>45086</c:v>
                </c:pt>
                <c:pt idx="925">
                  <c:v>45089</c:v>
                </c:pt>
                <c:pt idx="926">
                  <c:v>45090</c:v>
                </c:pt>
                <c:pt idx="927">
                  <c:v>45091</c:v>
                </c:pt>
                <c:pt idx="928">
                  <c:v>45092</c:v>
                </c:pt>
                <c:pt idx="929">
                  <c:v>45093</c:v>
                </c:pt>
                <c:pt idx="930">
                  <c:v>45096</c:v>
                </c:pt>
                <c:pt idx="931">
                  <c:v>45097</c:v>
                </c:pt>
                <c:pt idx="932">
                  <c:v>45098</c:v>
                </c:pt>
                <c:pt idx="933">
                  <c:v>45099</c:v>
                </c:pt>
                <c:pt idx="934">
                  <c:v>45100</c:v>
                </c:pt>
                <c:pt idx="935">
                  <c:v>45103</c:v>
                </c:pt>
                <c:pt idx="936">
                  <c:v>45104</c:v>
                </c:pt>
                <c:pt idx="937">
                  <c:v>45105</c:v>
                </c:pt>
                <c:pt idx="938">
                  <c:v>45106</c:v>
                </c:pt>
                <c:pt idx="939">
                  <c:v>45107</c:v>
                </c:pt>
                <c:pt idx="940">
                  <c:v>45110</c:v>
                </c:pt>
                <c:pt idx="941">
                  <c:v>45111</c:v>
                </c:pt>
                <c:pt idx="942">
                  <c:v>45112</c:v>
                </c:pt>
                <c:pt idx="943">
                  <c:v>45113</c:v>
                </c:pt>
                <c:pt idx="944">
                  <c:v>45114</c:v>
                </c:pt>
                <c:pt idx="945">
                  <c:v>45117</c:v>
                </c:pt>
                <c:pt idx="946">
                  <c:v>45118</c:v>
                </c:pt>
                <c:pt idx="947">
                  <c:v>45119</c:v>
                </c:pt>
                <c:pt idx="948">
                  <c:v>45120</c:v>
                </c:pt>
                <c:pt idx="949">
                  <c:v>45121</c:v>
                </c:pt>
                <c:pt idx="950">
                  <c:v>45124</c:v>
                </c:pt>
                <c:pt idx="951">
                  <c:v>45125</c:v>
                </c:pt>
                <c:pt idx="952">
                  <c:v>45126</c:v>
                </c:pt>
                <c:pt idx="953">
                  <c:v>45127</c:v>
                </c:pt>
                <c:pt idx="954">
                  <c:v>45128</c:v>
                </c:pt>
                <c:pt idx="955">
                  <c:v>45131</c:v>
                </c:pt>
                <c:pt idx="956">
                  <c:v>45132</c:v>
                </c:pt>
                <c:pt idx="957">
                  <c:v>45133</c:v>
                </c:pt>
                <c:pt idx="958">
                  <c:v>45134</c:v>
                </c:pt>
                <c:pt idx="959">
                  <c:v>45135</c:v>
                </c:pt>
                <c:pt idx="960">
                  <c:v>45138</c:v>
                </c:pt>
                <c:pt idx="961">
                  <c:v>45139</c:v>
                </c:pt>
                <c:pt idx="962">
                  <c:v>45140</c:v>
                </c:pt>
                <c:pt idx="963">
                  <c:v>45141</c:v>
                </c:pt>
                <c:pt idx="964">
                  <c:v>45142</c:v>
                </c:pt>
                <c:pt idx="965">
                  <c:v>45145</c:v>
                </c:pt>
                <c:pt idx="966">
                  <c:v>45146</c:v>
                </c:pt>
                <c:pt idx="967">
                  <c:v>45147</c:v>
                </c:pt>
                <c:pt idx="968">
                  <c:v>45148</c:v>
                </c:pt>
                <c:pt idx="969">
                  <c:v>45149</c:v>
                </c:pt>
                <c:pt idx="970">
                  <c:v>45152</c:v>
                </c:pt>
                <c:pt idx="971">
                  <c:v>45153</c:v>
                </c:pt>
                <c:pt idx="972">
                  <c:v>45154</c:v>
                </c:pt>
                <c:pt idx="973">
                  <c:v>45155</c:v>
                </c:pt>
                <c:pt idx="974">
                  <c:v>45156</c:v>
                </c:pt>
                <c:pt idx="975">
                  <c:v>45159</c:v>
                </c:pt>
                <c:pt idx="976">
                  <c:v>45160</c:v>
                </c:pt>
                <c:pt idx="977">
                  <c:v>45161</c:v>
                </c:pt>
                <c:pt idx="978">
                  <c:v>45162</c:v>
                </c:pt>
                <c:pt idx="979">
                  <c:v>45163</c:v>
                </c:pt>
                <c:pt idx="980">
                  <c:v>45166</c:v>
                </c:pt>
                <c:pt idx="981">
                  <c:v>45167</c:v>
                </c:pt>
                <c:pt idx="982">
                  <c:v>45168</c:v>
                </c:pt>
                <c:pt idx="983">
                  <c:v>45169</c:v>
                </c:pt>
                <c:pt idx="984">
                  <c:v>45170</c:v>
                </c:pt>
                <c:pt idx="985">
                  <c:v>45173</c:v>
                </c:pt>
                <c:pt idx="986">
                  <c:v>45174</c:v>
                </c:pt>
                <c:pt idx="987">
                  <c:v>45175</c:v>
                </c:pt>
                <c:pt idx="988">
                  <c:v>45176</c:v>
                </c:pt>
                <c:pt idx="989">
                  <c:v>45177</c:v>
                </c:pt>
                <c:pt idx="990">
                  <c:v>45180</c:v>
                </c:pt>
                <c:pt idx="991">
                  <c:v>45181</c:v>
                </c:pt>
                <c:pt idx="992">
                  <c:v>45182</c:v>
                </c:pt>
                <c:pt idx="993">
                  <c:v>45183</c:v>
                </c:pt>
                <c:pt idx="994">
                  <c:v>45184</c:v>
                </c:pt>
                <c:pt idx="995">
                  <c:v>45187</c:v>
                </c:pt>
                <c:pt idx="996">
                  <c:v>45188</c:v>
                </c:pt>
                <c:pt idx="997">
                  <c:v>45189</c:v>
                </c:pt>
                <c:pt idx="998">
                  <c:v>45190</c:v>
                </c:pt>
                <c:pt idx="999">
                  <c:v>45191</c:v>
                </c:pt>
                <c:pt idx="1000">
                  <c:v>45194</c:v>
                </c:pt>
                <c:pt idx="1001">
                  <c:v>45195</c:v>
                </c:pt>
                <c:pt idx="1002">
                  <c:v>45196</c:v>
                </c:pt>
                <c:pt idx="1003">
                  <c:v>45197</c:v>
                </c:pt>
                <c:pt idx="1004">
                  <c:v>45198</c:v>
                </c:pt>
                <c:pt idx="1005">
                  <c:v>45201</c:v>
                </c:pt>
                <c:pt idx="1006">
                  <c:v>45202</c:v>
                </c:pt>
                <c:pt idx="1007">
                  <c:v>45203</c:v>
                </c:pt>
                <c:pt idx="1008">
                  <c:v>45204</c:v>
                </c:pt>
                <c:pt idx="1009">
                  <c:v>45205</c:v>
                </c:pt>
                <c:pt idx="1010">
                  <c:v>45208</c:v>
                </c:pt>
                <c:pt idx="1011">
                  <c:v>45209</c:v>
                </c:pt>
                <c:pt idx="1012">
                  <c:v>45210</c:v>
                </c:pt>
                <c:pt idx="1013">
                  <c:v>45211</c:v>
                </c:pt>
                <c:pt idx="1014">
                  <c:v>45212</c:v>
                </c:pt>
                <c:pt idx="1015">
                  <c:v>45215</c:v>
                </c:pt>
                <c:pt idx="1016">
                  <c:v>45216</c:v>
                </c:pt>
                <c:pt idx="1017">
                  <c:v>45217</c:v>
                </c:pt>
                <c:pt idx="1018">
                  <c:v>45218</c:v>
                </c:pt>
                <c:pt idx="1019">
                  <c:v>45219</c:v>
                </c:pt>
                <c:pt idx="1020">
                  <c:v>45222</c:v>
                </c:pt>
                <c:pt idx="1021">
                  <c:v>45223</c:v>
                </c:pt>
                <c:pt idx="1022">
                  <c:v>45224</c:v>
                </c:pt>
                <c:pt idx="1023">
                  <c:v>45225</c:v>
                </c:pt>
                <c:pt idx="1024">
                  <c:v>45226</c:v>
                </c:pt>
                <c:pt idx="1025">
                  <c:v>45229</c:v>
                </c:pt>
                <c:pt idx="1026">
                  <c:v>45230</c:v>
                </c:pt>
                <c:pt idx="1027">
                  <c:v>45231</c:v>
                </c:pt>
                <c:pt idx="1028">
                  <c:v>45232</c:v>
                </c:pt>
                <c:pt idx="1029">
                  <c:v>45233</c:v>
                </c:pt>
                <c:pt idx="1030">
                  <c:v>45236</c:v>
                </c:pt>
                <c:pt idx="1031">
                  <c:v>45237</c:v>
                </c:pt>
                <c:pt idx="1032">
                  <c:v>45238</c:v>
                </c:pt>
                <c:pt idx="1033">
                  <c:v>45239</c:v>
                </c:pt>
                <c:pt idx="1034">
                  <c:v>45240</c:v>
                </c:pt>
                <c:pt idx="1035">
                  <c:v>45243</c:v>
                </c:pt>
                <c:pt idx="1036">
                  <c:v>45244</c:v>
                </c:pt>
                <c:pt idx="1037">
                  <c:v>45245</c:v>
                </c:pt>
                <c:pt idx="1038">
                  <c:v>45246</c:v>
                </c:pt>
                <c:pt idx="1039">
                  <c:v>45247</c:v>
                </c:pt>
                <c:pt idx="1040">
                  <c:v>45250</c:v>
                </c:pt>
                <c:pt idx="1041">
                  <c:v>45251</c:v>
                </c:pt>
                <c:pt idx="1042">
                  <c:v>45252</c:v>
                </c:pt>
                <c:pt idx="1043">
                  <c:v>45253</c:v>
                </c:pt>
                <c:pt idx="1044">
                  <c:v>45254</c:v>
                </c:pt>
                <c:pt idx="1045">
                  <c:v>45257</c:v>
                </c:pt>
                <c:pt idx="1046">
                  <c:v>45258</c:v>
                </c:pt>
                <c:pt idx="1047">
                  <c:v>45259</c:v>
                </c:pt>
                <c:pt idx="1048">
                  <c:v>45260</c:v>
                </c:pt>
                <c:pt idx="1049">
                  <c:v>45261</c:v>
                </c:pt>
                <c:pt idx="1050">
                  <c:v>45264</c:v>
                </c:pt>
                <c:pt idx="1051">
                  <c:v>45265</c:v>
                </c:pt>
                <c:pt idx="1052">
                  <c:v>45266</c:v>
                </c:pt>
                <c:pt idx="1053">
                  <c:v>45267</c:v>
                </c:pt>
                <c:pt idx="1054">
                  <c:v>45268</c:v>
                </c:pt>
                <c:pt idx="1055">
                  <c:v>45271</c:v>
                </c:pt>
                <c:pt idx="1056">
                  <c:v>45272</c:v>
                </c:pt>
                <c:pt idx="1057">
                  <c:v>45273</c:v>
                </c:pt>
                <c:pt idx="1058">
                  <c:v>45274</c:v>
                </c:pt>
                <c:pt idx="1059">
                  <c:v>45275</c:v>
                </c:pt>
                <c:pt idx="1060">
                  <c:v>45278</c:v>
                </c:pt>
                <c:pt idx="1061">
                  <c:v>45279</c:v>
                </c:pt>
                <c:pt idx="1062">
                  <c:v>45280</c:v>
                </c:pt>
                <c:pt idx="1063">
                  <c:v>45281</c:v>
                </c:pt>
                <c:pt idx="1064">
                  <c:v>45282</c:v>
                </c:pt>
                <c:pt idx="1065">
                  <c:v>45285</c:v>
                </c:pt>
                <c:pt idx="1066">
                  <c:v>45286</c:v>
                </c:pt>
                <c:pt idx="1067">
                  <c:v>45287</c:v>
                </c:pt>
                <c:pt idx="1068">
                  <c:v>45288</c:v>
                </c:pt>
                <c:pt idx="1069">
                  <c:v>45289</c:v>
                </c:pt>
                <c:pt idx="1070">
                  <c:v>45292</c:v>
                </c:pt>
                <c:pt idx="1071">
                  <c:v>45293</c:v>
                </c:pt>
                <c:pt idx="1072">
                  <c:v>45294</c:v>
                </c:pt>
                <c:pt idx="1073">
                  <c:v>45295</c:v>
                </c:pt>
                <c:pt idx="1074">
                  <c:v>45296</c:v>
                </c:pt>
                <c:pt idx="1075">
                  <c:v>45299</c:v>
                </c:pt>
                <c:pt idx="1076">
                  <c:v>45300</c:v>
                </c:pt>
                <c:pt idx="1077">
                  <c:v>45301</c:v>
                </c:pt>
                <c:pt idx="1078">
                  <c:v>45302</c:v>
                </c:pt>
                <c:pt idx="1079">
                  <c:v>45303</c:v>
                </c:pt>
                <c:pt idx="1080">
                  <c:v>45306</c:v>
                </c:pt>
                <c:pt idx="1081">
                  <c:v>45307</c:v>
                </c:pt>
                <c:pt idx="1082">
                  <c:v>45308</c:v>
                </c:pt>
                <c:pt idx="1083">
                  <c:v>45309</c:v>
                </c:pt>
                <c:pt idx="1084">
                  <c:v>45310</c:v>
                </c:pt>
                <c:pt idx="1085">
                  <c:v>45313</c:v>
                </c:pt>
                <c:pt idx="1086">
                  <c:v>45314</c:v>
                </c:pt>
                <c:pt idx="1087">
                  <c:v>45315</c:v>
                </c:pt>
                <c:pt idx="1088">
                  <c:v>45316</c:v>
                </c:pt>
                <c:pt idx="1089">
                  <c:v>45317</c:v>
                </c:pt>
                <c:pt idx="1090">
                  <c:v>45320</c:v>
                </c:pt>
                <c:pt idx="1091">
                  <c:v>45321</c:v>
                </c:pt>
                <c:pt idx="1092">
                  <c:v>45322</c:v>
                </c:pt>
                <c:pt idx="1093">
                  <c:v>45323</c:v>
                </c:pt>
                <c:pt idx="1094">
                  <c:v>45324</c:v>
                </c:pt>
                <c:pt idx="1095">
                  <c:v>45327</c:v>
                </c:pt>
                <c:pt idx="1096">
                  <c:v>45328</c:v>
                </c:pt>
                <c:pt idx="1097">
                  <c:v>45329</c:v>
                </c:pt>
                <c:pt idx="1098">
                  <c:v>45330</c:v>
                </c:pt>
                <c:pt idx="1099">
                  <c:v>45331</c:v>
                </c:pt>
                <c:pt idx="1100">
                  <c:v>45334</c:v>
                </c:pt>
                <c:pt idx="1101">
                  <c:v>45335</c:v>
                </c:pt>
                <c:pt idx="1102">
                  <c:v>45336</c:v>
                </c:pt>
                <c:pt idx="1103">
                  <c:v>45337</c:v>
                </c:pt>
                <c:pt idx="1104">
                  <c:v>45338</c:v>
                </c:pt>
                <c:pt idx="1105">
                  <c:v>45341</c:v>
                </c:pt>
                <c:pt idx="1106">
                  <c:v>45342</c:v>
                </c:pt>
                <c:pt idx="1107">
                  <c:v>45343</c:v>
                </c:pt>
                <c:pt idx="1108">
                  <c:v>45344</c:v>
                </c:pt>
                <c:pt idx="1109">
                  <c:v>45345</c:v>
                </c:pt>
                <c:pt idx="1110">
                  <c:v>45348</c:v>
                </c:pt>
                <c:pt idx="1111">
                  <c:v>45349</c:v>
                </c:pt>
                <c:pt idx="1112">
                  <c:v>45350</c:v>
                </c:pt>
                <c:pt idx="1113">
                  <c:v>45351</c:v>
                </c:pt>
                <c:pt idx="1114">
                  <c:v>45352</c:v>
                </c:pt>
                <c:pt idx="1115">
                  <c:v>45355</c:v>
                </c:pt>
                <c:pt idx="1116">
                  <c:v>45356</c:v>
                </c:pt>
                <c:pt idx="1117">
                  <c:v>45357</c:v>
                </c:pt>
                <c:pt idx="1118">
                  <c:v>45358</c:v>
                </c:pt>
                <c:pt idx="1119">
                  <c:v>45359</c:v>
                </c:pt>
                <c:pt idx="1120">
                  <c:v>45362</c:v>
                </c:pt>
                <c:pt idx="1121">
                  <c:v>45363</c:v>
                </c:pt>
                <c:pt idx="1122">
                  <c:v>45364</c:v>
                </c:pt>
                <c:pt idx="1123">
                  <c:v>45365</c:v>
                </c:pt>
                <c:pt idx="1124">
                  <c:v>45366</c:v>
                </c:pt>
                <c:pt idx="1125">
                  <c:v>45369</c:v>
                </c:pt>
                <c:pt idx="1126">
                  <c:v>45370</c:v>
                </c:pt>
                <c:pt idx="1127">
                  <c:v>45371</c:v>
                </c:pt>
                <c:pt idx="1128">
                  <c:v>45372</c:v>
                </c:pt>
                <c:pt idx="1129">
                  <c:v>45373</c:v>
                </c:pt>
                <c:pt idx="1130">
                  <c:v>45376</c:v>
                </c:pt>
                <c:pt idx="1131">
                  <c:v>45377</c:v>
                </c:pt>
                <c:pt idx="1132">
                  <c:v>45378</c:v>
                </c:pt>
                <c:pt idx="1133">
                  <c:v>45379</c:v>
                </c:pt>
                <c:pt idx="1134">
                  <c:v>45380</c:v>
                </c:pt>
                <c:pt idx="1135">
                  <c:v>45383</c:v>
                </c:pt>
                <c:pt idx="1136">
                  <c:v>45384</c:v>
                </c:pt>
                <c:pt idx="1137">
                  <c:v>45385</c:v>
                </c:pt>
                <c:pt idx="1138">
                  <c:v>45386</c:v>
                </c:pt>
                <c:pt idx="1139">
                  <c:v>45387</c:v>
                </c:pt>
                <c:pt idx="1140">
                  <c:v>45390</c:v>
                </c:pt>
                <c:pt idx="1141">
                  <c:v>45391</c:v>
                </c:pt>
                <c:pt idx="1142">
                  <c:v>45392</c:v>
                </c:pt>
                <c:pt idx="1143">
                  <c:v>45393</c:v>
                </c:pt>
                <c:pt idx="1144">
                  <c:v>45394</c:v>
                </c:pt>
                <c:pt idx="1145">
                  <c:v>45397</c:v>
                </c:pt>
                <c:pt idx="1146">
                  <c:v>45398</c:v>
                </c:pt>
                <c:pt idx="1147">
                  <c:v>45399</c:v>
                </c:pt>
                <c:pt idx="1148">
                  <c:v>45400</c:v>
                </c:pt>
                <c:pt idx="1149">
                  <c:v>45401</c:v>
                </c:pt>
                <c:pt idx="1150">
                  <c:v>45404</c:v>
                </c:pt>
                <c:pt idx="1151">
                  <c:v>45405</c:v>
                </c:pt>
                <c:pt idx="1152">
                  <c:v>45406</c:v>
                </c:pt>
                <c:pt idx="1153">
                  <c:v>45407</c:v>
                </c:pt>
                <c:pt idx="1154">
                  <c:v>45408</c:v>
                </c:pt>
                <c:pt idx="1155">
                  <c:v>45411</c:v>
                </c:pt>
                <c:pt idx="1156">
                  <c:v>45412</c:v>
                </c:pt>
                <c:pt idx="1157">
                  <c:v>45413</c:v>
                </c:pt>
                <c:pt idx="1158">
                  <c:v>45414</c:v>
                </c:pt>
                <c:pt idx="1159">
                  <c:v>45415</c:v>
                </c:pt>
                <c:pt idx="1160">
                  <c:v>45418</c:v>
                </c:pt>
                <c:pt idx="1161">
                  <c:v>45419</c:v>
                </c:pt>
                <c:pt idx="1162">
                  <c:v>45420</c:v>
                </c:pt>
                <c:pt idx="1163">
                  <c:v>45421</c:v>
                </c:pt>
                <c:pt idx="1164">
                  <c:v>45422</c:v>
                </c:pt>
                <c:pt idx="1165">
                  <c:v>45425</c:v>
                </c:pt>
                <c:pt idx="1166">
                  <c:v>45426</c:v>
                </c:pt>
                <c:pt idx="1167">
                  <c:v>45427</c:v>
                </c:pt>
                <c:pt idx="1168">
                  <c:v>45428</c:v>
                </c:pt>
                <c:pt idx="1169">
                  <c:v>45429</c:v>
                </c:pt>
                <c:pt idx="1170">
                  <c:v>45432</c:v>
                </c:pt>
                <c:pt idx="1171">
                  <c:v>45433</c:v>
                </c:pt>
                <c:pt idx="1172">
                  <c:v>45434</c:v>
                </c:pt>
                <c:pt idx="1173">
                  <c:v>45435</c:v>
                </c:pt>
                <c:pt idx="1174">
                  <c:v>45436</c:v>
                </c:pt>
                <c:pt idx="1175">
                  <c:v>45439</c:v>
                </c:pt>
                <c:pt idx="1176">
                  <c:v>45440</c:v>
                </c:pt>
                <c:pt idx="1177">
                  <c:v>45441</c:v>
                </c:pt>
                <c:pt idx="1178">
                  <c:v>45442</c:v>
                </c:pt>
                <c:pt idx="1179">
                  <c:v>45443</c:v>
                </c:pt>
                <c:pt idx="1180">
                  <c:v>45446</c:v>
                </c:pt>
                <c:pt idx="1181">
                  <c:v>45447</c:v>
                </c:pt>
                <c:pt idx="1182">
                  <c:v>45448</c:v>
                </c:pt>
                <c:pt idx="1183">
                  <c:v>45449</c:v>
                </c:pt>
                <c:pt idx="1184">
                  <c:v>45450</c:v>
                </c:pt>
                <c:pt idx="1185">
                  <c:v>45453</c:v>
                </c:pt>
                <c:pt idx="1186">
                  <c:v>45454</c:v>
                </c:pt>
                <c:pt idx="1187">
                  <c:v>45455</c:v>
                </c:pt>
                <c:pt idx="1188">
                  <c:v>45456</c:v>
                </c:pt>
                <c:pt idx="1189">
                  <c:v>45457</c:v>
                </c:pt>
                <c:pt idx="1190">
                  <c:v>45460</c:v>
                </c:pt>
                <c:pt idx="1191">
                  <c:v>45461</c:v>
                </c:pt>
                <c:pt idx="1192">
                  <c:v>45462</c:v>
                </c:pt>
                <c:pt idx="1193">
                  <c:v>45463</c:v>
                </c:pt>
                <c:pt idx="1194">
                  <c:v>45464</c:v>
                </c:pt>
                <c:pt idx="1195">
                  <c:v>45467</c:v>
                </c:pt>
                <c:pt idx="1196">
                  <c:v>45468</c:v>
                </c:pt>
                <c:pt idx="1197">
                  <c:v>45469</c:v>
                </c:pt>
                <c:pt idx="1198">
                  <c:v>45470</c:v>
                </c:pt>
                <c:pt idx="1199">
                  <c:v>45471</c:v>
                </c:pt>
                <c:pt idx="1200">
                  <c:v>45474</c:v>
                </c:pt>
                <c:pt idx="1201">
                  <c:v>45475</c:v>
                </c:pt>
                <c:pt idx="1202">
                  <c:v>45476</c:v>
                </c:pt>
                <c:pt idx="1203">
                  <c:v>45477</c:v>
                </c:pt>
                <c:pt idx="1204">
                  <c:v>45478</c:v>
                </c:pt>
                <c:pt idx="1205">
                  <c:v>45481</c:v>
                </c:pt>
                <c:pt idx="1206">
                  <c:v>45482</c:v>
                </c:pt>
                <c:pt idx="1207">
                  <c:v>45483</c:v>
                </c:pt>
                <c:pt idx="1208">
                  <c:v>45484</c:v>
                </c:pt>
                <c:pt idx="1209">
                  <c:v>45485</c:v>
                </c:pt>
                <c:pt idx="1210">
                  <c:v>45488</c:v>
                </c:pt>
                <c:pt idx="1211">
                  <c:v>45489</c:v>
                </c:pt>
                <c:pt idx="1212">
                  <c:v>45490</c:v>
                </c:pt>
                <c:pt idx="1213">
                  <c:v>45491</c:v>
                </c:pt>
                <c:pt idx="1214">
                  <c:v>45492</c:v>
                </c:pt>
                <c:pt idx="1215">
                  <c:v>45495</c:v>
                </c:pt>
                <c:pt idx="1216">
                  <c:v>45496</c:v>
                </c:pt>
                <c:pt idx="1217">
                  <c:v>45497</c:v>
                </c:pt>
                <c:pt idx="1218">
                  <c:v>45498</c:v>
                </c:pt>
                <c:pt idx="1219">
                  <c:v>45499</c:v>
                </c:pt>
                <c:pt idx="1220">
                  <c:v>45502</c:v>
                </c:pt>
                <c:pt idx="1221">
                  <c:v>45503</c:v>
                </c:pt>
                <c:pt idx="1222">
                  <c:v>45504</c:v>
                </c:pt>
                <c:pt idx="1223">
                  <c:v>45505</c:v>
                </c:pt>
                <c:pt idx="1224">
                  <c:v>45506</c:v>
                </c:pt>
                <c:pt idx="1225">
                  <c:v>45509</c:v>
                </c:pt>
                <c:pt idx="1226">
                  <c:v>45510</c:v>
                </c:pt>
                <c:pt idx="1227">
                  <c:v>45511</c:v>
                </c:pt>
                <c:pt idx="1228">
                  <c:v>45512</c:v>
                </c:pt>
                <c:pt idx="1229">
                  <c:v>45513</c:v>
                </c:pt>
                <c:pt idx="1230">
                  <c:v>45516</c:v>
                </c:pt>
                <c:pt idx="1231">
                  <c:v>45517</c:v>
                </c:pt>
                <c:pt idx="1232">
                  <c:v>45518</c:v>
                </c:pt>
                <c:pt idx="1233">
                  <c:v>45519</c:v>
                </c:pt>
                <c:pt idx="1234">
                  <c:v>45520</c:v>
                </c:pt>
                <c:pt idx="1235">
                  <c:v>45523</c:v>
                </c:pt>
                <c:pt idx="1236">
                  <c:v>45524</c:v>
                </c:pt>
                <c:pt idx="1237">
                  <c:v>45525</c:v>
                </c:pt>
                <c:pt idx="1238">
                  <c:v>45526</c:v>
                </c:pt>
                <c:pt idx="1239">
                  <c:v>45527</c:v>
                </c:pt>
                <c:pt idx="1240">
                  <c:v>45530</c:v>
                </c:pt>
                <c:pt idx="1241">
                  <c:v>45531</c:v>
                </c:pt>
                <c:pt idx="1242">
                  <c:v>45532</c:v>
                </c:pt>
                <c:pt idx="1243">
                  <c:v>45533</c:v>
                </c:pt>
                <c:pt idx="1244">
                  <c:v>45534</c:v>
                </c:pt>
                <c:pt idx="1245">
                  <c:v>45537</c:v>
                </c:pt>
                <c:pt idx="1246">
                  <c:v>45538</c:v>
                </c:pt>
                <c:pt idx="1247">
                  <c:v>45539</c:v>
                </c:pt>
                <c:pt idx="1248">
                  <c:v>45540</c:v>
                </c:pt>
                <c:pt idx="1249">
                  <c:v>45541</c:v>
                </c:pt>
                <c:pt idx="1250">
                  <c:v>45544</c:v>
                </c:pt>
                <c:pt idx="1251">
                  <c:v>45545</c:v>
                </c:pt>
                <c:pt idx="1252">
                  <c:v>45546</c:v>
                </c:pt>
                <c:pt idx="1253">
                  <c:v>45547</c:v>
                </c:pt>
                <c:pt idx="1254">
                  <c:v>45548</c:v>
                </c:pt>
                <c:pt idx="1255">
                  <c:v>45551</c:v>
                </c:pt>
                <c:pt idx="1256">
                  <c:v>45552</c:v>
                </c:pt>
                <c:pt idx="1257">
                  <c:v>45553</c:v>
                </c:pt>
                <c:pt idx="1258">
                  <c:v>45554</c:v>
                </c:pt>
                <c:pt idx="1259">
                  <c:v>45555</c:v>
                </c:pt>
                <c:pt idx="1260">
                  <c:v>45558</c:v>
                </c:pt>
                <c:pt idx="1261">
                  <c:v>45559</c:v>
                </c:pt>
                <c:pt idx="1262">
                  <c:v>45560</c:v>
                </c:pt>
                <c:pt idx="1263">
                  <c:v>45561</c:v>
                </c:pt>
                <c:pt idx="1264">
                  <c:v>45562</c:v>
                </c:pt>
                <c:pt idx="1265">
                  <c:v>45565</c:v>
                </c:pt>
                <c:pt idx="1266">
                  <c:v>45566</c:v>
                </c:pt>
                <c:pt idx="1267">
                  <c:v>45567</c:v>
                </c:pt>
                <c:pt idx="1268">
                  <c:v>45568</c:v>
                </c:pt>
                <c:pt idx="1269">
                  <c:v>45569</c:v>
                </c:pt>
                <c:pt idx="1270">
                  <c:v>45572</c:v>
                </c:pt>
                <c:pt idx="1271">
                  <c:v>45573</c:v>
                </c:pt>
                <c:pt idx="1272">
                  <c:v>45574</c:v>
                </c:pt>
                <c:pt idx="1273">
                  <c:v>45575</c:v>
                </c:pt>
                <c:pt idx="1274">
                  <c:v>45576</c:v>
                </c:pt>
                <c:pt idx="1275">
                  <c:v>45579</c:v>
                </c:pt>
                <c:pt idx="1276">
                  <c:v>45580</c:v>
                </c:pt>
                <c:pt idx="1277">
                  <c:v>45581</c:v>
                </c:pt>
                <c:pt idx="1278">
                  <c:v>45582</c:v>
                </c:pt>
                <c:pt idx="1279">
                  <c:v>45583</c:v>
                </c:pt>
                <c:pt idx="1280">
                  <c:v>45586</c:v>
                </c:pt>
                <c:pt idx="1281">
                  <c:v>45587</c:v>
                </c:pt>
                <c:pt idx="1282">
                  <c:v>45588</c:v>
                </c:pt>
                <c:pt idx="1283">
                  <c:v>45589</c:v>
                </c:pt>
                <c:pt idx="1284">
                  <c:v>45590</c:v>
                </c:pt>
                <c:pt idx="1285">
                  <c:v>45593</c:v>
                </c:pt>
                <c:pt idx="1286">
                  <c:v>45594</c:v>
                </c:pt>
                <c:pt idx="1287">
                  <c:v>45595</c:v>
                </c:pt>
                <c:pt idx="1288">
                  <c:v>45596</c:v>
                </c:pt>
                <c:pt idx="1289">
                  <c:v>45597</c:v>
                </c:pt>
                <c:pt idx="1290">
                  <c:v>45600</c:v>
                </c:pt>
                <c:pt idx="1291">
                  <c:v>45601</c:v>
                </c:pt>
                <c:pt idx="1292">
                  <c:v>45602</c:v>
                </c:pt>
                <c:pt idx="1293">
                  <c:v>45603</c:v>
                </c:pt>
                <c:pt idx="1294">
                  <c:v>45604</c:v>
                </c:pt>
                <c:pt idx="1295">
                  <c:v>45607</c:v>
                </c:pt>
                <c:pt idx="1296">
                  <c:v>45608</c:v>
                </c:pt>
                <c:pt idx="1297">
                  <c:v>45609</c:v>
                </c:pt>
                <c:pt idx="1298">
                  <c:v>45610</c:v>
                </c:pt>
                <c:pt idx="1299">
                  <c:v>45611</c:v>
                </c:pt>
                <c:pt idx="1300">
                  <c:v>45614</c:v>
                </c:pt>
                <c:pt idx="1301">
                  <c:v>45615</c:v>
                </c:pt>
                <c:pt idx="1302">
                  <c:v>45616</c:v>
                </c:pt>
                <c:pt idx="1303">
                  <c:v>45617</c:v>
                </c:pt>
                <c:pt idx="1304">
                  <c:v>45618</c:v>
                </c:pt>
                <c:pt idx="1305">
                  <c:v>45621</c:v>
                </c:pt>
              </c:numCache>
            </c:numRef>
          </c:cat>
          <c:val>
            <c:numRef>
              <c:f>'10y-2y'!$H$8:$H$1313</c:f>
              <c:numCache>
                <c:formatCode>General</c:formatCode>
                <c:ptCount val="1306"/>
                <c:pt idx="0">
                  <c:v>14.599999999999991</c:v>
                </c:pt>
                <c:pt idx="1">
                  <c:v>15.399999999999991</c:v>
                </c:pt>
                <c:pt idx="2">
                  <c:v>14.100000000000001</c:v>
                </c:pt>
                <c:pt idx="3">
                  <c:v>14.100000000000001</c:v>
                </c:pt>
                <c:pt idx="4">
                  <c:v>17.399999999999991</c:v>
                </c:pt>
                <c:pt idx="5">
                  <c:v>22.199999999999996</c:v>
                </c:pt>
                <c:pt idx="6">
                  <c:v>17.700000000000003</c:v>
                </c:pt>
                <c:pt idx="7">
                  <c:v>19.699999999999985</c:v>
                </c:pt>
                <c:pt idx="8">
                  <c:v>21.299999999999986</c:v>
                </c:pt>
                <c:pt idx="9">
                  <c:v>22.199999999999996</c:v>
                </c:pt>
                <c:pt idx="10">
                  <c:v>20.399999999999995</c:v>
                </c:pt>
                <c:pt idx="11">
                  <c:v>17.900000000000006</c:v>
                </c:pt>
                <c:pt idx="12">
                  <c:v>17.500000000000004</c:v>
                </c:pt>
                <c:pt idx="13">
                  <c:v>22.900000000000009</c:v>
                </c:pt>
                <c:pt idx="14">
                  <c:v>21.699999999999985</c:v>
                </c:pt>
                <c:pt idx="15">
                  <c:v>24.4</c:v>
                </c:pt>
                <c:pt idx="16">
                  <c:v>25.6</c:v>
                </c:pt>
                <c:pt idx="17">
                  <c:v>29.099999999999994</c:v>
                </c:pt>
                <c:pt idx="18">
                  <c:v>28.699999999999992</c:v>
                </c:pt>
                <c:pt idx="19">
                  <c:v>28.800000000000004</c:v>
                </c:pt>
                <c:pt idx="20">
                  <c:v>28.100000000000016</c:v>
                </c:pt>
                <c:pt idx="21">
                  <c:v>26.899999999999991</c:v>
                </c:pt>
                <c:pt idx="22">
                  <c:v>26.899999999999991</c:v>
                </c:pt>
                <c:pt idx="23">
                  <c:v>26.8</c:v>
                </c:pt>
                <c:pt idx="24">
                  <c:v>28.400000000000002</c:v>
                </c:pt>
                <c:pt idx="25">
                  <c:v>32.200000000000003</c:v>
                </c:pt>
                <c:pt idx="26">
                  <c:v>34.9</c:v>
                </c:pt>
                <c:pt idx="27">
                  <c:v>34.9</c:v>
                </c:pt>
                <c:pt idx="28">
                  <c:v>30.699999999999996</c:v>
                </c:pt>
                <c:pt idx="29">
                  <c:v>26.300000000000011</c:v>
                </c:pt>
                <c:pt idx="30">
                  <c:v>26.400000000000002</c:v>
                </c:pt>
                <c:pt idx="31">
                  <c:v>27.899999999999991</c:v>
                </c:pt>
                <c:pt idx="32">
                  <c:v>29.100000000000016</c:v>
                </c:pt>
                <c:pt idx="33">
                  <c:v>28.200000000000003</c:v>
                </c:pt>
                <c:pt idx="34">
                  <c:v>25.499999999999989</c:v>
                </c:pt>
                <c:pt idx="35">
                  <c:v>26.200000000000003</c:v>
                </c:pt>
                <c:pt idx="36">
                  <c:v>24</c:v>
                </c:pt>
                <c:pt idx="37">
                  <c:v>22.599999999999998</c:v>
                </c:pt>
                <c:pt idx="38">
                  <c:v>24.099999999999987</c:v>
                </c:pt>
                <c:pt idx="39">
                  <c:v>26.6</c:v>
                </c:pt>
                <c:pt idx="40">
                  <c:v>26.6</c:v>
                </c:pt>
                <c:pt idx="41">
                  <c:v>23.699999999999989</c:v>
                </c:pt>
                <c:pt idx="42">
                  <c:v>24.499999999999989</c:v>
                </c:pt>
                <c:pt idx="43">
                  <c:v>22.100000000000009</c:v>
                </c:pt>
                <c:pt idx="44">
                  <c:v>19.399999999999995</c:v>
                </c:pt>
                <c:pt idx="45">
                  <c:v>16.199999999999992</c:v>
                </c:pt>
                <c:pt idx="46">
                  <c:v>18.399999999999995</c:v>
                </c:pt>
                <c:pt idx="47">
                  <c:v>17.500000000000004</c:v>
                </c:pt>
                <c:pt idx="48">
                  <c:v>16.399999999999991</c:v>
                </c:pt>
                <c:pt idx="49">
                  <c:v>18.999999999999993</c:v>
                </c:pt>
                <c:pt idx="50">
                  <c:v>16.700000000000003</c:v>
                </c:pt>
                <c:pt idx="51">
                  <c:v>18.599999999999994</c:v>
                </c:pt>
                <c:pt idx="52">
                  <c:v>20.799999999999997</c:v>
                </c:pt>
                <c:pt idx="53">
                  <c:v>19.699999999999985</c:v>
                </c:pt>
                <c:pt idx="54">
                  <c:v>17.799999999999994</c:v>
                </c:pt>
                <c:pt idx="55">
                  <c:v>16.999999999999993</c:v>
                </c:pt>
                <c:pt idx="56">
                  <c:v>17.300000000000004</c:v>
                </c:pt>
                <c:pt idx="57">
                  <c:v>18.799999999999994</c:v>
                </c:pt>
                <c:pt idx="58">
                  <c:v>17.500000000000004</c:v>
                </c:pt>
                <c:pt idx="59">
                  <c:v>16.400000000000013</c:v>
                </c:pt>
                <c:pt idx="60">
                  <c:v>16.400000000000013</c:v>
                </c:pt>
                <c:pt idx="61">
                  <c:v>14.600000000000012</c:v>
                </c:pt>
                <c:pt idx="62">
                  <c:v>14.400000000000013</c:v>
                </c:pt>
                <c:pt idx="63">
                  <c:v>12.999999999999989</c:v>
                </c:pt>
                <c:pt idx="64">
                  <c:v>11.999999999999989</c:v>
                </c:pt>
                <c:pt idx="65">
                  <c:v>11.099999999999998</c:v>
                </c:pt>
                <c:pt idx="66">
                  <c:v>12.600000000000012</c:v>
                </c:pt>
                <c:pt idx="67">
                  <c:v>16.500000000000004</c:v>
                </c:pt>
                <c:pt idx="68">
                  <c:v>19.599999999999994</c:v>
                </c:pt>
                <c:pt idx="69">
                  <c:v>24.79999999999999</c:v>
                </c:pt>
                <c:pt idx="70">
                  <c:v>26.200000000000014</c:v>
                </c:pt>
                <c:pt idx="71">
                  <c:v>28.799999999999994</c:v>
                </c:pt>
                <c:pt idx="72">
                  <c:v>35.299999999999997</c:v>
                </c:pt>
                <c:pt idx="73">
                  <c:v>34.000000000000007</c:v>
                </c:pt>
                <c:pt idx="74">
                  <c:v>23</c:v>
                </c:pt>
                <c:pt idx="75">
                  <c:v>15.100000000000001</c:v>
                </c:pt>
                <c:pt idx="76">
                  <c:v>26.5</c:v>
                </c:pt>
                <c:pt idx="77">
                  <c:v>32.599999999999994</c:v>
                </c:pt>
                <c:pt idx="78">
                  <c:v>36.299999999999997</c:v>
                </c:pt>
                <c:pt idx="79">
                  <c:v>46.199999999999996</c:v>
                </c:pt>
                <c:pt idx="80">
                  <c:v>36.799999999999997</c:v>
                </c:pt>
                <c:pt idx="81">
                  <c:v>53.499999999999993</c:v>
                </c:pt>
                <c:pt idx="82">
                  <c:v>72.8</c:v>
                </c:pt>
                <c:pt idx="83">
                  <c:v>70.8</c:v>
                </c:pt>
                <c:pt idx="84">
                  <c:v>57.199999999999996</c:v>
                </c:pt>
                <c:pt idx="85">
                  <c:v>47.300000000000004</c:v>
                </c:pt>
                <c:pt idx="86">
                  <c:v>42.8</c:v>
                </c:pt>
                <c:pt idx="87">
                  <c:v>53</c:v>
                </c:pt>
                <c:pt idx="88">
                  <c:v>53.5</c:v>
                </c:pt>
                <c:pt idx="89">
                  <c:v>48.3</c:v>
                </c:pt>
                <c:pt idx="90">
                  <c:v>44.300000000000004</c:v>
                </c:pt>
                <c:pt idx="91">
                  <c:v>47.099999999999994</c:v>
                </c:pt>
                <c:pt idx="92">
                  <c:v>40.1</c:v>
                </c:pt>
                <c:pt idx="93">
                  <c:v>40.700000000000003</c:v>
                </c:pt>
                <c:pt idx="94">
                  <c:v>37.6</c:v>
                </c:pt>
                <c:pt idx="95">
                  <c:v>41</c:v>
                </c:pt>
                <c:pt idx="96">
                  <c:v>45.2</c:v>
                </c:pt>
                <c:pt idx="97">
                  <c:v>50.8</c:v>
                </c:pt>
                <c:pt idx="98">
                  <c:v>49.7</c:v>
                </c:pt>
                <c:pt idx="99">
                  <c:v>49.7</c:v>
                </c:pt>
                <c:pt idx="100">
                  <c:v>50.6</c:v>
                </c:pt>
                <c:pt idx="101">
                  <c:v>52.5</c:v>
                </c:pt>
                <c:pt idx="102">
                  <c:v>43.600000000000009</c:v>
                </c:pt>
                <c:pt idx="103">
                  <c:v>40.799999999999997</c:v>
                </c:pt>
                <c:pt idx="104">
                  <c:v>45.000000000000007</c:v>
                </c:pt>
                <c:pt idx="105">
                  <c:v>42.4</c:v>
                </c:pt>
                <c:pt idx="106">
                  <c:v>36.6</c:v>
                </c:pt>
                <c:pt idx="107">
                  <c:v>40.800000000000004</c:v>
                </c:pt>
                <c:pt idx="108">
                  <c:v>39.200000000000003</c:v>
                </c:pt>
                <c:pt idx="109">
                  <c:v>38</c:v>
                </c:pt>
                <c:pt idx="110">
                  <c:v>42.800000000000004</c:v>
                </c:pt>
                <c:pt idx="111">
                  <c:v>40.1</c:v>
                </c:pt>
                <c:pt idx="112">
                  <c:v>42.8</c:v>
                </c:pt>
                <c:pt idx="113">
                  <c:v>43.7</c:v>
                </c:pt>
                <c:pt idx="114">
                  <c:v>43.8</c:v>
                </c:pt>
                <c:pt idx="115">
                  <c:v>45.5</c:v>
                </c:pt>
                <c:pt idx="116">
                  <c:v>47.1</c:v>
                </c:pt>
                <c:pt idx="117">
                  <c:v>53.099999999999994</c:v>
                </c:pt>
                <c:pt idx="118">
                  <c:v>50.2</c:v>
                </c:pt>
                <c:pt idx="119">
                  <c:v>53.2</c:v>
                </c:pt>
                <c:pt idx="120">
                  <c:v>54.499999999999993</c:v>
                </c:pt>
                <c:pt idx="121">
                  <c:v>50.6</c:v>
                </c:pt>
                <c:pt idx="122">
                  <c:v>49</c:v>
                </c:pt>
                <c:pt idx="123">
                  <c:v>47</c:v>
                </c:pt>
                <c:pt idx="124">
                  <c:v>49.1</c:v>
                </c:pt>
                <c:pt idx="125">
                  <c:v>55.899999999999991</c:v>
                </c:pt>
                <c:pt idx="126">
                  <c:v>53.800000000000004</c:v>
                </c:pt>
                <c:pt idx="127">
                  <c:v>51.800000000000004</c:v>
                </c:pt>
                <c:pt idx="128">
                  <c:v>51</c:v>
                </c:pt>
                <c:pt idx="129">
                  <c:v>49.1</c:v>
                </c:pt>
                <c:pt idx="130">
                  <c:v>49.1</c:v>
                </c:pt>
                <c:pt idx="131">
                  <c:v>52</c:v>
                </c:pt>
                <c:pt idx="132">
                  <c:v>49.500000000000007</c:v>
                </c:pt>
                <c:pt idx="133">
                  <c:v>52.899999999999991</c:v>
                </c:pt>
                <c:pt idx="134">
                  <c:v>48.8</c:v>
                </c:pt>
                <c:pt idx="135">
                  <c:v>50.4</c:v>
                </c:pt>
                <c:pt idx="136">
                  <c:v>51.2</c:v>
                </c:pt>
                <c:pt idx="137">
                  <c:v>56.099999999999994</c:v>
                </c:pt>
                <c:pt idx="138">
                  <c:v>62.599999999999987</c:v>
                </c:pt>
                <c:pt idx="139">
                  <c:v>68.900000000000006</c:v>
                </c:pt>
                <c:pt idx="140">
                  <c:v>65.400000000000006</c:v>
                </c:pt>
                <c:pt idx="141">
                  <c:v>62.3</c:v>
                </c:pt>
                <c:pt idx="142">
                  <c:v>56.899999999999991</c:v>
                </c:pt>
                <c:pt idx="143">
                  <c:v>47.400000000000006</c:v>
                </c:pt>
                <c:pt idx="144">
                  <c:v>50.8</c:v>
                </c:pt>
                <c:pt idx="145">
                  <c:v>51.29999999999999</c:v>
                </c:pt>
                <c:pt idx="146">
                  <c:v>55.099999999999994</c:v>
                </c:pt>
                <c:pt idx="147">
                  <c:v>53.6</c:v>
                </c:pt>
                <c:pt idx="148">
                  <c:v>49.899999999999991</c:v>
                </c:pt>
                <c:pt idx="149">
                  <c:v>51.099999999999987</c:v>
                </c:pt>
                <c:pt idx="150">
                  <c:v>51.2</c:v>
                </c:pt>
                <c:pt idx="151">
                  <c:v>51.699999999999989</c:v>
                </c:pt>
                <c:pt idx="152">
                  <c:v>49.600000000000009</c:v>
                </c:pt>
                <c:pt idx="153">
                  <c:v>49.000000000000007</c:v>
                </c:pt>
                <c:pt idx="154">
                  <c:v>47</c:v>
                </c:pt>
                <c:pt idx="155">
                  <c:v>47.599999999999994</c:v>
                </c:pt>
                <c:pt idx="156">
                  <c:v>49.9</c:v>
                </c:pt>
                <c:pt idx="157">
                  <c:v>51.800000000000004</c:v>
                </c:pt>
                <c:pt idx="158">
                  <c:v>51.6</c:v>
                </c:pt>
                <c:pt idx="159">
                  <c:v>51.6</c:v>
                </c:pt>
                <c:pt idx="160">
                  <c:v>52.300000000000004</c:v>
                </c:pt>
                <c:pt idx="161">
                  <c:v>48.3</c:v>
                </c:pt>
                <c:pt idx="162">
                  <c:v>49.8</c:v>
                </c:pt>
                <c:pt idx="163">
                  <c:v>45.4</c:v>
                </c:pt>
                <c:pt idx="164">
                  <c:v>47.8</c:v>
                </c:pt>
                <c:pt idx="165">
                  <c:v>48.1</c:v>
                </c:pt>
                <c:pt idx="166">
                  <c:v>45.9</c:v>
                </c:pt>
                <c:pt idx="167">
                  <c:v>47.5</c:v>
                </c:pt>
                <c:pt idx="168">
                  <c:v>46.5</c:v>
                </c:pt>
                <c:pt idx="169">
                  <c:v>48.1</c:v>
                </c:pt>
                <c:pt idx="170">
                  <c:v>47.099999999999994</c:v>
                </c:pt>
                <c:pt idx="171">
                  <c:v>46.4</c:v>
                </c:pt>
                <c:pt idx="172">
                  <c:v>44.8</c:v>
                </c:pt>
                <c:pt idx="173">
                  <c:v>43.3</c:v>
                </c:pt>
                <c:pt idx="174">
                  <c:v>43.999999999999993</c:v>
                </c:pt>
                <c:pt idx="175">
                  <c:v>45.3</c:v>
                </c:pt>
                <c:pt idx="176">
                  <c:v>43.8</c:v>
                </c:pt>
                <c:pt idx="177">
                  <c:v>45.199999999999996</c:v>
                </c:pt>
                <c:pt idx="178">
                  <c:v>42.000000000000007</c:v>
                </c:pt>
                <c:pt idx="179">
                  <c:v>42.500000000000007</c:v>
                </c:pt>
                <c:pt idx="180">
                  <c:v>44.8</c:v>
                </c:pt>
                <c:pt idx="181">
                  <c:v>40.200000000000003</c:v>
                </c:pt>
                <c:pt idx="182">
                  <c:v>42.6</c:v>
                </c:pt>
                <c:pt idx="183">
                  <c:v>41.900000000000006</c:v>
                </c:pt>
                <c:pt idx="184">
                  <c:v>43.500000000000007</c:v>
                </c:pt>
                <c:pt idx="185">
                  <c:v>44.3</c:v>
                </c:pt>
                <c:pt idx="186">
                  <c:v>49.7</c:v>
                </c:pt>
                <c:pt idx="187">
                  <c:v>51.1</c:v>
                </c:pt>
                <c:pt idx="188">
                  <c:v>55.099999999999994</c:v>
                </c:pt>
                <c:pt idx="189">
                  <c:v>55.999999999999993</c:v>
                </c:pt>
                <c:pt idx="190">
                  <c:v>53.2</c:v>
                </c:pt>
                <c:pt idx="191">
                  <c:v>52.400000000000006</c:v>
                </c:pt>
                <c:pt idx="192">
                  <c:v>53.400000000000006</c:v>
                </c:pt>
                <c:pt idx="193">
                  <c:v>50.3</c:v>
                </c:pt>
                <c:pt idx="194">
                  <c:v>49.3</c:v>
                </c:pt>
                <c:pt idx="195">
                  <c:v>49.3</c:v>
                </c:pt>
                <c:pt idx="196">
                  <c:v>52.900000000000006</c:v>
                </c:pt>
                <c:pt idx="197">
                  <c:v>53.300000000000004</c:v>
                </c:pt>
                <c:pt idx="198">
                  <c:v>58.8</c:v>
                </c:pt>
                <c:pt idx="199">
                  <c:v>59.4</c:v>
                </c:pt>
                <c:pt idx="200">
                  <c:v>56.199999999999996</c:v>
                </c:pt>
                <c:pt idx="201">
                  <c:v>53.800000000000004</c:v>
                </c:pt>
                <c:pt idx="202">
                  <c:v>51.4</c:v>
                </c:pt>
                <c:pt idx="203">
                  <c:v>49.7</c:v>
                </c:pt>
                <c:pt idx="204">
                  <c:v>57.199999999999996</c:v>
                </c:pt>
                <c:pt idx="205">
                  <c:v>57.199999999999996</c:v>
                </c:pt>
                <c:pt idx="206">
                  <c:v>54.300000000000004</c:v>
                </c:pt>
                <c:pt idx="207">
                  <c:v>55.8</c:v>
                </c:pt>
                <c:pt idx="208">
                  <c:v>54.300000000000004</c:v>
                </c:pt>
                <c:pt idx="209">
                  <c:v>53.800000000000004</c:v>
                </c:pt>
                <c:pt idx="210">
                  <c:v>53.2</c:v>
                </c:pt>
                <c:pt idx="211">
                  <c:v>54</c:v>
                </c:pt>
                <c:pt idx="212">
                  <c:v>54.800000000000004</c:v>
                </c:pt>
                <c:pt idx="213">
                  <c:v>54.900000000000006</c:v>
                </c:pt>
                <c:pt idx="214">
                  <c:v>55.499999999999993</c:v>
                </c:pt>
                <c:pt idx="215">
                  <c:v>53.400000000000006</c:v>
                </c:pt>
                <c:pt idx="216">
                  <c:v>52.900000000000006</c:v>
                </c:pt>
                <c:pt idx="217">
                  <c:v>53.7</c:v>
                </c:pt>
                <c:pt idx="218">
                  <c:v>52.900000000000006</c:v>
                </c:pt>
                <c:pt idx="219">
                  <c:v>52.800000000000004</c:v>
                </c:pt>
                <c:pt idx="220">
                  <c:v>53.2</c:v>
                </c:pt>
                <c:pt idx="221">
                  <c:v>52</c:v>
                </c:pt>
                <c:pt idx="222">
                  <c:v>55.2</c:v>
                </c:pt>
                <c:pt idx="223">
                  <c:v>54.6</c:v>
                </c:pt>
                <c:pt idx="224">
                  <c:v>56.099999999999994</c:v>
                </c:pt>
                <c:pt idx="225">
                  <c:v>61.7</c:v>
                </c:pt>
                <c:pt idx="226">
                  <c:v>59.3</c:v>
                </c:pt>
                <c:pt idx="227">
                  <c:v>62.8</c:v>
                </c:pt>
                <c:pt idx="228">
                  <c:v>62</c:v>
                </c:pt>
                <c:pt idx="229">
                  <c:v>62.2</c:v>
                </c:pt>
                <c:pt idx="230">
                  <c:v>62.2</c:v>
                </c:pt>
                <c:pt idx="231">
                  <c:v>58.599999999999994</c:v>
                </c:pt>
                <c:pt idx="232">
                  <c:v>58.3</c:v>
                </c:pt>
                <c:pt idx="233">
                  <c:v>59.3</c:v>
                </c:pt>
                <c:pt idx="234">
                  <c:v>59.9</c:v>
                </c:pt>
                <c:pt idx="235">
                  <c:v>61.5</c:v>
                </c:pt>
                <c:pt idx="236">
                  <c:v>65</c:v>
                </c:pt>
                <c:pt idx="237">
                  <c:v>66.699999999999989</c:v>
                </c:pt>
                <c:pt idx="238">
                  <c:v>69.3</c:v>
                </c:pt>
                <c:pt idx="239">
                  <c:v>68.599999999999994</c:v>
                </c:pt>
                <c:pt idx="240">
                  <c:v>65.400000000000006</c:v>
                </c:pt>
                <c:pt idx="241">
                  <c:v>62.9</c:v>
                </c:pt>
                <c:pt idx="242">
                  <c:v>63.1</c:v>
                </c:pt>
                <c:pt idx="243">
                  <c:v>68.399999999999991</c:v>
                </c:pt>
                <c:pt idx="244">
                  <c:v>70.7</c:v>
                </c:pt>
                <c:pt idx="245">
                  <c:v>69</c:v>
                </c:pt>
                <c:pt idx="246">
                  <c:v>71.3</c:v>
                </c:pt>
                <c:pt idx="247">
                  <c:v>62.3</c:v>
                </c:pt>
                <c:pt idx="248">
                  <c:v>62.7</c:v>
                </c:pt>
                <c:pt idx="249">
                  <c:v>66.499999999999986</c:v>
                </c:pt>
                <c:pt idx="250">
                  <c:v>77.499999999999986</c:v>
                </c:pt>
                <c:pt idx="251">
                  <c:v>78.699999999999989</c:v>
                </c:pt>
                <c:pt idx="252">
                  <c:v>78.699999999999989</c:v>
                </c:pt>
                <c:pt idx="253">
                  <c:v>70.900000000000006</c:v>
                </c:pt>
                <c:pt idx="254">
                  <c:v>71.399999999999991</c:v>
                </c:pt>
                <c:pt idx="255">
                  <c:v>72.7</c:v>
                </c:pt>
                <c:pt idx="256">
                  <c:v>69.7</c:v>
                </c:pt>
                <c:pt idx="257">
                  <c:v>70.7</c:v>
                </c:pt>
                <c:pt idx="258">
                  <c:v>68.599999999999994</c:v>
                </c:pt>
                <c:pt idx="259">
                  <c:v>66.599999999999994</c:v>
                </c:pt>
                <c:pt idx="260">
                  <c:v>69.399999999999991</c:v>
                </c:pt>
                <c:pt idx="261">
                  <c:v>71.8</c:v>
                </c:pt>
                <c:pt idx="262">
                  <c:v>71.8</c:v>
                </c:pt>
                <c:pt idx="263">
                  <c:v>71.8</c:v>
                </c:pt>
                <c:pt idx="264">
                  <c:v>68.8</c:v>
                </c:pt>
                <c:pt idx="265">
                  <c:v>69.5</c:v>
                </c:pt>
                <c:pt idx="266">
                  <c:v>76</c:v>
                </c:pt>
                <c:pt idx="267">
                  <c:v>78.199999999999989</c:v>
                </c:pt>
                <c:pt idx="268">
                  <c:v>76.599999999999994</c:v>
                </c:pt>
                <c:pt idx="269">
                  <c:v>81.599999999999994</c:v>
                </c:pt>
                <c:pt idx="270">
                  <c:v>78.5</c:v>
                </c:pt>
                <c:pt idx="271">
                  <c:v>76.2</c:v>
                </c:pt>
                <c:pt idx="272">
                  <c:v>78.8</c:v>
                </c:pt>
                <c:pt idx="273">
                  <c:v>76.900000000000006</c:v>
                </c:pt>
                <c:pt idx="274">
                  <c:v>77</c:v>
                </c:pt>
                <c:pt idx="275">
                  <c:v>77.400000000000006</c:v>
                </c:pt>
                <c:pt idx="276">
                  <c:v>79.800000000000011</c:v>
                </c:pt>
                <c:pt idx="277">
                  <c:v>80.100000000000009</c:v>
                </c:pt>
                <c:pt idx="278">
                  <c:v>80.300000000000011</c:v>
                </c:pt>
                <c:pt idx="279">
                  <c:v>82.5</c:v>
                </c:pt>
                <c:pt idx="280">
                  <c:v>81.8</c:v>
                </c:pt>
                <c:pt idx="281">
                  <c:v>79.900000000000006</c:v>
                </c:pt>
                <c:pt idx="282">
                  <c:v>83.399999999999991</c:v>
                </c:pt>
                <c:pt idx="283">
                  <c:v>80.900000000000006</c:v>
                </c:pt>
                <c:pt idx="284">
                  <c:v>80.900000000000006</c:v>
                </c:pt>
                <c:pt idx="285">
                  <c:v>80.800000000000011</c:v>
                </c:pt>
                <c:pt idx="286">
                  <c:v>80.800000000000011</c:v>
                </c:pt>
                <c:pt idx="287">
                  <c:v>79.900000000000006</c:v>
                </c:pt>
                <c:pt idx="288">
                  <c:v>79.100000000000009</c:v>
                </c:pt>
                <c:pt idx="289">
                  <c:v>79.100000000000009</c:v>
                </c:pt>
                <c:pt idx="290">
                  <c:v>80.2</c:v>
                </c:pt>
                <c:pt idx="291">
                  <c:v>83.2</c:v>
                </c:pt>
                <c:pt idx="292">
                  <c:v>89.7</c:v>
                </c:pt>
                <c:pt idx="293">
                  <c:v>93.199999999999989</c:v>
                </c:pt>
                <c:pt idx="294">
                  <c:v>97</c:v>
                </c:pt>
                <c:pt idx="295">
                  <c:v>98.899999999999991</c:v>
                </c:pt>
                <c:pt idx="296">
                  <c:v>99.1</c:v>
                </c:pt>
                <c:pt idx="297">
                  <c:v>94.100000000000009</c:v>
                </c:pt>
                <c:pt idx="298">
                  <c:v>98.2</c:v>
                </c:pt>
                <c:pt idx="299">
                  <c:v>96</c:v>
                </c:pt>
                <c:pt idx="300">
                  <c:v>96</c:v>
                </c:pt>
                <c:pt idx="301">
                  <c:v>96.100000000000009</c:v>
                </c:pt>
                <c:pt idx="302">
                  <c:v>95.9</c:v>
                </c:pt>
                <c:pt idx="303">
                  <c:v>98.2</c:v>
                </c:pt>
                <c:pt idx="304">
                  <c:v>96.6</c:v>
                </c:pt>
                <c:pt idx="305">
                  <c:v>91.9</c:v>
                </c:pt>
                <c:pt idx="306">
                  <c:v>91.5</c:v>
                </c:pt>
                <c:pt idx="307">
                  <c:v>89.5</c:v>
                </c:pt>
                <c:pt idx="308">
                  <c:v>93.399999999999991</c:v>
                </c:pt>
                <c:pt idx="309">
                  <c:v>97.7</c:v>
                </c:pt>
                <c:pt idx="310">
                  <c:v>96.6</c:v>
                </c:pt>
                <c:pt idx="311">
                  <c:v>99</c:v>
                </c:pt>
                <c:pt idx="312">
                  <c:v>101.4</c:v>
                </c:pt>
                <c:pt idx="313">
                  <c:v>102.4</c:v>
                </c:pt>
                <c:pt idx="314">
                  <c:v>106.3</c:v>
                </c:pt>
                <c:pt idx="315">
                  <c:v>104.89999999999999</c:v>
                </c:pt>
                <c:pt idx="316">
                  <c:v>104</c:v>
                </c:pt>
                <c:pt idx="317">
                  <c:v>102</c:v>
                </c:pt>
                <c:pt idx="318">
                  <c:v>104.69999999999999</c:v>
                </c:pt>
                <c:pt idx="319">
                  <c:v>108.89999999999999</c:v>
                </c:pt>
                <c:pt idx="320">
                  <c:v>108.89999999999999</c:v>
                </c:pt>
                <c:pt idx="321">
                  <c:v>117.6</c:v>
                </c:pt>
                <c:pt idx="322">
                  <c:v>118.8</c:v>
                </c:pt>
                <c:pt idx="323">
                  <c:v>117.8</c:v>
                </c:pt>
                <c:pt idx="324">
                  <c:v>123.6</c:v>
                </c:pt>
                <c:pt idx="325">
                  <c:v>125.4</c:v>
                </c:pt>
                <c:pt idx="326">
                  <c:v>124.2</c:v>
                </c:pt>
                <c:pt idx="327">
                  <c:v>126.2</c:v>
                </c:pt>
                <c:pt idx="328">
                  <c:v>134.9</c:v>
                </c:pt>
                <c:pt idx="329">
                  <c:v>131.1</c:v>
                </c:pt>
                <c:pt idx="330">
                  <c:v>132.29999999999998</c:v>
                </c:pt>
                <c:pt idx="331">
                  <c:v>129.20000000000002</c:v>
                </c:pt>
                <c:pt idx="332">
                  <c:v>132.9</c:v>
                </c:pt>
                <c:pt idx="333">
                  <c:v>140.5</c:v>
                </c:pt>
                <c:pt idx="334">
                  <c:v>141.30000000000001</c:v>
                </c:pt>
                <c:pt idx="335">
                  <c:v>143.1</c:v>
                </c:pt>
                <c:pt idx="336">
                  <c:v>137.69999999999999</c:v>
                </c:pt>
                <c:pt idx="337">
                  <c:v>136.30000000000001</c:v>
                </c:pt>
                <c:pt idx="338">
                  <c:v>138.39999999999998</c:v>
                </c:pt>
                <c:pt idx="339">
                  <c:v>148.4</c:v>
                </c:pt>
                <c:pt idx="340">
                  <c:v>145.4</c:v>
                </c:pt>
                <c:pt idx="341">
                  <c:v>147.19999999999999</c:v>
                </c:pt>
                <c:pt idx="342">
                  <c:v>151.19999999999999</c:v>
                </c:pt>
                <c:pt idx="343">
                  <c:v>157</c:v>
                </c:pt>
                <c:pt idx="344">
                  <c:v>158.1</c:v>
                </c:pt>
                <c:pt idx="345">
                  <c:v>153.29999999999998</c:v>
                </c:pt>
                <c:pt idx="346">
                  <c:v>148.89999999999998</c:v>
                </c:pt>
                <c:pt idx="347">
                  <c:v>146.9</c:v>
                </c:pt>
                <c:pt idx="348">
                  <c:v>147.70000000000002</c:v>
                </c:pt>
                <c:pt idx="349">
                  <c:v>151.89999999999998</c:v>
                </c:pt>
                <c:pt idx="350">
                  <c:v>157.6</c:v>
                </c:pt>
                <c:pt idx="351">
                  <c:v>157.80000000000001</c:v>
                </c:pt>
                <c:pt idx="352">
                  <c:v>158.6</c:v>
                </c:pt>
                <c:pt idx="353">
                  <c:v>151.9</c:v>
                </c:pt>
                <c:pt idx="354">
                  <c:v>151.9</c:v>
                </c:pt>
                <c:pt idx="355">
                  <c:v>154.6</c:v>
                </c:pt>
                <c:pt idx="356">
                  <c:v>149.5</c:v>
                </c:pt>
                <c:pt idx="357">
                  <c:v>150.1</c:v>
                </c:pt>
                <c:pt idx="358">
                  <c:v>148.29999999999998</c:v>
                </c:pt>
                <c:pt idx="359">
                  <c:v>150.89999999999998</c:v>
                </c:pt>
                <c:pt idx="360">
                  <c:v>150.5</c:v>
                </c:pt>
                <c:pt idx="361">
                  <c:v>146.19999999999999</c:v>
                </c:pt>
                <c:pt idx="362">
                  <c:v>147.29999999999998</c:v>
                </c:pt>
                <c:pt idx="363">
                  <c:v>137.30000000000001</c:v>
                </c:pt>
                <c:pt idx="364">
                  <c:v>141</c:v>
                </c:pt>
                <c:pt idx="365">
                  <c:v>143.79999999999998</c:v>
                </c:pt>
                <c:pt idx="366">
                  <c:v>140.9</c:v>
                </c:pt>
                <c:pt idx="367">
                  <c:v>141.5</c:v>
                </c:pt>
                <c:pt idx="368">
                  <c:v>140.5</c:v>
                </c:pt>
                <c:pt idx="369">
                  <c:v>141</c:v>
                </c:pt>
                <c:pt idx="370">
                  <c:v>139.80000000000001</c:v>
                </c:pt>
                <c:pt idx="371">
                  <c:v>144.20000000000002</c:v>
                </c:pt>
                <c:pt idx="372">
                  <c:v>145.4</c:v>
                </c:pt>
                <c:pt idx="373">
                  <c:v>147.4</c:v>
                </c:pt>
                <c:pt idx="374">
                  <c:v>146.9</c:v>
                </c:pt>
                <c:pt idx="375">
                  <c:v>144.60000000000002</c:v>
                </c:pt>
                <c:pt idx="376">
                  <c:v>143.00000000000003</c:v>
                </c:pt>
                <c:pt idx="377">
                  <c:v>142.5</c:v>
                </c:pt>
                <c:pt idx="378">
                  <c:v>140.39999999999998</c:v>
                </c:pt>
                <c:pt idx="379">
                  <c:v>143.4</c:v>
                </c:pt>
                <c:pt idx="380">
                  <c:v>144.9</c:v>
                </c:pt>
                <c:pt idx="381">
                  <c:v>146.30000000000001</c:v>
                </c:pt>
                <c:pt idx="382">
                  <c:v>152.80000000000001</c:v>
                </c:pt>
                <c:pt idx="383">
                  <c:v>150.89999999999998</c:v>
                </c:pt>
                <c:pt idx="384">
                  <c:v>148.4</c:v>
                </c:pt>
                <c:pt idx="385">
                  <c:v>148.69999999999999</c:v>
                </c:pt>
                <c:pt idx="386">
                  <c:v>149.1</c:v>
                </c:pt>
                <c:pt idx="387">
                  <c:v>152.4</c:v>
                </c:pt>
                <c:pt idx="388">
                  <c:v>148.29999999999998</c:v>
                </c:pt>
                <c:pt idx="389">
                  <c:v>147.5</c:v>
                </c:pt>
                <c:pt idx="390">
                  <c:v>145.5</c:v>
                </c:pt>
                <c:pt idx="391">
                  <c:v>141.9</c:v>
                </c:pt>
                <c:pt idx="392">
                  <c:v>142.70000000000002</c:v>
                </c:pt>
                <c:pt idx="393">
                  <c:v>146.30000000000001</c:v>
                </c:pt>
                <c:pt idx="394">
                  <c:v>144.79999999999998</c:v>
                </c:pt>
                <c:pt idx="395">
                  <c:v>144.79999999999998</c:v>
                </c:pt>
                <c:pt idx="396">
                  <c:v>146.80000000000001</c:v>
                </c:pt>
                <c:pt idx="397">
                  <c:v>144.4</c:v>
                </c:pt>
                <c:pt idx="398">
                  <c:v>146.70000000000002</c:v>
                </c:pt>
                <c:pt idx="399">
                  <c:v>141.1</c:v>
                </c:pt>
                <c:pt idx="400">
                  <c:v>141.30000000000001</c:v>
                </c:pt>
                <c:pt idx="401">
                  <c:v>137.5</c:v>
                </c:pt>
                <c:pt idx="402">
                  <c:v>133.4</c:v>
                </c:pt>
                <c:pt idx="403">
                  <c:v>130.80000000000001</c:v>
                </c:pt>
                <c:pt idx="404">
                  <c:v>131.1</c:v>
                </c:pt>
                <c:pt idx="405">
                  <c:v>134</c:v>
                </c:pt>
                <c:pt idx="406">
                  <c:v>133.20000000000002</c:v>
                </c:pt>
                <c:pt idx="407">
                  <c:v>136.39999999999998</c:v>
                </c:pt>
                <c:pt idx="408">
                  <c:v>129.79999999999998</c:v>
                </c:pt>
                <c:pt idx="409">
                  <c:v>119.19999999999999</c:v>
                </c:pt>
                <c:pt idx="410">
                  <c:v>123.10000000000001</c:v>
                </c:pt>
                <c:pt idx="411">
                  <c:v>123.6</c:v>
                </c:pt>
                <c:pt idx="412">
                  <c:v>122.50000000000001</c:v>
                </c:pt>
                <c:pt idx="413">
                  <c:v>121.9</c:v>
                </c:pt>
                <c:pt idx="414">
                  <c:v>126.6</c:v>
                </c:pt>
                <c:pt idx="415">
                  <c:v>122.2</c:v>
                </c:pt>
                <c:pt idx="416">
                  <c:v>122.8</c:v>
                </c:pt>
                <c:pt idx="417">
                  <c:v>119.49999999999999</c:v>
                </c:pt>
                <c:pt idx="418">
                  <c:v>122.29999999999998</c:v>
                </c:pt>
                <c:pt idx="419">
                  <c:v>119.39999999999999</c:v>
                </c:pt>
                <c:pt idx="420">
                  <c:v>119.39999999999999</c:v>
                </c:pt>
                <c:pt idx="421">
                  <c:v>114.80000000000001</c:v>
                </c:pt>
                <c:pt idx="422">
                  <c:v>110.5</c:v>
                </c:pt>
                <c:pt idx="423">
                  <c:v>109.60000000000001</c:v>
                </c:pt>
                <c:pt idx="424">
                  <c:v>113.9</c:v>
                </c:pt>
                <c:pt idx="425">
                  <c:v>112.99999999999999</c:v>
                </c:pt>
                <c:pt idx="426">
                  <c:v>116.00000000000001</c:v>
                </c:pt>
                <c:pt idx="427">
                  <c:v>112.7</c:v>
                </c:pt>
                <c:pt idx="428">
                  <c:v>107.19999999999999</c:v>
                </c:pt>
                <c:pt idx="429">
                  <c:v>107.3</c:v>
                </c:pt>
                <c:pt idx="430">
                  <c:v>97.100000000000009</c:v>
                </c:pt>
                <c:pt idx="431">
                  <c:v>101.50000000000001</c:v>
                </c:pt>
                <c:pt idx="432">
                  <c:v>107.4</c:v>
                </c:pt>
                <c:pt idx="433">
                  <c:v>106.5</c:v>
                </c:pt>
                <c:pt idx="434">
                  <c:v>108.5</c:v>
                </c:pt>
                <c:pt idx="435">
                  <c:v>108</c:v>
                </c:pt>
                <c:pt idx="436">
                  <c:v>103.1</c:v>
                </c:pt>
                <c:pt idx="437">
                  <c:v>105.19999999999999</c:v>
                </c:pt>
                <c:pt idx="438">
                  <c:v>106.79999999999998</c:v>
                </c:pt>
                <c:pt idx="439">
                  <c:v>105.10000000000002</c:v>
                </c:pt>
                <c:pt idx="440">
                  <c:v>99.6</c:v>
                </c:pt>
                <c:pt idx="441">
                  <c:v>100</c:v>
                </c:pt>
                <c:pt idx="442">
                  <c:v>100.2</c:v>
                </c:pt>
                <c:pt idx="443">
                  <c:v>101.50000000000001</c:v>
                </c:pt>
                <c:pt idx="444">
                  <c:v>108</c:v>
                </c:pt>
                <c:pt idx="445">
                  <c:v>109.7</c:v>
                </c:pt>
                <c:pt idx="446">
                  <c:v>110.4</c:v>
                </c:pt>
                <c:pt idx="447">
                  <c:v>111.79999999999998</c:v>
                </c:pt>
                <c:pt idx="448">
                  <c:v>113.99999999999999</c:v>
                </c:pt>
                <c:pt idx="449">
                  <c:v>108.19999999999999</c:v>
                </c:pt>
                <c:pt idx="450">
                  <c:v>105.19999999999999</c:v>
                </c:pt>
                <c:pt idx="451">
                  <c:v>104.3</c:v>
                </c:pt>
                <c:pt idx="452">
                  <c:v>105.39999999999998</c:v>
                </c:pt>
                <c:pt idx="453">
                  <c:v>102.2</c:v>
                </c:pt>
                <c:pt idx="454">
                  <c:v>103.60000000000001</c:v>
                </c:pt>
                <c:pt idx="455">
                  <c:v>102.89999999999999</c:v>
                </c:pt>
                <c:pt idx="456">
                  <c:v>106.4</c:v>
                </c:pt>
                <c:pt idx="457">
                  <c:v>109.90000000000002</c:v>
                </c:pt>
                <c:pt idx="458">
                  <c:v>110.5</c:v>
                </c:pt>
                <c:pt idx="459">
                  <c:v>109.5</c:v>
                </c:pt>
                <c:pt idx="460">
                  <c:v>108.1</c:v>
                </c:pt>
                <c:pt idx="461">
                  <c:v>109.3</c:v>
                </c:pt>
                <c:pt idx="462">
                  <c:v>109.1</c:v>
                </c:pt>
                <c:pt idx="463">
                  <c:v>108.1</c:v>
                </c:pt>
                <c:pt idx="464">
                  <c:v>111.4</c:v>
                </c:pt>
                <c:pt idx="465">
                  <c:v>111.4</c:v>
                </c:pt>
                <c:pt idx="466">
                  <c:v>114.9</c:v>
                </c:pt>
                <c:pt idx="467">
                  <c:v>111.60000000000001</c:v>
                </c:pt>
                <c:pt idx="468">
                  <c:v>108.4</c:v>
                </c:pt>
                <c:pt idx="469">
                  <c:v>112.39999999999999</c:v>
                </c:pt>
                <c:pt idx="470">
                  <c:v>110.9</c:v>
                </c:pt>
                <c:pt idx="471">
                  <c:v>106.99999999999999</c:v>
                </c:pt>
                <c:pt idx="472">
                  <c:v>109.1</c:v>
                </c:pt>
                <c:pt idx="473">
                  <c:v>111.39999999999999</c:v>
                </c:pt>
                <c:pt idx="474">
                  <c:v>114.4</c:v>
                </c:pt>
                <c:pt idx="475">
                  <c:v>109.3</c:v>
                </c:pt>
                <c:pt idx="476">
                  <c:v>110.80000000000001</c:v>
                </c:pt>
                <c:pt idx="477">
                  <c:v>109.1</c:v>
                </c:pt>
                <c:pt idx="478">
                  <c:v>115.09999999999998</c:v>
                </c:pt>
                <c:pt idx="479">
                  <c:v>118.7</c:v>
                </c:pt>
                <c:pt idx="480">
                  <c:v>120.19999999999999</c:v>
                </c:pt>
                <c:pt idx="481">
                  <c:v>122.9</c:v>
                </c:pt>
                <c:pt idx="482">
                  <c:v>124.2</c:v>
                </c:pt>
                <c:pt idx="483">
                  <c:v>123.8</c:v>
                </c:pt>
                <c:pt idx="484">
                  <c:v>120.30000000000001</c:v>
                </c:pt>
                <c:pt idx="485">
                  <c:v>120.10000000000001</c:v>
                </c:pt>
                <c:pt idx="486">
                  <c:v>124.29999999999998</c:v>
                </c:pt>
                <c:pt idx="487">
                  <c:v>122.8</c:v>
                </c:pt>
                <c:pt idx="488">
                  <c:v>126.4</c:v>
                </c:pt>
                <c:pt idx="489">
                  <c:v>128.69999999999999</c:v>
                </c:pt>
                <c:pt idx="490">
                  <c:v>128.69999999999999</c:v>
                </c:pt>
                <c:pt idx="491">
                  <c:v>123.20000000000002</c:v>
                </c:pt>
                <c:pt idx="492">
                  <c:v>118.10000000000001</c:v>
                </c:pt>
                <c:pt idx="493">
                  <c:v>116.5</c:v>
                </c:pt>
                <c:pt idx="494">
                  <c:v>117.5</c:v>
                </c:pt>
                <c:pt idx="495">
                  <c:v>116.3</c:v>
                </c:pt>
                <c:pt idx="496">
                  <c:v>124.1</c:v>
                </c:pt>
                <c:pt idx="497">
                  <c:v>126</c:v>
                </c:pt>
                <c:pt idx="498">
                  <c:v>123.9</c:v>
                </c:pt>
                <c:pt idx="499">
                  <c:v>119.10000000000001</c:v>
                </c:pt>
                <c:pt idx="500">
                  <c:v>119.8</c:v>
                </c:pt>
                <c:pt idx="501">
                  <c:v>116.80000000000001</c:v>
                </c:pt>
                <c:pt idx="502">
                  <c:v>103.79999999999998</c:v>
                </c:pt>
                <c:pt idx="503">
                  <c:v>106.80000000000001</c:v>
                </c:pt>
                <c:pt idx="504">
                  <c:v>106.1</c:v>
                </c:pt>
                <c:pt idx="505">
                  <c:v>105.79999999999998</c:v>
                </c:pt>
                <c:pt idx="506">
                  <c:v>109.1</c:v>
                </c:pt>
                <c:pt idx="507">
                  <c:v>110.1</c:v>
                </c:pt>
                <c:pt idx="508">
                  <c:v>110.7</c:v>
                </c:pt>
                <c:pt idx="509">
                  <c:v>105.4</c:v>
                </c:pt>
                <c:pt idx="510">
                  <c:v>104.80000000000001</c:v>
                </c:pt>
                <c:pt idx="511">
                  <c:v>102.3</c:v>
                </c:pt>
                <c:pt idx="512">
                  <c:v>105.50000000000001</c:v>
                </c:pt>
                <c:pt idx="513">
                  <c:v>105.50000000000001</c:v>
                </c:pt>
                <c:pt idx="514">
                  <c:v>106.2</c:v>
                </c:pt>
                <c:pt idx="515">
                  <c:v>109.7</c:v>
                </c:pt>
                <c:pt idx="516">
                  <c:v>111.39999999999999</c:v>
                </c:pt>
                <c:pt idx="517">
                  <c:v>110.00000000000001</c:v>
                </c:pt>
                <c:pt idx="518">
                  <c:v>108.5</c:v>
                </c:pt>
                <c:pt idx="519">
                  <c:v>103.10000000000001</c:v>
                </c:pt>
                <c:pt idx="520">
                  <c:v>104.30000000000001</c:v>
                </c:pt>
                <c:pt idx="521">
                  <c:v>105.69999999999999</c:v>
                </c:pt>
                <c:pt idx="522">
                  <c:v>99.999999999999986</c:v>
                </c:pt>
                <c:pt idx="523">
                  <c:v>99.999999999999986</c:v>
                </c:pt>
                <c:pt idx="524">
                  <c:v>96.500000000000014</c:v>
                </c:pt>
                <c:pt idx="525">
                  <c:v>101.89999999999999</c:v>
                </c:pt>
                <c:pt idx="526">
                  <c:v>91.5</c:v>
                </c:pt>
                <c:pt idx="527">
                  <c:v>87.1</c:v>
                </c:pt>
                <c:pt idx="528">
                  <c:v>83</c:v>
                </c:pt>
                <c:pt idx="529">
                  <c:v>75</c:v>
                </c:pt>
                <c:pt idx="530">
                  <c:v>79.899999999999991</c:v>
                </c:pt>
                <c:pt idx="531">
                  <c:v>79.100000000000009</c:v>
                </c:pt>
                <c:pt idx="532">
                  <c:v>82.999999999999986</c:v>
                </c:pt>
                <c:pt idx="533">
                  <c:v>80.100000000000009</c:v>
                </c:pt>
                <c:pt idx="534">
                  <c:v>82.7</c:v>
                </c:pt>
                <c:pt idx="535">
                  <c:v>77.899999999999991</c:v>
                </c:pt>
                <c:pt idx="536">
                  <c:v>78</c:v>
                </c:pt>
                <c:pt idx="537">
                  <c:v>77.499999999999986</c:v>
                </c:pt>
                <c:pt idx="538">
                  <c:v>80.099999999999994</c:v>
                </c:pt>
                <c:pt idx="539">
                  <c:v>75.999999999999986</c:v>
                </c:pt>
                <c:pt idx="540">
                  <c:v>78.900000000000006</c:v>
                </c:pt>
                <c:pt idx="541">
                  <c:v>81.2</c:v>
                </c:pt>
                <c:pt idx="542">
                  <c:v>79.099999999999994</c:v>
                </c:pt>
                <c:pt idx="543">
                  <c:v>80.500000000000014</c:v>
                </c:pt>
                <c:pt idx="544">
                  <c:v>80.500000000000014</c:v>
                </c:pt>
                <c:pt idx="545">
                  <c:v>77.000000000000014</c:v>
                </c:pt>
                <c:pt idx="546">
                  <c:v>73.100000000000009</c:v>
                </c:pt>
                <c:pt idx="547">
                  <c:v>79.3</c:v>
                </c:pt>
                <c:pt idx="548">
                  <c:v>77.499999999999986</c:v>
                </c:pt>
                <c:pt idx="549">
                  <c:v>76.599999999999994</c:v>
                </c:pt>
                <c:pt idx="550">
                  <c:v>84.399999999999991</c:v>
                </c:pt>
                <c:pt idx="551">
                  <c:v>90.199999999999989</c:v>
                </c:pt>
                <c:pt idx="552">
                  <c:v>87.300000000000011</c:v>
                </c:pt>
                <c:pt idx="553">
                  <c:v>85.100000000000009</c:v>
                </c:pt>
                <c:pt idx="554">
                  <c:v>89.899999999999991</c:v>
                </c:pt>
                <c:pt idx="555">
                  <c:v>87.6</c:v>
                </c:pt>
                <c:pt idx="556">
                  <c:v>84.7</c:v>
                </c:pt>
                <c:pt idx="557">
                  <c:v>81.800000000000011</c:v>
                </c:pt>
                <c:pt idx="558">
                  <c:v>81</c:v>
                </c:pt>
                <c:pt idx="559">
                  <c:v>80.5</c:v>
                </c:pt>
                <c:pt idx="560">
                  <c:v>80.5</c:v>
                </c:pt>
                <c:pt idx="561">
                  <c:v>82.800000000000011</c:v>
                </c:pt>
                <c:pt idx="562">
                  <c:v>80.2</c:v>
                </c:pt>
                <c:pt idx="563">
                  <c:v>78.300000000000011</c:v>
                </c:pt>
                <c:pt idx="564">
                  <c:v>75.400000000000006</c:v>
                </c:pt>
                <c:pt idx="565">
                  <c:v>78.200000000000017</c:v>
                </c:pt>
                <c:pt idx="566">
                  <c:v>75.8</c:v>
                </c:pt>
                <c:pt idx="567">
                  <c:v>75.500000000000014</c:v>
                </c:pt>
                <c:pt idx="568">
                  <c:v>61.600000000000009</c:v>
                </c:pt>
                <c:pt idx="569">
                  <c:v>60.800000000000011</c:v>
                </c:pt>
                <c:pt idx="570">
                  <c:v>61.7</c:v>
                </c:pt>
                <c:pt idx="571">
                  <c:v>63.5</c:v>
                </c:pt>
                <c:pt idx="572">
                  <c:v>61.000000000000007</c:v>
                </c:pt>
                <c:pt idx="573">
                  <c:v>63.5</c:v>
                </c:pt>
                <c:pt idx="574">
                  <c:v>60.999999999999986</c:v>
                </c:pt>
                <c:pt idx="575">
                  <c:v>61.999999999999986</c:v>
                </c:pt>
                <c:pt idx="576">
                  <c:v>61.5</c:v>
                </c:pt>
                <c:pt idx="577">
                  <c:v>58.099999999999994</c:v>
                </c:pt>
                <c:pt idx="578">
                  <c:v>46.899999999999984</c:v>
                </c:pt>
                <c:pt idx="579">
                  <c:v>43.500000000000007</c:v>
                </c:pt>
                <c:pt idx="580">
                  <c:v>40.700000000000003</c:v>
                </c:pt>
                <c:pt idx="581">
                  <c:v>47.599999999999994</c:v>
                </c:pt>
                <c:pt idx="582">
                  <c:v>51.6</c:v>
                </c:pt>
                <c:pt idx="583">
                  <c:v>49.499999999999986</c:v>
                </c:pt>
                <c:pt idx="584">
                  <c:v>45.8</c:v>
                </c:pt>
                <c:pt idx="585">
                  <c:v>45.8</c:v>
                </c:pt>
                <c:pt idx="586">
                  <c:v>38.9</c:v>
                </c:pt>
                <c:pt idx="587">
                  <c:v>37.700000000000003</c:v>
                </c:pt>
                <c:pt idx="588">
                  <c:v>42.599999999999994</c:v>
                </c:pt>
                <c:pt idx="589">
                  <c:v>39.79999999999999</c:v>
                </c:pt>
                <c:pt idx="590">
                  <c:v>41.1</c:v>
                </c:pt>
                <c:pt idx="591">
                  <c:v>40.600000000000016</c:v>
                </c:pt>
                <c:pt idx="592">
                  <c:v>35.299999999999997</c:v>
                </c:pt>
                <c:pt idx="593">
                  <c:v>30.800000000000004</c:v>
                </c:pt>
                <c:pt idx="594">
                  <c:v>23.2</c:v>
                </c:pt>
                <c:pt idx="595">
                  <c:v>20.100000000000009</c:v>
                </c:pt>
                <c:pt idx="596">
                  <c:v>24.2</c:v>
                </c:pt>
                <c:pt idx="597">
                  <c:v>27</c:v>
                </c:pt>
                <c:pt idx="598">
                  <c:v>28.999999999999982</c:v>
                </c:pt>
                <c:pt idx="599">
                  <c:v>25.59999999999998</c:v>
                </c:pt>
                <c:pt idx="600">
                  <c:v>29.100000000000016</c:v>
                </c:pt>
                <c:pt idx="601">
                  <c:v>30.300000000000015</c:v>
                </c:pt>
                <c:pt idx="602">
                  <c:v>21.799999999999976</c:v>
                </c:pt>
                <c:pt idx="603">
                  <c:v>25.100000000000012</c:v>
                </c:pt>
                <c:pt idx="604">
                  <c:v>19.100000000000005</c:v>
                </c:pt>
                <c:pt idx="605">
                  <c:v>18.300000000000026</c:v>
                </c:pt>
                <c:pt idx="606">
                  <c:v>22.299999999999986</c:v>
                </c:pt>
                <c:pt idx="607">
                  <c:v>20.800000000000018</c:v>
                </c:pt>
                <c:pt idx="608">
                  <c:v>21.70000000000001</c:v>
                </c:pt>
                <c:pt idx="609">
                  <c:v>19.399999999999995</c:v>
                </c:pt>
                <c:pt idx="610">
                  <c:v>13.499999999999979</c:v>
                </c:pt>
                <c:pt idx="611">
                  <c:v>4.8999999999999932</c:v>
                </c:pt>
                <c:pt idx="612">
                  <c:v>3.0000000000000249</c:v>
                </c:pt>
                <c:pt idx="613">
                  <c:v>4.1000000000000369</c:v>
                </c:pt>
                <c:pt idx="614">
                  <c:v>-5.699999999999994</c:v>
                </c:pt>
                <c:pt idx="615">
                  <c:v>-1.6000000000000014</c:v>
                </c:pt>
                <c:pt idx="616">
                  <c:v>4.9999999999999822</c:v>
                </c:pt>
                <c:pt idx="617">
                  <c:v>10.700000000000021</c:v>
                </c:pt>
                <c:pt idx="618">
                  <c:v>19.199999999999974</c:v>
                </c:pt>
                <c:pt idx="619">
                  <c:v>19.499999999999986</c:v>
                </c:pt>
                <c:pt idx="620">
                  <c:v>27.400000000000002</c:v>
                </c:pt>
                <c:pt idx="621">
                  <c:v>33.800000000000011</c:v>
                </c:pt>
                <c:pt idx="622">
                  <c:v>34.699999999999996</c:v>
                </c:pt>
                <c:pt idx="623">
                  <c:v>36.399999999999991</c:v>
                </c:pt>
                <c:pt idx="624">
                  <c:v>36.399999999999991</c:v>
                </c:pt>
                <c:pt idx="625">
                  <c:v>40.200000000000017</c:v>
                </c:pt>
                <c:pt idx="626">
                  <c:v>33.999999999999986</c:v>
                </c:pt>
                <c:pt idx="627">
                  <c:v>25.699999999999967</c:v>
                </c:pt>
                <c:pt idx="628">
                  <c:v>22.399999999999977</c:v>
                </c:pt>
                <c:pt idx="629">
                  <c:v>19.10000000000003</c:v>
                </c:pt>
                <c:pt idx="630">
                  <c:v>19.700000000000006</c:v>
                </c:pt>
                <c:pt idx="631">
                  <c:v>22.799999999999976</c:v>
                </c:pt>
                <c:pt idx="632">
                  <c:v>24.100000000000009</c:v>
                </c:pt>
                <c:pt idx="633">
                  <c:v>21.600000000000019</c:v>
                </c:pt>
                <c:pt idx="634">
                  <c:v>18.499999999999961</c:v>
                </c:pt>
                <c:pt idx="635">
                  <c:v>26.500000000000014</c:v>
                </c:pt>
                <c:pt idx="636">
                  <c:v>18.800000000000018</c:v>
                </c:pt>
                <c:pt idx="637">
                  <c:v>29.899999999999991</c:v>
                </c:pt>
                <c:pt idx="638">
                  <c:v>34.399999999999984</c:v>
                </c:pt>
                <c:pt idx="639">
                  <c:v>42.8</c:v>
                </c:pt>
                <c:pt idx="640">
                  <c:v>45.900000000000006</c:v>
                </c:pt>
                <c:pt idx="641">
                  <c:v>36.999999999999964</c:v>
                </c:pt>
                <c:pt idx="642">
                  <c:v>29.000000000000004</c:v>
                </c:pt>
                <c:pt idx="643">
                  <c:v>29.500000000000036</c:v>
                </c:pt>
                <c:pt idx="644">
                  <c:v>33.599999999999987</c:v>
                </c:pt>
                <c:pt idx="645">
                  <c:v>31.099999999999994</c:v>
                </c:pt>
                <c:pt idx="646">
                  <c:v>27.200000000000024</c:v>
                </c:pt>
                <c:pt idx="647">
                  <c:v>21.70000000000001</c:v>
                </c:pt>
                <c:pt idx="648">
                  <c:v>24.399999999999977</c:v>
                </c:pt>
                <c:pt idx="649">
                  <c:v>20.399999999999974</c:v>
                </c:pt>
                <c:pt idx="650">
                  <c:v>23.4</c:v>
                </c:pt>
                <c:pt idx="651">
                  <c:v>27.699999999999967</c:v>
                </c:pt>
                <c:pt idx="652">
                  <c:v>24.500000000000011</c:v>
                </c:pt>
                <c:pt idx="653">
                  <c:v>27</c:v>
                </c:pt>
                <c:pt idx="654">
                  <c:v>25.099999999999987</c:v>
                </c:pt>
                <c:pt idx="655">
                  <c:v>25.099999999999987</c:v>
                </c:pt>
                <c:pt idx="656">
                  <c:v>30.399999999999984</c:v>
                </c:pt>
                <c:pt idx="657">
                  <c:v>26.699999999999989</c:v>
                </c:pt>
                <c:pt idx="658">
                  <c:v>27.700000000000014</c:v>
                </c:pt>
                <c:pt idx="659">
                  <c:v>28.800000000000026</c:v>
                </c:pt>
                <c:pt idx="660">
                  <c:v>30.399999999999984</c:v>
                </c:pt>
                <c:pt idx="661">
                  <c:v>23.500000000000032</c:v>
                </c:pt>
                <c:pt idx="662">
                  <c:v>25.499999999999989</c:v>
                </c:pt>
                <c:pt idx="663">
                  <c:v>22.499999999999964</c:v>
                </c:pt>
                <c:pt idx="664">
                  <c:v>10.80000000000001</c:v>
                </c:pt>
                <c:pt idx="665">
                  <c:v>8.9999999999999858</c:v>
                </c:pt>
                <c:pt idx="666">
                  <c:v>4.8000000000000043</c:v>
                </c:pt>
                <c:pt idx="667">
                  <c:v>11.60000000000001</c:v>
                </c:pt>
                <c:pt idx="668">
                  <c:v>14.700000000000024</c:v>
                </c:pt>
                <c:pt idx="669">
                  <c:v>7.2999999999999954</c:v>
                </c:pt>
                <c:pt idx="670">
                  <c:v>7.2999999999999954</c:v>
                </c:pt>
                <c:pt idx="671">
                  <c:v>10.700000000000021</c:v>
                </c:pt>
                <c:pt idx="672">
                  <c:v>10.000000000000009</c:v>
                </c:pt>
                <c:pt idx="673">
                  <c:v>5.7999999999999829</c:v>
                </c:pt>
                <c:pt idx="674">
                  <c:v>6.7000000000000171</c:v>
                </c:pt>
                <c:pt idx="675">
                  <c:v>7.099999999999973</c:v>
                </c:pt>
                <c:pt idx="676">
                  <c:v>8.2999999999999741</c:v>
                </c:pt>
                <c:pt idx="677">
                  <c:v>4.0000000000000036</c:v>
                </c:pt>
                <c:pt idx="678">
                  <c:v>4.7000000000000153</c:v>
                </c:pt>
                <c:pt idx="679">
                  <c:v>5.8999999999999719</c:v>
                </c:pt>
                <c:pt idx="680">
                  <c:v>5.8999999999999719</c:v>
                </c:pt>
                <c:pt idx="681">
                  <c:v>-0.49999999999998934</c:v>
                </c:pt>
                <c:pt idx="682">
                  <c:v>-4.9999999999999822</c:v>
                </c:pt>
                <c:pt idx="683">
                  <c:v>-3.2999999999999918</c:v>
                </c:pt>
                <c:pt idx="684">
                  <c:v>-2.0000000000000018</c:v>
                </c:pt>
                <c:pt idx="685">
                  <c:v>-7.8999999999999737</c:v>
                </c:pt>
                <c:pt idx="686">
                  <c:v>-8.4999999999999964</c:v>
                </c:pt>
                <c:pt idx="687">
                  <c:v>-23.799999999999997</c:v>
                </c:pt>
                <c:pt idx="688">
                  <c:v>-18.599999999999994</c:v>
                </c:pt>
                <c:pt idx="689">
                  <c:v>-20.499999999999964</c:v>
                </c:pt>
                <c:pt idx="690">
                  <c:v>-20.000000000000018</c:v>
                </c:pt>
                <c:pt idx="691">
                  <c:v>-21.199999999999974</c:v>
                </c:pt>
                <c:pt idx="692">
                  <c:v>-21.4</c:v>
                </c:pt>
                <c:pt idx="693">
                  <c:v>-18.700000000000028</c:v>
                </c:pt>
                <c:pt idx="694">
                  <c:v>-20.999999999999996</c:v>
                </c:pt>
                <c:pt idx="695">
                  <c:v>-21.70000000000001</c:v>
                </c:pt>
                <c:pt idx="696">
                  <c:v>-25.600000000000023</c:v>
                </c:pt>
                <c:pt idx="697">
                  <c:v>-23.999999999999979</c:v>
                </c:pt>
                <c:pt idx="698">
                  <c:v>-19.599999999999973</c:v>
                </c:pt>
                <c:pt idx="699">
                  <c:v>-25.499999999999989</c:v>
                </c:pt>
                <c:pt idx="700">
                  <c:v>-30.399999999999984</c:v>
                </c:pt>
                <c:pt idx="701">
                  <c:v>-33.800000000000011</c:v>
                </c:pt>
                <c:pt idx="702">
                  <c:v>-35.999999999999986</c:v>
                </c:pt>
                <c:pt idx="703">
                  <c:v>-36.09999999999998</c:v>
                </c:pt>
                <c:pt idx="704">
                  <c:v>-40.80000000000004</c:v>
                </c:pt>
                <c:pt idx="705">
                  <c:v>-45.300000000000026</c:v>
                </c:pt>
                <c:pt idx="706">
                  <c:v>-48.899999999999991</c:v>
                </c:pt>
                <c:pt idx="707">
                  <c:v>-42.8</c:v>
                </c:pt>
                <c:pt idx="708">
                  <c:v>-34.100000000000023</c:v>
                </c:pt>
                <c:pt idx="709">
                  <c:v>-40.79999999999999</c:v>
                </c:pt>
                <c:pt idx="710">
                  <c:v>-41.199999999999989</c:v>
                </c:pt>
                <c:pt idx="711">
                  <c:v>-42.7</c:v>
                </c:pt>
                <c:pt idx="712">
                  <c:v>-39.999999999999993</c:v>
                </c:pt>
                <c:pt idx="713">
                  <c:v>-35.5</c:v>
                </c:pt>
                <c:pt idx="714">
                  <c:v>-27.600000000000023</c:v>
                </c:pt>
                <c:pt idx="715">
                  <c:v>-30.200000000000003</c:v>
                </c:pt>
                <c:pt idx="716">
                  <c:v>-25.200000000000024</c:v>
                </c:pt>
                <c:pt idx="717">
                  <c:v>-28.000000000000025</c:v>
                </c:pt>
                <c:pt idx="718">
                  <c:v>-35.000000000000007</c:v>
                </c:pt>
                <c:pt idx="719">
                  <c:v>-35.799999999999969</c:v>
                </c:pt>
                <c:pt idx="720">
                  <c:v>-31.700000000000017</c:v>
                </c:pt>
                <c:pt idx="721">
                  <c:v>-35.60000000000003</c:v>
                </c:pt>
                <c:pt idx="722">
                  <c:v>-31.800000000000004</c:v>
                </c:pt>
                <c:pt idx="723">
                  <c:v>-25.699999999999967</c:v>
                </c:pt>
                <c:pt idx="724">
                  <c:v>-20.700000000000031</c:v>
                </c:pt>
                <c:pt idx="725">
                  <c:v>-20.700000000000031</c:v>
                </c:pt>
                <c:pt idx="726">
                  <c:v>-16.100000000000001</c:v>
                </c:pt>
                <c:pt idx="727">
                  <c:v>-18.199999999999996</c:v>
                </c:pt>
                <c:pt idx="728">
                  <c:v>-19.900000000000027</c:v>
                </c:pt>
                <c:pt idx="729">
                  <c:v>-25</c:v>
                </c:pt>
                <c:pt idx="730">
                  <c:v>-20.900000000000006</c:v>
                </c:pt>
                <c:pt idx="731">
                  <c:v>-33.299999999999976</c:v>
                </c:pt>
                <c:pt idx="732">
                  <c:v>-37.000000000000014</c:v>
                </c:pt>
                <c:pt idx="733">
                  <c:v>-41.400000000000013</c:v>
                </c:pt>
                <c:pt idx="734">
                  <c:v>-41.199999999999989</c:v>
                </c:pt>
                <c:pt idx="735">
                  <c:v>-45.700000000000031</c:v>
                </c:pt>
                <c:pt idx="736">
                  <c:v>-39.1</c:v>
                </c:pt>
                <c:pt idx="737">
                  <c:v>-48.300000000000011</c:v>
                </c:pt>
                <c:pt idx="738">
                  <c:v>-41.899999999999963</c:v>
                </c:pt>
                <c:pt idx="739">
                  <c:v>-51.700000000000031</c:v>
                </c:pt>
                <c:pt idx="740">
                  <c:v>-43.50000000000005</c:v>
                </c:pt>
                <c:pt idx="741">
                  <c:v>-34.499999999999972</c:v>
                </c:pt>
                <c:pt idx="742">
                  <c:v>-38.700000000000045</c:v>
                </c:pt>
                <c:pt idx="743">
                  <c:v>-42.300000000000004</c:v>
                </c:pt>
                <c:pt idx="744">
                  <c:v>-40.499999999999979</c:v>
                </c:pt>
                <c:pt idx="745">
                  <c:v>-45.400000000000063</c:v>
                </c:pt>
                <c:pt idx="746">
                  <c:v>-48.000000000000043</c:v>
                </c:pt>
                <c:pt idx="747">
                  <c:v>-39.100000000000044</c:v>
                </c:pt>
                <c:pt idx="748">
                  <c:v>-42.600000000000016</c:v>
                </c:pt>
                <c:pt idx="749">
                  <c:v>-42.300000000000004</c:v>
                </c:pt>
                <c:pt idx="750">
                  <c:v>-42.300000000000004</c:v>
                </c:pt>
                <c:pt idx="751">
                  <c:v>-37.699999999999974</c:v>
                </c:pt>
                <c:pt idx="752">
                  <c:v>-38.499999999999979</c:v>
                </c:pt>
                <c:pt idx="753">
                  <c:v>-49.499999999999964</c:v>
                </c:pt>
                <c:pt idx="754">
                  <c:v>-50.099999999999945</c:v>
                </c:pt>
                <c:pt idx="755">
                  <c:v>-44.100000000000072</c:v>
                </c:pt>
                <c:pt idx="756">
                  <c:v>-43.900000000000006</c:v>
                </c:pt>
                <c:pt idx="757">
                  <c:v>-42.300000000000004</c:v>
                </c:pt>
                <c:pt idx="758">
                  <c:v>-38.400000000000034</c:v>
                </c:pt>
                <c:pt idx="759">
                  <c:v>-27.899999999999991</c:v>
                </c:pt>
                <c:pt idx="760">
                  <c:v>-26.6</c:v>
                </c:pt>
                <c:pt idx="761">
                  <c:v>-36.899999999999977</c:v>
                </c:pt>
                <c:pt idx="762">
                  <c:v>-40.300000000000047</c:v>
                </c:pt>
                <c:pt idx="763">
                  <c:v>-38.199999999999967</c:v>
                </c:pt>
                <c:pt idx="764">
                  <c:v>-41.199999999999989</c:v>
                </c:pt>
                <c:pt idx="765">
                  <c:v>-42.400000000000034</c:v>
                </c:pt>
                <c:pt idx="766">
                  <c:v>-48.900000000000077</c:v>
                </c:pt>
                <c:pt idx="767">
                  <c:v>-50.900000000000034</c:v>
                </c:pt>
                <c:pt idx="768">
                  <c:v>-57.699999999999996</c:v>
                </c:pt>
                <c:pt idx="769">
                  <c:v>-49.399999999999977</c:v>
                </c:pt>
                <c:pt idx="770">
                  <c:v>-51.19999999999996</c:v>
                </c:pt>
                <c:pt idx="771">
                  <c:v>-54.399999999999963</c:v>
                </c:pt>
                <c:pt idx="772">
                  <c:v>-47.700000000000031</c:v>
                </c:pt>
                <c:pt idx="773">
                  <c:v>-49.699999999999946</c:v>
                </c:pt>
                <c:pt idx="774">
                  <c:v>-49.699999999999946</c:v>
                </c:pt>
                <c:pt idx="775">
                  <c:v>-54.100000000000037</c:v>
                </c:pt>
                <c:pt idx="776">
                  <c:v>-56.199999999999982</c:v>
                </c:pt>
                <c:pt idx="777">
                  <c:v>-66.900000000000048</c:v>
                </c:pt>
                <c:pt idx="778">
                  <c:v>-68.099999999999966</c:v>
                </c:pt>
                <c:pt idx="779">
                  <c:v>-69.199999999999974</c:v>
                </c:pt>
                <c:pt idx="780">
                  <c:v>-71.900000000000034</c:v>
                </c:pt>
                <c:pt idx="781">
                  <c:v>-75.900000000000034</c:v>
                </c:pt>
                <c:pt idx="782">
                  <c:v>-77.399999999999963</c:v>
                </c:pt>
                <c:pt idx="783">
                  <c:v>-77.399999999999963</c:v>
                </c:pt>
                <c:pt idx="784">
                  <c:v>-77.700000000000017</c:v>
                </c:pt>
                <c:pt idx="785">
                  <c:v>-76.900000000000006</c:v>
                </c:pt>
                <c:pt idx="786">
                  <c:v>-72.499999999999972</c:v>
                </c:pt>
                <c:pt idx="787">
                  <c:v>-67.09999999999998</c:v>
                </c:pt>
                <c:pt idx="788">
                  <c:v>-72.699999999999946</c:v>
                </c:pt>
                <c:pt idx="789">
                  <c:v>-77.700000000000017</c:v>
                </c:pt>
                <c:pt idx="790">
                  <c:v>-79.5</c:v>
                </c:pt>
                <c:pt idx="791">
                  <c:v>-84.700000000000045</c:v>
                </c:pt>
                <c:pt idx="792">
                  <c:v>-84.800000000000026</c:v>
                </c:pt>
                <c:pt idx="793">
                  <c:v>-81.900000000000034</c:v>
                </c:pt>
                <c:pt idx="794">
                  <c:v>-76.299999999999983</c:v>
                </c:pt>
                <c:pt idx="795">
                  <c:v>-79.199999999999932</c:v>
                </c:pt>
                <c:pt idx="796">
                  <c:v>-72.599999999999994</c:v>
                </c:pt>
                <c:pt idx="797">
                  <c:v>-74.599999999999952</c:v>
                </c:pt>
                <c:pt idx="798">
                  <c:v>-79.699999999999974</c:v>
                </c:pt>
                <c:pt idx="799">
                  <c:v>-69.799999999999955</c:v>
                </c:pt>
                <c:pt idx="800">
                  <c:v>-67.899999999999935</c:v>
                </c:pt>
                <c:pt idx="801">
                  <c:v>-58.199999999999989</c:v>
                </c:pt>
                <c:pt idx="802">
                  <c:v>-53.099999999999966</c:v>
                </c:pt>
                <c:pt idx="803">
                  <c:v>-59.399999999999984</c:v>
                </c:pt>
                <c:pt idx="804">
                  <c:v>-57.600000000000051</c:v>
                </c:pt>
                <c:pt idx="805">
                  <c:v>-57.600000000000051</c:v>
                </c:pt>
                <c:pt idx="806">
                  <c:v>-55.2</c:v>
                </c:pt>
                <c:pt idx="807">
                  <c:v>-47.299999999999983</c:v>
                </c:pt>
                <c:pt idx="808">
                  <c:v>-53.2</c:v>
                </c:pt>
                <c:pt idx="809">
                  <c:v>-57.19999999999996</c:v>
                </c:pt>
                <c:pt idx="810">
                  <c:v>-57.19999999999996</c:v>
                </c:pt>
                <c:pt idx="811">
                  <c:v>-61.30000000000004</c:v>
                </c:pt>
                <c:pt idx="812">
                  <c:v>-67.799999999999955</c:v>
                </c:pt>
                <c:pt idx="813">
                  <c:v>-73.100000000000037</c:v>
                </c:pt>
                <c:pt idx="814">
                  <c:v>-68.899999999999963</c:v>
                </c:pt>
                <c:pt idx="815">
                  <c:v>-68.199999999999989</c:v>
                </c:pt>
                <c:pt idx="816">
                  <c:v>-63.899999999999977</c:v>
                </c:pt>
                <c:pt idx="817">
                  <c:v>-67.199999999999974</c:v>
                </c:pt>
                <c:pt idx="818">
                  <c:v>-69.09999999999998</c:v>
                </c:pt>
                <c:pt idx="819">
                  <c:v>-72.999999999999957</c:v>
                </c:pt>
                <c:pt idx="820">
                  <c:v>-72.999999999999957</c:v>
                </c:pt>
                <c:pt idx="821">
                  <c:v>-65.7</c:v>
                </c:pt>
                <c:pt idx="822">
                  <c:v>-70.099999999999966</c:v>
                </c:pt>
                <c:pt idx="823">
                  <c:v>-71.900000000000034</c:v>
                </c:pt>
                <c:pt idx="824">
                  <c:v>-69.899999999999977</c:v>
                </c:pt>
                <c:pt idx="825">
                  <c:v>-71.7</c:v>
                </c:pt>
                <c:pt idx="826">
                  <c:v>-74.499999999999972</c:v>
                </c:pt>
                <c:pt idx="827">
                  <c:v>-67.499999999999943</c:v>
                </c:pt>
                <c:pt idx="828">
                  <c:v>-68.699999999999989</c:v>
                </c:pt>
                <c:pt idx="829">
                  <c:v>-68.900000000000006</c:v>
                </c:pt>
                <c:pt idx="830">
                  <c:v>-71</c:v>
                </c:pt>
                <c:pt idx="831">
                  <c:v>-67.8</c:v>
                </c:pt>
                <c:pt idx="832">
                  <c:v>-71.200000000000017</c:v>
                </c:pt>
                <c:pt idx="833">
                  <c:v>-69.199999999999974</c:v>
                </c:pt>
                <c:pt idx="834">
                  <c:v>-76.900000000000006</c:v>
                </c:pt>
                <c:pt idx="835">
                  <c:v>-82.400000000000034</c:v>
                </c:pt>
                <c:pt idx="836">
                  <c:v>-79.700000000000017</c:v>
                </c:pt>
                <c:pt idx="837">
                  <c:v>-80.099999999999966</c:v>
                </c:pt>
                <c:pt idx="838">
                  <c:v>-82.600000000000051</c:v>
                </c:pt>
                <c:pt idx="839">
                  <c:v>-77</c:v>
                </c:pt>
                <c:pt idx="840">
                  <c:v>-81.5</c:v>
                </c:pt>
                <c:pt idx="841">
                  <c:v>-86.09999999999998</c:v>
                </c:pt>
                <c:pt idx="842">
                  <c:v>-81.999999999999986</c:v>
                </c:pt>
                <c:pt idx="843">
                  <c:v>-77.59999999999998</c:v>
                </c:pt>
                <c:pt idx="844">
                  <c:v>-79.500000000000043</c:v>
                </c:pt>
                <c:pt idx="845">
                  <c:v>-79.500000000000043</c:v>
                </c:pt>
                <c:pt idx="846">
                  <c:v>-77.8</c:v>
                </c:pt>
                <c:pt idx="847">
                  <c:v>-77.59999999999998</c:v>
                </c:pt>
                <c:pt idx="848">
                  <c:v>-81.199999999999989</c:v>
                </c:pt>
                <c:pt idx="849">
                  <c:v>-85.6</c:v>
                </c:pt>
                <c:pt idx="850">
                  <c:v>-87.1</c:v>
                </c:pt>
                <c:pt idx="851">
                  <c:v>-88.299999999999955</c:v>
                </c:pt>
                <c:pt idx="852">
                  <c:v>-89.300000000000026</c:v>
                </c:pt>
                <c:pt idx="853">
                  <c:v>-83.099999999999952</c:v>
                </c:pt>
                <c:pt idx="854">
                  <c:v>-89.799999999999969</c:v>
                </c:pt>
                <c:pt idx="855">
                  <c:v>-91.100000000000009</c:v>
                </c:pt>
                <c:pt idx="856">
                  <c:v>-103.60000000000001</c:v>
                </c:pt>
                <c:pt idx="857">
                  <c:v>-108.99999999999999</c:v>
                </c:pt>
                <c:pt idx="858">
                  <c:v>-97.700000000000031</c:v>
                </c:pt>
                <c:pt idx="859">
                  <c:v>-89.300000000000026</c:v>
                </c:pt>
                <c:pt idx="860">
                  <c:v>-51.500000000000014</c:v>
                </c:pt>
                <c:pt idx="861">
                  <c:v>-58.899999999999949</c:v>
                </c:pt>
                <c:pt idx="862">
                  <c:v>-48.099999999999987</c:v>
                </c:pt>
                <c:pt idx="863">
                  <c:v>-54.699999999999974</c:v>
                </c:pt>
                <c:pt idx="864">
                  <c:v>-44.900000000000027</c:v>
                </c:pt>
                <c:pt idx="865">
                  <c:v>-44.7</c:v>
                </c:pt>
                <c:pt idx="866">
                  <c:v>-57.099999999999973</c:v>
                </c:pt>
                <c:pt idx="867">
                  <c:v>-48.099999999999987</c:v>
                </c:pt>
                <c:pt idx="868">
                  <c:v>-40.200000000000017</c:v>
                </c:pt>
                <c:pt idx="869">
                  <c:v>-39.900000000000006</c:v>
                </c:pt>
                <c:pt idx="870">
                  <c:v>-48</c:v>
                </c:pt>
                <c:pt idx="871">
                  <c:v>-49.40000000000002</c:v>
                </c:pt>
                <c:pt idx="872">
                  <c:v>-51.40000000000002</c:v>
                </c:pt>
                <c:pt idx="873">
                  <c:v>-54.800000000000004</c:v>
                </c:pt>
                <c:pt idx="874">
                  <c:v>-55.90000000000002</c:v>
                </c:pt>
                <c:pt idx="875">
                  <c:v>-55.100000000000016</c:v>
                </c:pt>
                <c:pt idx="876">
                  <c:v>-49.2</c:v>
                </c:pt>
                <c:pt idx="877">
                  <c:v>-49.799999999999976</c:v>
                </c:pt>
                <c:pt idx="878">
                  <c:v>-52.600000000000023</c:v>
                </c:pt>
                <c:pt idx="879">
                  <c:v>-52.600000000000023</c:v>
                </c:pt>
                <c:pt idx="880">
                  <c:v>-58.700000000000017</c:v>
                </c:pt>
                <c:pt idx="881">
                  <c:v>-60.500000000000043</c:v>
                </c:pt>
                <c:pt idx="882">
                  <c:v>-56.800000000000004</c:v>
                </c:pt>
                <c:pt idx="883">
                  <c:v>-51.700000000000031</c:v>
                </c:pt>
                <c:pt idx="884">
                  <c:v>-57.799999999999983</c:v>
                </c:pt>
                <c:pt idx="885">
                  <c:v>-59.699999999999996</c:v>
                </c:pt>
                <c:pt idx="886">
                  <c:v>-64.299999999999983</c:v>
                </c:pt>
                <c:pt idx="887">
                  <c:v>-66.299999999999983</c:v>
                </c:pt>
                <c:pt idx="888">
                  <c:v>-61.499999999999979</c:v>
                </c:pt>
                <c:pt idx="889">
                  <c:v>-61.599999999999966</c:v>
                </c:pt>
                <c:pt idx="890">
                  <c:v>-62.799999999999969</c:v>
                </c:pt>
                <c:pt idx="891">
                  <c:v>-53.29999999999999</c:v>
                </c:pt>
                <c:pt idx="892">
                  <c:v>-48.300000000000011</c:v>
                </c:pt>
                <c:pt idx="893">
                  <c:v>-56.300000000000061</c:v>
                </c:pt>
                <c:pt idx="894">
                  <c:v>-60.299999999999976</c:v>
                </c:pt>
                <c:pt idx="895">
                  <c:v>-55.400000000000027</c:v>
                </c:pt>
                <c:pt idx="896">
                  <c:v>-55.600000000000009</c:v>
                </c:pt>
                <c:pt idx="897">
                  <c:v>-49.800000000000026</c:v>
                </c:pt>
                <c:pt idx="898">
                  <c:v>-40.69999999999996</c:v>
                </c:pt>
                <c:pt idx="899">
                  <c:v>-48.099999999999987</c:v>
                </c:pt>
                <c:pt idx="900">
                  <c:v>-49.199999999999953</c:v>
                </c:pt>
                <c:pt idx="901">
                  <c:v>-51.100000000000058</c:v>
                </c:pt>
                <c:pt idx="902">
                  <c:v>-47.500000000000007</c:v>
                </c:pt>
                <c:pt idx="903">
                  <c:v>-51.29999999999999</c:v>
                </c:pt>
                <c:pt idx="904">
                  <c:v>-53.000000000000028</c:v>
                </c:pt>
                <c:pt idx="905">
                  <c:v>-50.199999999999974</c:v>
                </c:pt>
                <c:pt idx="906">
                  <c:v>-53.100000000000016</c:v>
                </c:pt>
                <c:pt idx="907">
                  <c:v>-57.699999999999996</c:v>
                </c:pt>
                <c:pt idx="908">
                  <c:v>-60.899999999999956</c:v>
                </c:pt>
                <c:pt idx="909">
                  <c:v>-60.899999999999956</c:v>
                </c:pt>
                <c:pt idx="910">
                  <c:v>-60.9</c:v>
                </c:pt>
                <c:pt idx="911">
                  <c:v>-60.9</c:v>
                </c:pt>
                <c:pt idx="912">
                  <c:v>-62.9</c:v>
                </c:pt>
                <c:pt idx="913">
                  <c:v>-71.59999999999998</c:v>
                </c:pt>
                <c:pt idx="914">
                  <c:v>-77.600000000000023</c:v>
                </c:pt>
                <c:pt idx="915">
                  <c:v>-77.600000000000023</c:v>
                </c:pt>
                <c:pt idx="916">
                  <c:v>-76.500000000000057</c:v>
                </c:pt>
                <c:pt idx="917">
                  <c:v>-76.599999999999994</c:v>
                </c:pt>
                <c:pt idx="918">
                  <c:v>-73.600000000000023</c:v>
                </c:pt>
                <c:pt idx="919">
                  <c:v>-80.399999999999977</c:v>
                </c:pt>
                <c:pt idx="920">
                  <c:v>-78.299999999999955</c:v>
                </c:pt>
                <c:pt idx="921">
                  <c:v>-78.299999999999955</c:v>
                </c:pt>
                <c:pt idx="922">
                  <c:v>-76.499999999999972</c:v>
                </c:pt>
                <c:pt idx="923">
                  <c:v>-80.30000000000004</c:v>
                </c:pt>
                <c:pt idx="924">
                  <c:v>-85.900000000000048</c:v>
                </c:pt>
                <c:pt idx="925">
                  <c:v>-84.09999999999998</c:v>
                </c:pt>
                <c:pt idx="926">
                  <c:v>-85.200000000000031</c:v>
                </c:pt>
                <c:pt idx="927">
                  <c:v>-90.500000000000028</c:v>
                </c:pt>
                <c:pt idx="928">
                  <c:v>-92.09999999999998</c:v>
                </c:pt>
                <c:pt idx="929">
                  <c:v>-94.900000000000034</c:v>
                </c:pt>
                <c:pt idx="930">
                  <c:v>-94.900000000000034</c:v>
                </c:pt>
                <c:pt idx="931">
                  <c:v>-96.09999999999998</c:v>
                </c:pt>
                <c:pt idx="932">
                  <c:v>-98.799999999999955</c:v>
                </c:pt>
                <c:pt idx="933">
                  <c:v>-98.999999999999972</c:v>
                </c:pt>
                <c:pt idx="934">
                  <c:v>-101.19999999999996</c:v>
                </c:pt>
                <c:pt idx="935">
                  <c:v>-101.6</c:v>
                </c:pt>
                <c:pt idx="936">
                  <c:v>-100</c:v>
                </c:pt>
                <c:pt idx="937">
                  <c:v>-99.800000000000026</c:v>
                </c:pt>
                <c:pt idx="938">
                  <c:v>-102.19999999999997</c:v>
                </c:pt>
                <c:pt idx="939">
                  <c:v>-105.69999999999995</c:v>
                </c:pt>
                <c:pt idx="940">
                  <c:v>-108.4</c:v>
                </c:pt>
                <c:pt idx="941">
                  <c:v>-108.4</c:v>
                </c:pt>
                <c:pt idx="942">
                  <c:v>-100.4</c:v>
                </c:pt>
                <c:pt idx="943">
                  <c:v>-95.199999999999989</c:v>
                </c:pt>
                <c:pt idx="944">
                  <c:v>-88.19999999999996</c:v>
                </c:pt>
                <c:pt idx="945">
                  <c:v>-86.399999999999991</c:v>
                </c:pt>
                <c:pt idx="946">
                  <c:v>-91.199999999999989</c:v>
                </c:pt>
                <c:pt idx="947">
                  <c:v>-87.699999999999974</c:v>
                </c:pt>
                <c:pt idx="948">
                  <c:v>-85.299999999999983</c:v>
                </c:pt>
                <c:pt idx="949">
                  <c:v>-93.500000000000057</c:v>
                </c:pt>
                <c:pt idx="950">
                  <c:v>-94.400000000000034</c:v>
                </c:pt>
                <c:pt idx="951">
                  <c:v>-97.499999999999972</c:v>
                </c:pt>
                <c:pt idx="952">
                  <c:v>-102.59999999999998</c:v>
                </c:pt>
                <c:pt idx="953">
                  <c:v>-99.099999999999966</c:v>
                </c:pt>
                <c:pt idx="954">
                  <c:v>-100.70000000000002</c:v>
                </c:pt>
                <c:pt idx="955">
                  <c:v>-103.49999999999997</c:v>
                </c:pt>
                <c:pt idx="956">
                  <c:v>-97.999999999999957</c:v>
                </c:pt>
                <c:pt idx="957">
                  <c:v>-96.8</c:v>
                </c:pt>
                <c:pt idx="958">
                  <c:v>-92.20000000000006</c:v>
                </c:pt>
                <c:pt idx="959">
                  <c:v>-92.399999999999991</c:v>
                </c:pt>
                <c:pt idx="960">
                  <c:v>-91.699999999999989</c:v>
                </c:pt>
                <c:pt idx="961">
                  <c:v>-87.100000000000051</c:v>
                </c:pt>
                <c:pt idx="962">
                  <c:v>-81.400000000000006</c:v>
                </c:pt>
                <c:pt idx="963">
                  <c:v>-70.399999999999977</c:v>
                </c:pt>
                <c:pt idx="964">
                  <c:v>-73.500000000000028</c:v>
                </c:pt>
                <c:pt idx="965">
                  <c:v>-68.599999999999994</c:v>
                </c:pt>
                <c:pt idx="966">
                  <c:v>-72.900000000000006</c:v>
                </c:pt>
                <c:pt idx="967">
                  <c:v>-79.399999999999963</c:v>
                </c:pt>
                <c:pt idx="968">
                  <c:v>-74.399999999999977</c:v>
                </c:pt>
                <c:pt idx="969">
                  <c:v>-73.099999999999994</c:v>
                </c:pt>
                <c:pt idx="970">
                  <c:v>-78.2</c:v>
                </c:pt>
                <c:pt idx="971">
                  <c:v>-73.700000000000017</c:v>
                </c:pt>
                <c:pt idx="972">
                  <c:v>-70.599999999999952</c:v>
                </c:pt>
                <c:pt idx="973">
                  <c:v>-65.399999999999991</c:v>
                </c:pt>
                <c:pt idx="974">
                  <c:v>-68.499999999999957</c:v>
                </c:pt>
                <c:pt idx="975">
                  <c:v>-65.80000000000004</c:v>
                </c:pt>
                <c:pt idx="976">
                  <c:v>-70.899999999999963</c:v>
                </c:pt>
                <c:pt idx="977">
                  <c:v>-76.999999999999957</c:v>
                </c:pt>
                <c:pt idx="978">
                  <c:v>-77.899999999999991</c:v>
                </c:pt>
                <c:pt idx="979">
                  <c:v>-83.400000000000048</c:v>
                </c:pt>
                <c:pt idx="980">
                  <c:v>-83.900000000000034</c:v>
                </c:pt>
                <c:pt idx="981">
                  <c:v>-77.200000000000017</c:v>
                </c:pt>
                <c:pt idx="982">
                  <c:v>-76.800000000000068</c:v>
                </c:pt>
                <c:pt idx="983">
                  <c:v>-75.399999999999949</c:v>
                </c:pt>
                <c:pt idx="984">
                  <c:v>-69.599999999999966</c:v>
                </c:pt>
                <c:pt idx="985">
                  <c:v>-69.599999999999966</c:v>
                </c:pt>
                <c:pt idx="986">
                  <c:v>-69.200000000000017</c:v>
                </c:pt>
                <c:pt idx="987">
                  <c:v>-72.700000000000031</c:v>
                </c:pt>
                <c:pt idx="988">
                  <c:v>-68.700000000000031</c:v>
                </c:pt>
                <c:pt idx="989">
                  <c:v>-72.40000000000002</c:v>
                </c:pt>
                <c:pt idx="990">
                  <c:v>-69.399999999999991</c:v>
                </c:pt>
                <c:pt idx="991">
                  <c:v>-74.099999999999966</c:v>
                </c:pt>
                <c:pt idx="992">
                  <c:v>-72.100000000000009</c:v>
                </c:pt>
                <c:pt idx="993">
                  <c:v>-72.599999999999994</c:v>
                </c:pt>
                <c:pt idx="994">
                  <c:v>-70.900000000000048</c:v>
                </c:pt>
                <c:pt idx="995">
                  <c:v>-75</c:v>
                </c:pt>
                <c:pt idx="996">
                  <c:v>-73.59999999999998</c:v>
                </c:pt>
                <c:pt idx="997">
                  <c:v>-78.999999999999915</c:v>
                </c:pt>
                <c:pt idx="998">
                  <c:v>-65.80000000000004</c:v>
                </c:pt>
                <c:pt idx="999">
                  <c:v>-68.000000000000057</c:v>
                </c:pt>
                <c:pt idx="1000">
                  <c:v>-58.300000000000018</c:v>
                </c:pt>
                <c:pt idx="1001">
                  <c:v>-57.699999999999996</c:v>
                </c:pt>
                <c:pt idx="1002">
                  <c:v>-52.59999999999998</c:v>
                </c:pt>
                <c:pt idx="1003">
                  <c:v>-48.299999999999969</c:v>
                </c:pt>
                <c:pt idx="1004">
                  <c:v>-47.699999999999946</c:v>
                </c:pt>
                <c:pt idx="1005">
                  <c:v>-42.099999999999937</c:v>
                </c:pt>
                <c:pt idx="1006">
                  <c:v>-34.400000000000034</c:v>
                </c:pt>
                <c:pt idx="1007">
                  <c:v>-32.299999999999955</c:v>
                </c:pt>
                <c:pt idx="1008">
                  <c:v>-30.19999999999996</c:v>
                </c:pt>
                <c:pt idx="1009">
                  <c:v>-28.600000000000048</c:v>
                </c:pt>
                <c:pt idx="1010">
                  <c:v>-28.600000000000048</c:v>
                </c:pt>
                <c:pt idx="1011">
                  <c:v>-30.400000000000027</c:v>
                </c:pt>
                <c:pt idx="1012">
                  <c:v>-41.999999999999993</c:v>
                </c:pt>
                <c:pt idx="1013">
                  <c:v>-36.000000000000028</c:v>
                </c:pt>
                <c:pt idx="1014">
                  <c:v>-42.899999999999935</c:v>
                </c:pt>
                <c:pt idx="1015">
                  <c:v>-39.499999999999957</c:v>
                </c:pt>
                <c:pt idx="1016">
                  <c:v>-38.600000000000009</c:v>
                </c:pt>
                <c:pt idx="1017">
                  <c:v>-30.999999999999961</c:v>
                </c:pt>
                <c:pt idx="1018">
                  <c:v>-17.799999999999994</c:v>
                </c:pt>
                <c:pt idx="1019">
                  <c:v>-16.100000000000048</c:v>
                </c:pt>
                <c:pt idx="1020">
                  <c:v>-21.499999999999986</c:v>
                </c:pt>
                <c:pt idx="1021">
                  <c:v>-28.200000000000003</c:v>
                </c:pt>
                <c:pt idx="1022">
                  <c:v>-17.599999999999927</c:v>
                </c:pt>
                <c:pt idx="1023">
                  <c:v>-20.000000000000018</c:v>
                </c:pt>
                <c:pt idx="1024">
                  <c:v>-16.800000000000015</c:v>
                </c:pt>
                <c:pt idx="1025">
                  <c:v>-16.300000000000026</c:v>
                </c:pt>
                <c:pt idx="1026">
                  <c:v>-15.800000000000036</c:v>
                </c:pt>
                <c:pt idx="1027">
                  <c:v>-19.700000000000006</c:v>
                </c:pt>
                <c:pt idx="1028">
                  <c:v>-32.200000000000003</c:v>
                </c:pt>
                <c:pt idx="1029">
                  <c:v>-26.700000000000035</c:v>
                </c:pt>
                <c:pt idx="1030">
                  <c:v>-29.000000000000004</c:v>
                </c:pt>
                <c:pt idx="1031">
                  <c:v>-33.999999999999986</c:v>
                </c:pt>
                <c:pt idx="1032">
                  <c:v>-41.900000000000048</c:v>
                </c:pt>
                <c:pt idx="1033">
                  <c:v>-40.300000000000047</c:v>
                </c:pt>
                <c:pt idx="1034">
                  <c:v>-43.799999999999969</c:v>
                </c:pt>
                <c:pt idx="1035">
                  <c:v>-39.599999999999994</c:v>
                </c:pt>
                <c:pt idx="1036">
                  <c:v>-37.599999999999945</c:v>
                </c:pt>
                <c:pt idx="1037">
                  <c:v>-37.699999999999974</c:v>
                </c:pt>
                <c:pt idx="1038">
                  <c:v>-39.299999999999983</c:v>
                </c:pt>
                <c:pt idx="1039">
                  <c:v>-46.400000000000041</c:v>
                </c:pt>
                <c:pt idx="1040">
                  <c:v>-49.300000000000033</c:v>
                </c:pt>
                <c:pt idx="1041">
                  <c:v>-47.89999999999992</c:v>
                </c:pt>
                <c:pt idx="1042">
                  <c:v>-49.2</c:v>
                </c:pt>
                <c:pt idx="1043">
                  <c:v>-49.2</c:v>
                </c:pt>
                <c:pt idx="1044">
                  <c:v>-47.100000000000009</c:v>
                </c:pt>
                <c:pt idx="1045">
                  <c:v>-50.300000000000011</c:v>
                </c:pt>
                <c:pt idx="1046">
                  <c:v>-41.5</c:v>
                </c:pt>
                <c:pt idx="1047">
                  <c:v>-37.800000000000011</c:v>
                </c:pt>
                <c:pt idx="1048">
                  <c:v>-36.09999999999998</c:v>
                </c:pt>
                <c:pt idx="1049">
                  <c:v>-33.900000000000041</c:v>
                </c:pt>
                <c:pt idx="1050">
                  <c:v>-36.30000000000004</c:v>
                </c:pt>
                <c:pt idx="1051">
                  <c:v>-40.899999999999977</c:v>
                </c:pt>
                <c:pt idx="1052">
                  <c:v>-48.000000000000043</c:v>
                </c:pt>
                <c:pt idx="1053">
                  <c:v>-43.900000000000006</c:v>
                </c:pt>
                <c:pt idx="1054">
                  <c:v>-49.2</c:v>
                </c:pt>
                <c:pt idx="1055">
                  <c:v>-47.900000000000006</c:v>
                </c:pt>
                <c:pt idx="1056">
                  <c:v>-52.499999999999943</c:v>
                </c:pt>
                <c:pt idx="1057">
                  <c:v>-42.100000000000023</c:v>
                </c:pt>
                <c:pt idx="1058">
                  <c:v>-47.000000000000021</c:v>
                </c:pt>
                <c:pt idx="1059">
                  <c:v>-53.599999999999959</c:v>
                </c:pt>
                <c:pt idx="1060">
                  <c:v>-51.099999999999966</c:v>
                </c:pt>
                <c:pt idx="1061">
                  <c:v>-51.099999999999966</c:v>
                </c:pt>
                <c:pt idx="1062">
                  <c:v>-50.8</c:v>
                </c:pt>
                <c:pt idx="1063">
                  <c:v>-46.10000000000003</c:v>
                </c:pt>
                <c:pt idx="1064">
                  <c:v>-42.600000000000016</c:v>
                </c:pt>
                <c:pt idx="1065">
                  <c:v>-42.600000000000016</c:v>
                </c:pt>
                <c:pt idx="1066">
                  <c:v>-46.700000000000053</c:v>
                </c:pt>
                <c:pt idx="1067">
                  <c:v>-45.299999999999983</c:v>
                </c:pt>
                <c:pt idx="1068">
                  <c:v>-43.900000000000048</c:v>
                </c:pt>
                <c:pt idx="1069">
                  <c:v>-38.399999999999991</c:v>
                </c:pt>
                <c:pt idx="1070">
                  <c:v>-38.399999999999991</c:v>
                </c:pt>
                <c:pt idx="1071">
                  <c:v>-38.700000000000003</c:v>
                </c:pt>
                <c:pt idx="1072">
                  <c:v>-42.09999999999998</c:v>
                </c:pt>
                <c:pt idx="1073">
                  <c:v>-38.899999999999977</c:v>
                </c:pt>
                <c:pt idx="1074">
                  <c:v>-34.299999999999997</c:v>
                </c:pt>
                <c:pt idx="1075">
                  <c:v>-35.799999999999969</c:v>
                </c:pt>
                <c:pt idx="1076">
                  <c:v>-35.099999999999994</c:v>
                </c:pt>
                <c:pt idx="1077">
                  <c:v>-32.399999999999984</c:v>
                </c:pt>
                <c:pt idx="1078">
                  <c:v>-27.700000000000014</c:v>
                </c:pt>
                <c:pt idx="1079">
                  <c:v>-19.599999999999973</c:v>
                </c:pt>
                <c:pt idx="1080">
                  <c:v>-19.599999999999973</c:v>
                </c:pt>
                <c:pt idx="1081">
                  <c:v>-16.800000000000015</c:v>
                </c:pt>
                <c:pt idx="1082">
                  <c:v>-25</c:v>
                </c:pt>
                <c:pt idx="1083">
                  <c:v>-21.699999999999964</c:v>
                </c:pt>
                <c:pt idx="1084">
                  <c:v>-25.499999999999989</c:v>
                </c:pt>
                <c:pt idx="1085">
                  <c:v>-28.599999999999959</c:v>
                </c:pt>
                <c:pt idx="1086">
                  <c:v>-24.899999999999967</c:v>
                </c:pt>
                <c:pt idx="1087">
                  <c:v>-20.599999999999952</c:v>
                </c:pt>
                <c:pt idx="1088">
                  <c:v>-18.99999999999995</c:v>
                </c:pt>
                <c:pt idx="1089">
                  <c:v>-20.800000000000018</c:v>
                </c:pt>
                <c:pt idx="1090">
                  <c:v>-23.599999999999977</c:v>
                </c:pt>
                <c:pt idx="1091">
                  <c:v>-30.799999999999983</c:v>
                </c:pt>
                <c:pt idx="1092">
                  <c:v>-27.699999999999967</c:v>
                </c:pt>
                <c:pt idx="1093">
                  <c:v>-33.400000000000006</c:v>
                </c:pt>
                <c:pt idx="1094">
                  <c:v>-34.600000000000009</c:v>
                </c:pt>
                <c:pt idx="1095">
                  <c:v>-31.200000000000028</c:v>
                </c:pt>
                <c:pt idx="1096">
                  <c:v>-31.600000000000072</c:v>
                </c:pt>
                <c:pt idx="1097">
                  <c:v>-31.799999999999962</c:v>
                </c:pt>
                <c:pt idx="1098">
                  <c:v>-30.200000000000049</c:v>
                </c:pt>
                <c:pt idx="1099">
                  <c:v>-30.700000000000038</c:v>
                </c:pt>
                <c:pt idx="1100">
                  <c:v>-30.600000000000005</c:v>
                </c:pt>
                <c:pt idx="1101">
                  <c:v>-33.60000000000003</c:v>
                </c:pt>
                <c:pt idx="1102">
                  <c:v>-31.300000000000061</c:v>
                </c:pt>
                <c:pt idx="1103">
                  <c:v>-33.60000000000003</c:v>
                </c:pt>
                <c:pt idx="1104">
                  <c:v>-35.499999999999957</c:v>
                </c:pt>
                <c:pt idx="1105">
                  <c:v>-35.499999999999957</c:v>
                </c:pt>
                <c:pt idx="1106">
                  <c:v>-33.5</c:v>
                </c:pt>
                <c:pt idx="1107">
                  <c:v>-34.500000000000064</c:v>
                </c:pt>
                <c:pt idx="1108">
                  <c:v>-37.999999999999986</c:v>
                </c:pt>
                <c:pt idx="1109">
                  <c:v>-43.799999999999969</c:v>
                </c:pt>
                <c:pt idx="1110">
                  <c:v>-43.799999999999969</c:v>
                </c:pt>
                <c:pt idx="1111">
                  <c:v>-39.900000000000006</c:v>
                </c:pt>
                <c:pt idx="1112">
                  <c:v>-38.400000000000034</c:v>
                </c:pt>
                <c:pt idx="1113">
                  <c:v>-38.100000000000023</c:v>
                </c:pt>
                <c:pt idx="1114">
                  <c:v>-35.599999999999987</c:v>
                </c:pt>
                <c:pt idx="1115">
                  <c:v>-38.299999999999997</c:v>
                </c:pt>
                <c:pt idx="1116">
                  <c:v>-41.5</c:v>
                </c:pt>
                <c:pt idx="1117">
                  <c:v>-45.199999999999996</c:v>
                </c:pt>
                <c:pt idx="1118">
                  <c:v>-42.400000000000034</c:v>
                </c:pt>
                <c:pt idx="1119">
                  <c:v>-39.700000000000024</c:v>
                </c:pt>
                <c:pt idx="1120">
                  <c:v>-44.000000000000043</c:v>
                </c:pt>
                <c:pt idx="1121">
                  <c:v>-44.200000000000017</c:v>
                </c:pt>
                <c:pt idx="1122">
                  <c:v>-43.199999999999946</c:v>
                </c:pt>
                <c:pt idx="1123">
                  <c:v>-39.499999999999957</c:v>
                </c:pt>
                <c:pt idx="1124">
                  <c:v>-41.999999999999993</c:v>
                </c:pt>
                <c:pt idx="1125">
                  <c:v>-40.000000000000036</c:v>
                </c:pt>
                <c:pt idx="1126">
                  <c:v>-39.000000000000057</c:v>
                </c:pt>
                <c:pt idx="1127">
                  <c:v>-33.800000000000011</c:v>
                </c:pt>
                <c:pt idx="1128">
                  <c:v>-36.599999999999966</c:v>
                </c:pt>
                <c:pt idx="1129">
                  <c:v>-38.399999999999949</c:v>
                </c:pt>
                <c:pt idx="1130">
                  <c:v>-38.099999999999937</c:v>
                </c:pt>
                <c:pt idx="1131">
                  <c:v>-35.700000000000017</c:v>
                </c:pt>
                <c:pt idx="1132">
                  <c:v>-37.800000000000011</c:v>
                </c:pt>
                <c:pt idx="1133">
                  <c:v>-42.599999999999923</c:v>
                </c:pt>
                <c:pt idx="1134">
                  <c:v>-42.599999999999923</c:v>
                </c:pt>
                <c:pt idx="1135">
                  <c:v>-39.1</c:v>
                </c:pt>
                <c:pt idx="1136">
                  <c:v>-33.599999999999937</c:v>
                </c:pt>
                <c:pt idx="1137">
                  <c:v>-32.699999999999996</c:v>
                </c:pt>
                <c:pt idx="1138">
                  <c:v>-33.800000000000011</c:v>
                </c:pt>
                <c:pt idx="1139">
                  <c:v>-34.600000000000009</c:v>
                </c:pt>
                <c:pt idx="1140">
                  <c:v>-37.100000000000044</c:v>
                </c:pt>
                <c:pt idx="1141">
                  <c:v>-37.700000000000067</c:v>
                </c:pt>
                <c:pt idx="1142">
                  <c:v>-42.499999999999986</c:v>
                </c:pt>
                <c:pt idx="1143">
                  <c:v>-37.399999999999963</c:v>
                </c:pt>
                <c:pt idx="1144">
                  <c:v>-37.700000000000067</c:v>
                </c:pt>
                <c:pt idx="1145">
                  <c:v>-30.700000000000038</c:v>
                </c:pt>
                <c:pt idx="1146">
                  <c:v>-30.299999999999994</c:v>
                </c:pt>
                <c:pt idx="1147">
                  <c:v>-34.700000000000045</c:v>
                </c:pt>
                <c:pt idx="1148">
                  <c:v>-35.9</c:v>
                </c:pt>
                <c:pt idx="1149">
                  <c:v>-36.20000000000001</c:v>
                </c:pt>
                <c:pt idx="1150">
                  <c:v>-35.200000000000031</c:v>
                </c:pt>
                <c:pt idx="1151">
                  <c:v>-32.499999999999929</c:v>
                </c:pt>
                <c:pt idx="1152">
                  <c:v>-28.299999999999947</c:v>
                </c:pt>
                <c:pt idx="1153">
                  <c:v>-28.89999999999997</c:v>
                </c:pt>
                <c:pt idx="1154">
                  <c:v>-33.100000000000037</c:v>
                </c:pt>
                <c:pt idx="1155">
                  <c:v>-36.499999999999929</c:v>
                </c:pt>
                <c:pt idx="1156">
                  <c:v>-35.300000000000068</c:v>
                </c:pt>
                <c:pt idx="1157">
                  <c:v>-32.800000000000026</c:v>
                </c:pt>
                <c:pt idx="1158">
                  <c:v>-30.600000000000005</c:v>
                </c:pt>
                <c:pt idx="1159">
                  <c:v>-30.600000000000005</c:v>
                </c:pt>
                <c:pt idx="1160">
                  <c:v>-34.400000000000034</c:v>
                </c:pt>
                <c:pt idx="1161">
                  <c:v>-36.700000000000003</c:v>
                </c:pt>
                <c:pt idx="1162">
                  <c:v>-34.499999999999972</c:v>
                </c:pt>
                <c:pt idx="1163">
                  <c:v>-35.800000000000054</c:v>
                </c:pt>
                <c:pt idx="1164">
                  <c:v>-36.599999999999966</c:v>
                </c:pt>
                <c:pt idx="1165">
                  <c:v>-37.000000000000014</c:v>
                </c:pt>
                <c:pt idx="1166">
                  <c:v>-37.400000000000055</c:v>
                </c:pt>
                <c:pt idx="1167">
                  <c:v>-37.800000000000011</c:v>
                </c:pt>
                <c:pt idx="1168">
                  <c:v>-41.800000000000011</c:v>
                </c:pt>
                <c:pt idx="1169">
                  <c:v>-40.90000000000007</c:v>
                </c:pt>
                <c:pt idx="1170">
                  <c:v>-40.500000000000028</c:v>
                </c:pt>
                <c:pt idx="1171">
                  <c:v>-41.900000000000048</c:v>
                </c:pt>
                <c:pt idx="1172">
                  <c:v>-44.7</c:v>
                </c:pt>
                <c:pt idx="1173">
                  <c:v>-45.599999999999952</c:v>
                </c:pt>
                <c:pt idx="1174">
                  <c:v>-48.300000000000054</c:v>
                </c:pt>
                <c:pt idx="1175">
                  <c:v>-48.300000000000054</c:v>
                </c:pt>
                <c:pt idx="1176">
                  <c:v>-43.40000000000002</c:v>
                </c:pt>
                <c:pt idx="1177">
                  <c:v>-36.09999999999998</c:v>
                </c:pt>
                <c:pt idx="1178">
                  <c:v>-37.699999999999974</c:v>
                </c:pt>
                <c:pt idx="1179">
                  <c:v>-37.899999999999956</c:v>
                </c:pt>
                <c:pt idx="1180">
                  <c:v>-41.39999999999997</c:v>
                </c:pt>
                <c:pt idx="1181">
                  <c:v>-44.7</c:v>
                </c:pt>
                <c:pt idx="1182">
                  <c:v>-44.300000000000054</c:v>
                </c:pt>
                <c:pt idx="1183">
                  <c:v>-43.700000000000031</c:v>
                </c:pt>
                <c:pt idx="1184">
                  <c:v>-45.099999999999966</c:v>
                </c:pt>
                <c:pt idx="1185">
                  <c:v>-41.600000000000037</c:v>
                </c:pt>
                <c:pt idx="1186">
                  <c:v>-43.40000000000002</c:v>
                </c:pt>
                <c:pt idx="1187">
                  <c:v>-44.299999999999962</c:v>
                </c:pt>
                <c:pt idx="1188">
                  <c:v>-45.899999999999963</c:v>
                </c:pt>
                <c:pt idx="1189">
                  <c:v>-48.70000000000001</c:v>
                </c:pt>
                <c:pt idx="1190">
                  <c:v>-48.799999999999955</c:v>
                </c:pt>
                <c:pt idx="1191">
                  <c:v>-49.699999999999989</c:v>
                </c:pt>
                <c:pt idx="1192">
                  <c:v>-49.699999999999989</c:v>
                </c:pt>
                <c:pt idx="1193">
                  <c:v>-47.500000000000057</c:v>
                </c:pt>
                <c:pt idx="1194">
                  <c:v>-47.40000000000002</c:v>
                </c:pt>
                <c:pt idx="1195">
                  <c:v>-49.399999999999977</c:v>
                </c:pt>
                <c:pt idx="1196">
                  <c:v>-50.599999999999937</c:v>
                </c:pt>
                <c:pt idx="1197">
                  <c:v>-42.499999999999986</c:v>
                </c:pt>
                <c:pt idx="1198">
                  <c:v>-42.600000000000016</c:v>
                </c:pt>
                <c:pt idx="1199">
                  <c:v>-34.499999999999972</c:v>
                </c:pt>
                <c:pt idx="1200">
                  <c:v>-28.89999999999997</c:v>
                </c:pt>
                <c:pt idx="1201">
                  <c:v>-30.899999999999928</c:v>
                </c:pt>
                <c:pt idx="1202">
                  <c:v>-34.399999999999942</c:v>
                </c:pt>
                <c:pt idx="1203">
                  <c:v>-34.399999999999942</c:v>
                </c:pt>
                <c:pt idx="1204">
                  <c:v>-33.000000000000007</c:v>
                </c:pt>
                <c:pt idx="1205">
                  <c:v>-35.700000000000017</c:v>
                </c:pt>
                <c:pt idx="1206">
                  <c:v>-32.79999999999994</c:v>
                </c:pt>
                <c:pt idx="1207">
                  <c:v>-33.999999999999986</c:v>
                </c:pt>
                <c:pt idx="1208">
                  <c:v>-31.299999999999972</c:v>
                </c:pt>
                <c:pt idx="1209">
                  <c:v>-27.000000000000046</c:v>
                </c:pt>
                <c:pt idx="1210">
                  <c:v>-22.100000000000009</c:v>
                </c:pt>
                <c:pt idx="1211">
                  <c:v>-26.699999999999946</c:v>
                </c:pt>
                <c:pt idx="1212">
                  <c:v>-28.599999999999959</c:v>
                </c:pt>
                <c:pt idx="1213">
                  <c:v>-27.299999999999969</c:v>
                </c:pt>
                <c:pt idx="1214">
                  <c:v>-26.6</c:v>
                </c:pt>
                <c:pt idx="1215">
                  <c:v>-26.700000000000035</c:v>
                </c:pt>
                <c:pt idx="1216">
                  <c:v>-24.500000000000011</c:v>
                </c:pt>
                <c:pt idx="1217">
                  <c:v>-14.499999999999957</c:v>
                </c:pt>
                <c:pt idx="1218">
                  <c:v>-18.900000000000006</c:v>
                </c:pt>
                <c:pt idx="1219">
                  <c:v>-18.700000000000028</c:v>
                </c:pt>
                <c:pt idx="1220">
                  <c:v>-21.999999999999975</c:v>
                </c:pt>
                <c:pt idx="1221">
                  <c:v>-22.200000000000042</c:v>
                </c:pt>
                <c:pt idx="1222">
                  <c:v>-20.500000000000007</c:v>
                </c:pt>
                <c:pt idx="1223">
                  <c:v>-17.199999999999971</c:v>
                </c:pt>
                <c:pt idx="1224">
                  <c:v>-8.4000000000000075</c:v>
                </c:pt>
                <c:pt idx="1225">
                  <c:v>-10.80000000000001</c:v>
                </c:pt>
                <c:pt idx="1226">
                  <c:v>-9.3000000000000416</c:v>
                </c:pt>
                <c:pt idx="1227">
                  <c:v>-9.3000000000000416</c:v>
                </c:pt>
                <c:pt idx="1228">
                  <c:v>-4.0999999999999925</c:v>
                </c:pt>
                <c:pt idx="1229">
                  <c:v>-10.900000000000043</c:v>
                </c:pt>
                <c:pt idx="1230">
                  <c:v>-10.199999999999987</c:v>
                </c:pt>
                <c:pt idx="1231">
                  <c:v>-8.9999999999999858</c:v>
                </c:pt>
                <c:pt idx="1232">
                  <c:v>-13.099999999999978</c:v>
                </c:pt>
                <c:pt idx="1233">
                  <c:v>-18.200000000000038</c:v>
                </c:pt>
                <c:pt idx="1234">
                  <c:v>-16.400000000000013</c:v>
                </c:pt>
                <c:pt idx="1235">
                  <c:v>-20.300000000000029</c:v>
                </c:pt>
                <c:pt idx="1236">
                  <c:v>-18.000000000000014</c:v>
                </c:pt>
                <c:pt idx="1237">
                  <c:v>-14.19999999999999</c:v>
                </c:pt>
                <c:pt idx="1238">
                  <c:v>-15.199999999999969</c:v>
                </c:pt>
                <c:pt idx="1239">
                  <c:v>-10.999999999999988</c:v>
                </c:pt>
                <c:pt idx="1240">
                  <c:v>-12.000000000000011</c:v>
                </c:pt>
                <c:pt idx="1241">
                  <c:v>-7.5000000000000178</c:v>
                </c:pt>
                <c:pt idx="1242">
                  <c:v>-2.4000000000000021</c:v>
                </c:pt>
                <c:pt idx="1243">
                  <c:v>-2.8999999999999915</c:v>
                </c:pt>
                <c:pt idx="1244">
                  <c:v>-0.40000000000000036</c:v>
                </c:pt>
                <c:pt idx="1245">
                  <c:v>-0.40000000000000036</c:v>
                </c:pt>
                <c:pt idx="1246">
                  <c:v>-3.8000000000000256</c:v>
                </c:pt>
                <c:pt idx="1247">
                  <c:v>-0.49999999999998934</c:v>
                </c:pt>
                <c:pt idx="1248">
                  <c:v>-2.0999999999999908</c:v>
                </c:pt>
                <c:pt idx="1249">
                  <c:v>5.7000000000000384</c:v>
                </c:pt>
                <c:pt idx="1250">
                  <c:v>2.5000000000000355</c:v>
                </c:pt>
                <c:pt idx="1251">
                  <c:v>4.5999999999999819</c:v>
                </c:pt>
                <c:pt idx="1252">
                  <c:v>0.70000000000001172</c:v>
                </c:pt>
                <c:pt idx="1253">
                  <c:v>2.3000000000000131</c:v>
                </c:pt>
                <c:pt idx="1254">
                  <c:v>7.6999999999999957</c:v>
                </c:pt>
                <c:pt idx="1255">
                  <c:v>5.600000000000005</c:v>
                </c:pt>
                <c:pt idx="1256">
                  <c:v>4.4999999999999929</c:v>
                </c:pt>
                <c:pt idx="1257">
                  <c:v>7.8999999999999737</c:v>
                </c:pt>
                <c:pt idx="1258">
                  <c:v>13.3</c:v>
                </c:pt>
                <c:pt idx="1259">
                  <c:v>14.500000000000002</c:v>
                </c:pt>
                <c:pt idx="1260">
                  <c:v>15.799999999999992</c:v>
                </c:pt>
                <c:pt idx="1261">
                  <c:v>19.80000000000004</c:v>
                </c:pt>
                <c:pt idx="1262">
                  <c:v>23</c:v>
                </c:pt>
                <c:pt idx="1263">
                  <c:v>17.09999999999998</c:v>
                </c:pt>
                <c:pt idx="1264">
                  <c:v>19.200000000000017</c:v>
                </c:pt>
                <c:pt idx="1265">
                  <c:v>14.300000000000024</c:v>
                </c:pt>
                <c:pt idx="1266">
                  <c:v>12.399999999999967</c:v>
                </c:pt>
                <c:pt idx="1267">
                  <c:v>15.000000000000036</c:v>
                </c:pt>
                <c:pt idx="1268">
                  <c:v>14.500000000000002</c:v>
                </c:pt>
                <c:pt idx="1269">
                  <c:v>5.4999999999999716</c:v>
                </c:pt>
                <c:pt idx="1270">
                  <c:v>3.6999999999999922</c:v>
                </c:pt>
                <c:pt idx="1271">
                  <c:v>5.3999999999999826</c:v>
                </c:pt>
                <c:pt idx="1272">
                  <c:v>5.200000000000049</c:v>
                </c:pt>
                <c:pt idx="1273">
                  <c:v>10.099999999999998</c:v>
                </c:pt>
                <c:pt idx="1274">
                  <c:v>14.000000000000012</c:v>
                </c:pt>
                <c:pt idx="1275">
                  <c:v>14.000000000000012</c:v>
                </c:pt>
                <c:pt idx="1276">
                  <c:v>7.3999999999999844</c:v>
                </c:pt>
                <c:pt idx="1277">
                  <c:v>7.9000000000000181</c:v>
                </c:pt>
                <c:pt idx="1278">
                  <c:v>11.299999999999999</c:v>
                </c:pt>
                <c:pt idx="1279">
                  <c:v>13.299999999999956</c:v>
                </c:pt>
                <c:pt idx="1280">
                  <c:v>16.500000000000004</c:v>
                </c:pt>
                <c:pt idx="1281">
                  <c:v>16.999999999999993</c:v>
                </c:pt>
                <c:pt idx="1282">
                  <c:v>15.800000000000036</c:v>
                </c:pt>
                <c:pt idx="1283">
                  <c:v>13.800000000000079</c:v>
                </c:pt>
                <c:pt idx="1284">
                  <c:v>13.499999999999979</c:v>
                </c:pt>
                <c:pt idx="1285">
                  <c:v>14.100000000000001</c:v>
                </c:pt>
                <c:pt idx="1286">
                  <c:v>15.09999999999998</c:v>
                </c:pt>
                <c:pt idx="1287">
                  <c:v>11.399999999999988</c:v>
                </c:pt>
                <c:pt idx="1288">
                  <c:v>11.599999999999966</c:v>
                </c:pt>
                <c:pt idx="1289">
                  <c:v>16.699999999999982</c:v>
                </c:pt>
                <c:pt idx="1290">
                  <c:v>13.099999999999934</c:v>
                </c:pt>
                <c:pt idx="1291">
                  <c:v>8.9999999999999858</c:v>
                </c:pt>
                <c:pt idx="1292">
                  <c:v>15.799999999999947</c:v>
                </c:pt>
                <c:pt idx="1293">
                  <c:v>13.3</c:v>
                </c:pt>
                <c:pt idx="1294">
                  <c:v>4.0000000000000036</c:v>
                </c:pt>
                <c:pt idx="1295">
                  <c:v>4.0000000000000036</c:v>
                </c:pt>
                <c:pt idx="1296">
                  <c:v>8.9000000000000412</c:v>
                </c:pt>
                <c:pt idx="1297">
                  <c:v>17.799999999999994</c:v>
                </c:pt>
                <c:pt idx="1298">
                  <c:v>8.9999999999999858</c:v>
                </c:pt>
                <c:pt idx="1299">
                  <c:v>13.100000000000023</c:v>
                </c:pt>
                <c:pt idx="1300">
                  <c:v>13.200000000000056</c:v>
                </c:pt>
                <c:pt idx="1301">
                  <c:v>11.20000000000001</c:v>
                </c:pt>
                <c:pt idx="1302">
                  <c:v>9.2999999999999972</c:v>
                </c:pt>
                <c:pt idx="1303">
                  <c:v>6.899999999999995</c:v>
                </c:pt>
                <c:pt idx="1304">
                  <c:v>3.700000000000081</c:v>
                </c:pt>
                <c:pt idx="1305">
                  <c:v>0.49999999999998934</c:v>
                </c:pt>
              </c:numCache>
            </c:numRef>
          </c:val>
          <c:smooth val="0"/>
          <c:extLst>
            <c:ext xmlns:c16="http://schemas.microsoft.com/office/drawing/2014/chart" uri="{C3380CC4-5D6E-409C-BE32-E72D297353CC}">
              <c16:uniqueId val="{00000000-4396-4002-A4F0-4449E5913FD1}"/>
            </c:ext>
          </c:extLst>
        </c:ser>
        <c:ser>
          <c:idx val="1"/>
          <c:order val="1"/>
          <c:tx>
            <c:strRef>
              <c:f>'10y-2y'!$I$6</c:f>
              <c:strCache>
                <c:ptCount val="1"/>
                <c:pt idx="0">
                  <c:v>30-jährige - 2 jährige</c:v>
                </c:pt>
              </c:strCache>
            </c:strRef>
          </c:tx>
          <c:spPr>
            <a:ln w="28575" cap="rnd">
              <a:solidFill>
                <a:schemeClr val="accent2"/>
              </a:solidFill>
              <a:round/>
            </a:ln>
            <a:effectLst/>
          </c:spPr>
          <c:marker>
            <c:symbol val="none"/>
          </c:marker>
          <c:cat>
            <c:numRef>
              <c:f>'10y-2y'!$G$8:$G$1313</c:f>
              <c:numCache>
                <c:formatCode>m/d/yyyy</c:formatCode>
                <c:ptCount val="1306"/>
                <c:pt idx="0">
                  <c:v>43794</c:v>
                </c:pt>
                <c:pt idx="1">
                  <c:v>43795</c:v>
                </c:pt>
                <c:pt idx="2">
                  <c:v>43796</c:v>
                </c:pt>
                <c:pt idx="3">
                  <c:v>43797</c:v>
                </c:pt>
                <c:pt idx="4">
                  <c:v>43798</c:v>
                </c:pt>
                <c:pt idx="5">
                  <c:v>43801</c:v>
                </c:pt>
                <c:pt idx="6">
                  <c:v>43802</c:v>
                </c:pt>
                <c:pt idx="7">
                  <c:v>43803</c:v>
                </c:pt>
                <c:pt idx="8">
                  <c:v>43804</c:v>
                </c:pt>
                <c:pt idx="9">
                  <c:v>43805</c:v>
                </c:pt>
                <c:pt idx="10">
                  <c:v>43808</c:v>
                </c:pt>
                <c:pt idx="11">
                  <c:v>43809</c:v>
                </c:pt>
                <c:pt idx="12">
                  <c:v>43810</c:v>
                </c:pt>
                <c:pt idx="13">
                  <c:v>43811</c:v>
                </c:pt>
                <c:pt idx="14">
                  <c:v>43812</c:v>
                </c:pt>
                <c:pt idx="15">
                  <c:v>43815</c:v>
                </c:pt>
                <c:pt idx="16">
                  <c:v>43816</c:v>
                </c:pt>
                <c:pt idx="17">
                  <c:v>43817</c:v>
                </c:pt>
                <c:pt idx="18">
                  <c:v>43818</c:v>
                </c:pt>
                <c:pt idx="19">
                  <c:v>43819</c:v>
                </c:pt>
                <c:pt idx="20">
                  <c:v>43822</c:v>
                </c:pt>
                <c:pt idx="21">
                  <c:v>43823</c:v>
                </c:pt>
                <c:pt idx="22">
                  <c:v>43824</c:v>
                </c:pt>
                <c:pt idx="23">
                  <c:v>43825</c:v>
                </c:pt>
                <c:pt idx="24">
                  <c:v>43826</c:v>
                </c:pt>
                <c:pt idx="25">
                  <c:v>43829</c:v>
                </c:pt>
                <c:pt idx="26">
                  <c:v>43830</c:v>
                </c:pt>
                <c:pt idx="27">
                  <c:v>43831</c:v>
                </c:pt>
                <c:pt idx="28">
                  <c:v>43832</c:v>
                </c:pt>
                <c:pt idx="29">
                  <c:v>43833</c:v>
                </c:pt>
                <c:pt idx="30">
                  <c:v>43836</c:v>
                </c:pt>
                <c:pt idx="31">
                  <c:v>43837</c:v>
                </c:pt>
                <c:pt idx="32">
                  <c:v>43838</c:v>
                </c:pt>
                <c:pt idx="33">
                  <c:v>43839</c:v>
                </c:pt>
                <c:pt idx="34">
                  <c:v>43840</c:v>
                </c:pt>
                <c:pt idx="35">
                  <c:v>43843</c:v>
                </c:pt>
                <c:pt idx="36">
                  <c:v>43844</c:v>
                </c:pt>
                <c:pt idx="37">
                  <c:v>43845</c:v>
                </c:pt>
                <c:pt idx="38">
                  <c:v>43846</c:v>
                </c:pt>
                <c:pt idx="39">
                  <c:v>43847</c:v>
                </c:pt>
                <c:pt idx="40">
                  <c:v>43850</c:v>
                </c:pt>
                <c:pt idx="41">
                  <c:v>43851</c:v>
                </c:pt>
                <c:pt idx="42">
                  <c:v>43852</c:v>
                </c:pt>
                <c:pt idx="43">
                  <c:v>43853</c:v>
                </c:pt>
                <c:pt idx="44">
                  <c:v>43854</c:v>
                </c:pt>
                <c:pt idx="45">
                  <c:v>43857</c:v>
                </c:pt>
                <c:pt idx="46">
                  <c:v>43858</c:v>
                </c:pt>
                <c:pt idx="47">
                  <c:v>43859</c:v>
                </c:pt>
                <c:pt idx="48">
                  <c:v>43860</c:v>
                </c:pt>
                <c:pt idx="49">
                  <c:v>43861</c:v>
                </c:pt>
                <c:pt idx="50">
                  <c:v>43864</c:v>
                </c:pt>
                <c:pt idx="51">
                  <c:v>43865</c:v>
                </c:pt>
                <c:pt idx="52">
                  <c:v>43866</c:v>
                </c:pt>
                <c:pt idx="53">
                  <c:v>43867</c:v>
                </c:pt>
                <c:pt idx="54">
                  <c:v>43868</c:v>
                </c:pt>
                <c:pt idx="55">
                  <c:v>43871</c:v>
                </c:pt>
                <c:pt idx="56">
                  <c:v>43872</c:v>
                </c:pt>
                <c:pt idx="57">
                  <c:v>43873</c:v>
                </c:pt>
                <c:pt idx="58">
                  <c:v>43874</c:v>
                </c:pt>
                <c:pt idx="59">
                  <c:v>43875</c:v>
                </c:pt>
                <c:pt idx="60">
                  <c:v>43878</c:v>
                </c:pt>
                <c:pt idx="61">
                  <c:v>43879</c:v>
                </c:pt>
                <c:pt idx="62">
                  <c:v>43880</c:v>
                </c:pt>
                <c:pt idx="63">
                  <c:v>43881</c:v>
                </c:pt>
                <c:pt idx="64">
                  <c:v>43882</c:v>
                </c:pt>
                <c:pt idx="65">
                  <c:v>43885</c:v>
                </c:pt>
                <c:pt idx="66">
                  <c:v>43886</c:v>
                </c:pt>
                <c:pt idx="67">
                  <c:v>43887</c:v>
                </c:pt>
                <c:pt idx="68">
                  <c:v>43888</c:v>
                </c:pt>
                <c:pt idx="69">
                  <c:v>43889</c:v>
                </c:pt>
                <c:pt idx="70">
                  <c:v>43892</c:v>
                </c:pt>
                <c:pt idx="71">
                  <c:v>43893</c:v>
                </c:pt>
                <c:pt idx="72">
                  <c:v>43894</c:v>
                </c:pt>
                <c:pt idx="73">
                  <c:v>43895</c:v>
                </c:pt>
                <c:pt idx="74">
                  <c:v>43896</c:v>
                </c:pt>
                <c:pt idx="75">
                  <c:v>43899</c:v>
                </c:pt>
                <c:pt idx="76">
                  <c:v>43900</c:v>
                </c:pt>
                <c:pt idx="77">
                  <c:v>43901</c:v>
                </c:pt>
                <c:pt idx="78">
                  <c:v>43902</c:v>
                </c:pt>
                <c:pt idx="79">
                  <c:v>43903</c:v>
                </c:pt>
                <c:pt idx="80">
                  <c:v>43906</c:v>
                </c:pt>
                <c:pt idx="81">
                  <c:v>43907</c:v>
                </c:pt>
                <c:pt idx="82">
                  <c:v>43908</c:v>
                </c:pt>
                <c:pt idx="83">
                  <c:v>43909</c:v>
                </c:pt>
                <c:pt idx="84">
                  <c:v>43910</c:v>
                </c:pt>
                <c:pt idx="85">
                  <c:v>43913</c:v>
                </c:pt>
                <c:pt idx="86">
                  <c:v>43914</c:v>
                </c:pt>
                <c:pt idx="87">
                  <c:v>43915</c:v>
                </c:pt>
                <c:pt idx="88">
                  <c:v>43916</c:v>
                </c:pt>
                <c:pt idx="89">
                  <c:v>43917</c:v>
                </c:pt>
                <c:pt idx="90">
                  <c:v>43920</c:v>
                </c:pt>
                <c:pt idx="91">
                  <c:v>43921</c:v>
                </c:pt>
                <c:pt idx="92">
                  <c:v>43922</c:v>
                </c:pt>
                <c:pt idx="93">
                  <c:v>43923</c:v>
                </c:pt>
                <c:pt idx="94">
                  <c:v>43924</c:v>
                </c:pt>
                <c:pt idx="95">
                  <c:v>43927</c:v>
                </c:pt>
                <c:pt idx="96">
                  <c:v>43928</c:v>
                </c:pt>
                <c:pt idx="97">
                  <c:v>43929</c:v>
                </c:pt>
                <c:pt idx="98">
                  <c:v>43930</c:v>
                </c:pt>
                <c:pt idx="99">
                  <c:v>43931</c:v>
                </c:pt>
                <c:pt idx="100">
                  <c:v>43934</c:v>
                </c:pt>
                <c:pt idx="101">
                  <c:v>43935</c:v>
                </c:pt>
                <c:pt idx="102">
                  <c:v>43936</c:v>
                </c:pt>
                <c:pt idx="103">
                  <c:v>43937</c:v>
                </c:pt>
                <c:pt idx="104">
                  <c:v>43938</c:v>
                </c:pt>
                <c:pt idx="105">
                  <c:v>43941</c:v>
                </c:pt>
                <c:pt idx="106">
                  <c:v>43942</c:v>
                </c:pt>
                <c:pt idx="107">
                  <c:v>43943</c:v>
                </c:pt>
                <c:pt idx="108">
                  <c:v>43944</c:v>
                </c:pt>
                <c:pt idx="109">
                  <c:v>43945</c:v>
                </c:pt>
                <c:pt idx="110">
                  <c:v>43948</c:v>
                </c:pt>
                <c:pt idx="111">
                  <c:v>43949</c:v>
                </c:pt>
                <c:pt idx="112">
                  <c:v>43950</c:v>
                </c:pt>
                <c:pt idx="113">
                  <c:v>43951</c:v>
                </c:pt>
                <c:pt idx="114">
                  <c:v>43952</c:v>
                </c:pt>
                <c:pt idx="115">
                  <c:v>43955</c:v>
                </c:pt>
                <c:pt idx="116">
                  <c:v>43956</c:v>
                </c:pt>
                <c:pt idx="117">
                  <c:v>43957</c:v>
                </c:pt>
                <c:pt idx="118">
                  <c:v>43958</c:v>
                </c:pt>
                <c:pt idx="119">
                  <c:v>43959</c:v>
                </c:pt>
                <c:pt idx="120">
                  <c:v>43962</c:v>
                </c:pt>
                <c:pt idx="121">
                  <c:v>43963</c:v>
                </c:pt>
                <c:pt idx="122">
                  <c:v>43964</c:v>
                </c:pt>
                <c:pt idx="123">
                  <c:v>43965</c:v>
                </c:pt>
                <c:pt idx="124">
                  <c:v>43966</c:v>
                </c:pt>
                <c:pt idx="125">
                  <c:v>43969</c:v>
                </c:pt>
                <c:pt idx="126">
                  <c:v>43970</c:v>
                </c:pt>
                <c:pt idx="127">
                  <c:v>43971</c:v>
                </c:pt>
                <c:pt idx="128">
                  <c:v>43972</c:v>
                </c:pt>
                <c:pt idx="129">
                  <c:v>43973</c:v>
                </c:pt>
                <c:pt idx="130">
                  <c:v>43976</c:v>
                </c:pt>
                <c:pt idx="131">
                  <c:v>43977</c:v>
                </c:pt>
                <c:pt idx="132">
                  <c:v>43978</c:v>
                </c:pt>
                <c:pt idx="133">
                  <c:v>43979</c:v>
                </c:pt>
                <c:pt idx="134">
                  <c:v>43980</c:v>
                </c:pt>
                <c:pt idx="135">
                  <c:v>43983</c:v>
                </c:pt>
                <c:pt idx="136">
                  <c:v>43984</c:v>
                </c:pt>
                <c:pt idx="137">
                  <c:v>43985</c:v>
                </c:pt>
                <c:pt idx="138">
                  <c:v>43986</c:v>
                </c:pt>
                <c:pt idx="139">
                  <c:v>43987</c:v>
                </c:pt>
                <c:pt idx="140">
                  <c:v>43990</c:v>
                </c:pt>
                <c:pt idx="141">
                  <c:v>43991</c:v>
                </c:pt>
                <c:pt idx="142">
                  <c:v>43992</c:v>
                </c:pt>
                <c:pt idx="143">
                  <c:v>43993</c:v>
                </c:pt>
                <c:pt idx="144">
                  <c:v>43994</c:v>
                </c:pt>
                <c:pt idx="145">
                  <c:v>43997</c:v>
                </c:pt>
                <c:pt idx="146">
                  <c:v>43998</c:v>
                </c:pt>
                <c:pt idx="147">
                  <c:v>43999</c:v>
                </c:pt>
                <c:pt idx="148">
                  <c:v>44000</c:v>
                </c:pt>
                <c:pt idx="149">
                  <c:v>44001</c:v>
                </c:pt>
                <c:pt idx="150">
                  <c:v>44004</c:v>
                </c:pt>
                <c:pt idx="151">
                  <c:v>44005</c:v>
                </c:pt>
                <c:pt idx="152">
                  <c:v>44006</c:v>
                </c:pt>
                <c:pt idx="153">
                  <c:v>44007</c:v>
                </c:pt>
                <c:pt idx="154">
                  <c:v>44008</c:v>
                </c:pt>
                <c:pt idx="155">
                  <c:v>44011</c:v>
                </c:pt>
                <c:pt idx="156">
                  <c:v>44012</c:v>
                </c:pt>
                <c:pt idx="157">
                  <c:v>44013</c:v>
                </c:pt>
                <c:pt idx="158">
                  <c:v>44014</c:v>
                </c:pt>
                <c:pt idx="159">
                  <c:v>44015</c:v>
                </c:pt>
                <c:pt idx="160">
                  <c:v>44018</c:v>
                </c:pt>
                <c:pt idx="161">
                  <c:v>44019</c:v>
                </c:pt>
                <c:pt idx="162">
                  <c:v>44020</c:v>
                </c:pt>
                <c:pt idx="163">
                  <c:v>44021</c:v>
                </c:pt>
                <c:pt idx="164">
                  <c:v>44022</c:v>
                </c:pt>
                <c:pt idx="165">
                  <c:v>44025</c:v>
                </c:pt>
                <c:pt idx="166">
                  <c:v>44026</c:v>
                </c:pt>
                <c:pt idx="167">
                  <c:v>44027</c:v>
                </c:pt>
                <c:pt idx="168">
                  <c:v>44028</c:v>
                </c:pt>
                <c:pt idx="169">
                  <c:v>44029</c:v>
                </c:pt>
                <c:pt idx="170">
                  <c:v>44032</c:v>
                </c:pt>
                <c:pt idx="171">
                  <c:v>44033</c:v>
                </c:pt>
                <c:pt idx="172">
                  <c:v>44034</c:v>
                </c:pt>
                <c:pt idx="173">
                  <c:v>44035</c:v>
                </c:pt>
                <c:pt idx="174">
                  <c:v>44036</c:v>
                </c:pt>
                <c:pt idx="175">
                  <c:v>44039</c:v>
                </c:pt>
                <c:pt idx="176">
                  <c:v>44040</c:v>
                </c:pt>
                <c:pt idx="177">
                  <c:v>44041</c:v>
                </c:pt>
                <c:pt idx="178">
                  <c:v>44042</c:v>
                </c:pt>
                <c:pt idx="179">
                  <c:v>44043</c:v>
                </c:pt>
                <c:pt idx="180">
                  <c:v>44046</c:v>
                </c:pt>
                <c:pt idx="181">
                  <c:v>44047</c:v>
                </c:pt>
                <c:pt idx="182">
                  <c:v>44048</c:v>
                </c:pt>
                <c:pt idx="183">
                  <c:v>44049</c:v>
                </c:pt>
                <c:pt idx="184">
                  <c:v>44050</c:v>
                </c:pt>
                <c:pt idx="185">
                  <c:v>44053</c:v>
                </c:pt>
                <c:pt idx="186">
                  <c:v>44054</c:v>
                </c:pt>
                <c:pt idx="187">
                  <c:v>44055</c:v>
                </c:pt>
                <c:pt idx="188">
                  <c:v>44056</c:v>
                </c:pt>
                <c:pt idx="189">
                  <c:v>44057</c:v>
                </c:pt>
                <c:pt idx="190">
                  <c:v>44060</c:v>
                </c:pt>
                <c:pt idx="191">
                  <c:v>44061</c:v>
                </c:pt>
                <c:pt idx="192">
                  <c:v>44062</c:v>
                </c:pt>
                <c:pt idx="193">
                  <c:v>44063</c:v>
                </c:pt>
                <c:pt idx="194">
                  <c:v>44064</c:v>
                </c:pt>
                <c:pt idx="195">
                  <c:v>44067</c:v>
                </c:pt>
                <c:pt idx="196">
                  <c:v>44068</c:v>
                </c:pt>
                <c:pt idx="197">
                  <c:v>44069</c:v>
                </c:pt>
                <c:pt idx="198">
                  <c:v>44070</c:v>
                </c:pt>
                <c:pt idx="199">
                  <c:v>44071</c:v>
                </c:pt>
                <c:pt idx="200">
                  <c:v>44074</c:v>
                </c:pt>
                <c:pt idx="201">
                  <c:v>44075</c:v>
                </c:pt>
                <c:pt idx="202">
                  <c:v>44076</c:v>
                </c:pt>
                <c:pt idx="203">
                  <c:v>44077</c:v>
                </c:pt>
                <c:pt idx="204">
                  <c:v>44078</c:v>
                </c:pt>
                <c:pt idx="205">
                  <c:v>44081</c:v>
                </c:pt>
                <c:pt idx="206">
                  <c:v>44082</c:v>
                </c:pt>
                <c:pt idx="207">
                  <c:v>44083</c:v>
                </c:pt>
                <c:pt idx="208">
                  <c:v>44084</c:v>
                </c:pt>
                <c:pt idx="209">
                  <c:v>44085</c:v>
                </c:pt>
                <c:pt idx="210">
                  <c:v>44088</c:v>
                </c:pt>
                <c:pt idx="211">
                  <c:v>44089</c:v>
                </c:pt>
                <c:pt idx="212">
                  <c:v>44090</c:v>
                </c:pt>
                <c:pt idx="213">
                  <c:v>44091</c:v>
                </c:pt>
                <c:pt idx="214">
                  <c:v>44092</c:v>
                </c:pt>
                <c:pt idx="215">
                  <c:v>44095</c:v>
                </c:pt>
                <c:pt idx="216">
                  <c:v>44096</c:v>
                </c:pt>
                <c:pt idx="217">
                  <c:v>44097</c:v>
                </c:pt>
                <c:pt idx="218">
                  <c:v>44098</c:v>
                </c:pt>
                <c:pt idx="219">
                  <c:v>44099</c:v>
                </c:pt>
                <c:pt idx="220">
                  <c:v>44102</c:v>
                </c:pt>
                <c:pt idx="221">
                  <c:v>44103</c:v>
                </c:pt>
                <c:pt idx="222">
                  <c:v>44104</c:v>
                </c:pt>
                <c:pt idx="223">
                  <c:v>44105</c:v>
                </c:pt>
                <c:pt idx="224">
                  <c:v>44106</c:v>
                </c:pt>
                <c:pt idx="225">
                  <c:v>44109</c:v>
                </c:pt>
                <c:pt idx="226">
                  <c:v>44110</c:v>
                </c:pt>
                <c:pt idx="227">
                  <c:v>44111</c:v>
                </c:pt>
                <c:pt idx="228">
                  <c:v>44112</c:v>
                </c:pt>
                <c:pt idx="229">
                  <c:v>44113</c:v>
                </c:pt>
                <c:pt idx="230">
                  <c:v>44116</c:v>
                </c:pt>
                <c:pt idx="231">
                  <c:v>44117</c:v>
                </c:pt>
                <c:pt idx="232">
                  <c:v>44118</c:v>
                </c:pt>
                <c:pt idx="233">
                  <c:v>44119</c:v>
                </c:pt>
                <c:pt idx="234">
                  <c:v>44120</c:v>
                </c:pt>
                <c:pt idx="235">
                  <c:v>44123</c:v>
                </c:pt>
                <c:pt idx="236">
                  <c:v>44124</c:v>
                </c:pt>
                <c:pt idx="237">
                  <c:v>44125</c:v>
                </c:pt>
                <c:pt idx="238">
                  <c:v>44126</c:v>
                </c:pt>
                <c:pt idx="239">
                  <c:v>44127</c:v>
                </c:pt>
                <c:pt idx="240">
                  <c:v>44130</c:v>
                </c:pt>
                <c:pt idx="241">
                  <c:v>44131</c:v>
                </c:pt>
                <c:pt idx="242">
                  <c:v>44132</c:v>
                </c:pt>
                <c:pt idx="243">
                  <c:v>44133</c:v>
                </c:pt>
                <c:pt idx="244">
                  <c:v>44134</c:v>
                </c:pt>
                <c:pt idx="245">
                  <c:v>44137</c:v>
                </c:pt>
                <c:pt idx="246">
                  <c:v>44138</c:v>
                </c:pt>
                <c:pt idx="247">
                  <c:v>44139</c:v>
                </c:pt>
                <c:pt idx="248">
                  <c:v>44140</c:v>
                </c:pt>
                <c:pt idx="249">
                  <c:v>44141</c:v>
                </c:pt>
                <c:pt idx="250">
                  <c:v>44144</c:v>
                </c:pt>
                <c:pt idx="251">
                  <c:v>44145</c:v>
                </c:pt>
                <c:pt idx="252">
                  <c:v>44146</c:v>
                </c:pt>
                <c:pt idx="253">
                  <c:v>44147</c:v>
                </c:pt>
                <c:pt idx="254">
                  <c:v>44148</c:v>
                </c:pt>
                <c:pt idx="255">
                  <c:v>44151</c:v>
                </c:pt>
                <c:pt idx="256">
                  <c:v>44152</c:v>
                </c:pt>
                <c:pt idx="257">
                  <c:v>44153</c:v>
                </c:pt>
                <c:pt idx="258">
                  <c:v>44154</c:v>
                </c:pt>
                <c:pt idx="259">
                  <c:v>44155</c:v>
                </c:pt>
                <c:pt idx="260">
                  <c:v>44158</c:v>
                </c:pt>
                <c:pt idx="261">
                  <c:v>44159</c:v>
                </c:pt>
                <c:pt idx="262">
                  <c:v>44160</c:v>
                </c:pt>
                <c:pt idx="263">
                  <c:v>44161</c:v>
                </c:pt>
                <c:pt idx="264">
                  <c:v>44162</c:v>
                </c:pt>
                <c:pt idx="265">
                  <c:v>44165</c:v>
                </c:pt>
                <c:pt idx="266">
                  <c:v>44166</c:v>
                </c:pt>
                <c:pt idx="267">
                  <c:v>44167</c:v>
                </c:pt>
                <c:pt idx="268">
                  <c:v>44168</c:v>
                </c:pt>
                <c:pt idx="269">
                  <c:v>44169</c:v>
                </c:pt>
                <c:pt idx="270">
                  <c:v>44172</c:v>
                </c:pt>
                <c:pt idx="271">
                  <c:v>44173</c:v>
                </c:pt>
                <c:pt idx="272">
                  <c:v>44174</c:v>
                </c:pt>
                <c:pt idx="273">
                  <c:v>44175</c:v>
                </c:pt>
                <c:pt idx="274">
                  <c:v>44176</c:v>
                </c:pt>
                <c:pt idx="275">
                  <c:v>44179</c:v>
                </c:pt>
                <c:pt idx="276">
                  <c:v>44180</c:v>
                </c:pt>
                <c:pt idx="277">
                  <c:v>44181</c:v>
                </c:pt>
                <c:pt idx="278">
                  <c:v>44182</c:v>
                </c:pt>
                <c:pt idx="279">
                  <c:v>44183</c:v>
                </c:pt>
                <c:pt idx="280">
                  <c:v>44186</c:v>
                </c:pt>
                <c:pt idx="281">
                  <c:v>44187</c:v>
                </c:pt>
                <c:pt idx="282">
                  <c:v>44188</c:v>
                </c:pt>
                <c:pt idx="283">
                  <c:v>44189</c:v>
                </c:pt>
                <c:pt idx="284">
                  <c:v>44190</c:v>
                </c:pt>
                <c:pt idx="285">
                  <c:v>44193</c:v>
                </c:pt>
                <c:pt idx="286">
                  <c:v>44194</c:v>
                </c:pt>
                <c:pt idx="287">
                  <c:v>44195</c:v>
                </c:pt>
                <c:pt idx="288">
                  <c:v>44196</c:v>
                </c:pt>
                <c:pt idx="289">
                  <c:v>44197</c:v>
                </c:pt>
                <c:pt idx="290">
                  <c:v>44200</c:v>
                </c:pt>
                <c:pt idx="291">
                  <c:v>44201</c:v>
                </c:pt>
                <c:pt idx="292">
                  <c:v>44202</c:v>
                </c:pt>
                <c:pt idx="293">
                  <c:v>44203</c:v>
                </c:pt>
                <c:pt idx="294">
                  <c:v>44204</c:v>
                </c:pt>
                <c:pt idx="295">
                  <c:v>44207</c:v>
                </c:pt>
                <c:pt idx="296">
                  <c:v>44208</c:v>
                </c:pt>
                <c:pt idx="297">
                  <c:v>44209</c:v>
                </c:pt>
                <c:pt idx="298">
                  <c:v>44210</c:v>
                </c:pt>
                <c:pt idx="299">
                  <c:v>44211</c:v>
                </c:pt>
                <c:pt idx="300">
                  <c:v>44214</c:v>
                </c:pt>
                <c:pt idx="301">
                  <c:v>44215</c:v>
                </c:pt>
                <c:pt idx="302">
                  <c:v>44216</c:v>
                </c:pt>
                <c:pt idx="303">
                  <c:v>44217</c:v>
                </c:pt>
                <c:pt idx="304">
                  <c:v>44218</c:v>
                </c:pt>
                <c:pt idx="305">
                  <c:v>44221</c:v>
                </c:pt>
                <c:pt idx="306">
                  <c:v>44222</c:v>
                </c:pt>
                <c:pt idx="307">
                  <c:v>44223</c:v>
                </c:pt>
                <c:pt idx="308">
                  <c:v>44224</c:v>
                </c:pt>
                <c:pt idx="309">
                  <c:v>44225</c:v>
                </c:pt>
                <c:pt idx="310">
                  <c:v>44228</c:v>
                </c:pt>
                <c:pt idx="311">
                  <c:v>44229</c:v>
                </c:pt>
                <c:pt idx="312">
                  <c:v>44230</c:v>
                </c:pt>
                <c:pt idx="313">
                  <c:v>44231</c:v>
                </c:pt>
                <c:pt idx="314">
                  <c:v>44232</c:v>
                </c:pt>
                <c:pt idx="315">
                  <c:v>44235</c:v>
                </c:pt>
                <c:pt idx="316">
                  <c:v>44236</c:v>
                </c:pt>
                <c:pt idx="317">
                  <c:v>44237</c:v>
                </c:pt>
                <c:pt idx="318">
                  <c:v>44238</c:v>
                </c:pt>
                <c:pt idx="319">
                  <c:v>44239</c:v>
                </c:pt>
                <c:pt idx="320">
                  <c:v>44242</c:v>
                </c:pt>
                <c:pt idx="321">
                  <c:v>44243</c:v>
                </c:pt>
                <c:pt idx="322">
                  <c:v>44244</c:v>
                </c:pt>
                <c:pt idx="323">
                  <c:v>44245</c:v>
                </c:pt>
                <c:pt idx="324">
                  <c:v>44246</c:v>
                </c:pt>
                <c:pt idx="325">
                  <c:v>44249</c:v>
                </c:pt>
                <c:pt idx="326">
                  <c:v>44250</c:v>
                </c:pt>
                <c:pt idx="327">
                  <c:v>44251</c:v>
                </c:pt>
                <c:pt idx="328">
                  <c:v>44252</c:v>
                </c:pt>
                <c:pt idx="329">
                  <c:v>44253</c:v>
                </c:pt>
                <c:pt idx="330">
                  <c:v>44256</c:v>
                </c:pt>
                <c:pt idx="331">
                  <c:v>44257</c:v>
                </c:pt>
                <c:pt idx="332">
                  <c:v>44258</c:v>
                </c:pt>
                <c:pt idx="333">
                  <c:v>44259</c:v>
                </c:pt>
                <c:pt idx="334">
                  <c:v>44260</c:v>
                </c:pt>
                <c:pt idx="335">
                  <c:v>44263</c:v>
                </c:pt>
                <c:pt idx="336">
                  <c:v>44264</c:v>
                </c:pt>
                <c:pt idx="337">
                  <c:v>44265</c:v>
                </c:pt>
                <c:pt idx="338">
                  <c:v>44266</c:v>
                </c:pt>
                <c:pt idx="339">
                  <c:v>44267</c:v>
                </c:pt>
                <c:pt idx="340">
                  <c:v>44270</c:v>
                </c:pt>
                <c:pt idx="341">
                  <c:v>44271</c:v>
                </c:pt>
                <c:pt idx="342">
                  <c:v>44272</c:v>
                </c:pt>
                <c:pt idx="343">
                  <c:v>44273</c:v>
                </c:pt>
                <c:pt idx="344">
                  <c:v>44274</c:v>
                </c:pt>
                <c:pt idx="345">
                  <c:v>44277</c:v>
                </c:pt>
                <c:pt idx="346">
                  <c:v>44278</c:v>
                </c:pt>
                <c:pt idx="347">
                  <c:v>44279</c:v>
                </c:pt>
                <c:pt idx="348">
                  <c:v>44280</c:v>
                </c:pt>
                <c:pt idx="349">
                  <c:v>44281</c:v>
                </c:pt>
                <c:pt idx="350">
                  <c:v>44284</c:v>
                </c:pt>
                <c:pt idx="351">
                  <c:v>44285</c:v>
                </c:pt>
                <c:pt idx="352">
                  <c:v>44286</c:v>
                </c:pt>
                <c:pt idx="353">
                  <c:v>44287</c:v>
                </c:pt>
                <c:pt idx="354">
                  <c:v>44288</c:v>
                </c:pt>
                <c:pt idx="355">
                  <c:v>44291</c:v>
                </c:pt>
                <c:pt idx="356">
                  <c:v>44292</c:v>
                </c:pt>
                <c:pt idx="357">
                  <c:v>44293</c:v>
                </c:pt>
                <c:pt idx="358">
                  <c:v>44294</c:v>
                </c:pt>
                <c:pt idx="359">
                  <c:v>44295</c:v>
                </c:pt>
                <c:pt idx="360">
                  <c:v>44298</c:v>
                </c:pt>
                <c:pt idx="361">
                  <c:v>44299</c:v>
                </c:pt>
                <c:pt idx="362">
                  <c:v>44300</c:v>
                </c:pt>
                <c:pt idx="363">
                  <c:v>44301</c:v>
                </c:pt>
                <c:pt idx="364">
                  <c:v>44302</c:v>
                </c:pt>
                <c:pt idx="365">
                  <c:v>44305</c:v>
                </c:pt>
                <c:pt idx="366">
                  <c:v>44306</c:v>
                </c:pt>
                <c:pt idx="367">
                  <c:v>44307</c:v>
                </c:pt>
                <c:pt idx="368">
                  <c:v>44308</c:v>
                </c:pt>
                <c:pt idx="369">
                  <c:v>44309</c:v>
                </c:pt>
                <c:pt idx="370">
                  <c:v>44312</c:v>
                </c:pt>
                <c:pt idx="371">
                  <c:v>44313</c:v>
                </c:pt>
                <c:pt idx="372">
                  <c:v>44314</c:v>
                </c:pt>
                <c:pt idx="373">
                  <c:v>44315</c:v>
                </c:pt>
                <c:pt idx="374">
                  <c:v>44316</c:v>
                </c:pt>
                <c:pt idx="375">
                  <c:v>44319</c:v>
                </c:pt>
                <c:pt idx="376">
                  <c:v>44320</c:v>
                </c:pt>
                <c:pt idx="377">
                  <c:v>44321</c:v>
                </c:pt>
                <c:pt idx="378">
                  <c:v>44322</c:v>
                </c:pt>
                <c:pt idx="379">
                  <c:v>44323</c:v>
                </c:pt>
                <c:pt idx="380">
                  <c:v>44326</c:v>
                </c:pt>
                <c:pt idx="381">
                  <c:v>44327</c:v>
                </c:pt>
                <c:pt idx="382">
                  <c:v>44328</c:v>
                </c:pt>
                <c:pt idx="383">
                  <c:v>44329</c:v>
                </c:pt>
                <c:pt idx="384">
                  <c:v>44330</c:v>
                </c:pt>
                <c:pt idx="385">
                  <c:v>44333</c:v>
                </c:pt>
                <c:pt idx="386">
                  <c:v>44334</c:v>
                </c:pt>
                <c:pt idx="387">
                  <c:v>44335</c:v>
                </c:pt>
                <c:pt idx="388">
                  <c:v>44336</c:v>
                </c:pt>
                <c:pt idx="389">
                  <c:v>44337</c:v>
                </c:pt>
                <c:pt idx="390">
                  <c:v>44340</c:v>
                </c:pt>
                <c:pt idx="391">
                  <c:v>44341</c:v>
                </c:pt>
                <c:pt idx="392">
                  <c:v>44342</c:v>
                </c:pt>
                <c:pt idx="393">
                  <c:v>44343</c:v>
                </c:pt>
                <c:pt idx="394">
                  <c:v>44344</c:v>
                </c:pt>
                <c:pt idx="395">
                  <c:v>44347</c:v>
                </c:pt>
                <c:pt idx="396">
                  <c:v>44348</c:v>
                </c:pt>
                <c:pt idx="397">
                  <c:v>44349</c:v>
                </c:pt>
                <c:pt idx="398">
                  <c:v>44350</c:v>
                </c:pt>
                <c:pt idx="399">
                  <c:v>44351</c:v>
                </c:pt>
                <c:pt idx="400">
                  <c:v>44354</c:v>
                </c:pt>
                <c:pt idx="401">
                  <c:v>44355</c:v>
                </c:pt>
                <c:pt idx="402">
                  <c:v>44356</c:v>
                </c:pt>
                <c:pt idx="403">
                  <c:v>44357</c:v>
                </c:pt>
                <c:pt idx="404">
                  <c:v>44358</c:v>
                </c:pt>
                <c:pt idx="405">
                  <c:v>44361</c:v>
                </c:pt>
                <c:pt idx="406">
                  <c:v>44362</c:v>
                </c:pt>
                <c:pt idx="407">
                  <c:v>44363</c:v>
                </c:pt>
                <c:pt idx="408">
                  <c:v>44364</c:v>
                </c:pt>
                <c:pt idx="409">
                  <c:v>44365</c:v>
                </c:pt>
                <c:pt idx="410">
                  <c:v>44368</c:v>
                </c:pt>
                <c:pt idx="411">
                  <c:v>44369</c:v>
                </c:pt>
                <c:pt idx="412">
                  <c:v>44370</c:v>
                </c:pt>
                <c:pt idx="413">
                  <c:v>44371</c:v>
                </c:pt>
                <c:pt idx="414">
                  <c:v>44372</c:v>
                </c:pt>
                <c:pt idx="415">
                  <c:v>44375</c:v>
                </c:pt>
                <c:pt idx="416">
                  <c:v>44376</c:v>
                </c:pt>
                <c:pt idx="417">
                  <c:v>44377</c:v>
                </c:pt>
                <c:pt idx="418">
                  <c:v>44378</c:v>
                </c:pt>
                <c:pt idx="419">
                  <c:v>44379</c:v>
                </c:pt>
                <c:pt idx="420">
                  <c:v>44382</c:v>
                </c:pt>
                <c:pt idx="421">
                  <c:v>44383</c:v>
                </c:pt>
                <c:pt idx="422">
                  <c:v>44384</c:v>
                </c:pt>
                <c:pt idx="423">
                  <c:v>44385</c:v>
                </c:pt>
                <c:pt idx="424">
                  <c:v>44386</c:v>
                </c:pt>
                <c:pt idx="425">
                  <c:v>44389</c:v>
                </c:pt>
                <c:pt idx="426">
                  <c:v>44390</c:v>
                </c:pt>
                <c:pt idx="427">
                  <c:v>44391</c:v>
                </c:pt>
                <c:pt idx="428">
                  <c:v>44392</c:v>
                </c:pt>
                <c:pt idx="429">
                  <c:v>44393</c:v>
                </c:pt>
                <c:pt idx="430">
                  <c:v>44396</c:v>
                </c:pt>
                <c:pt idx="431">
                  <c:v>44397</c:v>
                </c:pt>
                <c:pt idx="432">
                  <c:v>44398</c:v>
                </c:pt>
                <c:pt idx="433">
                  <c:v>44399</c:v>
                </c:pt>
                <c:pt idx="434">
                  <c:v>44400</c:v>
                </c:pt>
                <c:pt idx="435">
                  <c:v>44403</c:v>
                </c:pt>
                <c:pt idx="436">
                  <c:v>44404</c:v>
                </c:pt>
                <c:pt idx="437">
                  <c:v>44405</c:v>
                </c:pt>
                <c:pt idx="438">
                  <c:v>44406</c:v>
                </c:pt>
                <c:pt idx="439">
                  <c:v>44407</c:v>
                </c:pt>
                <c:pt idx="440">
                  <c:v>44410</c:v>
                </c:pt>
                <c:pt idx="441">
                  <c:v>44411</c:v>
                </c:pt>
                <c:pt idx="442">
                  <c:v>44412</c:v>
                </c:pt>
                <c:pt idx="443">
                  <c:v>44413</c:v>
                </c:pt>
                <c:pt idx="444">
                  <c:v>44414</c:v>
                </c:pt>
                <c:pt idx="445">
                  <c:v>44417</c:v>
                </c:pt>
                <c:pt idx="446">
                  <c:v>44418</c:v>
                </c:pt>
                <c:pt idx="447">
                  <c:v>44419</c:v>
                </c:pt>
                <c:pt idx="448">
                  <c:v>44420</c:v>
                </c:pt>
                <c:pt idx="449">
                  <c:v>44421</c:v>
                </c:pt>
                <c:pt idx="450">
                  <c:v>44424</c:v>
                </c:pt>
                <c:pt idx="451">
                  <c:v>44425</c:v>
                </c:pt>
                <c:pt idx="452">
                  <c:v>44426</c:v>
                </c:pt>
                <c:pt idx="453">
                  <c:v>44427</c:v>
                </c:pt>
                <c:pt idx="454">
                  <c:v>44428</c:v>
                </c:pt>
                <c:pt idx="455">
                  <c:v>44431</c:v>
                </c:pt>
                <c:pt idx="456">
                  <c:v>44432</c:v>
                </c:pt>
                <c:pt idx="457">
                  <c:v>44433</c:v>
                </c:pt>
                <c:pt idx="458">
                  <c:v>44434</c:v>
                </c:pt>
                <c:pt idx="459">
                  <c:v>44435</c:v>
                </c:pt>
                <c:pt idx="460">
                  <c:v>44438</c:v>
                </c:pt>
                <c:pt idx="461">
                  <c:v>44439</c:v>
                </c:pt>
                <c:pt idx="462">
                  <c:v>44440</c:v>
                </c:pt>
                <c:pt idx="463">
                  <c:v>44441</c:v>
                </c:pt>
                <c:pt idx="464">
                  <c:v>44442</c:v>
                </c:pt>
                <c:pt idx="465">
                  <c:v>44445</c:v>
                </c:pt>
                <c:pt idx="466">
                  <c:v>44446</c:v>
                </c:pt>
                <c:pt idx="467">
                  <c:v>44447</c:v>
                </c:pt>
                <c:pt idx="468">
                  <c:v>44448</c:v>
                </c:pt>
                <c:pt idx="469">
                  <c:v>44449</c:v>
                </c:pt>
                <c:pt idx="470">
                  <c:v>44452</c:v>
                </c:pt>
                <c:pt idx="471">
                  <c:v>44453</c:v>
                </c:pt>
                <c:pt idx="472">
                  <c:v>44454</c:v>
                </c:pt>
                <c:pt idx="473">
                  <c:v>44455</c:v>
                </c:pt>
                <c:pt idx="474">
                  <c:v>44456</c:v>
                </c:pt>
                <c:pt idx="475">
                  <c:v>44459</c:v>
                </c:pt>
                <c:pt idx="476">
                  <c:v>44460</c:v>
                </c:pt>
                <c:pt idx="477">
                  <c:v>44461</c:v>
                </c:pt>
                <c:pt idx="478">
                  <c:v>44462</c:v>
                </c:pt>
                <c:pt idx="479">
                  <c:v>44463</c:v>
                </c:pt>
                <c:pt idx="480">
                  <c:v>44466</c:v>
                </c:pt>
                <c:pt idx="481">
                  <c:v>44467</c:v>
                </c:pt>
                <c:pt idx="482">
                  <c:v>44468</c:v>
                </c:pt>
                <c:pt idx="483">
                  <c:v>44469</c:v>
                </c:pt>
                <c:pt idx="484">
                  <c:v>44470</c:v>
                </c:pt>
                <c:pt idx="485">
                  <c:v>44473</c:v>
                </c:pt>
                <c:pt idx="486">
                  <c:v>44474</c:v>
                </c:pt>
                <c:pt idx="487">
                  <c:v>44475</c:v>
                </c:pt>
                <c:pt idx="488">
                  <c:v>44476</c:v>
                </c:pt>
                <c:pt idx="489">
                  <c:v>44477</c:v>
                </c:pt>
                <c:pt idx="490">
                  <c:v>44480</c:v>
                </c:pt>
                <c:pt idx="491">
                  <c:v>44481</c:v>
                </c:pt>
                <c:pt idx="492">
                  <c:v>44482</c:v>
                </c:pt>
                <c:pt idx="493">
                  <c:v>44483</c:v>
                </c:pt>
                <c:pt idx="494">
                  <c:v>44484</c:v>
                </c:pt>
                <c:pt idx="495">
                  <c:v>44487</c:v>
                </c:pt>
                <c:pt idx="496">
                  <c:v>44488</c:v>
                </c:pt>
                <c:pt idx="497">
                  <c:v>44489</c:v>
                </c:pt>
                <c:pt idx="498">
                  <c:v>44490</c:v>
                </c:pt>
                <c:pt idx="499">
                  <c:v>44491</c:v>
                </c:pt>
                <c:pt idx="500">
                  <c:v>44494</c:v>
                </c:pt>
                <c:pt idx="501">
                  <c:v>44495</c:v>
                </c:pt>
                <c:pt idx="502">
                  <c:v>44496</c:v>
                </c:pt>
                <c:pt idx="503">
                  <c:v>44497</c:v>
                </c:pt>
                <c:pt idx="504">
                  <c:v>44498</c:v>
                </c:pt>
                <c:pt idx="505">
                  <c:v>44501</c:v>
                </c:pt>
                <c:pt idx="506">
                  <c:v>44502</c:v>
                </c:pt>
                <c:pt idx="507">
                  <c:v>44503</c:v>
                </c:pt>
                <c:pt idx="508">
                  <c:v>44504</c:v>
                </c:pt>
                <c:pt idx="509">
                  <c:v>44505</c:v>
                </c:pt>
                <c:pt idx="510">
                  <c:v>44508</c:v>
                </c:pt>
                <c:pt idx="511">
                  <c:v>44509</c:v>
                </c:pt>
                <c:pt idx="512">
                  <c:v>44510</c:v>
                </c:pt>
                <c:pt idx="513">
                  <c:v>44511</c:v>
                </c:pt>
                <c:pt idx="514">
                  <c:v>44512</c:v>
                </c:pt>
                <c:pt idx="515">
                  <c:v>44515</c:v>
                </c:pt>
                <c:pt idx="516">
                  <c:v>44516</c:v>
                </c:pt>
                <c:pt idx="517">
                  <c:v>44517</c:v>
                </c:pt>
                <c:pt idx="518">
                  <c:v>44518</c:v>
                </c:pt>
                <c:pt idx="519">
                  <c:v>44519</c:v>
                </c:pt>
                <c:pt idx="520">
                  <c:v>44522</c:v>
                </c:pt>
                <c:pt idx="521">
                  <c:v>44523</c:v>
                </c:pt>
                <c:pt idx="522">
                  <c:v>44524</c:v>
                </c:pt>
                <c:pt idx="523">
                  <c:v>44525</c:v>
                </c:pt>
                <c:pt idx="524">
                  <c:v>44526</c:v>
                </c:pt>
                <c:pt idx="525">
                  <c:v>44529</c:v>
                </c:pt>
                <c:pt idx="526">
                  <c:v>44530</c:v>
                </c:pt>
                <c:pt idx="527">
                  <c:v>44531</c:v>
                </c:pt>
                <c:pt idx="528">
                  <c:v>44532</c:v>
                </c:pt>
                <c:pt idx="529">
                  <c:v>44533</c:v>
                </c:pt>
                <c:pt idx="530">
                  <c:v>44536</c:v>
                </c:pt>
                <c:pt idx="531">
                  <c:v>44537</c:v>
                </c:pt>
                <c:pt idx="532">
                  <c:v>44538</c:v>
                </c:pt>
                <c:pt idx="533">
                  <c:v>44539</c:v>
                </c:pt>
                <c:pt idx="534">
                  <c:v>44540</c:v>
                </c:pt>
                <c:pt idx="535">
                  <c:v>44543</c:v>
                </c:pt>
                <c:pt idx="536">
                  <c:v>44544</c:v>
                </c:pt>
                <c:pt idx="537">
                  <c:v>44545</c:v>
                </c:pt>
                <c:pt idx="538">
                  <c:v>44546</c:v>
                </c:pt>
                <c:pt idx="539">
                  <c:v>44547</c:v>
                </c:pt>
                <c:pt idx="540">
                  <c:v>44550</c:v>
                </c:pt>
                <c:pt idx="541">
                  <c:v>44551</c:v>
                </c:pt>
                <c:pt idx="542">
                  <c:v>44552</c:v>
                </c:pt>
                <c:pt idx="543">
                  <c:v>44553</c:v>
                </c:pt>
                <c:pt idx="544">
                  <c:v>44554</c:v>
                </c:pt>
                <c:pt idx="545">
                  <c:v>44557</c:v>
                </c:pt>
                <c:pt idx="546">
                  <c:v>44558</c:v>
                </c:pt>
                <c:pt idx="547">
                  <c:v>44559</c:v>
                </c:pt>
                <c:pt idx="548">
                  <c:v>44560</c:v>
                </c:pt>
                <c:pt idx="549">
                  <c:v>44561</c:v>
                </c:pt>
                <c:pt idx="550">
                  <c:v>44564</c:v>
                </c:pt>
                <c:pt idx="551">
                  <c:v>44565</c:v>
                </c:pt>
                <c:pt idx="552">
                  <c:v>44566</c:v>
                </c:pt>
                <c:pt idx="553">
                  <c:v>44567</c:v>
                </c:pt>
                <c:pt idx="554">
                  <c:v>44568</c:v>
                </c:pt>
                <c:pt idx="555">
                  <c:v>44571</c:v>
                </c:pt>
                <c:pt idx="556">
                  <c:v>44572</c:v>
                </c:pt>
                <c:pt idx="557">
                  <c:v>44573</c:v>
                </c:pt>
                <c:pt idx="558">
                  <c:v>44574</c:v>
                </c:pt>
                <c:pt idx="559">
                  <c:v>44575</c:v>
                </c:pt>
                <c:pt idx="560">
                  <c:v>44578</c:v>
                </c:pt>
                <c:pt idx="561">
                  <c:v>44579</c:v>
                </c:pt>
                <c:pt idx="562">
                  <c:v>44580</c:v>
                </c:pt>
                <c:pt idx="563">
                  <c:v>44581</c:v>
                </c:pt>
                <c:pt idx="564">
                  <c:v>44582</c:v>
                </c:pt>
                <c:pt idx="565">
                  <c:v>44585</c:v>
                </c:pt>
                <c:pt idx="566">
                  <c:v>44586</c:v>
                </c:pt>
                <c:pt idx="567">
                  <c:v>44587</c:v>
                </c:pt>
                <c:pt idx="568">
                  <c:v>44588</c:v>
                </c:pt>
                <c:pt idx="569">
                  <c:v>44589</c:v>
                </c:pt>
                <c:pt idx="570">
                  <c:v>44592</c:v>
                </c:pt>
                <c:pt idx="571">
                  <c:v>44593</c:v>
                </c:pt>
                <c:pt idx="572">
                  <c:v>44594</c:v>
                </c:pt>
                <c:pt idx="573">
                  <c:v>44595</c:v>
                </c:pt>
                <c:pt idx="574">
                  <c:v>44596</c:v>
                </c:pt>
                <c:pt idx="575">
                  <c:v>44599</c:v>
                </c:pt>
                <c:pt idx="576">
                  <c:v>44600</c:v>
                </c:pt>
                <c:pt idx="577">
                  <c:v>44601</c:v>
                </c:pt>
                <c:pt idx="578">
                  <c:v>44602</c:v>
                </c:pt>
                <c:pt idx="579">
                  <c:v>44603</c:v>
                </c:pt>
                <c:pt idx="580">
                  <c:v>44606</c:v>
                </c:pt>
                <c:pt idx="581">
                  <c:v>44607</c:v>
                </c:pt>
                <c:pt idx="582">
                  <c:v>44608</c:v>
                </c:pt>
                <c:pt idx="583">
                  <c:v>44609</c:v>
                </c:pt>
                <c:pt idx="584">
                  <c:v>44610</c:v>
                </c:pt>
                <c:pt idx="585">
                  <c:v>44613</c:v>
                </c:pt>
                <c:pt idx="586">
                  <c:v>44614</c:v>
                </c:pt>
                <c:pt idx="587">
                  <c:v>44615</c:v>
                </c:pt>
                <c:pt idx="588">
                  <c:v>44616</c:v>
                </c:pt>
                <c:pt idx="589">
                  <c:v>44617</c:v>
                </c:pt>
                <c:pt idx="590">
                  <c:v>44620</c:v>
                </c:pt>
                <c:pt idx="591">
                  <c:v>44621</c:v>
                </c:pt>
                <c:pt idx="592">
                  <c:v>44622</c:v>
                </c:pt>
                <c:pt idx="593">
                  <c:v>44623</c:v>
                </c:pt>
                <c:pt idx="594">
                  <c:v>44624</c:v>
                </c:pt>
                <c:pt idx="595">
                  <c:v>44627</c:v>
                </c:pt>
                <c:pt idx="596">
                  <c:v>44628</c:v>
                </c:pt>
                <c:pt idx="597">
                  <c:v>44629</c:v>
                </c:pt>
                <c:pt idx="598">
                  <c:v>44630</c:v>
                </c:pt>
                <c:pt idx="599">
                  <c:v>44631</c:v>
                </c:pt>
                <c:pt idx="600">
                  <c:v>44634</c:v>
                </c:pt>
                <c:pt idx="601">
                  <c:v>44635</c:v>
                </c:pt>
                <c:pt idx="602">
                  <c:v>44636</c:v>
                </c:pt>
                <c:pt idx="603">
                  <c:v>44637</c:v>
                </c:pt>
                <c:pt idx="604">
                  <c:v>44638</c:v>
                </c:pt>
                <c:pt idx="605">
                  <c:v>44641</c:v>
                </c:pt>
                <c:pt idx="606">
                  <c:v>44642</c:v>
                </c:pt>
                <c:pt idx="607">
                  <c:v>44643</c:v>
                </c:pt>
                <c:pt idx="608">
                  <c:v>44644</c:v>
                </c:pt>
                <c:pt idx="609">
                  <c:v>44645</c:v>
                </c:pt>
                <c:pt idx="610">
                  <c:v>44648</c:v>
                </c:pt>
                <c:pt idx="611">
                  <c:v>44649</c:v>
                </c:pt>
                <c:pt idx="612">
                  <c:v>44650</c:v>
                </c:pt>
                <c:pt idx="613">
                  <c:v>44651</c:v>
                </c:pt>
                <c:pt idx="614">
                  <c:v>44652</c:v>
                </c:pt>
                <c:pt idx="615">
                  <c:v>44655</c:v>
                </c:pt>
                <c:pt idx="616">
                  <c:v>44656</c:v>
                </c:pt>
                <c:pt idx="617">
                  <c:v>44657</c:v>
                </c:pt>
                <c:pt idx="618">
                  <c:v>44658</c:v>
                </c:pt>
                <c:pt idx="619">
                  <c:v>44659</c:v>
                </c:pt>
                <c:pt idx="620">
                  <c:v>44662</c:v>
                </c:pt>
                <c:pt idx="621">
                  <c:v>44663</c:v>
                </c:pt>
                <c:pt idx="622">
                  <c:v>44664</c:v>
                </c:pt>
                <c:pt idx="623">
                  <c:v>44665</c:v>
                </c:pt>
                <c:pt idx="624">
                  <c:v>44666</c:v>
                </c:pt>
                <c:pt idx="625">
                  <c:v>44669</c:v>
                </c:pt>
                <c:pt idx="626">
                  <c:v>44670</c:v>
                </c:pt>
                <c:pt idx="627">
                  <c:v>44671</c:v>
                </c:pt>
                <c:pt idx="628">
                  <c:v>44672</c:v>
                </c:pt>
                <c:pt idx="629">
                  <c:v>44673</c:v>
                </c:pt>
                <c:pt idx="630">
                  <c:v>44676</c:v>
                </c:pt>
                <c:pt idx="631">
                  <c:v>44677</c:v>
                </c:pt>
                <c:pt idx="632">
                  <c:v>44678</c:v>
                </c:pt>
                <c:pt idx="633">
                  <c:v>44679</c:v>
                </c:pt>
                <c:pt idx="634">
                  <c:v>44680</c:v>
                </c:pt>
                <c:pt idx="635">
                  <c:v>44683</c:v>
                </c:pt>
                <c:pt idx="636">
                  <c:v>44684</c:v>
                </c:pt>
                <c:pt idx="637">
                  <c:v>44685</c:v>
                </c:pt>
                <c:pt idx="638">
                  <c:v>44686</c:v>
                </c:pt>
                <c:pt idx="639">
                  <c:v>44687</c:v>
                </c:pt>
                <c:pt idx="640">
                  <c:v>44690</c:v>
                </c:pt>
                <c:pt idx="641">
                  <c:v>44691</c:v>
                </c:pt>
                <c:pt idx="642">
                  <c:v>44692</c:v>
                </c:pt>
                <c:pt idx="643">
                  <c:v>44693</c:v>
                </c:pt>
                <c:pt idx="644">
                  <c:v>44694</c:v>
                </c:pt>
                <c:pt idx="645">
                  <c:v>44697</c:v>
                </c:pt>
                <c:pt idx="646">
                  <c:v>44698</c:v>
                </c:pt>
                <c:pt idx="647">
                  <c:v>44699</c:v>
                </c:pt>
                <c:pt idx="648">
                  <c:v>44700</c:v>
                </c:pt>
                <c:pt idx="649">
                  <c:v>44701</c:v>
                </c:pt>
                <c:pt idx="650">
                  <c:v>44704</c:v>
                </c:pt>
                <c:pt idx="651">
                  <c:v>44705</c:v>
                </c:pt>
                <c:pt idx="652">
                  <c:v>44706</c:v>
                </c:pt>
                <c:pt idx="653">
                  <c:v>44707</c:v>
                </c:pt>
                <c:pt idx="654">
                  <c:v>44708</c:v>
                </c:pt>
                <c:pt idx="655">
                  <c:v>44711</c:v>
                </c:pt>
                <c:pt idx="656">
                  <c:v>44712</c:v>
                </c:pt>
                <c:pt idx="657">
                  <c:v>44713</c:v>
                </c:pt>
                <c:pt idx="658">
                  <c:v>44714</c:v>
                </c:pt>
                <c:pt idx="659">
                  <c:v>44715</c:v>
                </c:pt>
                <c:pt idx="660">
                  <c:v>44718</c:v>
                </c:pt>
                <c:pt idx="661">
                  <c:v>44719</c:v>
                </c:pt>
                <c:pt idx="662">
                  <c:v>44720</c:v>
                </c:pt>
                <c:pt idx="663">
                  <c:v>44721</c:v>
                </c:pt>
                <c:pt idx="664">
                  <c:v>44722</c:v>
                </c:pt>
                <c:pt idx="665">
                  <c:v>44725</c:v>
                </c:pt>
                <c:pt idx="666">
                  <c:v>44726</c:v>
                </c:pt>
                <c:pt idx="667">
                  <c:v>44727</c:v>
                </c:pt>
                <c:pt idx="668">
                  <c:v>44728</c:v>
                </c:pt>
                <c:pt idx="669">
                  <c:v>44729</c:v>
                </c:pt>
                <c:pt idx="670">
                  <c:v>44732</c:v>
                </c:pt>
                <c:pt idx="671">
                  <c:v>44733</c:v>
                </c:pt>
                <c:pt idx="672">
                  <c:v>44734</c:v>
                </c:pt>
                <c:pt idx="673">
                  <c:v>44735</c:v>
                </c:pt>
                <c:pt idx="674">
                  <c:v>44736</c:v>
                </c:pt>
                <c:pt idx="675">
                  <c:v>44739</c:v>
                </c:pt>
                <c:pt idx="676">
                  <c:v>44740</c:v>
                </c:pt>
                <c:pt idx="677">
                  <c:v>44741</c:v>
                </c:pt>
                <c:pt idx="678">
                  <c:v>44742</c:v>
                </c:pt>
                <c:pt idx="679">
                  <c:v>44743</c:v>
                </c:pt>
                <c:pt idx="680">
                  <c:v>44746</c:v>
                </c:pt>
                <c:pt idx="681">
                  <c:v>44747</c:v>
                </c:pt>
                <c:pt idx="682">
                  <c:v>44748</c:v>
                </c:pt>
                <c:pt idx="683">
                  <c:v>44749</c:v>
                </c:pt>
                <c:pt idx="684">
                  <c:v>44750</c:v>
                </c:pt>
                <c:pt idx="685">
                  <c:v>44753</c:v>
                </c:pt>
                <c:pt idx="686">
                  <c:v>44754</c:v>
                </c:pt>
                <c:pt idx="687">
                  <c:v>44755</c:v>
                </c:pt>
                <c:pt idx="688">
                  <c:v>44756</c:v>
                </c:pt>
                <c:pt idx="689">
                  <c:v>44757</c:v>
                </c:pt>
                <c:pt idx="690">
                  <c:v>44760</c:v>
                </c:pt>
                <c:pt idx="691">
                  <c:v>44761</c:v>
                </c:pt>
                <c:pt idx="692">
                  <c:v>44762</c:v>
                </c:pt>
                <c:pt idx="693">
                  <c:v>44763</c:v>
                </c:pt>
                <c:pt idx="694">
                  <c:v>44764</c:v>
                </c:pt>
                <c:pt idx="695">
                  <c:v>44767</c:v>
                </c:pt>
                <c:pt idx="696">
                  <c:v>44768</c:v>
                </c:pt>
                <c:pt idx="697">
                  <c:v>44769</c:v>
                </c:pt>
                <c:pt idx="698">
                  <c:v>44770</c:v>
                </c:pt>
                <c:pt idx="699">
                  <c:v>44771</c:v>
                </c:pt>
                <c:pt idx="700">
                  <c:v>44774</c:v>
                </c:pt>
                <c:pt idx="701">
                  <c:v>44775</c:v>
                </c:pt>
                <c:pt idx="702">
                  <c:v>44776</c:v>
                </c:pt>
                <c:pt idx="703">
                  <c:v>44777</c:v>
                </c:pt>
                <c:pt idx="704">
                  <c:v>44778</c:v>
                </c:pt>
                <c:pt idx="705">
                  <c:v>44781</c:v>
                </c:pt>
                <c:pt idx="706">
                  <c:v>44782</c:v>
                </c:pt>
                <c:pt idx="707">
                  <c:v>44783</c:v>
                </c:pt>
                <c:pt idx="708">
                  <c:v>44784</c:v>
                </c:pt>
                <c:pt idx="709">
                  <c:v>44785</c:v>
                </c:pt>
                <c:pt idx="710">
                  <c:v>44788</c:v>
                </c:pt>
                <c:pt idx="711">
                  <c:v>44789</c:v>
                </c:pt>
                <c:pt idx="712">
                  <c:v>44790</c:v>
                </c:pt>
                <c:pt idx="713">
                  <c:v>44791</c:v>
                </c:pt>
                <c:pt idx="714">
                  <c:v>44792</c:v>
                </c:pt>
                <c:pt idx="715">
                  <c:v>44795</c:v>
                </c:pt>
                <c:pt idx="716">
                  <c:v>44796</c:v>
                </c:pt>
                <c:pt idx="717">
                  <c:v>44797</c:v>
                </c:pt>
                <c:pt idx="718">
                  <c:v>44798</c:v>
                </c:pt>
                <c:pt idx="719">
                  <c:v>44799</c:v>
                </c:pt>
                <c:pt idx="720">
                  <c:v>44802</c:v>
                </c:pt>
                <c:pt idx="721">
                  <c:v>44803</c:v>
                </c:pt>
                <c:pt idx="722">
                  <c:v>44804</c:v>
                </c:pt>
                <c:pt idx="723">
                  <c:v>44805</c:v>
                </c:pt>
                <c:pt idx="724">
                  <c:v>44806</c:v>
                </c:pt>
                <c:pt idx="725">
                  <c:v>44809</c:v>
                </c:pt>
                <c:pt idx="726">
                  <c:v>44810</c:v>
                </c:pt>
                <c:pt idx="727">
                  <c:v>44811</c:v>
                </c:pt>
                <c:pt idx="728">
                  <c:v>44812</c:v>
                </c:pt>
                <c:pt idx="729">
                  <c:v>44813</c:v>
                </c:pt>
                <c:pt idx="730">
                  <c:v>44816</c:v>
                </c:pt>
                <c:pt idx="731">
                  <c:v>44817</c:v>
                </c:pt>
                <c:pt idx="732">
                  <c:v>44818</c:v>
                </c:pt>
                <c:pt idx="733">
                  <c:v>44819</c:v>
                </c:pt>
                <c:pt idx="734">
                  <c:v>44820</c:v>
                </c:pt>
                <c:pt idx="735">
                  <c:v>44823</c:v>
                </c:pt>
                <c:pt idx="736">
                  <c:v>44824</c:v>
                </c:pt>
                <c:pt idx="737">
                  <c:v>44825</c:v>
                </c:pt>
                <c:pt idx="738">
                  <c:v>44826</c:v>
                </c:pt>
                <c:pt idx="739">
                  <c:v>44827</c:v>
                </c:pt>
                <c:pt idx="740">
                  <c:v>44830</c:v>
                </c:pt>
                <c:pt idx="741">
                  <c:v>44831</c:v>
                </c:pt>
                <c:pt idx="742">
                  <c:v>44832</c:v>
                </c:pt>
                <c:pt idx="743">
                  <c:v>44833</c:v>
                </c:pt>
                <c:pt idx="744">
                  <c:v>44834</c:v>
                </c:pt>
                <c:pt idx="745">
                  <c:v>44837</c:v>
                </c:pt>
                <c:pt idx="746">
                  <c:v>44838</c:v>
                </c:pt>
                <c:pt idx="747">
                  <c:v>44839</c:v>
                </c:pt>
                <c:pt idx="748">
                  <c:v>44840</c:v>
                </c:pt>
                <c:pt idx="749">
                  <c:v>44841</c:v>
                </c:pt>
                <c:pt idx="750">
                  <c:v>44844</c:v>
                </c:pt>
                <c:pt idx="751">
                  <c:v>44845</c:v>
                </c:pt>
                <c:pt idx="752">
                  <c:v>44846</c:v>
                </c:pt>
                <c:pt idx="753">
                  <c:v>44847</c:v>
                </c:pt>
                <c:pt idx="754">
                  <c:v>44848</c:v>
                </c:pt>
                <c:pt idx="755">
                  <c:v>44851</c:v>
                </c:pt>
                <c:pt idx="756">
                  <c:v>44852</c:v>
                </c:pt>
                <c:pt idx="757">
                  <c:v>44853</c:v>
                </c:pt>
                <c:pt idx="758">
                  <c:v>44854</c:v>
                </c:pt>
                <c:pt idx="759">
                  <c:v>44855</c:v>
                </c:pt>
                <c:pt idx="760">
                  <c:v>44858</c:v>
                </c:pt>
                <c:pt idx="761">
                  <c:v>44859</c:v>
                </c:pt>
                <c:pt idx="762">
                  <c:v>44860</c:v>
                </c:pt>
                <c:pt idx="763">
                  <c:v>44861</c:v>
                </c:pt>
                <c:pt idx="764">
                  <c:v>44862</c:v>
                </c:pt>
                <c:pt idx="765">
                  <c:v>44865</c:v>
                </c:pt>
                <c:pt idx="766">
                  <c:v>44866</c:v>
                </c:pt>
                <c:pt idx="767">
                  <c:v>44867</c:v>
                </c:pt>
                <c:pt idx="768">
                  <c:v>44868</c:v>
                </c:pt>
                <c:pt idx="769">
                  <c:v>44869</c:v>
                </c:pt>
                <c:pt idx="770">
                  <c:v>44872</c:v>
                </c:pt>
                <c:pt idx="771">
                  <c:v>44873</c:v>
                </c:pt>
                <c:pt idx="772">
                  <c:v>44874</c:v>
                </c:pt>
                <c:pt idx="773">
                  <c:v>44875</c:v>
                </c:pt>
                <c:pt idx="774">
                  <c:v>44876</c:v>
                </c:pt>
                <c:pt idx="775">
                  <c:v>44879</c:v>
                </c:pt>
                <c:pt idx="776">
                  <c:v>44880</c:v>
                </c:pt>
                <c:pt idx="777">
                  <c:v>44881</c:v>
                </c:pt>
                <c:pt idx="778">
                  <c:v>44882</c:v>
                </c:pt>
                <c:pt idx="779">
                  <c:v>44883</c:v>
                </c:pt>
                <c:pt idx="780">
                  <c:v>44886</c:v>
                </c:pt>
                <c:pt idx="781">
                  <c:v>44887</c:v>
                </c:pt>
                <c:pt idx="782">
                  <c:v>44888</c:v>
                </c:pt>
                <c:pt idx="783">
                  <c:v>44889</c:v>
                </c:pt>
                <c:pt idx="784">
                  <c:v>44890</c:v>
                </c:pt>
                <c:pt idx="785">
                  <c:v>44893</c:v>
                </c:pt>
                <c:pt idx="786">
                  <c:v>44894</c:v>
                </c:pt>
                <c:pt idx="787">
                  <c:v>44895</c:v>
                </c:pt>
                <c:pt idx="788">
                  <c:v>44896</c:v>
                </c:pt>
                <c:pt idx="789">
                  <c:v>44897</c:v>
                </c:pt>
                <c:pt idx="790">
                  <c:v>44900</c:v>
                </c:pt>
                <c:pt idx="791">
                  <c:v>44901</c:v>
                </c:pt>
                <c:pt idx="792">
                  <c:v>44902</c:v>
                </c:pt>
                <c:pt idx="793">
                  <c:v>44903</c:v>
                </c:pt>
                <c:pt idx="794">
                  <c:v>44904</c:v>
                </c:pt>
                <c:pt idx="795">
                  <c:v>44907</c:v>
                </c:pt>
                <c:pt idx="796">
                  <c:v>44908</c:v>
                </c:pt>
                <c:pt idx="797">
                  <c:v>44909</c:v>
                </c:pt>
                <c:pt idx="798">
                  <c:v>44910</c:v>
                </c:pt>
                <c:pt idx="799">
                  <c:v>44911</c:v>
                </c:pt>
                <c:pt idx="800">
                  <c:v>44914</c:v>
                </c:pt>
                <c:pt idx="801">
                  <c:v>44915</c:v>
                </c:pt>
                <c:pt idx="802">
                  <c:v>44916</c:v>
                </c:pt>
                <c:pt idx="803">
                  <c:v>44917</c:v>
                </c:pt>
                <c:pt idx="804">
                  <c:v>44918</c:v>
                </c:pt>
                <c:pt idx="805">
                  <c:v>44921</c:v>
                </c:pt>
                <c:pt idx="806">
                  <c:v>44922</c:v>
                </c:pt>
                <c:pt idx="807">
                  <c:v>44923</c:v>
                </c:pt>
                <c:pt idx="808">
                  <c:v>44924</c:v>
                </c:pt>
                <c:pt idx="809">
                  <c:v>44925</c:v>
                </c:pt>
                <c:pt idx="810">
                  <c:v>44928</c:v>
                </c:pt>
                <c:pt idx="811">
                  <c:v>44929</c:v>
                </c:pt>
                <c:pt idx="812">
                  <c:v>44930</c:v>
                </c:pt>
                <c:pt idx="813">
                  <c:v>44931</c:v>
                </c:pt>
                <c:pt idx="814">
                  <c:v>44932</c:v>
                </c:pt>
                <c:pt idx="815">
                  <c:v>44935</c:v>
                </c:pt>
                <c:pt idx="816">
                  <c:v>44936</c:v>
                </c:pt>
                <c:pt idx="817">
                  <c:v>44937</c:v>
                </c:pt>
                <c:pt idx="818">
                  <c:v>44938</c:v>
                </c:pt>
                <c:pt idx="819">
                  <c:v>44939</c:v>
                </c:pt>
                <c:pt idx="820">
                  <c:v>44942</c:v>
                </c:pt>
                <c:pt idx="821">
                  <c:v>44943</c:v>
                </c:pt>
                <c:pt idx="822">
                  <c:v>44944</c:v>
                </c:pt>
                <c:pt idx="823">
                  <c:v>44945</c:v>
                </c:pt>
                <c:pt idx="824">
                  <c:v>44946</c:v>
                </c:pt>
                <c:pt idx="825">
                  <c:v>44949</c:v>
                </c:pt>
                <c:pt idx="826">
                  <c:v>44950</c:v>
                </c:pt>
                <c:pt idx="827">
                  <c:v>44951</c:v>
                </c:pt>
                <c:pt idx="828">
                  <c:v>44952</c:v>
                </c:pt>
                <c:pt idx="829">
                  <c:v>44953</c:v>
                </c:pt>
                <c:pt idx="830">
                  <c:v>44956</c:v>
                </c:pt>
                <c:pt idx="831">
                  <c:v>44957</c:v>
                </c:pt>
                <c:pt idx="832">
                  <c:v>44958</c:v>
                </c:pt>
                <c:pt idx="833">
                  <c:v>44959</c:v>
                </c:pt>
                <c:pt idx="834">
                  <c:v>44960</c:v>
                </c:pt>
                <c:pt idx="835">
                  <c:v>44963</c:v>
                </c:pt>
                <c:pt idx="836">
                  <c:v>44964</c:v>
                </c:pt>
                <c:pt idx="837">
                  <c:v>44965</c:v>
                </c:pt>
                <c:pt idx="838">
                  <c:v>44966</c:v>
                </c:pt>
                <c:pt idx="839">
                  <c:v>44967</c:v>
                </c:pt>
                <c:pt idx="840">
                  <c:v>44970</c:v>
                </c:pt>
                <c:pt idx="841">
                  <c:v>44971</c:v>
                </c:pt>
                <c:pt idx="842">
                  <c:v>44972</c:v>
                </c:pt>
                <c:pt idx="843">
                  <c:v>44973</c:v>
                </c:pt>
                <c:pt idx="844">
                  <c:v>44974</c:v>
                </c:pt>
                <c:pt idx="845">
                  <c:v>44977</c:v>
                </c:pt>
                <c:pt idx="846">
                  <c:v>44978</c:v>
                </c:pt>
                <c:pt idx="847">
                  <c:v>44979</c:v>
                </c:pt>
                <c:pt idx="848">
                  <c:v>44980</c:v>
                </c:pt>
                <c:pt idx="849">
                  <c:v>44981</c:v>
                </c:pt>
                <c:pt idx="850">
                  <c:v>44984</c:v>
                </c:pt>
                <c:pt idx="851">
                  <c:v>44985</c:v>
                </c:pt>
                <c:pt idx="852">
                  <c:v>44986</c:v>
                </c:pt>
                <c:pt idx="853">
                  <c:v>44987</c:v>
                </c:pt>
                <c:pt idx="854">
                  <c:v>44988</c:v>
                </c:pt>
                <c:pt idx="855">
                  <c:v>44991</c:v>
                </c:pt>
                <c:pt idx="856">
                  <c:v>44992</c:v>
                </c:pt>
                <c:pt idx="857">
                  <c:v>44993</c:v>
                </c:pt>
                <c:pt idx="858">
                  <c:v>44994</c:v>
                </c:pt>
                <c:pt idx="859">
                  <c:v>44995</c:v>
                </c:pt>
                <c:pt idx="860">
                  <c:v>44998</c:v>
                </c:pt>
                <c:pt idx="861">
                  <c:v>44999</c:v>
                </c:pt>
                <c:pt idx="862">
                  <c:v>45000</c:v>
                </c:pt>
                <c:pt idx="863">
                  <c:v>45001</c:v>
                </c:pt>
                <c:pt idx="864">
                  <c:v>45002</c:v>
                </c:pt>
                <c:pt idx="865">
                  <c:v>45005</c:v>
                </c:pt>
                <c:pt idx="866">
                  <c:v>45006</c:v>
                </c:pt>
                <c:pt idx="867">
                  <c:v>45007</c:v>
                </c:pt>
                <c:pt idx="868">
                  <c:v>45008</c:v>
                </c:pt>
                <c:pt idx="869">
                  <c:v>45009</c:v>
                </c:pt>
                <c:pt idx="870">
                  <c:v>45012</c:v>
                </c:pt>
                <c:pt idx="871">
                  <c:v>45013</c:v>
                </c:pt>
                <c:pt idx="872">
                  <c:v>45014</c:v>
                </c:pt>
                <c:pt idx="873">
                  <c:v>45015</c:v>
                </c:pt>
                <c:pt idx="874">
                  <c:v>45016</c:v>
                </c:pt>
                <c:pt idx="875">
                  <c:v>45019</c:v>
                </c:pt>
                <c:pt idx="876">
                  <c:v>45020</c:v>
                </c:pt>
                <c:pt idx="877">
                  <c:v>45021</c:v>
                </c:pt>
                <c:pt idx="878">
                  <c:v>45022</c:v>
                </c:pt>
                <c:pt idx="879">
                  <c:v>45023</c:v>
                </c:pt>
                <c:pt idx="880">
                  <c:v>45026</c:v>
                </c:pt>
                <c:pt idx="881">
                  <c:v>45027</c:v>
                </c:pt>
                <c:pt idx="882">
                  <c:v>45028</c:v>
                </c:pt>
                <c:pt idx="883">
                  <c:v>45029</c:v>
                </c:pt>
                <c:pt idx="884">
                  <c:v>45030</c:v>
                </c:pt>
                <c:pt idx="885">
                  <c:v>45033</c:v>
                </c:pt>
                <c:pt idx="886">
                  <c:v>45034</c:v>
                </c:pt>
                <c:pt idx="887">
                  <c:v>45035</c:v>
                </c:pt>
                <c:pt idx="888">
                  <c:v>45036</c:v>
                </c:pt>
                <c:pt idx="889">
                  <c:v>45037</c:v>
                </c:pt>
                <c:pt idx="890">
                  <c:v>45040</c:v>
                </c:pt>
                <c:pt idx="891">
                  <c:v>45041</c:v>
                </c:pt>
                <c:pt idx="892">
                  <c:v>45042</c:v>
                </c:pt>
                <c:pt idx="893">
                  <c:v>45043</c:v>
                </c:pt>
                <c:pt idx="894">
                  <c:v>45044</c:v>
                </c:pt>
                <c:pt idx="895">
                  <c:v>45047</c:v>
                </c:pt>
                <c:pt idx="896">
                  <c:v>45048</c:v>
                </c:pt>
                <c:pt idx="897">
                  <c:v>45049</c:v>
                </c:pt>
                <c:pt idx="898">
                  <c:v>45050</c:v>
                </c:pt>
                <c:pt idx="899">
                  <c:v>45051</c:v>
                </c:pt>
                <c:pt idx="900">
                  <c:v>45054</c:v>
                </c:pt>
                <c:pt idx="901">
                  <c:v>45055</c:v>
                </c:pt>
                <c:pt idx="902">
                  <c:v>45056</c:v>
                </c:pt>
                <c:pt idx="903">
                  <c:v>45057</c:v>
                </c:pt>
                <c:pt idx="904">
                  <c:v>45058</c:v>
                </c:pt>
                <c:pt idx="905">
                  <c:v>45061</c:v>
                </c:pt>
                <c:pt idx="906">
                  <c:v>45062</c:v>
                </c:pt>
                <c:pt idx="907">
                  <c:v>45063</c:v>
                </c:pt>
                <c:pt idx="908">
                  <c:v>45064</c:v>
                </c:pt>
                <c:pt idx="909">
                  <c:v>45065</c:v>
                </c:pt>
                <c:pt idx="910">
                  <c:v>45068</c:v>
                </c:pt>
                <c:pt idx="911">
                  <c:v>45069</c:v>
                </c:pt>
                <c:pt idx="912">
                  <c:v>45070</c:v>
                </c:pt>
                <c:pt idx="913">
                  <c:v>45071</c:v>
                </c:pt>
                <c:pt idx="914">
                  <c:v>45072</c:v>
                </c:pt>
                <c:pt idx="915">
                  <c:v>45075</c:v>
                </c:pt>
                <c:pt idx="916">
                  <c:v>45076</c:v>
                </c:pt>
                <c:pt idx="917">
                  <c:v>45077</c:v>
                </c:pt>
                <c:pt idx="918">
                  <c:v>45078</c:v>
                </c:pt>
                <c:pt idx="919">
                  <c:v>45079</c:v>
                </c:pt>
                <c:pt idx="920">
                  <c:v>45082</c:v>
                </c:pt>
                <c:pt idx="921">
                  <c:v>45083</c:v>
                </c:pt>
                <c:pt idx="922">
                  <c:v>45084</c:v>
                </c:pt>
                <c:pt idx="923">
                  <c:v>45085</c:v>
                </c:pt>
                <c:pt idx="924">
                  <c:v>45086</c:v>
                </c:pt>
                <c:pt idx="925">
                  <c:v>45089</c:v>
                </c:pt>
                <c:pt idx="926">
                  <c:v>45090</c:v>
                </c:pt>
                <c:pt idx="927">
                  <c:v>45091</c:v>
                </c:pt>
                <c:pt idx="928">
                  <c:v>45092</c:v>
                </c:pt>
                <c:pt idx="929">
                  <c:v>45093</c:v>
                </c:pt>
                <c:pt idx="930">
                  <c:v>45096</c:v>
                </c:pt>
                <c:pt idx="931">
                  <c:v>45097</c:v>
                </c:pt>
                <c:pt idx="932">
                  <c:v>45098</c:v>
                </c:pt>
                <c:pt idx="933">
                  <c:v>45099</c:v>
                </c:pt>
                <c:pt idx="934">
                  <c:v>45100</c:v>
                </c:pt>
                <c:pt idx="935">
                  <c:v>45103</c:v>
                </c:pt>
                <c:pt idx="936">
                  <c:v>45104</c:v>
                </c:pt>
                <c:pt idx="937">
                  <c:v>45105</c:v>
                </c:pt>
                <c:pt idx="938">
                  <c:v>45106</c:v>
                </c:pt>
                <c:pt idx="939">
                  <c:v>45107</c:v>
                </c:pt>
                <c:pt idx="940">
                  <c:v>45110</c:v>
                </c:pt>
                <c:pt idx="941">
                  <c:v>45111</c:v>
                </c:pt>
                <c:pt idx="942">
                  <c:v>45112</c:v>
                </c:pt>
                <c:pt idx="943">
                  <c:v>45113</c:v>
                </c:pt>
                <c:pt idx="944">
                  <c:v>45114</c:v>
                </c:pt>
                <c:pt idx="945">
                  <c:v>45117</c:v>
                </c:pt>
                <c:pt idx="946">
                  <c:v>45118</c:v>
                </c:pt>
                <c:pt idx="947">
                  <c:v>45119</c:v>
                </c:pt>
                <c:pt idx="948">
                  <c:v>45120</c:v>
                </c:pt>
                <c:pt idx="949">
                  <c:v>45121</c:v>
                </c:pt>
                <c:pt idx="950">
                  <c:v>45124</c:v>
                </c:pt>
                <c:pt idx="951">
                  <c:v>45125</c:v>
                </c:pt>
                <c:pt idx="952">
                  <c:v>45126</c:v>
                </c:pt>
                <c:pt idx="953">
                  <c:v>45127</c:v>
                </c:pt>
                <c:pt idx="954">
                  <c:v>45128</c:v>
                </c:pt>
                <c:pt idx="955">
                  <c:v>45131</c:v>
                </c:pt>
                <c:pt idx="956">
                  <c:v>45132</c:v>
                </c:pt>
                <c:pt idx="957">
                  <c:v>45133</c:v>
                </c:pt>
                <c:pt idx="958">
                  <c:v>45134</c:v>
                </c:pt>
                <c:pt idx="959">
                  <c:v>45135</c:v>
                </c:pt>
                <c:pt idx="960">
                  <c:v>45138</c:v>
                </c:pt>
                <c:pt idx="961">
                  <c:v>45139</c:v>
                </c:pt>
                <c:pt idx="962">
                  <c:v>45140</c:v>
                </c:pt>
                <c:pt idx="963">
                  <c:v>45141</c:v>
                </c:pt>
                <c:pt idx="964">
                  <c:v>45142</c:v>
                </c:pt>
                <c:pt idx="965">
                  <c:v>45145</c:v>
                </c:pt>
                <c:pt idx="966">
                  <c:v>45146</c:v>
                </c:pt>
                <c:pt idx="967">
                  <c:v>45147</c:v>
                </c:pt>
                <c:pt idx="968">
                  <c:v>45148</c:v>
                </c:pt>
                <c:pt idx="969">
                  <c:v>45149</c:v>
                </c:pt>
                <c:pt idx="970">
                  <c:v>45152</c:v>
                </c:pt>
                <c:pt idx="971">
                  <c:v>45153</c:v>
                </c:pt>
                <c:pt idx="972">
                  <c:v>45154</c:v>
                </c:pt>
                <c:pt idx="973">
                  <c:v>45155</c:v>
                </c:pt>
                <c:pt idx="974">
                  <c:v>45156</c:v>
                </c:pt>
                <c:pt idx="975">
                  <c:v>45159</c:v>
                </c:pt>
                <c:pt idx="976">
                  <c:v>45160</c:v>
                </c:pt>
                <c:pt idx="977">
                  <c:v>45161</c:v>
                </c:pt>
                <c:pt idx="978">
                  <c:v>45162</c:v>
                </c:pt>
                <c:pt idx="979">
                  <c:v>45163</c:v>
                </c:pt>
                <c:pt idx="980">
                  <c:v>45166</c:v>
                </c:pt>
                <c:pt idx="981">
                  <c:v>45167</c:v>
                </c:pt>
                <c:pt idx="982">
                  <c:v>45168</c:v>
                </c:pt>
                <c:pt idx="983">
                  <c:v>45169</c:v>
                </c:pt>
                <c:pt idx="984">
                  <c:v>45170</c:v>
                </c:pt>
                <c:pt idx="985">
                  <c:v>45173</c:v>
                </c:pt>
                <c:pt idx="986">
                  <c:v>45174</c:v>
                </c:pt>
                <c:pt idx="987">
                  <c:v>45175</c:v>
                </c:pt>
                <c:pt idx="988">
                  <c:v>45176</c:v>
                </c:pt>
                <c:pt idx="989">
                  <c:v>45177</c:v>
                </c:pt>
                <c:pt idx="990">
                  <c:v>45180</c:v>
                </c:pt>
                <c:pt idx="991">
                  <c:v>45181</c:v>
                </c:pt>
                <c:pt idx="992">
                  <c:v>45182</c:v>
                </c:pt>
                <c:pt idx="993">
                  <c:v>45183</c:v>
                </c:pt>
                <c:pt idx="994">
                  <c:v>45184</c:v>
                </c:pt>
                <c:pt idx="995">
                  <c:v>45187</c:v>
                </c:pt>
                <c:pt idx="996">
                  <c:v>45188</c:v>
                </c:pt>
                <c:pt idx="997">
                  <c:v>45189</c:v>
                </c:pt>
                <c:pt idx="998">
                  <c:v>45190</c:v>
                </c:pt>
                <c:pt idx="999">
                  <c:v>45191</c:v>
                </c:pt>
                <c:pt idx="1000">
                  <c:v>45194</c:v>
                </c:pt>
                <c:pt idx="1001">
                  <c:v>45195</c:v>
                </c:pt>
                <c:pt idx="1002">
                  <c:v>45196</c:v>
                </c:pt>
                <c:pt idx="1003">
                  <c:v>45197</c:v>
                </c:pt>
                <c:pt idx="1004">
                  <c:v>45198</c:v>
                </c:pt>
                <c:pt idx="1005">
                  <c:v>45201</c:v>
                </c:pt>
                <c:pt idx="1006">
                  <c:v>45202</c:v>
                </c:pt>
                <c:pt idx="1007">
                  <c:v>45203</c:v>
                </c:pt>
                <c:pt idx="1008">
                  <c:v>45204</c:v>
                </c:pt>
                <c:pt idx="1009">
                  <c:v>45205</c:v>
                </c:pt>
                <c:pt idx="1010">
                  <c:v>45208</c:v>
                </c:pt>
                <c:pt idx="1011">
                  <c:v>45209</c:v>
                </c:pt>
                <c:pt idx="1012">
                  <c:v>45210</c:v>
                </c:pt>
                <c:pt idx="1013">
                  <c:v>45211</c:v>
                </c:pt>
                <c:pt idx="1014">
                  <c:v>45212</c:v>
                </c:pt>
                <c:pt idx="1015">
                  <c:v>45215</c:v>
                </c:pt>
                <c:pt idx="1016">
                  <c:v>45216</c:v>
                </c:pt>
                <c:pt idx="1017">
                  <c:v>45217</c:v>
                </c:pt>
                <c:pt idx="1018">
                  <c:v>45218</c:v>
                </c:pt>
                <c:pt idx="1019">
                  <c:v>45219</c:v>
                </c:pt>
                <c:pt idx="1020">
                  <c:v>45222</c:v>
                </c:pt>
                <c:pt idx="1021">
                  <c:v>45223</c:v>
                </c:pt>
                <c:pt idx="1022">
                  <c:v>45224</c:v>
                </c:pt>
                <c:pt idx="1023">
                  <c:v>45225</c:v>
                </c:pt>
                <c:pt idx="1024">
                  <c:v>45226</c:v>
                </c:pt>
                <c:pt idx="1025">
                  <c:v>45229</c:v>
                </c:pt>
                <c:pt idx="1026">
                  <c:v>45230</c:v>
                </c:pt>
                <c:pt idx="1027">
                  <c:v>45231</c:v>
                </c:pt>
                <c:pt idx="1028">
                  <c:v>45232</c:v>
                </c:pt>
                <c:pt idx="1029">
                  <c:v>45233</c:v>
                </c:pt>
                <c:pt idx="1030">
                  <c:v>45236</c:v>
                </c:pt>
                <c:pt idx="1031">
                  <c:v>45237</c:v>
                </c:pt>
                <c:pt idx="1032">
                  <c:v>45238</c:v>
                </c:pt>
                <c:pt idx="1033">
                  <c:v>45239</c:v>
                </c:pt>
                <c:pt idx="1034">
                  <c:v>45240</c:v>
                </c:pt>
                <c:pt idx="1035">
                  <c:v>45243</c:v>
                </c:pt>
                <c:pt idx="1036">
                  <c:v>45244</c:v>
                </c:pt>
                <c:pt idx="1037">
                  <c:v>45245</c:v>
                </c:pt>
                <c:pt idx="1038">
                  <c:v>45246</c:v>
                </c:pt>
                <c:pt idx="1039">
                  <c:v>45247</c:v>
                </c:pt>
                <c:pt idx="1040">
                  <c:v>45250</c:v>
                </c:pt>
                <c:pt idx="1041">
                  <c:v>45251</c:v>
                </c:pt>
                <c:pt idx="1042">
                  <c:v>45252</c:v>
                </c:pt>
                <c:pt idx="1043">
                  <c:v>45253</c:v>
                </c:pt>
                <c:pt idx="1044">
                  <c:v>45254</c:v>
                </c:pt>
                <c:pt idx="1045">
                  <c:v>45257</c:v>
                </c:pt>
                <c:pt idx="1046">
                  <c:v>45258</c:v>
                </c:pt>
                <c:pt idx="1047">
                  <c:v>45259</c:v>
                </c:pt>
                <c:pt idx="1048">
                  <c:v>45260</c:v>
                </c:pt>
                <c:pt idx="1049">
                  <c:v>45261</c:v>
                </c:pt>
                <c:pt idx="1050">
                  <c:v>45264</c:v>
                </c:pt>
                <c:pt idx="1051">
                  <c:v>45265</c:v>
                </c:pt>
                <c:pt idx="1052">
                  <c:v>45266</c:v>
                </c:pt>
                <c:pt idx="1053">
                  <c:v>45267</c:v>
                </c:pt>
                <c:pt idx="1054">
                  <c:v>45268</c:v>
                </c:pt>
                <c:pt idx="1055">
                  <c:v>45271</c:v>
                </c:pt>
                <c:pt idx="1056">
                  <c:v>45272</c:v>
                </c:pt>
                <c:pt idx="1057">
                  <c:v>45273</c:v>
                </c:pt>
                <c:pt idx="1058">
                  <c:v>45274</c:v>
                </c:pt>
                <c:pt idx="1059">
                  <c:v>45275</c:v>
                </c:pt>
                <c:pt idx="1060">
                  <c:v>45278</c:v>
                </c:pt>
                <c:pt idx="1061">
                  <c:v>45279</c:v>
                </c:pt>
                <c:pt idx="1062">
                  <c:v>45280</c:v>
                </c:pt>
                <c:pt idx="1063">
                  <c:v>45281</c:v>
                </c:pt>
                <c:pt idx="1064">
                  <c:v>45282</c:v>
                </c:pt>
                <c:pt idx="1065">
                  <c:v>45285</c:v>
                </c:pt>
                <c:pt idx="1066">
                  <c:v>45286</c:v>
                </c:pt>
                <c:pt idx="1067">
                  <c:v>45287</c:v>
                </c:pt>
                <c:pt idx="1068">
                  <c:v>45288</c:v>
                </c:pt>
                <c:pt idx="1069">
                  <c:v>45289</c:v>
                </c:pt>
                <c:pt idx="1070">
                  <c:v>45292</c:v>
                </c:pt>
                <c:pt idx="1071">
                  <c:v>45293</c:v>
                </c:pt>
                <c:pt idx="1072">
                  <c:v>45294</c:v>
                </c:pt>
                <c:pt idx="1073">
                  <c:v>45295</c:v>
                </c:pt>
                <c:pt idx="1074">
                  <c:v>45296</c:v>
                </c:pt>
                <c:pt idx="1075">
                  <c:v>45299</c:v>
                </c:pt>
                <c:pt idx="1076">
                  <c:v>45300</c:v>
                </c:pt>
                <c:pt idx="1077">
                  <c:v>45301</c:v>
                </c:pt>
                <c:pt idx="1078">
                  <c:v>45302</c:v>
                </c:pt>
                <c:pt idx="1079">
                  <c:v>45303</c:v>
                </c:pt>
                <c:pt idx="1080">
                  <c:v>45306</c:v>
                </c:pt>
                <c:pt idx="1081">
                  <c:v>45307</c:v>
                </c:pt>
                <c:pt idx="1082">
                  <c:v>45308</c:v>
                </c:pt>
                <c:pt idx="1083">
                  <c:v>45309</c:v>
                </c:pt>
                <c:pt idx="1084">
                  <c:v>45310</c:v>
                </c:pt>
                <c:pt idx="1085">
                  <c:v>45313</c:v>
                </c:pt>
                <c:pt idx="1086">
                  <c:v>45314</c:v>
                </c:pt>
                <c:pt idx="1087">
                  <c:v>45315</c:v>
                </c:pt>
                <c:pt idx="1088">
                  <c:v>45316</c:v>
                </c:pt>
                <c:pt idx="1089">
                  <c:v>45317</c:v>
                </c:pt>
                <c:pt idx="1090">
                  <c:v>45320</c:v>
                </c:pt>
                <c:pt idx="1091">
                  <c:v>45321</c:v>
                </c:pt>
                <c:pt idx="1092">
                  <c:v>45322</c:v>
                </c:pt>
                <c:pt idx="1093">
                  <c:v>45323</c:v>
                </c:pt>
                <c:pt idx="1094">
                  <c:v>45324</c:v>
                </c:pt>
                <c:pt idx="1095">
                  <c:v>45327</c:v>
                </c:pt>
                <c:pt idx="1096">
                  <c:v>45328</c:v>
                </c:pt>
                <c:pt idx="1097">
                  <c:v>45329</c:v>
                </c:pt>
                <c:pt idx="1098">
                  <c:v>45330</c:v>
                </c:pt>
                <c:pt idx="1099">
                  <c:v>45331</c:v>
                </c:pt>
                <c:pt idx="1100">
                  <c:v>45334</c:v>
                </c:pt>
                <c:pt idx="1101">
                  <c:v>45335</c:v>
                </c:pt>
                <c:pt idx="1102">
                  <c:v>45336</c:v>
                </c:pt>
                <c:pt idx="1103">
                  <c:v>45337</c:v>
                </c:pt>
                <c:pt idx="1104">
                  <c:v>45338</c:v>
                </c:pt>
                <c:pt idx="1105">
                  <c:v>45341</c:v>
                </c:pt>
                <c:pt idx="1106">
                  <c:v>45342</c:v>
                </c:pt>
                <c:pt idx="1107">
                  <c:v>45343</c:v>
                </c:pt>
                <c:pt idx="1108">
                  <c:v>45344</c:v>
                </c:pt>
                <c:pt idx="1109">
                  <c:v>45345</c:v>
                </c:pt>
                <c:pt idx="1110">
                  <c:v>45348</c:v>
                </c:pt>
                <c:pt idx="1111">
                  <c:v>45349</c:v>
                </c:pt>
                <c:pt idx="1112">
                  <c:v>45350</c:v>
                </c:pt>
                <c:pt idx="1113">
                  <c:v>45351</c:v>
                </c:pt>
                <c:pt idx="1114">
                  <c:v>45352</c:v>
                </c:pt>
                <c:pt idx="1115">
                  <c:v>45355</c:v>
                </c:pt>
                <c:pt idx="1116">
                  <c:v>45356</c:v>
                </c:pt>
                <c:pt idx="1117">
                  <c:v>45357</c:v>
                </c:pt>
                <c:pt idx="1118">
                  <c:v>45358</c:v>
                </c:pt>
                <c:pt idx="1119">
                  <c:v>45359</c:v>
                </c:pt>
                <c:pt idx="1120">
                  <c:v>45362</c:v>
                </c:pt>
                <c:pt idx="1121">
                  <c:v>45363</c:v>
                </c:pt>
                <c:pt idx="1122">
                  <c:v>45364</c:v>
                </c:pt>
                <c:pt idx="1123">
                  <c:v>45365</c:v>
                </c:pt>
                <c:pt idx="1124">
                  <c:v>45366</c:v>
                </c:pt>
                <c:pt idx="1125">
                  <c:v>45369</c:v>
                </c:pt>
                <c:pt idx="1126">
                  <c:v>45370</c:v>
                </c:pt>
                <c:pt idx="1127">
                  <c:v>45371</c:v>
                </c:pt>
                <c:pt idx="1128">
                  <c:v>45372</c:v>
                </c:pt>
                <c:pt idx="1129">
                  <c:v>45373</c:v>
                </c:pt>
                <c:pt idx="1130">
                  <c:v>45376</c:v>
                </c:pt>
                <c:pt idx="1131">
                  <c:v>45377</c:v>
                </c:pt>
                <c:pt idx="1132">
                  <c:v>45378</c:v>
                </c:pt>
                <c:pt idx="1133">
                  <c:v>45379</c:v>
                </c:pt>
                <c:pt idx="1134">
                  <c:v>45380</c:v>
                </c:pt>
                <c:pt idx="1135">
                  <c:v>45383</c:v>
                </c:pt>
                <c:pt idx="1136">
                  <c:v>45384</c:v>
                </c:pt>
                <c:pt idx="1137">
                  <c:v>45385</c:v>
                </c:pt>
                <c:pt idx="1138">
                  <c:v>45386</c:v>
                </c:pt>
                <c:pt idx="1139">
                  <c:v>45387</c:v>
                </c:pt>
                <c:pt idx="1140">
                  <c:v>45390</c:v>
                </c:pt>
                <c:pt idx="1141">
                  <c:v>45391</c:v>
                </c:pt>
                <c:pt idx="1142">
                  <c:v>45392</c:v>
                </c:pt>
                <c:pt idx="1143">
                  <c:v>45393</c:v>
                </c:pt>
                <c:pt idx="1144">
                  <c:v>45394</c:v>
                </c:pt>
                <c:pt idx="1145">
                  <c:v>45397</c:v>
                </c:pt>
                <c:pt idx="1146">
                  <c:v>45398</c:v>
                </c:pt>
                <c:pt idx="1147">
                  <c:v>45399</c:v>
                </c:pt>
                <c:pt idx="1148">
                  <c:v>45400</c:v>
                </c:pt>
                <c:pt idx="1149">
                  <c:v>45401</c:v>
                </c:pt>
                <c:pt idx="1150">
                  <c:v>45404</c:v>
                </c:pt>
                <c:pt idx="1151">
                  <c:v>45405</c:v>
                </c:pt>
                <c:pt idx="1152">
                  <c:v>45406</c:v>
                </c:pt>
                <c:pt idx="1153">
                  <c:v>45407</c:v>
                </c:pt>
                <c:pt idx="1154">
                  <c:v>45408</c:v>
                </c:pt>
                <c:pt idx="1155">
                  <c:v>45411</c:v>
                </c:pt>
                <c:pt idx="1156">
                  <c:v>45412</c:v>
                </c:pt>
                <c:pt idx="1157">
                  <c:v>45413</c:v>
                </c:pt>
                <c:pt idx="1158">
                  <c:v>45414</c:v>
                </c:pt>
                <c:pt idx="1159">
                  <c:v>45415</c:v>
                </c:pt>
                <c:pt idx="1160">
                  <c:v>45418</c:v>
                </c:pt>
                <c:pt idx="1161">
                  <c:v>45419</c:v>
                </c:pt>
                <c:pt idx="1162">
                  <c:v>45420</c:v>
                </c:pt>
                <c:pt idx="1163">
                  <c:v>45421</c:v>
                </c:pt>
                <c:pt idx="1164">
                  <c:v>45422</c:v>
                </c:pt>
                <c:pt idx="1165">
                  <c:v>45425</c:v>
                </c:pt>
                <c:pt idx="1166">
                  <c:v>45426</c:v>
                </c:pt>
                <c:pt idx="1167">
                  <c:v>45427</c:v>
                </c:pt>
                <c:pt idx="1168">
                  <c:v>45428</c:v>
                </c:pt>
                <c:pt idx="1169">
                  <c:v>45429</c:v>
                </c:pt>
                <c:pt idx="1170">
                  <c:v>45432</c:v>
                </c:pt>
                <c:pt idx="1171">
                  <c:v>45433</c:v>
                </c:pt>
                <c:pt idx="1172">
                  <c:v>45434</c:v>
                </c:pt>
                <c:pt idx="1173">
                  <c:v>45435</c:v>
                </c:pt>
                <c:pt idx="1174">
                  <c:v>45436</c:v>
                </c:pt>
                <c:pt idx="1175">
                  <c:v>45439</c:v>
                </c:pt>
                <c:pt idx="1176">
                  <c:v>45440</c:v>
                </c:pt>
                <c:pt idx="1177">
                  <c:v>45441</c:v>
                </c:pt>
                <c:pt idx="1178">
                  <c:v>45442</c:v>
                </c:pt>
                <c:pt idx="1179">
                  <c:v>45443</c:v>
                </c:pt>
                <c:pt idx="1180">
                  <c:v>45446</c:v>
                </c:pt>
                <c:pt idx="1181">
                  <c:v>45447</c:v>
                </c:pt>
                <c:pt idx="1182">
                  <c:v>45448</c:v>
                </c:pt>
                <c:pt idx="1183">
                  <c:v>45449</c:v>
                </c:pt>
                <c:pt idx="1184">
                  <c:v>45450</c:v>
                </c:pt>
                <c:pt idx="1185">
                  <c:v>45453</c:v>
                </c:pt>
                <c:pt idx="1186">
                  <c:v>45454</c:v>
                </c:pt>
                <c:pt idx="1187">
                  <c:v>45455</c:v>
                </c:pt>
                <c:pt idx="1188">
                  <c:v>45456</c:v>
                </c:pt>
                <c:pt idx="1189">
                  <c:v>45457</c:v>
                </c:pt>
                <c:pt idx="1190">
                  <c:v>45460</c:v>
                </c:pt>
                <c:pt idx="1191">
                  <c:v>45461</c:v>
                </c:pt>
                <c:pt idx="1192">
                  <c:v>45462</c:v>
                </c:pt>
                <c:pt idx="1193">
                  <c:v>45463</c:v>
                </c:pt>
                <c:pt idx="1194">
                  <c:v>45464</c:v>
                </c:pt>
                <c:pt idx="1195">
                  <c:v>45467</c:v>
                </c:pt>
                <c:pt idx="1196">
                  <c:v>45468</c:v>
                </c:pt>
                <c:pt idx="1197">
                  <c:v>45469</c:v>
                </c:pt>
                <c:pt idx="1198">
                  <c:v>45470</c:v>
                </c:pt>
                <c:pt idx="1199">
                  <c:v>45471</c:v>
                </c:pt>
                <c:pt idx="1200">
                  <c:v>45474</c:v>
                </c:pt>
                <c:pt idx="1201">
                  <c:v>45475</c:v>
                </c:pt>
                <c:pt idx="1202">
                  <c:v>45476</c:v>
                </c:pt>
                <c:pt idx="1203">
                  <c:v>45477</c:v>
                </c:pt>
                <c:pt idx="1204">
                  <c:v>45478</c:v>
                </c:pt>
                <c:pt idx="1205">
                  <c:v>45481</c:v>
                </c:pt>
                <c:pt idx="1206">
                  <c:v>45482</c:v>
                </c:pt>
                <c:pt idx="1207">
                  <c:v>45483</c:v>
                </c:pt>
                <c:pt idx="1208">
                  <c:v>45484</c:v>
                </c:pt>
                <c:pt idx="1209">
                  <c:v>45485</c:v>
                </c:pt>
                <c:pt idx="1210">
                  <c:v>45488</c:v>
                </c:pt>
                <c:pt idx="1211">
                  <c:v>45489</c:v>
                </c:pt>
                <c:pt idx="1212">
                  <c:v>45490</c:v>
                </c:pt>
                <c:pt idx="1213">
                  <c:v>45491</c:v>
                </c:pt>
                <c:pt idx="1214">
                  <c:v>45492</c:v>
                </c:pt>
                <c:pt idx="1215">
                  <c:v>45495</c:v>
                </c:pt>
                <c:pt idx="1216">
                  <c:v>45496</c:v>
                </c:pt>
                <c:pt idx="1217">
                  <c:v>45497</c:v>
                </c:pt>
                <c:pt idx="1218">
                  <c:v>45498</c:v>
                </c:pt>
                <c:pt idx="1219">
                  <c:v>45499</c:v>
                </c:pt>
                <c:pt idx="1220">
                  <c:v>45502</c:v>
                </c:pt>
                <c:pt idx="1221">
                  <c:v>45503</c:v>
                </c:pt>
                <c:pt idx="1222">
                  <c:v>45504</c:v>
                </c:pt>
                <c:pt idx="1223">
                  <c:v>45505</c:v>
                </c:pt>
                <c:pt idx="1224">
                  <c:v>45506</c:v>
                </c:pt>
                <c:pt idx="1225">
                  <c:v>45509</c:v>
                </c:pt>
                <c:pt idx="1226">
                  <c:v>45510</c:v>
                </c:pt>
                <c:pt idx="1227">
                  <c:v>45511</c:v>
                </c:pt>
                <c:pt idx="1228">
                  <c:v>45512</c:v>
                </c:pt>
                <c:pt idx="1229">
                  <c:v>45513</c:v>
                </c:pt>
                <c:pt idx="1230">
                  <c:v>45516</c:v>
                </c:pt>
                <c:pt idx="1231">
                  <c:v>45517</c:v>
                </c:pt>
                <c:pt idx="1232">
                  <c:v>45518</c:v>
                </c:pt>
                <c:pt idx="1233">
                  <c:v>45519</c:v>
                </c:pt>
                <c:pt idx="1234">
                  <c:v>45520</c:v>
                </c:pt>
                <c:pt idx="1235">
                  <c:v>45523</c:v>
                </c:pt>
                <c:pt idx="1236">
                  <c:v>45524</c:v>
                </c:pt>
                <c:pt idx="1237">
                  <c:v>45525</c:v>
                </c:pt>
                <c:pt idx="1238">
                  <c:v>45526</c:v>
                </c:pt>
                <c:pt idx="1239">
                  <c:v>45527</c:v>
                </c:pt>
                <c:pt idx="1240">
                  <c:v>45530</c:v>
                </c:pt>
                <c:pt idx="1241">
                  <c:v>45531</c:v>
                </c:pt>
                <c:pt idx="1242">
                  <c:v>45532</c:v>
                </c:pt>
                <c:pt idx="1243">
                  <c:v>45533</c:v>
                </c:pt>
                <c:pt idx="1244">
                  <c:v>45534</c:v>
                </c:pt>
                <c:pt idx="1245">
                  <c:v>45537</c:v>
                </c:pt>
                <c:pt idx="1246">
                  <c:v>45538</c:v>
                </c:pt>
                <c:pt idx="1247">
                  <c:v>45539</c:v>
                </c:pt>
                <c:pt idx="1248">
                  <c:v>45540</c:v>
                </c:pt>
                <c:pt idx="1249">
                  <c:v>45541</c:v>
                </c:pt>
                <c:pt idx="1250">
                  <c:v>45544</c:v>
                </c:pt>
                <c:pt idx="1251">
                  <c:v>45545</c:v>
                </c:pt>
                <c:pt idx="1252">
                  <c:v>45546</c:v>
                </c:pt>
                <c:pt idx="1253">
                  <c:v>45547</c:v>
                </c:pt>
                <c:pt idx="1254">
                  <c:v>45548</c:v>
                </c:pt>
                <c:pt idx="1255">
                  <c:v>45551</c:v>
                </c:pt>
                <c:pt idx="1256">
                  <c:v>45552</c:v>
                </c:pt>
                <c:pt idx="1257">
                  <c:v>45553</c:v>
                </c:pt>
                <c:pt idx="1258">
                  <c:v>45554</c:v>
                </c:pt>
                <c:pt idx="1259">
                  <c:v>45555</c:v>
                </c:pt>
                <c:pt idx="1260">
                  <c:v>45558</c:v>
                </c:pt>
                <c:pt idx="1261">
                  <c:v>45559</c:v>
                </c:pt>
                <c:pt idx="1262">
                  <c:v>45560</c:v>
                </c:pt>
                <c:pt idx="1263">
                  <c:v>45561</c:v>
                </c:pt>
                <c:pt idx="1264">
                  <c:v>45562</c:v>
                </c:pt>
                <c:pt idx="1265">
                  <c:v>45565</c:v>
                </c:pt>
                <c:pt idx="1266">
                  <c:v>45566</c:v>
                </c:pt>
                <c:pt idx="1267">
                  <c:v>45567</c:v>
                </c:pt>
                <c:pt idx="1268">
                  <c:v>45568</c:v>
                </c:pt>
                <c:pt idx="1269">
                  <c:v>45569</c:v>
                </c:pt>
                <c:pt idx="1270">
                  <c:v>45572</c:v>
                </c:pt>
                <c:pt idx="1271">
                  <c:v>45573</c:v>
                </c:pt>
                <c:pt idx="1272">
                  <c:v>45574</c:v>
                </c:pt>
                <c:pt idx="1273">
                  <c:v>45575</c:v>
                </c:pt>
                <c:pt idx="1274">
                  <c:v>45576</c:v>
                </c:pt>
                <c:pt idx="1275">
                  <c:v>45579</c:v>
                </c:pt>
                <c:pt idx="1276">
                  <c:v>45580</c:v>
                </c:pt>
                <c:pt idx="1277">
                  <c:v>45581</c:v>
                </c:pt>
                <c:pt idx="1278">
                  <c:v>45582</c:v>
                </c:pt>
                <c:pt idx="1279">
                  <c:v>45583</c:v>
                </c:pt>
                <c:pt idx="1280">
                  <c:v>45586</c:v>
                </c:pt>
                <c:pt idx="1281">
                  <c:v>45587</c:v>
                </c:pt>
                <c:pt idx="1282">
                  <c:v>45588</c:v>
                </c:pt>
                <c:pt idx="1283">
                  <c:v>45589</c:v>
                </c:pt>
                <c:pt idx="1284">
                  <c:v>45590</c:v>
                </c:pt>
                <c:pt idx="1285">
                  <c:v>45593</c:v>
                </c:pt>
                <c:pt idx="1286">
                  <c:v>45594</c:v>
                </c:pt>
                <c:pt idx="1287">
                  <c:v>45595</c:v>
                </c:pt>
                <c:pt idx="1288">
                  <c:v>45596</c:v>
                </c:pt>
                <c:pt idx="1289">
                  <c:v>45597</c:v>
                </c:pt>
                <c:pt idx="1290">
                  <c:v>45600</c:v>
                </c:pt>
                <c:pt idx="1291">
                  <c:v>45601</c:v>
                </c:pt>
                <c:pt idx="1292">
                  <c:v>45602</c:v>
                </c:pt>
                <c:pt idx="1293">
                  <c:v>45603</c:v>
                </c:pt>
                <c:pt idx="1294">
                  <c:v>45604</c:v>
                </c:pt>
                <c:pt idx="1295">
                  <c:v>45607</c:v>
                </c:pt>
                <c:pt idx="1296">
                  <c:v>45608</c:v>
                </c:pt>
                <c:pt idx="1297">
                  <c:v>45609</c:v>
                </c:pt>
                <c:pt idx="1298">
                  <c:v>45610</c:v>
                </c:pt>
                <c:pt idx="1299">
                  <c:v>45611</c:v>
                </c:pt>
                <c:pt idx="1300">
                  <c:v>45614</c:v>
                </c:pt>
                <c:pt idx="1301">
                  <c:v>45615</c:v>
                </c:pt>
                <c:pt idx="1302">
                  <c:v>45616</c:v>
                </c:pt>
                <c:pt idx="1303">
                  <c:v>45617</c:v>
                </c:pt>
                <c:pt idx="1304">
                  <c:v>45618</c:v>
                </c:pt>
                <c:pt idx="1305">
                  <c:v>45621</c:v>
                </c:pt>
              </c:numCache>
            </c:numRef>
          </c:cat>
          <c:val>
            <c:numRef>
              <c:f>'10y-2y'!$I$8:$I$1313</c:f>
              <c:numCache>
                <c:formatCode>General</c:formatCode>
                <c:ptCount val="1306"/>
                <c:pt idx="0">
                  <c:v>58.899999999999977</c:v>
                </c:pt>
                <c:pt idx="1">
                  <c:v>59.199999999999989</c:v>
                </c:pt>
                <c:pt idx="2">
                  <c:v>56.60000000000003</c:v>
                </c:pt>
                <c:pt idx="3">
                  <c:v>56.60000000000003</c:v>
                </c:pt>
                <c:pt idx="4">
                  <c:v>59.800000000000011</c:v>
                </c:pt>
                <c:pt idx="5">
                  <c:v>67.100000000000009</c:v>
                </c:pt>
                <c:pt idx="6">
                  <c:v>62.800000000000011</c:v>
                </c:pt>
                <c:pt idx="7">
                  <c:v>64.5</c:v>
                </c:pt>
                <c:pt idx="8">
                  <c:v>66.3</c:v>
                </c:pt>
                <c:pt idx="9">
                  <c:v>66.299999999999983</c:v>
                </c:pt>
                <c:pt idx="10">
                  <c:v>63.800000000000011</c:v>
                </c:pt>
                <c:pt idx="11">
                  <c:v>59.999999999999986</c:v>
                </c:pt>
                <c:pt idx="12">
                  <c:v>60.500000000000021</c:v>
                </c:pt>
                <c:pt idx="13">
                  <c:v>65.100000000000023</c:v>
                </c:pt>
                <c:pt idx="14">
                  <c:v>64.699999999999974</c:v>
                </c:pt>
                <c:pt idx="15">
                  <c:v>66.299999999999983</c:v>
                </c:pt>
                <c:pt idx="16">
                  <c:v>68.299999999999983</c:v>
                </c:pt>
                <c:pt idx="17">
                  <c:v>71.8</c:v>
                </c:pt>
                <c:pt idx="18">
                  <c:v>72.299999999999983</c:v>
                </c:pt>
                <c:pt idx="19">
                  <c:v>71.7</c:v>
                </c:pt>
                <c:pt idx="20">
                  <c:v>70.800000000000011</c:v>
                </c:pt>
                <c:pt idx="21">
                  <c:v>69.900000000000006</c:v>
                </c:pt>
                <c:pt idx="22">
                  <c:v>69.900000000000006</c:v>
                </c:pt>
                <c:pt idx="23">
                  <c:v>70.000000000000014</c:v>
                </c:pt>
                <c:pt idx="24">
                  <c:v>72.100000000000009</c:v>
                </c:pt>
                <c:pt idx="25">
                  <c:v>77.099999999999994</c:v>
                </c:pt>
                <c:pt idx="26">
                  <c:v>81.59999999999998</c:v>
                </c:pt>
                <c:pt idx="27">
                  <c:v>81.59999999999998</c:v>
                </c:pt>
                <c:pt idx="28">
                  <c:v>76.499999999999986</c:v>
                </c:pt>
                <c:pt idx="29">
                  <c:v>72.599999999999994</c:v>
                </c:pt>
                <c:pt idx="30">
                  <c:v>73.40000000000002</c:v>
                </c:pt>
                <c:pt idx="31">
                  <c:v>76</c:v>
                </c:pt>
                <c:pt idx="32">
                  <c:v>77.600000000000009</c:v>
                </c:pt>
                <c:pt idx="33">
                  <c:v>75.400000000000006</c:v>
                </c:pt>
                <c:pt idx="34">
                  <c:v>71.300000000000011</c:v>
                </c:pt>
                <c:pt idx="35">
                  <c:v>72.09999999999998</c:v>
                </c:pt>
                <c:pt idx="36">
                  <c:v>69.799999999999969</c:v>
                </c:pt>
                <c:pt idx="37">
                  <c:v>68</c:v>
                </c:pt>
                <c:pt idx="38">
                  <c:v>69.09999999999998</c:v>
                </c:pt>
                <c:pt idx="39">
                  <c:v>72.699999999999989</c:v>
                </c:pt>
                <c:pt idx="40">
                  <c:v>72.699999999999989</c:v>
                </c:pt>
                <c:pt idx="41">
                  <c:v>69.899999999999977</c:v>
                </c:pt>
                <c:pt idx="42">
                  <c:v>69.299999999999983</c:v>
                </c:pt>
                <c:pt idx="43">
                  <c:v>66.399999999999991</c:v>
                </c:pt>
                <c:pt idx="44">
                  <c:v>64.200000000000017</c:v>
                </c:pt>
                <c:pt idx="45">
                  <c:v>61.20000000000001</c:v>
                </c:pt>
                <c:pt idx="46">
                  <c:v>63.800000000000011</c:v>
                </c:pt>
                <c:pt idx="47">
                  <c:v>63.20000000000001</c:v>
                </c:pt>
                <c:pt idx="48">
                  <c:v>63.499999999999979</c:v>
                </c:pt>
                <c:pt idx="49">
                  <c:v>68.300000000000011</c:v>
                </c:pt>
                <c:pt idx="50">
                  <c:v>64.400000000000006</c:v>
                </c:pt>
                <c:pt idx="51">
                  <c:v>66.5</c:v>
                </c:pt>
                <c:pt idx="52">
                  <c:v>69.199999999999989</c:v>
                </c:pt>
                <c:pt idx="53">
                  <c:v>66.699999999999989</c:v>
                </c:pt>
                <c:pt idx="54">
                  <c:v>64.299999999999983</c:v>
                </c:pt>
                <c:pt idx="55">
                  <c:v>64.399999999999991</c:v>
                </c:pt>
                <c:pt idx="56">
                  <c:v>63.5</c:v>
                </c:pt>
                <c:pt idx="57">
                  <c:v>65.000000000000014</c:v>
                </c:pt>
                <c:pt idx="58">
                  <c:v>63.000000000000014</c:v>
                </c:pt>
                <c:pt idx="59">
                  <c:v>61.90000000000002</c:v>
                </c:pt>
                <c:pt idx="60">
                  <c:v>61.90000000000002</c:v>
                </c:pt>
                <c:pt idx="61">
                  <c:v>59.599999999999987</c:v>
                </c:pt>
                <c:pt idx="62">
                  <c:v>59.000000000000007</c:v>
                </c:pt>
                <c:pt idx="63">
                  <c:v>57.699999999999996</c:v>
                </c:pt>
                <c:pt idx="64">
                  <c:v>56.699999999999996</c:v>
                </c:pt>
                <c:pt idx="65">
                  <c:v>57.000000000000007</c:v>
                </c:pt>
                <c:pt idx="66">
                  <c:v>59.9</c:v>
                </c:pt>
                <c:pt idx="67">
                  <c:v>65.3</c:v>
                </c:pt>
                <c:pt idx="68">
                  <c:v>68</c:v>
                </c:pt>
                <c:pt idx="69">
                  <c:v>78.999999999999986</c:v>
                </c:pt>
                <c:pt idx="70">
                  <c:v>81.900000000000006</c:v>
                </c:pt>
                <c:pt idx="71">
                  <c:v>90.2</c:v>
                </c:pt>
                <c:pt idx="72">
                  <c:v>99.699999999999989</c:v>
                </c:pt>
                <c:pt idx="73">
                  <c:v>98.500000000000014</c:v>
                </c:pt>
                <c:pt idx="74">
                  <c:v>73.800000000000011</c:v>
                </c:pt>
                <c:pt idx="75">
                  <c:v>59.099999999999994</c:v>
                </c:pt>
                <c:pt idx="76">
                  <c:v>74.600000000000009</c:v>
                </c:pt>
                <c:pt idx="77">
                  <c:v>81.899999999999991</c:v>
                </c:pt>
                <c:pt idx="78">
                  <c:v>92.2</c:v>
                </c:pt>
                <c:pt idx="79">
                  <c:v>107.5</c:v>
                </c:pt>
                <c:pt idx="80">
                  <c:v>96.4</c:v>
                </c:pt>
                <c:pt idx="81">
                  <c:v>111.9</c:v>
                </c:pt>
                <c:pt idx="82">
                  <c:v>136.39999999999998</c:v>
                </c:pt>
                <c:pt idx="83">
                  <c:v>132.99999999999997</c:v>
                </c:pt>
                <c:pt idx="84">
                  <c:v>119.60000000000002</c:v>
                </c:pt>
                <c:pt idx="85">
                  <c:v>105.2</c:v>
                </c:pt>
                <c:pt idx="86">
                  <c:v>97.899999999999991</c:v>
                </c:pt>
                <c:pt idx="87">
                  <c:v>109.5</c:v>
                </c:pt>
                <c:pt idx="88">
                  <c:v>112.19999999999999</c:v>
                </c:pt>
                <c:pt idx="89">
                  <c:v>107.39999999999998</c:v>
                </c:pt>
                <c:pt idx="90">
                  <c:v>105.69999999999999</c:v>
                </c:pt>
                <c:pt idx="91">
                  <c:v>112.7</c:v>
                </c:pt>
                <c:pt idx="92">
                  <c:v>105.5</c:v>
                </c:pt>
                <c:pt idx="93">
                  <c:v>104.80000000000001</c:v>
                </c:pt>
                <c:pt idx="94">
                  <c:v>100.29999999999998</c:v>
                </c:pt>
                <c:pt idx="95">
                  <c:v>101.69999999999999</c:v>
                </c:pt>
                <c:pt idx="96">
                  <c:v>104.80000000000001</c:v>
                </c:pt>
                <c:pt idx="97">
                  <c:v>110.80000000000001</c:v>
                </c:pt>
                <c:pt idx="98">
                  <c:v>112.3</c:v>
                </c:pt>
                <c:pt idx="99">
                  <c:v>112.3</c:v>
                </c:pt>
                <c:pt idx="100">
                  <c:v>114.69999999999997</c:v>
                </c:pt>
                <c:pt idx="101">
                  <c:v>118.6</c:v>
                </c:pt>
                <c:pt idx="102">
                  <c:v>106.99999999999999</c:v>
                </c:pt>
                <c:pt idx="103">
                  <c:v>100.89999999999999</c:v>
                </c:pt>
                <c:pt idx="104">
                  <c:v>107.2</c:v>
                </c:pt>
                <c:pt idx="105">
                  <c:v>103.30000000000001</c:v>
                </c:pt>
                <c:pt idx="106">
                  <c:v>95.7</c:v>
                </c:pt>
                <c:pt idx="107">
                  <c:v>100.89999999999999</c:v>
                </c:pt>
                <c:pt idx="108">
                  <c:v>98.4</c:v>
                </c:pt>
                <c:pt idx="109">
                  <c:v>96.300000000000011</c:v>
                </c:pt>
                <c:pt idx="110">
                  <c:v>102.30000000000001</c:v>
                </c:pt>
                <c:pt idx="111">
                  <c:v>99.800000000000011</c:v>
                </c:pt>
                <c:pt idx="112">
                  <c:v>104.4</c:v>
                </c:pt>
                <c:pt idx="113">
                  <c:v>108.3</c:v>
                </c:pt>
                <c:pt idx="114">
                  <c:v>107.60000000000001</c:v>
                </c:pt>
                <c:pt idx="115">
                  <c:v>111.5</c:v>
                </c:pt>
                <c:pt idx="116">
                  <c:v>114.4</c:v>
                </c:pt>
                <c:pt idx="117">
                  <c:v>123.10000000000001</c:v>
                </c:pt>
                <c:pt idx="118">
                  <c:v>119.19999999999999</c:v>
                </c:pt>
                <c:pt idx="119">
                  <c:v>123.4</c:v>
                </c:pt>
                <c:pt idx="120">
                  <c:v>126.29999999999998</c:v>
                </c:pt>
                <c:pt idx="121">
                  <c:v>120.89999999999999</c:v>
                </c:pt>
                <c:pt idx="122">
                  <c:v>117.9</c:v>
                </c:pt>
                <c:pt idx="123">
                  <c:v>114.7</c:v>
                </c:pt>
                <c:pt idx="124">
                  <c:v>117.10000000000001</c:v>
                </c:pt>
                <c:pt idx="125">
                  <c:v>127.3</c:v>
                </c:pt>
                <c:pt idx="126">
                  <c:v>126.29999999999998</c:v>
                </c:pt>
                <c:pt idx="127">
                  <c:v>123.69999999999999</c:v>
                </c:pt>
                <c:pt idx="128">
                  <c:v>123.1</c:v>
                </c:pt>
                <c:pt idx="129">
                  <c:v>120.40000000000002</c:v>
                </c:pt>
                <c:pt idx="130">
                  <c:v>120.40000000000002</c:v>
                </c:pt>
                <c:pt idx="131">
                  <c:v>126.10000000000001</c:v>
                </c:pt>
                <c:pt idx="132">
                  <c:v>125.10000000000001</c:v>
                </c:pt>
                <c:pt idx="133">
                  <c:v>129.9</c:v>
                </c:pt>
                <c:pt idx="134">
                  <c:v>124.8</c:v>
                </c:pt>
                <c:pt idx="135">
                  <c:v>129.70000000000002</c:v>
                </c:pt>
                <c:pt idx="136">
                  <c:v>131.10000000000002</c:v>
                </c:pt>
                <c:pt idx="137">
                  <c:v>135.1</c:v>
                </c:pt>
                <c:pt idx="138">
                  <c:v>143.19999999999999</c:v>
                </c:pt>
                <c:pt idx="139">
                  <c:v>146.19999999999999</c:v>
                </c:pt>
                <c:pt idx="140">
                  <c:v>142.79999999999998</c:v>
                </c:pt>
                <c:pt idx="141">
                  <c:v>137.80000000000001</c:v>
                </c:pt>
                <c:pt idx="142">
                  <c:v>134.1</c:v>
                </c:pt>
                <c:pt idx="143">
                  <c:v>122.39999999999999</c:v>
                </c:pt>
                <c:pt idx="144">
                  <c:v>125.6</c:v>
                </c:pt>
                <c:pt idx="145">
                  <c:v>126</c:v>
                </c:pt>
                <c:pt idx="146">
                  <c:v>133.5</c:v>
                </c:pt>
                <c:pt idx="147">
                  <c:v>132.6</c:v>
                </c:pt>
                <c:pt idx="148">
                  <c:v>126.6</c:v>
                </c:pt>
                <c:pt idx="149">
                  <c:v>128.19999999999999</c:v>
                </c:pt>
                <c:pt idx="150">
                  <c:v>127</c:v>
                </c:pt>
                <c:pt idx="151">
                  <c:v>129.70000000000002</c:v>
                </c:pt>
                <c:pt idx="152">
                  <c:v>125.8</c:v>
                </c:pt>
                <c:pt idx="153">
                  <c:v>123.30000000000001</c:v>
                </c:pt>
                <c:pt idx="154">
                  <c:v>120.40000000000002</c:v>
                </c:pt>
                <c:pt idx="155">
                  <c:v>123</c:v>
                </c:pt>
                <c:pt idx="156">
                  <c:v>125.70000000000002</c:v>
                </c:pt>
                <c:pt idx="157">
                  <c:v>127</c:v>
                </c:pt>
                <c:pt idx="158">
                  <c:v>127.8</c:v>
                </c:pt>
                <c:pt idx="159">
                  <c:v>127.8</c:v>
                </c:pt>
                <c:pt idx="160">
                  <c:v>128.1</c:v>
                </c:pt>
                <c:pt idx="161">
                  <c:v>122.39999999999999</c:v>
                </c:pt>
                <c:pt idx="162">
                  <c:v>123.69999999999999</c:v>
                </c:pt>
                <c:pt idx="163">
                  <c:v>115.8</c:v>
                </c:pt>
                <c:pt idx="164">
                  <c:v>117.10000000000001</c:v>
                </c:pt>
                <c:pt idx="165">
                  <c:v>117.8</c:v>
                </c:pt>
                <c:pt idx="166">
                  <c:v>114.6</c:v>
                </c:pt>
                <c:pt idx="167">
                  <c:v>117.6</c:v>
                </c:pt>
                <c:pt idx="168">
                  <c:v>115.39999999999999</c:v>
                </c:pt>
                <c:pt idx="169">
                  <c:v>118.19999999999999</c:v>
                </c:pt>
                <c:pt idx="170">
                  <c:v>116.9</c:v>
                </c:pt>
                <c:pt idx="171">
                  <c:v>117</c:v>
                </c:pt>
                <c:pt idx="172">
                  <c:v>114.3</c:v>
                </c:pt>
                <c:pt idx="173">
                  <c:v>110.1</c:v>
                </c:pt>
                <c:pt idx="174">
                  <c:v>109.00000000000001</c:v>
                </c:pt>
                <c:pt idx="175">
                  <c:v>109.60000000000001</c:v>
                </c:pt>
                <c:pt idx="176">
                  <c:v>108</c:v>
                </c:pt>
                <c:pt idx="177">
                  <c:v>111.5</c:v>
                </c:pt>
                <c:pt idx="178">
                  <c:v>107.60000000000001</c:v>
                </c:pt>
                <c:pt idx="179">
                  <c:v>108.60000000000001</c:v>
                </c:pt>
                <c:pt idx="180">
                  <c:v>112.9</c:v>
                </c:pt>
                <c:pt idx="181">
                  <c:v>108</c:v>
                </c:pt>
                <c:pt idx="182">
                  <c:v>110.2</c:v>
                </c:pt>
                <c:pt idx="183">
                  <c:v>108.4</c:v>
                </c:pt>
                <c:pt idx="184">
                  <c:v>110.2</c:v>
                </c:pt>
                <c:pt idx="185">
                  <c:v>111.60000000000001</c:v>
                </c:pt>
                <c:pt idx="186">
                  <c:v>118.6</c:v>
                </c:pt>
                <c:pt idx="187">
                  <c:v>120.6</c:v>
                </c:pt>
                <c:pt idx="188">
                  <c:v>126.2</c:v>
                </c:pt>
                <c:pt idx="189">
                  <c:v>129.20000000000002</c:v>
                </c:pt>
                <c:pt idx="190">
                  <c:v>127.3</c:v>
                </c:pt>
                <c:pt idx="191">
                  <c:v>125.4</c:v>
                </c:pt>
                <c:pt idx="192">
                  <c:v>127.4</c:v>
                </c:pt>
                <c:pt idx="193">
                  <c:v>123.6</c:v>
                </c:pt>
                <c:pt idx="194">
                  <c:v>120.6</c:v>
                </c:pt>
                <c:pt idx="195">
                  <c:v>119.6</c:v>
                </c:pt>
                <c:pt idx="196">
                  <c:v>123.4</c:v>
                </c:pt>
                <c:pt idx="197">
                  <c:v>125.2</c:v>
                </c:pt>
                <c:pt idx="198">
                  <c:v>134.20000000000002</c:v>
                </c:pt>
                <c:pt idx="199">
                  <c:v>137.30000000000001</c:v>
                </c:pt>
                <c:pt idx="200">
                  <c:v>132.1</c:v>
                </c:pt>
                <c:pt idx="201">
                  <c:v>129.1</c:v>
                </c:pt>
                <c:pt idx="202">
                  <c:v>123.8</c:v>
                </c:pt>
                <c:pt idx="203">
                  <c:v>121.6</c:v>
                </c:pt>
                <c:pt idx="204">
                  <c:v>132</c:v>
                </c:pt>
                <c:pt idx="205">
                  <c:v>132</c:v>
                </c:pt>
                <c:pt idx="206">
                  <c:v>128.19999999999999</c:v>
                </c:pt>
                <c:pt idx="207">
                  <c:v>131.5</c:v>
                </c:pt>
                <c:pt idx="208">
                  <c:v>129.20000000000002</c:v>
                </c:pt>
                <c:pt idx="209">
                  <c:v>128.69999999999999</c:v>
                </c:pt>
                <c:pt idx="210">
                  <c:v>127.1</c:v>
                </c:pt>
                <c:pt idx="211">
                  <c:v>129.1</c:v>
                </c:pt>
                <c:pt idx="212">
                  <c:v>130.80000000000001</c:v>
                </c:pt>
                <c:pt idx="213">
                  <c:v>129.4</c:v>
                </c:pt>
                <c:pt idx="214">
                  <c:v>131.29999999999998</c:v>
                </c:pt>
                <c:pt idx="215">
                  <c:v>128.9</c:v>
                </c:pt>
                <c:pt idx="216">
                  <c:v>128</c:v>
                </c:pt>
                <c:pt idx="217">
                  <c:v>128.6</c:v>
                </c:pt>
                <c:pt idx="218">
                  <c:v>126.6</c:v>
                </c:pt>
                <c:pt idx="219">
                  <c:v>127.4</c:v>
                </c:pt>
                <c:pt idx="220">
                  <c:v>129.20000000000002</c:v>
                </c:pt>
                <c:pt idx="221">
                  <c:v>128.1</c:v>
                </c:pt>
                <c:pt idx="222">
                  <c:v>132.69999999999999</c:v>
                </c:pt>
                <c:pt idx="223">
                  <c:v>132.4</c:v>
                </c:pt>
                <c:pt idx="224">
                  <c:v>134.69999999999999</c:v>
                </c:pt>
                <c:pt idx="225">
                  <c:v>142.19999999999999</c:v>
                </c:pt>
                <c:pt idx="226">
                  <c:v>139</c:v>
                </c:pt>
                <c:pt idx="227">
                  <c:v>143.19999999999999</c:v>
                </c:pt>
                <c:pt idx="228">
                  <c:v>141.9</c:v>
                </c:pt>
                <c:pt idx="229">
                  <c:v>142.1</c:v>
                </c:pt>
                <c:pt idx="230">
                  <c:v>142.1</c:v>
                </c:pt>
                <c:pt idx="231">
                  <c:v>137.30000000000001</c:v>
                </c:pt>
                <c:pt idx="232">
                  <c:v>136</c:v>
                </c:pt>
                <c:pt idx="233">
                  <c:v>136.79999999999998</c:v>
                </c:pt>
                <c:pt idx="234">
                  <c:v>138.39999999999998</c:v>
                </c:pt>
                <c:pt idx="235">
                  <c:v>140.1</c:v>
                </c:pt>
                <c:pt idx="236">
                  <c:v>145.6</c:v>
                </c:pt>
                <c:pt idx="237">
                  <c:v>148</c:v>
                </c:pt>
                <c:pt idx="238">
                  <c:v>150.29999999999998</c:v>
                </c:pt>
                <c:pt idx="239">
                  <c:v>149.1</c:v>
                </c:pt>
                <c:pt idx="240">
                  <c:v>144.5</c:v>
                </c:pt>
                <c:pt idx="241">
                  <c:v>142.19999999999999</c:v>
                </c:pt>
                <c:pt idx="242">
                  <c:v>142.1</c:v>
                </c:pt>
                <c:pt idx="243">
                  <c:v>147.30000000000001</c:v>
                </c:pt>
                <c:pt idx="244">
                  <c:v>148.4</c:v>
                </c:pt>
                <c:pt idx="245">
                  <c:v>146.5</c:v>
                </c:pt>
                <c:pt idx="246">
                  <c:v>148.6</c:v>
                </c:pt>
                <c:pt idx="247">
                  <c:v>140.39999999999998</c:v>
                </c:pt>
                <c:pt idx="248">
                  <c:v>139.39999999999998</c:v>
                </c:pt>
                <c:pt idx="249">
                  <c:v>144.30000000000001</c:v>
                </c:pt>
                <c:pt idx="250">
                  <c:v>156.79999999999998</c:v>
                </c:pt>
                <c:pt idx="251">
                  <c:v>157.5</c:v>
                </c:pt>
                <c:pt idx="252">
                  <c:v>157.5</c:v>
                </c:pt>
                <c:pt idx="253">
                  <c:v>147.5</c:v>
                </c:pt>
                <c:pt idx="254">
                  <c:v>146.89999999999998</c:v>
                </c:pt>
                <c:pt idx="255">
                  <c:v>148</c:v>
                </c:pt>
                <c:pt idx="256">
                  <c:v>145</c:v>
                </c:pt>
                <c:pt idx="257">
                  <c:v>144.5</c:v>
                </c:pt>
                <c:pt idx="258">
                  <c:v>140.9</c:v>
                </c:pt>
                <c:pt idx="259">
                  <c:v>136.79999999999998</c:v>
                </c:pt>
                <c:pt idx="260">
                  <c:v>139.79999999999998</c:v>
                </c:pt>
                <c:pt idx="261">
                  <c:v>143.9</c:v>
                </c:pt>
                <c:pt idx="262">
                  <c:v>146.00000000000003</c:v>
                </c:pt>
                <c:pt idx="263">
                  <c:v>146.00000000000003</c:v>
                </c:pt>
                <c:pt idx="264">
                  <c:v>142.30000000000001</c:v>
                </c:pt>
                <c:pt idx="265">
                  <c:v>142.4</c:v>
                </c:pt>
                <c:pt idx="266">
                  <c:v>150.19999999999999</c:v>
                </c:pt>
                <c:pt idx="267">
                  <c:v>154</c:v>
                </c:pt>
                <c:pt idx="268">
                  <c:v>151.4</c:v>
                </c:pt>
                <c:pt idx="269">
                  <c:v>157.80000000000001</c:v>
                </c:pt>
                <c:pt idx="270">
                  <c:v>154.5</c:v>
                </c:pt>
                <c:pt idx="271">
                  <c:v>150.89999999999998</c:v>
                </c:pt>
                <c:pt idx="272">
                  <c:v>153.6</c:v>
                </c:pt>
                <c:pt idx="273">
                  <c:v>149.69999999999999</c:v>
                </c:pt>
                <c:pt idx="274">
                  <c:v>150.4</c:v>
                </c:pt>
                <c:pt idx="275">
                  <c:v>151.19999999999999</c:v>
                </c:pt>
                <c:pt idx="276">
                  <c:v>154.1</c:v>
                </c:pt>
                <c:pt idx="277">
                  <c:v>154.5</c:v>
                </c:pt>
                <c:pt idx="278">
                  <c:v>154.80000000000001</c:v>
                </c:pt>
                <c:pt idx="279">
                  <c:v>157.69999999999999</c:v>
                </c:pt>
                <c:pt idx="280">
                  <c:v>156.1</c:v>
                </c:pt>
                <c:pt idx="281">
                  <c:v>153.5</c:v>
                </c:pt>
                <c:pt idx="282">
                  <c:v>157.69999999999999</c:v>
                </c:pt>
                <c:pt idx="283">
                  <c:v>154.5</c:v>
                </c:pt>
                <c:pt idx="284">
                  <c:v>154.5</c:v>
                </c:pt>
                <c:pt idx="285">
                  <c:v>154.4</c:v>
                </c:pt>
                <c:pt idx="286">
                  <c:v>154.69999999999999</c:v>
                </c:pt>
                <c:pt idx="287">
                  <c:v>153.5</c:v>
                </c:pt>
                <c:pt idx="288">
                  <c:v>152.1</c:v>
                </c:pt>
                <c:pt idx="289">
                  <c:v>152.1</c:v>
                </c:pt>
                <c:pt idx="290">
                  <c:v>154.1</c:v>
                </c:pt>
                <c:pt idx="291">
                  <c:v>158.1</c:v>
                </c:pt>
                <c:pt idx="292">
                  <c:v>167.6</c:v>
                </c:pt>
                <c:pt idx="293">
                  <c:v>170.6</c:v>
                </c:pt>
                <c:pt idx="294">
                  <c:v>172.6</c:v>
                </c:pt>
                <c:pt idx="295">
                  <c:v>173.29999999999998</c:v>
                </c:pt>
                <c:pt idx="296">
                  <c:v>173.8</c:v>
                </c:pt>
                <c:pt idx="297">
                  <c:v>167.1</c:v>
                </c:pt>
                <c:pt idx="298">
                  <c:v>172.70000000000002</c:v>
                </c:pt>
                <c:pt idx="299">
                  <c:v>171.5</c:v>
                </c:pt>
                <c:pt idx="300">
                  <c:v>171.5</c:v>
                </c:pt>
                <c:pt idx="301">
                  <c:v>170.79999999999998</c:v>
                </c:pt>
                <c:pt idx="302">
                  <c:v>171.1</c:v>
                </c:pt>
                <c:pt idx="303">
                  <c:v>174.6</c:v>
                </c:pt>
                <c:pt idx="304">
                  <c:v>173.10000000000002</c:v>
                </c:pt>
                <c:pt idx="305">
                  <c:v>167.79999999999998</c:v>
                </c:pt>
                <c:pt idx="306">
                  <c:v>167.70000000000002</c:v>
                </c:pt>
                <c:pt idx="307">
                  <c:v>166.1</c:v>
                </c:pt>
                <c:pt idx="308">
                  <c:v>169.79999999999998</c:v>
                </c:pt>
                <c:pt idx="309">
                  <c:v>174.10000000000002</c:v>
                </c:pt>
                <c:pt idx="310">
                  <c:v>173.5</c:v>
                </c:pt>
                <c:pt idx="311">
                  <c:v>176.1</c:v>
                </c:pt>
                <c:pt idx="312">
                  <c:v>179.5</c:v>
                </c:pt>
                <c:pt idx="313">
                  <c:v>181.7</c:v>
                </c:pt>
                <c:pt idx="314">
                  <c:v>186.7</c:v>
                </c:pt>
                <c:pt idx="315">
                  <c:v>183.29999999999998</c:v>
                </c:pt>
                <c:pt idx="316">
                  <c:v>183</c:v>
                </c:pt>
                <c:pt idx="317">
                  <c:v>181.1</c:v>
                </c:pt>
                <c:pt idx="318">
                  <c:v>183.5</c:v>
                </c:pt>
                <c:pt idx="319">
                  <c:v>189.3</c:v>
                </c:pt>
                <c:pt idx="320">
                  <c:v>189.3</c:v>
                </c:pt>
                <c:pt idx="321">
                  <c:v>196.7</c:v>
                </c:pt>
                <c:pt idx="322">
                  <c:v>195.79999999999998</c:v>
                </c:pt>
                <c:pt idx="323">
                  <c:v>196.70000000000002</c:v>
                </c:pt>
                <c:pt idx="324">
                  <c:v>203.10000000000002</c:v>
                </c:pt>
                <c:pt idx="325">
                  <c:v>206.5</c:v>
                </c:pt>
                <c:pt idx="326">
                  <c:v>207.7</c:v>
                </c:pt>
                <c:pt idx="327">
                  <c:v>211.50000000000003</c:v>
                </c:pt>
                <c:pt idx="328">
                  <c:v>214.3</c:v>
                </c:pt>
                <c:pt idx="329">
                  <c:v>203.7</c:v>
                </c:pt>
                <c:pt idx="330">
                  <c:v>209.79999999999998</c:v>
                </c:pt>
                <c:pt idx="331">
                  <c:v>209.19999999999996</c:v>
                </c:pt>
                <c:pt idx="332">
                  <c:v>211</c:v>
                </c:pt>
                <c:pt idx="333">
                  <c:v>216.29999999999998</c:v>
                </c:pt>
                <c:pt idx="334">
                  <c:v>214.7</c:v>
                </c:pt>
                <c:pt idx="335">
                  <c:v>214.1</c:v>
                </c:pt>
                <c:pt idx="336">
                  <c:v>209.20000000000002</c:v>
                </c:pt>
                <c:pt idx="337">
                  <c:v>208.5</c:v>
                </c:pt>
                <c:pt idx="338">
                  <c:v>213.80000000000004</c:v>
                </c:pt>
                <c:pt idx="339">
                  <c:v>225</c:v>
                </c:pt>
                <c:pt idx="340">
                  <c:v>221.5</c:v>
                </c:pt>
                <c:pt idx="341">
                  <c:v>224.00000000000003</c:v>
                </c:pt>
                <c:pt idx="342">
                  <c:v>230.9</c:v>
                </c:pt>
                <c:pt idx="343">
                  <c:v>231.70000000000002</c:v>
                </c:pt>
                <c:pt idx="344">
                  <c:v>230.00000000000003</c:v>
                </c:pt>
                <c:pt idx="345">
                  <c:v>223.3</c:v>
                </c:pt>
                <c:pt idx="346">
                  <c:v>219.89999999999998</c:v>
                </c:pt>
                <c:pt idx="347">
                  <c:v>217</c:v>
                </c:pt>
                <c:pt idx="348">
                  <c:v>219.70000000000002</c:v>
                </c:pt>
                <c:pt idx="349">
                  <c:v>222.6</c:v>
                </c:pt>
                <c:pt idx="350">
                  <c:v>227.89999999999998</c:v>
                </c:pt>
                <c:pt idx="351">
                  <c:v>224.79999999999998</c:v>
                </c:pt>
                <c:pt idx="352">
                  <c:v>226.29999999999998</c:v>
                </c:pt>
                <c:pt idx="353">
                  <c:v>217.99999999999997</c:v>
                </c:pt>
                <c:pt idx="354">
                  <c:v>217.99999999999997</c:v>
                </c:pt>
                <c:pt idx="355">
                  <c:v>218.9</c:v>
                </c:pt>
                <c:pt idx="356">
                  <c:v>215.49999999999997</c:v>
                </c:pt>
                <c:pt idx="357">
                  <c:v>218.29999999999998</c:v>
                </c:pt>
                <c:pt idx="358">
                  <c:v>217.3</c:v>
                </c:pt>
                <c:pt idx="359">
                  <c:v>218.2</c:v>
                </c:pt>
                <c:pt idx="360">
                  <c:v>217.70000000000002</c:v>
                </c:pt>
                <c:pt idx="361">
                  <c:v>214.7</c:v>
                </c:pt>
                <c:pt idx="362">
                  <c:v>216.1</c:v>
                </c:pt>
                <c:pt idx="363">
                  <c:v>205.20000000000002</c:v>
                </c:pt>
                <c:pt idx="364">
                  <c:v>210</c:v>
                </c:pt>
                <c:pt idx="365">
                  <c:v>213.20000000000002</c:v>
                </c:pt>
                <c:pt idx="366">
                  <c:v>210.7</c:v>
                </c:pt>
                <c:pt idx="367">
                  <c:v>211.39999999999998</c:v>
                </c:pt>
                <c:pt idx="368">
                  <c:v>209.00000000000003</c:v>
                </c:pt>
                <c:pt idx="369">
                  <c:v>209.39999999999998</c:v>
                </c:pt>
                <c:pt idx="370">
                  <c:v>207.20000000000002</c:v>
                </c:pt>
                <c:pt idx="371">
                  <c:v>211.3</c:v>
                </c:pt>
                <c:pt idx="372">
                  <c:v>213.39999999999998</c:v>
                </c:pt>
                <c:pt idx="373">
                  <c:v>214.4</c:v>
                </c:pt>
                <c:pt idx="374">
                  <c:v>213.79999999999998</c:v>
                </c:pt>
                <c:pt idx="375">
                  <c:v>212.9</c:v>
                </c:pt>
                <c:pt idx="376">
                  <c:v>210.4</c:v>
                </c:pt>
                <c:pt idx="377">
                  <c:v>209.90000000000003</c:v>
                </c:pt>
                <c:pt idx="378">
                  <c:v>207.9</c:v>
                </c:pt>
                <c:pt idx="379">
                  <c:v>213.20000000000002</c:v>
                </c:pt>
                <c:pt idx="380">
                  <c:v>216.6</c:v>
                </c:pt>
                <c:pt idx="381">
                  <c:v>219.1</c:v>
                </c:pt>
                <c:pt idx="382">
                  <c:v>224.9</c:v>
                </c:pt>
                <c:pt idx="383">
                  <c:v>223.60000000000002</c:v>
                </c:pt>
                <c:pt idx="384">
                  <c:v>220.4</c:v>
                </c:pt>
                <c:pt idx="385">
                  <c:v>220.2</c:v>
                </c:pt>
                <c:pt idx="386">
                  <c:v>221.3</c:v>
                </c:pt>
                <c:pt idx="387">
                  <c:v>222.8</c:v>
                </c:pt>
                <c:pt idx="388">
                  <c:v>219.00000000000003</c:v>
                </c:pt>
                <c:pt idx="389">
                  <c:v>217.60000000000002</c:v>
                </c:pt>
                <c:pt idx="390">
                  <c:v>214.8</c:v>
                </c:pt>
                <c:pt idx="391">
                  <c:v>211.49999999999997</c:v>
                </c:pt>
                <c:pt idx="392">
                  <c:v>211.3</c:v>
                </c:pt>
                <c:pt idx="393">
                  <c:v>214.3</c:v>
                </c:pt>
                <c:pt idx="394">
                  <c:v>212.6</c:v>
                </c:pt>
                <c:pt idx="395">
                  <c:v>212.6</c:v>
                </c:pt>
                <c:pt idx="396">
                  <c:v>214.9</c:v>
                </c:pt>
                <c:pt idx="397">
                  <c:v>213.3</c:v>
                </c:pt>
                <c:pt idx="398">
                  <c:v>213.49999999999997</c:v>
                </c:pt>
                <c:pt idx="399">
                  <c:v>209</c:v>
                </c:pt>
                <c:pt idx="400">
                  <c:v>209.49999999999997</c:v>
                </c:pt>
                <c:pt idx="401">
                  <c:v>205.6</c:v>
                </c:pt>
                <c:pt idx="402">
                  <c:v>201.30000000000004</c:v>
                </c:pt>
                <c:pt idx="403">
                  <c:v>200.3</c:v>
                </c:pt>
                <c:pt idx="404">
                  <c:v>199.99999999999997</c:v>
                </c:pt>
                <c:pt idx="405">
                  <c:v>202.89999999999998</c:v>
                </c:pt>
                <c:pt idx="406">
                  <c:v>203.2</c:v>
                </c:pt>
                <c:pt idx="407">
                  <c:v>200.4</c:v>
                </c:pt>
                <c:pt idx="408">
                  <c:v>188.79999999999998</c:v>
                </c:pt>
                <c:pt idx="409">
                  <c:v>177</c:v>
                </c:pt>
                <c:pt idx="410">
                  <c:v>185.2</c:v>
                </c:pt>
                <c:pt idx="411">
                  <c:v>186.9</c:v>
                </c:pt>
                <c:pt idx="412">
                  <c:v>185</c:v>
                </c:pt>
                <c:pt idx="413">
                  <c:v>182.70000000000002</c:v>
                </c:pt>
                <c:pt idx="414">
                  <c:v>189.9</c:v>
                </c:pt>
                <c:pt idx="415">
                  <c:v>184.2</c:v>
                </c:pt>
                <c:pt idx="416">
                  <c:v>184.5</c:v>
                </c:pt>
                <c:pt idx="417">
                  <c:v>181.8</c:v>
                </c:pt>
                <c:pt idx="418">
                  <c:v>182.89999999999998</c:v>
                </c:pt>
                <c:pt idx="419">
                  <c:v>181.2</c:v>
                </c:pt>
                <c:pt idx="420">
                  <c:v>181.2</c:v>
                </c:pt>
                <c:pt idx="421">
                  <c:v>178.10000000000002</c:v>
                </c:pt>
                <c:pt idx="422">
                  <c:v>172.8</c:v>
                </c:pt>
                <c:pt idx="423">
                  <c:v>171.8</c:v>
                </c:pt>
                <c:pt idx="424">
                  <c:v>176.5</c:v>
                </c:pt>
                <c:pt idx="425">
                  <c:v>176</c:v>
                </c:pt>
                <c:pt idx="426">
                  <c:v>178.2</c:v>
                </c:pt>
                <c:pt idx="427">
                  <c:v>176</c:v>
                </c:pt>
                <c:pt idx="428">
                  <c:v>169.4</c:v>
                </c:pt>
                <c:pt idx="429">
                  <c:v>170.4</c:v>
                </c:pt>
                <c:pt idx="430">
                  <c:v>160.5</c:v>
                </c:pt>
                <c:pt idx="431">
                  <c:v>167.5</c:v>
                </c:pt>
                <c:pt idx="432">
                  <c:v>172.2</c:v>
                </c:pt>
                <c:pt idx="433">
                  <c:v>170.1</c:v>
                </c:pt>
                <c:pt idx="434">
                  <c:v>172.4</c:v>
                </c:pt>
                <c:pt idx="435">
                  <c:v>172.9</c:v>
                </c:pt>
                <c:pt idx="436">
                  <c:v>168.6</c:v>
                </c:pt>
                <c:pt idx="437">
                  <c:v>170</c:v>
                </c:pt>
                <c:pt idx="438">
                  <c:v>171.5</c:v>
                </c:pt>
                <c:pt idx="439">
                  <c:v>170.6</c:v>
                </c:pt>
                <c:pt idx="440">
                  <c:v>167.5</c:v>
                </c:pt>
                <c:pt idx="441">
                  <c:v>167.70000000000002</c:v>
                </c:pt>
                <c:pt idx="442">
                  <c:v>165.9</c:v>
                </c:pt>
                <c:pt idx="443">
                  <c:v>166</c:v>
                </c:pt>
                <c:pt idx="444">
                  <c:v>172.5</c:v>
                </c:pt>
                <c:pt idx="445">
                  <c:v>174.10000000000002</c:v>
                </c:pt>
                <c:pt idx="446">
                  <c:v>174.6</c:v>
                </c:pt>
                <c:pt idx="447">
                  <c:v>178.29999999999998</c:v>
                </c:pt>
                <c:pt idx="448">
                  <c:v>178.5</c:v>
                </c:pt>
                <c:pt idx="449">
                  <c:v>173.29999999999998</c:v>
                </c:pt>
                <c:pt idx="450">
                  <c:v>171.89999999999998</c:v>
                </c:pt>
                <c:pt idx="451">
                  <c:v>170.4</c:v>
                </c:pt>
                <c:pt idx="452">
                  <c:v>169.4</c:v>
                </c:pt>
                <c:pt idx="453">
                  <c:v>165.6</c:v>
                </c:pt>
                <c:pt idx="454">
                  <c:v>164.9</c:v>
                </c:pt>
                <c:pt idx="455">
                  <c:v>164.60000000000002</c:v>
                </c:pt>
                <c:pt idx="456">
                  <c:v>168.1</c:v>
                </c:pt>
                <c:pt idx="457">
                  <c:v>171.60000000000002</c:v>
                </c:pt>
                <c:pt idx="458">
                  <c:v>170.2</c:v>
                </c:pt>
                <c:pt idx="459">
                  <c:v>170.2</c:v>
                </c:pt>
                <c:pt idx="460">
                  <c:v>169.6</c:v>
                </c:pt>
                <c:pt idx="461">
                  <c:v>171.8</c:v>
                </c:pt>
                <c:pt idx="462">
                  <c:v>170.79999999999998</c:v>
                </c:pt>
                <c:pt idx="463">
                  <c:v>169.4</c:v>
                </c:pt>
                <c:pt idx="464">
                  <c:v>173.4</c:v>
                </c:pt>
                <c:pt idx="465">
                  <c:v>173.4</c:v>
                </c:pt>
                <c:pt idx="466">
                  <c:v>176.3</c:v>
                </c:pt>
                <c:pt idx="467">
                  <c:v>173.4</c:v>
                </c:pt>
                <c:pt idx="468">
                  <c:v>168.2</c:v>
                </c:pt>
                <c:pt idx="469">
                  <c:v>171.7</c:v>
                </c:pt>
                <c:pt idx="470">
                  <c:v>168.89999999999998</c:v>
                </c:pt>
                <c:pt idx="471">
                  <c:v>164.3</c:v>
                </c:pt>
                <c:pt idx="472">
                  <c:v>165.6</c:v>
                </c:pt>
                <c:pt idx="473">
                  <c:v>166.4</c:v>
                </c:pt>
                <c:pt idx="474">
                  <c:v>168.4</c:v>
                </c:pt>
                <c:pt idx="475">
                  <c:v>163.1</c:v>
                </c:pt>
                <c:pt idx="476">
                  <c:v>164.1</c:v>
                </c:pt>
                <c:pt idx="477">
                  <c:v>160.80000000000001</c:v>
                </c:pt>
                <c:pt idx="478">
                  <c:v>166.5</c:v>
                </c:pt>
                <c:pt idx="479">
                  <c:v>171.3</c:v>
                </c:pt>
                <c:pt idx="480">
                  <c:v>171.3</c:v>
                </c:pt>
                <c:pt idx="481">
                  <c:v>176.29999999999998</c:v>
                </c:pt>
                <c:pt idx="482">
                  <c:v>179.00000000000003</c:v>
                </c:pt>
                <c:pt idx="483">
                  <c:v>180.20000000000002</c:v>
                </c:pt>
                <c:pt idx="484">
                  <c:v>177.6</c:v>
                </c:pt>
                <c:pt idx="485">
                  <c:v>176.8</c:v>
                </c:pt>
                <c:pt idx="486">
                  <c:v>181.20000000000002</c:v>
                </c:pt>
                <c:pt idx="487">
                  <c:v>178.1</c:v>
                </c:pt>
                <c:pt idx="488">
                  <c:v>182.6</c:v>
                </c:pt>
                <c:pt idx="489">
                  <c:v>184.20000000000002</c:v>
                </c:pt>
                <c:pt idx="490">
                  <c:v>184.20000000000002</c:v>
                </c:pt>
                <c:pt idx="491">
                  <c:v>175.70000000000002</c:v>
                </c:pt>
                <c:pt idx="492">
                  <c:v>167.3</c:v>
                </c:pt>
                <c:pt idx="493">
                  <c:v>167.1</c:v>
                </c:pt>
                <c:pt idx="494">
                  <c:v>164.89999999999998</c:v>
                </c:pt>
                <c:pt idx="495">
                  <c:v>159.6</c:v>
                </c:pt>
                <c:pt idx="496">
                  <c:v>169.29999999999998</c:v>
                </c:pt>
                <c:pt idx="497">
                  <c:v>173.60000000000002</c:v>
                </c:pt>
                <c:pt idx="498">
                  <c:v>169.20000000000002</c:v>
                </c:pt>
                <c:pt idx="499">
                  <c:v>162.70000000000002</c:v>
                </c:pt>
                <c:pt idx="500">
                  <c:v>164.79999999999998</c:v>
                </c:pt>
                <c:pt idx="501">
                  <c:v>160.10000000000002</c:v>
                </c:pt>
                <c:pt idx="502">
                  <c:v>145.1</c:v>
                </c:pt>
                <c:pt idx="503">
                  <c:v>146.20000000000002</c:v>
                </c:pt>
                <c:pt idx="504">
                  <c:v>144.60000000000002</c:v>
                </c:pt>
                <c:pt idx="505">
                  <c:v>145.29999999999998</c:v>
                </c:pt>
                <c:pt idx="506">
                  <c:v>150.19999999999999</c:v>
                </c:pt>
                <c:pt idx="507">
                  <c:v>150.80000000000001</c:v>
                </c:pt>
                <c:pt idx="508">
                  <c:v>154.6</c:v>
                </c:pt>
                <c:pt idx="509">
                  <c:v>148.69999999999999</c:v>
                </c:pt>
                <c:pt idx="510">
                  <c:v>143.89999999999998</c:v>
                </c:pt>
                <c:pt idx="511">
                  <c:v>141.19999999999999</c:v>
                </c:pt>
                <c:pt idx="512">
                  <c:v>141.5</c:v>
                </c:pt>
                <c:pt idx="513">
                  <c:v>141.5</c:v>
                </c:pt>
                <c:pt idx="514">
                  <c:v>143.30000000000001</c:v>
                </c:pt>
                <c:pt idx="515">
                  <c:v>148.30000000000001</c:v>
                </c:pt>
                <c:pt idx="516">
                  <c:v>149.79999999999998</c:v>
                </c:pt>
                <c:pt idx="517">
                  <c:v>149.30000000000001</c:v>
                </c:pt>
                <c:pt idx="518">
                  <c:v>147.10000000000002</c:v>
                </c:pt>
                <c:pt idx="519">
                  <c:v>140.20000000000002</c:v>
                </c:pt>
                <c:pt idx="520">
                  <c:v>139.6</c:v>
                </c:pt>
                <c:pt idx="521">
                  <c:v>141.5</c:v>
                </c:pt>
                <c:pt idx="522">
                  <c:v>132.69999999999999</c:v>
                </c:pt>
                <c:pt idx="523">
                  <c:v>132.69999999999999</c:v>
                </c:pt>
                <c:pt idx="524">
                  <c:v>131</c:v>
                </c:pt>
                <c:pt idx="525">
                  <c:v>137</c:v>
                </c:pt>
                <c:pt idx="526">
                  <c:v>126</c:v>
                </c:pt>
                <c:pt idx="527">
                  <c:v>121.50000000000001</c:v>
                </c:pt>
                <c:pt idx="528">
                  <c:v>114.9</c:v>
                </c:pt>
                <c:pt idx="529">
                  <c:v>108.4</c:v>
                </c:pt>
                <c:pt idx="530">
                  <c:v>112.3</c:v>
                </c:pt>
                <c:pt idx="531">
                  <c:v>110.6</c:v>
                </c:pt>
                <c:pt idx="532">
                  <c:v>119.6</c:v>
                </c:pt>
                <c:pt idx="533">
                  <c:v>118.00000000000001</c:v>
                </c:pt>
                <c:pt idx="534">
                  <c:v>122.2</c:v>
                </c:pt>
                <c:pt idx="535">
                  <c:v>116.8</c:v>
                </c:pt>
                <c:pt idx="536">
                  <c:v>115.99999999999999</c:v>
                </c:pt>
                <c:pt idx="537">
                  <c:v>116.6</c:v>
                </c:pt>
                <c:pt idx="538">
                  <c:v>124</c:v>
                </c:pt>
                <c:pt idx="539">
                  <c:v>117.49999999999999</c:v>
                </c:pt>
                <c:pt idx="540">
                  <c:v>121.8</c:v>
                </c:pt>
                <c:pt idx="541">
                  <c:v>122.2</c:v>
                </c:pt>
                <c:pt idx="542">
                  <c:v>119</c:v>
                </c:pt>
                <c:pt idx="543">
                  <c:v>121.9</c:v>
                </c:pt>
                <c:pt idx="544">
                  <c:v>121.9</c:v>
                </c:pt>
                <c:pt idx="545">
                  <c:v>117.49999999999999</c:v>
                </c:pt>
                <c:pt idx="546">
                  <c:v>115.19999999999999</c:v>
                </c:pt>
                <c:pt idx="547">
                  <c:v>120.39999999999999</c:v>
                </c:pt>
                <c:pt idx="548">
                  <c:v>118.5</c:v>
                </c:pt>
                <c:pt idx="549">
                  <c:v>115.7</c:v>
                </c:pt>
                <c:pt idx="550">
                  <c:v>123.1</c:v>
                </c:pt>
                <c:pt idx="551">
                  <c:v>131.39999999999998</c:v>
                </c:pt>
                <c:pt idx="552">
                  <c:v>125.70000000000002</c:v>
                </c:pt>
                <c:pt idx="553">
                  <c:v>121.09999999999998</c:v>
                </c:pt>
                <c:pt idx="554">
                  <c:v>124.6</c:v>
                </c:pt>
                <c:pt idx="555">
                  <c:v>120.5</c:v>
                </c:pt>
                <c:pt idx="556">
                  <c:v>117.30000000000001</c:v>
                </c:pt>
                <c:pt idx="557">
                  <c:v>116.5</c:v>
                </c:pt>
                <c:pt idx="558">
                  <c:v>115.49999999999999</c:v>
                </c:pt>
                <c:pt idx="559">
                  <c:v>114.80000000000001</c:v>
                </c:pt>
                <c:pt idx="560">
                  <c:v>114.80000000000001</c:v>
                </c:pt>
                <c:pt idx="561">
                  <c:v>114.6</c:v>
                </c:pt>
                <c:pt idx="562">
                  <c:v>111.39999999999999</c:v>
                </c:pt>
                <c:pt idx="563">
                  <c:v>109.00000000000001</c:v>
                </c:pt>
                <c:pt idx="564">
                  <c:v>106.89999999999999</c:v>
                </c:pt>
                <c:pt idx="565">
                  <c:v>113.20000000000002</c:v>
                </c:pt>
                <c:pt idx="566">
                  <c:v>110.3</c:v>
                </c:pt>
                <c:pt idx="567">
                  <c:v>107.5</c:v>
                </c:pt>
                <c:pt idx="568">
                  <c:v>89.90000000000002</c:v>
                </c:pt>
                <c:pt idx="569">
                  <c:v>91.100000000000023</c:v>
                </c:pt>
                <c:pt idx="570">
                  <c:v>93.299999999999983</c:v>
                </c:pt>
                <c:pt idx="571">
                  <c:v>95.9</c:v>
                </c:pt>
                <c:pt idx="572">
                  <c:v>93.8</c:v>
                </c:pt>
                <c:pt idx="573">
                  <c:v>95.300000000000011</c:v>
                </c:pt>
                <c:pt idx="574">
                  <c:v>91.100000000000009</c:v>
                </c:pt>
                <c:pt idx="575">
                  <c:v>92.199999999999989</c:v>
                </c:pt>
                <c:pt idx="576">
                  <c:v>90.999999999999986</c:v>
                </c:pt>
                <c:pt idx="577">
                  <c:v>88.4</c:v>
                </c:pt>
                <c:pt idx="578">
                  <c:v>74.900000000000006</c:v>
                </c:pt>
                <c:pt idx="579">
                  <c:v>73.899999999999991</c:v>
                </c:pt>
                <c:pt idx="580">
                  <c:v>71.200000000000017</c:v>
                </c:pt>
                <c:pt idx="581">
                  <c:v>79.200000000000031</c:v>
                </c:pt>
                <c:pt idx="582">
                  <c:v>83.5</c:v>
                </c:pt>
                <c:pt idx="583">
                  <c:v>83.4</c:v>
                </c:pt>
                <c:pt idx="584">
                  <c:v>77.700000000000017</c:v>
                </c:pt>
                <c:pt idx="585">
                  <c:v>77.700000000000017</c:v>
                </c:pt>
                <c:pt idx="586">
                  <c:v>69.40000000000002</c:v>
                </c:pt>
                <c:pt idx="587">
                  <c:v>67.499999999999986</c:v>
                </c:pt>
                <c:pt idx="588">
                  <c:v>74.700000000000017</c:v>
                </c:pt>
                <c:pt idx="589">
                  <c:v>70.999999999999972</c:v>
                </c:pt>
                <c:pt idx="590">
                  <c:v>75.300000000000011</c:v>
                </c:pt>
                <c:pt idx="591">
                  <c:v>80.099999999999994</c:v>
                </c:pt>
                <c:pt idx="592">
                  <c:v>72.100000000000009</c:v>
                </c:pt>
                <c:pt idx="593">
                  <c:v>69</c:v>
                </c:pt>
                <c:pt idx="594">
                  <c:v>65.800000000000011</c:v>
                </c:pt>
                <c:pt idx="595">
                  <c:v>60.299999999999976</c:v>
                </c:pt>
                <c:pt idx="596">
                  <c:v>61.399999999999991</c:v>
                </c:pt>
                <c:pt idx="597">
                  <c:v>62.400000000000013</c:v>
                </c:pt>
                <c:pt idx="598">
                  <c:v>67.299999999999983</c:v>
                </c:pt>
                <c:pt idx="599">
                  <c:v>61.399999999999991</c:v>
                </c:pt>
                <c:pt idx="600">
                  <c:v>62.7</c:v>
                </c:pt>
                <c:pt idx="601">
                  <c:v>64.600000000000009</c:v>
                </c:pt>
                <c:pt idx="602">
                  <c:v>48.900000000000013</c:v>
                </c:pt>
                <c:pt idx="603">
                  <c:v>54.399999999999984</c:v>
                </c:pt>
                <c:pt idx="604">
                  <c:v>46.100000000000009</c:v>
                </c:pt>
                <c:pt idx="605">
                  <c:v>40.200000000000017</c:v>
                </c:pt>
                <c:pt idx="606">
                  <c:v>43.800000000000018</c:v>
                </c:pt>
                <c:pt idx="607">
                  <c:v>40.700000000000003</c:v>
                </c:pt>
                <c:pt idx="608">
                  <c:v>38.79999999999999</c:v>
                </c:pt>
                <c:pt idx="609">
                  <c:v>30.500000000000014</c:v>
                </c:pt>
                <c:pt idx="610">
                  <c:v>23.099999999999987</c:v>
                </c:pt>
                <c:pt idx="611">
                  <c:v>17.300000000000004</c:v>
                </c:pt>
                <c:pt idx="612">
                  <c:v>15.200000000000014</c:v>
                </c:pt>
                <c:pt idx="613">
                  <c:v>16.200000000000038</c:v>
                </c:pt>
                <c:pt idx="614">
                  <c:v>-0.8999999999999897</c:v>
                </c:pt>
                <c:pt idx="615">
                  <c:v>4.6000000000000263</c:v>
                </c:pt>
                <c:pt idx="616">
                  <c:v>7.7999999999999847</c:v>
                </c:pt>
                <c:pt idx="617">
                  <c:v>13.000000000000034</c:v>
                </c:pt>
                <c:pt idx="618">
                  <c:v>22.699999999999989</c:v>
                </c:pt>
                <c:pt idx="619">
                  <c:v>22.599999999999998</c:v>
                </c:pt>
                <c:pt idx="620">
                  <c:v>31.300000000000018</c:v>
                </c:pt>
                <c:pt idx="621">
                  <c:v>43.800000000000018</c:v>
                </c:pt>
                <c:pt idx="622">
                  <c:v>45.399999999999977</c:v>
                </c:pt>
                <c:pt idx="623">
                  <c:v>47.299999999999983</c:v>
                </c:pt>
                <c:pt idx="624">
                  <c:v>47.299999999999983</c:v>
                </c:pt>
                <c:pt idx="625">
                  <c:v>49.29999999999999</c:v>
                </c:pt>
                <c:pt idx="626">
                  <c:v>41.5</c:v>
                </c:pt>
                <c:pt idx="627">
                  <c:v>29.699999999999971</c:v>
                </c:pt>
                <c:pt idx="628">
                  <c:v>23.999999999999979</c:v>
                </c:pt>
                <c:pt idx="629">
                  <c:v>22.900000000000009</c:v>
                </c:pt>
                <c:pt idx="630">
                  <c:v>26.500000000000014</c:v>
                </c:pt>
                <c:pt idx="631">
                  <c:v>32.600000000000009</c:v>
                </c:pt>
                <c:pt idx="632">
                  <c:v>33.199999999999989</c:v>
                </c:pt>
                <c:pt idx="633">
                  <c:v>28.200000000000003</c:v>
                </c:pt>
                <c:pt idx="634">
                  <c:v>24.6</c:v>
                </c:pt>
                <c:pt idx="635">
                  <c:v>33.000000000000007</c:v>
                </c:pt>
                <c:pt idx="636">
                  <c:v>23.599999999999977</c:v>
                </c:pt>
                <c:pt idx="637">
                  <c:v>38.700000000000003</c:v>
                </c:pt>
                <c:pt idx="638">
                  <c:v>43.699999999999982</c:v>
                </c:pt>
                <c:pt idx="639">
                  <c:v>52.499999999999993</c:v>
                </c:pt>
                <c:pt idx="640">
                  <c:v>58.800000000000011</c:v>
                </c:pt>
                <c:pt idx="641">
                  <c:v>50.59999999999998</c:v>
                </c:pt>
                <c:pt idx="642">
                  <c:v>41.299999999999983</c:v>
                </c:pt>
                <c:pt idx="643">
                  <c:v>46.300000000000011</c:v>
                </c:pt>
                <c:pt idx="644">
                  <c:v>49.500000000000014</c:v>
                </c:pt>
                <c:pt idx="645">
                  <c:v>51.6</c:v>
                </c:pt>
                <c:pt idx="646">
                  <c:v>46.600000000000023</c:v>
                </c:pt>
                <c:pt idx="647">
                  <c:v>40.400000000000034</c:v>
                </c:pt>
                <c:pt idx="648">
                  <c:v>45.399999999999977</c:v>
                </c:pt>
                <c:pt idx="649">
                  <c:v>41.299999999999983</c:v>
                </c:pt>
                <c:pt idx="650">
                  <c:v>44.09999999999998</c:v>
                </c:pt>
                <c:pt idx="651">
                  <c:v>48.899999999999991</c:v>
                </c:pt>
                <c:pt idx="652">
                  <c:v>46.300000000000011</c:v>
                </c:pt>
                <c:pt idx="653">
                  <c:v>50.4</c:v>
                </c:pt>
                <c:pt idx="654">
                  <c:v>47.799999999999976</c:v>
                </c:pt>
                <c:pt idx="655">
                  <c:v>47.799999999999976</c:v>
                </c:pt>
                <c:pt idx="656">
                  <c:v>51.699999999999989</c:v>
                </c:pt>
                <c:pt idx="657">
                  <c:v>41.299999999999983</c:v>
                </c:pt>
                <c:pt idx="658">
                  <c:v>43.700000000000031</c:v>
                </c:pt>
                <c:pt idx="659">
                  <c:v>44.600000000000016</c:v>
                </c:pt>
                <c:pt idx="660">
                  <c:v>45.699999999999989</c:v>
                </c:pt>
                <c:pt idx="661">
                  <c:v>38.700000000000003</c:v>
                </c:pt>
                <c:pt idx="662">
                  <c:v>40.499999999999979</c:v>
                </c:pt>
                <c:pt idx="663">
                  <c:v>35.299999999999976</c:v>
                </c:pt>
                <c:pt idx="664">
                  <c:v>14.900000000000002</c:v>
                </c:pt>
                <c:pt idx="665">
                  <c:v>8.8000000000000078</c:v>
                </c:pt>
                <c:pt idx="666">
                  <c:v>-0.30000000000001137</c:v>
                </c:pt>
                <c:pt idx="667">
                  <c:v>12.9</c:v>
                </c:pt>
                <c:pt idx="668">
                  <c:v>20.300000000000029</c:v>
                </c:pt>
                <c:pt idx="669">
                  <c:v>12.800000000000011</c:v>
                </c:pt>
                <c:pt idx="670">
                  <c:v>12.800000000000011</c:v>
                </c:pt>
                <c:pt idx="671">
                  <c:v>19.200000000000017</c:v>
                </c:pt>
                <c:pt idx="672">
                  <c:v>18.599999999999994</c:v>
                </c:pt>
                <c:pt idx="673">
                  <c:v>16.900000000000006</c:v>
                </c:pt>
                <c:pt idx="674">
                  <c:v>20.100000000000009</c:v>
                </c:pt>
                <c:pt idx="675">
                  <c:v>18.199999999999996</c:v>
                </c:pt>
                <c:pt idx="676">
                  <c:v>18.799999999999972</c:v>
                </c:pt>
                <c:pt idx="677">
                  <c:v>15.900000000000025</c:v>
                </c:pt>
                <c:pt idx="678">
                  <c:v>19.499999999999986</c:v>
                </c:pt>
                <c:pt idx="679">
                  <c:v>28.499999999999972</c:v>
                </c:pt>
                <c:pt idx="680">
                  <c:v>28.499999999999972</c:v>
                </c:pt>
                <c:pt idx="681">
                  <c:v>21.70000000000001</c:v>
                </c:pt>
                <c:pt idx="682">
                  <c:v>15.700000000000003</c:v>
                </c:pt>
                <c:pt idx="683">
                  <c:v>15.500000000000025</c:v>
                </c:pt>
                <c:pt idx="684">
                  <c:v>14.800000000000013</c:v>
                </c:pt>
                <c:pt idx="685">
                  <c:v>11.000000000000032</c:v>
                </c:pt>
                <c:pt idx="686">
                  <c:v>9.3999999999999861</c:v>
                </c:pt>
                <c:pt idx="687">
                  <c:v>-7.6000000000000068</c:v>
                </c:pt>
                <c:pt idx="688">
                  <c:v>-4.0999999999999925</c:v>
                </c:pt>
                <c:pt idx="689">
                  <c:v>-4.0999999999999925</c:v>
                </c:pt>
                <c:pt idx="690">
                  <c:v>-2.5000000000000355</c:v>
                </c:pt>
                <c:pt idx="691">
                  <c:v>-5.3999999999999826</c:v>
                </c:pt>
                <c:pt idx="692">
                  <c:v>-8.0000000000000071</c:v>
                </c:pt>
                <c:pt idx="693">
                  <c:v>-2.3000000000000131</c:v>
                </c:pt>
                <c:pt idx="694">
                  <c:v>0.49999999999998934</c:v>
                </c:pt>
                <c:pt idx="695">
                  <c:v>1.2999999999999901</c:v>
                </c:pt>
                <c:pt idx="696">
                  <c:v>-3.5000000000000142</c:v>
                </c:pt>
                <c:pt idx="697">
                  <c:v>2.9999999999999805</c:v>
                </c:pt>
                <c:pt idx="698">
                  <c:v>16.200000000000038</c:v>
                </c:pt>
                <c:pt idx="699">
                  <c:v>8.0000000000000071</c:v>
                </c:pt>
                <c:pt idx="700">
                  <c:v>1.6000000000000014</c:v>
                </c:pt>
                <c:pt idx="701">
                  <c:v>-9.5000000000000195</c:v>
                </c:pt>
                <c:pt idx="702">
                  <c:v>-13.100000000000023</c:v>
                </c:pt>
                <c:pt idx="703">
                  <c:v>-7.6000000000000068</c:v>
                </c:pt>
                <c:pt idx="704">
                  <c:v>-18.300000000000026</c:v>
                </c:pt>
                <c:pt idx="705">
                  <c:v>-21.799999999999997</c:v>
                </c:pt>
                <c:pt idx="706">
                  <c:v>-28.100000000000016</c:v>
                </c:pt>
                <c:pt idx="707">
                  <c:v>-17.200000000000017</c:v>
                </c:pt>
                <c:pt idx="708">
                  <c:v>-5.500000000000016</c:v>
                </c:pt>
                <c:pt idx="709">
                  <c:v>-13.900000000000023</c:v>
                </c:pt>
                <c:pt idx="710">
                  <c:v>-10.599999999999987</c:v>
                </c:pt>
                <c:pt idx="711">
                  <c:v>-13.599999999999968</c:v>
                </c:pt>
                <c:pt idx="712">
                  <c:v>-14.900000000000002</c:v>
                </c:pt>
                <c:pt idx="713">
                  <c:v>-9.3999999999999861</c:v>
                </c:pt>
                <c:pt idx="714">
                  <c:v>-4.0000000000000036</c:v>
                </c:pt>
                <c:pt idx="715">
                  <c:v>-9.6000000000000085</c:v>
                </c:pt>
                <c:pt idx="716">
                  <c:v>-5.0000000000000266</c:v>
                </c:pt>
                <c:pt idx="717">
                  <c:v>-6.6000000000000281</c:v>
                </c:pt>
                <c:pt idx="718">
                  <c:v>-14.000000000000012</c:v>
                </c:pt>
                <c:pt idx="719">
                  <c:v>-18.799999999999972</c:v>
                </c:pt>
                <c:pt idx="720">
                  <c:v>-18.000000000000014</c:v>
                </c:pt>
                <c:pt idx="721">
                  <c:v>-24.6</c:v>
                </c:pt>
                <c:pt idx="722">
                  <c:v>-19.500000000000028</c:v>
                </c:pt>
                <c:pt idx="723">
                  <c:v>-14.799999999999969</c:v>
                </c:pt>
                <c:pt idx="724">
                  <c:v>-5.400000000000027</c:v>
                </c:pt>
                <c:pt idx="725">
                  <c:v>-5.400000000000027</c:v>
                </c:pt>
                <c:pt idx="726">
                  <c:v>-1.7999999999999794</c:v>
                </c:pt>
                <c:pt idx="727">
                  <c:v>-4.2000000000000259</c:v>
                </c:pt>
                <c:pt idx="728">
                  <c:v>-5.0000000000000266</c:v>
                </c:pt>
                <c:pt idx="729">
                  <c:v>-11.500000000000021</c:v>
                </c:pt>
                <c:pt idx="730">
                  <c:v>-5.8000000000000274</c:v>
                </c:pt>
                <c:pt idx="731">
                  <c:v>-24.799999999999976</c:v>
                </c:pt>
                <c:pt idx="732">
                  <c:v>-31.300000000000018</c:v>
                </c:pt>
                <c:pt idx="733">
                  <c:v>-39.300000000000026</c:v>
                </c:pt>
                <c:pt idx="734">
                  <c:v>-33.999999999999986</c:v>
                </c:pt>
                <c:pt idx="735">
                  <c:v>-44.10000000000003</c:v>
                </c:pt>
                <c:pt idx="736">
                  <c:v>-38.299999999999997</c:v>
                </c:pt>
                <c:pt idx="737">
                  <c:v>-47.500000000000007</c:v>
                </c:pt>
                <c:pt idx="738">
                  <c:v>-48.899999999999991</c:v>
                </c:pt>
                <c:pt idx="739">
                  <c:v>-60.200000000000031</c:v>
                </c:pt>
                <c:pt idx="740">
                  <c:v>-61.800000000000033</c:v>
                </c:pt>
                <c:pt idx="741">
                  <c:v>-48</c:v>
                </c:pt>
                <c:pt idx="742">
                  <c:v>-41.300000000000026</c:v>
                </c:pt>
                <c:pt idx="743">
                  <c:v>-47.699999999999989</c:v>
                </c:pt>
                <c:pt idx="744">
                  <c:v>-44.499999999999986</c:v>
                </c:pt>
                <c:pt idx="745">
                  <c:v>-39.900000000000048</c:v>
                </c:pt>
                <c:pt idx="746">
                  <c:v>-41.000000000000057</c:v>
                </c:pt>
                <c:pt idx="747">
                  <c:v>-38.500000000000021</c:v>
                </c:pt>
                <c:pt idx="748">
                  <c:v>-45.699999999999989</c:v>
                </c:pt>
                <c:pt idx="749">
                  <c:v>-46.599999999999973</c:v>
                </c:pt>
                <c:pt idx="750">
                  <c:v>-46.599999999999973</c:v>
                </c:pt>
                <c:pt idx="751">
                  <c:v>-41.39999999999997</c:v>
                </c:pt>
                <c:pt idx="752">
                  <c:v>-39.999999999999993</c:v>
                </c:pt>
                <c:pt idx="753">
                  <c:v>-51.6</c:v>
                </c:pt>
                <c:pt idx="754">
                  <c:v>-53.19999999999996</c:v>
                </c:pt>
                <c:pt idx="755">
                  <c:v>-44.100000000000072</c:v>
                </c:pt>
                <c:pt idx="756">
                  <c:v>-41.600000000000037</c:v>
                </c:pt>
                <c:pt idx="757">
                  <c:v>-42.499999999999986</c:v>
                </c:pt>
                <c:pt idx="758">
                  <c:v>-39.500000000000043</c:v>
                </c:pt>
                <c:pt idx="759">
                  <c:v>-18.699999999999939</c:v>
                </c:pt>
                <c:pt idx="760">
                  <c:v>-13.600000000000012</c:v>
                </c:pt>
                <c:pt idx="761">
                  <c:v>-21.499999999999986</c:v>
                </c:pt>
                <c:pt idx="762">
                  <c:v>-25.400000000000045</c:v>
                </c:pt>
                <c:pt idx="763">
                  <c:v>-22.699999999999942</c:v>
                </c:pt>
                <c:pt idx="764">
                  <c:v>-29.300000000000015</c:v>
                </c:pt>
                <c:pt idx="765">
                  <c:v>-29.499999999999993</c:v>
                </c:pt>
                <c:pt idx="766">
                  <c:v>-41.600000000000037</c:v>
                </c:pt>
                <c:pt idx="767">
                  <c:v>-44.600000000000065</c:v>
                </c:pt>
                <c:pt idx="768">
                  <c:v>-54.899999999999949</c:v>
                </c:pt>
                <c:pt idx="769">
                  <c:v>-40.500000000000028</c:v>
                </c:pt>
                <c:pt idx="770">
                  <c:v>-41.300000000000026</c:v>
                </c:pt>
                <c:pt idx="771">
                  <c:v>-41.199999999999989</c:v>
                </c:pt>
                <c:pt idx="772">
                  <c:v>-30.900000000000016</c:v>
                </c:pt>
                <c:pt idx="773">
                  <c:v>-24.599999999999955</c:v>
                </c:pt>
                <c:pt idx="774">
                  <c:v>-24.599999999999955</c:v>
                </c:pt>
                <c:pt idx="775">
                  <c:v>-34.90000000000002</c:v>
                </c:pt>
                <c:pt idx="776">
                  <c:v>-37.999999999999986</c:v>
                </c:pt>
                <c:pt idx="777">
                  <c:v>-50.300000000000054</c:v>
                </c:pt>
                <c:pt idx="778">
                  <c:v>-56.499999999999993</c:v>
                </c:pt>
                <c:pt idx="779">
                  <c:v>-58.299999999999976</c:v>
                </c:pt>
                <c:pt idx="780">
                  <c:v>-63.90000000000002</c:v>
                </c:pt>
                <c:pt idx="781">
                  <c:v>-68.900000000000048</c:v>
                </c:pt>
                <c:pt idx="782">
                  <c:v>-74.099999999999966</c:v>
                </c:pt>
                <c:pt idx="783">
                  <c:v>-74.099999999999966</c:v>
                </c:pt>
                <c:pt idx="784">
                  <c:v>-72.700000000000031</c:v>
                </c:pt>
                <c:pt idx="785">
                  <c:v>-72.2</c:v>
                </c:pt>
                <c:pt idx="786">
                  <c:v>-67.09999999999998</c:v>
                </c:pt>
                <c:pt idx="787">
                  <c:v>-54.899999999999991</c:v>
                </c:pt>
                <c:pt idx="788">
                  <c:v>-62.099999999999952</c:v>
                </c:pt>
                <c:pt idx="789">
                  <c:v>-72.000000000000014</c:v>
                </c:pt>
                <c:pt idx="790">
                  <c:v>-77.8</c:v>
                </c:pt>
                <c:pt idx="791">
                  <c:v>-83.700000000000017</c:v>
                </c:pt>
                <c:pt idx="792">
                  <c:v>-84.2</c:v>
                </c:pt>
                <c:pt idx="793">
                  <c:v>-85.700000000000017</c:v>
                </c:pt>
                <c:pt idx="794">
                  <c:v>-78.000000000000028</c:v>
                </c:pt>
                <c:pt idx="795">
                  <c:v>-82.699999999999946</c:v>
                </c:pt>
                <c:pt idx="796">
                  <c:v>-70.199999999999989</c:v>
                </c:pt>
                <c:pt idx="797">
                  <c:v>-70.899999999999963</c:v>
                </c:pt>
                <c:pt idx="798">
                  <c:v>-75.199999999999974</c:v>
                </c:pt>
                <c:pt idx="799">
                  <c:v>-64.699999999999974</c:v>
                </c:pt>
                <c:pt idx="800">
                  <c:v>-63.899999999999935</c:v>
                </c:pt>
                <c:pt idx="801">
                  <c:v>-52.999999999999979</c:v>
                </c:pt>
                <c:pt idx="802">
                  <c:v>-47.099999999999966</c:v>
                </c:pt>
                <c:pt idx="803">
                  <c:v>-54.099999999999952</c:v>
                </c:pt>
                <c:pt idx="804">
                  <c:v>-50.100000000000037</c:v>
                </c:pt>
                <c:pt idx="805">
                  <c:v>-50.100000000000037</c:v>
                </c:pt>
                <c:pt idx="806">
                  <c:v>-46.70000000000001</c:v>
                </c:pt>
                <c:pt idx="807">
                  <c:v>-38.20000000000001</c:v>
                </c:pt>
                <c:pt idx="808">
                  <c:v>-44.399999999999991</c:v>
                </c:pt>
                <c:pt idx="809">
                  <c:v>-46.499999999999943</c:v>
                </c:pt>
                <c:pt idx="810">
                  <c:v>-46.499999999999943</c:v>
                </c:pt>
                <c:pt idx="811">
                  <c:v>-51.40000000000002</c:v>
                </c:pt>
                <c:pt idx="812">
                  <c:v>-56.799999999999962</c:v>
                </c:pt>
                <c:pt idx="813">
                  <c:v>-65.500000000000028</c:v>
                </c:pt>
                <c:pt idx="814">
                  <c:v>-56.799999999999962</c:v>
                </c:pt>
                <c:pt idx="815">
                  <c:v>-54.899999999999991</c:v>
                </c:pt>
                <c:pt idx="816">
                  <c:v>-50.4</c:v>
                </c:pt>
                <c:pt idx="817">
                  <c:v>-54.699999999999974</c:v>
                </c:pt>
                <c:pt idx="818">
                  <c:v>-56.400000000000006</c:v>
                </c:pt>
                <c:pt idx="819">
                  <c:v>-61.79999999999994</c:v>
                </c:pt>
                <c:pt idx="820">
                  <c:v>-61.79999999999994</c:v>
                </c:pt>
                <c:pt idx="821">
                  <c:v>-54.400000000000006</c:v>
                </c:pt>
                <c:pt idx="822">
                  <c:v>-53.399999999999977</c:v>
                </c:pt>
                <c:pt idx="823">
                  <c:v>-55.000000000000028</c:v>
                </c:pt>
                <c:pt idx="824">
                  <c:v>-52.699999999999967</c:v>
                </c:pt>
                <c:pt idx="825">
                  <c:v>-55.000000000000028</c:v>
                </c:pt>
                <c:pt idx="826">
                  <c:v>-59.099999999999973</c:v>
                </c:pt>
                <c:pt idx="827">
                  <c:v>-51.299999999999947</c:v>
                </c:pt>
                <c:pt idx="828">
                  <c:v>-54.999999999999986</c:v>
                </c:pt>
                <c:pt idx="829">
                  <c:v>-57.3</c:v>
                </c:pt>
                <c:pt idx="830">
                  <c:v>-60.099999999999994</c:v>
                </c:pt>
                <c:pt idx="831">
                  <c:v>-54.59999999999998</c:v>
                </c:pt>
                <c:pt idx="832">
                  <c:v>-56.00000000000005</c:v>
                </c:pt>
                <c:pt idx="833">
                  <c:v>-53.499999999999972</c:v>
                </c:pt>
                <c:pt idx="834">
                  <c:v>-67.400000000000034</c:v>
                </c:pt>
                <c:pt idx="835">
                  <c:v>-78.40000000000002</c:v>
                </c:pt>
                <c:pt idx="836">
                  <c:v>-76.500000000000014</c:v>
                </c:pt>
                <c:pt idx="837">
                  <c:v>-74.19999999999996</c:v>
                </c:pt>
                <c:pt idx="838">
                  <c:v>-76.700000000000031</c:v>
                </c:pt>
                <c:pt idx="839">
                  <c:v>-68.699999999999989</c:v>
                </c:pt>
                <c:pt idx="840">
                  <c:v>-74.2</c:v>
                </c:pt>
                <c:pt idx="841">
                  <c:v>-82.099999999999966</c:v>
                </c:pt>
                <c:pt idx="842">
                  <c:v>-77.499999999999986</c:v>
                </c:pt>
                <c:pt idx="843">
                  <c:v>-71.499999999999986</c:v>
                </c:pt>
                <c:pt idx="844">
                  <c:v>-73.500000000000028</c:v>
                </c:pt>
                <c:pt idx="845">
                  <c:v>-73.500000000000028</c:v>
                </c:pt>
                <c:pt idx="846">
                  <c:v>-75.499999999999986</c:v>
                </c:pt>
                <c:pt idx="847">
                  <c:v>-77.099999999999994</c:v>
                </c:pt>
                <c:pt idx="848">
                  <c:v>-81.499999999999943</c:v>
                </c:pt>
                <c:pt idx="849">
                  <c:v>-86.69999999999996</c:v>
                </c:pt>
                <c:pt idx="850">
                  <c:v>-87.4</c:v>
                </c:pt>
                <c:pt idx="851">
                  <c:v>-86.69999999999996</c:v>
                </c:pt>
                <c:pt idx="852">
                  <c:v>-93.600000000000037</c:v>
                </c:pt>
                <c:pt idx="853">
                  <c:v>-88.3</c:v>
                </c:pt>
                <c:pt idx="854">
                  <c:v>-97.399999999999977</c:v>
                </c:pt>
                <c:pt idx="855">
                  <c:v>-98.200000000000017</c:v>
                </c:pt>
                <c:pt idx="856">
                  <c:v>-112.30000000000003</c:v>
                </c:pt>
                <c:pt idx="857">
                  <c:v>-118.9</c:v>
                </c:pt>
                <c:pt idx="858">
                  <c:v>-103.00000000000003</c:v>
                </c:pt>
                <c:pt idx="859">
                  <c:v>-88.799999999999983</c:v>
                </c:pt>
                <c:pt idx="860">
                  <c:v>-36.30000000000004</c:v>
                </c:pt>
                <c:pt idx="861">
                  <c:v>-46.399999999999949</c:v>
                </c:pt>
                <c:pt idx="862">
                  <c:v>-28.699999999999992</c:v>
                </c:pt>
                <c:pt idx="863">
                  <c:v>-41.599999999999994</c:v>
                </c:pt>
                <c:pt idx="864">
                  <c:v>-24.500000000000011</c:v>
                </c:pt>
                <c:pt idx="865">
                  <c:v>-26.200000000000003</c:v>
                </c:pt>
                <c:pt idx="866">
                  <c:v>-44.099999999999937</c:v>
                </c:pt>
                <c:pt idx="867">
                  <c:v>-28.399999999999981</c:v>
                </c:pt>
                <c:pt idx="868">
                  <c:v>-12.400000000000011</c:v>
                </c:pt>
                <c:pt idx="869">
                  <c:v>-13.3</c:v>
                </c:pt>
                <c:pt idx="870">
                  <c:v>-24.800000000000022</c:v>
                </c:pt>
                <c:pt idx="871">
                  <c:v>-27.700000000000014</c:v>
                </c:pt>
                <c:pt idx="872">
                  <c:v>-30.200000000000003</c:v>
                </c:pt>
                <c:pt idx="873">
                  <c:v>-35.300000000000018</c:v>
                </c:pt>
                <c:pt idx="874">
                  <c:v>-37.599999999999987</c:v>
                </c:pt>
                <c:pt idx="875">
                  <c:v>-33.500000000000043</c:v>
                </c:pt>
                <c:pt idx="876">
                  <c:v>-23.4</c:v>
                </c:pt>
                <c:pt idx="877">
                  <c:v>-23.999999999999979</c:v>
                </c:pt>
                <c:pt idx="878">
                  <c:v>-28.000000000000025</c:v>
                </c:pt>
                <c:pt idx="879">
                  <c:v>-28.000000000000025</c:v>
                </c:pt>
                <c:pt idx="880">
                  <c:v>-37.5</c:v>
                </c:pt>
                <c:pt idx="881">
                  <c:v>-41.200000000000038</c:v>
                </c:pt>
                <c:pt idx="882">
                  <c:v>-34.20000000000001</c:v>
                </c:pt>
                <c:pt idx="883">
                  <c:v>-28.200000000000003</c:v>
                </c:pt>
                <c:pt idx="884">
                  <c:v>-35.099999999999994</c:v>
                </c:pt>
                <c:pt idx="885">
                  <c:v>-38.600000000000009</c:v>
                </c:pt>
                <c:pt idx="886">
                  <c:v>-43.099999999999959</c:v>
                </c:pt>
                <c:pt idx="887">
                  <c:v>-47.100000000000009</c:v>
                </c:pt>
                <c:pt idx="888">
                  <c:v>-40.899999999999935</c:v>
                </c:pt>
                <c:pt idx="889">
                  <c:v>-41.39999999999997</c:v>
                </c:pt>
                <c:pt idx="890">
                  <c:v>-41.499999999999957</c:v>
                </c:pt>
                <c:pt idx="891">
                  <c:v>-27.300000000000011</c:v>
                </c:pt>
                <c:pt idx="892">
                  <c:v>-22.199999999999996</c:v>
                </c:pt>
                <c:pt idx="893">
                  <c:v>-33.500000000000043</c:v>
                </c:pt>
                <c:pt idx="894">
                  <c:v>-35.899999999999956</c:v>
                </c:pt>
                <c:pt idx="895">
                  <c:v>-31.000000000000007</c:v>
                </c:pt>
                <c:pt idx="896">
                  <c:v>-27.500000000000036</c:v>
                </c:pt>
                <c:pt idx="897">
                  <c:v>-17.100000000000026</c:v>
                </c:pt>
                <c:pt idx="898">
                  <c:v>-4.2999999999999705</c:v>
                </c:pt>
                <c:pt idx="899">
                  <c:v>-16.299999999999983</c:v>
                </c:pt>
                <c:pt idx="900">
                  <c:v>-17.599999999999973</c:v>
                </c:pt>
                <c:pt idx="901">
                  <c:v>-19.10000000000003</c:v>
                </c:pt>
                <c:pt idx="902">
                  <c:v>-11.899999999999977</c:v>
                </c:pt>
                <c:pt idx="903">
                  <c:v>-15.899999999999981</c:v>
                </c:pt>
                <c:pt idx="904">
                  <c:v>-21.10000000000003</c:v>
                </c:pt>
                <c:pt idx="905">
                  <c:v>-16.100000000000001</c:v>
                </c:pt>
                <c:pt idx="906">
                  <c:v>-20.800000000000018</c:v>
                </c:pt>
                <c:pt idx="907">
                  <c:v>-28.100000000000016</c:v>
                </c:pt>
                <c:pt idx="908">
                  <c:v>-35.199999999999946</c:v>
                </c:pt>
                <c:pt idx="909">
                  <c:v>-35.199999999999946</c:v>
                </c:pt>
                <c:pt idx="910">
                  <c:v>-36.09999999999998</c:v>
                </c:pt>
                <c:pt idx="911">
                  <c:v>-36.09999999999998</c:v>
                </c:pt>
                <c:pt idx="912">
                  <c:v>-38.600000000000009</c:v>
                </c:pt>
                <c:pt idx="913">
                  <c:v>-54.299999999999969</c:v>
                </c:pt>
                <c:pt idx="914">
                  <c:v>-61.500000000000021</c:v>
                </c:pt>
                <c:pt idx="915">
                  <c:v>-61.500000000000021</c:v>
                </c:pt>
                <c:pt idx="916">
                  <c:v>-55.800000000000026</c:v>
                </c:pt>
                <c:pt idx="917">
                  <c:v>-56.300000000000018</c:v>
                </c:pt>
                <c:pt idx="918">
                  <c:v>-51.100000000000009</c:v>
                </c:pt>
                <c:pt idx="919">
                  <c:v>-61.199999999999967</c:v>
                </c:pt>
                <c:pt idx="920">
                  <c:v>-58.599999999999987</c:v>
                </c:pt>
                <c:pt idx="921">
                  <c:v>-58.599999999999987</c:v>
                </c:pt>
                <c:pt idx="922">
                  <c:v>-61.3</c:v>
                </c:pt>
                <c:pt idx="923">
                  <c:v>-63.20000000000006</c:v>
                </c:pt>
                <c:pt idx="924">
                  <c:v>-72.200000000000045</c:v>
                </c:pt>
                <c:pt idx="925">
                  <c:v>-69.899999999999977</c:v>
                </c:pt>
                <c:pt idx="926">
                  <c:v>-74.800000000000026</c:v>
                </c:pt>
                <c:pt idx="927">
                  <c:v>-82.500000000000014</c:v>
                </c:pt>
                <c:pt idx="928">
                  <c:v>-79.800000000000011</c:v>
                </c:pt>
                <c:pt idx="929">
                  <c:v>-86.200000000000017</c:v>
                </c:pt>
                <c:pt idx="930">
                  <c:v>-86.200000000000017</c:v>
                </c:pt>
                <c:pt idx="931">
                  <c:v>-86.999999999999972</c:v>
                </c:pt>
                <c:pt idx="932">
                  <c:v>-90.599999999999966</c:v>
                </c:pt>
                <c:pt idx="933">
                  <c:v>-91.399999999999977</c:v>
                </c:pt>
                <c:pt idx="934">
                  <c:v>-93.399999999999977</c:v>
                </c:pt>
                <c:pt idx="935">
                  <c:v>-91.700000000000031</c:v>
                </c:pt>
                <c:pt idx="936">
                  <c:v>-92.8</c:v>
                </c:pt>
                <c:pt idx="937">
                  <c:v>-90.200000000000017</c:v>
                </c:pt>
                <c:pt idx="938">
                  <c:v>-95.799999999999969</c:v>
                </c:pt>
                <c:pt idx="939">
                  <c:v>-102.39999999999996</c:v>
                </c:pt>
                <c:pt idx="940">
                  <c:v>-107.60000000000001</c:v>
                </c:pt>
                <c:pt idx="941">
                  <c:v>-107.60000000000001</c:v>
                </c:pt>
                <c:pt idx="942">
                  <c:v>-100.4</c:v>
                </c:pt>
                <c:pt idx="943">
                  <c:v>-98.4</c:v>
                </c:pt>
                <c:pt idx="944">
                  <c:v>-90.000000000000028</c:v>
                </c:pt>
                <c:pt idx="945">
                  <c:v>-82.599999999999966</c:v>
                </c:pt>
                <c:pt idx="946">
                  <c:v>-87.800000000000011</c:v>
                </c:pt>
                <c:pt idx="947">
                  <c:v>-79.099999999999994</c:v>
                </c:pt>
                <c:pt idx="948">
                  <c:v>-71.399999999999949</c:v>
                </c:pt>
                <c:pt idx="949">
                  <c:v>-83.300000000000011</c:v>
                </c:pt>
                <c:pt idx="950">
                  <c:v>-82.400000000000034</c:v>
                </c:pt>
                <c:pt idx="951">
                  <c:v>-86.499999999999972</c:v>
                </c:pt>
                <c:pt idx="952">
                  <c:v>-93.399999999999977</c:v>
                </c:pt>
                <c:pt idx="953">
                  <c:v>-92.999999999999972</c:v>
                </c:pt>
                <c:pt idx="954">
                  <c:v>-94</c:v>
                </c:pt>
                <c:pt idx="955">
                  <c:v>-97.799999999999983</c:v>
                </c:pt>
                <c:pt idx="956">
                  <c:v>-93.599999999999952</c:v>
                </c:pt>
                <c:pt idx="957">
                  <c:v>-89.1</c:v>
                </c:pt>
                <c:pt idx="958">
                  <c:v>-88.100000000000023</c:v>
                </c:pt>
                <c:pt idx="959">
                  <c:v>-86.599999999999966</c:v>
                </c:pt>
                <c:pt idx="960">
                  <c:v>-86.200000000000017</c:v>
                </c:pt>
                <c:pt idx="961">
                  <c:v>-80.90000000000002</c:v>
                </c:pt>
                <c:pt idx="962">
                  <c:v>-71.999999999999972</c:v>
                </c:pt>
                <c:pt idx="963">
                  <c:v>-58.900000000000041</c:v>
                </c:pt>
                <c:pt idx="964">
                  <c:v>-57.500000000000014</c:v>
                </c:pt>
                <c:pt idx="965">
                  <c:v>-50.699999999999967</c:v>
                </c:pt>
                <c:pt idx="966">
                  <c:v>-54.800000000000004</c:v>
                </c:pt>
                <c:pt idx="967">
                  <c:v>-63.199999999999967</c:v>
                </c:pt>
                <c:pt idx="968">
                  <c:v>-58.5</c:v>
                </c:pt>
                <c:pt idx="969">
                  <c:v>-62.800000000000011</c:v>
                </c:pt>
                <c:pt idx="970">
                  <c:v>-68.200000000000045</c:v>
                </c:pt>
                <c:pt idx="971">
                  <c:v>-62.699999999999974</c:v>
                </c:pt>
                <c:pt idx="972">
                  <c:v>-60.999999999999943</c:v>
                </c:pt>
                <c:pt idx="973">
                  <c:v>-54.699999999999974</c:v>
                </c:pt>
                <c:pt idx="974">
                  <c:v>-56.400000000000006</c:v>
                </c:pt>
                <c:pt idx="975">
                  <c:v>-54.400000000000048</c:v>
                </c:pt>
                <c:pt idx="976">
                  <c:v>-63.199999999999967</c:v>
                </c:pt>
                <c:pt idx="977">
                  <c:v>-68.999999999999943</c:v>
                </c:pt>
                <c:pt idx="978">
                  <c:v>-71.20000000000006</c:v>
                </c:pt>
                <c:pt idx="979">
                  <c:v>-78.500000000000014</c:v>
                </c:pt>
                <c:pt idx="980">
                  <c:v>-76.40000000000002</c:v>
                </c:pt>
                <c:pt idx="981">
                  <c:v>-65.900000000000063</c:v>
                </c:pt>
                <c:pt idx="982">
                  <c:v>-65.80000000000004</c:v>
                </c:pt>
                <c:pt idx="983">
                  <c:v>-64.599999999999994</c:v>
                </c:pt>
                <c:pt idx="984">
                  <c:v>-58.5</c:v>
                </c:pt>
                <c:pt idx="985">
                  <c:v>-58.5</c:v>
                </c:pt>
                <c:pt idx="986">
                  <c:v>-57.699999999999996</c:v>
                </c:pt>
                <c:pt idx="987">
                  <c:v>-65.7</c:v>
                </c:pt>
                <c:pt idx="988">
                  <c:v>-59.399999999999942</c:v>
                </c:pt>
                <c:pt idx="989">
                  <c:v>-64.900000000000006</c:v>
                </c:pt>
                <c:pt idx="990">
                  <c:v>-60.599999999999987</c:v>
                </c:pt>
                <c:pt idx="991">
                  <c:v>-66.5</c:v>
                </c:pt>
                <c:pt idx="992">
                  <c:v>-62.999999999999986</c:v>
                </c:pt>
                <c:pt idx="993">
                  <c:v>-62.900000000000048</c:v>
                </c:pt>
                <c:pt idx="994">
                  <c:v>-62.100000000000044</c:v>
                </c:pt>
                <c:pt idx="995">
                  <c:v>-67.400000000000034</c:v>
                </c:pt>
                <c:pt idx="996">
                  <c:v>-67</c:v>
                </c:pt>
                <c:pt idx="997">
                  <c:v>-74.699999999999989</c:v>
                </c:pt>
                <c:pt idx="998">
                  <c:v>-57.600000000000051</c:v>
                </c:pt>
                <c:pt idx="999">
                  <c:v>-58.800000000000011</c:v>
                </c:pt>
                <c:pt idx="1000">
                  <c:v>-45.800000000000018</c:v>
                </c:pt>
                <c:pt idx="1001">
                  <c:v>-43.900000000000006</c:v>
                </c:pt>
                <c:pt idx="1002">
                  <c:v>-41.800000000000011</c:v>
                </c:pt>
                <c:pt idx="1003">
                  <c:v>-35.499999999999957</c:v>
                </c:pt>
                <c:pt idx="1004">
                  <c:v>-35.099999999999994</c:v>
                </c:pt>
                <c:pt idx="1005">
                  <c:v>-30.69999999999995</c:v>
                </c:pt>
                <c:pt idx="1006">
                  <c:v>-21.400000000000041</c:v>
                </c:pt>
                <c:pt idx="1007">
                  <c:v>-19.700000000000006</c:v>
                </c:pt>
                <c:pt idx="1008">
                  <c:v>-12.699999999999978</c:v>
                </c:pt>
                <c:pt idx="1009">
                  <c:v>-12.100000000000044</c:v>
                </c:pt>
                <c:pt idx="1010">
                  <c:v>-12.100000000000044</c:v>
                </c:pt>
                <c:pt idx="1011">
                  <c:v>-12.300000000000022</c:v>
                </c:pt>
                <c:pt idx="1012">
                  <c:v>-28.200000000000003</c:v>
                </c:pt>
                <c:pt idx="1013">
                  <c:v>-19.399999999999995</c:v>
                </c:pt>
                <c:pt idx="1014">
                  <c:v>-28.399999999999981</c:v>
                </c:pt>
                <c:pt idx="1015">
                  <c:v>-24.2</c:v>
                </c:pt>
                <c:pt idx="1016">
                  <c:v>-29.099999999999948</c:v>
                </c:pt>
                <c:pt idx="1017">
                  <c:v>-23.199999999999932</c:v>
                </c:pt>
                <c:pt idx="1018">
                  <c:v>-5.4999999999999716</c:v>
                </c:pt>
                <c:pt idx="1019">
                  <c:v>0.39999999999995595</c:v>
                </c:pt>
                <c:pt idx="1020">
                  <c:v>-5.7000000000000384</c:v>
                </c:pt>
                <c:pt idx="1021">
                  <c:v>-16.500000000000004</c:v>
                </c:pt>
                <c:pt idx="1022">
                  <c:v>-4.4999999999999929</c:v>
                </c:pt>
                <c:pt idx="1023">
                  <c:v>-5.600000000000005</c:v>
                </c:pt>
                <c:pt idx="1024">
                  <c:v>0.99999999999997868</c:v>
                </c:pt>
                <c:pt idx="1025">
                  <c:v>-0.39999999999995595</c:v>
                </c:pt>
                <c:pt idx="1026">
                  <c:v>0.39999999999995595</c:v>
                </c:pt>
                <c:pt idx="1027">
                  <c:v>-1.4000000000000234</c:v>
                </c:pt>
                <c:pt idx="1028">
                  <c:v>-18.299999999999983</c:v>
                </c:pt>
                <c:pt idx="1029">
                  <c:v>-7.3000000000000398</c:v>
                </c:pt>
                <c:pt idx="1030">
                  <c:v>-12.000000000000011</c:v>
                </c:pt>
                <c:pt idx="1031">
                  <c:v>-17.600000000000016</c:v>
                </c:pt>
                <c:pt idx="1032">
                  <c:v>-29.400000000000048</c:v>
                </c:pt>
                <c:pt idx="1033">
                  <c:v>-26.400000000000023</c:v>
                </c:pt>
                <c:pt idx="1034">
                  <c:v>-32.599999999999966</c:v>
                </c:pt>
                <c:pt idx="1035">
                  <c:v>-28.099999999999969</c:v>
                </c:pt>
                <c:pt idx="1036">
                  <c:v>-20.399999999999974</c:v>
                </c:pt>
                <c:pt idx="1037">
                  <c:v>-22.399999999999931</c:v>
                </c:pt>
                <c:pt idx="1038">
                  <c:v>-21.999999999999975</c:v>
                </c:pt>
                <c:pt idx="1039">
                  <c:v>-30.799999999999983</c:v>
                </c:pt>
                <c:pt idx="1040">
                  <c:v>-35.099999999999994</c:v>
                </c:pt>
                <c:pt idx="1041">
                  <c:v>-32.199999999999918</c:v>
                </c:pt>
                <c:pt idx="1042">
                  <c:v>-35.799999999999969</c:v>
                </c:pt>
                <c:pt idx="1043">
                  <c:v>-35.799999999999969</c:v>
                </c:pt>
                <c:pt idx="1044">
                  <c:v>-33.800000000000011</c:v>
                </c:pt>
                <c:pt idx="1045">
                  <c:v>-36.20000000000001</c:v>
                </c:pt>
                <c:pt idx="1046">
                  <c:v>-23.600000000000065</c:v>
                </c:pt>
                <c:pt idx="1047">
                  <c:v>-20.199999999999996</c:v>
                </c:pt>
                <c:pt idx="1048">
                  <c:v>-19.49999999999994</c:v>
                </c:pt>
                <c:pt idx="1049">
                  <c:v>-15.200000000000014</c:v>
                </c:pt>
                <c:pt idx="1050">
                  <c:v>-20.500000000000007</c:v>
                </c:pt>
                <c:pt idx="1051">
                  <c:v>-28.000000000000025</c:v>
                </c:pt>
                <c:pt idx="1052">
                  <c:v>-37.800000000000011</c:v>
                </c:pt>
                <c:pt idx="1053">
                  <c:v>-33.000000000000007</c:v>
                </c:pt>
                <c:pt idx="1054">
                  <c:v>-41.199999999999989</c:v>
                </c:pt>
                <c:pt idx="1055">
                  <c:v>-38.90000000000002</c:v>
                </c:pt>
                <c:pt idx="1056">
                  <c:v>-41.999999999999993</c:v>
                </c:pt>
                <c:pt idx="1057">
                  <c:v>-26.800000000000068</c:v>
                </c:pt>
                <c:pt idx="1058">
                  <c:v>-35.099999999999994</c:v>
                </c:pt>
                <c:pt idx="1059">
                  <c:v>-43.699999999999939</c:v>
                </c:pt>
                <c:pt idx="1060">
                  <c:v>-39.900000000000006</c:v>
                </c:pt>
                <c:pt idx="1061">
                  <c:v>-40.299999999999955</c:v>
                </c:pt>
                <c:pt idx="1062">
                  <c:v>-37.9</c:v>
                </c:pt>
                <c:pt idx="1063">
                  <c:v>-31.700000000000017</c:v>
                </c:pt>
                <c:pt idx="1064">
                  <c:v>-27.400000000000002</c:v>
                </c:pt>
                <c:pt idx="1065">
                  <c:v>-27.400000000000002</c:v>
                </c:pt>
                <c:pt idx="1066">
                  <c:v>-31.899999999999995</c:v>
                </c:pt>
                <c:pt idx="1067">
                  <c:v>-29.800000000000004</c:v>
                </c:pt>
                <c:pt idx="1068">
                  <c:v>-29.400000000000048</c:v>
                </c:pt>
                <c:pt idx="1069">
                  <c:v>-23.099999999999987</c:v>
                </c:pt>
                <c:pt idx="1070">
                  <c:v>-23.099999999999987</c:v>
                </c:pt>
                <c:pt idx="1071">
                  <c:v>-24.800000000000022</c:v>
                </c:pt>
                <c:pt idx="1072">
                  <c:v>-26.900000000000013</c:v>
                </c:pt>
                <c:pt idx="1073">
                  <c:v>-23.799999999999955</c:v>
                </c:pt>
                <c:pt idx="1074">
                  <c:v>-18.799999999999972</c:v>
                </c:pt>
                <c:pt idx="1075">
                  <c:v>-21.59999999999993</c:v>
                </c:pt>
                <c:pt idx="1076">
                  <c:v>-18.100000000000005</c:v>
                </c:pt>
                <c:pt idx="1077">
                  <c:v>-15.299999999999958</c:v>
                </c:pt>
                <c:pt idx="1078">
                  <c:v>-7.3999999999999844</c:v>
                </c:pt>
                <c:pt idx="1079">
                  <c:v>4.8000000000000043</c:v>
                </c:pt>
                <c:pt idx="1080">
                  <c:v>4.8000000000000043</c:v>
                </c:pt>
                <c:pt idx="1081">
                  <c:v>6.7000000000000171</c:v>
                </c:pt>
                <c:pt idx="1082">
                  <c:v>-4.0000000000000036</c:v>
                </c:pt>
                <c:pt idx="1083">
                  <c:v>0.69999999999996732</c:v>
                </c:pt>
                <c:pt idx="1084">
                  <c:v>-4.5999999999999375</c:v>
                </c:pt>
                <c:pt idx="1085">
                  <c:v>-6.9999999999999396</c:v>
                </c:pt>
                <c:pt idx="1086">
                  <c:v>-1.6000000000000014</c:v>
                </c:pt>
                <c:pt idx="1087">
                  <c:v>2.0999999999999908</c:v>
                </c:pt>
                <c:pt idx="1088">
                  <c:v>5.600000000000005</c:v>
                </c:pt>
                <c:pt idx="1089">
                  <c:v>2.4000000000000021</c:v>
                </c:pt>
                <c:pt idx="1090">
                  <c:v>0.80000000000000071</c:v>
                </c:pt>
                <c:pt idx="1091">
                  <c:v>-9.2999999999999972</c:v>
                </c:pt>
                <c:pt idx="1092">
                  <c:v>-1.6000000000000014</c:v>
                </c:pt>
                <c:pt idx="1093">
                  <c:v>-9.7000000000000419</c:v>
                </c:pt>
                <c:pt idx="1094">
                  <c:v>-15.09999999999998</c:v>
                </c:pt>
                <c:pt idx="1095">
                  <c:v>-12.800000000000011</c:v>
                </c:pt>
                <c:pt idx="1096">
                  <c:v>-11.300000000000043</c:v>
                </c:pt>
                <c:pt idx="1097">
                  <c:v>-11.099999999999977</c:v>
                </c:pt>
                <c:pt idx="1098">
                  <c:v>-9.7999999999999865</c:v>
                </c:pt>
                <c:pt idx="1099">
                  <c:v>-10.899999999999999</c:v>
                </c:pt>
                <c:pt idx="1100">
                  <c:v>-10.899999999999999</c:v>
                </c:pt>
                <c:pt idx="1101">
                  <c:v>-18.499999999999961</c:v>
                </c:pt>
                <c:pt idx="1102">
                  <c:v>-13.900000000000023</c:v>
                </c:pt>
                <c:pt idx="1103">
                  <c:v>-15.800000000000036</c:v>
                </c:pt>
                <c:pt idx="1104">
                  <c:v>-20.199999999999996</c:v>
                </c:pt>
                <c:pt idx="1105">
                  <c:v>-20.199999999999996</c:v>
                </c:pt>
                <c:pt idx="1106">
                  <c:v>-16.500000000000004</c:v>
                </c:pt>
                <c:pt idx="1107">
                  <c:v>-18.300000000000072</c:v>
                </c:pt>
                <c:pt idx="1108">
                  <c:v>-24.299999999999944</c:v>
                </c:pt>
                <c:pt idx="1109">
                  <c:v>-31.599999999999984</c:v>
                </c:pt>
                <c:pt idx="1110">
                  <c:v>-31.599999999999984</c:v>
                </c:pt>
                <c:pt idx="1111">
                  <c:v>-26.799999999999979</c:v>
                </c:pt>
                <c:pt idx="1112">
                  <c:v>-24.900000000000055</c:v>
                </c:pt>
                <c:pt idx="1113">
                  <c:v>-26.400000000000023</c:v>
                </c:pt>
                <c:pt idx="1114">
                  <c:v>-21.199999999999974</c:v>
                </c:pt>
                <c:pt idx="1115">
                  <c:v>-24.699999999999989</c:v>
                </c:pt>
                <c:pt idx="1116">
                  <c:v>-27.700000000000014</c:v>
                </c:pt>
                <c:pt idx="1117">
                  <c:v>-31.700000000000017</c:v>
                </c:pt>
                <c:pt idx="1118">
                  <c:v>-26.6</c:v>
                </c:pt>
                <c:pt idx="1119">
                  <c:v>-22.299999999999986</c:v>
                </c:pt>
                <c:pt idx="1120">
                  <c:v>-27.299999999999969</c:v>
                </c:pt>
                <c:pt idx="1121">
                  <c:v>-28.500000000000014</c:v>
                </c:pt>
                <c:pt idx="1122">
                  <c:v>-27.799999999999958</c:v>
                </c:pt>
                <c:pt idx="1123">
                  <c:v>-25.199999999999978</c:v>
                </c:pt>
                <c:pt idx="1124">
                  <c:v>-29.600000000000026</c:v>
                </c:pt>
                <c:pt idx="1125">
                  <c:v>-27.299999999999969</c:v>
                </c:pt>
                <c:pt idx="1126">
                  <c:v>-24.399999999999977</c:v>
                </c:pt>
                <c:pt idx="1127">
                  <c:v>-16.199999999999992</c:v>
                </c:pt>
                <c:pt idx="1128">
                  <c:v>-19.80000000000004</c:v>
                </c:pt>
                <c:pt idx="1129">
                  <c:v>-20.899999999999963</c:v>
                </c:pt>
                <c:pt idx="1130">
                  <c:v>-21.399999999999952</c:v>
                </c:pt>
                <c:pt idx="1131">
                  <c:v>-19.30000000000005</c:v>
                </c:pt>
                <c:pt idx="1132">
                  <c:v>-21.600000000000019</c:v>
                </c:pt>
                <c:pt idx="1133">
                  <c:v>-28.299999999999947</c:v>
                </c:pt>
                <c:pt idx="1134">
                  <c:v>-28.299999999999947</c:v>
                </c:pt>
                <c:pt idx="1135">
                  <c:v>-25.100000000000033</c:v>
                </c:pt>
                <c:pt idx="1136">
                  <c:v>-19.099999999999984</c:v>
                </c:pt>
                <c:pt idx="1137">
                  <c:v>-16.800000000000015</c:v>
                </c:pt>
                <c:pt idx="1138">
                  <c:v>-17.499999999999982</c:v>
                </c:pt>
                <c:pt idx="1139">
                  <c:v>-19.099999999999984</c:v>
                </c:pt>
                <c:pt idx="1140">
                  <c:v>-23.899999999999988</c:v>
                </c:pt>
                <c:pt idx="1141">
                  <c:v>-24.400000000000066</c:v>
                </c:pt>
                <c:pt idx="1142">
                  <c:v>-34.299999999999997</c:v>
                </c:pt>
                <c:pt idx="1143">
                  <c:v>-28.399999999999981</c:v>
                </c:pt>
                <c:pt idx="1144">
                  <c:v>-26.900000000000013</c:v>
                </c:pt>
                <c:pt idx="1145">
                  <c:v>-19.80000000000004</c:v>
                </c:pt>
                <c:pt idx="1146">
                  <c:v>-20.100000000000051</c:v>
                </c:pt>
                <c:pt idx="1147">
                  <c:v>-23.4</c:v>
                </c:pt>
                <c:pt idx="1148">
                  <c:v>-26.100000000000012</c:v>
                </c:pt>
                <c:pt idx="1149">
                  <c:v>-26.700000000000035</c:v>
                </c:pt>
                <c:pt idx="1150">
                  <c:v>-24.699999999999989</c:v>
                </c:pt>
                <c:pt idx="1151">
                  <c:v>-19.999999999999929</c:v>
                </c:pt>
                <c:pt idx="1152">
                  <c:v>-15.200000000000014</c:v>
                </c:pt>
                <c:pt idx="1153">
                  <c:v>-17.499999999999982</c:v>
                </c:pt>
                <c:pt idx="1154">
                  <c:v>-21.699999999999964</c:v>
                </c:pt>
                <c:pt idx="1155">
                  <c:v>-24.699999999999989</c:v>
                </c:pt>
                <c:pt idx="1156">
                  <c:v>-24.900000000000055</c:v>
                </c:pt>
                <c:pt idx="1157">
                  <c:v>-21.300000000000008</c:v>
                </c:pt>
                <c:pt idx="1158">
                  <c:v>-16.099999999999959</c:v>
                </c:pt>
                <c:pt idx="1159">
                  <c:v>-14.400000000000013</c:v>
                </c:pt>
                <c:pt idx="1160">
                  <c:v>-19.200000000000017</c:v>
                </c:pt>
                <c:pt idx="1161">
                  <c:v>-22.199999999999953</c:v>
                </c:pt>
                <c:pt idx="1162">
                  <c:v>-20.000000000000018</c:v>
                </c:pt>
                <c:pt idx="1163">
                  <c:v>-20.000000000000018</c:v>
                </c:pt>
                <c:pt idx="1164">
                  <c:v>-22.399999999999931</c:v>
                </c:pt>
                <c:pt idx="1165">
                  <c:v>-22.800000000000065</c:v>
                </c:pt>
                <c:pt idx="1166">
                  <c:v>-22.599999999999998</c:v>
                </c:pt>
                <c:pt idx="1167">
                  <c:v>-22.000000000000064</c:v>
                </c:pt>
                <c:pt idx="1168">
                  <c:v>-27.999999999999936</c:v>
                </c:pt>
                <c:pt idx="1169">
                  <c:v>-27.10000000000008</c:v>
                </c:pt>
                <c:pt idx="1170">
                  <c:v>-26.699999999999946</c:v>
                </c:pt>
                <c:pt idx="1171">
                  <c:v>-28.200000000000003</c:v>
                </c:pt>
                <c:pt idx="1172">
                  <c:v>-33.100000000000037</c:v>
                </c:pt>
                <c:pt idx="1173">
                  <c:v>-34.999999999999964</c:v>
                </c:pt>
                <c:pt idx="1174">
                  <c:v>-37.699999999999974</c:v>
                </c:pt>
                <c:pt idx="1175">
                  <c:v>-37.699999999999974</c:v>
                </c:pt>
                <c:pt idx="1176">
                  <c:v>-32.000000000000028</c:v>
                </c:pt>
                <c:pt idx="1177">
                  <c:v>-24.399999999999977</c:v>
                </c:pt>
                <c:pt idx="1178">
                  <c:v>-24.699999999999989</c:v>
                </c:pt>
                <c:pt idx="1179">
                  <c:v>-23.299999999999965</c:v>
                </c:pt>
                <c:pt idx="1180">
                  <c:v>-26.900000000000013</c:v>
                </c:pt>
                <c:pt idx="1181">
                  <c:v>-30.100000000000016</c:v>
                </c:pt>
                <c:pt idx="1182">
                  <c:v>-29.199999999999982</c:v>
                </c:pt>
                <c:pt idx="1183">
                  <c:v>-28.900000000000059</c:v>
                </c:pt>
                <c:pt idx="1184">
                  <c:v>-33.199999999999989</c:v>
                </c:pt>
                <c:pt idx="1185">
                  <c:v>-29.100000000000037</c:v>
                </c:pt>
                <c:pt idx="1186">
                  <c:v>-29.899999999999949</c:v>
                </c:pt>
                <c:pt idx="1187">
                  <c:v>-28.699999999999992</c:v>
                </c:pt>
                <c:pt idx="1188">
                  <c:v>-30.100000000000016</c:v>
                </c:pt>
                <c:pt idx="1189">
                  <c:v>-35.400000000000006</c:v>
                </c:pt>
                <c:pt idx="1190">
                  <c:v>-36.000000000000028</c:v>
                </c:pt>
                <c:pt idx="1191">
                  <c:v>-36.399999999999991</c:v>
                </c:pt>
                <c:pt idx="1192">
                  <c:v>-36.399999999999991</c:v>
                </c:pt>
                <c:pt idx="1193">
                  <c:v>-33.800000000000011</c:v>
                </c:pt>
                <c:pt idx="1194">
                  <c:v>-33.5</c:v>
                </c:pt>
                <c:pt idx="1195">
                  <c:v>-36.20000000000001</c:v>
                </c:pt>
                <c:pt idx="1196">
                  <c:v>-37.5</c:v>
                </c:pt>
                <c:pt idx="1197">
                  <c:v>-29.299999999999926</c:v>
                </c:pt>
                <c:pt idx="1198">
                  <c:v>-28.800000000000026</c:v>
                </c:pt>
                <c:pt idx="1199">
                  <c:v>-17.700000000000049</c:v>
                </c:pt>
                <c:pt idx="1200">
                  <c:v>-12.199999999999989</c:v>
                </c:pt>
                <c:pt idx="1201">
                  <c:v>-14.100000000000001</c:v>
                </c:pt>
                <c:pt idx="1202">
                  <c:v>-17.100000000000026</c:v>
                </c:pt>
                <c:pt idx="1203">
                  <c:v>-17.100000000000026</c:v>
                </c:pt>
                <c:pt idx="1204">
                  <c:v>-13.399999999999945</c:v>
                </c:pt>
                <c:pt idx="1205">
                  <c:v>-17.100000000000026</c:v>
                </c:pt>
                <c:pt idx="1206">
                  <c:v>-13.499999999999979</c:v>
                </c:pt>
                <c:pt idx="1207">
                  <c:v>-15.299999999999958</c:v>
                </c:pt>
                <c:pt idx="1208">
                  <c:v>-10.400000000000009</c:v>
                </c:pt>
                <c:pt idx="1209">
                  <c:v>-5.7000000000000384</c:v>
                </c:pt>
                <c:pt idx="1210">
                  <c:v>1.1000000000000121</c:v>
                </c:pt>
                <c:pt idx="1211">
                  <c:v>-5.4999999999999716</c:v>
                </c:pt>
                <c:pt idx="1212">
                  <c:v>-7.099999999999973</c:v>
                </c:pt>
                <c:pt idx="1213">
                  <c:v>-5.7999999999999829</c:v>
                </c:pt>
                <c:pt idx="1214">
                  <c:v>-5.400000000000027</c:v>
                </c:pt>
                <c:pt idx="1215">
                  <c:v>-4.6999999999999709</c:v>
                </c:pt>
                <c:pt idx="1216">
                  <c:v>-1.7000000000000348</c:v>
                </c:pt>
                <c:pt idx="1217">
                  <c:v>11.399999999999988</c:v>
                </c:pt>
                <c:pt idx="1218">
                  <c:v>5.7000000000000384</c:v>
                </c:pt>
                <c:pt idx="1219">
                  <c:v>7.0000000000000284</c:v>
                </c:pt>
                <c:pt idx="1220">
                  <c:v>2.8999999999999915</c:v>
                </c:pt>
                <c:pt idx="1221">
                  <c:v>3.2000000000000028</c:v>
                </c:pt>
                <c:pt idx="1222">
                  <c:v>8.1000000000000405</c:v>
                </c:pt>
                <c:pt idx="1223">
                  <c:v>12.5</c:v>
                </c:pt>
                <c:pt idx="1224">
                  <c:v>22.599999999999998</c:v>
                </c:pt>
                <c:pt idx="1225">
                  <c:v>17.80000000000004</c:v>
                </c:pt>
                <c:pt idx="1226">
                  <c:v>19.999999999999972</c:v>
                </c:pt>
                <c:pt idx="1227">
                  <c:v>19.999999999999972</c:v>
                </c:pt>
                <c:pt idx="1228">
                  <c:v>25.100000000000033</c:v>
                </c:pt>
                <c:pt idx="1229">
                  <c:v>17.300000000000004</c:v>
                </c:pt>
                <c:pt idx="1230">
                  <c:v>19.399999999999995</c:v>
                </c:pt>
                <c:pt idx="1231">
                  <c:v>22.000000000000021</c:v>
                </c:pt>
                <c:pt idx="1232">
                  <c:v>15.600000000000014</c:v>
                </c:pt>
                <c:pt idx="1233">
                  <c:v>7.3999999999999844</c:v>
                </c:pt>
                <c:pt idx="1234">
                  <c:v>9.2999999999999972</c:v>
                </c:pt>
                <c:pt idx="1235">
                  <c:v>4.6999999999999709</c:v>
                </c:pt>
                <c:pt idx="1236">
                  <c:v>7.1000000000000174</c:v>
                </c:pt>
                <c:pt idx="1237">
                  <c:v>13.39999999999999</c:v>
                </c:pt>
                <c:pt idx="1238">
                  <c:v>11.899999999999977</c:v>
                </c:pt>
                <c:pt idx="1239">
                  <c:v>18.200000000000038</c:v>
                </c:pt>
                <c:pt idx="1240">
                  <c:v>17.09999999999998</c:v>
                </c:pt>
                <c:pt idx="1241">
                  <c:v>21.70000000000001</c:v>
                </c:pt>
                <c:pt idx="1242">
                  <c:v>26.29999999999999</c:v>
                </c:pt>
                <c:pt idx="1243">
                  <c:v>25.70000000000001</c:v>
                </c:pt>
                <c:pt idx="1244">
                  <c:v>28.800000000000026</c:v>
                </c:pt>
                <c:pt idx="1245">
                  <c:v>28.800000000000026</c:v>
                </c:pt>
                <c:pt idx="1246">
                  <c:v>25.399999999999956</c:v>
                </c:pt>
                <c:pt idx="1247">
                  <c:v>29.199999999999982</c:v>
                </c:pt>
                <c:pt idx="1248">
                  <c:v>27.200000000000024</c:v>
                </c:pt>
                <c:pt idx="1249">
                  <c:v>36.600000000000051</c:v>
                </c:pt>
                <c:pt idx="1250">
                  <c:v>32.600000000000051</c:v>
                </c:pt>
                <c:pt idx="1251">
                  <c:v>36.299999999999997</c:v>
                </c:pt>
                <c:pt idx="1252">
                  <c:v>31.800000000000004</c:v>
                </c:pt>
                <c:pt idx="1253">
                  <c:v>33.60000000000003</c:v>
                </c:pt>
                <c:pt idx="1254">
                  <c:v>40.400000000000034</c:v>
                </c:pt>
                <c:pt idx="1255">
                  <c:v>36.79999999999999</c:v>
                </c:pt>
                <c:pt idx="1256">
                  <c:v>35.999999999999986</c:v>
                </c:pt>
                <c:pt idx="1257">
                  <c:v>39.899999999999956</c:v>
                </c:pt>
                <c:pt idx="1258">
                  <c:v>46.600000000000023</c:v>
                </c:pt>
                <c:pt idx="1259">
                  <c:v>49.100000000000009</c:v>
                </c:pt>
                <c:pt idx="1260">
                  <c:v>50.4</c:v>
                </c:pt>
                <c:pt idx="1261">
                  <c:v>55.399999999999984</c:v>
                </c:pt>
                <c:pt idx="1262">
                  <c:v>58.500000000000043</c:v>
                </c:pt>
                <c:pt idx="1263">
                  <c:v>50.399999999999956</c:v>
                </c:pt>
                <c:pt idx="1264">
                  <c:v>54.299999999999969</c:v>
                </c:pt>
                <c:pt idx="1265">
                  <c:v>47.900000000000055</c:v>
                </c:pt>
                <c:pt idx="1266">
                  <c:v>46.600000000000023</c:v>
                </c:pt>
                <c:pt idx="1267">
                  <c:v>49.799999999999976</c:v>
                </c:pt>
                <c:pt idx="1268">
                  <c:v>47.799999999999976</c:v>
                </c:pt>
                <c:pt idx="1269">
                  <c:v>34.299999999999955</c:v>
                </c:pt>
                <c:pt idx="1270">
                  <c:v>31.400000000000006</c:v>
                </c:pt>
                <c:pt idx="1271">
                  <c:v>33.799999999999962</c:v>
                </c:pt>
                <c:pt idx="1272">
                  <c:v>32.500000000000014</c:v>
                </c:pt>
                <c:pt idx="1273">
                  <c:v>39.499999999999957</c:v>
                </c:pt>
                <c:pt idx="1274">
                  <c:v>44.999999999999972</c:v>
                </c:pt>
                <c:pt idx="1275">
                  <c:v>44.999999999999972</c:v>
                </c:pt>
                <c:pt idx="1276">
                  <c:v>35.700000000000017</c:v>
                </c:pt>
                <c:pt idx="1277">
                  <c:v>36.100000000000023</c:v>
                </c:pt>
                <c:pt idx="1278">
                  <c:v>41.1</c:v>
                </c:pt>
                <c:pt idx="1279">
                  <c:v>44.199999999999974</c:v>
                </c:pt>
                <c:pt idx="1280">
                  <c:v>47.200000000000045</c:v>
                </c:pt>
                <c:pt idx="1281">
                  <c:v>46.10000000000003</c:v>
                </c:pt>
                <c:pt idx="1282">
                  <c:v>43.200000000000038</c:v>
                </c:pt>
                <c:pt idx="1283">
                  <c:v>40.300000000000047</c:v>
                </c:pt>
                <c:pt idx="1284">
                  <c:v>39.899999999999913</c:v>
                </c:pt>
                <c:pt idx="1285">
                  <c:v>39.1</c:v>
                </c:pt>
                <c:pt idx="1286">
                  <c:v>39.499999999999957</c:v>
                </c:pt>
                <c:pt idx="1287">
                  <c:v>32.699999999999996</c:v>
                </c:pt>
                <c:pt idx="1288">
                  <c:v>31.49999999999995</c:v>
                </c:pt>
                <c:pt idx="1289">
                  <c:v>36.30000000000004</c:v>
                </c:pt>
                <c:pt idx="1290">
                  <c:v>31.599999999999984</c:v>
                </c:pt>
                <c:pt idx="1291">
                  <c:v>24.900000000000055</c:v>
                </c:pt>
                <c:pt idx="1292">
                  <c:v>32.899999999999977</c:v>
                </c:pt>
                <c:pt idx="1293">
                  <c:v>34.100000000000023</c:v>
                </c:pt>
                <c:pt idx="1294">
                  <c:v>20.199999999999996</c:v>
                </c:pt>
                <c:pt idx="1295">
                  <c:v>20.199999999999996</c:v>
                </c:pt>
                <c:pt idx="1296">
                  <c:v>23.300000000000054</c:v>
                </c:pt>
                <c:pt idx="1297">
                  <c:v>36.79999999999994</c:v>
                </c:pt>
                <c:pt idx="1298">
                  <c:v>24.500000000000011</c:v>
                </c:pt>
                <c:pt idx="1299">
                  <c:v>30.600000000000005</c:v>
                </c:pt>
                <c:pt idx="1300">
                  <c:v>32.30000000000004</c:v>
                </c:pt>
                <c:pt idx="1301">
                  <c:v>30.100000000000016</c:v>
                </c:pt>
                <c:pt idx="1302">
                  <c:v>27.700000000000014</c:v>
                </c:pt>
                <c:pt idx="1303">
                  <c:v>25.400000000000045</c:v>
                </c:pt>
                <c:pt idx="1304">
                  <c:v>22.200000000000042</c:v>
                </c:pt>
                <c:pt idx="1305">
                  <c:v>18.900000000000006</c:v>
                </c:pt>
              </c:numCache>
            </c:numRef>
          </c:val>
          <c:smooth val="0"/>
          <c:extLst>
            <c:ext xmlns:c16="http://schemas.microsoft.com/office/drawing/2014/chart" uri="{C3380CC4-5D6E-409C-BE32-E72D297353CC}">
              <c16:uniqueId val="{00000001-4396-4002-A4F0-4449E5913FD1}"/>
            </c:ext>
          </c:extLst>
        </c:ser>
        <c:dLbls>
          <c:showLegendKey val="0"/>
          <c:showVal val="0"/>
          <c:showCatName val="0"/>
          <c:showSerName val="0"/>
          <c:showPercent val="0"/>
          <c:showBubbleSize val="0"/>
        </c:dLbls>
        <c:smooth val="0"/>
        <c:axId val="1848379984"/>
        <c:axId val="498850352"/>
      </c:lineChart>
      <c:dateAx>
        <c:axId val="1848379984"/>
        <c:scaling>
          <c:orientation val="minMax"/>
        </c:scaling>
        <c:delete val="0"/>
        <c:axPos val="b"/>
        <c:numFmt formatCode="[$-407]mmm\.\ 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98850352"/>
        <c:crosses val="autoZero"/>
        <c:auto val="0"/>
        <c:lblOffset val="100"/>
        <c:baseTimeUnit val="days"/>
        <c:majorUnit val="12"/>
        <c:majorTimeUnit val="months"/>
      </c:dateAx>
      <c:valAx>
        <c:axId val="4988503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8483799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de-DE" dirty="0"/>
              <a:t>EUR-Unternehmensanleihen (Rendite)</a:t>
            </a:r>
          </a:p>
        </c:rich>
      </c:tx>
      <c:layout>
        <c:manualLayout>
          <c:xMode val="edge"/>
          <c:yMode val="edge"/>
          <c:x val="0.2500170468382174"/>
          <c:y val="1.7426532510716537E-2"/>
        </c:manualLayout>
      </c:layout>
      <c:overlay val="0"/>
      <c:spPr>
        <a:noFill/>
        <a:ln>
          <a:noFill/>
        </a:ln>
        <a:effectLst/>
      </c:spPr>
    </c:title>
    <c:autoTitleDeleted val="0"/>
    <c:plotArea>
      <c:layout>
        <c:manualLayout>
          <c:layoutTarget val="inner"/>
          <c:xMode val="edge"/>
          <c:yMode val="edge"/>
          <c:x val="0.30684146440457827"/>
          <c:y val="0.10703418391446963"/>
          <c:w val="0.36730398390922786"/>
          <c:h val="0.65473471444378029"/>
        </c:manualLayout>
      </c:layout>
      <c:doughnutChart>
        <c:varyColors val="1"/>
        <c:ser>
          <c:idx val="0"/>
          <c:order val="0"/>
          <c:tx>
            <c:strRef>
              <c:f>Sheet1!$O$36</c:f>
              <c:strCache>
                <c:ptCount val="1"/>
                <c:pt idx="0">
                  <c:v>EUR Unternehmensanleihen</c:v>
                </c:pt>
              </c:strCache>
            </c:strRef>
          </c:tx>
          <c:explosion val="1"/>
          <c:cat>
            <c:strRef>
              <c:f>Sheet1!$M$37:$M$46</c:f>
              <c:strCache>
                <c:ptCount val="10"/>
                <c:pt idx="0">
                  <c:v>Finanzen (3,31%)</c:v>
                </c:pt>
                <c:pt idx="1">
                  <c:v>Grundstoffe (3,18%)</c:v>
                </c:pt>
                <c:pt idx="2">
                  <c:v>Konsumgüter (3,25%)</c:v>
                </c:pt>
                <c:pt idx="3">
                  <c:v>Konsumentendienstl. (3,17%)</c:v>
                </c:pt>
                <c:pt idx="4">
                  <c:v>Gesundheit (3,20%)</c:v>
                </c:pt>
                <c:pt idx="5">
                  <c:v>Industrie (3,17%)</c:v>
                </c:pt>
                <c:pt idx="6">
                  <c:v>Energie (3,36%)</c:v>
                </c:pt>
                <c:pt idx="7">
                  <c:v>Versorger (3,36%)</c:v>
                </c:pt>
                <c:pt idx="8">
                  <c:v>Technologie (3,13%)</c:v>
                </c:pt>
                <c:pt idx="9">
                  <c:v>Telekommunikation (3,23%)</c:v>
                </c:pt>
              </c:strCache>
            </c:strRef>
          </c:cat>
          <c:val>
            <c:numRef>
              <c:f>Sheet1!$O$37:$O$46</c:f>
              <c:numCache>
                <c:formatCode>0%</c:formatCode>
                <c:ptCount val="10"/>
                <c:pt idx="0">
                  <c:v>0.42625112026694495</c:v>
                </c:pt>
                <c:pt idx="1">
                  <c:v>2.822617103554053E-2</c:v>
                </c:pt>
                <c:pt idx="2">
                  <c:v>0.1264432664407254</c:v>
                </c:pt>
                <c:pt idx="3">
                  <c:v>4.1728821921898085E-2</c:v>
                </c:pt>
                <c:pt idx="4">
                  <c:v>5.7746351942568865E-2</c:v>
                </c:pt>
                <c:pt idx="5">
                  <c:v>9.8567141394410765E-2</c:v>
                </c:pt>
                <c:pt idx="6">
                  <c:v>3.5557090257639049E-2</c:v>
                </c:pt>
                <c:pt idx="7">
                  <c:v>0.11085553353492685</c:v>
                </c:pt>
                <c:pt idx="8">
                  <c:v>2.1616329035360069E-2</c:v>
                </c:pt>
                <c:pt idx="9">
                  <c:v>5.3008174169988827E-2</c:v>
                </c:pt>
              </c:numCache>
            </c:numRef>
          </c:val>
          <c:extLst>
            <c:ext xmlns:c16="http://schemas.microsoft.com/office/drawing/2014/chart" uri="{C3380CC4-5D6E-409C-BE32-E72D297353CC}">
              <c16:uniqueId val="{00000000-351A-4D8F-926E-97C7D221F700}"/>
            </c:ext>
          </c:extLst>
        </c:ser>
        <c:dLbls>
          <c:showLegendKey val="0"/>
          <c:showVal val="0"/>
          <c:showCatName val="0"/>
          <c:showSerName val="0"/>
          <c:showPercent val="0"/>
          <c:showBubbleSize val="0"/>
          <c:showLeaderLines val="0"/>
        </c:dLbls>
        <c:firstSliceAng val="0"/>
        <c:holeSize val="46"/>
      </c:doughnutChart>
      <c:spPr>
        <a:noFill/>
        <a:ln>
          <a:noFill/>
        </a:ln>
        <a:effectLst/>
      </c:spPr>
    </c:plotArea>
    <c:legend>
      <c:legendPos val="b"/>
      <c:layout>
        <c:manualLayout>
          <c:xMode val="edge"/>
          <c:yMode val="edge"/>
          <c:x val="0"/>
          <c:y val="0.76449037620297466"/>
          <c:w val="1"/>
          <c:h val="0.2308799941673957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w="9525" cap="flat" cmpd="sng" algn="ctr">
      <a:noFill/>
      <a:round/>
    </a:ln>
    <a:effectLst/>
  </c:spPr>
  <c:txPr>
    <a:bodyPr/>
    <a:lstStyle/>
    <a:p>
      <a:pPr>
        <a:defRPr>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317910003517598E-2"/>
          <c:y val="3.0314519103119889E-2"/>
          <c:w val="0.84629650675108914"/>
          <c:h val="0.71464530186063147"/>
        </c:manualLayout>
      </c:layout>
      <c:lineChart>
        <c:grouping val="standard"/>
        <c:varyColors val="0"/>
        <c:ser>
          <c:idx val="0"/>
          <c:order val="0"/>
          <c:tx>
            <c:strRef>
              <c:f>Sheet1!$H$2</c:f>
              <c:strCache>
                <c:ptCount val="1"/>
                <c:pt idx="0">
                  <c:v>Citi economic surprise index* - USA (links)</c:v>
                </c:pt>
              </c:strCache>
            </c:strRef>
          </c:tx>
          <c:spPr>
            <a:ln w="28575" cap="rnd">
              <a:solidFill>
                <a:schemeClr val="accent1"/>
              </a:solidFill>
              <a:round/>
            </a:ln>
            <a:effectLst/>
          </c:spPr>
          <c:marker>
            <c:symbol val="none"/>
          </c:marker>
          <c:cat>
            <c:numRef>
              <c:f>Sheet1!$G$5:$G$788</c:f>
              <c:numCache>
                <c:formatCode>m/d/yyyy</c:formatCode>
                <c:ptCount val="784"/>
                <c:pt idx="0">
                  <c:v>45621</c:v>
                </c:pt>
                <c:pt idx="1">
                  <c:v>45618</c:v>
                </c:pt>
                <c:pt idx="2">
                  <c:v>45617</c:v>
                </c:pt>
                <c:pt idx="3">
                  <c:v>45616</c:v>
                </c:pt>
                <c:pt idx="4">
                  <c:v>45615</c:v>
                </c:pt>
                <c:pt idx="5">
                  <c:v>45614</c:v>
                </c:pt>
                <c:pt idx="6">
                  <c:v>45611</c:v>
                </c:pt>
                <c:pt idx="7">
                  <c:v>45610</c:v>
                </c:pt>
                <c:pt idx="8">
                  <c:v>45609</c:v>
                </c:pt>
                <c:pt idx="9">
                  <c:v>45608</c:v>
                </c:pt>
                <c:pt idx="10">
                  <c:v>45607</c:v>
                </c:pt>
                <c:pt idx="11">
                  <c:v>45604</c:v>
                </c:pt>
                <c:pt idx="12">
                  <c:v>45603</c:v>
                </c:pt>
                <c:pt idx="13">
                  <c:v>45602</c:v>
                </c:pt>
                <c:pt idx="14">
                  <c:v>45601</c:v>
                </c:pt>
                <c:pt idx="15">
                  <c:v>45600</c:v>
                </c:pt>
                <c:pt idx="16">
                  <c:v>45597</c:v>
                </c:pt>
                <c:pt idx="17">
                  <c:v>45596</c:v>
                </c:pt>
                <c:pt idx="18">
                  <c:v>45595</c:v>
                </c:pt>
                <c:pt idx="19">
                  <c:v>45594</c:v>
                </c:pt>
                <c:pt idx="20">
                  <c:v>45593</c:v>
                </c:pt>
                <c:pt idx="21">
                  <c:v>45590</c:v>
                </c:pt>
                <c:pt idx="22">
                  <c:v>45589</c:v>
                </c:pt>
                <c:pt idx="23">
                  <c:v>45588</c:v>
                </c:pt>
                <c:pt idx="24">
                  <c:v>45587</c:v>
                </c:pt>
                <c:pt idx="25">
                  <c:v>45586</c:v>
                </c:pt>
                <c:pt idx="26">
                  <c:v>45583</c:v>
                </c:pt>
                <c:pt idx="27">
                  <c:v>45582</c:v>
                </c:pt>
                <c:pt idx="28">
                  <c:v>45581</c:v>
                </c:pt>
                <c:pt idx="29">
                  <c:v>45580</c:v>
                </c:pt>
                <c:pt idx="30">
                  <c:v>45579</c:v>
                </c:pt>
                <c:pt idx="31">
                  <c:v>45576</c:v>
                </c:pt>
                <c:pt idx="32">
                  <c:v>45575</c:v>
                </c:pt>
                <c:pt idx="33">
                  <c:v>45574</c:v>
                </c:pt>
                <c:pt idx="34">
                  <c:v>45573</c:v>
                </c:pt>
                <c:pt idx="35">
                  <c:v>45572</c:v>
                </c:pt>
                <c:pt idx="36">
                  <c:v>45569</c:v>
                </c:pt>
                <c:pt idx="37">
                  <c:v>45568</c:v>
                </c:pt>
                <c:pt idx="38">
                  <c:v>45567</c:v>
                </c:pt>
                <c:pt idx="39">
                  <c:v>45566</c:v>
                </c:pt>
                <c:pt idx="40">
                  <c:v>45565</c:v>
                </c:pt>
                <c:pt idx="41">
                  <c:v>45562</c:v>
                </c:pt>
                <c:pt idx="42">
                  <c:v>45561</c:v>
                </c:pt>
                <c:pt idx="43">
                  <c:v>45560</c:v>
                </c:pt>
                <c:pt idx="44">
                  <c:v>45559</c:v>
                </c:pt>
                <c:pt idx="45">
                  <c:v>45558</c:v>
                </c:pt>
                <c:pt idx="46">
                  <c:v>45555</c:v>
                </c:pt>
                <c:pt idx="47">
                  <c:v>45554</c:v>
                </c:pt>
                <c:pt idx="48">
                  <c:v>45553</c:v>
                </c:pt>
                <c:pt idx="49">
                  <c:v>45552</c:v>
                </c:pt>
                <c:pt idx="50">
                  <c:v>45551</c:v>
                </c:pt>
                <c:pt idx="51">
                  <c:v>45548</c:v>
                </c:pt>
                <c:pt idx="52">
                  <c:v>45547</c:v>
                </c:pt>
                <c:pt idx="53">
                  <c:v>45546</c:v>
                </c:pt>
                <c:pt idx="54">
                  <c:v>45545</c:v>
                </c:pt>
                <c:pt idx="55">
                  <c:v>45544</c:v>
                </c:pt>
                <c:pt idx="56">
                  <c:v>45541</c:v>
                </c:pt>
                <c:pt idx="57">
                  <c:v>45540</c:v>
                </c:pt>
                <c:pt idx="58">
                  <c:v>45539</c:v>
                </c:pt>
                <c:pt idx="59">
                  <c:v>45538</c:v>
                </c:pt>
                <c:pt idx="60">
                  <c:v>45537</c:v>
                </c:pt>
                <c:pt idx="61">
                  <c:v>45534</c:v>
                </c:pt>
                <c:pt idx="62">
                  <c:v>45533</c:v>
                </c:pt>
                <c:pt idx="63">
                  <c:v>45532</c:v>
                </c:pt>
                <c:pt idx="64">
                  <c:v>45531</c:v>
                </c:pt>
                <c:pt idx="65">
                  <c:v>45530</c:v>
                </c:pt>
                <c:pt idx="66">
                  <c:v>45527</c:v>
                </c:pt>
                <c:pt idx="67">
                  <c:v>45526</c:v>
                </c:pt>
                <c:pt idx="68">
                  <c:v>45525</c:v>
                </c:pt>
                <c:pt idx="69">
                  <c:v>45524</c:v>
                </c:pt>
                <c:pt idx="70">
                  <c:v>45523</c:v>
                </c:pt>
                <c:pt idx="71">
                  <c:v>45520</c:v>
                </c:pt>
                <c:pt idx="72">
                  <c:v>45519</c:v>
                </c:pt>
                <c:pt idx="73">
                  <c:v>45518</c:v>
                </c:pt>
                <c:pt idx="74">
                  <c:v>45517</c:v>
                </c:pt>
                <c:pt idx="75">
                  <c:v>45516</c:v>
                </c:pt>
                <c:pt idx="76">
                  <c:v>45513</c:v>
                </c:pt>
                <c:pt idx="77">
                  <c:v>45512</c:v>
                </c:pt>
                <c:pt idx="78">
                  <c:v>45511</c:v>
                </c:pt>
                <c:pt idx="79">
                  <c:v>45510</c:v>
                </c:pt>
                <c:pt idx="80">
                  <c:v>45509</c:v>
                </c:pt>
                <c:pt idx="81">
                  <c:v>45506</c:v>
                </c:pt>
                <c:pt idx="82">
                  <c:v>45505</c:v>
                </c:pt>
                <c:pt idx="83">
                  <c:v>45504</c:v>
                </c:pt>
                <c:pt idx="84">
                  <c:v>45503</c:v>
                </c:pt>
                <c:pt idx="85">
                  <c:v>45502</c:v>
                </c:pt>
                <c:pt idx="86">
                  <c:v>45499</c:v>
                </c:pt>
                <c:pt idx="87">
                  <c:v>45498</c:v>
                </c:pt>
                <c:pt idx="88">
                  <c:v>45497</c:v>
                </c:pt>
                <c:pt idx="89">
                  <c:v>45496</c:v>
                </c:pt>
                <c:pt idx="90">
                  <c:v>45495</c:v>
                </c:pt>
                <c:pt idx="91">
                  <c:v>45492</c:v>
                </c:pt>
                <c:pt idx="92">
                  <c:v>45491</c:v>
                </c:pt>
                <c:pt idx="93">
                  <c:v>45490</c:v>
                </c:pt>
                <c:pt idx="94">
                  <c:v>45489</c:v>
                </c:pt>
                <c:pt idx="95">
                  <c:v>45488</c:v>
                </c:pt>
                <c:pt idx="96">
                  <c:v>45485</c:v>
                </c:pt>
                <c:pt idx="97">
                  <c:v>45484</c:v>
                </c:pt>
                <c:pt idx="98">
                  <c:v>45483</c:v>
                </c:pt>
                <c:pt idx="99">
                  <c:v>45482</c:v>
                </c:pt>
                <c:pt idx="100">
                  <c:v>45481</c:v>
                </c:pt>
                <c:pt idx="101">
                  <c:v>45478</c:v>
                </c:pt>
                <c:pt idx="102">
                  <c:v>45477</c:v>
                </c:pt>
                <c:pt idx="103">
                  <c:v>45476</c:v>
                </c:pt>
                <c:pt idx="104">
                  <c:v>45475</c:v>
                </c:pt>
                <c:pt idx="105">
                  <c:v>45474</c:v>
                </c:pt>
                <c:pt idx="106">
                  <c:v>45471</c:v>
                </c:pt>
                <c:pt idx="107">
                  <c:v>45470</c:v>
                </c:pt>
                <c:pt idx="108">
                  <c:v>45469</c:v>
                </c:pt>
                <c:pt idx="109">
                  <c:v>45468</c:v>
                </c:pt>
                <c:pt idx="110">
                  <c:v>45467</c:v>
                </c:pt>
                <c:pt idx="111">
                  <c:v>45464</c:v>
                </c:pt>
                <c:pt idx="112">
                  <c:v>45463</c:v>
                </c:pt>
                <c:pt idx="113">
                  <c:v>45462</c:v>
                </c:pt>
                <c:pt idx="114">
                  <c:v>45461</c:v>
                </c:pt>
                <c:pt idx="115">
                  <c:v>45460</c:v>
                </c:pt>
                <c:pt idx="116">
                  <c:v>45457</c:v>
                </c:pt>
                <c:pt idx="117">
                  <c:v>45456</c:v>
                </c:pt>
                <c:pt idx="118">
                  <c:v>45455</c:v>
                </c:pt>
                <c:pt idx="119">
                  <c:v>45454</c:v>
                </c:pt>
                <c:pt idx="120">
                  <c:v>45453</c:v>
                </c:pt>
                <c:pt idx="121">
                  <c:v>45450</c:v>
                </c:pt>
                <c:pt idx="122">
                  <c:v>45449</c:v>
                </c:pt>
                <c:pt idx="123">
                  <c:v>45448</c:v>
                </c:pt>
                <c:pt idx="124">
                  <c:v>45447</c:v>
                </c:pt>
                <c:pt idx="125">
                  <c:v>45446</c:v>
                </c:pt>
                <c:pt idx="126">
                  <c:v>45443</c:v>
                </c:pt>
                <c:pt idx="127">
                  <c:v>45442</c:v>
                </c:pt>
                <c:pt idx="128">
                  <c:v>45441</c:v>
                </c:pt>
                <c:pt idx="129">
                  <c:v>45440</c:v>
                </c:pt>
                <c:pt idx="130">
                  <c:v>45439</c:v>
                </c:pt>
                <c:pt idx="131">
                  <c:v>45436</c:v>
                </c:pt>
                <c:pt idx="132">
                  <c:v>45435</c:v>
                </c:pt>
                <c:pt idx="133">
                  <c:v>45434</c:v>
                </c:pt>
                <c:pt idx="134">
                  <c:v>45433</c:v>
                </c:pt>
                <c:pt idx="135">
                  <c:v>45432</c:v>
                </c:pt>
                <c:pt idx="136">
                  <c:v>45429</c:v>
                </c:pt>
                <c:pt idx="137">
                  <c:v>45428</c:v>
                </c:pt>
                <c:pt idx="138">
                  <c:v>45427</c:v>
                </c:pt>
                <c:pt idx="139">
                  <c:v>45426</c:v>
                </c:pt>
                <c:pt idx="140">
                  <c:v>45425</c:v>
                </c:pt>
                <c:pt idx="141">
                  <c:v>45422</c:v>
                </c:pt>
                <c:pt idx="142">
                  <c:v>45421</c:v>
                </c:pt>
                <c:pt idx="143">
                  <c:v>45420</c:v>
                </c:pt>
                <c:pt idx="144">
                  <c:v>45419</c:v>
                </c:pt>
                <c:pt idx="145">
                  <c:v>45418</c:v>
                </c:pt>
                <c:pt idx="146">
                  <c:v>45415</c:v>
                </c:pt>
                <c:pt idx="147">
                  <c:v>45414</c:v>
                </c:pt>
                <c:pt idx="148">
                  <c:v>45413</c:v>
                </c:pt>
                <c:pt idx="149">
                  <c:v>45412</c:v>
                </c:pt>
                <c:pt idx="150">
                  <c:v>45411</c:v>
                </c:pt>
                <c:pt idx="151">
                  <c:v>45408</c:v>
                </c:pt>
                <c:pt idx="152">
                  <c:v>45407</c:v>
                </c:pt>
                <c:pt idx="153">
                  <c:v>45406</c:v>
                </c:pt>
                <c:pt idx="154">
                  <c:v>45405</c:v>
                </c:pt>
                <c:pt idx="155">
                  <c:v>45404</c:v>
                </c:pt>
                <c:pt idx="156">
                  <c:v>45401</c:v>
                </c:pt>
                <c:pt idx="157">
                  <c:v>45400</c:v>
                </c:pt>
                <c:pt idx="158">
                  <c:v>45399</c:v>
                </c:pt>
                <c:pt idx="159">
                  <c:v>45398</c:v>
                </c:pt>
                <c:pt idx="160">
                  <c:v>45397</c:v>
                </c:pt>
                <c:pt idx="161">
                  <c:v>45394</c:v>
                </c:pt>
                <c:pt idx="162">
                  <c:v>45393</c:v>
                </c:pt>
                <c:pt idx="163">
                  <c:v>45392</c:v>
                </c:pt>
                <c:pt idx="164">
                  <c:v>45391</c:v>
                </c:pt>
                <c:pt idx="165">
                  <c:v>45390</c:v>
                </c:pt>
                <c:pt idx="166">
                  <c:v>45387</c:v>
                </c:pt>
                <c:pt idx="167">
                  <c:v>45386</c:v>
                </c:pt>
                <c:pt idx="168">
                  <c:v>45385</c:v>
                </c:pt>
                <c:pt idx="169">
                  <c:v>45384</c:v>
                </c:pt>
                <c:pt idx="170">
                  <c:v>45383</c:v>
                </c:pt>
                <c:pt idx="171">
                  <c:v>45380</c:v>
                </c:pt>
                <c:pt idx="172">
                  <c:v>45379</c:v>
                </c:pt>
                <c:pt idx="173">
                  <c:v>45378</c:v>
                </c:pt>
                <c:pt idx="174">
                  <c:v>45377</c:v>
                </c:pt>
                <c:pt idx="175">
                  <c:v>45376</c:v>
                </c:pt>
                <c:pt idx="176">
                  <c:v>45373</c:v>
                </c:pt>
                <c:pt idx="177">
                  <c:v>45372</c:v>
                </c:pt>
                <c:pt idx="178">
                  <c:v>45371</c:v>
                </c:pt>
                <c:pt idx="179">
                  <c:v>45370</c:v>
                </c:pt>
                <c:pt idx="180">
                  <c:v>45369</c:v>
                </c:pt>
                <c:pt idx="181">
                  <c:v>45366</c:v>
                </c:pt>
                <c:pt idx="182">
                  <c:v>45365</c:v>
                </c:pt>
                <c:pt idx="183">
                  <c:v>45364</c:v>
                </c:pt>
                <c:pt idx="184">
                  <c:v>45363</c:v>
                </c:pt>
                <c:pt idx="185">
                  <c:v>45362</c:v>
                </c:pt>
                <c:pt idx="186">
                  <c:v>45359</c:v>
                </c:pt>
                <c:pt idx="187">
                  <c:v>45358</c:v>
                </c:pt>
                <c:pt idx="188">
                  <c:v>45357</c:v>
                </c:pt>
                <c:pt idx="189">
                  <c:v>45356</c:v>
                </c:pt>
                <c:pt idx="190">
                  <c:v>45355</c:v>
                </c:pt>
                <c:pt idx="191">
                  <c:v>45352</c:v>
                </c:pt>
                <c:pt idx="192">
                  <c:v>45351</c:v>
                </c:pt>
                <c:pt idx="193">
                  <c:v>45350</c:v>
                </c:pt>
                <c:pt idx="194">
                  <c:v>45349</c:v>
                </c:pt>
                <c:pt idx="195">
                  <c:v>45348</c:v>
                </c:pt>
                <c:pt idx="196">
                  <c:v>45345</c:v>
                </c:pt>
                <c:pt idx="197">
                  <c:v>45344</c:v>
                </c:pt>
                <c:pt idx="198">
                  <c:v>45343</c:v>
                </c:pt>
                <c:pt idx="199">
                  <c:v>45342</c:v>
                </c:pt>
                <c:pt idx="200">
                  <c:v>45341</c:v>
                </c:pt>
                <c:pt idx="201">
                  <c:v>45338</c:v>
                </c:pt>
                <c:pt idx="202">
                  <c:v>45337</c:v>
                </c:pt>
                <c:pt idx="203">
                  <c:v>45336</c:v>
                </c:pt>
                <c:pt idx="204">
                  <c:v>45335</c:v>
                </c:pt>
                <c:pt idx="205">
                  <c:v>45334</c:v>
                </c:pt>
                <c:pt idx="206">
                  <c:v>45331</c:v>
                </c:pt>
                <c:pt idx="207">
                  <c:v>45330</c:v>
                </c:pt>
                <c:pt idx="208">
                  <c:v>45329</c:v>
                </c:pt>
                <c:pt idx="209">
                  <c:v>45328</c:v>
                </c:pt>
                <c:pt idx="210">
                  <c:v>45327</c:v>
                </c:pt>
                <c:pt idx="211">
                  <c:v>45324</c:v>
                </c:pt>
                <c:pt idx="212">
                  <c:v>45323</c:v>
                </c:pt>
                <c:pt idx="213">
                  <c:v>45322</c:v>
                </c:pt>
                <c:pt idx="214">
                  <c:v>45321</c:v>
                </c:pt>
                <c:pt idx="215">
                  <c:v>45320</c:v>
                </c:pt>
                <c:pt idx="216">
                  <c:v>45317</c:v>
                </c:pt>
                <c:pt idx="217">
                  <c:v>45316</c:v>
                </c:pt>
                <c:pt idx="218">
                  <c:v>45315</c:v>
                </c:pt>
                <c:pt idx="219">
                  <c:v>45314</c:v>
                </c:pt>
                <c:pt idx="220">
                  <c:v>45313</c:v>
                </c:pt>
                <c:pt idx="221">
                  <c:v>45310</c:v>
                </c:pt>
                <c:pt idx="222">
                  <c:v>45309</c:v>
                </c:pt>
                <c:pt idx="223">
                  <c:v>45308</c:v>
                </c:pt>
                <c:pt idx="224">
                  <c:v>45307</c:v>
                </c:pt>
                <c:pt idx="225">
                  <c:v>45306</c:v>
                </c:pt>
                <c:pt idx="226">
                  <c:v>45303</c:v>
                </c:pt>
                <c:pt idx="227">
                  <c:v>45302</c:v>
                </c:pt>
                <c:pt idx="228">
                  <c:v>45301</c:v>
                </c:pt>
                <c:pt idx="229">
                  <c:v>45300</c:v>
                </c:pt>
                <c:pt idx="230">
                  <c:v>45299</c:v>
                </c:pt>
                <c:pt idx="231">
                  <c:v>45296</c:v>
                </c:pt>
                <c:pt idx="232">
                  <c:v>45295</c:v>
                </c:pt>
                <c:pt idx="233">
                  <c:v>45294</c:v>
                </c:pt>
                <c:pt idx="234">
                  <c:v>45293</c:v>
                </c:pt>
                <c:pt idx="235">
                  <c:v>45292</c:v>
                </c:pt>
                <c:pt idx="236">
                  <c:v>45289</c:v>
                </c:pt>
                <c:pt idx="237">
                  <c:v>45288</c:v>
                </c:pt>
                <c:pt idx="238">
                  <c:v>45287</c:v>
                </c:pt>
                <c:pt idx="239">
                  <c:v>45286</c:v>
                </c:pt>
                <c:pt idx="240">
                  <c:v>45285</c:v>
                </c:pt>
                <c:pt idx="241">
                  <c:v>45282</c:v>
                </c:pt>
                <c:pt idx="242">
                  <c:v>45281</c:v>
                </c:pt>
                <c:pt idx="243">
                  <c:v>45280</c:v>
                </c:pt>
                <c:pt idx="244">
                  <c:v>45279</c:v>
                </c:pt>
                <c:pt idx="245">
                  <c:v>45278</c:v>
                </c:pt>
                <c:pt idx="246">
                  <c:v>45275</c:v>
                </c:pt>
                <c:pt idx="247">
                  <c:v>45274</c:v>
                </c:pt>
                <c:pt idx="248">
                  <c:v>45273</c:v>
                </c:pt>
                <c:pt idx="249">
                  <c:v>45272</c:v>
                </c:pt>
                <c:pt idx="250">
                  <c:v>45271</c:v>
                </c:pt>
                <c:pt idx="251">
                  <c:v>45268</c:v>
                </c:pt>
                <c:pt idx="252">
                  <c:v>45267</c:v>
                </c:pt>
                <c:pt idx="253">
                  <c:v>45266</c:v>
                </c:pt>
                <c:pt idx="254">
                  <c:v>45265</c:v>
                </c:pt>
                <c:pt idx="255">
                  <c:v>45264</c:v>
                </c:pt>
                <c:pt idx="256">
                  <c:v>45261</c:v>
                </c:pt>
                <c:pt idx="257">
                  <c:v>45260</c:v>
                </c:pt>
                <c:pt idx="258">
                  <c:v>45259</c:v>
                </c:pt>
                <c:pt idx="259">
                  <c:v>45258</c:v>
                </c:pt>
                <c:pt idx="260">
                  <c:v>45257</c:v>
                </c:pt>
                <c:pt idx="261">
                  <c:v>45254</c:v>
                </c:pt>
                <c:pt idx="262">
                  <c:v>45253</c:v>
                </c:pt>
                <c:pt idx="263">
                  <c:v>45252</c:v>
                </c:pt>
                <c:pt idx="264">
                  <c:v>45251</c:v>
                </c:pt>
                <c:pt idx="265">
                  <c:v>45250</c:v>
                </c:pt>
                <c:pt idx="266">
                  <c:v>45247</c:v>
                </c:pt>
                <c:pt idx="267">
                  <c:v>45246</c:v>
                </c:pt>
                <c:pt idx="268">
                  <c:v>45245</c:v>
                </c:pt>
                <c:pt idx="269">
                  <c:v>45244</c:v>
                </c:pt>
                <c:pt idx="270">
                  <c:v>45243</c:v>
                </c:pt>
                <c:pt idx="271">
                  <c:v>45240</c:v>
                </c:pt>
                <c:pt idx="272">
                  <c:v>45239</c:v>
                </c:pt>
                <c:pt idx="273">
                  <c:v>45238</c:v>
                </c:pt>
                <c:pt idx="274">
                  <c:v>45237</c:v>
                </c:pt>
                <c:pt idx="275">
                  <c:v>45236</c:v>
                </c:pt>
                <c:pt idx="276">
                  <c:v>45233</c:v>
                </c:pt>
                <c:pt idx="277">
                  <c:v>45232</c:v>
                </c:pt>
                <c:pt idx="278">
                  <c:v>45231</c:v>
                </c:pt>
                <c:pt idx="279">
                  <c:v>45230</c:v>
                </c:pt>
                <c:pt idx="280">
                  <c:v>45229</c:v>
                </c:pt>
                <c:pt idx="281">
                  <c:v>45226</c:v>
                </c:pt>
                <c:pt idx="282">
                  <c:v>45225</c:v>
                </c:pt>
                <c:pt idx="283">
                  <c:v>45224</c:v>
                </c:pt>
                <c:pt idx="284">
                  <c:v>45223</c:v>
                </c:pt>
                <c:pt idx="285">
                  <c:v>45222</c:v>
                </c:pt>
                <c:pt idx="286">
                  <c:v>45219</c:v>
                </c:pt>
                <c:pt idx="287">
                  <c:v>45218</c:v>
                </c:pt>
                <c:pt idx="288">
                  <c:v>45217</c:v>
                </c:pt>
                <c:pt idx="289">
                  <c:v>45216</c:v>
                </c:pt>
                <c:pt idx="290">
                  <c:v>45215</c:v>
                </c:pt>
                <c:pt idx="291">
                  <c:v>45212</c:v>
                </c:pt>
                <c:pt idx="292">
                  <c:v>45211</c:v>
                </c:pt>
                <c:pt idx="293">
                  <c:v>45210</c:v>
                </c:pt>
                <c:pt idx="294">
                  <c:v>45209</c:v>
                </c:pt>
                <c:pt idx="295">
                  <c:v>45208</c:v>
                </c:pt>
                <c:pt idx="296">
                  <c:v>45205</c:v>
                </c:pt>
                <c:pt idx="297">
                  <c:v>45204</c:v>
                </c:pt>
                <c:pt idx="298">
                  <c:v>45203</c:v>
                </c:pt>
                <c:pt idx="299">
                  <c:v>45202</c:v>
                </c:pt>
                <c:pt idx="300">
                  <c:v>45201</c:v>
                </c:pt>
                <c:pt idx="301">
                  <c:v>45198</c:v>
                </c:pt>
                <c:pt idx="302">
                  <c:v>45197</c:v>
                </c:pt>
                <c:pt idx="303">
                  <c:v>45196</c:v>
                </c:pt>
                <c:pt idx="304">
                  <c:v>45195</c:v>
                </c:pt>
                <c:pt idx="305">
                  <c:v>45194</c:v>
                </c:pt>
                <c:pt idx="306">
                  <c:v>45191</c:v>
                </c:pt>
                <c:pt idx="307">
                  <c:v>45190</c:v>
                </c:pt>
                <c:pt idx="308">
                  <c:v>45189</c:v>
                </c:pt>
                <c:pt idx="309">
                  <c:v>45188</c:v>
                </c:pt>
                <c:pt idx="310">
                  <c:v>45187</c:v>
                </c:pt>
                <c:pt idx="311">
                  <c:v>45184</c:v>
                </c:pt>
                <c:pt idx="312">
                  <c:v>45183</c:v>
                </c:pt>
                <c:pt idx="313">
                  <c:v>45182</c:v>
                </c:pt>
                <c:pt idx="314">
                  <c:v>45181</c:v>
                </c:pt>
                <c:pt idx="315">
                  <c:v>45180</c:v>
                </c:pt>
                <c:pt idx="316">
                  <c:v>45177</c:v>
                </c:pt>
                <c:pt idx="317">
                  <c:v>45176</c:v>
                </c:pt>
                <c:pt idx="318">
                  <c:v>45175</c:v>
                </c:pt>
                <c:pt idx="319">
                  <c:v>45174</c:v>
                </c:pt>
                <c:pt idx="320">
                  <c:v>45173</c:v>
                </c:pt>
                <c:pt idx="321">
                  <c:v>45170</c:v>
                </c:pt>
                <c:pt idx="322">
                  <c:v>45169</c:v>
                </c:pt>
                <c:pt idx="323">
                  <c:v>45168</c:v>
                </c:pt>
                <c:pt idx="324">
                  <c:v>45167</c:v>
                </c:pt>
                <c:pt idx="325">
                  <c:v>45166</c:v>
                </c:pt>
                <c:pt idx="326">
                  <c:v>45163</c:v>
                </c:pt>
                <c:pt idx="327">
                  <c:v>45162</c:v>
                </c:pt>
                <c:pt idx="328">
                  <c:v>45161</c:v>
                </c:pt>
                <c:pt idx="329">
                  <c:v>45160</c:v>
                </c:pt>
                <c:pt idx="330">
                  <c:v>45159</c:v>
                </c:pt>
                <c:pt idx="331">
                  <c:v>45156</c:v>
                </c:pt>
                <c:pt idx="332">
                  <c:v>45155</c:v>
                </c:pt>
                <c:pt idx="333">
                  <c:v>45154</c:v>
                </c:pt>
                <c:pt idx="334">
                  <c:v>45153</c:v>
                </c:pt>
                <c:pt idx="335">
                  <c:v>45152</c:v>
                </c:pt>
                <c:pt idx="336">
                  <c:v>45149</c:v>
                </c:pt>
                <c:pt idx="337">
                  <c:v>45148</c:v>
                </c:pt>
                <c:pt idx="338">
                  <c:v>45147</c:v>
                </c:pt>
                <c:pt idx="339">
                  <c:v>45146</c:v>
                </c:pt>
                <c:pt idx="340">
                  <c:v>45145</c:v>
                </c:pt>
                <c:pt idx="341">
                  <c:v>45142</c:v>
                </c:pt>
                <c:pt idx="342">
                  <c:v>45141</c:v>
                </c:pt>
                <c:pt idx="343">
                  <c:v>45140</c:v>
                </c:pt>
                <c:pt idx="344">
                  <c:v>45139</c:v>
                </c:pt>
                <c:pt idx="345">
                  <c:v>45138</c:v>
                </c:pt>
                <c:pt idx="346">
                  <c:v>45135</c:v>
                </c:pt>
                <c:pt idx="347">
                  <c:v>45134</c:v>
                </c:pt>
                <c:pt idx="348">
                  <c:v>45133</c:v>
                </c:pt>
                <c:pt idx="349">
                  <c:v>45132</c:v>
                </c:pt>
                <c:pt idx="350">
                  <c:v>45131</c:v>
                </c:pt>
                <c:pt idx="351">
                  <c:v>45128</c:v>
                </c:pt>
                <c:pt idx="352">
                  <c:v>45127</c:v>
                </c:pt>
                <c:pt idx="353">
                  <c:v>45126</c:v>
                </c:pt>
                <c:pt idx="354">
                  <c:v>45125</c:v>
                </c:pt>
                <c:pt idx="355">
                  <c:v>45124</c:v>
                </c:pt>
                <c:pt idx="356">
                  <c:v>45121</c:v>
                </c:pt>
                <c:pt idx="357">
                  <c:v>45120</c:v>
                </c:pt>
                <c:pt idx="358">
                  <c:v>45119</c:v>
                </c:pt>
                <c:pt idx="359">
                  <c:v>45118</c:v>
                </c:pt>
                <c:pt idx="360">
                  <c:v>45117</c:v>
                </c:pt>
                <c:pt idx="361">
                  <c:v>45114</c:v>
                </c:pt>
                <c:pt idx="362">
                  <c:v>45113</c:v>
                </c:pt>
                <c:pt idx="363">
                  <c:v>45112</c:v>
                </c:pt>
                <c:pt idx="364">
                  <c:v>45111</c:v>
                </c:pt>
                <c:pt idx="365">
                  <c:v>45110</c:v>
                </c:pt>
                <c:pt idx="366">
                  <c:v>45107</c:v>
                </c:pt>
                <c:pt idx="367">
                  <c:v>45106</c:v>
                </c:pt>
                <c:pt idx="368">
                  <c:v>45105</c:v>
                </c:pt>
                <c:pt idx="369">
                  <c:v>45104</c:v>
                </c:pt>
                <c:pt idx="370">
                  <c:v>45103</c:v>
                </c:pt>
                <c:pt idx="371">
                  <c:v>45100</c:v>
                </c:pt>
                <c:pt idx="372">
                  <c:v>45099</c:v>
                </c:pt>
                <c:pt idx="373">
                  <c:v>45098</c:v>
                </c:pt>
                <c:pt idx="374">
                  <c:v>45097</c:v>
                </c:pt>
                <c:pt idx="375">
                  <c:v>45096</c:v>
                </c:pt>
                <c:pt idx="376">
                  <c:v>45093</c:v>
                </c:pt>
                <c:pt idx="377">
                  <c:v>45092</c:v>
                </c:pt>
                <c:pt idx="378">
                  <c:v>45091</c:v>
                </c:pt>
                <c:pt idx="379">
                  <c:v>45090</c:v>
                </c:pt>
                <c:pt idx="380">
                  <c:v>45089</c:v>
                </c:pt>
                <c:pt idx="381">
                  <c:v>45086</c:v>
                </c:pt>
                <c:pt idx="382">
                  <c:v>45085</c:v>
                </c:pt>
                <c:pt idx="383">
                  <c:v>45084</c:v>
                </c:pt>
                <c:pt idx="384">
                  <c:v>45083</c:v>
                </c:pt>
                <c:pt idx="385">
                  <c:v>45082</c:v>
                </c:pt>
                <c:pt idx="386">
                  <c:v>45079</c:v>
                </c:pt>
                <c:pt idx="387">
                  <c:v>45078</c:v>
                </c:pt>
                <c:pt idx="388">
                  <c:v>45077</c:v>
                </c:pt>
                <c:pt idx="389">
                  <c:v>45076</c:v>
                </c:pt>
                <c:pt idx="390">
                  <c:v>45075</c:v>
                </c:pt>
                <c:pt idx="391">
                  <c:v>45072</c:v>
                </c:pt>
                <c:pt idx="392">
                  <c:v>45071</c:v>
                </c:pt>
                <c:pt idx="393">
                  <c:v>45070</c:v>
                </c:pt>
                <c:pt idx="394">
                  <c:v>45069</c:v>
                </c:pt>
                <c:pt idx="395">
                  <c:v>45068</c:v>
                </c:pt>
                <c:pt idx="396">
                  <c:v>45065</c:v>
                </c:pt>
                <c:pt idx="397">
                  <c:v>45064</c:v>
                </c:pt>
                <c:pt idx="398">
                  <c:v>45063</c:v>
                </c:pt>
                <c:pt idx="399">
                  <c:v>45062</c:v>
                </c:pt>
                <c:pt idx="400">
                  <c:v>45061</c:v>
                </c:pt>
                <c:pt idx="401">
                  <c:v>45058</c:v>
                </c:pt>
                <c:pt idx="402">
                  <c:v>45057</c:v>
                </c:pt>
                <c:pt idx="403">
                  <c:v>45056</c:v>
                </c:pt>
                <c:pt idx="404">
                  <c:v>45055</c:v>
                </c:pt>
                <c:pt idx="405">
                  <c:v>45054</c:v>
                </c:pt>
                <c:pt idx="406">
                  <c:v>45051</c:v>
                </c:pt>
                <c:pt idx="407">
                  <c:v>45050</c:v>
                </c:pt>
                <c:pt idx="408">
                  <c:v>45049</c:v>
                </c:pt>
                <c:pt idx="409">
                  <c:v>45048</c:v>
                </c:pt>
                <c:pt idx="410">
                  <c:v>45047</c:v>
                </c:pt>
                <c:pt idx="411">
                  <c:v>45044</c:v>
                </c:pt>
                <c:pt idx="412">
                  <c:v>45043</c:v>
                </c:pt>
                <c:pt idx="413">
                  <c:v>45042</c:v>
                </c:pt>
                <c:pt idx="414">
                  <c:v>45041</c:v>
                </c:pt>
                <c:pt idx="415">
                  <c:v>45040</c:v>
                </c:pt>
                <c:pt idx="416">
                  <c:v>45037</c:v>
                </c:pt>
                <c:pt idx="417">
                  <c:v>45036</c:v>
                </c:pt>
                <c:pt idx="418">
                  <c:v>45035</c:v>
                </c:pt>
                <c:pt idx="419">
                  <c:v>45034</c:v>
                </c:pt>
                <c:pt idx="420">
                  <c:v>45033</c:v>
                </c:pt>
                <c:pt idx="421">
                  <c:v>45030</c:v>
                </c:pt>
                <c:pt idx="422">
                  <c:v>45029</c:v>
                </c:pt>
                <c:pt idx="423">
                  <c:v>45028</c:v>
                </c:pt>
                <c:pt idx="424">
                  <c:v>45027</c:v>
                </c:pt>
                <c:pt idx="425">
                  <c:v>45026</c:v>
                </c:pt>
                <c:pt idx="426">
                  <c:v>45023</c:v>
                </c:pt>
                <c:pt idx="427">
                  <c:v>45022</c:v>
                </c:pt>
                <c:pt idx="428">
                  <c:v>45021</c:v>
                </c:pt>
                <c:pt idx="429">
                  <c:v>45020</c:v>
                </c:pt>
                <c:pt idx="430">
                  <c:v>45019</c:v>
                </c:pt>
                <c:pt idx="431">
                  <c:v>45016</c:v>
                </c:pt>
                <c:pt idx="432">
                  <c:v>45015</c:v>
                </c:pt>
                <c:pt idx="433">
                  <c:v>45014</c:v>
                </c:pt>
                <c:pt idx="434">
                  <c:v>45013</c:v>
                </c:pt>
                <c:pt idx="435">
                  <c:v>45012</c:v>
                </c:pt>
                <c:pt idx="436">
                  <c:v>45009</c:v>
                </c:pt>
                <c:pt idx="437">
                  <c:v>45008</c:v>
                </c:pt>
                <c:pt idx="438">
                  <c:v>45007</c:v>
                </c:pt>
                <c:pt idx="439">
                  <c:v>45006</c:v>
                </c:pt>
                <c:pt idx="440">
                  <c:v>45005</c:v>
                </c:pt>
                <c:pt idx="441">
                  <c:v>45002</c:v>
                </c:pt>
                <c:pt idx="442">
                  <c:v>45001</c:v>
                </c:pt>
                <c:pt idx="443">
                  <c:v>45000</c:v>
                </c:pt>
                <c:pt idx="444">
                  <c:v>44999</c:v>
                </c:pt>
                <c:pt idx="445">
                  <c:v>44998</c:v>
                </c:pt>
                <c:pt idx="446">
                  <c:v>44995</c:v>
                </c:pt>
                <c:pt idx="447">
                  <c:v>44994</c:v>
                </c:pt>
                <c:pt idx="448">
                  <c:v>44993</c:v>
                </c:pt>
                <c:pt idx="449">
                  <c:v>44992</c:v>
                </c:pt>
                <c:pt idx="450">
                  <c:v>44991</c:v>
                </c:pt>
                <c:pt idx="451">
                  <c:v>44988</c:v>
                </c:pt>
                <c:pt idx="452">
                  <c:v>44987</c:v>
                </c:pt>
                <c:pt idx="453">
                  <c:v>44986</c:v>
                </c:pt>
                <c:pt idx="454">
                  <c:v>44985</c:v>
                </c:pt>
                <c:pt idx="455">
                  <c:v>44984</c:v>
                </c:pt>
                <c:pt idx="456">
                  <c:v>44981</c:v>
                </c:pt>
                <c:pt idx="457">
                  <c:v>44980</c:v>
                </c:pt>
                <c:pt idx="458">
                  <c:v>44979</c:v>
                </c:pt>
                <c:pt idx="459">
                  <c:v>44978</c:v>
                </c:pt>
                <c:pt idx="460">
                  <c:v>44977</c:v>
                </c:pt>
                <c:pt idx="461">
                  <c:v>44974</c:v>
                </c:pt>
                <c:pt idx="462">
                  <c:v>44973</c:v>
                </c:pt>
                <c:pt idx="463">
                  <c:v>44972</c:v>
                </c:pt>
                <c:pt idx="464">
                  <c:v>44971</c:v>
                </c:pt>
                <c:pt idx="465">
                  <c:v>44970</c:v>
                </c:pt>
                <c:pt idx="466">
                  <c:v>44967</c:v>
                </c:pt>
                <c:pt idx="467">
                  <c:v>44966</c:v>
                </c:pt>
                <c:pt idx="468">
                  <c:v>44965</c:v>
                </c:pt>
                <c:pt idx="469">
                  <c:v>44964</c:v>
                </c:pt>
                <c:pt idx="470">
                  <c:v>44963</c:v>
                </c:pt>
                <c:pt idx="471">
                  <c:v>44960</c:v>
                </c:pt>
                <c:pt idx="472">
                  <c:v>44959</c:v>
                </c:pt>
                <c:pt idx="473">
                  <c:v>44958</c:v>
                </c:pt>
                <c:pt idx="474">
                  <c:v>44957</c:v>
                </c:pt>
                <c:pt idx="475">
                  <c:v>44956</c:v>
                </c:pt>
                <c:pt idx="476">
                  <c:v>44953</c:v>
                </c:pt>
                <c:pt idx="477">
                  <c:v>44952</c:v>
                </c:pt>
                <c:pt idx="478">
                  <c:v>44951</c:v>
                </c:pt>
                <c:pt idx="479">
                  <c:v>44950</c:v>
                </c:pt>
                <c:pt idx="480">
                  <c:v>44949</c:v>
                </c:pt>
                <c:pt idx="481">
                  <c:v>44946</c:v>
                </c:pt>
                <c:pt idx="482">
                  <c:v>44945</c:v>
                </c:pt>
                <c:pt idx="483">
                  <c:v>44944</c:v>
                </c:pt>
                <c:pt idx="484">
                  <c:v>44943</c:v>
                </c:pt>
                <c:pt idx="485">
                  <c:v>44942</c:v>
                </c:pt>
                <c:pt idx="486">
                  <c:v>44939</c:v>
                </c:pt>
                <c:pt idx="487">
                  <c:v>44938</c:v>
                </c:pt>
                <c:pt idx="488">
                  <c:v>44937</c:v>
                </c:pt>
                <c:pt idx="489">
                  <c:v>44936</c:v>
                </c:pt>
                <c:pt idx="490">
                  <c:v>44935</c:v>
                </c:pt>
                <c:pt idx="491">
                  <c:v>44932</c:v>
                </c:pt>
                <c:pt idx="492">
                  <c:v>44931</c:v>
                </c:pt>
                <c:pt idx="493">
                  <c:v>44930</c:v>
                </c:pt>
                <c:pt idx="494">
                  <c:v>44929</c:v>
                </c:pt>
                <c:pt idx="495">
                  <c:v>44928</c:v>
                </c:pt>
                <c:pt idx="496">
                  <c:v>44925</c:v>
                </c:pt>
                <c:pt idx="497">
                  <c:v>44924</c:v>
                </c:pt>
                <c:pt idx="498">
                  <c:v>44923</c:v>
                </c:pt>
                <c:pt idx="499">
                  <c:v>44922</c:v>
                </c:pt>
                <c:pt idx="500">
                  <c:v>44921</c:v>
                </c:pt>
                <c:pt idx="501">
                  <c:v>44918</c:v>
                </c:pt>
                <c:pt idx="502">
                  <c:v>44917</c:v>
                </c:pt>
                <c:pt idx="503">
                  <c:v>44916</c:v>
                </c:pt>
                <c:pt idx="504">
                  <c:v>44915</c:v>
                </c:pt>
                <c:pt idx="505">
                  <c:v>44914</c:v>
                </c:pt>
                <c:pt idx="506">
                  <c:v>44911</c:v>
                </c:pt>
                <c:pt idx="507">
                  <c:v>44910</c:v>
                </c:pt>
                <c:pt idx="508">
                  <c:v>44909</c:v>
                </c:pt>
                <c:pt idx="509">
                  <c:v>44908</c:v>
                </c:pt>
                <c:pt idx="510">
                  <c:v>44907</c:v>
                </c:pt>
                <c:pt idx="511">
                  <c:v>44904</c:v>
                </c:pt>
                <c:pt idx="512">
                  <c:v>44903</c:v>
                </c:pt>
                <c:pt idx="513">
                  <c:v>44902</c:v>
                </c:pt>
                <c:pt idx="514">
                  <c:v>44901</c:v>
                </c:pt>
                <c:pt idx="515">
                  <c:v>44900</c:v>
                </c:pt>
                <c:pt idx="516">
                  <c:v>44897</c:v>
                </c:pt>
                <c:pt idx="517">
                  <c:v>44896</c:v>
                </c:pt>
                <c:pt idx="518">
                  <c:v>44895</c:v>
                </c:pt>
                <c:pt idx="519">
                  <c:v>44894</c:v>
                </c:pt>
                <c:pt idx="520">
                  <c:v>44893</c:v>
                </c:pt>
                <c:pt idx="521">
                  <c:v>44890</c:v>
                </c:pt>
                <c:pt idx="522">
                  <c:v>44889</c:v>
                </c:pt>
                <c:pt idx="523">
                  <c:v>44888</c:v>
                </c:pt>
                <c:pt idx="524">
                  <c:v>44887</c:v>
                </c:pt>
                <c:pt idx="525">
                  <c:v>44886</c:v>
                </c:pt>
                <c:pt idx="526">
                  <c:v>44883</c:v>
                </c:pt>
                <c:pt idx="527">
                  <c:v>44882</c:v>
                </c:pt>
                <c:pt idx="528">
                  <c:v>44881</c:v>
                </c:pt>
                <c:pt idx="529">
                  <c:v>44880</c:v>
                </c:pt>
                <c:pt idx="530">
                  <c:v>44879</c:v>
                </c:pt>
                <c:pt idx="531">
                  <c:v>44876</c:v>
                </c:pt>
                <c:pt idx="532">
                  <c:v>44875</c:v>
                </c:pt>
                <c:pt idx="533">
                  <c:v>44874</c:v>
                </c:pt>
                <c:pt idx="534">
                  <c:v>44873</c:v>
                </c:pt>
                <c:pt idx="535">
                  <c:v>44872</c:v>
                </c:pt>
                <c:pt idx="536">
                  <c:v>44869</c:v>
                </c:pt>
                <c:pt idx="537">
                  <c:v>44868</c:v>
                </c:pt>
                <c:pt idx="538">
                  <c:v>44867</c:v>
                </c:pt>
                <c:pt idx="539">
                  <c:v>44866</c:v>
                </c:pt>
                <c:pt idx="540">
                  <c:v>44865</c:v>
                </c:pt>
                <c:pt idx="541">
                  <c:v>44862</c:v>
                </c:pt>
                <c:pt idx="542">
                  <c:v>44861</c:v>
                </c:pt>
                <c:pt idx="543">
                  <c:v>44860</c:v>
                </c:pt>
                <c:pt idx="544">
                  <c:v>44859</c:v>
                </c:pt>
                <c:pt idx="545">
                  <c:v>44858</c:v>
                </c:pt>
                <c:pt idx="546">
                  <c:v>44855</c:v>
                </c:pt>
                <c:pt idx="547">
                  <c:v>44854</c:v>
                </c:pt>
                <c:pt idx="548">
                  <c:v>44853</c:v>
                </c:pt>
                <c:pt idx="549">
                  <c:v>44852</c:v>
                </c:pt>
                <c:pt idx="550">
                  <c:v>44851</c:v>
                </c:pt>
                <c:pt idx="551">
                  <c:v>44848</c:v>
                </c:pt>
                <c:pt idx="552">
                  <c:v>44847</c:v>
                </c:pt>
                <c:pt idx="553">
                  <c:v>44846</c:v>
                </c:pt>
                <c:pt idx="554">
                  <c:v>44845</c:v>
                </c:pt>
                <c:pt idx="555">
                  <c:v>44844</c:v>
                </c:pt>
                <c:pt idx="556">
                  <c:v>44841</c:v>
                </c:pt>
                <c:pt idx="557">
                  <c:v>44840</c:v>
                </c:pt>
                <c:pt idx="558">
                  <c:v>44839</c:v>
                </c:pt>
                <c:pt idx="559">
                  <c:v>44838</c:v>
                </c:pt>
                <c:pt idx="560">
                  <c:v>44837</c:v>
                </c:pt>
                <c:pt idx="561">
                  <c:v>44834</c:v>
                </c:pt>
                <c:pt idx="562">
                  <c:v>44833</c:v>
                </c:pt>
                <c:pt idx="563">
                  <c:v>44832</c:v>
                </c:pt>
                <c:pt idx="564">
                  <c:v>44831</c:v>
                </c:pt>
                <c:pt idx="565">
                  <c:v>44830</c:v>
                </c:pt>
                <c:pt idx="566">
                  <c:v>44827</c:v>
                </c:pt>
                <c:pt idx="567">
                  <c:v>44826</c:v>
                </c:pt>
                <c:pt idx="568">
                  <c:v>44825</c:v>
                </c:pt>
                <c:pt idx="569">
                  <c:v>44824</c:v>
                </c:pt>
                <c:pt idx="570">
                  <c:v>44823</c:v>
                </c:pt>
                <c:pt idx="571">
                  <c:v>44820</c:v>
                </c:pt>
                <c:pt idx="572">
                  <c:v>44819</c:v>
                </c:pt>
                <c:pt idx="573">
                  <c:v>44818</c:v>
                </c:pt>
                <c:pt idx="574">
                  <c:v>44817</c:v>
                </c:pt>
                <c:pt idx="575">
                  <c:v>44816</c:v>
                </c:pt>
                <c:pt idx="576">
                  <c:v>44813</c:v>
                </c:pt>
                <c:pt idx="577">
                  <c:v>44812</c:v>
                </c:pt>
                <c:pt idx="578">
                  <c:v>44811</c:v>
                </c:pt>
                <c:pt idx="579">
                  <c:v>44810</c:v>
                </c:pt>
                <c:pt idx="580">
                  <c:v>44809</c:v>
                </c:pt>
                <c:pt idx="581">
                  <c:v>44806</c:v>
                </c:pt>
                <c:pt idx="582">
                  <c:v>44805</c:v>
                </c:pt>
                <c:pt idx="583">
                  <c:v>44804</c:v>
                </c:pt>
                <c:pt idx="584">
                  <c:v>44803</c:v>
                </c:pt>
                <c:pt idx="585">
                  <c:v>44802</c:v>
                </c:pt>
                <c:pt idx="586">
                  <c:v>44799</c:v>
                </c:pt>
                <c:pt idx="587">
                  <c:v>44798</c:v>
                </c:pt>
                <c:pt idx="588">
                  <c:v>44797</c:v>
                </c:pt>
                <c:pt idx="589">
                  <c:v>44796</c:v>
                </c:pt>
                <c:pt idx="590">
                  <c:v>44795</c:v>
                </c:pt>
                <c:pt idx="591">
                  <c:v>44792</c:v>
                </c:pt>
                <c:pt idx="592">
                  <c:v>44791</c:v>
                </c:pt>
                <c:pt idx="593">
                  <c:v>44790</c:v>
                </c:pt>
                <c:pt idx="594">
                  <c:v>44789</c:v>
                </c:pt>
                <c:pt idx="595">
                  <c:v>44788</c:v>
                </c:pt>
                <c:pt idx="596">
                  <c:v>44785</c:v>
                </c:pt>
                <c:pt idx="597">
                  <c:v>44784</c:v>
                </c:pt>
                <c:pt idx="598">
                  <c:v>44783</c:v>
                </c:pt>
                <c:pt idx="599">
                  <c:v>44782</c:v>
                </c:pt>
                <c:pt idx="600">
                  <c:v>44781</c:v>
                </c:pt>
                <c:pt idx="601">
                  <c:v>44778</c:v>
                </c:pt>
                <c:pt idx="602">
                  <c:v>44777</c:v>
                </c:pt>
                <c:pt idx="603">
                  <c:v>44776</c:v>
                </c:pt>
                <c:pt idx="604">
                  <c:v>44775</c:v>
                </c:pt>
                <c:pt idx="605">
                  <c:v>44774</c:v>
                </c:pt>
                <c:pt idx="606">
                  <c:v>44771</c:v>
                </c:pt>
                <c:pt idx="607">
                  <c:v>44770</c:v>
                </c:pt>
                <c:pt idx="608">
                  <c:v>44769</c:v>
                </c:pt>
                <c:pt idx="609">
                  <c:v>44768</c:v>
                </c:pt>
                <c:pt idx="610">
                  <c:v>44767</c:v>
                </c:pt>
                <c:pt idx="611">
                  <c:v>44764</c:v>
                </c:pt>
                <c:pt idx="612">
                  <c:v>44763</c:v>
                </c:pt>
                <c:pt idx="613">
                  <c:v>44762</c:v>
                </c:pt>
                <c:pt idx="614">
                  <c:v>44761</c:v>
                </c:pt>
                <c:pt idx="615">
                  <c:v>44760</c:v>
                </c:pt>
                <c:pt idx="616">
                  <c:v>44757</c:v>
                </c:pt>
                <c:pt idx="617">
                  <c:v>44756</c:v>
                </c:pt>
                <c:pt idx="618">
                  <c:v>44755</c:v>
                </c:pt>
                <c:pt idx="619">
                  <c:v>44754</c:v>
                </c:pt>
                <c:pt idx="620">
                  <c:v>44753</c:v>
                </c:pt>
                <c:pt idx="621">
                  <c:v>44750</c:v>
                </c:pt>
                <c:pt idx="622">
                  <c:v>44749</c:v>
                </c:pt>
                <c:pt idx="623">
                  <c:v>44748</c:v>
                </c:pt>
                <c:pt idx="624">
                  <c:v>44747</c:v>
                </c:pt>
                <c:pt idx="625">
                  <c:v>44746</c:v>
                </c:pt>
                <c:pt idx="626">
                  <c:v>44743</c:v>
                </c:pt>
                <c:pt idx="627">
                  <c:v>44742</c:v>
                </c:pt>
                <c:pt idx="628">
                  <c:v>44741</c:v>
                </c:pt>
                <c:pt idx="629">
                  <c:v>44740</c:v>
                </c:pt>
                <c:pt idx="630">
                  <c:v>44739</c:v>
                </c:pt>
                <c:pt idx="631">
                  <c:v>44736</c:v>
                </c:pt>
                <c:pt idx="632">
                  <c:v>44735</c:v>
                </c:pt>
                <c:pt idx="633">
                  <c:v>44734</c:v>
                </c:pt>
                <c:pt idx="634">
                  <c:v>44733</c:v>
                </c:pt>
                <c:pt idx="635">
                  <c:v>44732</c:v>
                </c:pt>
                <c:pt idx="636">
                  <c:v>44729</c:v>
                </c:pt>
                <c:pt idx="637">
                  <c:v>44728</c:v>
                </c:pt>
                <c:pt idx="638">
                  <c:v>44727</c:v>
                </c:pt>
                <c:pt idx="639">
                  <c:v>44726</c:v>
                </c:pt>
                <c:pt idx="640">
                  <c:v>44725</c:v>
                </c:pt>
                <c:pt idx="641">
                  <c:v>44722</c:v>
                </c:pt>
                <c:pt idx="642">
                  <c:v>44721</c:v>
                </c:pt>
                <c:pt idx="643">
                  <c:v>44720</c:v>
                </c:pt>
                <c:pt idx="644">
                  <c:v>44719</c:v>
                </c:pt>
                <c:pt idx="645">
                  <c:v>44718</c:v>
                </c:pt>
                <c:pt idx="646">
                  <c:v>44715</c:v>
                </c:pt>
                <c:pt idx="647">
                  <c:v>44714</c:v>
                </c:pt>
                <c:pt idx="648">
                  <c:v>44713</c:v>
                </c:pt>
                <c:pt idx="649">
                  <c:v>44712</c:v>
                </c:pt>
                <c:pt idx="650">
                  <c:v>44711</c:v>
                </c:pt>
                <c:pt idx="651">
                  <c:v>44708</c:v>
                </c:pt>
                <c:pt idx="652">
                  <c:v>44707</c:v>
                </c:pt>
                <c:pt idx="653">
                  <c:v>44706</c:v>
                </c:pt>
                <c:pt idx="654">
                  <c:v>44705</c:v>
                </c:pt>
                <c:pt idx="655">
                  <c:v>44704</c:v>
                </c:pt>
                <c:pt idx="656">
                  <c:v>44701</c:v>
                </c:pt>
                <c:pt idx="657">
                  <c:v>44700</c:v>
                </c:pt>
                <c:pt idx="658">
                  <c:v>44699</c:v>
                </c:pt>
                <c:pt idx="659">
                  <c:v>44698</c:v>
                </c:pt>
                <c:pt idx="660">
                  <c:v>44697</c:v>
                </c:pt>
                <c:pt idx="661">
                  <c:v>44694</c:v>
                </c:pt>
                <c:pt idx="662">
                  <c:v>44693</c:v>
                </c:pt>
                <c:pt idx="663">
                  <c:v>44692</c:v>
                </c:pt>
                <c:pt idx="664">
                  <c:v>44691</c:v>
                </c:pt>
                <c:pt idx="665">
                  <c:v>44690</c:v>
                </c:pt>
                <c:pt idx="666">
                  <c:v>44687</c:v>
                </c:pt>
                <c:pt idx="667">
                  <c:v>44686</c:v>
                </c:pt>
                <c:pt idx="668">
                  <c:v>44685</c:v>
                </c:pt>
                <c:pt idx="669">
                  <c:v>44684</c:v>
                </c:pt>
                <c:pt idx="670">
                  <c:v>44683</c:v>
                </c:pt>
                <c:pt idx="671">
                  <c:v>44680</c:v>
                </c:pt>
                <c:pt idx="672">
                  <c:v>44679</c:v>
                </c:pt>
                <c:pt idx="673">
                  <c:v>44678</c:v>
                </c:pt>
                <c:pt idx="674">
                  <c:v>44677</c:v>
                </c:pt>
                <c:pt idx="675">
                  <c:v>44676</c:v>
                </c:pt>
                <c:pt idx="676">
                  <c:v>44673</c:v>
                </c:pt>
                <c:pt idx="677">
                  <c:v>44672</c:v>
                </c:pt>
                <c:pt idx="678">
                  <c:v>44671</c:v>
                </c:pt>
                <c:pt idx="679">
                  <c:v>44670</c:v>
                </c:pt>
                <c:pt idx="680">
                  <c:v>44669</c:v>
                </c:pt>
                <c:pt idx="681">
                  <c:v>44666</c:v>
                </c:pt>
                <c:pt idx="682">
                  <c:v>44665</c:v>
                </c:pt>
                <c:pt idx="683">
                  <c:v>44664</c:v>
                </c:pt>
                <c:pt idx="684">
                  <c:v>44663</c:v>
                </c:pt>
                <c:pt idx="685">
                  <c:v>44662</c:v>
                </c:pt>
                <c:pt idx="686">
                  <c:v>44659</c:v>
                </c:pt>
                <c:pt idx="687">
                  <c:v>44658</c:v>
                </c:pt>
                <c:pt idx="688">
                  <c:v>44657</c:v>
                </c:pt>
                <c:pt idx="689">
                  <c:v>44656</c:v>
                </c:pt>
                <c:pt idx="690">
                  <c:v>44655</c:v>
                </c:pt>
                <c:pt idx="691">
                  <c:v>44652</c:v>
                </c:pt>
                <c:pt idx="692">
                  <c:v>44651</c:v>
                </c:pt>
                <c:pt idx="693">
                  <c:v>44650</c:v>
                </c:pt>
                <c:pt idx="694">
                  <c:v>44649</c:v>
                </c:pt>
                <c:pt idx="695">
                  <c:v>44648</c:v>
                </c:pt>
                <c:pt idx="696">
                  <c:v>44645</c:v>
                </c:pt>
                <c:pt idx="697">
                  <c:v>44644</c:v>
                </c:pt>
                <c:pt idx="698">
                  <c:v>44643</c:v>
                </c:pt>
                <c:pt idx="699">
                  <c:v>44642</c:v>
                </c:pt>
                <c:pt idx="700">
                  <c:v>44641</c:v>
                </c:pt>
                <c:pt idx="701">
                  <c:v>44638</c:v>
                </c:pt>
                <c:pt idx="702">
                  <c:v>44637</c:v>
                </c:pt>
                <c:pt idx="703">
                  <c:v>44636</c:v>
                </c:pt>
                <c:pt idx="704">
                  <c:v>44635</c:v>
                </c:pt>
                <c:pt idx="705">
                  <c:v>44634</c:v>
                </c:pt>
                <c:pt idx="706">
                  <c:v>44631</c:v>
                </c:pt>
                <c:pt idx="707">
                  <c:v>44630</c:v>
                </c:pt>
                <c:pt idx="708">
                  <c:v>44629</c:v>
                </c:pt>
                <c:pt idx="709">
                  <c:v>44628</c:v>
                </c:pt>
                <c:pt idx="710">
                  <c:v>44627</c:v>
                </c:pt>
                <c:pt idx="711">
                  <c:v>44624</c:v>
                </c:pt>
                <c:pt idx="712">
                  <c:v>44623</c:v>
                </c:pt>
                <c:pt idx="713">
                  <c:v>44622</c:v>
                </c:pt>
                <c:pt idx="714">
                  <c:v>44621</c:v>
                </c:pt>
                <c:pt idx="715">
                  <c:v>44620</c:v>
                </c:pt>
                <c:pt idx="716">
                  <c:v>44617</c:v>
                </c:pt>
                <c:pt idx="717">
                  <c:v>44616</c:v>
                </c:pt>
                <c:pt idx="718">
                  <c:v>44615</c:v>
                </c:pt>
                <c:pt idx="719">
                  <c:v>44614</c:v>
                </c:pt>
                <c:pt idx="720">
                  <c:v>44613</c:v>
                </c:pt>
                <c:pt idx="721">
                  <c:v>44610</c:v>
                </c:pt>
                <c:pt idx="722">
                  <c:v>44609</c:v>
                </c:pt>
                <c:pt idx="723">
                  <c:v>44608</c:v>
                </c:pt>
                <c:pt idx="724">
                  <c:v>44607</c:v>
                </c:pt>
                <c:pt idx="725">
                  <c:v>44606</c:v>
                </c:pt>
                <c:pt idx="726">
                  <c:v>44603</c:v>
                </c:pt>
                <c:pt idx="727">
                  <c:v>44602</c:v>
                </c:pt>
                <c:pt idx="728">
                  <c:v>44601</c:v>
                </c:pt>
                <c:pt idx="729">
                  <c:v>44600</c:v>
                </c:pt>
                <c:pt idx="730">
                  <c:v>44599</c:v>
                </c:pt>
                <c:pt idx="731">
                  <c:v>44596</c:v>
                </c:pt>
                <c:pt idx="732">
                  <c:v>44595</c:v>
                </c:pt>
                <c:pt idx="733">
                  <c:v>44594</c:v>
                </c:pt>
                <c:pt idx="734">
                  <c:v>44593</c:v>
                </c:pt>
                <c:pt idx="735">
                  <c:v>44592</c:v>
                </c:pt>
                <c:pt idx="736">
                  <c:v>44589</c:v>
                </c:pt>
                <c:pt idx="737">
                  <c:v>44588</c:v>
                </c:pt>
                <c:pt idx="738">
                  <c:v>44587</c:v>
                </c:pt>
                <c:pt idx="739">
                  <c:v>44586</c:v>
                </c:pt>
                <c:pt idx="740">
                  <c:v>44585</c:v>
                </c:pt>
                <c:pt idx="741">
                  <c:v>44582</c:v>
                </c:pt>
                <c:pt idx="742">
                  <c:v>44581</c:v>
                </c:pt>
                <c:pt idx="743">
                  <c:v>44580</c:v>
                </c:pt>
                <c:pt idx="744">
                  <c:v>44579</c:v>
                </c:pt>
                <c:pt idx="745">
                  <c:v>44578</c:v>
                </c:pt>
                <c:pt idx="746">
                  <c:v>44575</c:v>
                </c:pt>
                <c:pt idx="747">
                  <c:v>44574</c:v>
                </c:pt>
                <c:pt idx="748">
                  <c:v>44573</c:v>
                </c:pt>
                <c:pt idx="749">
                  <c:v>44572</c:v>
                </c:pt>
                <c:pt idx="750">
                  <c:v>44571</c:v>
                </c:pt>
                <c:pt idx="751">
                  <c:v>44568</c:v>
                </c:pt>
                <c:pt idx="752">
                  <c:v>44567</c:v>
                </c:pt>
                <c:pt idx="753">
                  <c:v>44566</c:v>
                </c:pt>
                <c:pt idx="754">
                  <c:v>44565</c:v>
                </c:pt>
                <c:pt idx="755">
                  <c:v>44564</c:v>
                </c:pt>
                <c:pt idx="756">
                  <c:v>44561</c:v>
                </c:pt>
                <c:pt idx="757">
                  <c:v>44560</c:v>
                </c:pt>
                <c:pt idx="758">
                  <c:v>44559</c:v>
                </c:pt>
                <c:pt idx="759">
                  <c:v>44558</c:v>
                </c:pt>
                <c:pt idx="760">
                  <c:v>44557</c:v>
                </c:pt>
                <c:pt idx="761">
                  <c:v>44554</c:v>
                </c:pt>
                <c:pt idx="762">
                  <c:v>44553</c:v>
                </c:pt>
                <c:pt idx="763">
                  <c:v>44552</c:v>
                </c:pt>
                <c:pt idx="764">
                  <c:v>44551</c:v>
                </c:pt>
                <c:pt idx="765">
                  <c:v>44550</c:v>
                </c:pt>
                <c:pt idx="766">
                  <c:v>44547</c:v>
                </c:pt>
                <c:pt idx="767">
                  <c:v>44546</c:v>
                </c:pt>
                <c:pt idx="768">
                  <c:v>44545</c:v>
                </c:pt>
                <c:pt idx="769">
                  <c:v>44544</c:v>
                </c:pt>
                <c:pt idx="770">
                  <c:v>44543</c:v>
                </c:pt>
                <c:pt idx="771">
                  <c:v>44540</c:v>
                </c:pt>
                <c:pt idx="772">
                  <c:v>44539</c:v>
                </c:pt>
                <c:pt idx="773">
                  <c:v>44538</c:v>
                </c:pt>
                <c:pt idx="774">
                  <c:v>44537</c:v>
                </c:pt>
                <c:pt idx="775">
                  <c:v>44536</c:v>
                </c:pt>
                <c:pt idx="776">
                  <c:v>44533</c:v>
                </c:pt>
                <c:pt idx="777">
                  <c:v>44532</c:v>
                </c:pt>
                <c:pt idx="778">
                  <c:v>44531</c:v>
                </c:pt>
                <c:pt idx="779">
                  <c:v>44530</c:v>
                </c:pt>
                <c:pt idx="780">
                  <c:v>44529</c:v>
                </c:pt>
                <c:pt idx="781">
                  <c:v>44526</c:v>
                </c:pt>
                <c:pt idx="782">
                  <c:v>44525</c:v>
                </c:pt>
                <c:pt idx="783">
                  <c:v>44524</c:v>
                </c:pt>
              </c:numCache>
            </c:numRef>
          </c:cat>
          <c:val>
            <c:numRef>
              <c:f>Sheet1!$H$5:$H$788</c:f>
              <c:numCache>
                <c:formatCode>General</c:formatCode>
                <c:ptCount val="784"/>
                <c:pt idx="0">
                  <c:v>36</c:v>
                </c:pt>
                <c:pt idx="1">
                  <c:v>39</c:v>
                </c:pt>
                <c:pt idx="2">
                  <c:v>37.700000000000003</c:v>
                </c:pt>
                <c:pt idx="3">
                  <c:v>40.6</c:v>
                </c:pt>
                <c:pt idx="4">
                  <c:v>42.1</c:v>
                </c:pt>
                <c:pt idx="5">
                  <c:v>43.4</c:v>
                </c:pt>
                <c:pt idx="6">
                  <c:v>43.3</c:v>
                </c:pt>
                <c:pt idx="7">
                  <c:v>38.700000000000003</c:v>
                </c:pt>
                <c:pt idx="8">
                  <c:v>38.299999999999997</c:v>
                </c:pt>
                <c:pt idx="9">
                  <c:v>38.4</c:v>
                </c:pt>
                <c:pt idx="10">
                  <c:v>37.200000000000003</c:v>
                </c:pt>
                <c:pt idx="11">
                  <c:v>37.200000000000003</c:v>
                </c:pt>
                <c:pt idx="12">
                  <c:v>35.700000000000003</c:v>
                </c:pt>
                <c:pt idx="13">
                  <c:v>35.6</c:v>
                </c:pt>
                <c:pt idx="14">
                  <c:v>35.799999999999997</c:v>
                </c:pt>
                <c:pt idx="15">
                  <c:v>31.9</c:v>
                </c:pt>
                <c:pt idx="16">
                  <c:v>31.7</c:v>
                </c:pt>
                <c:pt idx="17">
                  <c:v>35.4</c:v>
                </c:pt>
                <c:pt idx="18">
                  <c:v>35.4</c:v>
                </c:pt>
                <c:pt idx="19">
                  <c:v>28.4</c:v>
                </c:pt>
                <c:pt idx="20">
                  <c:v>25.6</c:v>
                </c:pt>
                <c:pt idx="21">
                  <c:v>23.1</c:v>
                </c:pt>
                <c:pt idx="22">
                  <c:v>19.7</c:v>
                </c:pt>
                <c:pt idx="23">
                  <c:v>17.5</c:v>
                </c:pt>
                <c:pt idx="24">
                  <c:v>17.2</c:v>
                </c:pt>
                <c:pt idx="25">
                  <c:v>16.399999999999999</c:v>
                </c:pt>
                <c:pt idx="26">
                  <c:v>14.8</c:v>
                </c:pt>
                <c:pt idx="27">
                  <c:v>14.9</c:v>
                </c:pt>
                <c:pt idx="28">
                  <c:v>6.4</c:v>
                </c:pt>
                <c:pt idx="29">
                  <c:v>6</c:v>
                </c:pt>
                <c:pt idx="30">
                  <c:v>9</c:v>
                </c:pt>
                <c:pt idx="31">
                  <c:v>10.3</c:v>
                </c:pt>
                <c:pt idx="32">
                  <c:v>12.2</c:v>
                </c:pt>
                <c:pt idx="33">
                  <c:v>14.5</c:v>
                </c:pt>
                <c:pt idx="34">
                  <c:v>14.3</c:v>
                </c:pt>
                <c:pt idx="35">
                  <c:v>14.3</c:v>
                </c:pt>
                <c:pt idx="36">
                  <c:v>14.1</c:v>
                </c:pt>
                <c:pt idx="37">
                  <c:v>7.4</c:v>
                </c:pt>
                <c:pt idx="38">
                  <c:v>3.8</c:v>
                </c:pt>
                <c:pt idx="39">
                  <c:v>2.6</c:v>
                </c:pt>
                <c:pt idx="40">
                  <c:v>-0.8</c:v>
                </c:pt>
                <c:pt idx="41">
                  <c:v>-6.1</c:v>
                </c:pt>
                <c:pt idx="42">
                  <c:v>-5.3</c:v>
                </c:pt>
                <c:pt idx="43">
                  <c:v>-12.7</c:v>
                </c:pt>
                <c:pt idx="44">
                  <c:v>-13.8</c:v>
                </c:pt>
                <c:pt idx="45">
                  <c:v>-9.6</c:v>
                </c:pt>
                <c:pt idx="46">
                  <c:v>-8.5</c:v>
                </c:pt>
                <c:pt idx="47">
                  <c:v>-8.8000000000000007</c:v>
                </c:pt>
                <c:pt idx="48">
                  <c:v>-12.3</c:v>
                </c:pt>
                <c:pt idx="49">
                  <c:v>-14.1</c:v>
                </c:pt>
                <c:pt idx="50">
                  <c:v>-17.100000000000001</c:v>
                </c:pt>
                <c:pt idx="51">
                  <c:v>-21.8</c:v>
                </c:pt>
                <c:pt idx="52">
                  <c:v>-22.4</c:v>
                </c:pt>
                <c:pt idx="53">
                  <c:v>-21.8</c:v>
                </c:pt>
                <c:pt idx="54">
                  <c:v>-26.8</c:v>
                </c:pt>
                <c:pt idx="55">
                  <c:v>-26.8</c:v>
                </c:pt>
                <c:pt idx="56">
                  <c:v>-30.1</c:v>
                </c:pt>
                <c:pt idx="57">
                  <c:v>-29.5</c:v>
                </c:pt>
                <c:pt idx="58">
                  <c:v>-28.9</c:v>
                </c:pt>
                <c:pt idx="59">
                  <c:v>-25.1</c:v>
                </c:pt>
                <c:pt idx="60">
                  <c:v>-23.9</c:v>
                </c:pt>
                <c:pt idx="61">
                  <c:v>-24.2</c:v>
                </c:pt>
                <c:pt idx="62">
                  <c:v>-24.8</c:v>
                </c:pt>
                <c:pt idx="63">
                  <c:v>-27.2</c:v>
                </c:pt>
                <c:pt idx="64">
                  <c:v>-28.1</c:v>
                </c:pt>
                <c:pt idx="65">
                  <c:v>-31.1</c:v>
                </c:pt>
                <c:pt idx="66">
                  <c:v>-38.6</c:v>
                </c:pt>
                <c:pt idx="67">
                  <c:v>-44.5</c:v>
                </c:pt>
                <c:pt idx="68">
                  <c:v>-41.2</c:v>
                </c:pt>
                <c:pt idx="69">
                  <c:v>-40.5</c:v>
                </c:pt>
                <c:pt idx="70">
                  <c:v>-39.200000000000003</c:v>
                </c:pt>
                <c:pt idx="71">
                  <c:v>-36.6</c:v>
                </c:pt>
                <c:pt idx="72">
                  <c:v>-34.9</c:v>
                </c:pt>
                <c:pt idx="73">
                  <c:v>-31</c:v>
                </c:pt>
                <c:pt idx="74">
                  <c:v>-31.1</c:v>
                </c:pt>
                <c:pt idx="75">
                  <c:v>-32.9</c:v>
                </c:pt>
                <c:pt idx="76">
                  <c:v>-34.299999999999997</c:v>
                </c:pt>
                <c:pt idx="77">
                  <c:v>-34.6</c:v>
                </c:pt>
                <c:pt idx="78">
                  <c:v>-36.299999999999997</c:v>
                </c:pt>
                <c:pt idx="79">
                  <c:v>-37.6</c:v>
                </c:pt>
                <c:pt idx="80">
                  <c:v>-39.1</c:v>
                </c:pt>
                <c:pt idx="81">
                  <c:v>-40.6</c:v>
                </c:pt>
                <c:pt idx="82">
                  <c:v>-34.4</c:v>
                </c:pt>
                <c:pt idx="83">
                  <c:v>-25.2</c:v>
                </c:pt>
                <c:pt idx="84">
                  <c:v>-25.5</c:v>
                </c:pt>
                <c:pt idx="85">
                  <c:v>-29.3</c:v>
                </c:pt>
                <c:pt idx="86">
                  <c:v>-34</c:v>
                </c:pt>
                <c:pt idx="87">
                  <c:v>-33.4</c:v>
                </c:pt>
                <c:pt idx="88">
                  <c:v>-35.1</c:v>
                </c:pt>
                <c:pt idx="89">
                  <c:v>-31.1</c:v>
                </c:pt>
                <c:pt idx="90">
                  <c:v>-30.1</c:v>
                </c:pt>
                <c:pt idx="91">
                  <c:v>-35</c:v>
                </c:pt>
                <c:pt idx="92">
                  <c:v>-36.1</c:v>
                </c:pt>
                <c:pt idx="93">
                  <c:v>-36.9</c:v>
                </c:pt>
                <c:pt idx="94">
                  <c:v>-45.5</c:v>
                </c:pt>
                <c:pt idx="95">
                  <c:v>-45.5</c:v>
                </c:pt>
                <c:pt idx="96">
                  <c:v>-47.5</c:v>
                </c:pt>
                <c:pt idx="97">
                  <c:v>-45.8</c:v>
                </c:pt>
                <c:pt idx="98">
                  <c:v>-45.1</c:v>
                </c:pt>
                <c:pt idx="99">
                  <c:v>-45.7</c:v>
                </c:pt>
                <c:pt idx="100">
                  <c:v>-46.7</c:v>
                </c:pt>
                <c:pt idx="101">
                  <c:v>-46.8</c:v>
                </c:pt>
                <c:pt idx="102">
                  <c:v>-47.3</c:v>
                </c:pt>
                <c:pt idx="103">
                  <c:v>-47.5</c:v>
                </c:pt>
                <c:pt idx="104">
                  <c:v>-32.4</c:v>
                </c:pt>
                <c:pt idx="105">
                  <c:v>-32.4</c:v>
                </c:pt>
                <c:pt idx="106">
                  <c:v>-28.5</c:v>
                </c:pt>
                <c:pt idx="107">
                  <c:v>-29.2</c:v>
                </c:pt>
                <c:pt idx="108">
                  <c:v>-26.9</c:v>
                </c:pt>
                <c:pt idx="109">
                  <c:v>-26</c:v>
                </c:pt>
                <c:pt idx="110">
                  <c:v>-26.7</c:v>
                </c:pt>
                <c:pt idx="111">
                  <c:v>-25.6</c:v>
                </c:pt>
                <c:pt idx="112">
                  <c:v>-28.1</c:v>
                </c:pt>
                <c:pt idx="113">
                  <c:v>-23.6</c:v>
                </c:pt>
                <c:pt idx="114">
                  <c:v>-22.4</c:v>
                </c:pt>
                <c:pt idx="115">
                  <c:v>-21.5</c:v>
                </c:pt>
                <c:pt idx="116">
                  <c:v>-19.899999999999999</c:v>
                </c:pt>
                <c:pt idx="117">
                  <c:v>-14.2</c:v>
                </c:pt>
                <c:pt idx="118">
                  <c:v>-9.9</c:v>
                </c:pt>
                <c:pt idx="119">
                  <c:v>-6.1</c:v>
                </c:pt>
                <c:pt idx="120">
                  <c:v>-6.6</c:v>
                </c:pt>
                <c:pt idx="121">
                  <c:v>-5.5</c:v>
                </c:pt>
                <c:pt idx="122">
                  <c:v>-9.9</c:v>
                </c:pt>
                <c:pt idx="123">
                  <c:v>-7.6</c:v>
                </c:pt>
                <c:pt idx="124">
                  <c:v>-11.8</c:v>
                </c:pt>
                <c:pt idx="125">
                  <c:v>-8.9</c:v>
                </c:pt>
                <c:pt idx="126">
                  <c:v>-7.6</c:v>
                </c:pt>
                <c:pt idx="127">
                  <c:v>-4.0999999999999996</c:v>
                </c:pt>
                <c:pt idx="128">
                  <c:v>-3.7</c:v>
                </c:pt>
                <c:pt idx="129">
                  <c:v>-5.2</c:v>
                </c:pt>
                <c:pt idx="130">
                  <c:v>-10.9</c:v>
                </c:pt>
                <c:pt idx="131">
                  <c:v>-10.9</c:v>
                </c:pt>
                <c:pt idx="132">
                  <c:v>-16.7</c:v>
                </c:pt>
                <c:pt idx="133">
                  <c:v>-23.8</c:v>
                </c:pt>
                <c:pt idx="134">
                  <c:v>-23.5</c:v>
                </c:pt>
                <c:pt idx="135">
                  <c:v>-23.2</c:v>
                </c:pt>
                <c:pt idx="136">
                  <c:v>-23.2</c:v>
                </c:pt>
                <c:pt idx="137">
                  <c:v>-21.6</c:v>
                </c:pt>
                <c:pt idx="138">
                  <c:v>-18.2</c:v>
                </c:pt>
                <c:pt idx="139">
                  <c:v>-16.2</c:v>
                </c:pt>
                <c:pt idx="140">
                  <c:v>-17.899999999999999</c:v>
                </c:pt>
                <c:pt idx="141">
                  <c:v>-18.5</c:v>
                </c:pt>
                <c:pt idx="142">
                  <c:v>-11.5</c:v>
                </c:pt>
                <c:pt idx="143">
                  <c:v>-7.4</c:v>
                </c:pt>
                <c:pt idx="144">
                  <c:v>-7.5</c:v>
                </c:pt>
                <c:pt idx="145">
                  <c:v>-7.5</c:v>
                </c:pt>
                <c:pt idx="146">
                  <c:v>-7.3</c:v>
                </c:pt>
                <c:pt idx="147">
                  <c:v>2.6</c:v>
                </c:pt>
                <c:pt idx="148">
                  <c:v>2</c:v>
                </c:pt>
                <c:pt idx="149">
                  <c:v>7.6</c:v>
                </c:pt>
                <c:pt idx="150">
                  <c:v>14</c:v>
                </c:pt>
                <c:pt idx="151">
                  <c:v>15.1</c:v>
                </c:pt>
                <c:pt idx="152">
                  <c:v>13.2</c:v>
                </c:pt>
                <c:pt idx="153">
                  <c:v>20.100000000000001</c:v>
                </c:pt>
                <c:pt idx="154">
                  <c:v>20.399999999999999</c:v>
                </c:pt>
                <c:pt idx="155">
                  <c:v>28.4</c:v>
                </c:pt>
                <c:pt idx="156">
                  <c:v>33.1</c:v>
                </c:pt>
                <c:pt idx="157">
                  <c:v>33.4</c:v>
                </c:pt>
                <c:pt idx="158">
                  <c:v>31.6</c:v>
                </c:pt>
                <c:pt idx="159">
                  <c:v>33.799999999999997</c:v>
                </c:pt>
                <c:pt idx="160">
                  <c:v>40</c:v>
                </c:pt>
                <c:pt idx="161">
                  <c:v>39.5</c:v>
                </c:pt>
                <c:pt idx="162">
                  <c:v>41.1</c:v>
                </c:pt>
                <c:pt idx="163">
                  <c:v>40.9</c:v>
                </c:pt>
                <c:pt idx="164">
                  <c:v>37.6</c:v>
                </c:pt>
                <c:pt idx="165">
                  <c:v>39.200000000000003</c:v>
                </c:pt>
                <c:pt idx="166">
                  <c:v>41.2</c:v>
                </c:pt>
                <c:pt idx="167">
                  <c:v>36.6</c:v>
                </c:pt>
                <c:pt idx="168">
                  <c:v>38.6</c:v>
                </c:pt>
                <c:pt idx="169">
                  <c:v>41</c:v>
                </c:pt>
                <c:pt idx="170">
                  <c:v>39</c:v>
                </c:pt>
                <c:pt idx="171">
                  <c:v>33.5</c:v>
                </c:pt>
                <c:pt idx="172">
                  <c:v>33.5</c:v>
                </c:pt>
                <c:pt idx="173">
                  <c:v>30.7</c:v>
                </c:pt>
                <c:pt idx="174">
                  <c:v>31</c:v>
                </c:pt>
                <c:pt idx="175">
                  <c:v>32.5</c:v>
                </c:pt>
                <c:pt idx="176">
                  <c:v>31.6</c:v>
                </c:pt>
                <c:pt idx="177">
                  <c:v>31.8</c:v>
                </c:pt>
                <c:pt idx="178">
                  <c:v>24.6</c:v>
                </c:pt>
                <c:pt idx="179">
                  <c:v>25</c:v>
                </c:pt>
                <c:pt idx="180">
                  <c:v>23</c:v>
                </c:pt>
                <c:pt idx="181">
                  <c:v>24.6</c:v>
                </c:pt>
                <c:pt idx="182">
                  <c:v>29.2</c:v>
                </c:pt>
                <c:pt idx="183">
                  <c:v>29.7</c:v>
                </c:pt>
                <c:pt idx="184">
                  <c:v>29</c:v>
                </c:pt>
                <c:pt idx="185">
                  <c:v>26.5</c:v>
                </c:pt>
                <c:pt idx="186">
                  <c:v>27.8</c:v>
                </c:pt>
                <c:pt idx="187">
                  <c:v>24.9</c:v>
                </c:pt>
                <c:pt idx="188">
                  <c:v>25.4</c:v>
                </c:pt>
                <c:pt idx="189">
                  <c:v>27.6</c:v>
                </c:pt>
                <c:pt idx="190">
                  <c:v>34.200000000000003</c:v>
                </c:pt>
                <c:pt idx="191">
                  <c:v>34.1</c:v>
                </c:pt>
                <c:pt idx="192">
                  <c:v>40.6</c:v>
                </c:pt>
                <c:pt idx="193">
                  <c:v>37.799999999999997</c:v>
                </c:pt>
                <c:pt idx="194">
                  <c:v>38.299999999999997</c:v>
                </c:pt>
                <c:pt idx="195">
                  <c:v>42.2</c:v>
                </c:pt>
                <c:pt idx="196">
                  <c:v>43.8</c:v>
                </c:pt>
                <c:pt idx="197">
                  <c:v>43.8</c:v>
                </c:pt>
                <c:pt idx="198">
                  <c:v>40.200000000000003</c:v>
                </c:pt>
                <c:pt idx="199">
                  <c:v>40.299999999999997</c:v>
                </c:pt>
                <c:pt idx="200">
                  <c:v>40.9</c:v>
                </c:pt>
                <c:pt idx="201">
                  <c:v>40.4</c:v>
                </c:pt>
                <c:pt idx="202">
                  <c:v>45.8</c:v>
                </c:pt>
                <c:pt idx="203">
                  <c:v>47.2</c:v>
                </c:pt>
                <c:pt idx="204">
                  <c:v>47.7</c:v>
                </c:pt>
                <c:pt idx="205">
                  <c:v>44.3</c:v>
                </c:pt>
                <c:pt idx="206">
                  <c:v>44.1</c:v>
                </c:pt>
                <c:pt idx="207">
                  <c:v>44</c:v>
                </c:pt>
                <c:pt idx="208">
                  <c:v>43.5</c:v>
                </c:pt>
                <c:pt idx="209">
                  <c:v>42.9</c:v>
                </c:pt>
                <c:pt idx="210">
                  <c:v>42.6</c:v>
                </c:pt>
                <c:pt idx="211">
                  <c:v>39.5</c:v>
                </c:pt>
                <c:pt idx="212">
                  <c:v>30.7</c:v>
                </c:pt>
                <c:pt idx="213">
                  <c:v>25.7</c:v>
                </c:pt>
                <c:pt idx="214">
                  <c:v>27.8</c:v>
                </c:pt>
                <c:pt idx="215">
                  <c:v>30</c:v>
                </c:pt>
                <c:pt idx="216">
                  <c:v>27.3</c:v>
                </c:pt>
                <c:pt idx="217">
                  <c:v>25.3</c:v>
                </c:pt>
                <c:pt idx="218">
                  <c:v>16.8</c:v>
                </c:pt>
                <c:pt idx="219">
                  <c:v>8.3000000000000007</c:v>
                </c:pt>
                <c:pt idx="220">
                  <c:v>11.1</c:v>
                </c:pt>
                <c:pt idx="221">
                  <c:v>13.5</c:v>
                </c:pt>
                <c:pt idx="222">
                  <c:v>4.9000000000000004</c:v>
                </c:pt>
                <c:pt idx="223">
                  <c:v>1.4</c:v>
                </c:pt>
                <c:pt idx="224">
                  <c:v>-2.4</c:v>
                </c:pt>
                <c:pt idx="225">
                  <c:v>5.4</c:v>
                </c:pt>
                <c:pt idx="226">
                  <c:v>7.5</c:v>
                </c:pt>
                <c:pt idx="227">
                  <c:v>8.1</c:v>
                </c:pt>
                <c:pt idx="228">
                  <c:v>6.8</c:v>
                </c:pt>
                <c:pt idx="229">
                  <c:v>6.5</c:v>
                </c:pt>
                <c:pt idx="230">
                  <c:v>5.9</c:v>
                </c:pt>
                <c:pt idx="231">
                  <c:v>6.1</c:v>
                </c:pt>
                <c:pt idx="232">
                  <c:v>6.4</c:v>
                </c:pt>
                <c:pt idx="233">
                  <c:v>0.4</c:v>
                </c:pt>
                <c:pt idx="234">
                  <c:v>1.1000000000000001</c:v>
                </c:pt>
                <c:pt idx="235">
                  <c:v>8.1999999999999993</c:v>
                </c:pt>
                <c:pt idx="236">
                  <c:v>8.1999999999999993</c:v>
                </c:pt>
                <c:pt idx="237">
                  <c:v>10.4</c:v>
                </c:pt>
                <c:pt idx="238">
                  <c:v>13.1</c:v>
                </c:pt>
                <c:pt idx="239">
                  <c:v>14.3</c:v>
                </c:pt>
                <c:pt idx="240">
                  <c:v>18.2</c:v>
                </c:pt>
                <c:pt idx="241">
                  <c:v>18.2</c:v>
                </c:pt>
                <c:pt idx="242">
                  <c:v>21.4</c:v>
                </c:pt>
                <c:pt idx="243">
                  <c:v>21.4</c:v>
                </c:pt>
                <c:pt idx="244">
                  <c:v>18.100000000000001</c:v>
                </c:pt>
                <c:pt idx="245">
                  <c:v>13</c:v>
                </c:pt>
                <c:pt idx="246">
                  <c:v>13.8</c:v>
                </c:pt>
                <c:pt idx="247">
                  <c:v>21.7</c:v>
                </c:pt>
                <c:pt idx="248">
                  <c:v>15.1</c:v>
                </c:pt>
                <c:pt idx="249">
                  <c:v>16</c:v>
                </c:pt>
                <c:pt idx="250">
                  <c:v>17.2</c:v>
                </c:pt>
                <c:pt idx="251">
                  <c:v>20.3</c:v>
                </c:pt>
                <c:pt idx="252">
                  <c:v>11.7</c:v>
                </c:pt>
                <c:pt idx="253">
                  <c:v>12.2</c:v>
                </c:pt>
                <c:pt idx="254">
                  <c:v>14.3</c:v>
                </c:pt>
                <c:pt idx="255">
                  <c:v>15.9</c:v>
                </c:pt>
                <c:pt idx="256">
                  <c:v>25.6</c:v>
                </c:pt>
                <c:pt idx="257">
                  <c:v>29.8</c:v>
                </c:pt>
                <c:pt idx="258">
                  <c:v>28</c:v>
                </c:pt>
                <c:pt idx="259">
                  <c:v>27.5</c:v>
                </c:pt>
                <c:pt idx="260">
                  <c:v>30.2</c:v>
                </c:pt>
                <c:pt idx="261">
                  <c:v>33.1</c:v>
                </c:pt>
                <c:pt idx="262">
                  <c:v>33.299999999999997</c:v>
                </c:pt>
                <c:pt idx="263">
                  <c:v>33.6</c:v>
                </c:pt>
                <c:pt idx="264">
                  <c:v>33.9</c:v>
                </c:pt>
                <c:pt idx="265">
                  <c:v>37.6</c:v>
                </c:pt>
                <c:pt idx="266">
                  <c:v>37.4</c:v>
                </c:pt>
                <c:pt idx="267">
                  <c:v>34.200000000000003</c:v>
                </c:pt>
                <c:pt idx="268">
                  <c:v>41.6</c:v>
                </c:pt>
                <c:pt idx="269">
                  <c:v>36.299999999999997</c:v>
                </c:pt>
                <c:pt idx="270">
                  <c:v>41.6</c:v>
                </c:pt>
                <c:pt idx="271">
                  <c:v>45.1</c:v>
                </c:pt>
                <c:pt idx="272">
                  <c:v>49.6</c:v>
                </c:pt>
                <c:pt idx="273">
                  <c:v>50</c:v>
                </c:pt>
                <c:pt idx="274">
                  <c:v>50.6</c:v>
                </c:pt>
                <c:pt idx="275">
                  <c:v>50.5</c:v>
                </c:pt>
                <c:pt idx="276">
                  <c:v>51.2</c:v>
                </c:pt>
                <c:pt idx="277">
                  <c:v>56.4</c:v>
                </c:pt>
                <c:pt idx="278">
                  <c:v>54.4</c:v>
                </c:pt>
                <c:pt idx="279">
                  <c:v>63.4</c:v>
                </c:pt>
                <c:pt idx="280">
                  <c:v>61.4</c:v>
                </c:pt>
                <c:pt idx="281">
                  <c:v>63.7</c:v>
                </c:pt>
                <c:pt idx="282">
                  <c:v>61.2</c:v>
                </c:pt>
                <c:pt idx="283">
                  <c:v>52.6</c:v>
                </c:pt>
                <c:pt idx="284">
                  <c:v>49</c:v>
                </c:pt>
                <c:pt idx="285">
                  <c:v>48.7</c:v>
                </c:pt>
                <c:pt idx="286">
                  <c:v>52.9</c:v>
                </c:pt>
                <c:pt idx="287">
                  <c:v>54.3</c:v>
                </c:pt>
                <c:pt idx="288">
                  <c:v>54.4</c:v>
                </c:pt>
                <c:pt idx="289">
                  <c:v>55.5</c:v>
                </c:pt>
                <c:pt idx="290">
                  <c:v>51.8</c:v>
                </c:pt>
                <c:pt idx="291">
                  <c:v>51.2</c:v>
                </c:pt>
                <c:pt idx="292">
                  <c:v>55.9</c:v>
                </c:pt>
                <c:pt idx="293">
                  <c:v>55.4</c:v>
                </c:pt>
                <c:pt idx="294">
                  <c:v>56.8</c:v>
                </c:pt>
                <c:pt idx="295">
                  <c:v>58.3</c:v>
                </c:pt>
                <c:pt idx="296">
                  <c:v>59.7</c:v>
                </c:pt>
                <c:pt idx="297">
                  <c:v>50.5</c:v>
                </c:pt>
                <c:pt idx="298">
                  <c:v>50.3</c:v>
                </c:pt>
                <c:pt idx="299">
                  <c:v>46</c:v>
                </c:pt>
                <c:pt idx="300">
                  <c:v>47.3</c:v>
                </c:pt>
                <c:pt idx="301">
                  <c:v>45.1</c:v>
                </c:pt>
                <c:pt idx="302">
                  <c:v>48.9</c:v>
                </c:pt>
                <c:pt idx="303">
                  <c:v>48.3</c:v>
                </c:pt>
                <c:pt idx="304">
                  <c:v>44.4</c:v>
                </c:pt>
                <c:pt idx="305">
                  <c:v>46.2</c:v>
                </c:pt>
                <c:pt idx="306">
                  <c:v>54.9</c:v>
                </c:pt>
                <c:pt idx="307">
                  <c:v>55.9</c:v>
                </c:pt>
                <c:pt idx="308">
                  <c:v>57.2</c:v>
                </c:pt>
                <c:pt idx="309">
                  <c:v>57.5</c:v>
                </c:pt>
                <c:pt idx="310">
                  <c:v>59.6</c:v>
                </c:pt>
                <c:pt idx="311">
                  <c:v>64.8</c:v>
                </c:pt>
                <c:pt idx="312">
                  <c:v>61.4</c:v>
                </c:pt>
                <c:pt idx="313">
                  <c:v>59.5</c:v>
                </c:pt>
                <c:pt idx="314">
                  <c:v>57.2</c:v>
                </c:pt>
                <c:pt idx="315">
                  <c:v>58.5</c:v>
                </c:pt>
                <c:pt idx="316">
                  <c:v>61.4</c:v>
                </c:pt>
                <c:pt idx="317">
                  <c:v>62.2</c:v>
                </c:pt>
                <c:pt idx="318">
                  <c:v>59.5</c:v>
                </c:pt>
                <c:pt idx="319">
                  <c:v>56.5</c:v>
                </c:pt>
                <c:pt idx="320">
                  <c:v>52.7</c:v>
                </c:pt>
                <c:pt idx="321">
                  <c:v>52.1</c:v>
                </c:pt>
                <c:pt idx="322">
                  <c:v>46.4</c:v>
                </c:pt>
                <c:pt idx="323">
                  <c:v>43</c:v>
                </c:pt>
                <c:pt idx="324">
                  <c:v>48.2</c:v>
                </c:pt>
                <c:pt idx="325">
                  <c:v>56</c:v>
                </c:pt>
                <c:pt idx="326">
                  <c:v>59.6</c:v>
                </c:pt>
                <c:pt idx="327">
                  <c:v>60.5</c:v>
                </c:pt>
                <c:pt idx="328">
                  <c:v>60</c:v>
                </c:pt>
                <c:pt idx="329">
                  <c:v>69.2</c:v>
                </c:pt>
                <c:pt idx="330">
                  <c:v>72.400000000000006</c:v>
                </c:pt>
                <c:pt idx="331">
                  <c:v>77.599999999999994</c:v>
                </c:pt>
                <c:pt idx="332">
                  <c:v>78.900000000000006</c:v>
                </c:pt>
                <c:pt idx="333">
                  <c:v>71.599999999999994</c:v>
                </c:pt>
                <c:pt idx="334">
                  <c:v>68.599999999999994</c:v>
                </c:pt>
                <c:pt idx="335">
                  <c:v>70.099999999999994</c:v>
                </c:pt>
                <c:pt idx="336">
                  <c:v>73.7</c:v>
                </c:pt>
                <c:pt idx="337">
                  <c:v>74.400000000000006</c:v>
                </c:pt>
                <c:pt idx="338">
                  <c:v>78.7</c:v>
                </c:pt>
                <c:pt idx="339">
                  <c:v>78.5</c:v>
                </c:pt>
                <c:pt idx="340">
                  <c:v>77.7</c:v>
                </c:pt>
                <c:pt idx="341">
                  <c:v>77.7</c:v>
                </c:pt>
                <c:pt idx="342">
                  <c:v>78.7</c:v>
                </c:pt>
                <c:pt idx="343">
                  <c:v>80.8</c:v>
                </c:pt>
                <c:pt idx="344">
                  <c:v>74</c:v>
                </c:pt>
                <c:pt idx="345">
                  <c:v>76.099999999999994</c:v>
                </c:pt>
                <c:pt idx="346">
                  <c:v>79.599999999999994</c:v>
                </c:pt>
                <c:pt idx="347">
                  <c:v>81.900000000000006</c:v>
                </c:pt>
                <c:pt idx="348">
                  <c:v>68.2</c:v>
                </c:pt>
                <c:pt idx="349">
                  <c:v>70.3</c:v>
                </c:pt>
                <c:pt idx="350">
                  <c:v>65.2</c:v>
                </c:pt>
                <c:pt idx="351">
                  <c:v>63.1</c:v>
                </c:pt>
                <c:pt idx="352">
                  <c:v>63.5</c:v>
                </c:pt>
                <c:pt idx="353">
                  <c:v>63.7</c:v>
                </c:pt>
                <c:pt idx="354">
                  <c:v>68.400000000000006</c:v>
                </c:pt>
                <c:pt idx="355">
                  <c:v>74.8</c:v>
                </c:pt>
                <c:pt idx="356">
                  <c:v>75.099999999999994</c:v>
                </c:pt>
                <c:pt idx="357">
                  <c:v>67.8</c:v>
                </c:pt>
                <c:pt idx="358">
                  <c:v>65.7</c:v>
                </c:pt>
                <c:pt idx="359">
                  <c:v>70.599999999999994</c:v>
                </c:pt>
                <c:pt idx="360">
                  <c:v>70.5</c:v>
                </c:pt>
                <c:pt idx="361">
                  <c:v>72</c:v>
                </c:pt>
                <c:pt idx="362">
                  <c:v>73.7</c:v>
                </c:pt>
                <c:pt idx="363">
                  <c:v>52.9</c:v>
                </c:pt>
                <c:pt idx="364">
                  <c:v>57.5</c:v>
                </c:pt>
                <c:pt idx="365">
                  <c:v>57</c:v>
                </c:pt>
                <c:pt idx="366">
                  <c:v>54.4</c:v>
                </c:pt>
                <c:pt idx="367">
                  <c:v>53.9</c:v>
                </c:pt>
                <c:pt idx="368">
                  <c:v>41.8</c:v>
                </c:pt>
                <c:pt idx="369">
                  <c:v>40.799999999999997</c:v>
                </c:pt>
                <c:pt idx="370">
                  <c:v>23.9</c:v>
                </c:pt>
                <c:pt idx="371">
                  <c:v>22.5</c:v>
                </c:pt>
                <c:pt idx="372">
                  <c:v>28.9</c:v>
                </c:pt>
                <c:pt idx="373">
                  <c:v>30.2</c:v>
                </c:pt>
                <c:pt idx="374">
                  <c:v>30.2</c:v>
                </c:pt>
                <c:pt idx="375">
                  <c:v>21.9</c:v>
                </c:pt>
                <c:pt idx="376">
                  <c:v>22.3</c:v>
                </c:pt>
                <c:pt idx="377">
                  <c:v>18.2</c:v>
                </c:pt>
                <c:pt idx="378">
                  <c:v>19.5</c:v>
                </c:pt>
                <c:pt idx="379">
                  <c:v>18.7</c:v>
                </c:pt>
                <c:pt idx="380">
                  <c:v>19.100000000000001</c:v>
                </c:pt>
                <c:pt idx="381">
                  <c:v>20.8</c:v>
                </c:pt>
                <c:pt idx="382">
                  <c:v>21.2</c:v>
                </c:pt>
                <c:pt idx="383">
                  <c:v>26.9</c:v>
                </c:pt>
                <c:pt idx="384">
                  <c:v>28</c:v>
                </c:pt>
                <c:pt idx="385">
                  <c:v>28.2</c:v>
                </c:pt>
                <c:pt idx="386">
                  <c:v>38.9</c:v>
                </c:pt>
                <c:pt idx="387">
                  <c:v>30.9</c:v>
                </c:pt>
                <c:pt idx="388">
                  <c:v>23.7</c:v>
                </c:pt>
                <c:pt idx="389">
                  <c:v>25.3</c:v>
                </c:pt>
                <c:pt idx="390">
                  <c:v>22</c:v>
                </c:pt>
                <c:pt idx="391">
                  <c:v>22</c:v>
                </c:pt>
                <c:pt idx="392">
                  <c:v>6.9</c:v>
                </c:pt>
                <c:pt idx="393">
                  <c:v>0.5</c:v>
                </c:pt>
                <c:pt idx="394">
                  <c:v>1.6</c:v>
                </c:pt>
                <c:pt idx="395">
                  <c:v>3</c:v>
                </c:pt>
                <c:pt idx="396">
                  <c:v>5.5</c:v>
                </c:pt>
                <c:pt idx="397">
                  <c:v>6.1</c:v>
                </c:pt>
                <c:pt idx="398">
                  <c:v>1.4</c:v>
                </c:pt>
                <c:pt idx="399">
                  <c:v>2.2000000000000002</c:v>
                </c:pt>
                <c:pt idx="400">
                  <c:v>-2.9</c:v>
                </c:pt>
                <c:pt idx="401">
                  <c:v>6</c:v>
                </c:pt>
                <c:pt idx="402">
                  <c:v>12.8</c:v>
                </c:pt>
                <c:pt idx="403">
                  <c:v>17.100000000000001</c:v>
                </c:pt>
                <c:pt idx="404">
                  <c:v>17.8</c:v>
                </c:pt>
                <c:pt idx="405">
                  <c:v>18.600000000000001</c:v>
                </c:pt>
                <c:pt idx="406">
                  <c:v>19.7</c:v>
                </c:pt>
                <c:pt idx="407">
                  <c:v>15.9</c:v>
                </c:pt>
                <c:pt idx="408">
                  <c:v>16.600000000000001</c:v>
                </c:pt>
                <c:pt idx="409">
                  <c:v>12.5</c:v>
                </c:pt>
                <c:pt idx="410">
                  <c:v>19</c:v>
                </c:pt>
                <c:pt idx="411">
                  <c:v>22</c:v>
                </c:pt>
                <c:pt idx="412">
                  <c:v>21</c:v>
                </c:pt>
                <c:pt idx="413">
                  <c:v>26.2</c:v>
                </c:pt>
                <c:pt idx="414">
                  <c:v>25.1</c:v>
                </c:pt>
                <c:pt idx="415">
                  <c:v>27.3</c:v>
                </c:pt>
                <c:pt idx="416">
                  <c:v>32.1</c:v>
                </c:pt>
                <c:pt idx="417">
                  <c:v>26.4</c:v>
                </c:pt>
                <c:pt idx="418">
                  <c:v>35.9</c:v>
                </c:pt>
                <c:pt idx="419">
                  <c:v>36.9</c:v>
                </c:pt>
                <c:pt idx="420">
                  <c:v>39.1</c:v>
                </c:pt>
                <c:pt idx="421">
                  <c:v>31</c:v>
                </c:pt>
                <c:pt idx="422">
                  <c:v>28.4</c:v>
                </c:pt>
                <c:pt idx="423">
                  <c:v>29.2</c:v>
                </c:pt>
                <c:pt idx="424">
                  <c:v>29.7</c:v>
                </c:pt>
                <c:pt idx="425">
                  <c:v>30.3</c:v>
                </c:pt>
                <c:pt idx="426">
                  <c:v>31.4</c:v>
                </c:pt>
                <c:pt idx="427">
                  <c:v>31.4</c:v>
                </c:pt>
                <c:pt idx="428">
                  <c:v>37.299999999999997</c:v>
                </c:pt>
                <c:pt idx="429">
                  <c:v>48.1</c:v>
                </c:pt>
                <c:pt idx="430">
                  <c:v>52</c:v>
                </c:pt>
                <c:pt idx="431">
                  <c:v>57</c:v>
                </c:pt>
                <c:pt idx="432">
                  <c:v>59.2</c:v>
                </c:pt>
                <c:pt idx="433">
                  <c:v>60.8</c:v>
                </c:pt>
                <c:pt idx="434">
                  <c:v>61.3</c:v>
                </c:pt>
                <c:pt idx="435">
                  <c:v>59.5</c:v>
                </c:pt>
                <c:pt idx="436">
                  <c:v>61.2</c:v>
                </c:pt>
                <c:pt idx="437">
                  <c:v>51.3</c:v>
                </c:pt>
                <c:pt idx="438">
                  <c:v>52.2</c:v>
                </c:pt>
                <c:pt idx="439">
                  <c:v>52.7</c:v>
                </c:pt>
                <c:pt idx="440">
                  <c:v>49.5</c:v>
                </c:pt>
                <c:pt idx="441">
                  <c:v>50.7</c:v>
                </c:pt>
                <c:pt idx="442">
                  <c:v>58.1</c:v>
                </c:pt>
                <c:pt idx="443">
                  <c:v>48.9</c:v>
                </c:pt>
                <c:pt idx="444">
                  <c:v>50.3</c:v>
                </c:pt>
                <c:pt idx="445">
                  <c:v>47.9</c:v>
                </c:pt>
                <c:pt idx="446">
                  <c:v>44.7</c:v>
                </c:pt>
                <c:pt idx="447">
                  <c:v>39</c:v>
                </c:pt>
                <c:pt idx="448">
                  <c:v>38.5</c:v>
                </c:pt>
                <c:pt idx="449">
                  <c:v>35</c:v>
                </c:pt>
                <c:pt idx="450">
                  <c:v>34.9</c:v>
                </c:pt>
                <c:pt idx="451">
                  <c:v>38.9</c:v>
                </c:pt>
                <c:pt idx="452">
                  <c:v>38.1</c:v>
                </c:pt>
                <c:pt idx="453">
                  <c:v>37.6</c:v>
                </c:pt>
                <c:pt idx="454">
                  <c:v>38.6</c:v>
                </c:pt>
                <c:pt idx="455">
                  <c:v>40.4</c:v>
                </c:pt>
                <c:pt idx="456">
                  <c:v>37.5</c:v>
                </c:pt>
                <c:pt idx="457">
                  <c:v>34.200000000000003</c:v>
                </c:pt>
                <c:pt idx="458">
                  <c:v>32.700000000000003</c:v>
                </c:pt>
                <c:pt idx="459">
                  <c:v>32.700000000000003</c:v>
                </c:pt>
                <c:pt idx="460">
                  <c:v>29</c:v>
                </c:pt>
                <c:pt idx="461">
                  <c:v>29</c:v>
                </c:pt>
                <c:pt idx="462">
                  <c:v>29</c:v>
                </c:pt>
                <c:pt idx="463">
                  <c:v>36</c:v>
                </c:pt>
                <c:pt idx="464">
                  <c:v>23.6</c:v>
                </c:pt>
                <c:pt idx="465">
                  <c:v>23.5</c:v>
                </c:pt>
                <c:pt idx="466">
                  <c:v>24.1</c:v>
                </c:pt>
                <c:pt idx="467">
                  <c:v>22.8</c:v>
                </c:pt>
                <c:pt idx="468">
                  <c:v>24.2</c:v>
                </c:pt>
                <c:pt idx="469">
                  <c:v>23.6</c:v>
                </c:pt>
                <c:pt idx="470">
                  <c:v>21.9</c:v>
                </c:pt>
                <c:pt idx="471">
                  <c:v>19.7</c:v>
                </c:pt>
                <c:pt idx="472">
                  <c:v>-11</c:v>
                </c:pt>
                <c:pt idx="473">
                  <c:v>-10.8</c:v>
                </c:pt>
                <c:pt idx="474">
                  <c:v>-6.1</c:v>
                </c:pt>
                <c:pt idx="475">
                  <c:v>-5.4</c:v>
                </c:pt>
                <c:pt idx="476">
                  <c:v>-3.1</c:v>
                </c:pt>
                <c:pt idx="477">
                  <c:v>-4.5</c:v>
                </c:pt>
                <c:pt idx="478">
                  <c:v>-15.7</c:v>
                </c:pt>
                <c:pt idx="479">
                  <c:v>-15.2</c:v>
                </c:pt>
                <c:pt idx="480">
                  <c:v>-17.7</c:v>
                </c:pt>
                <c:pt idx="481">
                  <c:v>-17.7</c:v>
                </c:pt>
                <c:pt idx="482">
                  <c:v>-19</c:v>
                </c:pt>
                <c:pt idx="483">
                  <c:v>-24.7</c:v>
                </c:pt>
                <c:pt idx="484">
                  <c:v>-13.3</c:v>
                </c:pt>
                <c:pt idx="485">
                  <c:v>-6.1</c:v>
                </c:pt>
                <c:pt idx="486">
                  <c:v>-6.1</c:v>
                </c:pt>
                <c:pt idx="487">
                  <c:v>-9.6999999999999993</c:v>
                </c:pt>
                <c:pt idx="488">
                  <c:v>-11.8</c:v>
                </c:pt>
                <c:pt idx="489">
                  <c:v>-11.4</c:v>
                </c:pt>
                <c:pt idx="490">
                  <c:v>-9.1</c:v>
                </c:pt>
                <c:pt idx="491">
                  <c:v>-7.3</c:v>
                </c:pt>
                <c:pt idx="492">
                  <c:v>9.1</c:v>
                </c:pt>
                <c:pt idx="493">
                  <c:v>-0.5</c:v>
                </c:pt>
                <c:pt idx="494">
                  <c:v>-1.3</c:v>
                </c:pt>
                <c:pt idx="495">
                  <c:v>-2.7</c:v>
                </c:pt>
                <c:pt idx="496">
                  <c:v>-2.7</c:v>
                </c:pt>
                <c:pt idx="497">
                  <c:v>-4.2</c:v>
                </c:pt>
                <c:pt idx="498">
                  <c:v>-4.4000000000000004</c:v>
                </c:pt>
                <c:pt idx="499">
                  <c:v>-5.8</c:v>
                </c:pt>
                <c:pt idx="500">
                  <c:v>-5.8</c:v>
                </c:pt>
                <c:pt idx="501">
                  <c:v>-5.8</c:v>
                </c:pt>
                <c:pt idx="502">
                  <c:v>-6.4</c:v>
                </c:pt>
                <c:pt idx="503">
                  <c:v>-7.9</c:v>
                </c:pt>
                <c:pt idx="504">
                  <c:v>-10.3</c:v>
                </c:pt>
                <c:pt idx="505">
                  <c:v>-5.7</c:v>
                </c:pt>
                <c:pt idx="506">
                  <c:v>-2.9</c:v>
                </c:pt>
                <c:pt idx="507">
                  <c:v>3.5</c:v>
                </c:pt>
                <c:pt idx="508">
                  <c:v>9.9</c:v>
                </c:pt>
                <c:pt idx="509">
                  <c:v>13.2</c:v>
                </c:pt>
                <c:pt idx="510">
                  <c:v>16</c:v>
                </c:pt>
                <c:pt idx="511">
                  <c:v>19</c:v>
                </c:pt>
                <c:pt idx="512">
                  <c:v>17.5</c:v>
                </c:pt>
                <c:pt idx="513">
                  <c:v>18.2</c:v>
                </c:pt>
                <c:pt idx="514">
                  <c:v>18.8</c:v>
                </c:pt>
                <c:pt idx="515">
                  <c:v>19.7</c:v>
                </c:pt>
                <c:pt idx="516">
                  <c:v>12.9</c:v>
                </c:pt>
                <c:pt idx="517">
                  <c:v>9.5</c:v>
                </c:pt>
                <c:pt idx="518">
                  <c:v>8.9</c:v>
                </c:pt>
                <c:pt idx="519">
                  <c:v>14</c:v>
                </c:pt>
                <c:pt idx="520">
                  <c:v>14.2</c:v>
                </c:pt>
                <c:pt idx="521">
                  <c:v>13.3</c:v>
                </c:pt>
                <c:pt idx="522">
                  <c:v>13.4</c:v>
                </c:pt>
                <c:pt idx="523">
                  <c:v>13.5</c:v>
                </c:pt>
                <c:pt idx="524">
                  <c:v>13.6</c:v>
                </c:pt>
                <c:pt idx="525">
                  <c:v>13.8</c:v>
                </c:pt>
                <c:pt idx="526">
                  <c:v>11.3</c:v>
                </c:pt>
                <c:pt idx="527">
                  <c:v>12.1</c:v>
                </c:pt>
                <c:pt idx="528">
                  <c:v>14.3</c:v>
                </c:pt>
                <c:pt idx="529">
                  <c:v>10.8</c:v>
                </c:pt>
                <c:pt idx="530">
                  <c:v>8.4</c:v>
                </c:pt>
                <c:pt idx="531">
                  <c:v>8.9</c:v>
                </c:pt>
                <c:pt idx="532">
                  <c:v>13.2</c:v>
                </c:pt>
                <c:pt idx="533">
                  <c:v>21.5</c:v>
                </c:pt>
                <c:pt idx="534">
                  <c:v>21.6</c:v>
                </c:pt>
                <c:pt idx="535">
                  <c:v>21.5</c:v>
                </c:pt>
                <c:pt idx="536">
                  <c:v>18.899999999999999</c:v>
                </c:pt>
                <c:pt idx="537">
                  <c:v>14.1</c:v>
                </c:pt>
                <c:pt idx="538">
                  <c:v>13.5</c:v>
                </c:pt>
                <c:pt idx="539">
                  <c:v>12.4</c:v>
                </c:pt>
                <c:pt idx="540">
                  <c:v>8.1</c:v>
                </c:pt>
                <c:pt idx="541">
                  <c:v>14.5</c:v>
                </c:pt>
                <c:pt idx="542">
                  <c:v>13.7</c:v>
                </c:pt>
                <c:pt idx="543">
                  <c:v>16.399999999999999</c:v>
                </c:pt>
                <c:pt idx="544">
                  <c:v>16.3</c:v>
                </c:pt>
                <c:pt idx="545">
                  <c:v>20.7</c:v>
                </c:pt>
                <c:pt idx="546">
                  <c:v>25.5</c:v>
                </c:pt>
                <c:pt idx="547">
                  <c:v>25.5</c:v>
                </c:pt>
                <c:pt idx="548">
                  <c:v>23.5</c:v>
                </c:pt>
                <c:pt idx="549">
                  <c:v>22.3</c:v>
                </c:pt>
                <c:pt idx="550">
                  <c:v>19.399999999999999</c:v>
                </c:pt>
                <c:pt idx="551">
                  <c:v>17.399999999999999</c:v>
                </c:pt>
                <c:pt idx="552">
                  <c:v>13.4</c:v>
                </c:pt>
                <c:pt idx="553">
                  <c:v>5.3</c:v>
                </c:pt>
                <c:pt idx="554">
                  <c:v>5.0999999999999996</c:v>
                </c:pt>
                <c:pt idx="555">
                  <c:v>4.2</c:v>
                </c:pt>
                <c:pt idx="556">
                  <c:v>5.2</c:v>
                </c:pt>
                <c:pt idx="557">
                  <c:v>4.7</c:v>
                </c:pt>
                <c:pt idx="558">
                  <c:v>7.5</c:v>
                </c:pt>
                <c:pt idx="559">
                  <c:v>6.3</c:v>
                </c:pt>
                <c:pt idx="560">
                  <c:v>10.4</c:v>
                </c:pt>
                <c:pt idx="561">
                  <c:v>17.899999999999999</c:v>
                </c:pt>
                <c:pt idx="562">
                  <c:v>18.5</c:v>
                </c:pt>
                <c:pt idx="563">
                  <c:v>15</c:v>
                </c:pt>
                <c:pt idx="564">
                  <c:v>14.9</c:v>
                </c:pt>
                <c:pt idx="565">
                  <c:v>10.9</c:v>
                </c:pt>
                <c:pt idx="566">
                  <c:v>10.9</c:v>
                </c:pt>
                <c:pt idx="567">
                  <c:v>5.9</c:v>
                </c:pt>
                <c:pt idx="568">
                  <c:v>6.1</c:v>
                </c:pt>
                <c:pt idx="569">
                  <c:v>6.1</c:v>
                </c:pt>
                <c:pt idx="570">
                  <c:v>3.6</c:v>
                </c:pt>
                <c:pt idx="571">
                  <c:v>2.2999999999999998</c:v>
                </c:pt>
                <c:pt idx="572">
                  <c:v>2.5</c:v>
                </c:pt>
                <c:pt idx="573">
                  <c:v>5.8</c:v>
                </c:pt>
                <c:pt idx="574">
                  <c:v>5.4</c:v>
                </c:pt>
                <c:pt idx="575">
                  <c:v>-9.6</c:v>
                </c:pt>
                <c:pt idx="576">
                  <c:v>-13.9</c:v>
                </c:pt>
                <c:pt idx="577">
                  <c:v>-14.6</c:v>
                </c:pt>
                <c:pt idx="578">
                  <c:v>-17.7</c:v>
                </c:pt>
                <c:pt idx="579">
                  <c:v>-18.899999999999999</c:v>
                </c:pt>
                <c:pt idx="580">
                  <c:v>-23.8</c:v>
                </c:pt>
                <c:pt idx="581">
                  <c:v>-26.6</c:v>
                </c:pt>
                <c:pt idx="582">
                  <c:v>-20.9</c:v>
                </c:pt>
                <c:pt idx="583">
                  <c:v>-27.6</c:v>
                </c:pt>
                <c:pt idx="584">
                  <c:v>-23.3</c:v>
                </c:pt>
                <c:pt idx="585">
                  <c:v>-23.3</c:v>
                </c:pt>
                <c:pt idx="586">
                  <c:v>-24.3</c:v>
                </c:pt>
                <c:pt idx="587">
                  <c:v>-19.100000000000001</c:v>
                </c:pt>
                <c:pt idx="588">
                  <c:v>-22.1</c:v>
                </c:pt>
                <c:pt idx="589">
                  <c:v>-21.6</c:v>
                </c:pt>
                <c:pt idx="590">
                  <c:v>-9.8000000000000007</c:v>
                </c:pt>
                <c:pt idx="591">
                  <c:v>-16.399999999999999</c:v>
                </c:pt>
                <c:pt idx="592">
                  <c:v>-17.600000000000001</c:v>
                </c:pt>
                <c:pt idx="593">
                  <c:v>-25.4</c:v>
                </c:pt>
                <c:pt idx="594">
                  <c:v>-31.5</c:v>
                </c:pt>
                <c:pt idx="595">
                  <c:v>-34.1</c:v>
                </c:pt>
                <c:pt idx="596">
                  <c:v>-25.2</c:v>
                </c:pt>
                <c:pt idx="597">
                  <c:v>-29.3</c:v>
                </c:pt>
                <c:pt idx="598">
                  <c:v>-29.8</c:v>
                </c:pt>
                <c:pt idx="599">
                  <c:v>-23.5</c:v>
                </c:pt>
                <c:pt idx="600">
                  <c:v>-25.1</c:v>
                </c:pt>
                <c:pt idx="601">
                  <c:v>-25.4</c:v>
                </c:pt>
                <c:pt idx="602">
                  <c:v>-43.5</c:v>
                </c:pt>
                <c:pt idx="603">
                  <c:v>-43.9</c:v>
                </c:pt>
                <c:pt idx="604">
                  <c:v>-56.9</c:v>
                </c:pt>
                <c:pt idx="605">
                  <c:v>-56.5</c:v>
                </c:pt>
                <c:pt idx="606">
                  <c:v>-61.8</c:v>
                </c:pt>
                <c:pt idx="607">
                  <c:v>-66.400000000000006</c:v>
                </c:pt>
                <c:pt idx="608">
                  <c:v>-53.5</c:v>
                </c:pt>
                <c:pt idx="609">
                  <c:v>-58.3</c:v>
                </c:pt>
                <c:pt idx="610">
                  <c:v>-59.6</c:v>
                </c:pt>
                <c:pt idx="611">
                  <c:v>-64.400000000000006</c:v>
                </c:pt>
                <c:pt idx="612">
                  <c:v>-60</c:v>
                </c:pt>
                <c:pt idx="613">
                  <c:v>-53.2</c:v>
                </c:pt>
                <c:pt idx="614">
                  <c:v>-52</c:v>
                </c:pt>
                <c:pt idx="615">
                  <c:v>-53.7</c:v>
                </c:pt>
                <c:pt idx="616">
                  <c:v>-51.3</c:v>
                </c:pt>
                <c:pt idx="617">
                  <c:v>-54.1</c:v>
                </c:pt>
                <c:pt idx="618">
                  <c:v>-52.5</c:v>
                </c:pt>
                <c:pt idx="619">
                  <c:v>-59.2</c:v>
                </c:pt>
                <c:pt idx="620">
                  <c:v>-56</c:v>
                </c:pt>
                <c:pt idx="621">
                  <c:v>-56.7</c:v>
                </c:pt>
                <c:pt idx="622">
                  <c:v>-64.3</c:v>
                </c:pt>
                <c:pt idx="623">
                  <c:v>-63.7</c:v>
                </c:pt>
                <c:pt idx="624">
                  <c:v>-69.3</c:v>
                </c:pt>
                <c:pt idx="625">
                  <c:v>-75.900000000000006</c:v>
                </c:pt>
                <c:pt idx="626">
                  <c:v>-75.8</c:v>
                </c:pt>
                <c:pt idx="627">
                  <c:v>-71.599999999999994</c:v>
                </c:pt>
                <c:pt idx="628">
                  <c:v>-68.3</c:v>
                </c:pt>
                <c:pt idx="629">
                  <c:v>-68.900000000000006</c:v>
                </c:pt>
                <c:pt idx="630">
                  <c:v>-66.900000000000006</c:v>
                </c:pt>
                <c:pt idx="631">
                  <c:v>-71.7</c:v>
                </c:pt>
                <c:pt idx="632">
                  <c:v>-78.7</c:v>
                </c:pt>
                <c:pt idx="633">
                  <c:v>-68.2</c:v>
                </c:pt>
                <c:pt idx="634">
                  <c:v>-68.3</c:v>
                </c:pt>
                <c:pt idx="635">
                  <c:v>-65.5</c:v>
                </c:pt>
                <c:pt idx="636">
                  <c:v>-65</c:v>
                </c:pt>
                <c:pt idx="637">
                  <c:v>-62.8</c:v>
                </c:pt>
                <c:pt idx="638">
                  <c:v>-49</c:v>
                </c:pt>
                <c:pt idx="639">
                  <c:v>-46</c:v>
                </c:pt>
                <c:pt idx="640">
                  <c:v>-45</c:v>
                </c:pt>
                <c:pt idx="641">
                  <c:v>-50.3</c:v>
                </c:pt>
                <c:pt idx="642">
                  <c:v>-46.7</c:v>
                </c:pt>
                <c:pt idx="643">
                  <c:v>-42.8</c:v>
                </c:pt>
                <c:pt idx="644">
                  <c:v>-43.4</c:v>
                </c:pt>
                <c:pt idx="645">
                  <c:v>-44.2</c:v>
                </c:pt>
                <c:pt idx="646">
                  <c:v>-45.6</c:v>
                </c:pt>
                <c:pt idx="647">
                  <c:v>-49.4</c:v>
                </c:pt>
                <c:pt idx="648">
                  <c:v>-37.799999999999997</c:v>
                </c:pt>
                <c:pt idx="649">
                  <c:v>-37.799999999999997</c:v>
                </c:pt>
                <c:pt idx="650">
                  <c:v>-43.7</c:v>
                </c:pt>
                <c:pt idx="651">
                  <c:v>-39.9</c:v>
                </c:pt>
                <c:pt idx="652">
                  <c:v>-41.2</c:v>
                </c:pt>
                <c:pt idx="653">
                  <c:v>-39.6</c:v>
                </c:pt>
                <c:pt idx="654">
                  <c:v>-37.299999999999997</c:v>
                </c:pt>
                <c:pt idx="655">
                  <c:v>-20.8</c:v>
                </c:pt>
                <c:pt idx="656">
                  <c:v>-14.8</c:v>
                </c:pt>
                <c:pt idx="657">
                  <c:v>-13.3</c:v>
                </c:pt>
                <c:pt idx="658">
                  <c:v>-2.2999999999999998</c:v>
                </c:pt>
                <c:pt idx="659">
                  <c:v>0.2</c:v>
                </c:pt>
                <c:pt idx="660">
                  <c:v>-3.3</c:v>
                </c:pt>
                <c:pt idx="661">
                  <c:v>12.8</c:v>
                </c:pt>
                <c:pt idx="662">
                  <c:v>19.600000000000001</c:v>
                </c:pt>
                <c:pt idx="663">
                  <c:v>21.1</c:v>
                </c:pt>
                <c:pt idx="664">
                  <c:v>14.5</c:v>
                </c:pt>
                <c:pt idx="665">
                  <c:v>16.3</c:v>
                </c:pt>
                <c:pt idx="666">
                  <c:v>20.3</c:v>
                </c:pt>
                <c:pt idx="667">
                  <c:v>18.100000000000001</c:v>
                </c:pt>
                <c:pt idx="668">
                  <c:v>22.9</c:v>
                </c:pt>
                <c:pt idx="669">
                  <c:v>35.5</c:v>
                </c:pt>
                <c:pt idx="670">
                  <c:v>28</c:v>
                </c:pt>
                <c:pt idx="671">
                  <c:v>39.4</c:v>
                </c:pt>
                <c:pt idx="672">
                  <c:v>37.1</c:v>
                </c:pt>
                <c:pt idx="673">
                  <c:v>62</c:v>
                </c:pt>
                <c:pt idx="674">
                  <c:v>62.5</c:v>
                </c:pt>
                <c:pt idx="675">
                  <c:v>62.5</c:v>
                </c:pt>
                <c:pt idx="676">
                  <c:v>67.099999999999994</c:v>
                </c:pt>
                <c:pt idx="677">
                  <c:v>66.900000000000006</c:v>
                </c:pt>
                <c:pt idx="678">
                  <c:v>69.400000000000006</c:v>
                </c:pt>
                <c:pt idx="679">
                  <c:v>69.900000000000006</c:v>
                </c:pt>
                <c:pt idx="680">
                  <c:v>66.3</c:v>
                </c:pt>
                <c:pt idx="681">
                  <c:v>68.5</c:v>
                </c:pt>
                <c:pt idx="682">
                  <c:v>55.6</c:v>
                </c:pt>
                <c:pt idx="683">
                  <c:v>50.6</c:v>
                </c:pt>
                <c:pt idx="684">
                  <c:v>48.8</c:v>
                </c:pt>
                <c:pt idx="685">
                  <c:v>57</c:v>
                </c:pt>
                <c:pt idx="686">
                  <c:v>56.9</c:v>
                </c:pt>
                <c:pt idx="687">
                  <c:v>56.9</c:v>
                </c:pt>
                <c:pt idx="688">
                  <c:v>50.4</c:v>
                </c:pt>
                <c:pt idx="689">
                  <c:v>50.4</c:v>
                </c:pt>
                <c:pt idx="690">
                  <c:v>50.1</c:v>
                </c:pt>
                <c:pt idx="691">
                  <c:v>46.5</c:v>
                </c:pt>
                <c:pt idx="692">
                  <c:v>55.4</c:v>
                </c:pt>
                <c:pt idx="693">
                  <c:v>59.1</c:v>
                </c:pt>
                <c:pt idx="694">
                  <c:v>59.5</c:v>
                </c:pt>
                <c:pt idx="695">
                  <c:v>56.9</c:v>
                </c:pt>
                <c:pt idx="696">
                  <c:v>56.4</c:v>
                </c:pt>
                <c:pt idx="697">
                  <c:v>54.3</c:v>
                </c:pt>
                <c:pt idx="698">
                  <c:v>46.5</c:v>
                </c:pt>
                <c:pt idx="699">
                  <c:v>48.8</c:v>
                </c:pt>
                <c:pt idx="700">
                  <c:v>46.2</c:v>
                </c:pt>
                <c:pt idx="701">
                  <c:v>47</c:v>
                </c:pt>
                <c:pt idx="702">
                  <c:v>47.8</c:v>
                </c:pt>
                <c:pt idx="703">
                  <c:v>40.9</c:v>
                </c:pt>
                <c:pt idx="704">
                  <c:v>49.1</c:v>
                </c:pt>
                <c:pt idx="705">
                  <c:v>54.6</c:v>
                </c:pt>
                <c:pt idx="706">
                  <c:v>54.3</c:v>
                </c:pt>
                <c:pt idx="707">
                  <c:v>57.7</c:v>
                </c:pt>
                <c:pt idx="708">
                  <c:v>57.1</c:v>
                </c:pt>
                <c:pt idx="709">
                  <c:v>57.1</c:v>
                </c:pt>
                <c:pt idx="710">
                  <c:v>58.4</c:v>
                </c:pt>
                <c:pt idx="711">
                  <c:v>59.1</c:v>
                </c:pt>
                <c:pt idx="712">
                  <c:v>42</c:v>
                </c:pt>
                <c:pt idx="713">
                  <c:v>46.8</c:v>
                </c:pt>
                <c:pt idx="714">
                  <c:v>42.3</c:v>
                </c:pt>
                <c:pt idx="715">
                  <c:v>40.1</c:v>
                </c:pt>
                <c:pt idx="716">
                  <c:v>41.8</c:v>
                </c:pt>
                <c:pt idx="717">
                  <c:v>31.2</c:v>
                </c:pt>
                <c:pt idx="718">
                  <c:v>31.5</c:v>
                </c:pt>
                <c:pt idx="719">
                  <c:v>31.7</c:v>
                </c:pt>
                <c:pt idx="720">
                  <c:v>18</c:v>
                </c:pt>
                <c:pt idx="721">
                  <c:v>16.2</c:v>
                </c:pt>
                <c:pt idx="722">
                  <c:v>12.9</c:v>
                </c:pt>
                <c:pt idx="723">
                  <c:v>10.6</c:v>
                </c:pt>
                <c:pt idx="724">
                  <c:v>-7.1</c:v>
                </c:pt>
                <c:pt idx="725">
                  <c:v>-3.2</c:v>
                </c:pt>
                <c:pt idx="726">
                  <c:v>-0.1</c:v>
                </c:pt>
                <c:pt idx="727">
                  <c:v>-2.7</c:v>
                </c:pt>
                <c:pt idx="728">
                  <c:v>-6.5</c:v>
                </c:pt>
                <c:pt idx="729">
                  <c:v>-7.3</c:v>
                </c:pt>
                <c:pt idx="730">
                  <c:v>-7.1</c:v>
                </c:pt>
                <c:pt idx="731">
                  <c:v>-4.5999999999999996</c:v>
                </c:pt>
                <c:pt idx="732">
                  <c:v>-5.3</c:v>
                </c:pt>
                <c:pt idx="733">
                  <c:v>-6.8</c:v>
                </c:pt>
                <c:pt idx="734">
                  <c:v>-5.4</c:v>
                </c:pt>
                <c:pt idx="735">
                  <c:v>-6.7</c:v>
                </c:pt>
                <c:pt idx="736">
                  <c:v>-2.7</c:v>
                </c:pt>
                <c:pt idx="737">
                  <c:v>0</c:v>
                </c:pt>
                <c:pt idx="738">
                  <c:v>-16.100000000000001</c:v>
                </c:pt>
                <c:pt idx="739">
                  <c:v>-19.8</c:v>
                </c:pt>
                <c:pt idx="740">
                  <c:v>-22.1</c:v>
                </c:pt>
                <c:pt idx="741">
                  <c:v>-3.4</c:v>
                </c:pt>
                <c:pt idx="742">
                  <c:v>-2.6</c:v>
                </c:pt>
                <c:pt idx="743">
                  <c:v>-1.2</c:v>
                </c:pt>
                <c:pt idx="744">
                  <c:v>-10.7</c:v>
                </c:pt>
                <c:pt idx="745">
                  <c:v>-0.5</c:v>
                </c:pt>
                <c:pt idx="746">
                  <c:v>-2.9</c:v>
                </c:pt>
                <c:pt idx="747">
                  <c:v>10.1</c:v>
                </c:pt>
                <c:pt idx="748">
                  <c:v>11.6</c:v>
                </c:pt>
                <c:pt idx="749">
                  <c:v>6</c:v>
                </c:pt>
                <c:pt idx="750">
                  <c:v>5.0999999999999996</c:v>
                </c:pt>
                <c:pt idx="751">
                  <c:v>3.6</c:v>
                </c:pt>
                <c:pt idx="752">
                  <c:v>3.9</c:v>
                </c:pt>
                <c:pt idx="753">
                  <c:v>15.4</c:v>
                </c:pt>
                <c:pt idx="754">
                  <c:v>14</c:v>
                </c:pt>
                <c:pt idx="755">
                  <c:v>17.899999999999999</c:v>
                </c:pt>
                <c:pt idx="756">
                  <c:v>19.5</c:v>
                </c:pt>
                <c:pt idx="757">
                  <c:v>20</c:v>
                </c:pt>
                <c:pt idx="758">
                  <c:v>20</c:v>
                </c:pt>
                <c:pt idx="759">
                  <c:v>21.7</c:v>
                </c:pt>
                <c:pt idx="760">
                  <c:v>22.9</c:v>
                </c:pt>
                <c:pt idx="761">
                  <c:v>23.6</c:v>
                </c:pt>
                <c:pt idx="762">
                  <c:v>23.9</c:v>
                </c:pt>
                <c:pt idx="763">
                  <c:v>28.1</c:v>
                </c:pt>
                <c:pt idx="764">
                  <c:v>23.6</c:v>
                </c:pt>
                <c:pt idx="765">
                  <c:v>23.5</c:v>
                </c:pt>
                <c:pt idx="766">
                  <c:v>25.9</c:v>
                </c:pt>
                <c:pt idx="767">
                  <c:v>26.8</c:v>
                </c:pt>
                <c:pt idx="768">
                  <c:v>31</c:v>
                </c:pt>
                <c:pt idx="769">
                  <c:v>30.7</c:v>
                </c:pt>
                <c:pt idx="770">
                  <c:v>32.5</c:v>
                </c:pt>
                <c:pt idx="771">
                  <c:v>35</c:v>
                </c:pt>
                <c:pt idx="772">
                  <c:v>31.6</c:v>
                </c:pt>
                <c:pt idx="773">
                  <c:v>31.8</c:v>
                </c:pt>
                <c:pt idx="774">
                  <c:v>32.200000000000003</c:v>
                </c:pt>
                <c:pt idx="775">
                  <c:v>32.6</c:v>
                </c:pt>
                <c:pt idx="776">
                  <c:v>33.6</c:v>
                </c:pt>
                <c:pt idx="777">
                  <c:v>18.5</c:v>
                </c:pt>
                <c:pt idx="778">
                  <c:v>18.600000000000001</c:v>
                </c:pt>
                <c:pt idx="779">
                  <c:v>22.5</c:v>
                </c:pt>
                <c:pt idx="780">
                  <c:v>25.9</c:v>
                </c:pt>
                <c:pt idx="781">
                  <c:v>26.4</c:v>
                </c:pt>
                <c:pt idx="782">
                  <c:v>26.4</c:v>
                </c:pt>
                <c:pt idx="783">
                  <c:v>26.5</c:v>
                </c:pt>
              </c:numCache>
            </c:numRef>
          </c:val>
          <c:smooth val="0"/>
          <c:extLst>
            <c:ext xmlns:c16="http://schemas.microsoft.com/office/drawing/2014/chart" uri="{C3380CC4-5D6E-409C-BE32-E72D297353CC}">
              <c16:uniqueId val="{00000000-EFB4-4902-9C1A-69262FC7B74E}"/>
            </c:ext>
          </c:extLst>
        </c:ser>
        <c:dLbls>
          <c:showLegendKey val="0"/>
          <c:showVal val="0"/>
          <c:showCatName val="0"/>
          <c:showSerName val="0"/>
          <c:showPercent val="0"/>
          <c:showBubbleSize val="0"/>
        </c:dLbls>
        <c:marker val="1"/>
        <c:smooth val="0"/>
        <c:axId val="927020303"/>
        <c:axId val="927021967"/>
      </c:lineChart>
      <c:lineChart>
        <c:grouping val="standard"/>
        <c:varyColors val="0"/>
        <c:ser>
          <c:idx val="1"/>
          <c:order val="1"/>
          <c:tx>
            <c:strRef>
              <c:f>Sheet1!$I$2</c:f>
              <c:strCache>
                <c:ptCount val="1"/>
                <c:pt idx="0">
                  <c:v>Laufende Verzinsung 10j. US-Staatsanleihen (rechts)</c:v>
                </c:pt>
              </c:strCache>
            </c:strRef>
          </c:tx>
          <c:spPr>
            <a:ln w="28575" cap="rnd">
              <a:solidFill>
                <a:schemeClr val="accent2"/>
              </a:solidFill>
              <a:round/>
            </a:ln>
            <a:effectLst/>
          </c:spPr>
          <c:marker>
            <c:symbol val="none"/>
          </c:marker>
          <c:cat>
            <c:numRef>
              <c:f>Sheet1!$G$5:$G$788</c:f>
              <c:numCache>
                <c:formatCode>m/d/yyyy</c:formatCode>
                <c:ptCount val="784"/>
                <c:pt idx="0">
                  <c:v>45621</c:v>
                </c:pt>
                <c:pt idx="1">
                  <c:v>45618</c:v>
                </c:pt>
                <c:pt idx="2">
                  <c:v>45617</c:v>
                </c:pt>
                <c:pt idx="3">
                  <c:v>45616</c:v>
                </c:pt>
                <c:pt idx="4">
                  <c:v>45615</c:v>
                </c:pt>
                <c:pt idx="5">
                  <c:v>45614</c:v>
                </c:pt>
                <c:pt idx="6">
                  <c:v>45611</c:v>
                </c:pt>
                <c:pt idx="7">
                  <c:v>45610</c:v>
                </c:pt>
                <c:pt idx="8">
                  <c:v>45609</c:v>
                </c:pt>
                <c:pt idx="9">
                  <c:v>45608</c:v>
                </c:pt>
                <c:pt idx="10">
                  <c:v>45607</c:v>
                </c:pt>
                <c:pt idx="11">
                  <c:v>45604</c:v>
                </c:pt>
                <c:pt idx="12">
                  <c:v>45603</c:v>
                </c:pt>
                <c:pt idx="13">
                  <c:v>45602</c:v>
                </c:pt>
                <c:pt idx="14">
                  <c:v>45601</c:v>
                </c:pt>
                <c:pt idx="15">
                  <c:v>45600</c:v>
                </c:pt>
                <c:pt idx="16">
                  <c:v>45597</c:v>
                </c:pt>
                <c:pt idx="17">
                  <c:v>45596</c:v>
                </c:pt>
                <c:pt idx="18">
                  <c:v>45595</c:v>
                </c:pt>
                <c:pt idx="19">
                  <c:v>45594</c:v>
                </c:pt>
                <c:pt idx="20">
                  <c:v>45593</c:v>
                </c:pt>
                <c:pt idx="21">
                  <c:v>45590</c:v>
                </c:pt>
                <c:pt idx="22">
                  <c:v>45589</c:v>
                </c:pt>
                <c:pt idx="23">
                  <c:v>45588</c:v>
                </c:pt>
                <c:pt idx="24">
                  <c:v>45587</c:v>
                </c:pt>
                <c:pt idx="25">
                  <c:v>45586</c:v>
                </c:pt>
                <c:pt idx="26">
                  <c:v>45583</c:v>
                </c:pt>
                <c:pt idx="27">
                  <c:v>45582</c:v>
                </c:pt>
                <c:pt idx="28">
                  <c:v>45581</c:v>
                </c:pt>
                <c:pt idx="29">
                  <c:v>45580</c:v>
                </c:pt>
                <c:pt idx="30">
                  <c:v>45579</c:v>
                </c:pt>
                <c:pt idx="31">
                  <c:v>45576</c:v>
                </c:pt>
                <c:pt idx="32">
                  <c:v>45575</c:v>
                </c:pt>
                <c:pt idx="33">
                  <c:v>45574</c:v>
                </c:pt>
                <c:pt idx="34">
                  <c:v>45573</c:v>
                </c:pt>
                <c:pt idx="35">
                  <c:v>45572</c:v>
                </c:pt>
                <c:pt idx="36">
                  <c:v>45569</c:v>
                </c:pt>
                <c:pt idx="37">
                  <c:v>45568</c:v>
                </c:pt>
                <c:pt idx="38">
                  <c:v>45567</c:v>
                </c:pt>
                <c:pt idx="39">
                  <c:v>45566</c:v>
                </c:pt>
                <c:pt idx="40">
                  <c:v>45565</c:v>
                </c:pt>
                <c:pt idx="41">
                  <c:v>45562</c:v>
                </c:pt>
                <c:pt idx="42">
                  <c:v>45561</c:v>
                </c:pt>
                <c:pt idx="43">
                  <c:v>45560</c:v>
                </c:pt>
                <c:pt idx="44">
                  <c:v>45559</c:v>
                </c:pt>
                <c:pt idx="45">
                  <c:v>45558</c:v>
                </c:pt>
                <c:pt idx="46">
                  <c:v>45555</c:v>
                </c:pt>
                <c:pt idx="47">
                  <c:v>45554</c:v>
                </c:pt>
                <c:pt idx="48">
                  <c:v>45553</c:v>
                </c:pt>
                <c:pt idx="49">
                  <c:v>45552</c:v>
                </c:pt>
                <c:pt idx="50">
                  <c:v>45551</c:v>
                </c:pt>
                <c:pt idx="51">
                  <c:v>45548</c:v>
                </c:pt>
                <c:pt idx="52">
                  <c:v>45547</c:v>
                </c:pt>
                <c:pt idx="53">
                  <c:v>45546</c:v>
                </c:pt>
                <c:pt idx="54">
                  <c:v>45545</c:v>
                </c:pt>
                <c:pt idx="55">
                  <c:v>45544</c:v>
                </c:pt>
                <c:pt idx="56">
                  <c:v>45541</c:v>
                </c:pt>
                <c:pt idx="57">
                  <c:v>45540</c:v>
                </c:pt>
                <c:pt idx="58">
                  <c:v>45539</c:v>
                </c:pt>
                <c:pt idx="59">
                  <c:v>45538</c:v>
                </c:pt>
                <c:pt idx="60">
                  <c:v>45537</c:v>
                </c:pt>
                <c:pt idx="61">
                  <c:v>45534</c:v>
                </c:pt>
                <c:pt idx="62">
                  <c:v>45533</c:v>
                </c:pt>
                <c:pt idx="63">
                  <c:v>45532</c:v>
                </c:pt>
                <c:pt idx="64">
                  <c:v>45531</c:v>
                </c:pt>
                <c:pt idx="65">
                  <c:v>45530</c:v>
                </c:pt>
                <c:pt idx="66">
                  <c:v>45527</c:v>
                </c:pt>
                <c:pt idx="67">
                  <c:v>45526</c:v>
                </c:pt>
                <c:pt idx="68">
                  <c:v>45525</c:v>
                </c:pt>
                <c:pt idx="69">
                  <c:v>45524</c:v>
                </c:pt>
                <c:pt idx="70">
                  <c:v>45523</c:v>
                </c:pt>
                <c:pt idx="71">
                  <c:v>45520</c:v>
                </c:pt>
                <c:pt idx="72">
                  <c:v>45519</c:v>
                </c:pt>
                <c:pt idx="73">
                  <c:v>45518</c:v>
                </c:pt>
                <c:pt idx="74">
                  <c:v>45517</c:v>
                </c:pt>
                <c:pt idx="75">
                  <c:v>45516</c:v>
                </c:pt>
                <c:pt idx="76">
                  <c:v>45513</c:v>
                </c:pt>
                <c:pt idx="77">
                  <c:v>45512</c:v>
                </c:pt>
                <c:pt idx="78">
                  <c:v>45511</c:v>
                </c:pt>
                <c:pt idx="79">
                  <c:v>45510</c:v>
                </c:pt>
                <c:pt idx="80">
                  <c:v>45509</c:v>
                </c:pt>
                <c:pt idx="81">
                  <c:v>45506</c:v>
                </c:pt>
                <c:pt idx="82">
                  <c:v>45505</c:v>
                </c:pt>
                <c:pt idx="83">
                  <c:v>45504</c:v>
                </c:pt>
                <c:pt idx="84">
                  <c:v>45503</c:v>
                </c:pt>
                <c:pt idx="85">
                  <c:v>45502</c:v>
                </c:pt>
                <c:pt idx="86">
                  <c:v>45499</c:v>
                </c:pt>
                <c:pt idx="87">
                  <c:v>45498</c:v>
                </c:pt>
                <c:pt idx="88">
                  <c:v>45497</c:v>
                </c:pt>
                <c:pt idx="89">
                  <c:v>45496</c:v>
                </c:pt>
                <c:pt idx="90">
                  <c:v>45495</c:v>
                </c:pt>
                <c:pt idx="91">
                  <c:v>45492</c:v>
                </c:pt>
                <c:pt idx="92">
                  <c:v>45491</c:v>
                </c:pt>
                <c:pt idx="93">
                  <c:v>45490</c:v>
                </c:pt>
                <c:pt idx="94">
                  <c:v>45489</c:v>
                </c:pt>
                <c:pt idx="95">
                  <c:v>45488</c:v>
                </c:pt>
                <c:pt idx="96">
                  <c:v>45485</c:v>
                </c:pt>
                <c:pt idx="97">
                  <c:v>45484</c:v>
                </c:pt>
                <c:pt idx="98">
                  <c:v>45483</c:v>
                </c:pt>
                <c:pt idx="99">
                  <c:v>45482</c:v>
                </c:pt>
                <c:pt idx="100">
                  <c:v>45481</c:v>
                </c:pt>
                <c:pt idx="101">
                  <c:v>45478</c:v>
                </c:pt>
                <c:pt idx="102">
                  <c:v>45477</c:v>
                </c:pt>
                <c:pt idx="103">
                  <c:v>45476</c:v>
                </c:pt>
                <c:pt idx="104">
                  <c:v>45475</c:v>
                </c:pt>
                <c:pt idx="105">
                  <c:v>45474</c:v>
                </c:pt>
                <c:pt idx="106">
                  <c:v>45471</c:v>
                </c:pt>
                <c:pt idx="107">
                  <c:v>45470</c:v>
                </c:pt>
                <c:pt idx="108">
                  <c:v>45469</c:v>
                </c:pt>
                <c:pt idx="109">
                  <c:v>45468</c:v>
                </c:pt>
                <c:pt idx="110">
                  <c:v>45467</c:v>
                </c:pt>
                <c:pt idx="111">
                  <c:v>45464</c:v>
                </c:pt>
                <c:pt idx="112">
                  <c:v>45463</c:v>
                </c:pt>
                <c:pt idx="113">
                  <c:v>45462</c:v>
                </c:pt>
                <c:pt idx="114">
                  <c:v>45461</c:v>
                </c:pt>
                <c:pt idx="115">
                  <c:v>45460</c:v>
                </c:pt>
                <c:pt idx="116">
                  <c:v>45457</c:v>
                </c:pt>
                <c:pt idx="117">
                  <c:v>45456</c:v>
                </c:pt>
                <c:pt idx="118">
                  <c:v>45455</c:v>
                </c:pt>
                <c:pt idx="119">
                  <c:v>45454</c:v>
                </c:pt>
                <c:pt idx="120">
                  <c:v>45453</c:v>
                </c:pt>
                <c:pt idx="121">
                  <c:v>45450</c:v>
                </c:pt>
                <c:pt idx="122">
                  <c:v>45449</c:v>
                </c:pt>
                <c:pt idx="123">
                  <c:v>45448</c:v>
                </c:pt>
                <c:pt idx="124">
                  <c:v>45447</c:v>
                </c:pt>
                <c:pt idx="125">
                  <c:v>45446</c:v>
                </c:pt>
                <c:pt idx="126">
                  <c:v>45443</c:v>
                </c:pt>
                <c:pt idx="127">
                  <c:v>45442</c:v>
                </c:pt>
                <c:pt idx="128">
                  <c:v>45441</c:v>
                </c:pt>
                <c:pt idx="129">
                  <c:v>45440</c:v>
                </c:pt>
                <c:pt idx="130">
                  <c:v>45439</c:v>
                </c:pt>
                <c:pt idx="131">
                  <c:v>45436</c:v>
                </c:pt>
                <c:pt idx="132">
                  <c:v>45435</c:v>
                </c:pt>
                <c:pt idx="133">
                  <c:v>45434</c:v>
                </c:pt>
                <c:pt idx="134">
                  <c:v>45433</c:v>
                </c:pt>
                <c:pt idx="135">
                  <c:v>45432</c:v>
                </c:pt>
                <c:pt idx="136">
                  <c:v>45429</c:v>
                </c:pt>
                <c:pt idx="137">
                  <c:v>45428</c:v>
                </c:pt>
                <c:pt idx="138">
                  <c:v>45427</c:v>
                </c:pt>
                <c:pt idx="139">
                  <c:v>45426</c:v>
                </c:pt>
                <c:pt idx="140">
                  <c:v>45425</c:v>
                </c:pt>
                <c:pt idx="141">
                  <c:v>45422</c:v>
                </c:pt>
                <c:pt idx="142">
                  <c:v>45421</c:v>
                </c:pt>
                <c:pt idx="143">
                  <c:v>45420</c:v>
                </c:pt>
                <c:pt idx="144">
                  <c:v>45419</c:v>
                </c:pt>
                <c:pt idx="145">
                  <c:v>45418</c:v>
                </c:pt>
                <c:pt idx="146">
                  <c:v>45415</c:v>
                </c:pt>
                <c:pt idx="147">
                  <c:v>45414</c:v>
                </c:pt>
                <c:pt idx="148">
                  <c:v>45413</c:v>
                </c:pt>
                <c:pt idx="149">
                  <c:v>45412</c:v>
                </c:pt>
                <c:pt idx="150">
                  <c:v>45411</c:v>
                </c:pt>
                <c:pt idx="151">
                  <c:v>45408</c:v>
                </c:pt>
                <c:pt idx="152">
                  <c:v>45407</c:v>
                </c:pt>
                <c:pt idx="153">
                  <c:v>45406</c:v>
                </c:pt>
                <c:pt idx="154">
                  <c:v>45405</c:v>
                </c:pt>
                <c:pt idx="155">
                  <c:v>45404</c:v>
                </c:pt>
                <c:pt idx="156">
                  <c:v>45401</c:v>
                </c:pt>
                <c:pt idx="157">
                  <c:v>45400</c:v>
                </c:pt>
                <c:pt idx="158">
                  <c:v>45399</c:v>
                </c:pt>
                <c:pt idx="159">
                  <c:v>45398</c:v>
                </c:pt>
                <c:pt idx="160">
                  <c:v>45397</c:v>
                </c:pt>
                <c:pt idx="161">
                  <c:v>45394</c:v>
                </c:pt>
                <c:pt idx="162">
                  <c:v>45393</c:v>
                </c:pt>
                <c:pt idx="163">
                  <c:v>45392</c:v>
                </c:pt>
                <c:pt idx="164">
                  <c:v>45391</c:v>
                </c:pt>
                <c:pt idx="165">
                  <c:v>45390</c:v>
                </c:pt>
                <c:pt idx="166">
                  <c:v>45387</c:v>
                </c:pt>
                <c:pt idx="167">
                  <c:v>45386</c:v>
                </c:pt>
                <c:pt idx="168">
                  <c:v>45385</c:v>
                </c:pt>
                <c:pt idx="169">
                  <c:v>45384</c:v>
                </c:pt>
                <c:pt idx="170">
                  <c:v>45383</c:v>
                </c:pt>
                <c:pt idx="171">
                  <c:v>45380</c:v>
                </c:pt>
                <c:pt idx="172">
                  <c:v>45379</c:v>
                </c:pt>
                <c:pt idx="173">
                  <c:v>45378</c:v>
                </c:pt>
                <c:pt idx="174">
                  <c:v>45377</c:v>
                </c:pt>
                <c:pt idx="175">
                  <c:v>45376</c:v>
                </c:pt>
                <c:pt idx="176">
                  <c:v>45373</c:v>
                </c:pt>
                <c:pt idx="177">
                  <c:v>45372</c:v>
                </c:pt>
                <c:pt idx="178">
                  <c:v>45371</c:v>
                </c:pt>
                <c:pt idx="179">
                  <c:v>45370</c:v>
                </c:pt>
                <c:pt idx="180">
                  <c:v>45369</c:v>
                </c:pt>
                <c:pt idx="181">
                  <c:v>45366</c:v>
                </c:pt>
                <c:pt idx="182">
                  <c:v>45365</c:v>
                </c:pt>
                <c:pt idx="183">
                  <c:v>45364</c:v>
                </c:pt>
                <c:pt idx="184">
                  <c:v>45363</c:v>
                </c:pt>
                <c:pt idx="185">
                  <c:v>45362</c:v>
                </c:pt>
                <c:pt idx="186">
                  <c:v>45359</c:v>
                </c:pt>
                <c:pt idx="187">
                  <c:v>45358</c:v>
                </c:pt>
                <c:pt idx="188">
                  <c:v>45357</c:v>
                </c:pt>
                <c:pt idx="189">
                  <c:v>45356</c:v>
                </c:pt>
                <c:pt idx="190">
                  <c:v>45355</c:v>
                </c:pt>
                <c:pt idx="191">
                  <c:v>45352</c:v>
                </c:pt>
                <c:pt idx="192">
                  <c:v>45351</c:v>
                </c:pt>
                <c:pt idx="193">
                  <c:v>45350</c:v>
                </c:pt>
                <c:pt idx="194">
                  <c:v>45349</c:v>
                </c:pt>
                <c:pt idx="195">
                  <c:v>45348</c:v>
                </c:pt>
                <c:pt idx="196">
                  <c:v>45345</c:v>
                </c:pt>
                <c:pt idx="197">
                  <c:v>45344</c:v>
                </c:pt>
                <c:pt idx="198">
                  <c:v>45343</c:v>
                </c:pt>
                <c:pt idx="199">
                  <c:v>45342</c:v>
                </c:pt>
                <c:pt idx="200">
                  <c:v>45341</c:v>
                </c:pt>
                <c:pt idx="201">
                  <c:v>45338</c:v>
                </c:pt>
                <c:pt idx="202">
                  <c:v>45337</c:v>
                </c:pt>
                <c:pt idx="203">
                  <c:v>45336</c:v>
                </c:pt>
                <c:pt idx="204">
                  <c:v>45335</c:v>
                </c:pt>
                <c:pt idx="205">
                  <c:v>45334</c:v>
                </c:pt>
                <c:pt idx="206">
                  <c:v>45331</c:v>
                </c:pt>
                <c:pt idx="207">
                  <c:v>45330</c:v>
                </c:pt>
                <c:pt idx="208">
                  <c:v>45329</c:v>
                </c:pt>
                <c:pt idx="209">
                  <c:v>45328</c:v>
                </c:pt>
                <c:pt idx="210">
                  <c:v>45327</c:v>
                </c:pt>
                <c:pt idx="211">
                  <c:v>45324</c:v>
                </c:pt>
                <c:pt idx="212">
                  <c:v>45323</c:v>
                </c:pt>
                <c:pt idx="213">
                  <c:v>45322</c:v>
                </c:pt>
                <c:pt idx="214">
                  <c:v>45321</c:v>
                </c:pt>
                <c:pt idx="215">
                  <c:v>45320</c:v>
                </c:pt>
                <c:pt idx="216">
                  <c:v>45317</c:v>
                </c:pt>
                <c:pt idx="217">
                  <c:v>45316</c:v>
                </c:pt>
                <c:pt idx="218">
                  <c:v>45315</c:v>
                </c:pt>
                <c:pt idx="219">
                  <c:v>45314</c:v>
                </c:pt>
                <c:pt idx="220">
                  <c:v>45313</c:v>
                </c:pt>
                <c:pt idx="221">
                  <c:v>45310</c:v>
                </c:pt>
                <c:pt idx="222">
                  <c:v>45309</c:v>
                </c:pt>
                <c:pt idx="223">
                  <c:v>45308</c:v>
                </c:pt>
                <c:pt idx="224">
                  <c:v>45307</c:v>
                </c:pt>
                <c:pt idx="225">
                  <c:v>45306</c:v>
                </c:pt>
                <c:pt idx="226">
                  <c:v>45303</c:v>
                </c:pt>
                <c:pt idx="227">
                  <c:v>45302</c:v>
                </c:pt>
                <c:pt idx="228">
                  <c:v>45301</c:v>
                </c:pt>
                <c:pt idx="229">
                  <c:v>45300</c:v>
                </c:pt>
                <c:pt idx="230">
                  <c:v>45299</c:v>
                </c:pt>
                <c:pt idx="231">
                  <c:v>45296</c:v>
                </c:pt>
                <c:pt idx="232">
                  <c:v>45295</c:v>
                </c:pt>
                <c:pt idx="233">
                  <c:v>45294</c:v>
                </c:pt>
                <c:pt idx="234">
                  <c:v>45293</c:v>
                </c:pt>
                <c:pt idx="235">
                  <c:v>45292</c:v>
                </c:pt>
                <c:pt idx="236">
                  <c:v>45289</c:v>
                </c:pt>
                <c:pt idx="237">
                  <c:v>45288</c:v>
                </c:pt>
                <c:pt idx="238">
                  <c:v>45287</c:v>
                </c:pt>
                <c:pt idx="239">
                  <c:v>45286</c:v>
                </c:pt>
                <c:pt idx="240">
                  <c:v>45285</c:v>
                </c:pt>
                <c:pt idx="241">
                  <c:v>45282</c:v>
                </c:pt>
                <c:pt idx="242">
                  <c:v>45281</c:v>
                </c:pt>
                <c:pt idx="243">
                  <c:v>45280</c:v>
                </c:pt>
                <c:pt idx="244">
                  <c:v>45279</c:v>
                </c:pt>
                <c:pt idx="245">
                  <c:v>45278</c:v>
                </c:pt>
                <c:pt idx="246">
                  <c:v>45275</c:v>
                </c:pt>
                <c:pt idx="247">
                  <c:v>45274</c:v>
                </c:pt>
                <c:pt idx="248">
                  <c:v>45273</c:v>
                </c:pt>
                <c:pt idx="249">
                  <c:v>45272</c:v>
                </c:pt>
                <c:pt idx="250">
                  <c:v>45271</c:v>
                </c:pt>
                <c:pt idx="251">
                  <c:v>45268</c:v>
                </c:pt>
                <c:pt idx="252">
                  <c:v>45267</c:v>
                </c:pt>
                <c:pt idx="253">
                  <c:v>45266</c:v>
                </c:pt>
                <c:pt idx="254">
                  <c:v>45265</c:v>
                </c:pt>
                <c:pt idx="255">
                  <c:v>45264</c:v>
                </c:pt>
                <c:pt idx="256">
                  <c:v>45261</c:v>
                </c:pt>
                <c:pt idx="257">
                  <c:v>45260</c:v>
                </c:pt>
                <c:pt idx="258">
                  <c:v>45259</c:v>
                </c:pt>
                <c:pt idx="259">
                  <c:v>45258</c:v>
                </c:pt>
                <c:pt idx="260">
                  <c:v>45257</c:v>
                </c:pt>
                <c:pt idx="261">
                  <c:v>45254</c:v>
                </c:pt>
                <c:pt idx="262">
                  <c:v>45253</c:v>
                </c:pt>
                <c:pt idx="263">
                  <c:v>45252</c:v>
                </c:pt>
                <c:pt idx="264">
                  <c:v>45251</c:v>
                </c:pt>
                <c:pt idx="265">
                  <c:v>45250</c:v>
                </c:pt>
                <c:pt idx="266">
                  <c:v>45247</c:v>
                </c:pt>
                <c:pt idx="267">
                  <c:v>45246</c:v>
                </c:pt>
                <c:pt idx="268">
                  <c:v>45245</c:v>
                </c:pt>
                <c:pt idx="269">
                  <c:v>45244</c:v>
                </c:pt>
                <c:pt idx="270">
                  <c:v>45243</c:v>
                </c:pt>
                <c:pt idx="271">
                  <c:v>45240</c:v>
                </c:pt>
                <c:pt idx="272">
                  <c:v>45239</c:v>
                </c:pt>
                <c:pt idx="273">
                  <c:v>45238</c:v>
                </c:pt>
                <c:pt idx="274">
                  <c:v>45237</c:v>
                </c:pt>
                <c:pt idx="275">
                  <c:v>45236</c:v>
                </c:pt>
                <c:pt idx="276">
                  <c:v>45233</c:v>
                </c:pt>
                <c:pt idx="277">
                  <c:v>45232</c:v>
                </c:pt>
                <c:pt idx="278">
                  <c:v>45231</c:v>
                </c:pt>
                <c:pt idx="279">
                  <c:v>45230</c:v>
                </c:pt>
                <c:pt idx="280">
                  <c:v>45229</c:v>
                </c:pt>
                <c:pt idx="281">
                  <c:v>45226</c:v>
                </c:pt>
                <c:pt idx="282">
                  <c:v>45225</c:v>
                </c:pt>
                <c:pt idx="283">
                  <c:v>45224</c:v>
                </c:pt>
                <c:pt idx="284">
                  <c:v>45223</c:v>
                </c:pt>
                <c:pt idx="285">
                  <c:v>45222</c:v>
                </c:pt>
                <c:pt idx="286">
                  <c:v>45219</c:v>
                </c:pt>
                <c:pt idx="287">
                  <c:v>45218</c:v>
                </c:pt>
                <c:pt idx="288">
                  <c:v>45217</c:v>
                </c:pt>
                <c:pt idx="289">
                  <c:v>45216</c:v>
                </c:pt>
                <c:pt idx="290">
                  <c:v>45215</c:v>
                </c:pt>
                <c:pt idx="291">
                  <c:v>45212</c:v>
                </c:pt>
                <c:pt idx="292">
                  <c:v>45211</c:v>
                </c:pt>
                <c:pt idx="293">
                  <c:v>45210</c:v>
                </c:pt>
                <c:pt idx="294">
                  <c:v>45209</c:v>
                </c:pt>
                <c:pt idx="295">
                  <c:v>45208</c:v>
                </c:pt>
                <c:pt idx="296">
                  <c:v>45205</c:v>
                </c:pt>
                <c:pt idx="297">
                  <c:v>45204</c:v>
                </c:pt>
                <c:pt idx="298">
                  <c:v>45203</c:v>
                </c:pt>
                <c:pt idx="299">
                  <c:v>45202</c:v>
                </c:pt>
                <c:pt idx="300">
                  <c:v>45201</c:v>
                </c:pt>
                <c:pt idx="301">
                  <c:v>45198</c:v>
                </c:pt>
                <c:pt idx="302">
                  <c:v>45197</c:v>
                </c:pt>
                <c:pt idx="303">
                  <c:v>45196</c:v>
                </c:pt>
                <c:pt idx="304">
                  <c:v>45195</c:v>
                </c:pt>
                <c:pt idx="305">
                  <c:v>45194</c:v>
                </c:pt>
                <c:pt idx="306">
                  <c:v>45191</c:v>
                </c:pt>
                <c:pt idx="307">
                  <c:v>45190</c:v>
                </c:pt>
                <c:pt idx="308">
                  <c:v>45189</c:v>
                </c:pt>
                <c:pt idx="309">
                  <c:v>45188</c:v>
                </c:pt>
                <c:pt idx="310">
                  <c:v>45187</c:v>
                </c:pt>
                <c:pt idx="311">
                  <c:v>45184</c:v>
                </c:pt>
                <c:pt idx="312">
                  <c:v>45183</c:v>
                </c:pt>
                <c:pt idx="313">
                  <c:v>45182</c:v>
                </c:pt>
                <c:pt idx="314">
                  <c:v>45181</c:v>
                </c:pt>
                <c:pt idx="315">
                  <c:v>45180</c:v>
                </c:pt>
                <c:pt idx="316">
                  <c:v>45177</c:v>
                </c:pt>
                <c:pt idx="317">
                  <c:v>45176</c:v>
                </c:pt>
                <c:pt idx="318">
                  <c:v>45175</c:v>
                </c:pt>
                <c:pt idx="319">
                  <c:v>45174</c:v>
                </c:pt>
                <c:pt idx="320">
                  <c:v>45173</c:v>
                </c:pt>
                <c:pt idx="321">
                  <c:v>45170</c:v>
                </c:pt>
                <c:pt idx="322">
                  <c:v>45169</c:v>
                </c:pt>
                <c:pt idx="323">
                  <c:v>45168</c:v>
                </c:pt>
                <c:pt idx="324">
                  <c:v>45167</c:v>
                </c:pt>
                <c:pt idx="325">
                  <c:v>45166</c:v>
                </c:pt>
                <c:pt idx="326">
                  <c:v>45163</c:v>
                </c:pt>
                <c:pt idx="327">
                  <c:v>45162</c:v>
                </c:pt>
                <c:pt idx="328">
                  <c:v>45161</c:v>
                </c:pt>
                <c:pt idx="329">
                  <c:v>45160</c:v>
                </c:pt>
                <c:pt idx="330">
                  <c:v>45159</c:v>
                </c:pt>
                <c:pt idx="331">
                  <c:v>45156</c:v>
                </c:pt>
                <c:pt idx="332">
                  <c:v>45155</c:v>
                </c:pt>
                <c:pt idx="333">
                  <c:v>45154</c:v>
                </c:pt>
                <c:pt idx="334">
                  <c:v>45153</c:v>
                </c:pt>
                <c:pt idx="335">
                  <c:v>45152</c:v>
                </c:pt>
                <c:pt idx="336">
                  <c:v>45149</c:v>
                </c:pt>
                <c:pt idx="337">
                  <c:v>45148</c:v>
                </c:pt>
                <c:pt idx="338">
                  <c:v>45147</c:v>
                </c:pt>
                <c:pt idx="339">
                  <c:v>45146</c:v>
                </c:pt>
                <c:pt idx="340">
                  <c:v>45145</c:v>
                </c:pt>
                <c:pt idx="341">
                  <c:v>45142</c:v>
                </c:pt>
                <c:pt idx="342">
                  <c:v>45141</c:v>
                </c:pt>
                <c:pt idx="343">
                  <c:v>45140</c:v>
                </c:pt>
                <c:pt idx="344">
                  <c:v>45139</c:v>
                </c:pt>
                <c:pt idx="345">
                  <c:v>45138</c:v>
                </c:pt>
                <c:pt idx="346">
                  <c:v>45135</c:v>
                </c:pt>
                <c:pt idx="347">
                  <c:v>45134</c:v>
                </c:pt>
                <c:pt idx="348">
                  <c:v>45133</c:v>
                </c:pt>
                <c:pt idx="349">
                  <c:v>45132</c:v>
                </c:pt>
                <c:pt idx="350">
                  <c:v>45131</c:v>
                </c:pt>
                <c:pt idx="351">
                  <c:v>45128</c:v>
                </c:pt>
                <c:pt idx="352">
                  <c:v>45127</c:v>
                </c:pt>
                <c:pt idx="353">
                  <c:v>45126</c:v>
                </c:pt>
                <c:pt idx="354">
                  <c:v>45125</c:v>
                </c:pt>
                <c:pt idx="355">
                  <c:v>45124</c:v>
                </c:pt>
                <c:pt idx="356">
                  <c:v>45121</c:v>
                </c:pt>
                <c:pt idx="357">
                  <c:v>45120</c:v>
                </c:pt>
                <c:pt idx="358">
                  <c:v>45119</c:v>
                </c:pt>
                <c:pt idx="359">
                  <c:v>45118</c:v>
                </c:pt>
                <c:pt idx="360">
                  <c:v>45117</c:v>
                </c:pt>
                <c:pt idx="361">
                  <c:v>45114</c:v>
                </c:pt>
                <c:pt idx="362">
                  <c:v>45113</c:v>
                </c:pt>
                <c:pt idx="363">
                  <c:v>45112</c:v>
                </c:pt>
                <c:pt idx="364">
                  <c:v>45111</c:v>
                </c:pt>
                <c:pt idx="365">
                  <c:v>45110</c:v>
                </c:pt>
                <c:pt idx="366">
                  <c:v>45107</c:v>
                </c:pt>
                <c:pt idx="367">
                  <c:v>45106</c:v>
                </c:pt>
                <c:pt idx="368">
                  <c:v>45105</c:v>
                </c:pt>
                <c:pt idx="369">
                  <c:v>45104</c:v>
                </c:pt>
                <c:pt idx="370">
                  <c:v>45103</c:v>
                </c:pt>
                <c:pt idx="371">
                  <c:v>45100</c:v>
                </c:pt>
                <c:pt idx="372">
                  <c:v>45099</c:v>
                </c:pt>
                <c:pt idx="373">
                  <c:v>45098</c:v>
                </c:pt>
                <c:pt idx="374">
                  <c:v>45097</c:v>
                </c:pt>
                <c:pt idx="375">
                  <c:v>45096</c:v>
                </c:pt>
                <c:pt idx="376">
                  <c:v>45093</c:v>
                </c:pt>
                <c:pt idx="377">
                  <c:v>45092</c:v>
                </c:pt>
                <c:pt idx="378">
                  <c:v>45091</c:v>
                </c:pt>
                <c:pt idx="379">
                  <c:v>45090</c:v>
                </c:pt>
                <c:pt idx="380">
                  <c:v>45089</c:v>
                </c:pt>
                <c:pt idx="381">
                  <c:v>45086</c:v>
                </c:pt>
                <c:pt idx="382">
                  <c:v>45085</c:v>
                </c:pt>
                <c:pt idx="383">
                  <c:v>45084</c:v>
                </c:pt>
                <c:pt idx="384">
                  <c:v>45083</c:v>
                </c:pt>
                <c:pt idx="385">
                  <c:v>45082</c:v>
                </c:pt>
                <c:pt idx="386">
                  <c:v>45079</c:v>
                </c:pt>
                <c:pt idx="387">
                  <c:v>45078</c:v>
                </c:pt>
                <c:pt idx="388">
                  <c:v>45077</c:v>
                </c:pt>
                <c:pt idx="389">
                  <c:v>45076</c:v>
                </c:pt>
                <c:pt idx="390">
                  <c:v>45075</c:v>
                </c:pt>
                <c:pt idx="391">
                  <c:v>45072</c:v>
                </c:pt>
                <c:pt idx="392">
                  <c:v>45071</c:v>
                </c:pt>
                <c:pt idx="393">
                  <c:v>45070</c:v>
                </c:pt>
                <c:pt idx="394">
                  <c:v>45069</c:v>
                </c:pt>
                <c:pt idx="395">
                  <c:v>45068</c:v>
                </c:pt>
                <c:pt idx="396">
                  <c:v>45065</c:v>
                </c:pt>
                <c:pt idx="397">
                  <c:v>45064</c:v>
                </c:pt>
                <c:pt idx="398">
                  <c:v>45063</c:v>
                </c:pt>
                <c:pt idx="399">
                  <c:v>45062</c:v>
                </c:pt>
                <c:pt idx="400">
                  <c:v>45061</c:v>
                </c:pt>
                <c:pt idx="401">
                  <c:v>45058</c:v>
                </c:pt>
                <c:pt idx="402">
                  <c:v>45057</c:v>
                </c:pt>
                <c:pt idx="403">
                  <c:v>45056</c:v>
                </c:pt>
                <c:pt idx="404">
                  <c:v>45055</c:v>
                </c:pt>
                <c:pt idx="405">
                  <c:v>45054</c:v>
                </c:pt>
                <c:pt idx="406">
                  <c:v>45051</c:v>
                </c:pt>
                <c:pt idx="407">
                  <c:v>45050</c:v>
                </c:pt>
                <c:pt idx="408">
                  <c:v>45049</c:v>
                </c:pt>
                <c:pt idx="409">
                  <c:v>45048</c:v>
                </c:pt>
                <c:pt idx="410">
                  <c:v>45047</c:v>
                </c:pt>
                <c:pt idx="411">
                  <c:v>45044</c:v>
                </c:pt>
                <c:pt idx="412">
                  <c:v>45043</c:v>
                </c:pt>
                <c:pt idx="413">
                  <c:v>45042</c:v>
                </c:pt>
                <c:pt idx="414">
                  <c:v>45041</c:v>
                </c:pt>
                <c:pt idx="415">
                  <c:v>45040</c:v>
                </c:pt>
                <c:pt idx="416">
                  <c:v>45037</c:v>
                </c:pt>
                <c:pt idx="417">
                  <c:v>45036</c:v>
                </c:pt>
                <c:pt idx="418">
                  <c:v>45035</c:v>
                </c:pt>
                <c:pt idx="419">
                  <c:v>45034</c:v>
                </c:pt>
                <c:pt idx="420">
                  <c:v>45033</c:v>
                </c:pt>
                <c:pt idx="421">
                  <c:v>45030</c:v>
                </c:pt>
                <c:pt idx="422">
                  <c:v>45029</c:v>
                </c:pt>
                <c:pt idx="423">
                  <c:v>45028</c:v>
                </c:pt>
                <c:pt idx="424">
                  <c:v>45027</c:v>
                </c:pt>
                <c:pt idx="425">
                  <c:v>45026</c:v>
                </c:pt>
                <c:pt idx="426">
                  <c:v>45023</c:v>
                </c:pt>
                <c:pt idx="427">
                  <c:v>45022</c:v>
                </c:pt>
                <c:pt idx="428">
                  <c:v>45021</c:v>
                </c:pt>
                <c:pt idx="429">
                  <c:v>45020</c:v>
                </c:pt>
                <c:pt idx="430">
                  <c:v>45019</c:v>
                </c:pt>
                <c:pt idx="431">
                  <c:v>45016</c:v>
                </c:pt>
                <c:pt idx="432">
                  <c:v>45015</c:v>
                </c:pt>
                <c:pt idx="433">
                  <c:v>45014</c:v>
                </c:pt>
                <c:pt idx="434">
                  <c:v>45013</c:v>
                </c:pt>
                <c:pt idx="435">
                  <c:v>45012</c:v>
                </c:pt>
                <c:pt idx="436">
                  <c:v>45009</c:v>
                </c:pt>
                <c:pt idx="437">
                  <c:v>45008</c:v>
                </c:pt>
                <c:pt idx="438">
                  <c:v>45007</c:v>
                </c:pt>
                <c:pt idx="439">
                  <c:v>45006</c:v>
                </c:pt>
                <c:pt idx="440">
                  <c:v>45005</c:v>
                </c:pt>
                <c:pt idx="441">
                  <c:v>45002</c:v>
                </c:pt>
                <c:pt idx="442">
                  <c:v>45001</c:v>
                </c:pt>
                <c:pt idx="443">
                  <c:v>45000</c:v>
                </c:pt>
                <c:pt idx="444">
                  <c:v>44999</c:v>
                </c:pt>
                <c:pt idx="445">
                  <c:v>44998</c:v>
                </c:pt>
                <c:pt idx="446">
                  <c:v>44995</c:v>
                </c:pt>
                <c:pt idx="447">
                  <c:v>44994</c:v>
                </c:pt>
                <c:pt idx="448">
                  <c:v>44993</c:v>
                </c:pt>
                <c:pt idx="449">
                  <c:v>44992</c:v>
                </c:pt>
                <c:pt idx="450">
                  <c:v>44991</c:v>
                </c:pt>
                <c:pt idx="451">
                  <c:v>44988</c:v>
                </c:pt>
                <c:pt idx="452">
                  <c:v>44987</c:v>
                </c:pt>
                <c:pt idx="453">
                  <c:v>44986</c:v>
                </c:pt>
                <c:pt idx="454">
                  <c:v>44985</c:v>
                </c:pt>
                <c:pt idx="455">
                  <c:v>44984</c:v>
                </c:pt>
                <c:pt idx="456">
                  <c:v>44981</c:v>
                </c:pt>
                <c:pt idx="457">
                  <c:v>44980</c:v>
                </c:pt>
                <c:pt idx="458">
                  <c:v>44979</c:v>
                </c:pt>
                <c:pt idx="459">
                  <c:v>44978</c:v>
                </c:pt>
                <c:pt idx="460">
                  <c:v>44977</c:v>
                </c:pt>
                <c:pt idx="461">
                  <c:v>44974</c:v>
                </c:pt>
                <c:pt idx="462">
                  <c:v>44973</c:v>
                </c:pt>
                <c:pt idx="463">
                  <c:v>44972</c:v>
                </c:pt>
                <c:pt idx="464">
                  <c:v>44971</c:v>
                </c:pt>
                <c:pt idx="465">
                  <c:v>44970</c:v>
                </c:pt>
                <c:pt idx="466">
                  <c:v>44967</c:v>
                </c:pt>
                <c:pt idx="467">
                  <c:v>44966</c:v>
                </c:pt>
                <c:pt idx="468">
                  <c:v>44965</c:v>
                </c:pt>
                <c:pt idx="469">
                  <c:v>44964</c:v>
                </c:pt>
                <c:pt idx="470">
                  <c:v>44963</c:v>
                </c:pt>
                <c:pt idx="471">
                  <c:v>44960</c:v>
                </c:pt>
                <c:pt idx="472">
                  <c:v>44959</c:v>
                </c:pt>
                <c:pt idx="473">
                  <c:v>44958</c:v>
                </c:pt>
                <c:pt idx="474">
                  <c:v>44957</c:v>
                </c:pt>
                <c:pt idx="475">
                  <c:v>44956</c:v>
                </c:pt>
                <c:pt idx="476">
                  <c:v>44953</c:v>
                </c:pt>
                <c:pt idx="477">
                  <c:v>44952</c:v>
                </c:pt>
                <c:pt idx="478">
                  <c:v>44951</c:v>
                </c:pt>
                <c:pt idx="479">
                  <c:v>44950</c:v>
                </c:pt>
                <c:pt idx="480">
                  <c:v>44949</c:v>
                </c:pt>
                <c:pt idx="481">
                  <c:v>44946</c:v>
                </c:pt>
                <c:pt idx="482">
                  <c:v>44945</c:v>
                </c:pt>
                <c:pt idx="483">
                  <c:v>44944</c:v>
                </c:pt>
                <c:pt idx="484">
                  <c:v>44943</c:v>
                </c:pt>
                <c:pt idx="485">
                  <c:v>44942</c:v>
                </c:pt>
                <c:pt idx="486">
                  <c:v>44939</c:v>
                </c:pt>
                <c:pt idx="487">
                  <c:v>44938</c:v>
                </c:pt>
                <c:pt idx="488">
                  <c:v>44937</c:v>
                </c:pt>
                <c:pt idx="489">
                  <c:v>44936</c:v>
                </c:pt>
                <c:pt idx="490">
                  <c:v>44935</c:v>
                </c:pt>
                <c:pt idx="491">
                  <c:v>44932</c:v>
                </c:pt>
                <c:pt idx="492">
                  <c:v>44931</c:v>
                </c:pt>
                <c:pt idx="493">
                  <c:v>44930</c:v>
                </c:pt>
                <c:pt idx="494">
                  <c:v>44929</c:v>
                </c:pt>
                <c:pt idx="495">
                  <c:v>44928</c:v>
                </c:pt>
                <c:pt idx="496">
                  <c:v>44925</c:v>
                </c:pt>
                <c:pt idx="497">
                  <c:v>44924</c:v>
                </c:pt>
                <c:pt idx="498">
                  <c:v>44923</c:v>
                </c:pt>
                <c:pt idx="499">
                  <c:v>44922</c:v>
                </c:pt>
                <c:pt idx="500">
                  <c:v>44921</c:v>
                </c:pt>
                <c:pt idx="501">
                  <c:v>44918</c:v>
                </c:pt>
                <c:pt idx="502">
                  <c:v>44917</c:v>
                </c:pt>
                <c:pt idx="503">
                  <c:v>44916</c:v>
                </c:pt>
                <c:pt idx="504">
                  <c:v>44915</c:v>
                </c:pt>
                <c:pt idx="505">
                  <c:v>44914</c:v>
                </c:pt>
                <c:pt idx="506">
                  <c:v>44911</c:v>
                </c:pt>
                <c:pt idx="507">
                  <c:v>44910</c:v>
                </c:pt>
                <c:pt idx="508">
                  <c:v>44909</c:v>
                </c:pt>
                <c:pt idx="509">
                  <c:v>44908</c:v>
                </c:pt>
                <c:pt idx="510">
                  <c:v>44907</c:v>
                </c:pt>
                <c:pt idx="511">
                  <c:v>44904</c:v>
                </c:pt>
                <c:pt idx="512">
                  <c:v>44903</c:v>
                </c:pt>
                <c:pt idx="513">
                  <c:v>44902</c:v>
                </c:pt>
                <c:pt idx="514">
                  <c:v>44901</c:v>
                </c:pt>
                <c:pt idx="515">
                  <c:v>44900</c:v>
                </c:pt>
                <c:pt idx="516">
                  <c:v>44897</c:v>
                </c:pt>
                <c:pt idx="517">
                  <c:v>44896</c:v>
                </c:pt>
                <c:pt idx="518">
                  <c:v>44895</c:v>
                </c:pt>
                <c:pt idx="519">
                  <c:v>44894</c:v>
                </c:pt>
                <c:pt idx="520">
                  <c:v>44893</c:v>
                </c:pt>
                <c:pt idx="521">
                  <c:v>44890</c:v>
                </c:pt>
                <c:pt idx="522">
                  <c:v>44889</c:v>
                </c:pt>
                <c:pt idx="523">
                  <c:v>44888</c:v>
                </c:pt>
                <c:pt idx="524">
                  <c:v>44887</c:v>
                </c:pt>
                <c:pt idx="525">
                  <c:v>44886</c:v>
                </c:pt>
                <c:pt idx="526">
                  <c:v>44883</c:v>
                </c:pt>
                <c:pt idx="527">
                  <c:v>44882</c:v>
                </c:pt>
                <c:pt idx="528">
                  <c:v>44881</c:v>
                </c:pt>
                <c:pt idx="529">
                  <c:v>44880</c:v>
                </c:pt>
                <c:pt idx="530">
                  <c:v>44879</c:v>
                </c:pt>
                <c:pt idx="531">
                  <c:v>44876</c:v>
                </c:pt>
                <c:pt idx="532">
                  <c:v>44875</c:v>
                </c:pt>
                <c:pt idx="533">
                  <c:v>44874</c:v>
                </c:pt>
                <c:pt idx="534">
                  <c:v>44873</c:v>
                </c:pt>
                <c:pt idx="535">
                  <c:v>44872</c:v>
                </c:pt>
                <c:pt idx="536">
                  <c:v>44869</c:v>
                </c:pt>
                <c:pt idx="537">
                  <c:v>44868</c:v>
                </c:pt>
                <c:pt idx="538">
                  <c:v>44867</c:v>
                </c:pt>
                <c:pt idx="539">
                  <c:v>44866</c:v>
                </c:pt>
                <c:pt idx="540">
                  <c:v>44865</c:v>
                </c:pt>
                <c:pt idx="541">
                  <c:v>44862</c:v>
                </c:pt>
                <c:pt idx="542">
                  <c:v>44861</c:v>
                </c:pt>
                <c:pt idx="543">
                  <c:v>44860</c:v>
                </c:pt>
                <c:pt idx="544">
                  <c:v>44859</c:v>
                </c:pt>
                <c:pt idx="545">
                  <c:v>44858</c:v>
                </c:pt>
                <c:pt idx="546">
                  <c:v>44855</c:v>
                </c:pt>
                <c:pt idx="547">
                  <c:v>44854</c:v>
                </c:pt>
                <c:pt idx="548">
                  <c:v>44853</c:v>
                </c:pt>
                <c:pt idx="549">
                  <c:v>44852</c:v>
                </c:pt>
                <c:pt idx="550">
                  <c:v>44851</c:v>
                </c:pt>
                <c:pt idx="551">
                  <c:v>44848</c:v>
                </c:pt>
                <c:pt idx="552">
                  <c:v>44847</c:v>
                </c:pt>
                <c:pt idx="553">
                  <c:v>44846</c:v>
                </c:pt>
                <c:pt idx="554">
                  <c:v>44845</c:v>
                </c:pt>
                <c:pt idx="555">
                  <c:v>44844</c:v>
                </c:pt>
                <c:pt idx="556">
                  <c:v>44841</c:v>
                </c:pt>
                <c:pt idx="557">
                  <c:v>44840</c:v>
                </c:pt>
                <c:pt idx="558">
                  <c:v>44839</c:v>
                </c:pt>
                <c:pt idx="559">
                  <c:v>44838</c:v>
                </c:pt>
                <c:pt idx="560">
                  <c:v>44837</c:v>
                </c:pt>
                <c:pt idx="561">
                  <c:v>44834</c:v>
                </c:pt>
                <c:pt idx="562">
                  <c:v>44833</c:v>
                </c:pt>
                <c:pt idx="563">
                  <c:v>44832</c:v>
                </c:pt>
                <c:pt idx="564">
                  <c:v>44831</c:v>
                </c:pt>
                <c:pt idx="565">
                  <c:v>44830</c:v>
                </c:pt>
                <c:pt idx="566">
                  <c:v>44827</c:v>
                </c:pt>
                <c:pt idx="567">
                  <c:v>44826</c:v>
                </c:pt>
                <c:pt idx="568">
                  <c:v>44825</c:v>
                </c:pt>
                <c:pt idx="569">
                  <c:v>44824</c:v>
                </c:pt>
                <c:pt idx="570">
                  <c:v>44823</c:v>
                </c:pt>
                <c:pt idx="571">
                  <c:v>44820</c:v>
                </c:pt>
                <c:pt idx="572">
                  <c:v>44819</c:v>
                </c:pt>
                <c:pt idx="573">
                  <c:v>44818</c:v>
                </c:pt>
                <c:pt idx="574">
                  <c:v>44817</c:v>
                </c:pt>
                <c:pt idx="575">
                  <c:v>44816</c:v>
                </c:pt>
                <c:pt idx="576">
                  <c:v>44813</c:v>
                </c:pt>
                <c:pt idx="577">
                  <c:v>44812</c:v>
                </c:pt>
                <c:pt idx="578">
                  <c:v>44811</c:v>
                </c:pt>
                <c:pt idx="579">
                  <c:v>44810</c:v>
                </c:pt>
                <c:pt idx="580">
                  <c:v>44809</c:v>
                </c:pt>
                <c:pt idx="581">
                  <c:v>44806</c:v>
                </c:pt>
                <c:pt idx="582">
                  <c:v>44805</c:v>
                </c:pt>
                <c:pt idx="583">
                  <c:v>44804</c:v>
                </c:pt>
                <c:pt idx="584">
                  <c:v>44803</c:v>
                </c:pt>
                <c:pt idx="585">
                  <c:v>44802</c:v>
                </c:pt>
                <c:pt idx="586">
                  <c:v>44799</c:v>
                </c:pt>
                <c:pt idx="587">
                  <c:v>44798</c:v>
                </c:pt>
                <c:pt idx="588">
                  <c:v>44797</c:v>
                </c:pt>
                <c:pt idx="589">
                  <c:v>44796</c:v>
                </c:pt>
                <c:pt idx="590">
                  <c:v>44795</c:v>
                </c:pt>
                <c:pt idx="591">
                  <c:v>44792</c:v>
                </c:pt>
                <c:pt idx="592">
                  <c:v>44791</c:v>
                </c:pt>
                <c:pt idx="593">
                  <c:v>44790</c:v>
                </c:pt>
                <c:pt idx="594">
                  <c:v>44789</c:v>
                </c:pt>
                <c:pt idx="595">
                  <c:v>44788</c:v>
                </c:pt>
                <c:pt idx="596">
                  <c:v>44785</c:v>
                </c:pt>
                <c:pt idx="597">
                  <c:v>44784</c:v>
                </c:pt>
                <c:pt idx="598">
                  <c:v>44783</c:v>
                </c:pt>
                <c:pt idx="599">
                  <c:v>44782</c:v>
                </c:pt>
                <c:pt idx="600">
                  <c:v>44781</c:v>
                </c:pt>
                <c:pt idx="601">
                  <c:v>44778</c:v>
                </c:pt>
                <c:pt idx="602">
                  <c:v>44777</c:v>
                </c:pt>
                <c:pt idx="603">
                  <c:v>44776</c:v>
                </c:pt>
                <c:pt idx="604">
                  <c:v>44775</c:v>
                </c:pt>
                <c:pt idx="605">
                  <c:v>44774</c:v>
                </c:pt>
                <c:pt idx="606">
                  <c:v>44771</c:v>
                </c:pt>
                <c:pt idx="607">
                  <c:v>44770</c:v>
                </c:pt>
                <c:pt idx="608">
                  <c:v>44769</c:v>
                </c:pt>
                <c:pt idx="609">
                  <c:v>44768</c:v>
                </c:pt>
                <c:pt idx="610">
                  <c:v>44767</c:v>
                </c:pt>
                <c:pt idx="611">
                  <c:v>44764</c:v>
                </c:pt>
                <c:pt idx="612">
                  <c:v>44763</c:v>
                </c:pt>
                <c:pt idx="613">
                  <c:v>44762</c:v>
                </c:pt>
                <c:pt idx="614">
                  <c:v>44761</c:v>
                </c:pt>
                <c:pt idx="615">
                  <c:v>44760</c:v>
                </c:pt>
                <c:pt idx="616">
                  <c:v>44757</c:v>
                </c:pt>
                <c:pt idx="617">
                  <c:v>44756</c:v>
                </c:pt>
                <c:pt idx="618">
                  <c:v>44755</c:v>
                </c:pt>
                <c:pt idx="619">
                  <c:v>44754</c:v>
                </c:pt>
                <c:pt idx="620">
                  <c:v>44753</c:v>
                </c:pt>
                <c:pt idx="621">
                  <c:v>44750</c:v>
                </c:pt>
                <c:pt idx="622">
                  <c:v>44749</c:v>
                </c:pt>
                <c:pt idx="623">
                  <c:v>44748</c:v>
                </c:pt>
                <c:pt idx="624">
                  <c:v>44747</c:v>
                </c:pt>
                <c:pt idx="625">
                  <c:v>44746</c:v>
                </c:pt>
                <c:pt idx="626">
                  <c:v>44743</c:v>
                </c:pt>
                <c:pt idx="627">
                  <c:v>44742</c:v>
                </c:pt>
                <c:pt idx="628">
                  <c:v>44741</c:v>
                </c:pt>
                <c:pt idx="629">
                  <c:v>44740</c:v>
                </c:pt>
                <c:pt idx="630">
                  <c:v>44739</c:v>
                </c:pt>
                <c:pt idx="631">
                  <c:v>44736</c:v>
                </c:pt>
                <c:pt idx="632">
                  <c:v>44735</c:v>
                </c:pt>
                <c:pt idx="633">
                  <c:v>44734</c:v>
                </c:pt>
                <c:pt idx="634">
                  <c:v>44733</c:v>
                </c:pt>
                <c:pt idx="635">
                  <c:v>44732</c:v>
                </c:pt>
                <c:pt idx="636">
                  <c:v>44729</c:v>
                </c:pt>
                <c:pt idx="637">
                  <c:v>44728</c:v>
                </c:pt>
                <c:pt idx="638">
                  <c:v>44727</c:v>
                </c:pt>
                <c:pt idx="639">
                  <c:v>44726</c:v>
                </c:pt>
                <c:pt idx="640">
                  <c:v>44725</c:v>
                </c:pt>
                <c:pt idx="641">
                  <c:v>44722</c:v>
                </c:pt>
                <c:pt idx="642">
                  <c:v>44721</c:v>
                </c:pt>
                <c:pt idx="643">
                  <c:v>44720</c:v>
                </c:pt>
                <c:pt idx="644">
                  <c:v>44719</c:v>
                </c:pt>
                <c:pt idx="645">
                  <c:v>44718</c:v>
                </c:pt>
                <c:pt idx="646">
                  <c:v>44715</c:v>
                </c:pt>
                <c:pt idx="647">
                  <c:v>44714</c:v>
                </c:pt>
                <c:pt idx="648">
                  <c:v>44713</c:v>
                </c:pt>
                <c:pt idx="649">
                  <c:v>44712</c:v>
                </c:pt>
                <c:pt idx="650">
                  <c:v>44711</c:v>
                </c:pt>
                <c:pt idx="651">
                  <c:v>44708</c:v>
                </c:pt>
                <c:pt idx="652">
                  <c:v>44707</c:v>
                </c:pt>
                <c:pt idx="653">
                  <c:v>44706</c:v>
                </c:pt>
                <c:pt idx="654">
                  <c:v>44705</c:v>
                </c:pt>
                <c:pt idx="655">
                  <c:v>44704</c:v>
                </c:pt>
                <c:pt idx="656">
                  <c:v>44701</c:v>
                </c:pt>
                <c:pt idx="657">
                  <c:v>44700</c:v>
                </c:pt>
                <c:pt idx="658">
                  <c:v>44699</c:v>
                </c:pt>
                <c:pt idx="659">
                  <c:v>44698</c:v>
                </c:pt>
                <c:pt idx="660">
                  <c:v>44697</c:v>
                </c:pt>
                <c:pt idx="661">
                  <c:v>44694</c:v>
                </c:pt>
                <c:pt idx="662">
                  <c:v>44693</c:v>
                </c:pt>
                <c:pt idx="663">
                  <c:v>44692</c:v>
                </c:pt>
                <c:pt idx="664">
                  <c:v>44691</c:v>
                </c:pt>
                <c:pt idx="665">
                  <c:v>44690</c:v>
                </c:pt>
                <c:pt idx="666">
                  <c:v>44687</c:v>
                </c:pt>
                <c:pt idx="667">
                  <c:v>44686</c:v>
                </c:pt>
                <c:pt idx="668">
                  <c:v>44685</c:v>
                </c:pt>
                <c:pt idx="669">
                  <c:v>44684</c:v>
                </c:pt>
                <c:pt idx="670">
                  <c:v>44683</c:v>
                </c:pt>
                <c:pt idx="671">
                  <c:v>44680</c:v>
                </c:pt>
                <c:pt idx="672">
                  <c:v>44679</c:v>
                </c:pt>
                <c:pt idx="673">
                  <c:v>44678</c:v>
                </c:pt>
                <c:pt idx="674">
                  <c:v>44677</c:v>
                </c:pt>
                <c:pt idx="675">
                  <c:v>44676</c:v>
                </c:pt>
                <c:pt idx="676">
                  <c:v>44673</c:v>
                </c:pt>
                <c:pt idx="677">
                  <c:v>44672</c:v>
                </c:pt>
                <c:pt idx="678">
                  <c:v>44671</c:v>
                </c:pt>
                <c:pt idx="679">
                  <c:v>44670</c:v>
                </c:pt>
                <c:pt idx="680">
                  <c:v>44669</c:v>
                </c:pt>
                <c:pt idx="681">
                  <c:v>44666</c:v>
                </c:pt>
                <c:pt idx="682">
                  <c:v>44665</c:v>
                </c:pt>
                <c:pt idx="683">
                  <c:v>44664</c:v>
                </c:pt>
                <c:pt idx="684">
                  <c:v>44663</c:v>
                </c:pt>
                <c:pt idx="685">
                  <c:v>44662</c:v>
                </c:pt>
                <c:pt idx="686">
                  <c:v>44659</c:v>
                </c:pt>
                <c:pt idx="687">
                  <c:v>44658</c:v>
                </c:pt>
                <c:pt idx="688">
                  <c:v>44657</c:v>
                </c:pt>
                <c:pt idx="689">
                  <c:v>44656</c:v>
                </c:pt>
                <c:pt idx="690">
                  <c:v>44655</c:v>
                </c:pt>
                <c:pt idx="691">
                  <c:v>44652</c:v>
                </c:pt>
                <c:pt idx="692">
                  <c:v>44651</c:v>
                </c:pt>
                <c:pt idx="693">
                  <c:v>44650</c:v>
                </c:pt>
                <c:pt idx="694">
                  <c:v>44649</c:v>
                </c:pt>
                <c:pt idx="695">
                  <c:v>44648</c:v>
                </c:pt>
                <c:pt idx="696">
                  <c:v>44645</c:v>
                </c:pt>
                <c:pt idx="697">
                  <c:v>44644</c:v>
                </c:pt>
                <c:pt idx="698">
                  <c:v>44643</c:v>
                </c:pt>
                <c:pt idx="699">
                  <c:v>44642</c:v>
                </c:pt>
                <c:pt idx="700">
                  <c:v>44641</c:v>
                </c:pt>
                <c:pt idx="701">
                  <c:v>44638</c:v>
                </c:pt>
                <c:pt idx="702">
                  <c:v>44637</c:v>
                </c:pt>
                <c:pt idx="703">
                  <c:v>44636</c:v>
                </c:pt>
                <c:pt idx="704">
                  <c:v>44635</c:v>
                </c:pt>
                <c:pt idx="705">
                  <c:v>44634</c:v>
                </c:pt>
                <c:pt idx="706">
                  <c:v>44631</c:v>
                </c:pt>
                <c:pt idx="707">
                  <c:v>44630</c:v>
                </c:pt>
                <c:pt idx="708">
                  <c:v>44629</c:v>
                </c:pt>
                <c:pt idx="709">
                  <c:v>44628</c:v>
                </c:pt>
                <c:pt idx="710">
                  <c:v>44627</c:v>
                </c:pt>
                <c:pt idx="711">
                  <c:v>44624</c:v>
                </c:pt>
                <c:pt idx="712">
                  <c:v>44623</c:v>
                </c:pt>
                <c:pt idx="713">
                  <c:v>44622</c:v>
                </c:pt>
                <c:pt idx="714">
                  <c:v>44621</c:v>
                </c:pt>
                <c:pt idx="715">
                  <c:v>44620</c:v>
                </c:pt>
                <c:pt idx="716">
                  <c:v>44617</c:v>
                </c:pt>
                <c:pt idx="717">
                  <c:v>44616</c:v>
                </c:pt>
                <c:pt idx="718">
                  <c:v>44615</c:v>
                </c:pt>
                <c:pt idx="719">
                  <c:v>44614</c:v>
                </c:pt>
                <c:pt idx="720">
                  <c:v>44613</c:v>
                </c:pt>
                <c:pt idx="721">
                  <c:v>44610</c:v>
                </c:pt>
                <c:pt idx="722">
                  <c:v>44609</c:v>
                </c:pt>
                <c:pt idx="723">
                  <c:v>44608</c:v>
                </c:pt>
                <c:pt idx="724">
                  <c:v>44607</c:v>
                </c:pt>
                <c:pt idx="725">
                  <c:v>44606</c:v>
                </c:pt>
                <c:pt idx="726">
                  <c:v>44603</c:v>
                </c:pt>
                <c:pt idx="727">
                  <c:v>44602</c:v>
                </c:pt>
                <c:pt idx="728">
                  <c:v>44601</c:v>
                </c:pt>
                <c:pt idx="729">
                  <c:v>44600</c:v>
                </c:pt>
                <c:pt idx="730">
                  <c:v>44599</c:v>
                </c:pt>
                <c:pt idx="731">
                  <c:v>44596</c:v>
                </c:pt>
                <c:pt idx="732">
                  <c:v>44595</c:v>
                </c:pt>
                <c:pt idx="733">
                  <c:v>44594</c:v>
                </c:pt>
                <c:pt idx="734">
                  <c:v>44593</c:v>
                </c:pt>
                <c:pt idx="735">
                  <c:v>44592</c:v>
                </c:pt>
                <c:pt idx="736">
                  <c:v>44589</c:v>
                </c:pt>
                <c:pt idx="737">
                  <c:v>44588</c:v>
                </c:pt>
                <c:pt idx="738">
                  <c:v>44587</c:v>
                </c:pt>
                <c:pt idx="739">
                  <c:v>44586</c:v>
                </c:pt>
                <c:pt idx="740">
                  <c:v>44585</c:v>
                </c:pt>
                <c:pt idx="741">
                  <c:v>44582</c:v>
                </c:pt>
                <c:pt idx="742">
                  <c:v>44581</c:v>
                </c:pt>
                <c:pt idx="743">
                  <c:v>44580</c:v>
                </c:pt>
                <c:pt idx="744">
                  <c:v>44579</c:v>
                </c:pt>
                <c:pt idx="745">
                  <c:v>44578</c:v>
                </c:pt>
                <c:pt idx="746">
                  <c:v>44575</c:v>
                </c:pt>
                <c:pt idx="747">
                  <c:v>44574</c:v>
                </c:pt>
                <c:pt idx="748">
                  <c:v>44573</c:v>
                </c:pt>
                <c:pt idx="749">
                  <c:v>44572</c:v>
                </c:pt>
                <c:pt idx="750">
                  <c:v>44571</c:v>
                </c:pt>
                <c:pt idx="751">
                  <c:v>44568</c:v>
                </c:pt>
                <c:pt idx="752">
                  <c:v>44567</c:v>
                </c:pt>
                <c:pt idx="753">
                  <c:v>44566</c:v>
                </c:pt>
                <c:pt idx="754">
                  <c:v>44565</c:v>
                </c:pt>
                <c:pt idx="755">
                  <c:v>44564</c:v>
                </c:pt>
                <c:pt idx="756">
                  <c:v>44561</c:v>
                </c:pt>
                <c:pt idx="757">
                  <c:v>44560</c:v>
                </c:pt>
                <c:pt idx="758">
                  <c:v>44559</c:v>
                </c:pt>
                <c:pt idx="759">
                  <c:v>44558</c:v>
                </c:pt>
                <c:pt idx="760">
                  <c:v>44557</c:v>
                </c:pt>
                <c:pt idx="761">
                  <c:v>44554</c:v>
                </c:pt>
                <c:pt idx="762">
                  <c:v>44553</c:v>
                </c:pt>
                <c:pt idx="763">
                  <c:v>44552</c:v>
                </c:pt>
                <c:pt idx="764">
                  <c:v>44551</c:v>
                </c:pt>
                <c:pt idx="765">
                  <c:v>44550</c:v>
                </c:pt>
                <c:pt idx="766">
                  <c:v>44547</c:v>
                </c:pt>
                <c:pt idx="767">
                  <c:v>44546</c:v>
                </c:pt>
                <c:pt idx="768">
                  <c:v>44545</c:v>
                </c:pt>
                <c:pt idx="769">
                  <c:v>44544</c:v>
                </c:pt>
                <c:pt idx="770">
                  <c:v>44543</c:v>
                </c:pt>
                <c:pt idx="771">
                  <c:v>44540</c:v>
                </c:pt>
                <c:pt idx="772">
                  <c:v>44539</c:v>
                </c:pt>
                <c:pt idx="773">
                  <c:v>44538</c:v>
                </c:pt>
                <c:pt idx="774">
                  <c:v>44537</c:v>
                </c:pt>
                <c:pt idx="775">
                  <c:v>44536</c:v>
                </c:pt>
                <c:pt idx="776">
                  <c:v>44533</c:v>
                </c:pt>
                <c:pt idx="777">
                  <c:v>44532</c:v>
                </c:pt>
                <c:pt idx="778">
                  <c:v>44531</c:v>
                </c:pt>
                <c:pt idx="779">
                  <c:v>44530</c:v>
                </c:pt>
                <c:pt idx="780">
                  <c:v>44529</c:v>
                </c:pt>
                <c:pt idx="781">
                  <c:v>44526</c:v>
                </c:pt>
                <c:pt idx="782">
                  <c:v>44525</c:v>
                </c:pt>
                <c:pt idx="783">
                  <c:v>44524</c:v>
                </c:pt>
              </c:numCache>
            </c:numRef>
          </c:cat>
          <c:val>
            <c:numRef>
              <c:f>Sheet1!$I$5:$I$788</c:f>
              <c:numCache>
                <c:formatCode>General</c:formatCode>
                <c:ptCount val="784"/>
                <c:pt idx="0">
                  <c:v>4.2649999999999997</c:v>
                </c:pt>
                <c:pt idx="1">
                  <c:v>4.4160000000000004</c:v>
                </c:pt>
                <c:pt idx="2">
                  <c:v>4.4219999999999997</c:v>
                </c:pt>
                <c:pt idx="3">
                  <c:v>4.4119999999999999</c:v>
                </c:pt>
                <c:pt idx="4">
                  <c:v>4.3879999999999999</c:v>
                </c:pt>
                <c:pt idx="5">
                  <c:v>4.4160000000000004</c:v>
                </c:pt>
                <c:pt idx="6">
                  <c:v>4.4409999999999998</c:v>
                </c:pt>
                <c:pt idx="7">
                  <c:v>4.4409999999999998</c:v>
                </c:pt>
                <c:pt idx="8">
                  <c:v>4.4450000000000003</c:v>
                </c:pt>
                <c:pt idx="9">
                  <c:v>4.431</c:v>
                </c:pt>
                <c:pt idx="10">
                  <c:v>4.298</c:v>
                </c:pt>
                <c:pt idx="11">
                  <c:v>4.298</c:v>
                </c:pt>
                <c:pt idx="12">
                  <c:v>4.3319999999999999</c:v>
                </c:pt>
                <c:pt idx="13">
                  <c:v>4.4409999999999998</c:v>
                </c:pt>
                <c:pt idx="14">
                  <c:v>4.2889999999999997</c:v>
                </c:pt>
                <c:pt idx="15">
                  <c:v>4.2969999999999997</c:v>
                </c:pt>
                <c:pt idx="16">
                  <c:v>4.3739999999999997</c:v>
                </c:pt>
                <c:pt idx="17">
                  <c:v>4.282</c:v>
                </c:pt>
                <c:pt idx="18">
                  <c:v>4.28</c:v>
                </c:pt>
                <c:pt idx="19">
                  <c:v>4.2679999999999998</c:v>
                </c:pt>
                <c:pt idx="20">
                  <c:v>4.2720000000000002</c:v>
                </c:pt>
                <c:pt idx="21">
                  <c:v>4.24</c:v>
                </c:pt>
                <c:pt idx="22">
                  <c:v>4.2060000000000004</c:v>
                </c:pt>
                <c:pt idx="23">
                  <c:v>4.234</c:v>
                </c:pt>
                <c:pt idx="24">
                  <c:v>4.202</c:v>
                </c:pt>
                <c:pt idx="25">
                  <c:v>4.1879999999999997</c:v>
                </c:pt>
                <c:pt idx="26">
                  <c:v>4.0789999999999997</c:v>
                </c:pt>
                <c:pt idx="27">
                  <c:v>4.0910000000000002</c:v>
                </c:pt>
                <c:pt idx="28">
                  <c:v>4.0140000000000002</c:v>
                </c:pt>
                <c:pt idx="29">
                  <c:v>4.0339999999999998</c:v>
                </c:pt>
                <c:pt idx="30">
                  <c:v>4.0830000000000002</c:v>
                </c:pt>
                <c:pt idx="31">
                  <c:v>4.0830000000000002</c:v>
                </c:pt>
                <c:pt idx="32">
                  <c:v>4.0750000000000002</c:v>
                </c:pt>
                <c:pt idx="33">
                  <c:v>4.0670000000000002</c:v>
                </c:pt>
                <c:pt idx="34">
                  <c:v>4.0179999999999998</c:v>
                </c:pt>
                <c:pt idx="35">
                  <c:v>4.0259999999999998</c:v>
                </c:pt>
                <c:pt idx="36">
                  <c:v>3.9769999999999999</c:v>
                </c:pt>
                <c:pt idx="37">
                  <c:v>3.85</c:v>
                </c:pt>
                <c:pt idx="38">
                  <c:v>3.7810000000000001</c:v>
                </c:pt>
                <c:pt idx="39">
                  <c:v>3.7389999999999999</c:v>
                </c:pt>
                <c:pt idx="40">
                  <c:v>3.79</c:v>
                </c:pt>
                <c:pt idx="41">
                  <c:v>3.7490000000000001</c:v>
                </c:pt>
                <c:pt idx="42">
                  <c:v>3.794</c:v>
                </c:pt>
                <c:pt idx="43">
                  <c:v>3.7869999999999999</c:v>
                </c:pt>
                <c:pt idx="44">
                  <c:v>3.7360000000000002</c:v>
                </c:pt>
                <c:pt idx="45">
                  <c:v>3.7469999999999999</c:v>
                </c:pt>
                <c:pt idx="46">
                  <c:v>3.734</c:v>
                </c:pt>
                <c:pt idx="47">
                  <c:v>3.7229999999999999</c:v>
                </c:pt>
                <c:pt idx="48">
                  <c:v>3.7109999999999999</c:v>
                </c:pt>
                <c:pt idx="49">
                  <c:v>3.6440000000000001</c:v>
                </c:pt>
                <c:pt idx="50">
                  <c:v>3.621</c:v>
                </c:pt>
                <c:pt idx="51">
                  <c:v>3.6589999999999998</c:v>
                </c:pt>
                <c:pt idx="52">
                  <c:v>3.681</c:v>
                </c:pt>
                <c:pt idx="53">
                  <c:v>3.657</c:v>
                </c:pt>
                <c:pt idx="54">
                  <c:v>3.6459999999999999</c:v>
                </c:pt>
                <c:pt idx="55">
                  <c:v>3.7</c:v>
                </c:pt>
                <c:pt idx="56">
                  <c:v>3.7160000000000002</c:v>
                </c:pt>
                <c:pt idx="57">
                  <c:v>3.7290000000000001</c:v>
                </c:pt>
                <c:pt idx="58">
                  <c:v>3.7610000000000001</c:v>
                </c:pt>
                <c:pt idx="59">
                  <c:v>3.835</c:v>
                </c:pt>
                <c:pt idx="60">
                  <c:v>3.919</c:v>
                </c:pt>
                <c:pt idx="61">
                  <c:v>3.919</c:v>
                </c:pt>
                <c:pt idx="62">
                  <c:v>3.8690000000000002</c:v>
                </c:pt>
                <c:pt idx="63">
                  <c:v>3.8410000000000002</c:v>
                </c:pt>
                <c:pt idx="64">
                  <c:v>3.831</c:v>
                </c:pt>
                <c:pt idx="65">
                  <c:v>3.82</c:v>
                </c:pt>
                <c:pt idx="66">
                  <c:v>3.8050000000000002</c:v>
                </c:pt>
                <c:pt idx="67">
                  <c:v>3.8580000000000001</c:v>
                </c:pt>
                <c:pt idx="68">
                  <c:v>3.7930000000000001</c:v>
                </c:pt>
                <c:pt idx="69">
                  <c:v>3.8140000000000001</c:v>
                </c:pt>
                <c:pt idx="70">
                  <c:v>3.867</c:v>
                </c:pt>
                <c:pt idx="71">
                  <c:v>3.89</c:v>
                </c:pt>
                <c:pt idx="72">
                  <c:v>3.915</c:v>
                </c:pt>
                <c:pt idx="73">
                  <c:v>3.8330000000000002</c:v>
                </c:pt>
                <c:pt idx="74">
                  <c:v>3.85</c:v>
                </c:pt>
                <c:pt idx="75">
                  <c:v>3.9049999999999998</c:v>
                </c:pt>
                <c:pt idx="76">
                  <c:v>3.94</c:v>
                </c:pt>
                <c:pt idx="77">
                  <c:v>3.9929999999999999</c:v>
                </c:pt>
                <c:pt idx="78">
                  <c:v>3.9009999999999998</c:v>
                </c:pt>
                <c:pt idx="79">
                  <c:v>3.9009999999999998</c:v>
                </c:pt>
                <c:pt idx="80">
                  <c:v>3.7789999999999999</c:v>
                </c:pt>
                <c:pt idx="81">
                  <c:v>3.7959999999999998</c:v>
                </c:pt>
                <c:pt idx="82">
                  <c:v>3.9889999999999999</c:v>
                </c:pt>
                <c:pt idx="83">
                  <c:v>4.0549999999999997</c:v>
                </c:pt>
                <c:pt idx="84">
                  <c:v>4.1449999999999996</c:v>
                </c:pt>
                <c:pt idx="85">
                  <c:v>4.1710000000000003</c:v>
                </c:pt>
                <c:pt idx="86">
                  <c:v>4.1959999999999997</c:v>
                </c:pt>
                <c:pt idx="87">
                  <c:v>4.2519999999999998</c:v>
                </c:pt>
                <c:pt idx="88">
                  <c:v>4.2880000000000003</c:v>
                </c:pt>
                <c:pt idx="89">
                  <c:v>4.2510000000000003</c:v>
                </c:pt>
                <c:pt idx="90">
                  <c:v>4.2539999999999996</c:v>
                </c:pt>
                <c:pt idx="91">
                  <c:v>4.2389999999999999</c:v>
                </c:pt>
                <c:pt idx="92">
                  <c:v>4.1980000000000004</c:v>
                </c:pt>
                <c:pt idx="93">
                  <c:v>4.1520000000000001</c:v>
                </c:pt>
                <c:pt idx="94">
                  <c:v>4.1630000000000003</c:v>
                </c:pt>
                <c:pt idx="95">
                  <c:v>4.226</c:v>
                </c:pt>
                <c:pt idx="96">
                  <c:v>4.1769999999999996</c:v>
                </c:pt>
                <c:pt idx="97">
                  <c:v>4.202</c:v>
                </c:pt>
                <c:pt idx="98">
                  <c:v>4.2839999999999998</c:v>
                </c:pt>
                <c:pt idx="99">
                  <c:v>4.2960000000000003</c:v>
                </c:pt>
                <c:pt idx="100">
                  <c:v>4.2759999999999998</c:v>
                </c:pt>
                <c:pt idx="101">
                  <c:v>4.2779999999999996</c:v>
                </c:pt>
                <c:pt idx="102">
                  <c:v>4.3470000000000004</c:v>
                </c:pt>
                <c:pt idx="103">
                  <c:v>4.3470000000000004</c:v>
                </c:pt>
                <c:pt idx="104">
                  <c:v>4.4320000000000004</c:v>
                </c:pt>
                <c:pt idx="105">
                  <c:v>4.4770000000000003</c:v>
                </c:pt>
                <c:pt idx="106">
                  <c:v>4.3710000000000004</c:v>
                </c:pt>
                <c:pt idx="107">
                  <c:v>4.29</c:v>
                </c:pt>
                <c:pt idx="108">
                  <c:v>4.3159999999999998</c:v>
                </c:pt>
                <c:pt idx="109">
                  <c:v>4.2300000000000004</c:v>
                </c:pt>
                <c:pt idx="110">
                  <c:v>4.242</c:v>
                </c:pt>
                <c:pt idx="111">
                  <c:v>4.2539999999999996</c:v>
                </c:pt>
                <c:pt idx="112">
                  <c:v>4.2539999999999996</c:v>
                </c:pt>
                <c:pt idx="113">
                  <c:v>4.2149999999999999</c:v>
                </c:pt>
                <c:pt idx="114">
                  <c:v>4.2149999999999999</c:v>
                </c:pt>
                <c:pt idx="115">
                  <c:v>4.2750000000000004</c:v>
                </c:pt>
                <c:pt idx="116">
                  <c:v>4.2089999999999996</c:v>
                </c:pt>
                <c:pt idx="117">
                  <c:v>4.2380000000000004</c:v>
                </c:pt>
                <c:pt idx="118">
                  <c:v>4.33</c:v>
                </c:pt>
                <c:pt idx="119">
                  <c:v>4.3979999999999997</c:v>
                </c:pt>
                <c:pt idx="120">
                  <c:v>4.4669999999999996</c:v>
                </c:pt>
                <c:pt idx="121">
                  <c:v>4.4320000000000004</c:v>
                </c:pt>
                <c:pt idx="122">
                  <c:v>4.2869999999999999</c:v>
                </c:pt>
                <c:pt idx="123">
                  <c:v>4.2809999999999997</c:v>
                </c:pt>
                <c:pt idx="124">
                  <c:v>4.3280000000000003</c:v>
                </c:pt>
                <c:pt idx="125">
                  <c:v>4.4020000000000001</c:v>
                </c:pt>
                <c:pt idx="126">
                  <c:v>4.4870000000000001</c:v>
                </c:pt>
                <c:pt idx="127">
                  <c:v>4.548</c:v>
                </c:pt>
                <c:pt idx="128">
                  <c:v>4.6139999999999999</c:v>
                </c:pt>
                <c:pt idx="129">
                  <c:v>4.5419999999999998</c:v>
                </c:pt>
                <c:pt idx="130">
                  <c:v>4.4669999999999996</c:v>
                </c:pt>
                <c:pt idx="131">
                  <c:v>4.4669999999999996</c:v>
                </c:pt>
                <c:pt idx="132">
                  <c:v>4.4770000000000003</c:v>
                </c:pt>
                <c:pt idx="133">
                  <c:v>4.4260000000000002</c:v>
                </c:pt>
                <c:pt idx="134">
                  <c:v>4.4119999999999999</c:v>
                </c:pt>
                <c:pt idx="135">
                  <c:v>4.4429999999999996</c:v>
                </c:pt>
                <c:pt idx="136">
                  <c:v>4.4219999999999997</c:v>
                </c:pt>
                <c:pt idx="137">
                  <c:v>4.3789999999999996</c:v>
                </c:pt>
                <c:pt idx="138">
                  <c:v>4.3520000000000003</c:v>
                </c:pt>
                <c:pt idx="139">
                  <c:v>4.4489999999999998</c:v>
                </c:pt>
                <c:pt idx="140">
                  <c:v>4.4870000000000001</c:v>
                </c:pt>
                <c:pt idx="141">
                  <c:v>4.5</c:v>
                </c:pt>
                <c:pt idx="142">
                  <c:v>4.4569999999999999</c:v>
                </c:pt>
                <c:pt idx="143">
                  <c:v>4.4960000000000004</c:v>
                </c:pt>
                <c:pt idx="144">
                  <c:v>4.4569999999999999</c:v>
                </c:pt>
                <c:pt idx="145">
                  <c:v>4.4889999999999999</c:v>
                </c:pt>
                <c:pt idx="146">
                  <c:v>4.5019999999999998</c:v>
                </c:pt>
                <c:pt idx="147">
                  <c:v>4.577</c:v>
                </c:pt>
                <c:pt idx="148">
                  <c:v>4.63</c:v>
                </c:pt>
                <c:pt idx="149">
                  <c:v>4.68</c:v>
                </c:pt>
                <c:pt idx="150">
                  <c:v>4.6180000000000003</c:v>
                </c:pt>
                <c:pt idx="151">
                  <c:v>4.6689999999999996</c:v>
                </c:pt>
                <c:pt idx="152">
                  <c:v>4.702</c:v>
                </c:pt>
                <c:pt idx="153">
                  <c:v>4.6420000000000003</c:v>
                </c:pt>
                <c:pt idx="154">
                  <c:v>4.6020000000000003</c:v>
                </c:pt>
                <c:pt idx="155">
                  <c:v>4.617</c:v>
                </c:pt>
                <c:pt idx="156">
                  <c:v>4.6150000000000002</c:v>
                </c:pt>
                <c:pt idx="157">
                  <c:v>4.6340000000000003</c:v>
                </c:pt>
                <c:pt idx="158">
                  <c:v>4.585</c:v>
                </c:pt>
                <c:pt idx="159">
                  <c:v>4.6630000000000003</c:v>
                </c:pt>
                <c:pt idx="160">
                  <c:v>4.6159999999999997</c:v>
                </c:pt>
                <c:pt idx="161">
                  <c:v>4.5199999999999996</c:v>
                </c:pt>
                <c:pt idx="162">
                  <c:v>4.5720000000000001</c:v>
                </c:pt>
                <c:pt idx="163">
                  <c:v>4.5460000000000003</c:v>
                </c:pt>
                <c:pt idx="164">
                  <c:v>4.3659999999999997</c:v>
                </c:pt>
                <c:pt idx="165">
                  <c:v>4.4219999999999997</c:v>
                </c:pt>
                <c:pt idx="166">
                  <c:v>4.3959999999999999</c:v>
                </c:pt>
                <c:pt idx="167">
                  <c:v>4.3029999999999999</c:v>
                </c:pt>
                <c:pt idx="168">
                  <c:v>4.3470000000000004</c:v>
                </c:pt>
                <c:pt idx="169">
                  <c:v>4.3550000000000004</c:v>
                </c:pt>
                <c:pt idx="170">
                  <c:v>4.3250000000000002</c:v>
                </c:pt>
                <c:pt idx="171">
                  <c:v>4.2060000000000004</c:v>
                </c:pt>
                <c:pt idx="172">
                  <c:v>4.2060000000000004</c:v>
                </c:pt>
                <c:pt idx="173">
                  <c:v>4.1879999999999997</c:v>
                </c:pt>
                <c:pt idx="174">
                  <c:v>4.234</c:v>
                </c:pt>
                <c:pt idx="175">
                  <c:v>4.2510000000000003</c:v>
                </c:pt>
                <c:pt idx="176">
                  <c:v>4.2140000000000004</c:v>
                </c:pt>
                <c:pt idx="177">
                  <c:v>4.2750000000000004</c:v>
                </c:pt>
                <c:pt idx="178">
                  <c:v>4.2770000000000001</c:v>
                </c:pt>
                <c:pt idx="179">
                  <c:v>4.3019999999999996</c:v>
                </c:pt>
                <c:pt idx="180">
                  <c:v>4.3339999999999996</c:v>
                </c:pt>
                <c:pt idx="181">
                  <c:v>4.3140000000000001</c:v>
                </c:pt>
                <c:pt idx="182">
                  <c:v>4.2960000000000003</c:v>
                </c:pt>
                <c:pt idx="183">
                  <c:v>4.1920000000000002</c:v>
                </c:pt>
                <c:pt idx="184">
                  <c:v>4.157</c:v>
                </c:pt>
                <c:pt idx="185">
                  <c:v>4.0999999999999996</c:v>
                </c:pt>
                <c:pt idx="186">
                  <c:v>4.085</c:v>
                </c:pt>
                <c:pt idx="187">
                  <c:v>4.0919999999999996</c:v>
                </c:pt>
                <c:pt idx="188">
                  <c:v>4.1059999999999999</c:v>
                </c:pt>
                <c:pt idx="189">
                  <c:v>4.1349999999999998</c:v>
                </c:pt>
                <c:pt idx="190">
                  <c:v>4.2169999999999996</c:v>
                </c:pt>
                <c:pt idx="191">
                  <c:v>4.1859999999999999</c:v>
                </c:pt>
                <c:pt idx="192">
                  <c:v>4.2439999999999998</c:v>
                </c:pt>
                <c:pt idx="193">
                  <c:v>4.266</c:v>
                </c:pt>
                <c:pt idx="194">
                  <c:v>4.3090000000000002</c:v>
                </c:pt>
                <c:pt idx="195">
                  <c:v>4.2560000000000002</c:v>
                </c:pt>
                <c:pt idx="196">
                  <c:v>4.2560000000000002</c:v>
                </c:pt>
                <c:pt idx="197">
                  <c:v>4.3209999999999997</c:v>
                </c:pt>
                <c:pt idx="198">
                  <c:v>4.3209999999999997</c:v>
                </c:pt>
                <c:pt idx="199">
                  <c:v>4.2709999999999999</c:v>
                </c:pt>
                <c:pt idx="200">
                  <c:v>4.2930000000000001</c:v>
                </c:pt>
                <c:pt idx="201">
                  <c:v>4.2930000000000001</c:v>
                </c:pt>
                <c:pt idx="202">
                  <c:v>4.234</c:v>
                </c:pt>
                <c:pt idx="203">
                  <c:v>4.2649999999999997</c:v>
                </c:pt>
                <c:pt idx="204">
                  <c:v>4.3179999999999996</c:v>
                </c:pt>
                <c:pt idx="205">
                  <c:v>4.17</c:v>
                </c:pt>
                <c:pt idx="206">
                  <c:v>4.1769999999999996</c:v>
                </c:pt>
                <c:pt idx="207">
                  <c:v>4.1559999999999997</c:v>
                </c:pt>
                <c:pt idx="208">
                  <c:v>4.1150000000000002</c:v>
                </c:pt>
                <c:pt idx="209">
                  <c:v>4.0919999999999996</c:v>
                </c:pt>
                <c:pt idx="210">
                  <c:v>4.1619999999999999</c:v>
                </c:pt>
                <c:pt idx="211">
                  <c:v>4.0279999999999996</c:v>
                </c:pt>
                <c:pt idx="212">
                  <c:v>3.8580000000000001</c:v>
                </c:pt>
                <c:pt idx="213">
                  <c:v>3.948</c:v>
                </c:pt>
                <c:pt idx="214">
                  <c:v>4.0490000000000004</c:v>
                </c:pt>
                <c:pt idx="215">
                  <c:v>4.0720000000000001</c:v>
                </c:pt>
                <c:pt idx="216">
                  <c:v>4.149</c:v>
                </c:pt>
                <c:pt idx="217">
                  <c:v>4.1260000000000003</c:v>
                </c:pt>
                <c:pt idx="218">
                  <c:v>4.1760000000000002</c:v>
                </c:pt>
                <c:pt idx="219">
                  <c:v>4.1360000000000001</c:v>
                </c:pt>
                <c:pt idx="220">
                  <c:v>4.0990000000000002</c:v>
                </c:pt>
                <c:pt idx="221">
                  <c:v>4.1379999999999999</c:v>
                </c:pt>
                <c:pt idx="222">
                  <c:v>4.1420000000000003</c:v>
                </c:pt>
                <c:pt idx="223">
                  <c:v>4.0999999999999996</c:v>
                </c:pt>
                <c:pt idx="224">
                  <c:v>4.0640000000000001</c:v>
                </c:pt>
                <c:pt idx="225">
                  <c:v>3.952</c:v>
                </c:pt>
                <c:pt idx="226">
                  <c:v>3.952</c:v>
                </c:pt>
                <c:pt idx="227">
                  <c:v>3.9809999999999999</c:v>
                </c:pt>
                <c:pt idx="228">
                  <c:v>4.0419999999999998</c:v>
                </c:pt>
                <c:pt idx="229">
                  <c:v>4.0149999999999997</c:v>
                </c:pt>
                <c:pt idx="230">
                  <c:v>4.008</c:v>
                </c:pt>
                <c:pt idx="231">
                  <c:v>4.048</c:v>
                </c:pt>
                <c:pt idx="232">
                  <c:v>3.9929999999999999</c:v>
                </c:pt>
                <c:pt idx="233">
                  <c:v>3.903</c:v>
                </c:pt>
                <c:pt idx="234">
                  <c:v>3.9369999999999998</c:v>
                </c:pt>
                <c:pt idx="235">
                  <c:v>3.8660000000000001</c:v>
                </c:pt>
                <c:pt idx="236">
                  <c:v>3.8660000000000001</c:v>
                </c:pt>
                <c:pt idx="237">
                  <c:v>3.8439999999999999</c:v>
                </c:pt>
                <c:pt idx="238">
                  <c:v>3.7890000000000001</c:v>
                </c:pt>
                <c:pt idx="239">
                  <c:v>3.8929999999999998</c:v>
                </c:pt>
                <c:pt idx="240">
                  <c:v>3.9009999999999998</c:v>
                </c:pt>
                <c:pt idx="241">
                  <c:v>3.9009999999999998</c:v>
                </c:pt>
                <c:pt idx="242">
                  <c:v>3.8860000000000001</c:v>
                </c:pt>
                <c:pt idx="243">
                  <c:v>3.8570000000000002</c:v>
                </c:pt>
                <c:pt idx="244">
                  <c:v>3.9220000000000002</c:v>
                </c:pt>
                <c:pt idx="245">
                  <c:v>3.948</c:v>
                </c:pt>
                <c:pt idx="246">
                  <c:v>3.915</c:v>
                </c:pt>
                <c:pt idx="247">
                  <c:v>3.9079999999999999</c:v>
                </c:pt>
                <c:pt idx="248">
                  <c:v>4.024</c:v>
                </c:pt>
                <c:pt idx="249">
                  <c:v>4.2060000000000004</c:v>
                </c:pt>
                <c:pt idx="250">
                  <c:v>4.2350000000000003</c:v>
                </c:pt>
                <c:pt idx="251">
                  <c:v>4.2309999999999999</c:v>
                </c:pt>
                <c:pt idx="252">
                  <c:v>4.1509999999999998</c:v>
                </c:pt>
                <c:pt idx="253">
                  <c:v>4.1189999999999998</c:v>
                </c:pt>
                <c:pt idx="254">
                  <c:v>4.1740000000000004</c:v>
                </c:pt>
                <c:pt idx="255">
                  <c:v>4.2699999999999996</c:v>
                </c:pt>
                <c:pt idx="256">
                  <c:v>4.22</c:v>
                </c:pt>
                <c:pt idx="257">
                  <c:v>4.34</c:v>
                </c:pt>
                <c:pt idx="258">
                  <c:v>4.2649999999999997</c:v>
                </c:pt>
                <c:pt idx="259">
                  <c:v>4.3360000000000003</c:v>
                </c:pt>
                <c:pt idx="260">
                  <c:v>4.383</c:v>
                </c:pt>
                <c:pt idx="261">
                  <c:v>4.484</c:v>
                </c:pt>
                <c:pt idx="262">
                  <c:v>4.4119999999999999</c:v>
                </c:pt>
                <c:pt idx="263">
                  <c:v>4.4119999999999999</c:v>
                </c:pt>
                <c:pt idx="264">
                  <c:v>4.4080000000000004</c:v>
                </c:pt>
                <c:pt idx="265">
                  <c:v>4.42</c:v>
                </c:pt>
                <c:pt idx="266">
                  <c:v>4.4409999999999998</c:v>
                </c:pt>
                <c:pt idx="267">
                  <c:v>4.4530000000000003</c:v>
                </c:pt>
                <c:pt idx="268">
                  <c:v>4.5449999999999999</c:v>
                </c:pt>
                <c:pt idx="269">
                  <c:v>4.4450000000000003</c:v>
                </c:pt>
                <c:pt idx="270">
                  <c:v>4.6280000000000001</c:v>
                </c:pt>
                <c:pt idx="271">
                  <c:v>4.62</c:v>
                </c:pt>
                <c:pt idx="272">
                  <c:v>4.6379999999999999</c:v>
                </c:pt>
                <c:pt idx="273">
                  <c:v>4.5129999999999999</c:v>
                </c:pt>
                <c:pt idx="274">
                  <c:v>4.5750000000000002</c:v>
                </c:pt>
                <c:pt idx="275">
                  <c:v>4.6509999999999998</c:v>
                </c:pt>
                <c:pt idx="276">
                  <c:v>4.5739999999999998</c:v>
                </c:pt>
                <c:pt idx="277">
                  <c:v>4.6689999999999996</c:v>
                </c:pt>
                <c:pt idx="278">
                  <c:v>4.7610000000000001</c:v>
                </c:pt>
                <c:pt idx="279">
                  <c:v>4.9089999999999998</c:v>
                </c:pt>
                <c:pt idx="280">
                  <c:v>4.8789999999999996</c:v>
                </c:pt>
                <c:pt idx="281">
                  <c:v>4.8319999999999999</c:v>
                </c:pt>
                <c:pt idx="282">
                  <c:v>4.8419999999999996</c:v>
                </c:pt>
                <c:pt idx="283">
                  <c:v>4.9400000000000004</c:v>
                </c:pt>
                <c:pt idx="284">
                  <c:v>4.819</c:v>
                </c:pt>
                <c:pt idx="285">
                  <c:v>4.8520000000000003</c:v>
                </c:pt>
                <c:pt idx="286">
                  <c:v>4.9139999999999997</c:v>
                </c:pt>
                <c:pt idx="287">
                  <c:v>4.9829999999999997</c:v>
                </c:pt>
                <c:pt idx="288">
                  <c:v>4.9020000000000001</c:v>
                </c:pt>
                <c:pt idx="289">
                  <c:v>4.8339999999999996</c:v>
                </c:pt>
                <c:pt idx="290">
                  <c:v>4.7060000000000004</c:v>
                </c:pt>
                <c:pt idx="291">
                  <c:v>4.6210000000000004</c:v>
                </c:pt>
                <c:pt idx="292">
                  <c:v>4.7069999999999999</c:v>
                </c:pt>
                <c:pt idx="293">
                  <c:v>4.5709999999999997</c:v>
                </c:pt>
                <c:pt idx="294">
                  <c:v>4.6529999999999996</c:v>
                </c:pt>
                <c:pt idx="295">
                  <c:v>4.7969999999999997</c:v>
                </c:pt>
                <c:pt idx="296">
                  <c:v>4.7969999999999997</c:v>
                </c:pt>
                <c:pt idx="297">
                  <c:v>4.7140000000000004</c:v>
                </c:pt>
                <c:pt idx="298">
                  <c:v>4.7270000000000003</c:v>
                </c:pt>
                <c:pt idx="299">
                  <c:v>4.806</c:v>
                </c:pt>
                <c:pt idx="300">
                  <c:v>4.6870000000000003</c:v>
                </c:pt>
                <c:pt idx="301">
                  <c:v>4.5730000000000004</c:v>
                </c:pt>
                <c:pt idx="302">
                  <c:v>4.5750000000000002</c:v>
                </c:pt>
                <c:pt idx="303">
                  <c:v>4.6070000000000002</c:v>
                </c:pt>
                <c:pt idx="304">
                  <c:v>4.55</c:v>
                </c:pt>
                <c:pt idx="305">
                  <c:v>4.5439999999999996</c:v>
                </c:pt>
                <c:pt idx="306">
                  <c:v>4.43</c:v>
                </c:pt>
                <c:pt idx="307">
                  <c:v>4.4859999999999998</c:v>
                </c:pt>
                <c:pt idx="308">
                  <c:v>4.3710000000000004</c:v>
                </c:pt>
                <c:pt idx="309">
                  <c:v>4.3650000000000002</c:v>
                </c:pt>
                <c:pt idx="310">
                  <c:v>4.3170000000000002</c:v>
                </c:pt>
                <c:pt idx="311">
                  <c:v>4.3319999999999999</c:v>
                </c:pt>
                <c:pt idx="312">
                  <c:v>4.29</c:v>
                </c:pt>
                <c:pt idx="313">
                  <c:v>4.2519999999999998</c:v>
                </c:pt>
                <c:pt idx="314">
                  <c:v>4.266</c:v>
                </c:pt>
                <c:pt idx="315">
                  <c:v>4.2880000000000003</c:v>
                </c:pt>
                <c:pt idx="316">
                  <c:v>4.258</c:v>
                </c:pt>
                <c:pt idx="317">
                  <c:v>4.2619999999999996</c:v>
                </c:pt>
                <c:pt idx="318">
                  <c:v>4.298</c:v>
                </c:pt>
                <c:pt idx="319">
                  <c:v>4.266</c:v>
                </c:pt>
                <c:pt idx="320">
                  <c:v>4.1870000000000003</c:v>
                </c:pt>
                <c:pt idx="321">
                  <c:v>4.1870000000000003</c:v>
                </c:pt>
                <c:pt idx="322">
                  <c:v>4.0960000000000001</c:v>
                </c:pt>
                <c:pt idx="323">
                  <c:v>4.1159999999999997</c:v>
                </c:pt>
                <c:pt idx="324">
                  <c:v>4.1120000000000001</c:v>
                </c:pt>
                <c:pt idx="325">
                  <c:v>4.202</c:v>
                </c:pt>
                <c:pt idx="326">
                  <c:v>4.2329999999999997</c:v>
                </c:pt>
                <c:pt idx="327">
                  <c:v>4.2350000000000003</c:v>
                </c:pt>
                <c:pt idx="328">
                  <c:v>4.1840000000000002</c:v>
                </c:pt>
                <c:pt idx="329">
                  <c:v>4.33</c:v>
                </c:pt>
                <c:pt idx="330">
                  <c:v>4.3380000000000001</c:v>
                </c:pt>
                <c:pt idx="331">
                  <c:v>4.2510000000000003</c:v>
                </c:pt>
                <c:pt idx="332">
                  <c:v>4.29</c:v>
                </c:pt>
                <c:pt idx="333">
                  <c:v>4.2720000000000002</c:v>
                </c:pt>
                <c:pt idx="334">
                  <c:v>4.2149999999999999</c:v>
                </c:pt>
                <c:pt idx="335">
                  <c:v>4.1870000000000003</c:v>
                </c:pt>
                <c:pt idx="336">
                  <c:v>4.17</c:v>
                </c:pt>
                <c:pt idx="337">
                  <c:v>4.1059999999999999</c:v>
                </c:pt>
                <c:pt idx="338">
                  <c:v>4.0060000000000002</c:v>
                </c:pt>
                <c:pt idx="339">
                  <c:v>4.0199999999999996</c:v>
                </c:pt>
                <c:pt idx="340">
                  <c:v>4.0880000000000001</c:v>
                </c:pt>
                <c:pt idx="341">
                  <c:v>4.048</c:v>
                </c:pt>
                <c:pt idx="342">
                  <c:v>4.1870000000000003</c:v>
                </c:pt>
                <c:pt idx="343">
                  <c:v>4.069</c:v>
                </c:pt>
                <c:pt idx="344">
                  <c:v>4.0369999999999999</c:v>
                </c:pt>
                <c:pt idx="345">
                  <c:v>3.9489999999999998</c:v>
                </c:pt>
                <c:pt idx="346">
                  <c:v>3.9590000000000001</c:v>
                </c:pt>
                <c:pt idx="347">
                  <c:v>4.0019999999999998</c:v>
                </c:pt>
                <c:pt idx="348">
                  <c:v>3.8570000000000002</c:v>
                </c:pt>
                <c:pt idx="349">
                  <c:v>3.8940000000000001</c:v>
                </c:pt>
                <c:pt idx="350">
                  <c:v>3.871</c:v>
                </c:pt>
                <c:pt idx="351">
                  <c:v>3.839</c:v>
                </c:pt>
                <c:pt idx="352">
                  <c:v>3.8460000000000001</c:v>
                </c:pt>
                <c:pt idx="353">
                  <c:v>3.742</c:v>
                </c:pt>
                <c:pt idx="354">
                  <c:v>3.7930000000000001</c:v>
                </c:pt>
                <c:pt idx="355">
                  <c:v>3.8069999999999999</c:v>
                </c:pt>
                <c:pt idx="356">
                  <c:v>3.8239999999999998</c:v>
                </c:pt>
                <c:pt idx="357">
                  <c:v>3.7629999999999999</c:v>
                </c:pt>
                <c:pt idx="358">
                  <c:v>3.8650000000000002</c:v>
                </c:pt>
                <c:pt idx="359">
                  <c:v>3.9820000000000002</c:v>
                </c:pt>
                <c:pt idx="360">
                  <c:v>4</c:v>
                </c:pt>
                <c:pt idx="361">
                  <c:v>4.0620000000000003</c:v>
                </c:pt>
                <c:pt idx="362">
                  <c:v>4.0410000000000004</c:v>
                </c:pt>
                <c:pt idx="363">
                  <c:v>3.93</c:v>
                </c:pt>
                <c:pt idx="364">
                  <c:v>3.8580000000000001</c:v>
                </c:pt>
                <c:pt idx="365">
                  <c:v>3.8580000000000001</c:v>
                </c:pt>
                <c:pt idx="366">
                  <c:v>3.8090000000000002</c:v>
                </c:pt>
                <c:pt idx="367">
                  <c:v>3.8439999999999999</c:v>
                </c:pt>
                <c:pt idx="368">
                  <c:v>3.71</c:v>
                </c:pt>
                <c:pt idx="369">
                  <c:v>3.758</c:v>
                </c:pt>
                <c:pt idx="370">
                  <c:v>3.7130000000000001</c:v>
                </c:pt>
                <c:pt idx="371">
                  <c:v>3.742</c:v>
                </c:pt>
                <c:pt idx="372">
                  <c:v>3.7970000000000002</c:v>
                </c:pt>
                <c:pt idx="373">
                  <c:v>3.7210000000000001</c:v>
                </c:pt>
                <c:pt idx="374">
                  <c:v>3.73</c:v>
                </c:pt>
                <c:pt idx="375">
                  <c:v>3.7669999999999999</c:v>
                </c:pt>
                <c:pt idx="376">
                  <c:v>3.7669999999999999</c:v>
                </c:pt>
                <c:pt idx="377">
                  <c:v>3.7170000000000001</c:v>
                </c:pt>
                <c:pt idx="378">
                  <c:v>3.8079999999999998</c:v>
                </c:pt>
                <c:pt idx="379">
                  <c:v>3.827</c:v>
                </c:pt>
                <c:pt idx="380">
                  <c:v>3.7360000000000002</c:v>
                </c:pt>
                <c:pt idx="381">
                  <c:v>3.7509999999999999</c:v>
                </c:pt>
                <c:pt idx="382">
                  <c:v>3.714</c:v>
                </c:pt>
                <c:pt idx="383">
                  <c:v>3.7930000000000001</c:v>
                </c:pt>
                <c:pt idx="384">
                  <c:v>3.7</c:v>
                </c:pt>
                <c:pt idx="385">
                  <c:v>3.7</c:v>
                </c:pt>
                <c:pt idx="386">
                  <c:v>3.6949999999999998</c:v>
                </c:pt>
                <c:pt idx="387">
                  <c:v>3.605</c:v>
                </c:pt>
                <c:pt idx="388">
                  <c:v>3.633</c:v>
                </c:pt>
                <c:pt idx="389">
                  <c:v>3.6829999999999998</c:v>
                </c:pt>
                <c:pt idx="390">
                  <c:v>3.7959999999999998</c:v>
                </c:pt>
                <c:pt idx="391">
                  <c:v>3.7959999999999998</c:v>
                </c:pt>
                <c:pt idx="392">
                  <c:v>3.8149999999999999</c:v>
                </c:pt>
                <c:pt idx="393">
                  <c:v>3.7360000000000002</c:v>
                </c:pt>
                <c:pt idx="394">
                  <c:v>3.7229999999999999</c:v>
                </c:pt>
                <c:pt idx="395">
                  <c:v>3.7229999999999999</c:v>
                </c:pt>
                <c:pt idx="396">
                  <c:v>3.653</c:v>
                </c:pt>
                <c:pt idx="397">
                  <c:v>3.653</c:v>
                </c:pt>
                <c:pt idx="398">
                  <c:v>3.5750000000000002</c:v>
                </c:pt>
                <c:pt idx="399">
                  <c:v>3.536</c:v>
                </c:pt>
                <c:pt idx="400">
                  <c:v>3.4980000000000002</c:v>
                </c:pt>
                <c:pt idx="401">
                  <c:v>3.4609999999999999</c:v>
                </c:pt>
                <c:pt idx="402">
                  <c:v>3.3860000000000001</c:v>
                </c:pt>
                <c:pt idx="403">
                  <c:v>3.4409999999999998</c:v>
                </c:pt>
                <c:pt idx="404">
                  <c:v>3.53</c:v>
                </c:pt>
                <c:pt idx="405">
                  <c:v>3.5150000000000001</c:v>
                </c:pt>
                <c:pt idx="406">
                  <c:v>3.4350000000000001</c:v>
                </c:pt>
                <c:pt idx="407">
                  <c:v>3.3690000000000002</c:v>
                </c:pt>
                <c:pt idx="408">
                  <c:v>3.3519999999999999</c:v>
                </c:pt>
                <c:pt idx="409">
                  <c:v>3.4260000000000002</c:v>
                </c:pt>
                <c:pt idx="410">
                  <c:v>3.593</c:v>
                </c:pt>
                <c:pt idx="411">
                  <c:v>3.4279999999999999</c:v>
                </c:pt>
                <c:pt idx="412">
                  <c:v>3.5259999999999998</c:v>
                </c:pt>
                <c:pt idx="413">
                  <c:v>3.4409999999999998</c:v>
                </c:pt>
                <c:pt idx="414">
                  <c:v>3.383</c:v>
                </c:pt>
                <c:pt idx="415">
                  <c:v>3.5089999999999999</c:v>
                </c:pt>
                <c:pt idx="416">
                  <c:v>3.5720000000000001</c:v>
                </c:pt>
                <c:pt idx="417">
                  <c:v>3.5379999999999998</c:v>
                </c:pt>
                <c:pt idx="418">
                  <c:v>3.6</c:v>
                </c:pt>
                <c:pt idx="419">
                  <c:v>3.577</c:v>
                </c:pt>
                <c:pt idx="420">
                  <c:v>3.597</c:v>
                </c:pt>
                <c:pt idx="421">
                  <c:v>3.5150000000000001</c:v>
                </c:pt>
                <c:pt idx="422">
                  <c:v>3.4489999999999998</c:v>
                </c:pt>
                <c:pt idx="423">
                  <c:v>3.4060000000000001</c:v>
                </c:pt>
                <c:pt idx="424">
                  <c:v>3.4279999999999999</c:v>
                </c:pt>
                <c:pt idx="425">
                  <c:v>3.4209999999999998</c:v>
                </c:pt>
                <c:pt idx="426">
                  <c:v>3.2989999999999999</c:v>
                </c:pt>
                <c:pt idx="427">
                  <c:v>3.2989999999999999</c:v>
                </c:pt>
                <c:pt idx="428">
                  <c:v>3.302</c:v>
                </c:pt>
                <c:pt idx="429">
                  <c:v>3.35</c:v>
                </c:pt>
                <c:pt idx="430">
                  <c:v>3.423</c:v>
                </c:pt>
                <c:pt idx="431">
                  <c:v>3.4809999999999999</c:v>
                </c:pt>
                <c:pt idx="432">
                  <c:v>3.5510000000000002</c:v>
                </c:pt>
                <c:pt idx="433">
                  <c:v>3.5659999999999998</c:v>
                </c:pt>
                <c:pt idx="434">
                  <c:v>3.5680000000000001</c:v>
                </c:pt>
                <c:pt idx="435">
                  <c:v>3.528</c:v>
                </c:pt>
                <c:pt idx="436">
                  <c:v>3.3780000000000001</c:v>
                </c:pt>
                <c:pt idx="437">
                  <c:v>3.4039999999999999</c:v>
                </c:pt>
                <c:pt idx="438">
                  <c:v>3.5</c:v>
                </c:pt>
                <c:pt idx="439">
                  <c:v>3.6059999999999999</c:v>
                </c:pt>
                <c:pt idx="440">
                  <c:v>3.4769999999999999</c:v>
                </c:pt>
                <c:pt idx="441">
                  <c:v>3.3969999999999998</c:v>
                </c:pt>
                <c:pt idx="442">
                  <c:v>3.5830000000000002</c:v>
                </c:pt>
                <c:pt idx="443">
                  <c:v>3.4940000000000002</c:v>
                </c:pt>
                <c:pt idx="444">
                  <c:v>3.6360000000000001</c:v>
                </c:pt>
                <c:pt idx="445">
                  <c:v>3.5150000000000001</c:v>
                </c:pt>
                <c:pt idx="446">
                  <c:v>3.6949999999999998</c:v>
                </c:pt>
                <c:pt idx="447">
                  <c:v>3.923</c:v>
                </c:pt>
                <c:pt idx="448">
                  <c:v>3.976</c:v>
                </c:pt>
                <c:pt idx="449">
                  <c:v>3.9750000000000001</c:v>
                </c:pt>
                <c:pt idx="450">
                  <c:v>3.9830000000000001</c:v>
                </c:pt>
                <c:pt idx="451">
                  <c:v>3.9630000000000001</c:v>
                </c:pt>
                <c:pt idx="452">
                  <c:v>4.0730000000000004</c:v>
                </c:pt>
                <c:pt idx="453">
                  <c:v>3.996</c:v>
                </c:pt>
                <c:pt idx="454">
                  <c:v>3.9140000000000001</c:v>
                </c:pt>
                <c:pt idx="455">
                  <c:v>3.9220000000000002</c:v>
                </c:pt>
                <c:pt idx="456">
                  <c:v>3.9489999999999998</c:v>
                </c:pt>
                <c:pt idx="457">
                  <c:v>3.8809999999999998</c:v>
                </c:pt>
                <c:pt idx="458">
                  <c:v>3.923</c:v>
                </c:pt>
                <c:pt idx="459">
                  <c:v>3.9529999999999998</c:v>
                </c:pt>
                <c:pt idx="460">
                  <c:v>3.8279999999999998</c:v>
                </c:pt>
                <c:pt idx="461">
                  <c:v>3.8279999999999998</c:v>
                </c:pt>
                <c:pt idx="462">
                  <c:v>3.843</c:v>
                </c:pt>
                <c:pt idx="463">
                  <c:v>3.8069999999999999</c:v>
                </c:pt>
                <c:pt idx="464">
                  <c:v>3.7610000000000001</c:v>
                </c:pt>
                <c:pt idx="465">
                  <c:v>3.7189999999999999</c:v>
                </c:pt>
                <c:pt idx="466">
                  <c:v>3.7429999999999999</c:v>
                </c:pt>
                <c:pt idx="467">
                  <c:v>3.6829999999999998</c:v>
                </c:pt>
                <c:pt idx="468">
                  <c:v>3.653</c:v>
                </c:pt>
                <c:pt idx="469">
                  <c:v>3.6739999999999999</c:v>
                </c:pt>
                <c:pt idx="470">
                  <c:v>3.6320000000000001</c:v>
                </c:pt>
                <c:pt idx="471">
                  <c:v>3.532</c:v>
                </c:pt>
                <c:pt idx="472">
                  <c:v>3.3980000000000001</c:v>
                </c:pt>
                <c:pt idx="473">
                  <c:v>3.3980000000000001</c:v>
                </c:pt>
                <c:pt idx="474">
                  <c:v>3.5289999999999999</c:v>
                </c:pt>
                <c:pt idx="475">
                  <c:v>3.5510000000000002</c:v>
                </c:pt>
                <c:pt idx="476">
                  <c:v>3.5179999999999998</c:v>
                </c:pt>
                <c:pt idx="477">
                  <c:v>3.4910000000000001</c:v>
                </c:pt>
                <c:pt idx="478">
                  <c:v>3.4620000000000002</c:v>
                </c:pt>
                <c:pt idx="479">
                  <c:v>3.4670000000000001</c:v>
                </c:pt>
                <c:pt idx="480">
                  <c:v>3.5230000000000001</c:v>
                </c:pt>
                <c:pt idx="481">
                  <c:v>3.484</c:v>
                </c:pt>
                <c:pt idx="482">
                  <c:v>3.399</c:v>
                </c:pt>
                <c:pt idx="483">
                  <c:v>3.375</c:v>
                </c:pt>
                <c:pt idx="484">
                  <c:v>3.5350000000000001</c:v>
                </c:pt>
                <c:pt idx="485">
                  <c:v>3.5110000000000001</c:v>
                </c:pt>
                <c:pt idx="486">
                  <c:v>3.5110000000000001</c:v>
                </c:pt>
                <c:pt idx="487">
                  <c:v>3.4470000000000001</c:v>
                </c:pt>
                <c:pt idx="488">
                  <c:v>3.556</c:v>
                </c:pt>
                <c:pt idx="489">
                  <c:v>3.6190000000000002</c:v>
                </c:pt>
                <c:pt idx="490">
                  <c:v>3.5169999999999999</c:v>
                </c:pt>
                <c:pt idx="491">
                  <c:v>3.5710000000000002</c:v>
                </c:pt>
                <c:pt idx="492">
                  <c:v>3.722</c:v>
                </c:pt>
                <c:pt idx="493">
                  <c:v>3.7090000000000001</c:v>
                </c:pt>
                <c:pt idx="494">
                  <c:v>3.7919999999999998</c:v>
                </c:pt>
                <c:pt idx="495">
                  <c:v>3.831</c:v>
                </c:pt>
                <c:pt idx="496">
                  <c:v>3.831</c:v>
                </c:pt>
                <c:pt idx="497">
                  <c:v>3.835</c:v>
                </c:pt>
                <c:pt idx="498">
                  <c:v>3.8860000000000001</c:v>
                </c:pt>
                <c:pt idx="499">
                  <c:v>3.8580000000000001</c:v>
                </c:pt>
                <c:pt idx="500">
                  <c:v>3.7469999999999999</c:v>
                </c:pt>
                <c:pt idx="501">
                  <c:v>3.7469999999999999</c:v>
                </c:pt>
                <c:pt idx="502">
                  <c:v>3.6709999999999998</c:v>
                </c:pt>
                <c:pt idx="503">
                  <c:v>3.6840000000000002</c:v>
                </c:pt>
                <c:pt idx="504">
                  <c:v>3.6840000000000002</c:v>
                </c:pt>
                <c:pt idx="505">
                  <c:v>3.5830000000000002</c:v>
                </c:pt>
                <c:pt idx="506">
                  <c:v>3.4820000000000002</c:v>
                </c:pt>
                <c:pt idx="507">
                  <c:v>3.45</c:v>
                </c:pt>
                <c:pt idx="508">
                  <c:v>3.5030000000000001</c:v>
                </c:pt>
                <c:pt idx="509">
                  <c:v>3.5030000000000001</c:v>
                </c:pt>
                <c:pt idx="510">
                  <c:v>3.6110000000000002</c:v>
                </c:pt>
                <c:pt idx="511">
                  <c:v>3.5670000000000002</c:v>
                </c:pt>
                <c:pt idx="512">
                  <c:v>3.4929999999999999</c:v>
                </c:pt>
                <c:pt idx="513">
                  <c:v>3.4079999999999999</c:v>
                </c:pt>
                <c:pt idx="514">
                  <c:v>3.5129999999999999</c:v>
                </c:pt>
                <c:pt idx="515">
                  <c:v>3.5990000000000002</c:v>
                </c:pt>
                <c:pt idx="516">
                  <c:v>3.5030000000000001</c:v>
                </c:pt>
                <c:pt idx="517">
                  <c:v>3.5270000000000001</c:v>
                </c:pt>
                <c:pt idx="518">
                  <c:v>3.7010000000000001</c:v>
                </c:pt>
                <c:pt idx="519">
                  <c:v>3.7480000000000002</c:v>
                </c:pt>
                <c:pt idx="520">
                  <c:v>3.702</c:v>
                </c:pt>
                <c:pt idx="521">
                  <c:v>3.702</c:v>
                </c:pt>
                <c:pt idx="522">
                  <c:v>3.7090000000000001</c:v>
                </c:pt>
                <c:pt idx="523">
                  <c:v>3.7090000000000001</c:v>
                </c:pt>
                <c:pt idx="524">
                  <c:v>3.758</c:v>
                </c:pt>
                <c:pt idx="525">
                  <c:v>3.827</c:v>
                </c:pt>
                <c:pt idx="526">
                  <c:v>3.8180000000000001</c:v>
                </c:pt>
                <c:pt idx="527">
                  <c:v>3.7730000000000001</c:v>
                </c:pt>
                <c:pt idx="528">
                  <c:v>3.694</c:v>
                </c:pt>
                <c:pt idx="529">
                  <c:v>3.7989999999999999</c:v>
                </c:pt>
                <c:pt idx="530">
                  <c:v>3.867</c:v>
                </c:pt>
                <c:pt idx="531">
                  <c:v>3.8290000000000002</c:v>
                </c:pt>
                <c:pt idx="532">
                  <c:v>3.8290000000000002</c:v>
                </c:pt>
                <c:pt idx="533">
                  <c:v>4.1509999999999998</c:v>
                </c:pt>
                <c:pt idx="534">
                  <c:v>4.1280000000000001</c:v>
                </c:pt>
                <c:pt idx="535">
                  <c:v>4.2140000000000004</c:v>
                </c:pt>
                <c:pt idx="536">
                  <c:v>4.1580000000000004</c:v>
                </c:pt>
                <c:pt idx="537">
                  <c:v>4.1239999999999997</c:v>
                </c:pt>
                <c:pt idx="538">
                  <c:v>4.0609999999999999</c:v>
                </c:pt>
                <c:pt idx="539">
                  <c:v>4.0519999999999996</c:v>
                </c:pt>
                <c:pt idx="540">
                  <c:v>4.077</c:v>
                </c:pt>
                <c:pt idx="541">
                  <c:v>4.01</c:v>
                </c:pt>
                <c:pt idx="542">
                  <c:v>3.9390000000000001</c:v>
                </c:pt>
                <c:pt idx="543">
                  <c:v>4.0149999999999997</c:v>
                </c:pt>
                <c:pt idx="544">
                  <c:v>4.1100000000000003</c:v>
                </c:pt>
                <c:pt idx="545">
                  <c:v>4.2320000000000002</c:v>
                </c:pt>
                <c:pt idx="546">
                  <c:v>4.2119999999999997</c:v>
                </c:pt>
                <c:pt idx="547">
                  <c:v>4.226</c:v>
                </c:pt>
                <c:pt idx="548">
                  <c:v>4.1289999999999996</c:v>
                </c:pt>
                <c:pt idx="549">
                  <c:v>3.9980000000000002</c:v>
                </c:pt>
                <c:pt idx="550">
                  <c:v>4.0149999999999997</c:v>
                </c:pt>
                <c:pt idx="551">
                  <c:v>4.0060000000000002</c:v>
                </c:pt>
                <c:pt idx="552">
                  <c:v>3.9540000000000002</c:v>
                </c:pt>
                <c:pt idx="553">
                  <c:v>3.9020000000000001</c:v>
                </c:pt>
                <c:pt idx="554">
                  <c:v>3.9390000000000001</c:v>
                </c:pt>
                <c:pt idx="555">
                  <c:v>3.8849999999999998</c:v>
                </c:pt>
                <c:pt idx="556">
                  <c:v>3.8849999999999998</c:v>
                </c:pt>
                <c:pt idx="557">
                  <c:v>3.8239999999999998</c:v>
                </c:pt>
                <c:pt idx="558">
                  <c:v>3.7589999999999999</c:v>
                </c:pt>
                <c:pt idx="559">
                  <c:v>3.617</c:v>
                </c:pt>
                <c:pt idx="560">
                  <c:v>3.6509999999999998</c:v>
                </c:pt>
                <c:pt idx="561">
                  <c:v>3.8039999999999998</c:v>
                </c:pt>
                <c:pt idx="562">
                  <c:v>3.7469999999999999</c:v>
                </c:pt>
                <c:pt idx="563">
                  <c:v>3.7069999999999999</c:v>
                </c:pt>
                <c:pt idx="564">
                  <c:v>3.9630000000000001</c:v>
                </c:pt>
                <c:pt idx="565">
                  <c:v>3.88</c:v>
                </c:pt>
                <c:pt idx="566">
                  <c:v>3.6970000000000001</c:v>
                </c:pt>
                <c:pt idx="567">
                  <c:v>3.7080000000000002</c:v>
                </c:pt>
                <c:pt idx="568">
                  <c:v>3.512</c:v>
                </c:pt>
                <c:pt idx="569">
                  <c:v>3.573</c:v>
                </c:pt>
                <c:pt idx="570">
                  <c:v>3.4889999999999999</c:v>
                </c:pt>
                <c:pt idx="571">
                  <c:v>3.4470000000000001</c:v>
                </c:pt>
                <c:pt idx="572">
                  <c:v>3.4590000000000001</c:v>
                </c:pt>
                <c:pt idx="573">
                  <c:v>3.4119999999999999</c:v>
                </c:pt>
                <c:pt idx="574">
                  <c:v>3.423</c:v>
                </c:pt>
                <c:pt idx="575">
                  <c:v>3.3620000000000001</c:v>
                </c:pt>
                <c:pt idx="576">
                  <c:v>3.3210000000000002</c:v>
                </c:pt>
                <c:pt idx="577">
                  <c:v>3.2919999999999998</c:v>
                </c:pt>
                <c:pt idx="578">
                  <c:v>3.2650000000000001</c:v>
                </c:pt>
                <c:pt idx="579">
                  <c:v>3.34</c:v>
                </c:pt>
                <c:pt idx="580">
                  <c:v>3.1909999999999998</c:v>
                </c:pt>
                <c:pt idx="581">
                  <c:v>3.1909999999999998</c:v>
                </c:pt>
                <c:pt idx="582">
                  <c:v>3.2650000000000001</c:v>
                </c:pt>
                <c:pt idx="583">
                  <c:v>3.1320000000000001</c:v>
                </c:pt>
                <c:pt idx="584">
                  <c:v>3.11</c:v>
                </c:pt>
                <c:pt idx="585">
                  <c:v>3.11</c:v>
                </c:pt>
                <c:pt idx="586">
                  <c:v>3.0350000000000001</c:v>
                </c:pt>
                <c:pt idx="587">
                  <c:v>3.024</c:v>
                </c:pt>
                <c:pt idx="588">
                  <c:v>3.1059999999999999</c:v>
                </c:pt>
                <c:pt idx="589">
                  <c:v>3.0539999999999998</c:v>
                </c:pt>
                <c:pt idx="590">
                  <c:v>3.0350000000000001</c:v>
                </c:pt>
                <c:pt idx="591">
                  <c:v>2.9889999999999999</c:v>
                </c:pt>
                <c:pt idx="592">
                  <c:v>2.88</c:v>
                </c:pt>
                <c:pt idx="593">
                  <c:v>2.895</c:v>
                </c:pt>
                <c:pt idx="594">
                  <c:v>2.8239999999999998</c:v>
                </c:pt>
                <c:pt idx="595">
                  <c:v>2.7909999999999999</c:v>
                </c:pt>
                <c:pt idx="596">
                  <c:v>2.8490000000000002</c:v>
                </c:pt>
                <c:pt idx="597">
                  <c:v>2.8879999999999999</c:v>
                </c:pt>
                <c:pt idx="598">
                  <c:v>2.786</c:v>
                </c:pt>
                <c:pt idx="599">
                  <c:v>2.7970000000000002</c:v>
                </c:pt>
                <c:pt idx="600">
                  <c:v>2.7629999999999999</c:v>
                </c:pt>
                <c:pt idx="601">
                  <c:v>2.84</c:v>
                </c:pt>
                <c:pt idx="602">
                  <c:v>2.6760000000000002</c:v>
                </c:pt>
                <c:pt idx="603">
                  <c:v>2.7480000000000002</c:v>
                </c:pt>
                <c:pt idx="604">
                  <c:v>2.7410000000000001</c:v>
                </c:pt>
                <c:pt idx="605">
                  <c:v>2.605</c:v>
                </c:pt>
                <c:pt idx="606">
                  <c:v>2.6419999999999999</c:v>
                </c:pt>
                <c:pt idx="607">
                  <c:v>2.681</c:v>
                </c:pt>
                <c:pt idx="608">
                  <c:v>2.7320000000000002</c:v>
                </c:pt>
                <c:pt idx="609">
                  <c:v>2.7869999999999999</c:v>
                </c:pt>
                <c:pt idx="610">
                  <c:v>2.82</c:v>
                </c:pt>
                <c:pt idx="611">
                  <c:v>2.7810000000000001</c:v>
                </c:pt>
                <c:pt idx="612">
                  <c:v>2.9079999999999999</c:v>
                </c:pt>
                <c:pt idx="613">
                  <c:v>3.036</c:v>
                </c:pt>
                <c:pt idx="614">
                  <c:v>3.0190000000000001</c:v>
                </c:pt>
                <c:pt idx="615">
                  <c:v>2.96</c:v>
                </c:pt>
                <c:pt idx="616">
                  <c:v>2.93</c:v>
                </c:pt>
                <c:pt idx="617">
                  <c:v>2.9590000000000001</c:v>
                </c:pt>
                <c:pt idx="618">
                  <c:v>2.9060000000000001</c:v>
                </c:pt>
                <c:pt idx="619">
                  <c:v>2.9580000000000002</c:v>
                </c:pt>
                <c:pt idx="620">
                  <c:v>2.9910000000000001</c:v>
                </c:pt>
                <c:pt idx="621">
                  <c:v>3.101</c:v>
                </c:pt>
                <c:pt idx="622">
                  <c:v>3.008</c:v>
                </c:pt>
                <c:pt idx="623">
                  <c:v>2.911</c:v>
                </c:pt>
                <c:pt idx="624">
                  <c:v>2.8109999999999999</c:v>
                </c:pt>
                <c:pt idx="625">
                  <c:v>2.9039999999999999</c:v>
                </c:pt>
                <c:pt idx="626">
                  <c:v>2.9039999999999999</c:v>
                </c:pt>
                <c:pt idx="627">
                  <c:v>2.9740000000000002</c:v>
                </c:pt>
                <c:pt idx="628">
                  <c:v>3.093</c:v>
                </c:pt>
                <c:pt idx="629">
                  <c:v>3.2069999999999999</c:v>
                </c:pt>
                <c:pt idx="630">
                  <c:v>3.194</c:v>
                </c:pt>
                <c:pt idx="631">
                  <c:v>3.1240000000000001</c:v>
                </c:pt>
                <c:pt idx="632">
                  <c:v>3.07</c:v>
                </c:pt>
                <c:pt idx="633">
                  <c:v>3.1560000000000001</c:v>
                </c:pt>
                <c:pt idx="634">
                  <c:v>3.3050000000000002</c:v>
                </c:pt>
                <c:pt idx="635">
                  <c:v>3.2389999999999999</c:v>
                </c:pt>
                <c:pt idx="636">
                  <c:v>3.2389999999999999</c:v>
                </c:pt>
                <c:pt idx="637">
                  <c:v>3.3050000000000002</c:v>
                </c:pt>
                <c:pt idx="638">
                  <c:v>3.395</c:v>
                </c:pt>
                <c:pt idx="639">
                  <c:v>3.4830000000000001</c:v>
                </c:pt>
                <c:pt idx="640">
                  <c:v>3.371</c:v>
                </c:pt>
                <c:pt idx="641">
                  <c:v>3.157</c:v>
                </c:pt>
                <c:pt idx="642">
                  <c:v>3.0419999999999998</c:v>
                </c:pt>
                <c:pt idx="643">
                  <c:v>3.0289999999999999</c:v>
                </c:pt>
                <c:pt idx="644">
                  <c:v>2.97</c:v>
                </c:pt>
                <c:pt idx="645">
                  <c:v>3.0379999999999998</c:v>
                </c:pt>
                <c:pt idx="646">
                  <c:v>2.9550000000000001</c:v>
                </c:pt>
                <c:pt idx="647">
                  <c:v>2.915</c:v>
                </c:pt>
                <c:pt idx="648">
                  <c:v>2.931</c:v>
                </c:pt>
                <c:pt idx="649">
                  <c:v>2.8439999999999999</c:v>
                </c:pt>
                <c:pt idx="650">
                  <c:v>2.7490000000000001</c:v>
                </c:pt>
                <c:pt idx="651">
                  <c:v>2.7490000000000001</c:v>
                </c:pt>
                <c:pt idx="652">
                  <c:v>2.758</c:v>
                </c:pt>
                <c:pt idx="653">
                  <c:v>2.7469999999999999</c:v>
                </c:pt>
                <c:pt idx="654">
                  <c:v>2.76</c:v>
                </c:pt>
                <c:pt idx="655">
                  <c:v>2.859</c:v>
                </c:pt>
                <c:pt idx="656">
                  <c:v>2.7869999999999999</c:v>
                </c:pt>
                <c:pt idx="657">
                  <c:v>2.855</c:v>
                </c:pt>
                <c:pt idx="658">
                  <c:v>2.8839999999999999</c:v>
                </c:pt>
                <c:pt idx="659">
                  <c:v>2.97</c:v>
                </c:pt>
                <c:pt idx="660">
                  <c:v>2.879</c:v>
                </c:pt>
                <c:pt idx="661">
                  <c:v>2.9329999999999998</c:v>
                </c:pt>
                <c:pt idx="662">
                  <c:v>2.8170000000000002</c:v>
                </c:pt>
                <c:pt idx="663">
                  <c:v>2.919</c:v>
                </c:pt>
                <c:pt idx="664">
                  <c:v>2.9929999999999999</c:v>
                </c:pt>
                <c:pt idx="665">
                  <c:v>3.0790000000000002</c:v>
                </c:pt>
                <c:pt idx="666">
                  <c:v>3.1240000000000001</c:v>
                </c:pt>
                <c:pt idx="667">
                  <c:v>3.0680000000000001</c:v>
                </c:pt>
                <c:pt idx="668">
                  <c:v>2.915</c:v>
                </c:pt>
                <c:pt idx="669">
                  <c:v>2.9580000000000002</c:v>
                </c:pt>
                <c:pt idx="670">
                  <c:v>2.996</c:v>
                </c:pt>
                <c:pt idx="671">
                  <c:v>2.8849999999999998</c:v>
                </c:pt>
                <c:pt idx="672">
                  <c:v>2.863</c:v>
                </c:pt>
                <c:pt idx="673">
                  <c:v>2.8180000000000001</c:v>
                </c:pt>
                <c:pt idx="674">
                  <c:v>2.7719999999999998</c:v>
                </c:pt>
                <c:pt idx="675">
                  <c:v>2.827</c:v>
                </c:pt>
                <c:pt idx="676">
                  <c:v>2.9060000000000001</c:v>
                </c:pt>
                <c:pt idx="677">
                  <c:v>2.9169999999999998</c:v>
                </c:pt>
                <c:pt idx="678">
                  <c:v>2.8359999999999999</c:v>
                </c:pt>
                <c:pt idx="679">
                  <c:v>2.915</c:v>
                </c:pt>
                <c:pt idx="680">
                  <c:v>2.8620000000000001</c:v>
                </c:pt>
                <c:pt idx="681">
                  <c:v>2.8079999999999998</c:v>
                </c:pt>
                <c:pt idx="682">
                  <c:v>2.8079999999999998</c:v>
                </c:pt>
                <c:pt idx="683">
                  <c:v>2.6890000000000001</c:v>
                </c:pt>
                <c:pt idx="684">
                  <c:v>2.7269999999999999</c:v>
                </c:pt>
                <c:pt idx="685">
                  <c:v>2.782</c:v>
                </c:pt>
                <c:pt idx="686">
                  <c:v>2.7149999999999999</c:v>
                </c:pt>
                <c:pt idx="687">
                  <c:v>2.6539999999999999</c:v>
                </c:pt>
                <c:pt idx="688">
                  <c:v>2.609</c:v>
                </c:pt>
                <c:pt idx="689">
                  <c:v>2.5539999999999998</c:v>
                </c:pt>
                <c:pt idx="690">
                  <c:v>2.4119999999999999</c:v>
                </c:pt>
                <c:pt idx="691">
                  <c:v>2.375</c:v>
                </c:pt>
                <c:pt idx="692">
                  <c:v>2.3250000000000002</c:v>
                </c:pt>
                <c:pt idx="693">
                  <c:v>2.3580000000000001</c:v>
                </c:pt>
                <c:pt idx="694">
                  <c:v>2.4</c:v>
                </c:pt>
                <c:pt idx="695">
                  <c:v>2.4769999999999999</c:v>
                </c:pt>
                <c:pt idx="696">
                  <c:v>2.4929999999999999</c:v>
                </c:pt>
                <c:pt idx="697">
                  <c:v>2.3410000000000002</c:v>
                </c:pt>
                <c:pt idx="698">
                  <c:v>2.3210000000000002</c:v>
                </c:pt>
                <c:pt idx="699">
                  <c:v>2.3769999999999998</c:v>
                </c:pt>
                <c:pt idx="700">
                  <c:v>2.3170000000000002</c:v>
                </c:pt>
                <c:pt idx="701">
                  <c:v>2.1480000000000001</c:v>
                </c:pt>
                <c:pt idx="702">
                  <c:v>2.1920000000000002</c:v>
                </c:pt>
                <c:pt idx="703">
                  <c:v>2.1869999999999998</c:v>
                </c:pt>
                <c:pt idx="704">
                  <c:v>2.16</c:v>
                </c:pt>
                <c:pt idx="705">
                  <c:v>2.14</c:v>
                </c:pt>
                <c:pt idx="706">
                  <c:v>2.0059999999999998</c:v>
                </c:pt>
                <c:pt idx="707">
                  <c:v>2.0089999999999999</c:v>
                </c:pt>
                <c:pt idx="708">
                  <c:v>1.948</c:v>
                </c:pt>
                <c:pt idx="709">
                  <c:v>1.871</c:v>
                </c:pt>
                <c:pt idx="710">
                  <c:v>1.7490000000000001</c:v>
                </c:pt>
                <c:pt idx="711">
                  <c:v>1.722</c:v>
                </c:pt>
                <c:pt idx="712">
                  <c:v>1.8440000000000001</c:v>
                </c:pt>
                <c:pt idx="713">
                  <c:v>1.865</c:v>
                </c:pt>
                <c:pt idx="714">
                  <c:v>1.7110000000000001</c:v>
                </c:pt>
                <c:pt idx="715">
                  <c:v>1.839</c:v>
                </c:pt>
                <c:pt idx="716">
                  <c:v>1.984</c:v>
                </c:pt>
                <c:pt idx="717">
                  <c:v>1.972</c:v>
                </c:pt>
                <c:pt idx="718">
                  <c:v>1.9770000000000001</c:v>
                </c:pt>
                <c:pt idx="719">
                  <c:v>1.948</c:v>
                </c:pt>
                <c:pt idx="720">
                  <c:v>1.93</c:v>
                </c:pt>
                <c:pt idx="721">
                  <c:v>1.93</c:v>
                </c:pt>
                <c:pt idx="722">
                  <c:v>1.974</c:v>
                </c:pt>
                <c:pt idx="723">
                  <c:v>2.0449999999999999</c:v>
                </c:pt>
                <c:pt idx="724">
                  <c:v>2.0449999999999999</c:v>
                </c:pt>
                <c:pt idx="725">
                  <c:v>1.996</c:v>
                </c:pt>
                <c:pt idx="726">
                  <c:v>1.9510000000000001</c:v>
                </c:pt>
                <c:pt idx="727">
                  <c:v>2.0289999999999999</c:v>
                </c:pt>
                <c:pt idx="728">
                  <c:v>1.929</c:v>
                </c:pt>
                <c:pt idx="729">
                  <c:v>1.956</c:v>
                </c:pt>
                <c:pt idx="730">
                  <c:v>1.9159999999999999</c:v>
                </c:pt>
                <c:pt idx="731">
                  <c:v>1.9319999999999999</c:v>
                </c:pt>
                <c:pt idx="732">
                  <c:v>1.827</c:v>
                </c:pt>
                <c:pt idx="733">
                  <c:v>1.766</c:v>
                </c:pt>
                <c:pt idx="734">
                  <c:v>1.8</c:v>
                </c:pt>
                <c:pt idx="735">
                  <c:v>1.782</c:v>
                </c:pt>
                <c:pt idx="736">
                  <c:v>1.78</c:v>
                </c:pt>
                <c:pt idx="737">
                  <c:v>1.8080000000000001</c:v>
                </c:pt>
                <c:pt idx="738">
                  <c:v>1.8460000000000001</c:v>
                </c:pt>
                <c:pt idx="739">
                  <c:v>1.7849999999999999</c:v>
                </c:pt>
                <c:pt idx="740">
                  <c:v>1.7350000000000001</c:v>
                </c:pt>
                <c:pt idx="741">
                  <c:v>1.7470000000000001</c:v>
                </c:pt>
                <c:pt idx="742">
                  <c:v>1.8340000000000001</c:v>
                </c:pt>
                <c:pt idx="743">
                  <c:v>1.827</c:v>
                </c:pt>
                <c:pt idx="744">
                  <c:v>1.8680000000000001</c:v>
                </c:pt>
                <c:pt idx="745">
                  <c:v>1.772</c:v>
                </c:pt>
                <c:pt idx="746">
                  <c:v>1.772</c:v>
                </c:pt>
                <c:pt idx="747">
                  <c:v>1.7090000000000001</c:v>
                </c:pt>
                <c:pt idx="748">
                  <c:v>1.7250000000000001</c:v>
                </c:pt>
                <c:pt idx="749">
                  <c:v>1.746</c:v>
                </c:pt>
                <c:pt idx="750">
                  <c:v>1.78</c:v>
                </c:pt>
                <c:pt idx="751">
                  <c:v>1.7689999999999999</c:v>
                </c:pt>
                <c:pt idx="752">
                  <c:v>1.7330000000000001</c:v>
                </c:pt>
                <c:pt idx="753">
                  <c:v>1.7030000000000001</c:v>
                </c:pt>
                <c:pt idx="754">
                  <c:v>1.6659999999999999</c:v>
                </c:pt>
                <c:pt idx="755">
                  <c:v>1.63</c:v>
                </c:pt>
                <c:pt idx="756">
                  <c:v>1.498</c:v>
                </c:pt>
                <c:pt idx="757">
                  <c:v>1.5149999999999999</c:v>
                </c:pt>
                <c:pt idx="758">
                  <c:v>1.5429999999999999</c:v>
                </c:pt>
                <c:pt idx="759">
                  <c:v>1.4810000000000001</c:v>
                </c:pt>
                <c:pt idx="760">
                  <c:v>1.4810000000000001</c:v>
                </c:pt>
                <c:pt idx="761">
                  <c:v>1.4930000000000001</c:v>
                </c:pt>
                <c:pt idx="762">
                  <c:v>1.4930000000000001</c:v>
                </c:pt>
                <c:pt idx="763">
                  <c:v>1.458</c:v>
                </c:pt>
                <c:pt idx="764">
                  <c:v>1.4870000000000001</c:v>
                </c:pt>
                <c:pt idx="765">
                  <c:v>1.419</c:v>
                </c:pt>
                <c:pt idx="766">
                  <c:v>1.4019999999999999</c:v>
                </c:pt>
                <c:pt idx="767">
                  <c:v>1.4219999999999999</c:v>
                </c:pt>
                <c:pt idx="768">
                  <c:v>1.462</c:v>
                </c:pt>
                <c:pt idx="769">
                  <c:v>1.4390000000000001</c:v>
                </c:pt>
                <c:pt idx="770">
                  <c:v>1.4239999999999999</c:v>
                </c:pt>
                <c:pt idx="771">
                  <c:v>1.4890000000000001</c:v>
                </c:pt>
                <c:pt idx="772">
                  <c:v>1.4870000000000001</c:v>
                </c:pt>
                <c:pt idx="773">
                  <c:v>1.5089999999999999</c:v>
                </c:pt>
                <c:pt idx="774">
                  <c:v>1.48</c:v>
                </c:pt>
                <c:pt idx="775">
                  <c:v>1.4339999999999999</c:v>
                </c:pt>
                <c:pt idx="776">
                  <c:v>1.341</c:v>
                </c:pt>
                <c:pt idx="777">
                  <c:v>1.4490000000000001</c:v>
                </c:pt>
                <c:pt idx="778">
                  <c:v>1.4339999999999999</c:v>
                </c:pt>
                <c:pt idx="779">
                  <c:v>1.4410000000000001</c:v>
                </c:pt>
                <c:pt idx="780">
                  <c:v>1.5289999999999999</c:v>
                </c:pt>
                <c:pt idx="781">
                  <c:v>1.4850000000000001</c:v>
                </c:pt>
                <c:pt idx="782">
                  <c:v>1.6439999999999999</c:v>
                </c:pt>
                <c:pt idx="783">
                  <c:v>1.6439999999999999</c:v>
                </c:pt>
              </c:numCache>
            </c:numRef>
          </c:val>
          <c:smooth val="0"/>
          <c:extLst>
            <c:ext xmlns:c16="http://schemas.microsoft.com/office/drawing/2014/chart" uri="{C3380CC4-5D6E-409C-BE32-E72D297353CC}">
              <c16:uniqueId val="{00000001-EFB4-4902-9C1A-69262FC7B74E}"/>
            </c:ext>
          </c:extLst>
        </c:ser>
        <c:dLbls>
          <c:showLegendKey val="0"/>
          <c:showVal val="0"/>
          <c:showCatName val="0"/>
          <c:showSerName val="0"/>
          <c:showPercent val="0"/>
          <c:showBubbleSize val="0"/>
        </c:dLbls>
        <c:marker val="1"/>
        <c:smooth val="0"/>
        <c:axId val="860801600"/>
        <c:axId val="1420889087"/>
      </c:lineChart>
      <c:dateAx>
        <c:axId val="927020303"/>
        <c:scaling>
          <c:orientation val="minMax"/>
          <c:min val="44926"/>
        </c:scaling>
        <c:delete val="0"/>
        <c:axPos val="b"/>
        <c:numFmt formatCode="[$-407]mmm\.\ 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days"/>
        <c:majorUnit val="6"/>
        <c:majorTimeUnit val="months"/>
      </c:dateAx>
      <c:valAx>
        <c:axId val="927021967"/>
        <c:scaling>
          <c:orientation val="minMax"/>
          <c:max val="100"/>
          <c:min val="-50"/>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majorUnit val="10"/>
      </c:valAx>
      <c:valAx>
        <c:axId val="1420889087"/>
        <c:scaling>
          <c:orientation val="minMax"/>
          <c:max val="5.2"/>
          <c:min val="3"/>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860801600"/>
        <c:crosses val="max"/>
        <c:crossBetween val="between"/>
        <c:dispUnits>
          <c:builtInUnit val="hundreds"/>
        </c:dispUnits>
      </c:valAx>
      <c:dateAx>
        <c:axId val="860801600"/>
        <c:scaling>
          <c:orientation val="minMax"/>
        </c:scaling>
        <c:delete val="1"/>
        <c:axPos val="b"/>
        <c:numFmt formatCode="m/d/yyyy" sourceLinked="1"/>
        <c:majorTickMark val="out"/>
        <c:minorTickMark val="none"/>
        <c:tickLblPos val="nextTo"/>
        <c:crossAx val="1420889087"/>
        <c:crosses val="autoZero"/>
        <c:auto val="1"/>
        <c:lblOffset val="100"/>
        <c:baseTimeUnit val="days"/>
      </c:dateAx>
      <c:spPr>
        <a:noFill/>
        <a:ln>
          <a:noFill/>
        </a:ln>
        <a:effectLst/>
      </c:spPr>
    </c:plotArea>
    <c:legend>
      <c:legendPos val="b"/>
      <c:layout>
        <c:manualLayout>
          <c:xMode val="edge"/>
          <c:yMode val="edge"/>
          <c:x val="0"/>
          <c:y val="0.83890540954213499"/>
          <c:w val="1"/>
          <c:h val="0.1365922894281252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userShapes r:id="rId5"/>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1863156280722637E-2"/>
          <c:y val="4.4920870776770927E-2"/>
          <c:w val="0.85099295577743506"/>
          <c:h val="0.69890508191065148"/>
        </c:manualLayout>
      </c:layout>
      <c:lineChart>
        <c:grouping val="standard"/>
        <c:varyColors val="0"/>
        <c:ser>
          <c:idx val="0"/>
          <c:order val="0"/>
          <c:tx>
            <c:strRef>
              <c:f>Sheet1!$G$4</c:f>
              <c:strCache>
                <c:ptCount val="1"/>
                <c:pt idx="0">
                  <c:v>Handelsgewichteter USD-Index (invertiert, links)</c:v>
                </c:pt>
              </c:strCache>
            </c:strRef>
          </c:tx>
          <c:spPr>
            <a:ln w="28575" cap="rnd">
              <a:solidFill>
                <a:schemeClr val="accent1"/>
              </a:solidFill>
              <a:round/>
            </a:ln>
            <a:effectLst/>
          </c:spPr>
          <c:marker>
            <c:symbol val="none"/>
          </c:marker>
          <c:cat>
            <c:numRef>
              <c:f>Sheet1!$F$7:$F$2616</c:f>
              <c:numCache>
                <c:formatCode>m/d/yyyy</c:formatCode>
                <c:ptCount val="2610"/>
                <c:pt idx="0">
                  <c:v>45621</c:v>
                </c:pt>
                <c:pt idx="1">
                  <c:v>45618</c:v>
                </c:pt>
                <c:pt idx="2">
                  <c:v>45617</c:v>
                </c:pt>
                <c:pt idx="3">
                  <c:v>45616</c:v>
                </c:pt>
                <c:pt idx="4">
                  <c:v>45615</c:v>
                </c:pt>
                <c:pt idx="5">
                  <c:v>45614</c:v>
                </c:pt>
                <c:pt idx="6">
                  <c:v>45611</c:v>
                </c:pt>
                <c:pt idx="7">
                  <c:v>45610</c:v>
                </c:pt>
                <c:pt idx="8">
                  <c:v>45609</c:v>
                </c:pt>
                <c:pt idx="9">
                  <c:v>45608</c:v>
                </c:pt>
                <c:pt idx="10">
                  <c:v>45607</c:v>
                </c:pt>
                <c:pt idx="11">
                  <c:v>45604</c:v>
                </c:pt>
                <c:pt idx="12">
                  <c:v>45603</c:v>
                </c:pt>
                <c:pt idx="13">
                  <c:v>45602</c:v>
                </c:pt>
                <c:pt idx="14">
                  <c:v>45601</c:v>
                </c:pt>
                <c:pt idx="15">
                  <c:v>45600</c:v>
                </c:pt>
                <c:pt idx="16">
                  <c:v>45597</c:v>
                </c:pt>
                <c:pt idx="17">
                  <c:v>45596</c:v>
                </c:pt>
                <c:pt idx="18">
                  <c:v>45595</c:v>
                </c:pt>
                <c:pt idx="19">
                  <c:v>45594</c:v>
                </c:pt>
                <c:pt idx="20">
                  <c:v>45593</c:v>
                </c:pt>
                <c:pt idx="21">
                  <c:v>45590</c:v>
                </c:pt>
                <c:pt idx="22">
                  <c:v>45589</c:v>
                </c:pt>
                <c:pt idx="23">
                  <c:v>45588</c:v>
                </c:pt>
                <c:pt idx="24">
                  <c:v>45587</c:v>
                </c:pt>
                <c:pt idx="25">
                  <c:v>45586</c:v>
                </c:pt>
                <c:pt idx="26">
                  <c:v>45583</c:v>
                </c:pt>
                <c:pt idx="27">
                  <c:v>45582</c:v>
                </c:pt>
                <c:pt idx="28">
                  <c:v>45581</c:v>
                </c:pt>
                <c:pt idx="29">
                  <c:v>45580</c:v>
                </c:pt>
                <c:pt idx="30">
                  <c:v>45579</c:v>
                </c:pt>
                <c:pt idx="31">
                  <c:v>45576</c:v>
                </c:pt>
                <c:pt idx="32">
                  <c:v>45575</c:v>
                </c:pt>
                <c:pt idx="33">
                  <c:v>45574</c:v>
                </c:pt>
                <c:pt idx="34">
                  <c:v>45573</c:v>
                </c:pt>
                <c:pt idx="35">
                  <c:v>45572</c:v>
                </c:pt>
                <c:pt idx="36">
                  <c:v>45569</c:v>
                </c:pt>
                <c:pt idx="37">
                  <c:v>45568</c:v>
                </c:pt>
                <c:pt idx="38">
                  <c:v>45567</c:v>
                </c:pt>
                <c:pt idx="39">
                  <c:v>45566</c:v>
                </c:pt>
                <c:pt idx="40">
                  <c:v>45565</c:v>
                </c:pt>
                <c:pt idx="41">
                  <c:v>45562</c:v>
                </c:pt>
                <c:pt idx="42">
                  <c:v>45561</c:v>
                </c:pt>
                <c:pt idx="43">
                  <c:v>45560</c:v>
                </c:pt>
                <c:pt idx="44">
                  <c:v>45559</c:v>
                </c:pt>
                <c:pt idx="45">
                  <c:v>45558</c:v>
                </c:pt>
                <c:pt idx="46">
                  <c:v>45555</c:v>
                </c:pt>
                <c:pt idx="47">
                  <c:v>45554</c:v>
                </c:pt>
                <c:pt idx="48">
                  <c:v>45553</c:v>
                </c:pt>
                <c:pt idx="49">
                  <c:v>45552</c:v>
                </c:pt>
                <c:pt idx="50">
                  <c:v>45551</c:v>
                </c:pt>
                <c:pt idx="51">
                  <c:v>45548</c:v>
                </c:pt>
                <c:pt idx="52">
                  <c:v>45547</c:v>
                </c:pt>
                <c:pt idx="53">
                  <c:v>45546</c:v>
                </c:pt>
                <c:pt idx="54">
                  <c:v>45545</c:v>
                </c:pt>
                <c:pt idx="55">
                  <c:v>45544</c:v>
                </c:pt>
                <c:pt idx="56">
                  <c:v>45541</c:v>
                </c:pt>
                <c:pt idx="57">
                  <c:v>45540</c:v>
                </c:pt>
                <c:pt idx="58">
                  <c:v>45539</c:v>
                </c:pt>
                <c:pt idx="59">
                  <c:v>45538</c:v>
                </c:pt>
                <c:pt idx="60">
                  <c:v>45537</c:v>
                </c:pt>
                <c:pt idx="61">
                  <c:v>45534</c:v>
                </c:pt>
                <c:pt idx="62">
                  <c:v>45533</c:v>
                </c:pt>
                <c:pt idx="63">
                  <c:v>45532</c:v>
                </c:pt>
                <c:pt idx="64">
                  <c:v>45531</c:v>
                </c:pt>
                <c:pt idx="65">
                  <c:v>45530</c:v>
                </c:pt>
                <c:pt idx="66">
                  <c:v>45527</c:v>
                </c:pt>
                <c:pt idx="67">
                  <c:v>45526</c:v>
                </c:pt>
                <c:pt idx="68">
                  <c:v>45525</c:v>
                </c:pt>
                <c:pt idx="69">
                  <c:v>45524</c:v>
                </c:pt>
                <c:pt idx="70">
                  <c:v>45523</c:v>
                </c:pt>
                <c:pt idx="71">
                  <c:v>45520</c:v>
                </c:pt>
                <c:pt idx="72">
                  <c:v>45519</c:v>
                </c:pt>
                <c:pt idx="73">
                  <c:v>45518</c:v>
                </c:pt>
                <c:pt idx="74">
                  <c:v>45517</c:v>
                </c:pt>
                <c:pt idx="75">
                  <c:v>45516</c:v>
                </c:pt>
                <c:pt idx="76">
                  <c:v>45513</c:v>
                </c:pt>
                <c:pt idx="77">
                  <c:v>45512</c:v>
                </c:pt>
                <c:pt idx="78">
                  <c:v>45511</c:v>
                </c:pt>
                <c:pt idx="79">
                  <c:v>45510</c:v>
                </c:pt>
                <c:pt idx="80">
                  <c:v>45509</c:v>
                </c:pt>
                <c:pt idx="81">
                  <c:v>45506</c:v>
                </c:pt>
                <c:pt idx="82">
                  <c:v>45505</c:v>
                </c:pt>
                <c:pt idx="83">
                  <c:v>45504</c:v>
                </c:pt>
                <c:pt idx="84">
                  <c:v>45503</c:v>
                </c:pt>
                <c:pt idx="85">
                  <c:v>45502</c:v>
                </c:pt>
                <c:pt idx="86">
                  <c:v>45499</c:v>
                </c:pt>
                <c:pt idx="87">
                  <c:v>45498</c:v>
                </c:pt>
                <c:pt idx="88">
                  <c:v>45497</c:v>
                </c:pt>
                <c:pt idx="89">
                  <c:v>45496</c:v>
                </c:pt>
                <c:pt idx="90">
                  <c:v>45495</c:v>
                </c:pt>
                <c:pt idx="91">
                  <c:v>45492</c:v>
                </c:pt>
                <c:pt idx="92">
                  <c:v>45491</c:v>
                </c:pt>
                <c:pt idx="93">
                  <c:v>45490</c:v>
                </c:pt>
                <c:pt idx="94">
                  <c:v>45489</c:v>
                </c:pt>
                <c:pt idx="95">
                  <c:v>45488</c:v>
                </c:pt>
                <c:pt idx="96">
                  <c:v>45485</c:v>
                </c:pt>
                <c:pt idx="97">
                  <c:v>45484</c:v>
                </c:pt>
                <c:pt idx="98">
                  <c:v>45483</c:v>
                </c:pt>
                <c:pt idx="99">
                  <c:v>45482</c:v>
                </c:pt>
                <c:pt idx="100">
                  <c:v>45481</c:v>
                </c:pt>
                <c:pt idx="101">
                  <c:v>45478</c:v>
                </c:pt>
                <c:pt idx="102">
                  <c:v>45477</c:v>
                </c:pt>
                <c:pt idx="103">
                  <c:v>45476</c:v>
                </c:pt>
                <c:pt idx="104">
                  <c:v>45475</c:v>
                </c:pt>
                <c:pt idx="105">
                  <c:v>45474</c:v>
                </c:pt>
                <c:pt idx="106">
                  <c:v>45471</c:v>
                </c:pt>
                <c:pt idx="107">
                  <c:v>45470</c:v>
                </c:pt>
                <c:pt idx="108">
                  <c:v>45469</c:v>
                </c:pt>
                <c:pt idx="109">
                  <c:v>45468</c:v>
                </c:pt>
                <c:pt idx="110">
                  <c:v>45467</c:v>
                </c:pt>
                <c:pt idx="111">
                  <c:v>45464</c:v>
                </c:pt>
                <c:pt idx="112">
                  <c:v>45463</c:v>
                </c:pt>
                <c:pt idx="113">
                  <c:v>45462</c:v>
                </c:pt>
                <c:pt idx="114">
                  <c:v>45461</c:v>
                </c:pt>
                <c:pt idx="115">
                  <c:v>45460</c:v>
                </c:pt>
                <c:pt idx="116">
                  <c:v>45457</c:v>
                </c:pt>
                <c:pt idx="117">
                  <c:v>45456</c:v>
                </c:pt>
                <c:pt idx="118">
                  <c:v>45455</c:v>
                </c:pt>
                <c:pt idx="119">
                  <c:v>45454</c:v>
                </c:pt>
                <c:pt idx="120">
                  <c:v>45453</c:v>
                </c:pt>
                <c:pt idx="121">
                  <c:v>45450</c:v>
                </c:pt>
                <c:pt idx="122">
                  <c:v>45449</c:v>
                </c:pt>
                <c:pt idx="123">
                  <c:v>45448</c:v>
                </c:pt>
                <c:pt idx="124">
                  <c:v>45447</c:v>
                </c:pt>
                <c:pt idx="125">
                  <c:v>45446</c:v>
                </c:pt>
                <c:pt idx="126">
                  <c:v>45443</c:v>
                </c:pt>
                <c:pt idx="127">
                  <c:v>45442</c:v>
                </c:pt>
                <c:pt idx="128">
                  <c:v>45441</c:v>
                </c:pt>
                <c:pt idx="129">
                  <c:v>45440</c:v>
                </c:pt>
                <c:pt idx="130">
                  <c:v>45439</c:v>
                </c:pt>
                <c:pt idx="131">
                  <c:v>45436</c:v>
                </c:pt>
                <c:pt idx="132">
                  <c:v>45435</c:v>
                </c:pt>
                <c:pt idx="133">
                  <c:v>45434</c:v>
                </c:pt>
                <c:pt idx="134">
                  <c:v>45433</c:v>
                </c:pt>
                <c:pt idx="135">
                  <c:v>45432</c:v>
                </c:pt>
                <c:pt idx="136">
                  <c:v>45429</c:v>
                </c:pt>
                <c:pt idx="137">
                  <c:v>45428</c:v>
                </c:pt>
                <c:pt idx="138">
                  <c:v>45427</c:v>
                </c:pt>
                <c:pt idx="139">
                  <c:v>45426</c:v>
                </c:pt>
                <c:pt idx="140">
                  <c:v>45425</c:v>
                </c:pt>
                <c:pt idx="141">
                  <c:v>45422</c:v>
                </c:pt>
                <c:pt idx="142">
                  <c:v>45421</c:v>
                </c:pt>
                <c:pt idx="143">
                  <c:v>45420</c:v>
                </c:pt>
                <c:pt idx="144">
                  <c:v>45419</c:v>
                </c:pt>
                <c:pt idx="145">
                  <c:v>45418</c:v>
                </c:pt>
                <c:pt idx="146">
                  <c:v>45415</c:v>
                </c:pt>
                <c:pt idx="147">
                  <c:v>45414</c:v>
                </c:pt>
                <c:pt idx="148">
                  <c:v>45413</c:v>
                </c:pt>
                <c:pt idx="149">
                  <c:v>45412</c:v>
                </c:pt>
                <c:pt idx="150">
                  <c:v>45411</c:v>
                </c:pt>
                <c:pt idx="151">
                  <c:v>45408</c:v>
                </c:pt>
                <c:pt idx="152">
                  <c:v>45407</c:v>
                </c:pt>
                <c:pt idx="153">
                  <c:v>45406</c:v>
                </c:pt>
                <c:pt idx="154">
                  <c:v>45405</c:v>
                </c:pt>
                <c:pt idx="155">
                  <c:v>45404</c:v>
                </c:pt>
                <c:pt idx="156">
                  <c:v>45401</c:v>
                </c:pt>
                <c:pt idx="157">
                  <c:v>45400</c:v>
                </c:pt>
                <c:pt idx="158">
                  <c:v>45399</c:v>
                </c:pt>
                <c:pt idx="159">
                  <c:v>45398</c:v>
                </c:pt>
                <c:pt idx="160">
                  <c:v>45397</c:v>
                </c:pt>
                <c:pt idx="161">
                  <c:v>45394</c:v>
                </c:pt>
                <c:pt idx="162">
                  <c:v>45393</c:v>
                </c:pt>
                <c:pt idx="163">
                  <c:v>45392</c:v>
                </c:pt>
                <c:pt idx="164">
                  <c:v>45391</c:v>
                </c:pt>
                <c:pt idx="165">
                  <c:v>45390</c:v>
                </c:pt>
                <c:pt idx="166">
                  <c:v>45387</c:v>
                </c:pt>
                <c:pt idx="167">
                  <c:v>45386</c:v>
                </c:pt>
                <c:pt idx="168">
                  <c:v>45385</c:v>
                </c:pt>
                <c:pt idx="169">
                  <c:v>45384</c:v>
                </c:pt>
                <c:pt idx="170">
                  <c:v>45383</c:v>
                </c:pt>
                <c:pt idx="171">
                  <c:v>45380</c:v>
                </c:pt>
                <c:pt idx="172">
                  <c:v>45379</c:v>
                </c:pt>
                <c:pt idx="173">
                  <c:v>45378</c:v>
                </c:pt>
                <c:pt idx="174">
                  <c:v>45377</c:v>
                </c:pt>
                <c:pt idx="175">
                  <c:v>45376</c:v>
                </c:pt>
                <c:pt idx="176">
                  <c:v>45373</c:v>
                </c:pt>
                <c:pt idx="177">
                  <c:v>45372</c:v>
                </c:pt>
                <c:pt idx="178">
                  <c:v>45371</c:v>
                </c:pt>
                <c:pt idx="179">
                  <c:v>45370</c:v>
                </c:pt>
                <c:pt idx="180">
                  <c:v>45369</c:v>
                </c:pt>
                <c:pt idx="181">
                  <c:v>45366</c:v>
                </c:pt>
                <c:pt idx="182">
                  <c:v>45365</c:v>
                </c:pt>
                <c:pt idx="183">
                  <c:v>45364</c:v>
                </c:pt>
                <c:pt idx="184">
                  <c:v>45363</c:v>
                </c:pt>
                <c:pt idx="185">
                  <c:v>45362</c:v>
                </c:pt>
                <c:pt idx="186">
                  <c:v>45359</c:v>
                </c:pt>
                <c:pt idx="187">
                  <c:v>45358</c:v>
                </c:pt>
                <c:pt idx="188">
                  <c:v>45357</c:v>
                </c:pt>
                <c:pt idx="189">
                  <c:v>45356</c:v>
                </c:pt>
                <c:pt idx="190">
                  <c:v>45355</c:v>
                </c:pt>
                <c:pt idx="191">
                  <c:v>45352</c:v>
                </c:pt>
                <c:pt idx="192">
                  <c:v>45351</c:v>
                </c:pt>
                <c:pt idx="193">
                  <c:v>45350</c:v>
                </c:pt>
                <c:pt idx="194">
                  <c:v>45349</c:v>
                </c:pt>
                <c:pt idx="195">
                  <c:v>45348</c:v>
                </c:pt>
                <c:pt idx="196">
                  <c:v>45345</c:v>
                </c:pt>
                <c:pt idx="197">
                  <c:v>45344</c:v>
                </c:pt>
                <c:pt idx="198">
                  <c:v>45343</c:v>
                </c:pt>
                <c:pt idx="199">
                  <c:v>45342</c:v>
                </c:pt>
                <c:pt idx="200">
                  <c:v>45341</c:v>
                </c:pt>
                <c:pt idx="201">
                  <c:v>45338</c:v>
                </c:pt>
                <c:pt idx="202">
                  <c:v>45337</c:v>
                </c:pt>
                <c:pt idx="203">
                  <c:v>45336</c:v>
                </c:pt>
                <c:pt idx="204">
                  <c:v>45335</c:v>
                </c:pt>
                <c:pt idx="205">
                  <c:v>45334</c:v>
                </c:pt>
                <c:pt idx="206">
                  <c:v>45331</c:v>
                </c:pt>
                <c:pt idx="207">
                  <c:v>45330</c:v>
                </c:pt>
                <c:pt idx="208">
                  <c:v>45329</c:v>
                </c:pt>
                <c:pt idx="209">
                  <c:v>45328</c:v>
                </c:pt>
                <c:pt idx="210">
                  <c:v>45327</c:v>
                </c:pt>
                <c:pt idx="211">
                  <c:v>45324</c:v>
                </c:pt>
                <c:pt idx="212">
                  <c:v>45323</c:v>
                </c:pt>
                <c:pt idx="213">
                  <c:v>45322</c:v>
                </c:pt>
                <c:pt idx="214">
                  <c:v>45321</c:v>
                </c:pt>
                <c:pt idx="215">
                  <c:v>45320</c:v>
                </c:pt>
                <c:pt idx="216">
                  <c:v>45317</c:v>
                </c:pt>
                <c:pt idx="217">
                  <c:v>45316</c:v>
                </c:pt>
                <c:pt idx="218">
                  <c:v>45315</c:v>
                </c:pt>
                <c:pt idx="219">
                  <c:v>45314</c:v>
                </c:pt>
                <c:pt idx="220">
                  <c:v>45313</c:v>
                </c:pt>
                <c:pt idx="221">
                  <c:v>45310</c:v>
                </c:pt>
                <c:pt idx="222">
                  <c:v>45309</c:v>
                </c:pt>
                <c:pt idx="223">
                  <c:v>45308</c:v>
                </c:pt>
                <c:pt idx="224">
                  <c:v>45307</c:v>
                </c:pt>
                <c:pt idx="225">
                  <c:v>45306</c:v>
                </c:pt>
                <c:pt idx="226">
                  <c:v>45303</c:v>
                </c:pt>
                <c:pt idx="227">
                  <c:v>45302</c:v>
                </c:pt>
                <c:pt idx="228">
                  <c:v>45301</c:v>
                </c:pt>
                <c:pt idx="229">
                  <c:v>45300</c:v>
                </c:pt>
                <c:pt idx="230">
                  <c:v>45299</c:v>
                </c:pt>
                <c:pt idx="231">
                  <c:v>45296</c:v>
                </c:pt>
                <c:pt idx="232">
                  <c:v>45295</c:v>
                </c:pt>
                <c:pt idx="233">
                  <c:v>45294</c:v>
                </c:pt>
                <c:pt idx="234">
                  <c:v>45293</c:v>
                </c:pt>
                <c:pt idx="235">
                  <c:v>45292</c:v>
                </c:pt>
                <c:pt idx="236">
                  <c:v>45289</c:v>
                </c:pt>
                <c:pt idx="237">
                  <c:v>45288</c:v>
                </c:pt>
                <c:pt idx="238">
                  <c:v>45287</c:v>
                </c:pt>
                <c:pt idx="239">
                  <c:v>45286</c:v>
                </c:pt>
                <c:pt idx="240">
                  <c:v>45285</c:v>
                </c:pt>
                <c:pt idx="241">
                  <c:v>45282</c:v>
                </c:pt>
                <c:pt idx="242">
                  <c:v>45281</c:v>
                </c:pt>
                <c:pt idx="243">
                  <c:v>45280</c:v>
                </c:pt>
                <c:pt idx="244">
                  <c:v>45279</c:v>
                </c:pt>
                <c:pt idx="245">
                  <c:v>45278</c:v>
                </c:pt>
                <c:pt idx="246">
                  <c:v>45275</c:v>
                </c:pt>
                <c:pt idx="247">
                  <c:v>45274</c:v>
                </c:pt>
                <c:pt idx="248">
                  <c:v>45273</c:v>
                </c:pt>
                <c:pt idx="249">
                  <c:v>45272</c:v>
                </c:pt>
                <c:pt idx="250">
                  <c:v>45271</c:v>
                </c:pt>
                <c:pt idx="251">
                  <c:v>45268</c:v>
                </c:pt>
                <c:pt idx="252">
                  <c:v>45267</c:v>
                </c:pt>
                <c:pt idx="253">
                  <c:v>45266</c:v>
                </c:pt>
                <c:pt idx="254">
                  <c:v>45265</c:v>
                </c:pt>
                <c:pt idx="255">
                  <c:v>45264</c:v>
                </c:pt>
                <c:pt idx="256">
                  <c:v>45261</c:v>
                </c:pt>
                <c:pt idx="257">
                  <c:v>45260</c:v>
                </c:pt>
                <c:pt idx="258">
                  <c:v>45259</c:v>
                </c:pt>
                <c:pt idx="259">
                  <c:v>45258</c:v>
                </c:pt>
                <c:pt idx="260">
                  <c:v>45257</c:v>
                </c:pt>
                <c:pt idx="261">
                  <c:v>45254</c:v>
                </c:pt>
                <c:pt idx="262">
                  <c:v>45253</c:v>
                </c:pt>
                <c:pt idx="263">
                  <c:v>45252</c:v>
                </c:pt>
                <c:pt idx="264">
                  <c:v>45251</c:v>
                </c:pt>
                <c:pt idx="265">
                  <c:v>45250</c:v>
                </c:pt>
                <c:pt idx="266">
                  <c:v>45247</c:v>
                </c:pt>
                <c:pt idx="267">
                  <c:v>45246</c:v>
                </c:pt>
                <c:pt idx="268">
                  <c:v>45245</c:v>
                </c:pt>
                <c:pt idx="269">
                  <c:v>45244</c:v>
                </c:pt>
                <c:pt idx="270">
                  <c:v>45243</c:v>
                </c:pt>
                <c:pt idx="271">
                  <c:v>45240</c:v>
                </c:pt>
                <c:pt idx="272">
                  <c:v>45239</c:v>
                </c:pt>
                <c:pt idx="273">
                  <c:v>45238</c:v>
                </c:pt>
                <c:pt idx="274">
                  <c:v>45237</c:v>
                </c:pt>
                <c:pt idx="275">
                  <c:v>45236</c:v>
                </c:pt>
                <c:pt idx="276">
                  <c:v>45233</c:v>
                </c:pt>
                <c:pt idx="277">
                  <c:v>45232</c:v>
                </c:pt>
                <c:pt idx="278">
                  <c:v>45231</c:v>
                </c:pt>
                <c:pt idx="279">
                  <c:v>45230</c:v>
                </c:pt>
                <c:pt idx="280">
                  <c:v>45229</c:v>
                </c:pt>
                <c:pt idx="281">
                  <c:v>45226</c:v>
                </c:pt>
                <c:pt idx="282">
                  <c:v>45225</c:v>
                </c:pt>
                <c:pt idx="283">
                  <c:v>45224</c:v>
                </c:pt>
                <c:pt idx="284">
                  <c:v>45223</c:v>
                </c:pt>
                <c:pt idx="285">
                  <c:v>45222</c:v>
                </c:pt>
                <c:pt idx="286">
                  <c:v>45219</c:v>
                </c:pt>
                <c:pt idx="287">
                  <c:v>45218</c:v>
                </c:pt>
                <c:pt idx="288">
                  <c:v>45217</c:v>
                </c:pt>
                <c:pt idx="289">
                  <c:v>45216</c:v>
                </c:pt>
                <c:pt idx="290">
                  <c:v>45215</c:v>
                </c:pt>
                <c:pt idx="291">
                  <c:v>45212</c:v>
                </c:pt>
                <c:pt idx="292">
                  <c:v>45211</c:v>
                </c:pt>
                <c:pt idx="293">
                  <c:v>45210</c:v>
                </c:pt>
                <c:pt idx="294">
                  <c:v>45209</c:v>
                </c:pt>
                <c:pt idx="295">
                  <c:v>45208</c:v>
                </c:pt>
                <c:pt idx="296">
                  <c:v>45205</c:v>
                </c:pt>
                <c:pt idx="297">
                  <c:v>45204</c:v>
                </c:pt>
                <c:pt idx="298">
                  <c:v>45203</c:v>
                </c:pt>
                <c:pt idx="299">
                  <c:v>45202</c:v>
                </c:pt>
                <c:pt idx="300">
                  <c:v>45201</c:v>
                </c:pt>
                <c:pt idx="301">
                  <c:v>45198</c:v>
                </c:pt>
                <c:pt idx="302">
                  <c:v>45197</c:v>
                </c:pt>
                <c:pt idx="303">
                  <c:v>45196</c:v>
                </c:pt>
                <c:pt idx="304">
                  <c:v>45195</c:v>
                </c:pt>
                <c:pt idx="305">
                  <c:v>45194</c:v>
                </c:pt>
                <c:pt idx="306">
                  <c:v>45191</c:v>
                </c:pt>
                <c:pt idx="307">
                  <c:v>45190</c:v>
                </c:pt>
                <c:pt idx="308">
                  <c:v>45189</c:v>
                </c:pt>
                <c:pt idx="309">
                  <c:v>45188</c:v>
                </c:pt>
                <c:pt idx="310">
                  <c:v>45187</c:v>
                </c:pt>
                <c:pt idx="311">
                  <c:v>45184</c:v>
                </c:pt>
                <c:pt idx="312">
                  <c:v>45183</c:v>
                </c:pt>
                <c:pt idx="313">
                  <c:v>45182</c:v>
                </c:pt>
                <c:pt idx="314">
                  <c:v>45181</c:v>
                </c:pt>
                <c:pt idx="315">
                  <c:v>45180</c:v>
                </c:pt>
                <c:pt idx="316">
                  <c:v>45177</c:v>
                </c:pt>
                <c:pt idx="317">
                  <c:v>45176</c:v>
                </c:pt>
                <c:pt idx="318">
                  <c:v>45175</c:v>
                </c:pt>
                <c:pt idx="319">
                  <c:v>45174</c:v>
                </c:pt>
                <c:pt idx="320">
                  <c:v>45173</c:v>
                </c:pt>
                <c:pt idx="321">
                  <c:v>45170</c:v>
                </c:pt>
                <c:pt idx="322">
                  <c:v>45169</c:v>
                </c:pt>
                <c:pt idx="323">
                  <c:v>45168</c:v>
                </c:pt>
                <c:pt idx="324">
                  <c:v>45167</c:v>
                </c:pt>
                <c:pt idx="325">
                  <c:v>45166</c:v>
                </c:pt>
                <c:pt idx="326">
                  <c:v>45163</c:v>
                </c:pt>
                <c:pt idx="327">
                  <c:v>45162</c:v>
                </c:pt>
                <c:pt idx="328">
                  <c:v>45161</c:v>
                </c:pt>
                <c:pt idx="329">
                  <c:v>45160</c:v>
                </c:pt>
                <c:pt idx="330">
                  <c:v>45159</c:v>
                </c:pt>
                <c:pt idx="331">
                  <c:v>45156</c:v>
                </c:pt>
                <c:pt idx="332">
                  <c:v>45155</c:v>
                </c:pt>
                <c:pt idx="333">
                  <c:v>45154</c:v>
                </c:pt>
                <c:pt idx="334">
                  <c:v>45153</c:v>
                </c:pt>
                <c:pt idx="335">
                  <c:v>45152</c:v>
                </c:pt>
                <c:pt idx="336">
                  <c:v>45149</c:v>
                </c:pt>
                <c:pt idx="337">
                  <c:v>45148</c:v>
                </c:pt>
                <c:pt idx="338">
                  <c:v>45147</c:v>
                </c:pt>
                <c:pt idx="339">
                  <c:v>45146</c:v>
                </c:pt>
                <c:pt idx="340">
                  <c:v>45145</c:v>
                </c:pt>
                <c:pt idx="341">
                  <c:v>45142</c:v>
                </c:pt>
                <c:pt idx="342">
                  <c:v>45141</c:v>
                </c:pt>
                <c:pt idx="343">
                  <c:v>45140</c:v>
                </c:pt>
                <c:pt idx="344">
                  <c:v>45139</c:v>
                </c:pt>
                <c:pt idx="345">
                  <c:v>45138</c:v>
                </c:pt>
                <c:pt idx="346">
                  <c:v>45135</c:v>
                </c:pt>
                <c:pt idx="347">
                  <c:v>45134</c:v>
                </c:pt>
                <c:pt idx="348">
                  <c:v>45133</c:v>
                </c:pt>
                <c:pt idx="349">
                  <c:v>45132</c:v>
                </c:pt>
                <c:pt idx="350">
                  <c:v>45131</c:v>
                </c:pt>
                <c:pt idx="351">
                  <c:v>45128</c:v>
                </c:pt>
                <c:pt idx="352">
                  <c:v>45127</c:v>
                </c:pt>
                <c:pt idx="353">
                  <c:v>45126</c:v>
                </c:pt>
                <c:pt idx="354">
                  <c:v>45125</c:v>
                </c:pt>
                <c:pt idx="355">
                  <c:v>45124</c:v>
                </c:pt>
                <c:pt idx="356">
                  <c:v>45121</c:v>
                </c:pt>
                <c:pt idx="357">
                  <c:v>45120</c:v>
                </c:pt>
                <c:pt idx="358">
                  <c:v>45119</c:v>
                </c:pt>
                <c:pt idx="359">
                  <c:v>45118</c:v>
                </c:pt>
                <c:pt idx="360">
                  <c:v>45117</c:v>
                </c:pt>
                <c:pt idx="361">
                  <c:v>45114</c:v>
                </c:pt>
                <c:pt idx="362">
                  <c:v>45113</c:v>
                </c:pt>
                <c:pt idx="363">
                  <c:v>45112</c:v>
                </c:pt>
                <c:pt idx="364">
                  <c:v>45111</c:v>
                </c:pt>
                <c:pt idx="365">
                  <c:v>45110</c:v>
                </c:pt>
                <c:pt idx="366">
                  <c:v>45107</c:v>
                </c:pt>
                <c:pt idx="367">
                  <c:v>45106</c:v>
                </c:pt>
                <c:pt idx="368">
                  <c:v>45105</c:v>
                </c:pt>
                <c:pt idx="369">
                  <c:v>45104</c:v>
                </c:pt>
                <c:pt idx="370">
                  <c:v>45103</c:v>
                </c:pt>
                <c:pt idx="371">
                  <c:v>45100</c:v>
                </c:pt>
                <c:pt idx="372">
                  <c:v>45099</c:v>
                </c:pt>
                <c:pt idx="373">
                  <c:v>45098</c:v>
                </c:pt>
                <c:pt idx="374">
                  <c:v>45097</c:v>
                </c:pt>
                <c:pt idx="375">
                  <c:v>45096</c:v>
                </c:pt>
                <c:pt idx="376">
                  <c:v>45093</c:v>
                </c:pt>
                <c:pt idx="377">
                  <c:v>45092</c:v>
                </c:pt>
                <c:pt idx="378">
                  <c:v>45091</c:v>
                </c:pt>
                <c:pt idx="379">
                  <c:v>45090</c:v>
                </c:pt>
                <c:pt idx="380">
                  <c:v>45089</c:v>
                </c:pt>
                <c:pt idx="381">
                  <c:v>45086</c:v>
                </c:pt>
                <c:pt idx="382">
                  <c:v>45085</c:v>
                </c:pt>
                <c:pt idx="383">
                  <c:v>45084</c:v>
                </c:pt>
                <c:pt idx="384">
                  <c:v>45083</c:v>
                </c:pt>
                <c:pt idx="385">
                  <c:v>45082</c:v>
                </c:pt>
                <c:pt idx="386">
                  <c:v>45079</c:v>
                </c:pt>
                <c:pt idx="387">
                  <c:v>45078</c:v>
                </c:pt>
                <c:pt idx="388">
                  <c:v>45077</c:v>
                </c:pt>
                <c:pt idx="389">
                  <c:v>45076</c:v>
                </c:pt>
                <c:pt idx="390">
                  <c:v>45075</c:v>
                </c:pt>
                <c:pt idx="391">
                  <c:v>45072</c:v>
                </c:pt>
                <c:pt idx="392">
                  <c:v>45071</c:v>
                </c:pt>
                <c:pt idx="393">
                  <c:v>45070</c:v>
                </c:pt>
                <c:pt idx="394">
                  <c:v>45069</c:v>
                </c:pt>
                <c:pt idx="395">
                  <c:v>45068</c:v>
                </c:pt>
                <c:pt idx="396">
                  <c:v>45065</c:v>
                </c:pt>
                <c:pt idx="397">
                  <c:v>45064</c:v>
                </c:pt>
                <c:pt idx="398">
                  <c:v>45063</c:v>
                </c:pt>
                <c:pt idx="399">
                  <c:v>45062</c:v>
                </c:pt>
                <c:pt idx="400">
                  <c:v>45061</c:v>
                </c:pt>
                <c:pt idx="401">
                  <c:v>45058</c:v>
                </c:pt>
                <c:pt idx="402">
                  <c:v>45057</c:v>
                </c:pt>
                <c:pt idx="403">
                  <c:v>45056</c:v>
                </c:pt>
                <c:pt idx="404">
                  <c:v>45055</c:v>
                </c:pt>
                <c:pt idx="405">
                  <c:v>45054</c:v>
                </c:pt>
                <c:pt idx="406">
                  <c:v>45051</c:v>
                </c:pt>
                <c:pt idx="407">
                  <c:v>45050</c:v>
                </c:pt>
                <c:pt idx="408">
                  <c:v>45049</c:v>
                </c:pt>
                <c:pt idx="409">
                  <c:v>45048</c:v>
                </c:pt>
                <c:pt idx="410">
                  <c:v>45047</c:v>
                </c:pt>
                <c:pt idx="411">
                  <c:v>45044</c:v>
                </c:pt>
                <c:pt idx="412">
                  <c:v>45043</c:v>
                </c:pt>
                <c:pt idx="413">
                  <c:v>45042</c:v>
                </c:pt>
                <c:pt idx="414">
                  <c:v>45041</c:v>
                </c:pt>
                <c:pt idx="415">
                  <c:v>45040</c:v>
                </c:pt>
                <c:pt idx="416">
                  <c:v>45037</c:v>
                </c:pt>
                <c:pt idx="417">
                  <c:v>45036</c:v>
                </c:pt>
                <c:pt idx="418">
                  <c:v>45035</c:v>
                </c:pt>
                <c:pt idx="419">
                  <c:v>45034</c:v>
                </c:pt>
                <c:pt idx="420">
                  <c:v>45033</c:v>
                </c:pt>
                <c:pt idx="421">
                  <c:v>45030</c:v>
                </c:pt>
                <c:pt idx="422">
                  <c:v>45029</c:v>
                </c:pt>
                <c:pt idx="423">
                  <c:v>45028</c:v>
                </c:pt>
                <c:pt idx="424">
                  <c:v>45027</c:v>
                </c:pt>
                <c:pt idx="425">
                  <c:v>45026</c:v>
                </c:pt>
                <c:pt idx="426">
                  <c:v>45023</c:v>
                </c:pt>
                <c:pt idx="427">
                  <c:v>45022</c:v>
                </c:pt>
                <c:pt idx="428">
                  <c:v>45021</c:v>
                </c:pt>
                <c:pt idx="429">
                  <c:v>45020</c:v>
                </c:pt>
                <c:pt idx="430">
                  <c:v>45019</c:v>
                </c:pt>
                <c:pt idx="431">
                  <c:v>45016</c:v>
                </c:pt>
                <c:pt idx="432">
                  <c:v>45015</c:v>
                </c:pt>
                <c:pt idx="433">
                  <c:v>45014</c:v>
                </c:pt>
                <c:pt idx="434">
                  <c:v>45013</c:v>
                </c:pt>
                <c:pt idx="435">
                  <c:v>45012</c:v>
                </c:pt>
                <c:pt idx="436">
                  <c:v>45009</c:v>
                </c:pt>
                <c:pt idx="437">
                  <c:v>45008</c:v>
                </c:pt>
                <c:pt idx="438">
                  <c:v>45007</c:v>
                </c:pt>
                <c:pt idx="439">
                  <c:v>45006</c:v>
                </c:pt>
                <c:pt idx="440">
                  <c:v>45005</c:v>
                </c:pt>
                <c:pt idx="441">
                  <c:v>45002</c:v>
                </c:pt>
                <c:pt idx="442">
                  <c:v>45001</c:v>
                </c:pt>
                <c:pt idx="443">
                  <c:v>45000</c:v>
                </c:pt>
                <c:pt idx="444">
                  <c:v>44999</c:v>
                </c:pt>
                <c:pt idx="445">
                  <c:v>44998</c:v>
                </c:pt>
                <c:pt idx="446">
                  <c:v>44995</c:v>
                </c:pt>
                <c:pt idx="447">
                  <c:v>44994</c:v>
                </c:pt>
                <c:pt idx="448">
                  <c:v>44993</c:v>
                </c:pt>
                <c:pt idx="449">
                  <c:v>44992</c:v>
                </c:pt>
                <c:pt idx="450">
                  <c:v>44991</c:v>
                </c:pt>
                <c:pt idx="451">
                  <c:v>44988</c:v>
                </c:pt>
                <c:pt idx="452">
                  <c:v>44987</c:v>
                </c:pt>
                <c:pt idx="453">
                  <c:v>44986</c:v>
                </c:pt>
                <c:pt idx="454">
                  <c:v>44985</c:v>
                </c:pt>
                <c:pt idx="455">
                  <c:v>44984</c:v>
                </c:pt>
                <c:pt idx="456">
                  <c:v>44981</c:v>
                </c:pt>
                <c:pt idx="457">
                  <c:v>44980</c:v>
                </c:pt>
                <c:pt idx="458">
                  <c:v>44979</c:v>
                </c:pt>
                <c:pt idx="459">
                  <c:v>44978</c:v>
                </c:pt>
                <c:pt idx="460">
                  <c:v>44977</c:v>
                </c:pt>
                <c:pt idx="461">
                  <c:v>44974</c:v>
                </c:pt>
                <c:pt idx="462">
                  <c:v>44973</c:v>
                </c:pt>
                <c:pt idx="463">
                  <c:v>44972</c:v>
                </c:pt>
                <c:pt idx="464">
                  <c:v>44971</c:v>
                </c:pt>
                <c:pt idx="465">
                  <c:v>44970</c:v>
                </c:pt>
                <c:pt idx="466">
                  <c:v>44967</c:v>
                </c:pt>
                <c:pt idx="467">
                  <c:v>44966</c:v>
                </c:pt>
                <c:pt idx="468">
                  <c:v>44965</c:v>
                </c:pt>
                <c:pt idx="469">
                  <c:v>44964</c:v>
                </c:pt>
                <c:pt idx="470">
                  <c:v>44963</c:v>
                </c:pt>
                <c:pt idx="471">
                  <c:v>44960</c:v>
                </c:pt>
                <c:pt idx="472">
                  <c:v>44959</c:v>
                </c:pt>
                <c:pt idx="473">
                  <c:v>44958</c:v>
                </c:pt>
                <c:pt idx="474">
                  <c:v>44957</c:v>
                </c:pt>
                <c:pt idx="475">
                  <c:v>44956</c:v>
                </c:pt>
                <c:pt idx="476">
                  <c:v>44953</c:v>
                </c:pt>
                <c:pt idx="477">
                  <c:v>44952</c:v>
                </c:pt>
                <c:pt idx="478">
                  <c:v>44951</c:v>
                </c:pt>
                <c:pt idx="479">
                  <c:v>44950</c:v>
                </c:pt>
                <c:pt idx="480">
                  <c:v>44949</c:v>
                </c:pt>
                <c:pt idx="481">
                  <c:v>44946</c:v>
                </c:pt>
                <c:pt idx="482">
                  <c:v>44945</c:v>
                </c:pt>
                <c:pt idx="483">
                  <c:v>44944</c:v>
                </c:pt>
                <c:pt idx="484">
                  <c:v>44943</c:v>
                </c:pt>
                <c:pt idx="485">
                  <c:v>44942</c:v>
                </c:pt>
                <c:pt idx="486">
                  <c:v>44939</c:v>
                </c:pt>
                <c:pt idx="487">
                  <c:v>44938</c:v>
                </c:pt>
                <c:pt idx="488">
                  <c:v>44937</c:v>
                </c:pt>
                <c:pt idx="489">
                  <c:v>44936</c:v>
                </c:pt>
                <c:pt idx="490">
                  <c:v>44935</c:v>
                </c:pt>
                <c:pt idx="491">
                  <c:v>44932</c:v>
                </c:pt>
                <c:pt idx="492">
                  <c:v>44931</c:v>
                </c:pt>
                <c:pt idx="493">
                  <c:v>44930</c:v>
                </c:pt>
                <c:pt idx="494">
                  <c:v>44929</c:v>
                </c:pt>
                <c:pt idx="495">
                  <c:v>44928</c:v>
                </c:pt>
                <c:pt idx="496">
                  <c:v>44925</c:v>
                </c:pt>
                <c:pt idx="497">
                  <c:v>44924</c:v>
                </c:pt>
                <c:pt idx="498">
                  <c:v>44923</c:v>
                </c:pt>
                <c:pt idx="499">
                  <c:v>44922</c:v>
                </c:pt>
                <c:pt idx="500">
                  <c:v>44921</c:v>
                </c:pt>
                <c:pt idx="501">
                  <c:v>44918</c:v>
                </c:pt>
                <c:pt idx="502">
                  <c:v>44917</c:v>
                </c:pt>
                <c:pt idx="503">
                  <c:v>44916</c:v>
                </c:pt>
                <c:pt idx="504">
                  <c:v>44915</c:v>
                </c:pt>
                <c:pt idx="505">
                  <c:v>44914</c:v>
                </c:pt>
                <c:pt idx="506">
                  <c:v>44911</c:v>
                </c:pt>
                <c:pt idx="507">
                  <c:v>44910</c:v>
                </c:pt>
                <c:pt idx="508">
                  <c:v>44909</c:v>
                </c:pt>
                <c:pt idx="509">
                  <c:v>44908</c:v>
                </c:pt>
                <c:pt idx="510">
                  <c:v>44907</c:v>
                </c:pt>
                <c:pt idx="511">
                  <c:v>44904</c:v>
                </c:pt>
                <c:pt idx="512">
                  <c:v>44903</c:v>
                </c:pt>
                <c:pt idx="513">
                  <c:v>44902</c:v>
                </c:pt>
                <c:pt idx="514">
                  <c:v>44901</c:v>
                </c:pt>
                <c:pt idx="515">
                  <c:v>44900</c:v>
                </c:pt>
                <c:pt idx="516">
                  <c:v>44897</c:v>
                </c:pt>
                <c:pt idx="517">
                  <c:v>44896</c:v>
                </c:pt>
                <c:pt idx="518">
                  <c:v>44895</c:v>
                </c:pt>
                <c:pt idx="519">
                  <c:v>44894</c:v>
                </c:pt>
                <c:pt idx="520">
                  <c:v>44893</c:v>
                </c:pt>
                <c:pt idx="521">
                  <c:v>44890</c:v>
                </c:pt>
                <c:pt idx="522">
                  <c:v>44889</c:v>
                </c:pt>
                <c:pt idx="523">
                  <c:v>44888</c:v>
                </c:pt>
                <c:pt idx="524">
                  <c:v>44887</c:v>
                </c:pt>
                <c:pt idx="525">
                  <c:v>44886</c:v>
                </c:pt>
                <c:pt idx="526">
                  <c:v>44883</c:v>
                </c:pt>
                <c:pt idx="527">
                  <c:v>44882</c:v>
                </c:pt>
                <c:pt idx="528">
                  <c:v>44881</c:v>
                </c:pt>
                <c:pt idx="529">
                  <c:v>44880</c:v>
                </c:pt>
                <c:pt idx="530">
                  <c:v>44879</c:v>
                </c:pt>
                <c:pt idx="531">
                  <c:v>44876</c:v>
                </c:pt>
                <c:pt idx="532">
                  <c:v>44875</c:v>
                </c:pt>
                <c:pt idx="533">
                  <c:v>44874</c:v>
                </c:pt>
                <c:pt idx="534">
                  <c:v>44873</c:v>
                </c:pt>
                <c:pt idx="535">
                  <c:v>44872</c:v>
                </c:pt>
                <c:pt idx="536">
                  <c:v>44869</c:v>
                </c:pt>
                <c:pt idx="537">
                  <c:v>44868</c:v>
                </c:pt>
                <c:pt idx="538">
                  <c:v>44867</c:v>
                </c:pt>
                <c:pt idx="539">
                  <c:v>44866</c:v>
                </c:pt>
                <c:pt idx="540">
                  <c:v>44865</c:v>
                </c:pt>
                <c:pt idx="541">
                  <c:v>44862</c:v>
                </c:pt>
                <c:pt idx="542">
                  <c:v>44861</c:v>
                </c:pt>
                <c:pt idx="543">
                  <c:v>44860</c:v>
                </c:pt>
                <c:pt idx="544">
                  <c:v>44859</c:v>
                </c:pt>
                <c:pt idx="545">
                  <c:v>44858</c:v>
                </c:pt>
                <c:pt idx="546">
                  <c:v>44855</c:v>
                </c:pt>
                <c:pt idx="547">
                  <c:v>44854</c:v>
                </c:pt>
                <c:pt idx="548">
                  <c:v>44853</c:v>
                </c:pt>
                <c:pt idx="549">
                  <c:v>44852</c:v>
                </c:pt>
                <c:pt idx="550">
                  <c:v>44851</c:v>
                </c:pt>
                <c:pt idx="551">
                  <c:v>44848</c:v>
                </c:pt>
                <c:pt idx="552">
                  <c:v>44847</c:v>
                </c:pt>
                <c:pt idx="553">
                  <c:v>44846</c:v>
                </c:pt>
                <c:pt idx="554">
                  <c:v>44845</c:v>
                </c:pt>
                <c:pt idx="555">
                  <c:v>44844</c:v>
                </c:pt>
                <c:pt idx="556">
                  <c:v>44841</c:v>
                </c:pt>
                <c:pt idx="557">
                  <c:v>44840</c:v>
                </c:pt>
                <c:pt idx="558">
                  <c:v>44839</c:v>
                </c:pt>
                <c:pt idx="559">
                  <c:v>44838</c:v>
                </c:pt>
                <c:pt idx="560">
                  <c:v>44837</c:v>
                </c:pt>
                <c:pt idx="561">
                  <c:v>44834</c:v>
                </c:pt>
                <c:pt idx="562">
                  <c:v>44833</c:v>
                </c:pt>
                <c:pt idx="563">
                  <c:v>44832</c:v>
                </c:pt>
                <c:pt idx="564">
                  <c:v>44831</c:v>
                </c:pt>
                <c:pt idx="565">
                  <c:v>44830</c:v>
                </c:pt>
                <c:pt idx="566">
                  <c:v>44827</c:v>
                </c:pt>
                <c:pt idx="567">
                  <c:v>44826</c:v>
                </c:pt>
                <c:pt idx="568">
                  <c:v>44825</c:v>
                </c:pt>
                <c:pt idx="569">
                  <c:v>44824</c:v>
                </c:pt>
                <c:pt idx="570">
                  <c:v>44823</c:v>
                </c:pt>
                <c:pt idx="571">
                  <c:v>44820</c:v>
                </c:pt>
                <c:pt idx="572">
                  <c:v>44819</c:v>
                </c:pt>
                <c:pt idx="573">
                  <c:v>44818</c:v>
                </c:pt>
                <c:pt idx="574">
                  <c:v>44817</c:v>
                </c:pt>
                <c:pt idx="575">
                  <c:v>44816</c:v>
                </c:pt>
                <c:pt idx="576">
                  <c:v>44813</c:v>
                </c:pt>
                <c:pt idx="577">
                  <c:v>44812</c:v>
                </c:pt>
                <c:pt idx="578">
                  <c:v>44811</c:v>
                </c:pt>
                <c:pt idx="579">
                  <c:v>44810</c:v>
                </c:pt>
                <c:pt idx="580">
                  <c:v>44809</c:v>
                </c:pt>
                <c:pt idx="581">
                  <c:v>44806</c:v>
                </c:pt>
                <c:pt idx="582">
                  <c:v>44805</c:v>
                </c:pt>
                <c:pt idx="583">
                  <c:v>44804</c:v>
                </c:pt>
                <c:pt idx="584">
                  <c:v>44803</c:v>
                </c:pt>
                <c:pt idx="585">
                  <c:v>44802</c:v>
                </c:pt>
                <c:pt idx="586">
                  <c:v>44799</c:v>
                </c:pt>
                <c:pt idx="587">
                  <c:v>44798</c:v>
                </c:pt>
                <c:pt idx="588">
                  <c:v>44797</c:v>
                </c:pt>
                <c:pt idx="589">
                  <c:v>44796</c:v>
                </c:pt>
                <c:pt idx="590">
                  <c:v>44795</c:v>
                </c:pt>
                <c:pt idx="591">
                  <c:v>44792</c:v>
                </c:pt>
                <c:pt idx="592">
                  <c:v>44791</c:v>
                </c:pt>
                <c:pt idx="593">
                  <c:v>44790</c:v>
                </c:pt>
                <c:pt idx="594">
                  <c:v>44789</c:v>
                </c:pt>
                <c:pt idx="595">
                  <c:v>44788</c:v>
                </c:pt>
                <c:pt idx="596">
                  <c:v>44785</c:v>
                </c:pt>
                <c:pt idx="597">
                  <c:v>44784</c:v>
                </c:pt>
                <c:pt idx="598">
                  <c:v>44783</c:v>
                </c:pt>
                <c:pt idx="599">
                  <c:v>44782</c:v>
                </c:pt>
                <c:pt idx="600">
                  <c:v>44781</c:v>
                </c:pt>
                <c:pt idx="601">
                  <c:v>44778</c:v>
                </c:pt>
                <c:pt idx="602">
                  <c:v>44777</c:v>
                </c:pt>
                <c:pt idx="603">
                  <c:v>44776</c:v>
                </c:pt>
                <c:pt idx="604">
                  <c:v>44775</c:v>
                </c:pt>
                <c:pt idx="605">
                  <c:v>44774</c:v>
                </c:pt>
                <c:pt idx="606">
                  <c:v>44771</c:v>
                </c:pt>
                <c:pt idx="607">
                  <c:v>44770</c:v>
                </c:pt>
                <c:pt idx="608">
                  <c:v>44769</c:v>
                </c:pt>
                <c:pt idx="609">
                  <c:v>44768</c:v>
                </c:pt>
                <c:pt idx="610">
                  <c:v>44767</c:v>
                </c:pt>
                <c:pt idx="611">
                  <c:v>44764</c:v>
                </c:pt>
                <c:pt idx="612">
                  <c:v>44763</c:v>
                </c:pt>
                <c:pt idx="613">
                  <c:v>44762</c:v>
                </c:pt>
                <c:pt idx="614">
                  <c:v>44761</c:v>
                </c:pt>
                <c:pt idx="615">
                  <c:v>44760</c:v>
                </c:pt>
                <c:pt idx="616">
                  <c:v>44757</c:v>
                </c:pt>
                <c:pt idx="617">
                  <c:v>44756</c:v>
                </c:pt>
                <c:pt idx="618">
                  <c:v>44755</c:v>
                </c:pt>
                <c:pt idx="619">
                  <c:v>44754</c:v>
                </c:pt>
                <c:pt idx="620">
                  <c:v>44753</c:v>
                </c:pt>
                <c:pt idx="621">
                  <c:v>44750</c:v>
                </c:pt>
                <c:pt idx="622">
                  <c:v>44749</c:v>
                </c:pt>
                <c:pt idx="623">
                  <c:v>44748</c:v>
                </c:pt>
                <c:pt idx="624">
                  <c:v>44747</c:v>
                </c:pt>
                <c:pt idx="625">
                  <c:v>44746</c:v>
                </c:pt>
                <c:pt idx="626">
                  <c:v>44743</c:v>
                </c:pt>
                <c:pt idx="627">
                  <c:v>44742</c:v>
                </c:pt>
                <c:pt idx="628">
                  <c:v>44741</c:v>
                </c:pt>
                <c:pt idx="629">
                  <c:v>44740</c:v>
                </c:pt>
                <c:pt idx="630">
                  <c:v>44739</c:v>
                </c:pt>
                <c:pt idx="631">
                  <c:v>44736</c:v>
                </c:pt>
                <c:pt idx="632">
                  <c:v>44735</c:v>
                </c:pt>
                <c:pt idx="633">
                  <c:v>44734</c:v>
                </c:pt>
                <c:pt idx="634">
                  <c:v>44733</c:v>
                </c:pt>
                <c:pt idx="635">
                  <c:v>44732</c:v>
                </c:pt>
                <c:pt idx="636">
                  <c:v>44729</c:v>
                </c:pt>
                <c:pt idx="637">
                  <c:v>44728</c:v>
                </c:pt>
                <c:pt idx="638">
                  <c:v>44727</c:v>
                </c:pt>
                <c:pt idx="639">
                  <c:v>44726</c:v>
                </c:pt>
                <c:pt idx="640">
                  <c:v>44725</c:v>
                </c:pt>
                <c:pt idx="641">
                  <c:v>44722</c:v>
                </c:pt>
                <c:pt idx="642">
                  <c:v>44721</c:v>
                </c:pt>
                <c:pt idx="643">
                  <c:v>44720</c:v>
                </c:pt>
                <c:pt idx="644">
                  <c:v>44719</c:v>
                </c:pt>
                <c:pt idx="645">
                  <c:v>44718</c:v>
                </c:pt>
                <c:pt idx="646">
                  <c:v>44715</c:v>
                </c:pt>
                <c:pt idx="647">
                  <c:v>44714</c:v>
                </c:pt>
                <c:pt idx="648">
                  <c:v>44713</c:v>
                </c:pt>
                <c:pt idx="649">
                  <c:v>44712</c:v>
                </c:pt>
                <c:pt idx="650">
                  <c:v>44711</c:v>
                </c:pt>
                <c:pt idx="651">
                  <c:v>44708</c:v>
                </c:pt>
                <c:pt idx="652">
                  <c:v>44707</c:v>
                </c:pt>
                <c:pt idx="653">
                  <c:v>44706</c:v>
                </c:pt>
                <c:pt idx="654">
                  <c:v>44705</c:v>
                </c:pt>
                <c:pt idx="655">
                  <c:v>44704</c:v>
                </c:pt>
                <c:pt idx="656">
                  <c:v>44701</c:v>
                </c:pt>
                <c:pt idx="657">
                  <c:v>44700</c:v>
                </c:pt>
                <c:pt idx="658">
                  <c:v>44699</c:v>
                </c:pt>
                <c:pt idx="659">
                  <c:v>44698</c:v>
                </c:pt>
                <c:pt idx="660">
                  <c:v>44697</c:v>
                </c:pt>
                <c:pt idx="661">
                  <c:v>44694</c:v>
                </c:pt>
                <c:pt idx="662">
                  <c:v>44693</c:v>
                </c:pt>
                <c:pt idx="663">
                  <c:v>44692</c:v>
                </c:pt>
                <c:pt idx="664">
                  <c:v>44691</c:v>
                </c:pt>
                <c:pt idx="665">
                  <c:v>44690</c:v>
                </c:pt>
                <c:pt idx="666">
                  <c:v>44687</c:v>
                </c:pt>
                <c:pt idx="667">
                  <c:v>44686</c:v>
                </c:pt>
                <c:pt idx="668">
                  <c:v>44685</c:v>
                </c:pt>
                <c:pt idx="669">
                  <c:v>44684</c:v>
                </c:pt>
                <c:pt idx="670">
                  <c:v>44683</c:v>
                </c:pt>
                <c:pt idx="671">
                  <c:v>44680</c:v>
                </c:pt>
                <c:pt idx="672">
                  <c:v>44679</c:v>
                </c:pt>
                <c:pt idx="673">
                  <c:v>44678</c:v>
                </c:pt>
                <c:pt idx="674">
                  <c:v>44677</c:v>
                </c:pt>
                <c:pt idx="675">
                  <c:v>44676</c:v>
                </c:pt>
                <c:pt idx="676">
                  <c:v>44673</c:v>
                </c:pt>
                <c:pt idx="677">
                  <c:v>44672</c:v>
                </c:pt>
                <c:pt idx="678">
                  <c:v>44671</c:v>
                </c:pt>
                <c:pt idx="679">
                  <c:v>44670</c:v>
                </c:pt>
                <c:pt idx="680">
                  <c:v>44669</c:v>
                </c:pt>
                <c:pt idx="681">
                  <c:v>44666</c:v>
                </c:pt>
                <c:pt idx="682">
                  <c:v>44665</c:v>
                </c:pt>
                <c:pt idx="683">
                  <c:v>44664</c:v>
                </c:pt>
                <c:pt idx="684">
                  <c:v>44663</c:v>
                </c:pt>
                <c:pt idx="685">
                  <c:v>44662</c:v>
                </c:pt>
                <c:pt idx="686">
                  <c:v>44659</c:v>
                </c:pt>
                <c:pt idx="687">
                  <c:v>44658</c:v>
                </c:pt>
                <c:pt idx="688">
                  <c:v>44657</c:v>
                </c:pt>
                <c:pt idx="689">
                  <c:v>44656</c:v>
                </c:pt>
                <c:pt idx="690">
                  <c:v>44655</c:v>
                </c:pt>
                <c:pt idx="691">
                  <c:v>44652</c:v>
                </c:pt>
                <c:pt idx="692">
                  <c:v>44651</c:v>
                </c:pt>
                <c:pt idx="693">
                  <c:v>44650</c:v>
                </c:pt>
                <c:pt idx="694">
                  <c:v>44649</c:v>
                </c:pt>
                <c:pt idx="695">
                  <c:v>44648</c:v>
                </c:pt>
                <c:pt idx="696">
                  <c:v>44645</c:v>
                </c:pt>
                <c:pt idx="697">
                  <c:v>44644</c:v>
                </c:pt>
                <c:pt idx="698">
                  <c:v>44643</c:v>
                </c:pt>
                <c:pt idx="699">
                  <c:v>44642</c:v>
                </c:pt>
                <c:pt idx="700">
                  <c:v>44641</c:v>
                </c:pt>
                <c:pt idx="701">
                  <c:v>44638</c:v>
                </c:pt>
                <c:pt idx="702">
                  <c:v>44637</c:v>
                </c:pt>
                <c:pt idx="703">
                  <c:v>44636</c:v>
                </c:pt>
                <c:pt idx="704">
                  <c:v>44635</c:v>
                </c:pt>
                <c:pt idx="705">
                  <c:v>44634</c:v>
                </c:pt>
                <c:pt idx="706">
                  <c:v>44631</c:v>
                </c:pt>
                <c:pt idx="707">
                  <c:v>44630</c:v>
                </c:pt>
                <c:pt idx="708">
                  <c:v>44629</c:v>
                </c:pt>
                <c:pt idx="709">
                  <c:v>44628</c:v>
                </c:pt>
                <c:pt idx="710">
                  <c:v>44627</c:v>
                </c:pt>
                <c:pt idx="711">
                  <c:v>44624</c:v>
                </c:pt>
                <c:pt idx="712">
                  <c:v>44623</c:v>
                </c:pt>
                <c:pt idx="713">
                  <c:v>44622</c:v>
                </c:pt>
                <c:pt idx="714">
                  <c:v>44621</c:v>
                </c:pt>
                <c:pt idx="715">
                  <c:v>44620</c:v>
                </c:pt>
                <c:pt idx="716">
                  <c:v>44617</c:v>
                </c:pt>
                <c:pt idx="717">
                  <c:v>44616</c:v>
                </c:pt>
                <c:pt idx="718">
                  <c:v>44615</c:v>
                </c:pt>
                <c:pt idx="719">
                  <c:v>44614</c:v>
                </c:pt>
                <c:pt idx="720">
                  <c:v>44613</c:v>
                </c:pt>
                <c:pt idx="721">
                  <c:v>44610</c:v>
                </c:pt>
                <c:pt idx="722">
                  <c:v>44609</c:v>
                </c:pt>
                <c:pt idx="723">
                  <c:v>44608</c:v>
                </c:pt>
                <c:pt idx="724">
                  <c:v>44607</c:v>
                </c:pt>
                <c:pt idx="725">
                  <c:v>44606</c:v>
                </c:pt>
                <c:pt idx="726">
                  <c:v>44603</c:v>
                </c:pt>
                <c:pt idx="727">
                  <c:v>44602</c:v>
                </c:pt>
                <c:pt idx="728">
                  <c:v>44601</c:v>
                </c:pt>
                <c:pt idx="729">
                  <c:v>44600</c:v>
                </c:pt>
                <c:pt idx="730">
                  <c:v>44599</c:v>
                </c:pt>
                <c:pt idx="731">
                  <c:v>44596</c:v>
                </c:pt>
                <c:pt idx="732">
                  <c:v>44595</c:v>
                </c:pt>
                <c:pt idx="733">
                  <c:v>44594</c:v>
                </c:pt>
                <c:pt idx="734">
                  <c:v>44593</c:v>
                </c:pt>
                <c:pt idx="735">
                  <c:v>44592</c:v>
                </c:pt>
                <c:pt idx="736">
                  <c:v>44589</c:v>
                </c:pt>
                <c:pt idx="737">
                  <c:v>44588</c:v>
                </c:pt>
                <c:pt idx="738">
                  <c:v>44587</c:v>
                </c:pt>
                <c:pt idx="739">
                  <c:v>44586</c:v>
                </c:pt>
                <c:pt idx="740">
                  <c:v>44585</c:v>
                </c:pt>
                <c:pt idx="741">
                  <c:v>44582</c:v>
                </c:pt>
                <c:pt idx="742">
                  <c:v>44581</c:v>
                </c:pt>
                <c:pt idx="743">
                  <c:v>44580</c:v>
                </c:pt>
                <c:pt idx="744">
                  <c:v>44579</c:v>
                </c:pt>
                <c:pt idx="745">
                  <c:v>44578</c:v>
                </c:pt>
                <c:pt idx="746">
                  <c:v>44575</c:v>
                </c:pt>
                <c:pt idx="747">
                  <c:v>44574</c:v>
                </c:pt>
                <c:pt idx="748">
                  <c:v>44573</c:v>
                </c:pt>
                <c:pt idx="749">
                  <c:v>44572</c:v>
                </c:pt>
                <c:pt idx="750">
                  <c:v>44571</c:v>
                </c:pt>
                <c:pt idx="751">
                  <c:v>44568</c:v>
                </c:pt>
                <c:pt idx="752">
                  <c:v>44567</c:v>
                </c:pt>
                <c:pt idx="753">
                  <c:v>44566</c:v>
                </c:pt>
                <c:pt idx="754">
                  <c:v>44565</c:v>
                </c:pt>
                <c:pt idx="755">
                  <c:v>44564</c:v>
                </c:pt>
                <c:pt idx="756">
                  <c:v>44561</c:v>
                </c:pt>
                <c:pt idx="757">
                  <c:v>44560</c:v>
                </c:pt>
                <c:pt idx="758">
                  <c:v>44559</c:v>
                </c:pt>
                <c:pt idx="759">
                  <c:v>44558</c:v>
                </c:pt>
                <c:pt idx="760">
                  <c:v>44557</c:v>
                </c:pt>
                <c:pt idx="761">
                  <c:v>44554</c:v>
                </c:pt>
                <c:pt idx="762">
                  <c:v>44553</c:v>
                </c:pt>
                <c:pt idx="763">
                  <c:v>44552</c:v>
                </c:pt>
                <c:pt idx="764">
                  <c:v>44551</c:v>
                </c:pt>
                <c:pt idx="765">
                  <c:v>44550</c:v>
                </c:pt>
                <c:pt idx="766">
                  <c:v>44547</c:v>
                </c:pt>
                <c:pt idx="767">
                  <c:v>44546</c:v>
                </c:pt>
                <c:pt idx="768">
                  <c:v>44545</c:v>
                </c:pt>
                <c:pt idx="769">
                  <c:v>44544</c:v>
                </c:pt>
                <c:pt idx="770">
                  <c:v>44543</c:v>
                </c:pt>
                <c:pt idx="771">
                  <c:v>44540</c:v>
                </c:pt>
                <c:pt idx="772">
                  <c:v>44539</c:v>
                </c:pt>
                <c:pt idx="773">
                  <c:v>44538</c:v>
                </c:pt>
                <c:pt idx="774">
                  <c:v>44537</c:v>
                </c:pt>
                <c:pt idx="775">
                  <c:v>44536</c:v>
                </c:pt>
                <c:pt idx="776">
                  <c:v>44533</c:v>
                </c:pt>
                <c:pt idx="777">
                  <c:v>44532</c:v>
                </c:pt>
                <c:pt idx="778">
                  <c:v>44531</c:v>
                </c:pt>
                <c:pt idx="779">
                  <c:v>44530</c:v>
                </c:pt>
                <c:pt idx="780">
                  <c:v>44529</c:v>
                </c:pt>
                <c:pt idx="781">
                  <c:v>44526</c:v>
                </c:pt>
                <c:pt idx="782">
                  <c:v>44525</c:v>
                </c:pt>
                <c:pt idx="783">
                  <c:v>44524</c:v>
                </c:pt>
                <c:pt idx="784">
                  <c:v>44523</c:v>
                </c:pt>
                <c:pt idx="785">
                  <c:v>44522</c:v>
                </c:pt>
                <c:pt idx="786">
                  <c:v>44519</c:v>
                </c:pt>
                <c:pt idx="787">
                  <c:v>44518</c:v>
                </c:pt>
                <c:pt idx="788">
                  <c:v>44517</c:v>
                </c:pt>
                <c:pt idx="789">
                  <c:v>44516</c:v>
                </c:pt>
                <c:pt idx="790">
                  <c:v>44515</c:v>
                </c:pt>
                <c:pt idx="791">
                  <c:v>44512</c:v>
                </c:pt>
                <c:pt idx="792">
                  <c:v>44511</c:v>
                </c:pt>
                <c:pt idx="793">
                  <c:v>44510</c:v>
                </c:pt>
                <c:pt idx="794">
                  <c:v>44509</c:v>
                </c:pt>
                <c:pt idx="795">
                  <c:v>44508</c:v>
                </c:pt>
                <c:pt idx="796">
                  <c:v>44505</c:v>
                </c:pt>
                <c:pt idx="797">
                  <c:v>44504</c:v>
                </c:pt>
                <c:pt idx="798">
                  <c:v>44503</c:v>
                </c:pt>
                <c:pt idx="799">
                  <c:v>44502</c:v>
                </c:pt>
                <c:pt idx="800">
                  <c:v>44501</c:v>
                </c:pt>
                <c:pt idx="801">
                  <c:v>44498</c:v>
                </c:pt>
                <c:pt idx="802">
                  <c:v>44497</c:v>
                </c:pt>
                <c:pt idx="803">
                  <c:v>44496</c:v>
                </c:pt>
                <c:pt idx="804">
                  <c:v>44495</c:v>
                </c:pt>
                <c:pt idx="805">
                  <c:v>44494</c:v>
                </c:pt>
                <c:pt idx="806">
                  <c:v>44491</c:v>
                </c:pt>
                <c:pt idx="807">
                  <c:v>44490</c:v>
                </c:pt>
                <c:pt idx="808">
                  <c:v>44489</c:v>
                </c:pt>
                <c:pt idx="809">
                  <c:v>44488</c:v>
                </c:pt>
                <c:pt idx="810">
                  <c:v>44487</c:v>
                </c:pt>
                <c:pt idx="811">
                  <c:v>44484</c:v>
                </c:pt>
                <c:pt idx="812">
                  <c:v>44483</c:v>
                </c:pt>
                <c:pt idx="813">
                  <c:v>44482</c:v>
                </c:pt>
                <c:pt idx="814">
                  <c:v>44481</c:v>
                </c:pt>
                <c:pt idx="815">
                  <c:v>44480</c:v>
                </c:pt>
                <c:pt idx="816">
                  <c:v>44477</c:v>
                </c:pt>
                <c:pt idx="817">
                  <c:v>44476</c:v>
                </c:pt>
                <c:pt idx="818">
                  <c:v>44475</c:v>
                </c:pt>
                <c:pt idx="819">
                  <c:v>44474</c:v>
                </c:pt>
                <c:pt idx="820">
                  <c:v>44473</c:v>
                </c:pt>
                <c:pt idx="821">
                  <c:v>44470</c:v>
                </c:pt>
                <c:pt idx="822">
                  <c:v>44469</c:v>
                </c:pt>
                <c:pt idx="823">
                  <c:v>44468</c:v>
                </c:pt>
                <c:pt idx="824">
                  <c:v>44467</c:v>
                </c:pt>
                <c:pt idx="825">
                  <c:v>44466</c:v>
                </c:pt>
                <c:pt idx="826">
                  <c:v>44463</c:v>
                </c:pt>
                <c:pt idx="827">
                  <c:v>44462</c:v>
                </c:pt>
                <c:pt idx="828">
                  <c:v>44461</c:v>
                </c:pt>
                <c:pt idx="829">
                  <c:v>44460</c:v>
                </c:pt>
                <c:pt idx="830">
                  <c:v>44459</c:v>
                </c:pt>
                <c:pt idx="831">
                  <c:v>44456</c:v>
                </c:pt>
                <c:pt idx="832">
                  <c:v>44455</c:v>
                </c:pt>
                <c:pt idx="833">
                  <c:v>44454</c:v>
                </c:pt>
                <c:pt idx="834">
                  <c:v>44453</c:v>
                </c:pt>
                <c:pt idx="835">
                  <c:v>44452</c:v>
                </c:pt>
                <c:pt idx="836">
                  <c:v>44449</c:v>
                </c:pt>
                <c:pt idx="837">
                  <c:v>44448</c:v>
                </c:pt>
                <c:pt idx="838">
                  <c:v>44447</c:v>
                </c:pt>
                <c:pt idx="839">
                  <c:v>44446</c:v>
                </c:pt>
                <c:pt idx="840">
                  <c:v>44445</c:v>
                </c:pt>
                <c:pt idx="841">
                  <c:v>44442</c:v>
                </c:pt>
                <c:pt idx="842">
                  <c:v>44441</c:v>
                </c:pt>
                <c:pt idx="843">
                  <c:v>44440</c:v>
                </c:pt>
                <c:pt idx="844">
                  <c:v>44439</c:v>
                </c:pt>
                <c:pt idx="845">
                  <c:v>44438</c:v>
                </c:pt>
                <c:pt idx="846">
                  <c:v>44435</c:v>
                </c:pt>
                <c:pt idx="847">
                  <c:v>44434</c:v>
                </c:pt>
                <c:pt idx="848">
                  <c:v>44433</c:v>
                </c:pt>
                <c:pt idx="849">
                  <c:v>44432</c:v>
                </c:pt>
                <c:pt idx="850">
                  <c:v>44431</c:v>
                </c:pt>
                <c:pt idx="851">
                  <c:v>44428</c:v>
                </c:pt>
                <c:pt idx="852">
                  <c:v>44427</c:v>
                </c:pt>
                <c:pt idx="853">
                  <c:v>44426</c:v>
                </c:pt>
                <c:pt idx="854">
                  <c:v>44425</c:v>
                </c:pt>
                <c:pt idx="855">
                  <c:v>44424</c:v>
                </c:pt>
                <c:pt idx="856">
                  <c:v>44421</c:v>
                </c:pt>
                <c:pt idx="857">
                  <c:v>44420</c:v>
                </c:pt>
                <c:pt idx="858">
                  <c:v>44419</c:v>
                </c:pt>
                <c:pt idx="859">
                  <c:v>44418</c:v>
                </c:pt>
                <c:pt idx="860">
                  <c:v>44417</c:v>
                </c:pt>
                <c:pt idx="861">
                  <c:v>44414</c:v>
                </c:pt>
                <c:pt idx="862">
                  <c:v>44413</c:v>
                </c:pt>
                <c:pt idx="863">
                  <c:v>44412</c:v>
                </c:pt>
                <c:pt idx="864">
                  <c:v>44411</c:v>
                </c:pt>
                <c:pt idx="865">
                  <c:v>44410</c:v>
                </c:pt>
                <c:pt idx="866">
                  <c:v>44407</c:v>
                </c:pt>
                <c:pt idx="867">
                  <c:v>44406</c:v>
                </c:pt>
                <c:pt idx="868">
                  <c:v>44405</c:v>
                </c:pt>
                <c:pt idx="869">
                  <c:v>44404</c:v>
                </c:pt>
                <c:pt idx="870">
                  <c:v>44403</c:v>
                </c:pt>
                <c:pt idx="871">
                  <c:v>44400</c:v>
                </c:pt>
                <c:pt idx="872">
                  <c:v>44399</c:v>
                </c:pt>
                <c:pt idx="873">
                  <c:v>44398</c:v>
                </c:pt>
                <c:pt idx="874">
                  <c:v>44397</c:v>
                </c:pt>
                <c:pt idx="875">
                  <c:v>44396</c:v>
                </c:pt>
                <c:pt idx="876">
                  <c:v>44393</c:v>
                </c:pt>
                <c:pt idx="877">
                  <c:v>44392</c:v>
                </c:pt>
                <c:pt idx="878">
                  <c:v>44391</c:v>
                </c:pt>
                <c:pt idx="879">
                  <c:v>44390</c:v>
                </c:pt>
                <c:pt idx="880">
                  <c:v>44389</c:v>
                </c:pt>
                <c:pt idx="881">
                  <c:v>44386</c:v>
                </c:pt>
                <c:pt idx="882">
                  <c:v>44385</c:v>
                </c:pt>
                <c:pt idx="883">
                  <c:v>44384</c:v>
                </c:pt>
                <c:pt idx="884">
                  <c:v>44383</c:v>
                </c:pt>
                <c:pt idx="885">
                  <c:v>44382</c:v>
                </c:pt>
                <c:pt idx="886">
                  <c:v>44379</c:v>
                </c:pt>
                <c:pt idx="887">
                  <c:v>44378</c:v>
                </c:pt>
                <c:pt idx="888">
                  <c:v>44377</c:v>
                </c:pt>
                <c:pt idx="889">
                  <c:v>44376</c:v>
                </c:pt>
                <c:pt idx="890">
                  <c:v>44375</c:v>
                </c:pt>
                <c:pt idx="891">
                  <c:v>44372</c:v>
                </c:pt>
                <c:pt idx="892">
                  <c:v>44371</c:v>
                </c:pt>
                <c:pt idx="893">
                  <c:v>44370</c:v>
                </c:pt>
                <c:pt idx="894">
                  <c:v>44369</c:v>
                </c:pt>
                <c:pt idx="895">
                  <c:v>44368</c:v>
                </c:pt>
                <c:pt idx="896">
                  <c:v>44365</c:v>
                </c:pt>
                <c:pt idx="897">
                  <c:v>44364</c:v>
                </c:pt>
                <c:pt idx="898">
                  <c:v>44363</c:v>
                </c:pt>
                <c:pt idx="899">
                  <c:v>44362</c:v>
                </c:pt>
                <c:pt idx="900">
                  <c:v>44361</c:v>
                </c:pt>
                <c:pt idx="901">
                  <c:v>44358</c:v>
                </c:pt>
                <c:pt idx="902">
                  <c:v>44357</c:v>
                </c:pt>
                <c:pt idx="903">
                  <c:v>44356</c:v>
                </c:pt>
                <c:pt idx="904">
                  <c:v>44355</c:v>
                </c:pt>
                <c:pt idx="905">
                  <c:v>44354</c:v>
                </c:pt>
                <c:pt idx="906">
                  <c:v>44351</c:v>
                </c:pt>
                <c:pt idx="907">
                  <c:v>44350</c:v>
                </c:pt>
                <c:pt idx="908">
                  <c:v>44349</c:v>
                </c:pt>
                <c:pt idx="909">
                  <c:v>44348</c:v>
                </c:pt>
                <c:pt idx="910">
                  <c:v>44347</c:v>
                </c:pt>
                <c:pt idx="911">
                  <c:v>44344</c:v>
                </c:pt>
                <c:pt idx="912">
                  <c:v>44343</c:v>
                </c:pt>
                <c:pt idx="913">
                  <c:v>44342</c:v>
                </c:pt>
                <c:pt idx="914">
                  <c:v>44341</c:v>
                </c:pt>
                <c:pt idx="915">
                  <c:v>44340</c:v>
                </c:pt>
                <c:pt idx="916">
                  <c:v>44337</c:v>
                </c:pt>
                <c:pt idx="917">
                  <c:v>44336</c:v>
                </c:pt>
                <c:pt idx="918">
                  <c:v>44335</c:v>
                </c:pt>
                <c:pt idx="919">
                  <c:v>44334</c:v>
                </c:pt>
                <c:pt idx="920">
                  <c:v>44333</c:v>
                </c:pt>
                <c:pt idx="921">
                  <c:v>44330</c:v>
                </c:pt>
                <c:pt idx="922">
                  <c:v>44329</c:v>
                </c:pt>
                <c:pt idx="923">
                  <c:v>44328</c:v>
                </c:pt>
                <c:pt idx="924">
                  <c:v>44327</c:v>
                </c:pt>
                <c:pt idx="925">
                  <c:v>44326</c:v>
                </c:pt>
                <c:pt idx="926">
                  <c:v>44323</c:v>
                </c:pt>
                <c:pt idx="927">
                  <c:v>44322</c:v>
                </c:pt>
                <c:pt idx="928">
                  <c:v>44321</c:v>
                </c:pt>
                <c:pt idx="929">
                  <c:v>44320</c:v>
                </c:pt>
                <c:pt idx="930">
                  <c:v>44319</c:v>
                </c:pt>
                <c:pt idx="931">
                  <c:v>44316</c:v>
                </c:pt>
                <c:pt idx="932">
                  <c:v>44315</c:v>
                </c:pt>
                <c:pt idx="933">
                  <c:v>44314</c:v>
                </c:pt>
                <c:pt idx="934">
                  <c:v>44313</c:v>
                </c:pt>
                <c:pt idx="935">
                  <c:v>44312</c:v>
                </c:pt>
                <c:pt idx="936">
                  <c:v>44309</c:v>
                </c:pt>
                <c:pt idx="937">
                  <c:v>44308</c:v>
                </c:pt>
                <c:pt idx="938">
                  <c:v>44307</c:v>
                </c:pt>
                <c:pt idx="939">
                  <c:v>44306</c:v>
                </c:pt>
                <c:pt idx="940">
                  <c:v>44305</c:v>
                </c:pt>
                <c:pt idx="941">
                  <c:v>44302</c:v>
                </c:pt>
                <c:pt idx="942">
                  <c:v>44301</c:v>
                </c:pt>
                <c:pt idx="943">
                  <c:v>44300</c:v>
                </c:pt>
                <c:pt idx="944">
                  <c:v>44299</c:v>
                </c:pt>
                <c:pt idx="945">
                  <c:v>44298</c:v>
                </c:pt>
                <c:pt idx="946">
                  <c:v>44295</c:v>
                </c:pt>
                <c:pt idx="947">
                  <c:v>44294</c:v>
                </c:pt>
                <c:pt idx="948">
                  <c:v>44293</c:v>
                </c:pt>
                <c:pt idx="949">
                  <c:v>44292</c:v>
                </c:pt>
                <c:pt idx="950">
                  <c:v>44291</c:v>
                </c:pt>
                <c:pt idx="951">
                  <c:v>44288</c:v>
                </c:pt>
                <c:pt idx="952">
                  <c:v>44287</c:v>
                </c:pt>
                <c:pt idx="953">
                  <c:v>44286</c:v>
                </c:pt>
                <c:pt idx="954">
                  <c:v>44285</c:v>
                </c:pt>
                <c:pt idx="955">
                  <c:v>44284</c:v>
                </c:pt>
                <c:pt idx="956">
                  <c:v>44281</c:v>
                </c:pt>
                <c:pt idx="957">
                  <c:v>44280</c:v>
                </c:pt>
                <c:pt idx="958">
                  <c:v>44279</c:v>
                </c:pt>
                <c:pt idx="959">
                  <c:v>44278</c:v>
                </c:pt>
                <c:pt idx="960">
                  <c:v>44277</c:v>
                </c:pt>
                <c:pt idx="961">
                  <c:v>44274</c:v>
                </c:pt>
                <c:pt idx="962">
                  <c:v>44273</c:v>
                </c:pt>
                <c:pt idx="963">
                  <c:v>44272</c:v>
                </c:pt>
                <c:pt idx="964">
                  <c:v>44271</c:v>
                </c:pt>
                <c:pt idx="965">
                  <c:v>44270</c:v>
                </c:pt>
                <c:pt idx="966">
                  <c:v>44267</c:v>
                </c:pt>
                <c:pt idx="967">
                  <c:v>44266</c:v>
                </c:pt>
                <c:pt idx="968">
                  <c:v>44265</c:v>
                </c:pt>
                <c:pt idx="969">
                  <c:v>44264</c:v>
                </c:pt>
                <c:pt idx="970">
                  <c:v>44263</c:v>
                </c:pt>
                <c:pt idx="971">
                  <c:v>44260</c:v>
                </c:pt>
                <c:pt idx="972">
                  <c:v>44259</c:v>
                </c:pt>
                <c:pt idx="973">
                  <c:v>44258</c:v>
                </c:pt>
                <c:pt idx="974">
                  <c:v>44257</c:v>
                </c:pt>
                <c:pt idx="975">
                  <c:v>44256</c:v>
                </c:pt>
                <c:pt idx="976">
                  <c:v>44253</c:v>
                </c:pt>
                <c:pt idx="977">
                  <c:v>44252</c:v>
                </c:pt>
                <c:pt idx="978">
                  <c:v>44251</c:v>
                </c:pt>
                <c:pt idx="979">
                  <c:v>44250</c:v>
                </c:pt>
                <c:pt idx="980">
                  <c:v>44249</c:v>
                </c:pt>
                <c:pt idx="981">
                  <c:v>44246</c:v>
                </c:pt>
                <c:pt idx="982">
                  <c:v>44245</c:v>
                </c:pt>
                <c:pt idx="983">
                  <c:v>44244</c:v>
                </c:pt>
                <c:pt idx="984">
                  <c:v>44243</c:v>
                </c:pt>
                <c:pt idx="985">
                  <c:v>44242</c:v>
                </c:pt>
                <c:pt idx="986">
                  <c:v>44239</c:v>
                </c:pt>
                <c:pt idx="987">
                  <c:v>44238</c:v>
                </c:pt>
                <c:pt idx="988">
                  <c:v>44237</c:v>
                </c:pt>
                <c:pt idx="989">
                  <c:v>44236</c:v>
                </c:pt>
                <c:pt idx="990">
                  <c:v>44235</c:v>
                </c:pt>
                <c:pt idx="991">
                  <c:v>44232</c:v>
                </c:pt>
                <c:pt idx="992">
                  <c:v>44231</c:v>
                </c:pt>
                <c:pt idx="993">
                  <c:v>44230</c:v>
                </c:pt>
                <c:pt idx="994">
                  <c:v>44229</c:v>
                </c:pt>
                <c:pt idx="995">
                  <c:v>44228</c:v>
                </c:pt>
                <c:pt idx="996">
                  <c:v>44225</c:v>
                </c:pt>
                <c:pt idx="997">
                  <c:v>44224</c:v>
                </c:pt>
                <c:pt idx="998">
                  <c:v>44223</c:v>
                </c:pt>
                <c:pt idx="999">
                  <c:v>44222</c:v>
                </c:pt>
                <c:pt idx="1000">
                  <c:v>44221</c:v>
                </c:pt>
                <c:pt idx="1001">
                  <c:v>44218</c:v>
                </c:pt>
                <c:pt idx="1002">
                  <c:v>44217</c:v>
                </c:pt>
                <c:pt idx="1003">
                  <c:v>44216</c:v>
                </c:pt>
                <c:pt idx="1004">
                  <c:v>44215</c:v>
                </c:pt>
                <c:pt idx="1005">
                  <c:v>44214</c:v>
                </c:pt>
                <c:pt idx="1006">
                  <c:v>44211</c:v>
                </c:pt>
                <c:pt idx="1007">
                  <c:v>44210</c:v>
                </c:pt>
                <c:pt idx="1008">
                  <c:v>44209</c:v>
                </c:pt>
                <c:pt idx="1009">
                  <c:v>44208</c:v>
                </c:pt>
                <c:pt idx="1010">
                  <c:v>44207</c:v>
                </c:pt>
                <c:pt idx="1011">
                  <c:v>44204</c:v>
                </c:pt>
                <c:pt idx="1012">
                  <c:v>44203</c:v>
                </c:pt>
                <c:pt idx="1013">
                  <c:v>44202</c:v>
                </c:pt>
                <c:pt idx="1014">
                  <c:v>44201</c:v>
                </c:pt>
                <c:pt idx="1015">
                  <c:v>44200</c:v>
                </c:pt>
                <c:pt idx="1016">
                  <c:v>44197</c:v>
                </c:pt>
                <c:pt idx="1017">
                  <c:v>44196</c:v>
                </c:pt>
                <c:pt idx="1018">
                  <c:v>44195</c:v>
                </c:pt>
                <c:pt idx="1019">
                  <c:v>44194</c:v>
                </c:pt>
                <c:pt idx="1020">
                  <c:v>44193</c:v>
                </c:pt>
                <c:pt idx="1021">
                  <c:v>44190</c:v>
                </c:pt>
                <c:pt idx="1022">
                  <c:v>44189</c:v>
                </c:pt>
                <c:pt idx="1023">
                  <c:v>44188</c:v>
                </c:pt>
                <c:pt idx="1024">
                  <c:v>44187</c:v>
                </c:pt>
                <c:pt idx="1025">
                  <c:v>44186</c:v>
                </c:pt>
                <c:pt idx="1026">
                  <c:v>44183</c:v>
                </c:pt>
                <c:pt idx="1027">
                  <c:v>44182</c:v>
                </c:pt>
                <c:pt idx="1028">
                  <c:v>44181</c:v>
                </c:pt>
                <c:pt idx="1029">
                  <c:v>44180</c:v>
                </c:pt>
                <c:pt idx="1030">
                  <c:v>44179</c:v>
                </c:pt>
                <c:pt idx="1031">
                  <c:v>44176</c:v>
                </c:pt>
                <c:pt idx="1032">
                  <c:v>44175</c:v>
                </c:pt>
                <c:pt idx="1033">
                  <c:v>44174</c:v>
                </c:pt>
                <c:pt idx="1034">
                  <c:v>44173</c:v>
                </c:pt>
                <c:pt idx="1035">
                  <c:v>44172</c:v>
                </c:pt>
                <c:pt idx="1036">
                  <c:v>44169</c:v>
                </c:pt>
                <c:pt idx="1037">
                  <c:v>44168</c:v>
                </c:pt>
                <c:pt idx="1038">
                  <c:v>44167</c:v>
                </c:pt>
                <c:pt idx="1039">
                  <c:v>44166</c:v>
                </c:pt>
                <c:pt idx="1040">
                  <c:v>44165</c:v>
                </c:pt>
                <c:pt idx="1041">
                  <c:v>44162</c:v>
                </c:pt>
                <c:pt idx="1042">
                  <c:v>44161</c:v>
                </c:pt>
                <c:pt idx="1043">
                  <c:v>44160</c:v>
                </c:pt>
                <c:pt idx="1044">
                  <c:v>44159</c:v>
                </c:pt>
                <c:pt idx="1045">
                  <c:v>44158</c:v>
                </c:pt>
                <c:pt idx="1046">
                  <c:v>44155</c:v>
                </c:pt>
                <c:pt idx="1047">
                  <c:v>44154</c:v>
                </c:pt>
                <c:pt idx="1048">
                  <c:v>44153</c:v>
                </c:pt>
                <c:pt idx="1049">
                  <c:v>44152</c:v>
                </c:pt>
                <c:pt idx="1050">
                  <c:v>44151</c:v>
                </c:pt>
                <c:pt idx="1051">
                  <c:v>44148</c:v>
                </c:pt>
                <c:pt idx="1052">
                  <c:v>44147</c:v>
                </c:pt>
                <c:pt idx="1053">
                  <c:v>44146</c:v>
                </c:pt>
                <c:pt idx="1054">
                  <c:v>44145</c:v>
                </c:pt>
                <c:pt idx="1055">
                  <c:v>44144</c:v>
                </c:pt>
                <c:pt idx="1056">
                  <c:v>44141</c:v>
                </c:pt>
                <c:pt idx="1057">
                  <c:v>44140</c:v>
                </c:pt>
                <c:pt idx="1058">
                  <c:v>44139</c:v>
                </c:pt>
                <c:pt idx="1059">
                  <c:v>44138</c:v>
                </c:pt>
                <c:pt idx="1060">
                  <c:v>44137</c:v>
                </c:pt>
                <c:pt idx="1061">
                  <c:v>44134</c:v>
                </c:pt>
                <c:pt idx="1062">
                  <c:v>44133</c:v>
                </c:pt>
                <c:pt idx="1063">
                  <c:v>44132</c:v>
                </c:pt>
                <c:pt idx="1064">
                  <c:v>44131</c:v>
                </c:pt>
                <c:pt idx="1065">
                  <c:v>44130</c:v>
                </c:pt>
                <c:pt idx="1066">
                  <c:v>44127</c:v>
                </c:pt>
                <c:pt idx="1067">
                  <c:v>44126</c:v>
                </c:pt>
                <c:pt idx="1068">
                  <c:v>44125</c:v>
                </c:pt>
                <c:pt idx="1069">
                  <c:v>44124</c:v>
                </c:pt>
                <c:pt idx="1070">
                  <c:v>44123</c:v>
                </c:pt>
                <c:pt idx="1071">
                  <c:v>44120</c:v>
                </c:pt>
                <c:pt idx="1072">
                  <c:v>44119</c:v>
                </c:pt>
                <c:pt idx="1073">
                  <c:v>44118</c:v>
                </c:pt>
                <c:pt idx="1074">
                  <c:v>44117</c:v>
                </c:pt>
                <c:pt idx="1075">
                  <c:v>44116</c:v>
                </c:pt>
                <c:pt idx="1076">
                  <c:v>44113</c:v>
                </c:pt>
                <c:pt idx="1077">
                  <c:v>44112</c:v>
                </c:pt>
                <c:pt idx="1078">
                  <c:v>44111</c:v>
                </c:pt>
                <c:pt idx="1079">
                  <c:v>44110</c:v>
                </c:pt>
                <c:pt idx="1080">
                  <c:v>44109</c:v>
                </c:pt>
                <c:pt idx="1081">
                  <c:v>44106</c:v>
                </c:pt>
                <c:pt idx="1082">
                  <c:v>44105</c:v>
                </c:pt>
                <c:pt idx="1083">
                  <c:v>44104</c:v>
                </c:pt>
                <c:pt idx="1084">
                  <c:v>44103</c:v>
                </c:pt>
                <c:pt idx="1085">
                  <c:v>44102</c:v>
                </c:pt>
                <c:pt idx="1086">
                  <c:v>44099</c:v>
                </c:pt>
                <c:pt idx="1087">
                  <c:v>44098</c:v>
                </c:pt>
                <c:pt idx="1088">
                  <c:v>44097</c:v>
                </c:pt>
                <c:pt idx="1089">
                  <c:v>44096</c:v>
                </c:pt>
                <c:pt idx="1090">
                  <c:v>44095</c:v>
                </c:pt>
                <c:pt idx="1091">
                  <c:v>44092</c:v>
                </c:pt>
                <c:pt idx="1092">
                  <c:v>44091</c:v>
                </c:pt>
                <c:pt idx="1093">
                  <c:v>44090</c:v>
                </c:pt>
                <c:pt idx="1094">
                  <c:v>44089</c:v>
                </c:pt>
                <c:pt idx="1095">
                  <c:v>44088</c:v>
                </c:pt>
                <c:pt idx="1096">
                  <c:v>44085</c:v>
                </c:pt>
                <c:pt idx="1097">
                  <c:v>44084</c:v>
                </c:pt>
                <c:pt idx="1098">
                  <c:v>44083</c:v>
                </c:pt>
                <c:pt idx="1099">
                  <c:v>44082</c:v>
                </c:pt>
                <c:pt idx="1100">
                  <c:v>44081</c:v>
                </c:pt>
                <c:pt idx="1101">
                  <c:v>44078</c:v>
                </c:pt>
                <c:pt idx="1102">
                  <c:v>44077</c:v>
                </c:pt>
                <c:pt idx="1103">
                  <c:v>44076</c:v>
                </c:pt>
                <c:pt idx="1104">
                  <c:v>44075</c:v>
                </c:pt>
                <c:pt idx="1105">
                  <c:v>44074</c:v>
                </c:pt>
                <c:pt idx="1106">
                  <c:v>44071</c:v>
                </c:pt>
                <c:pt idx="1107">
                  <c:v>44070</c:v>
                </c:pt>
                <c:pt idx="1108">
                  <c:v>44069</c:v>
                </c:pt>
                <c:pt idx="1109">
                  <c:v>44068</c:v>
                </c:pt>
                <c:pt idx="1110">
                  <c:v>44067</c:v>
                </c:pt>
                <c:pt idx="1111">
                  <c:v>44064</c:v>
                </c:pt>
                <c:pt idx="1112">
                  <c:v>44063</c:v>
                </c:pt>
                <c:pt idx="1113">
                  <c:v>44062</c:v>
                </c:pt>
                <c:pt idx="1114">
                  <c:v>44061</c:v>
                </c:pt>
                <c:pt idx="1115">
                  <c:v>44060</c:v>
                </c:pt>
                <c:pt idx="1116">
                  <c:v>44057</c:v>
                </c:pt>
                <c:pt idx="1117">
                  <c:v>44056</c:v>
                </c:pt>
                <c:pt idx="1118">
                  <c:v>44055</c:v>
                </c:pt>
                <c:pt idx="1119">
                  <c:v>44054</c:v>
                </c:pt>
                <c:pt idx="1120">
                  <c:v>44053</c:v>
                </c:pt>
                <c:pt idx="1121">
                  <c:v>44050</c:v>
                </c:pt>
                <c:pt idx="1122">
                  <c:v>44049</c:v>
                </c:pt>
                <c:pt idx="1123">
                  <c:v>44048</c:v>
                </c:pt>
                <c:pt idx="1124">
                  <c:v>44047</c:v>
                </c:pt>
                <c:pt idx="1125">
                  <c:v>44046</c:v>
                </c:pt>
                <c:pt idx="1126">
                  <c:v>44043</c:v>
                </c:pt>
                <c:pt idx="1127">
                  <c:v>44042</c:v>
                </c:pt>
                <c:pt idx="1128">
                  <c:v>44041</c:v>
                </c:pt>
                <c:pt idx="1129">
                  <c:v>44040</c:v>
                </c:pt>
                <c:pt idx="1130">
                  <c:v>44039</c:v>
                </c:pt>
                <c:pt idx="1131">
                  <c:v>44036</c:v>
                </c:pt>
                <c:pt idx="1132">
                  <c:v>44035</c:v>
                </c:pt>
                <c:pt idx="1133">
                  <c:v>44034</c:v>
                </c:pt>
                <c:pt idx="1134">
                  <c:v>44033</c:v>
                </c:pt>
                <c:pt idx="1135">
                  <c:v>44032</c:v>
                </c:pt>
                <c:pt idx="1136">
                  <c:v>44029</c:v>
                </c:pt>
                <c:pt idx="1137">
                  <c:v>44028</c:v>
                </c:pt>
                <c:pt idx="1138">
                  <c:v>44027</c:v>
                </c:pt>
                <c:pt idx="1139">
                  <c:v>44026</c:v>
                </c:pt>
                <c:pt idx="1140">
                  <c:v>44025</c:v>
                </c:pt>
                <c:pt idx="1141">
                  <c:v>44022</c:v>
                </c:pt>
                <c:pt idx="1142">
                  <c:v>44021</c:v>
                </c:pt>
                <c:pt idx="1143">
                  <c:v>44020</c:v>
                </c:pt>
                <c:pt idx="1144">
                  <c:v>44019</c:v>
                </c:pt>
                <c:pt idx="1145">
                  <c:v>44018</c:v>
                </c:pt>
                <c:pt idx="1146">
                  <c:v>44015</c:v>
                </c:pt>
                <c:pt idx="1147">
                  <c:v>44014</c:v>
                </c:pt>
                <c:pt idx="1148">
                  <c:v>44013</c:v>
                </c:pt>
                <c:pt idx="1149">
                  <c:v>44012</c:v>
                </c:pt>
                <c:pt idx="1150">
                  <c:v>44011</c:v>
                </c:pt>
                <c:pt idx="1151">
                  <c:v>44008</c:v>
                </c:pt>
                <c:pt idx="1152">
                  <c:v>44007</c:v>
                </c:pt>
                <c:pt idx="1153">
                  <c:v>44006</c:v>
                </c:pt>
                <c:pt idx="1154">
                  <c:v>44005</c:v>
                </c:pt>
                <c:pt idx="1155">
                  <c:v>44004</c:v>
                </c:pt>
                <c:pt idx="1156">
                  <c:v>44001</c:v>
                </c:pt>
                <c:pt idx="1157">
                  <c:v>44000</c:v>
                </c:pt>
                <c:pt idx="1158">
                  <c:v>43999</c:v>
                </c:pt>
                <c:pt idx="1159">
                  <c:v>43998</c:v>
                </c:pt>
                <c:pt idx="1160">
                  <c:v>43997</c:v>
                </c:pt>
                <c:pt idx="1161">
                  <c:v>43994</c:v>
                </c:pt>
                <c:pt idx="1162">
                  <c:v>43993</c:v>
                </c:pt>
                <c:pt idx="1163">
                  <c:v>43992</c:v>
                </c:pt>
                <c:pt idx="1164">
                  <c:v>43991</c:v>
                </c:pt>
                <c:pt idx="1165">
                  <c:v>43990</c:v>
                </c:pt>
                <c:pt idx="1166">
                  <c:v>43987</c:v>
                </c:pt>
                <c:pt idx="1167">
                  <c:v>43986</c:v>
                </c:pt>
                <c:pt idx="1168">
                  <c:v>43985</c:v>
                </c:pt>
                <c:pt idx="1169">
                  <c:v>43984</c:v>
                </c:pt>
                <c:pt idx="1170">
                  <c:v>43983</c:v>
                </c:pt>
                <c:pt idx="1171">
                  <c:v>43980</c:v>
                </c:pt>
                <c:pt idx="1172">
                  <c:v>43979</c:v>
                </c:pt>
                <c:pt idx="1173">
                  <c:v>43978</c:v>
                </c:pt>
                <c:pt idx="1174">
                  <c:v>43977</c:v>
                </c:pt>
                <c:pt idx="1175">
                  <c:v>43976</c:v>
                </c:pt>
                <c:pt idx="1176">
                  <c:v>43973</c:v>
                </c:pt>
                <c:pt idx="1177">
                  <c:v>43972</c:v>
                </c:pt>
                <c:pt idx="1178">
                  <c:v>43971</c:v>
                </c:pt>
                <c:pt idx="1179">
                  <c:v>43970</c:v>
                </c:pt>
                <c:pt idx="1180">
                  <c:v>43969</c:v>
                </c:pt>
                <c:pt idx="1181">
                  <c:v>43966</c:v>
                </c:pt>
                <c:pt idx="1182">
                  <c:v>43965</c:v>
                </c:pt>
                <c:pt idx="1183">
                  <c:v>43964</c:v>
                </c:pt>
                <c:pt idx="1184">
                  <c:v>43963</c:v>
                </c:pt>
                <c:pt idx="1185">
                  <c:v>43962</c:v>
                </c:pt>
                <c:pt idx="1186">
                  <c:v>43959</c:v>
                </c:pt>
                <c:pt idx="1187">
                  <c:v>43958</c:v>
                </c:pt>
                <c:pt idx="1188">
                  <c:v>43957</c:v>
                </c:pt>
                <c:pt idx="1189">
                  <c:v>43956</c:v>
                </c:pt>
                <c:pt idx="1190">
                  <c:v>43955</c:v>
                </c:pt>
                <c:pt idx="1191">
                  <c:v>43952</c:v>
                </c:pt>
                <c:pt idx="1192">
                  <c:v>43951</c:v>
                </c:pt>
                <c:pt idx="1193">
                  <c:v>43950</c:v>
                </c:pt>
                <c:pt idx="1194">
                  <c:v>43949</c:v>
                </c:pt>
                <c:pt idx="1195">
                  <c:v>43948</c:v>
                </c:pt>
                <c:pt idx="1196">
                  <c:v>43945</c:v>
                </c:pt>
                <c:pt idx="1197">
                  <c:v>43944</c:v>
                </c:pt>
                <c:pt idx="1198">
                  <c:v>43943</c:v>
                </c:pt>
                <c:pt idx="1199">
                  <c:v>43942</c:v>
                </c:pt>
                <c:pt idx="1200">
                  <c:v>43941</c:v>
                </c:pt>
                <c:pt idx="1201">
                  <c:v>43938</c:v>
                </c:pt>
                <c:pt idx="1202">
                  <c:v>43937</c:v>
                </c:pt>
                <c:pt idx="1203">
                  <c:v>43936</c:v>
                </c:pt>
                <c:pt idx="1204">
                  <c:v>43935</c:v>
                </c:pt>
                <c:pt idx="1205">
                  <c:v>43934</c:v>
                </c:pt>
                <c:pt idx="1206">
                  <c:v>43931</c:v>
                </c:pt>
                <c:pt idx="1207">
                  <c:v>43930</c:v>
                </c:pt>
                <c:pt idx="1208">
                  <c:v>43929</c:v>
                </c:pt>
                <c:pt idx="1209">
                  <c:v>43928</c:v>
                </c:pt>
                <c:pt idx="1210">
                  <c:v>43927</c:v>
                </c:pt>
                <c:pt idx="1211">
                  <c:v>43924</c:v>
                </c:pt>
                <c:pt idx="1212">
                  <c:v>43923</c:v>
                </c:pt>
                <c:pt idx="1213">
                  <c:v>43922</c:v>
                </c:pt>
                <c:pt idx="1214">
                  <c:v>43921</c:v>
                </c:pt>
                <c:pt idx="1215">
                  <c:v>43920</c:v>
                </c:pt>
                <c:pt idx="1216">
                  <c:v>43917</c:v>
                </c:pt>
                <c:pt idx="1217">
                  <c:v>43916</c:v>
                </c:pt>
                <c:pt idx="1218">
                  <c:v>43915</c:v>
                </c:pt>
                <c:pt idx="1219">
                  <c:v>43914</c:v>
                </c:pt>
                <c:pt idx="1220">
                  <c:v>43913</c:v>
                </c:pt>
                <c:pt idx="1221">
                  <c:v>43910</c:v>
                </c:pt>
                <c:pt idx="1222">
                  <c:v>43909</c:v>
                </c:pt>
                <c:pt idx="1223">
                  <c:v>43908</c:v>
                </c:pt>
                <c:pt idx="1224">
                  <c:v>43907</c:v>
                </c:pt>
                <c:pt idx="1225">
                  <c:v>43906</c:v>
                </c:pt>
                <c:pt idx="1226">
                  <c:v>43903</c:v>
                </c:pt>
                <c:pt idx="1227">
                  <c:v>43902</c:v>
                </c:pt>
                <c:pt idx="1228">
                  <c:v>43901</c:v>
                </c:pt>
                <c:pt idx="1229">
                  <c:v>43900</c:v>
                </c:pt>
                <c:pt idx="1230">
                  <c:v>43899</c:v>
                </c:pt>
                <c:pt idx="1231">
                  <c:v>43896</c:v>
                </c:pt>
                <c:pt idx="1232">
                  <c:v>43895</c:v>
                </c:pt>
                <c:pt idx="1233">
                  <c:v>43894</c:v>
                </c:pt>
                <c:pt idx="1234">
                  <c:v>43893</c:v>
                </c:pt>
                <c:pt idx="1235">
                  <c:v>43892</c:v>
                </c:pt>
                <c:pt idx="1236">
                  <c:v>43889</c:v>
                </c:pt>
                <c:pt idx="1237">
                  <c:v>43888</c:v>
                </c:pt>
                <c:pt idx="1238">
                  <c:v>43887</c:v>
                </c:pt>
                <c:pt idx="1239">
                  <c:v>43886</c:v>
                </c:pt>
                <c:pt idx="1240">
                  <c:v>43885</c:v>
                </c:pt>
                <c:pt idx="1241">
                  <c:v>43882</c:v>
                </c:pt>
                <c:pt idx="1242">
                  <c:v>43881</c:v>
                </c:pt>
                <c:pt idx="1243">
                  <c:v>43880</c:v>
                </c:pt>
                <c:pt idx="1244">
                  <c:v>43879</c:v>
                </c:pt>
                <c:pt idx="1245">
                  <c:v>43878</c:v>
                </c:pt>
                <c:pt idx="1246">
                  <c:v>43875</c:v>
                </c:pt>
                <c:pt idx="1247">
                  <c:v>43874</c:v>
                </c:pt>
                <c:pt idx="1248">
                  <c:v>43873</c:v>
                </c:pt>
                <c:pt idx="1249">
                  <c:v>43872</c:v>
                </c:pt>
                <c:pt idx="1250">
                  <c:v>43871</c:v>
                </c:pt>
                <c:pt idx="1251">
                  <c:v>43868</c:v>
                </c:pt>
                <c:pt idx="1252">
                  <c:v>43867</c:v>
                </c:pt>
                <c:pt idx="1253">
                  <c:v>43866</c:v>
                </c:pt>
                <c:pt idx="1254">
                  <c:v>43865</c:v>
                </c:pt>
                <c:pt idx="1255">
                  <c:v>43864</c:v>
                </c:pt>
                <c:pt idx="1256">
                  <c:v>43861</c:v>
                </c:pt>
                <c:pt idx="1257">
                  <c:v>43860</c:v>
                </c:pt>
                <c:pt idx="1258">
                  <c:v>43859</c:v>
                </c:pt>
                <c:pt idx="1259">
                  <c:v>43858</c:v>
                </c:pt>
                <c:pt idx="1260">
                  <c:v>43857</c:v>
                </c:pt>
                <c:pt idx="1261">
                  <c:v>43854</c:v>
                </c:pt>
                <c:pt idx="1262">
                  <c:v>43853</c:v>
                </c:pt>
                <c:pt idx="1263">
                  <c:v>43852</c:v>
                </c:pt>
                <c:pt idx="1264">
                  <c:v>43851</c:v>
                </c:pt>
                <c:pt idx="1265">
                  <c:v>43850</c:v>
                </c:pt>
                <c:pt idx="1266">
                  <c:v>43847</c:v>
                </c:pt>
                <c:pt idx="1267">
                  <c:v>43846</c:v>
                </c:pt>
                <c:pt idx="1268">
                  <c:v>43845</c:v>
                </c:pt>
                <c:pt idx="1269">
                  <c:v>43844</c:v>
                </c:pt>
                <c:pt idx="1270">
                  <c:v>43843</c:v>
                </c:pt>
                <c:pt idx="1271">
                  <c:v>43840</c:v>
                </c:pt>
                <c:pt idx="1272">
                  <c:v>43839</c:v>
                </c:pt>
                <c:pt idx="1273">
                  <c:v>43838</c:v>
                </c:pt>
                <c:pt idx="1274">
                  <c:v>43837</c:v>
                </c:pt>
                <c:pt idx="1275">
                  <c:v>43836</c:v>
                </c:pt>
                <c:pt idx="1276">
                  <c:v>43833</c:v>
                </c:pt>
                <c:pt idx="1277">
                  <c:v>43832</c:v>
                </c:pt>
                <c:pt idx="1278">
                  <c:v>43831</c:v>
                </c:pt>
                <c:pt idx="1279">
                  <c:v>43830</c:v>
                </c:pt>
                <c:pt idx="1280">
                  <c:v>43829</c:v>
                </c:pt>
                <c:pt idx="1281">
                  <c:v>43826</c:v>
                </c:pt>
                <c:pt idx="1282">
                  <c:v>43825</c:v>
                </c:pt>
                <c:pt idx="1283">
                  <c:v>43824</c:v>
                </c:pt>
                <c:pt idx="1284">
                  <c:v>43823</c:v>
                </c:pt>
                <c:pt idx="1285">
                  <c:v>43822</c:v>
                </c:pt>
                <c:pt idx="1286">
                  <c:v>43819</c:v>
                </c:pt>
                <c:pt idx="1287">
                  <c:v>43818</c:v>
                </c:pt>
                <c:pt idx="1288">
                  <c:v>43817</c:v>
                </c:pt>
                <c:pt idx="1289">
                  <c:v>43816</c:v>
                </c:pt>
                <c:pt idx="1290">
                  <c:v>43815</c:v>
                </c:pt>
                <c:pt idx="1291">
                  <c:v>43812</c:v>
                </c:pt>
                <c:pt idx="1292">
                  <c:v>43811</c:v>
                </c:pt>
                <c:pt idx="1293">
                  <c:v>43810</c:v>
                </c:pt>
                <c:pt idx="1294">
                  <c:v>43809</c:v>
                </c:pt>
                <c:pt idx="1295">
                  <c:v>43808</c:v>
                </c:pt>
                <c:pt idx="1296">
                  <c:v>43805</c:v>
                </c:pt>
                <c:pt idx="1297">
                  <c:v>43804</c:v>
                </c:pt>
                <c:pt idx="1298">
                  <c:v>43803</c:v>
                </c:pt>
                <c:pt idx="1299">
                  <c:v>43802</c:v>
                </c:pt>
                <c:pt idx="1300">
                  <c:v>43801</c:v>
                </c:pt>
                <c:pt idx="1301">
                  <c:v>43798</c:v>
                </c:pt>
                <c:pt idx="1302">
                  <c:v>43797</c:v>
                </c:pt>
                <c:pt idx="1303">
                  <c:v>43796</c:v>
                </c:pt>
                <c:pt idx="1304">
                  <c:v>43795</c:v>
                </c:pt>
                <c:pt idx="1305">
                  <c:v>43794</c:v>
                </c:pt>
                <c:pt idx="1306">
                  <c:v>43791</c:v>
                </c:pt>
                <c:pt idx="1307">
                  <c:v>43790</c:v>
                </c:pt>
                <c:pt idx="1308">
                  <c:v>43789</c:v>
                </c:pt>
                <c:pt idx="1309">
                  <c:v>43788</c:v>
                </c:pt>
                <c:pt idx="1310">
                  <c:v>43787</c:v>
                </c:pt>
                <c:pt idx="1311">
                  <c:v>43784</c:v>
                </c:pt>
                <c:pt idx="1312">
                  <c:v>43783</c:v>
                </c:pt>
                <c:pt idx="1313">
                  <c:v>43782</c:v>
                </c:pt>
                <c:pt idx="1314">
                  <c:v>43781</c:v>
                </c:pt>
                <c:pt idx="1315">
                  <c:v>43780</c:v>
                </c:pt>
                <c:pt idx="1316">
                  <c:v>43777</c:v>
                </c:pt>
                <c:pt idx="1317">
                  <c:v>43776</c:v>
                </c:pt>
                <c:pt idx="1318">
                  <c:v>43775</c:v>
                </c:pt>
                <c:pt idx="1319">
                  <c:v>43774</c:v>
                </c:pt>
                <c:pt idx="1320">
                  <c:v>43773</c:v>
                </c:pt>
                <c:pt idx="1321">
                  <c:v>43770</c:v>
                </c:pt>
                <c:pt idx="1322">
                  <c:v>43769</c:v>
                </c:pt>
                <c:pt idx="1323">
                  <c:v>43768</c:v>
                </c:pt>
                <c:pt idx="1324">
                  <c:v>43767</c:v>
                </c:pt>
                <c:pt idx="1325">
                  <c:v>43766</c:v>
                </c:pt>
                <c:pt idx="1326">
                  <c:v>43763</c:v>
                </c:pt>
                <c:pt idx="1327">
                  <c:v>43762</c:v>
                </c:pt>
                <c:pt idx="1328">
                  <c:v>43761</c:v>
                </c:pt>
                <c:pt idx="1329">
                  <c:v>43760</c:v>
                </c:pt>
                <c:pt idx="1330">
                  <c:v>43759</c:v>
                </c:pt>
                <c:pt idx="1331">
                  <c:v>43756</c:v>
                </c:pt>
                <c:pt idx="1332">
                  <c:v>43755</c:v>
                </c:pt>
                <c:pt idx="1333">
                  <c:v>43754</c:v>
                </c:pt>
                <c:pt idx="1334">
                  <c:v>43753</c:v>
                </c:pt>
                <c:pt idx="1335">
                  <c:v>43752</c:v>
                </c:pt>
                <c:pt idx="1336">
                  <c:v>43749</c:v>
                </c:pt>
                <c:pt idx="1337">
                  <c:v>43748</c:v>
                </c:pt>
                <c:pt idx="1338">
                  <c:v>43747</c:v>
                </c:pt>
                <c:pt idx="1339">
                  <c:v>43746</c:v>
                </c:pt>
                <c:pt idx="1340">
                  <c:v>43745</c:v>
                </c:pt>
                <c:pt idx="1341">
                  <c:v>43742</c:v>
                </c:pt>
                <c:pt idx="1342">
                  <c:v>43741</c:v>
                </c:pt>
                <c:pt idx="1343">
                  <c:v>43740</c:v>
                </c:pt>
                <c:pt idx="1344">
                  <c:v>43739</c:v>
                </c:pt>
                <c:pt idx="1345">
                  <c:v>43738</c:v>
                </c:pt>
                <c:pt idx="1346">
                  <c:v>43735</c:v>
                </c:pt>
                <c:pt idx="1347">
                  <c:v>43734</c:v>
                </c:pt>
                <c:pt idx="1348">
                  <c:v>43733</c:v>
                </c:pt>
                <c:pt idx="1349">
                  <c:v>43732</c:v>
                </c:pt>
                <c:pt idx="1350">
                  <c:v>43731</c:v>
                </c:pt>
                <c:pt idx="1351">
                  <c:v>43728</c:v>
                </c:pt>
                <c:pt idx="1352">
                  <c:v>43727</c:v>
                </c:pt>
                <c:pt idx="1353">
                  <c:v>43726</c:v>
                </c:pt>
                <c:pt idx="1354">
                  <c:v>43725</c:v>
                </c:pt>
                <c:pt idx="1355">
                  <c:v>43724</c:v>
                </c:pt>
                <c:pt idx="1356">
                  <c:v>43721</c:v>
                </c:pt>
                <c:pt idx="1357">
                  <c:v>43720</c:v>
                </c:pt>
                <c:pt idx="1358">
                  <c:v>43719</c:v>
                </c:pt>
                <c:pt idx="1359">
                  <c:v>43718</c:v>
                </c:pt>
                <c:pt idx="1360">
                  <c:v>43717</c:v>
                </c:pt>
                <c:pt idx="1361">
                  <c:v>43714</c:v>
                </c:pt>
                <c:pt idx="1362">
                  <c:v>43713</c:v>
                </c:pt>
                <c:pt idx="1363">
                  <c:v>43712</c:v>
                </c:pt>
                <c:pt idx="1364">
                  <c:v>43711</c:v>
                </c:pt>
                <c:pt idx="1365">
                  <c:v>43710</c:v>
                </c:pt>
                <c:pt idx="1366">
                  <c:v>43707</c:v>
                </c:pt>
                <c:pt idx="1367">
                  <c:v>43706</c:v>
                </c:pt>
                <c:pt idx="1368">
                  <c:v>43705</c:v>
                </c:pt>
                <c:pt idx="1369">
                  <c:v>43704</c:v>
                </c:pt>
                <c:pt idx="1370">
                  <c:v>43703</c:v>
                </c:pt>
                <c:pt idx="1371">
                  <c:v>43700</c:v>
                </c:pt>
                <c:pt idx="1372">
                  <c:v>43699</c:v>
                </c:pt>
                <c:pt idx="1373">
                  <c:v>43698</c:v>
                </c:pt>
                <c:pt idx="1374">
                  <c:v>43697</c:v>
                </c:pt>
                <c:pt idx="1375">
                  <c:v>43696</c:v>
                </c:pt>
                <c:pt idx="1376">
                  <c:v>43693</c:v>
                </c:pt>
                <c:pt idx="1377">
                  <c:v>43692</c:v>
                </c:pt>
                <c:pt idx="1378">
                  <c:v>43691</c:v>
                </c:pt>
                <c:pt idx="1379">
                  <c:v>43690</c:v>
                </c:pt>
                <c:pt idx="1380">
                  <c:v>43689</c:v>
                </c:pt>
                <c:pt idx="1381">
                  <c:v>43686</c:v>
                </c:pt>
                <c:pt idx="1382">
                  <c:v>43685</c:v>
                </c:pt>
                <c:pt idx="1383">
                  <c:v>43684</c:v>
                </c:pt>
                <c:pt idx="1384">
                  <c:v>43683</c:v>
                </c:pt>
                <c:pt idx="1385">
                  <c:v>43682</c:v>
                </c:pt>
                <c:pt idx="1386">
                  <c:v>43679</c:v>
                </c:pt>
                <c:pt idx="1387">
                  <c:v>43678</c:v>
                </c:pt>
                <c:pt idx="1388">
                  <c:v>43677</c:v>
                </c:pt>
                <c:pt idx="1389">
                  <c:v>43676</c:v>
                </c:pt>
                <c:pt idx="1390">
                  <c:v>43675</c:v>
                </c:pt>
                <c:pt idx="1391">
                  <c:v>43672</c:v>
                </c:pt>
                <c:pt idx="1392">
                  <c:v>43671</c:v>
                </c:pt>
                <c:pt idx="1393">
                  <c:v>43670</c:v>
                </c:pt>
                <c:pt idx="1394">
                  <c:v>43669</c:v>
                </c:pt>
                <c:pt idx="1395">
                  <c:v>43668</c:v>
                </c:pt>
                <c:pt idx="1396">
                  <c:v>43665</c:v>
                </c:pt>
                <c:pt idx="1397">
                  <c:v>43664</c:v>
                </c:pt>
                <c:pt idx="1398">
                  <c:v>43663</c:v>
                </c:pt>
                <c:pt idx="1399">
                  <c:v>43662</c:v>
                </c:pt>
                <c:pt idx="1400">
                  <c:v>43661</c:v>
                </c:pt>
                <c:pt idx="1401">
                  <c:v>43658</c:v>
                </c:pt>
                <c:pt idx="1402">
                  <c:v>43657</c:v>
                </c:pt>
                <c:pt idx="1403">
                  <c:v>43656</c:v>
                </c:pt>
                <c:pt idx="1404">
                  <c:v>43655</c:v>
                </c:pt>
                <c:pt idx="1405">
                  <c:v>43654</c:v>
                </c:pt>
                <c:pt idx="1406">
                  <c:v>43651</c:v>
                </c:pt>
                <c:pt idx="1407">
                  <c:v>43650</c:v>
                </c:pt>
                <c:pt idx="1408">
                  <c:v>43649</c:v>
                </c:pt>
                <c:pt idx="1409">
                  <c:v>43648</c:v>
                </c:pt>
                <c:pt idx="1410">
                  <c:v>43647</c:v>
                </c:pt>
                <c:pt idx="1411">
                  <c:v>43644</c:v>
                </c:pt>
                <c:pt idx="1412">
                  <c:v>43643</c:v>
                </c:pt>
                <c:pt idx="1413">
                  <c:v>43642</c:v>
                </c:pt>
                <c:pt idx="1414">
                  <c:v>43641</c:v>
                </c:pt>
                <c:pt idx="1415">
                  <c:v>43640</c:v>
                </c:pt>
                <c:pt idx="1416">
                  <c:v>43637</c:v>
                </c:pt>
                <c:pt idx="1417">
                  <c:v>43636</c:v>
                </c:pt>
                <c:pt idx="1418">
                  <c:v>43635</c:v>
                </c:pt>
                <c:pt idx="1419">
                  <c:v>43634</c:v>
                </c:pt>
                <c:pt idx="1420">
                  <c:v>43633</c:v>
                </c:pt>
                <c:pt idx="1421">
                  <c:v>43630</c:v>
                </c:pt>
                <c:pt idx="1422">
                  <c:v>43629</c:v>
                </c:pt>
                <c:pt idx="1423">
                  <c:v>43628</c:v>
                </c:pt>
                <c:pt idx="1424">
                  <c:v>43627</c:v>
                </c:pt>
                <c:pt idx="1425">
                  <c:v>43626</c:v>
                </c:pt>
                <c:pt idx="1426">
                  <c:v>43623</c:v>
                </c:pt>
                <c:pt idx="1427">
                  <c:v>43622</c:v>
                </c:pt>
                <c:pt idx="1428">
                  <c:v>43621</c:v>
                </c:pt>
                <c:pt idx="1429">
                  <c:v>43620</c:v>
                </c:pt>
                <c:pt idx="1430">
                  <c:v>43619</c:v>
                </c:pt>
                <c:pt idx="1431">
                  <c:v>43616</c:v>
                </c:pt>
                <c:pt idx="1432">
                  <c:v>43615</c:v>
                </c:pt>
                <c:pt idx="1433">
                  <c:v>43614</c:v>
                </c:pt>
                <c:pt idx="1434">
                  <c:v>43613</c:v>
                </c:pt>
                <c:pt idx="1435">
                  <c:v>43612</c:v>
                </c:pt>
                <c:pt idx="1436">
                  <c:v>43609</c:v>
                </c:pt>
                <c:pt idx="1437">
                  <c:v>43608</c:v>
                </c:pt>
                <c:pt idx="1438">
                  <c:v>43607</c:v>
                </c:pt>
                <c:pt idx="1439">
                  <c:v>43606</c:v>
                </c:pt>
                <c:pt idx="1440">
                  <c:v>43605</c:v>
                </c:pt>
                <c:pt idx="1441">
                  <c:v>43602</c:v>
                </c:pt>
                <c:pt idx="1442">
                  <c:v>43601</c:v>
                </c:pt>
                <c:pt idx="1443">
                  <c:v>43600</c:v>
                </c:pt>
                <c:pt idx="1444">
                  <c:v>43599</c:v>
                </c:pt>
                <c:pt idx="1445">
                  <c:v>43598</c:v>
                </c:pt>
                <c:pt idx="1446">
                  <c:v>43595</c:v>
                </c:pt>
                <c:pt idx="1447">
                  <c:v>43594</c:v>
                </c:pt>
                <c:pt idx="1448">
                  <c:v>43593</c:v>
                </c:pt>
                <c:pt idx="1449">
                  <c:v>43592</c:v>
                </c:pt>
                <c:pt idx="1450">
                  <c:v>43591</c:v>
                </c:pt>
                <c:pt idx="1451">
                  <c:v>43588</c:v>
                </c:pt>
                <c:pt idx="1452">
                  <c:v>43587</c:v>
                </c:pt>
                <c:pt idx="1453">
                  <c:v>43586</c:v>
                </c:pt>
                <c:pt idx="1454">
                  <c:v>43585</c:v>
                </c:pt>
                <c:pt idx="1455">
                  <c:v>43584</c:v>
                </c:pt>
                <c:pt idx="1456">
                  <c:v>43581</c:v>
                </c:pt>
                <c:pt idx="1457">
                  <c:v>43580</c:v>
                </c:pt>
                <c:pt idx="1458">
                  <c:v>43579</c:v>
                </c:pt>
                <c:pt idx="1459">
                  <c:v>43578</c:v>
                </c:pt>
                <c:pt idx="1460">
                  <c:v>43577</c:v>
                </c:pt>
                <c:pt idx="1461">
                  <c:v>43574</c:v>
                </c:pt>
                <c:pt idx="1462">
                  <c:v>43573</c:v>
                </c:pt>
                <c:pt idx="1463">
                  <c:v>43572</c:v>
                </c:pt>
                <c:pt idx="1464">
                  <c:v>43571</c:v>
                </c:pt>
                <c:pt idx="1465">
                  <c:v>43570</c:v>
                </c:pt>
                <c:pt idx="1466">
                  <c:v>43567</c:v>
                </c:pt>
                <c:pt idx="1467">
                  <c:v>43566</c:v>
                </c:pt>
                <c:pt idx="1468">
                  <c:v>43565</c:v>
                </c:pt>
                <c:pt idx="1469">
                  <c:v>43564</c:v>
                </c:pt>
                <c:pt idx="1470">
                  <c:v>43563</c:v>
                </c:pt>
                <c:pt idx="1471">
                  <c:v>43560</c:v>
                </c:pt>
                <c:pt idx="1472">
                  <c:v>43559</c:v>
                </c:pt>
                <c:pt idx="1473">
                  <c:v>43558</c:v>
                </c:pt>
                <c:pt idx="1474">
                  <c:v>43557</c:v>
                </c:pt>
                <c:pt idx="1475">
                  <c:v>43556</c:v>
                </c:pt>
                <c:pt idx="1476">
                  <c:v>43553</c:v>
                </c:pt>
                <c:pt idx="1477">
                  <c:v>43552</c:v>
                </c:pt>
                <c:pt idx="1478">
                  <c:v>43551</c:v>
                </c:pt>
                <c:pt idx="1479">
                  <c:v>43550</c:v>
                </c:pt>
                <c:pt idx="1480">
                  <c:v>43549</c:v>
                </c:pt>
                <c:pt idx="1481">
                  <c:v>43546</c:v>
                </c:pt>
                <c:pt idx="1482">
                  <c:v>43545</c:v>
                </c:pt>
                <c:pt idx="1483">
                  <c:v>43544</c:v>
                </c:pt>
                <c:pt idx="1484">
                  <c:v>43543</c:v>
                </c:pt>
                <c:pt idx="1485">
                  <c:v>43542</c:v>
                </c:pt>
                <c:pt idx="1486">
                  <c:v>43539</c:v>
                </c:pt>
                <c:pt idx="1487">
                  <c:v>43538</c:v>
                </c:pt>
                <c:pt idx="1488">
                  <c:v>43537</c:v>
                </c:pt>
                <c:pt idx="1489">
                  <c:v>43536</c:v>
                </c:pt>
                <c:pt idx="1490">
                  <c:v>43535</c:v>
                </c:pt>
                <c:pt idx="1491">
                  <c:v>43532</c:v>
                </c:pt>
                <c:pt idx="1492">
                  <c:v>43531</c:v>
                </c:pt>
                <c:pt idx="1493">
                  <c:v>43530</c:v>
                </c:pt>
                <c:pt idx="1494">
                  <c:v>43529</c:v>
                </c:pt>
                <c:pt idx="1495">
                  <c:v>43528</c:v>
                </c:pt>
                <c:pt idx="1496">
                  <c:v>43525</c:v>
                </c:pt>
                <c:pt idx="1497">
                  <c:v>43524</c:v>
                </c:pt>
                <c:pt idx="1498">
                  <c:v>43523</c:v>
                </c:pt>
                <c:pt idx="1499">
                  <c:v>43522</c:v>
                </c:pt>
                <c:pt idx="1500">
                  <c:v>43521</c:v>
                </c:pt>
                <c:pt idx="1501">
                  <c:v>43518</c:v>
                </c:pt>
                <c:pt idx="1502">
                  <c:v>43517</c:v>
                </c:pt>
                <c:pt idx="1503">
                  <c:v>43516</c:v>
                </c:pt>
                <c:pt idx="1504">
                  <c:v>43515</c:v>
                </c:pt>
                <c:pt idx="1505">
                  <c:v>43514</c:v>
                </c:pt>
                <c:pt idx="1506">
                  <c:v>43511</c:v>
                </c:pt>
                <c:pt idx="1507">
                  <c:v>43510</c:v>
                </c:pt>
                <c:pt idx="1508">
                  <c:v>43509</c:v>
                </c:pt>
                <c:pt idx="1509">
                  <c:v>43508</c:v>
                </c:pt>
                <c:pt idx="1510">
                  <c:v>43507</c:v>
                </c:pt>
                <c:pt idx="1511">
                  <c:v>43504</c:v>
                </c:pt>
                <c:pt idx="1512">
                  <c:v>43503</c:v>
                </c:pt>
                <c:pt idx="1513">
                  <c:v>43502</c:v>
                </c:pt>
                <c:pt idx="1514">
                  <c:v>43501</c:v>
                </c:pt>
                <c:pt idx="1515">
                  <c:v>43500</c:v>
                </c:pt>
                <c:pt idx="1516">
                  <c:v>43497</c:v>
                </c:pt>
                <c:pt idx="1517">
                  <c:v>43496</c:v>
                </c:pt>
                <c:pt idx="1518">
                  <c:v>43495</c:v>
                </c:pt>
                <c:pt idx="1519">
                  <c:v>43494</c:v>
                </c:pt>
                <c:pt idx="1520">
                  <c:v>43493</c:v>
                </c:pt>
                <c:pt idx="1521">
                  <c:v>43490</c:v>
                </c:pt>
                <c:pt idx="1522">
                  <c:v>43489</c:v>
                </c:pt>
                <c:pt idx="1523">
                  <c:v>43488</c:v>
                </c:pt>
                <c:pt idx="1524">
                  <c:v>43487</c:v>
                </c:pt>
                <c:pt idx="1525">
                  <c:v>43486</c:v>
                </c:pt>
                <c:pt idx="1526">
                  <c:v>43483</c:v>
                </c:pt>
                <c:pt idx="1527">
                  <c:v>43482</c:v>
                </c:pt>
                <c:pt idx="1528">
                  <c:v>43481</c:v>
                </c:pt>
                <c:pt idx="1529">
                  <c:v>43480</c:v>
                </c:pt>
                <c:pt idx="1530">
                  <c:v>43479</c:v>
                </c:pt>
                <c:pt idx="1531">
                  <c:v>43476</c:v>
                </c:pt>
                <c:pt idx="1532">
                  <c:v>43475</c:v>
                </c:pt>
                <c:pt idx="1533">
                  <c:v>43474</c:v>
                </c:pt>
                <c:pt idx="1534">
                  <c:v>43473</c:v>
                </c:pt>
                <c:pt idx="1535">
                  <c:v>43472</c:v>
                </c:pt>
                <c:pt idx="1536">
                  <c:v>43469</c:v>
                </c:pt>
                <c:pt idx="1537">
                  <c:v>43468</c:v>
                </c:pt>
                <c:pt idx="1538">
                  <c:v>43467</c:v>
                </c:pt>
                <c:pt idx="1539">
                  <c:v>43466</c:v>
                </c:pt>
                <c:pt idx="1540">
                  <c:v>43465</c:v>
                </c:pt>
                <c:pt idx="1541">
                  <c:v>43462</c:v>
                </c:pt>
                <c:pt idx="1542">
                  <c:v>43461</c:v>
                </c:pt>
                <c:pt idx="1543">
                  <c:v>43460</c:v>
                </c:pt>
                <c:pt idx="1544">
                  <c:v>43459</c:v>
                </c:pt>
                <c:pt idx="1545">
                  <c:v>43458</c:v>
                </c:pt>
                <c:pt idx="1546">
                  <c:v>43455</c:v>
                </c:pt>
                <c:pt idx="1547">
                  <c:v>43454</c:v>
                </c:pt>
                <c:pt idx="1548">
                  <c:v>43453</c:v>
                </c:pt>
                <c:pt idx="1549">
                  <c:v>43452</c:v>
                </c:pt>
                <c:pt idx="1550">
                  <c:v>43451</c:v>
                </c:pt>
                <c:pt idx="1551">
                  <c:v>43448</c:v>
                </c:pt>
                <c:pt idx="1552">
                  <c:v>43447</c:v>
                </c:pt>
                <c:pt idx="1553">
                  <c:v>43446</c:v>
                </c:pt>
                <c:pt idx="1554">
                  <c:v>43445</c:v>
                </c:pt>
                <c:pt idx="1555">
                  <c:v>43444</c:v>
                </c:pt>
                <c:pt idx="1556">
                  <c:v>43441</c:v>
                </c:pt>
                <c:pt idx="1557">
                  <c:v>43440</c:v>
                </c:pt>
                <c:pt idx="1558">
                  <c:v>43439</c:v>
                </c:pt>
                <c:pt idx="1559">
                  <c:v>43438</c:v>
                </c:pt>
                <c:pt idx="1560">
                  <c:v>43437</c:v>
                </c:pt>
                <c:pt idx="1561">
                  <c:v>43434</c:v>
                </c:pt>
                <c:pt idx="1562">
                  <c:v>43433</c:v>
                </c:pt>
                <c:pt idx="1563">
                  <c:v>43432</c:v>
                </c:pt>
                <c:pt idx="1564">
                  <c:v>43431</c:v>
                </c:pt>
                <c:pt idx="1565">
                  <c:v>43430</c:v>
                </c:pt>
                <c:pt idx="1566">
                  <c:v>43427</c:v>
                </c:pt>
                <c:pt idx="1567">
                  <c:v>43426</c:v>
                </c:pt>
                <c:pt idx="1568">
                  <c:v>43425</c:v>
                </c:pt>
                <c:pt idx="1569">
                  <c:v>43424</c:v>
                </c:pt>
                <c:pt idx="1570">
                  <c:v>43423</c:v>
                </c:pt>
                <c:pt idx="1571">
                  <c:v>43420</c:v>
                </c:pt>
                <c:pt idx="1572">
                  <c:v>43419</c:v>
                </c:pt>
                <c:pt idx="1573">
                  <c:v>43418</c:v>
                </c:pt>
                <c:pt idx="1574">
                  <c:v>43417</c:v>
                </c:pt>
                <c:pt idx="1575">
                  <c:v>43416</c:v>
                </c:pt>
                <c:pt idx="1576">
                  <c:v>43413</c:v>
                </c:pt>
                <c:pt idx="1577">
                  <c:v>43412</c:v>
                </c:pt>
                <c:pt idx="1578">
                  <c:v>43411</c:v>
                </c:pt>
                <c:pt idx="1579">
                  <c:v>43410</c:v>
                </c:pt>
                <c:pt idx="1580">
                  <c:v>43409</c:v>
                </c:pt>
                <c:pt idx="1581">
                  <c:v>43406</c:v>
                </c:pt>
                <c:pt idx="1582">
                  <c:v>43405</c:v>
                </c:pt>
                <c:pt idx="1583">
                  <c:v>43404</c:v>
                </c:pt>
                <c:pt idx="1584">
                  <c:v>43403</c:v>
                </c:pt>
                <c:pt idx="1585">
                  <c:v>43402</c:v>
                </c:pt>
                <c:pt idx="1586">
                  <c:v>43399</c:v>
                </c:pt>
                <c:pt idx="1587">
                  <c:v>43398</c:v>
                </c:pt>
                <c:pt idx="1588">
                  <c:v>43397</c:v>
                </c:pt>
                <c:pt idx="1589">
                  <c:v>43396</c:v>
                </c:pt>
                <c:pt idx="1590">
                  <c:v>43395</c:v>
                </c:pt>
                <c:pt idx="1591">
                  <c:v>43392</c:v>
                </c:pt>
                <c:pt idx="1592">
                  <c:v>43391</c:v>
                </c:pt>
                <c:pt idx="1593">
                  <c:v>43390</c:v>
                </c:pt>
                <c:pt idx="1594">
                  <c:v>43389</c:v>
                </c:pt>
                <c:pt idx="1595">
                  <c:v>43388</c:v>
                </c:pt>
                <c:pt idx="1596">
                  <c:v>43385</c:v>
                </c:pt>
                <c:pt idx="1597">
                  <c:v>43384</c:v>
                </c:pt>
                <c:pt idx="1598">
                  <c:v>43383</c:v>
                </c:pt>
                <c:pt idx="1599">
                  <c:v>43382</c:v>
                </c:pt>
                <c:pt idx="1600">
                  <c:v>43381</c:v>
                </c:pt>
                <c:pt idx="1601">
                  <c:v>43378</c:v>
                </c:pt>
                <c:pt idx="1602">
                  <c:v>43377</c:v>
                </c:pt>
                <c:pt idx="1603">
                  <c:v>43376</c:v>
                </c:pt>
                <c:pt idx="1604">
                  <c:v>43375</c:v>
                </c:pt>
                <c:pt idx="1605">
                  <c:v>43374</c:v>
                </c:pt>
                <c:pt idx="1606">
                  <c:v>43371</c:v>
                </c:pt>
                <c:pt idx="1607">
                  <c:v>43370</c:v>
                </c:pt>
                <c:pt idx="1608">
                  <c:v>43369</c:v>
                </c:pt>
                <c:pt idx="1609">
                  <c:v>43368</c:v>
                </c:pt>
                <c:pt idx="1610">
                  <c:v>43367</c:v>
                </c:pt>
                <c:pt idx="1611">
                  <c:v>43364</c:v>
                </c:pt>
                <c:pt idx="1612">
                  <c:v>43363</c:v>
                </c:pt>
                <c:pt idx="1613">
                  <c:v>43362</c:v>
                </c:pt>
                <c:pt idx="1614">
                  <c:v>43361</c:v>
                </c:pt>
                <c:pt idx="1615">
                  <c:v>43360</c:v>
                </c:pt>
                <c:pt idx="1616">
                  <c:v>43357</c:v>
                </c:pt>
                <c:pt idx="1617">
                  <c:v>43356</c:v>
                </c:pt>
                <c:pt idx="1618">
                  <c:v>43355</c:v>
                </c:pt>
                <c:pt idx="1619">
                  <c:v>43354</c:v>
                </c:pt>
                <c:pt idx="1620">
                  <c:v>43353</c:v>
                </c:pt>
                <c:pt idx="1621">
                  <c:v>43350</c:v>
                </c:pt>
                <c:pt idx="1622">
                  <c:v>43349</c:v>
                </c:pt>
                <c:pt idx="1623">
                  <c:v>43348</c:v>
                </c:pt>
                <c:pt idx="1624">
                  <c:v>43347</c:v>
                </c:pt>
                <c:pt idx="1625">
                  <c:v>43346</c:v>
                </c:pt>
                <c:pt idx="1626">
                  <c:v>43343</c:v>
                </c:pt>
                <c:pt idx="1627">
                  <c:v>43342</c:v>
                </c:pt>
                <c:pt idx="1628">
                  <c:v>43341</c:v>
                </c:pt>
                <c:pt idx="1629">
                  <c:v>43340</c:v>
                </c:pt>
                <c:pt idx="1630">
                  <c:v>43339</c:v>
                </c:pt>
                <c:pt idx="1631">
                  <c:v>43336</c:v>
                </c:pt>
                <c:pt idx="1632">
                  <c:v>43335</c:v>
                </c:pt>
                <c:pt idx="1633">
                  <c:v>43334</c:v>
                </c:pt>
                <c:pt idx="1634">
                  <c:v>43333</c:v>
                </c:pt>
                <c:pt idx="1635">
                  <c:v>43332</c:v>
                </c:pt>
                <c:pt idx="1636">
                  <c:v>43329</c:v>
                </c:pt>
                <c:pt idx="1637">
                  <c:v>43328</c:v>
                </c:pt>
                <c:pt idx="1638">
                  <c:v>43327</c:v>
                </c:pt>
                <c:pt idx="1639">
                  <c:v>43326</c:v>
                </c:pt>
                <c:pt idx="1640">
                  <c:v>43325</c:v>
                </c:pt>
                <c:pt idx="1641">
                  <c:v>43322</c:v>
                </c:pt>
                <c:pt idx="1642">
                  <c:v>43321</c:v>
                </c:pt>
                <c:pt idx="1643">
                  <c:v>43320</c:v>
                </c:pt>
                <c:pt idx="1644">
                  <c:v>43319</c:v>
                </c:pt>
                <c:pt idx="1645">
                  <c:v>43318</c:v>
                </c:pt>
                <c:pt idx="1646">
                  <c:v>43315</c:v>
                </c:pt>
                <c:pt idx="1647">
                  <c:v>43314</c:v>
                </c:pt>
                <c:pt idx="1648">
                  <c:v>43313</c:v>
                </c:pt>
                <c:pt idx="1649">
                  <c:v>43312</c:v>
                </c:pt>
                <c:pt idx="1650">
                  <c:v>43311</c:v>
                </c:pt>
                <c:pt idx="1651">
                  <c:v>43308</c:v>
                </c:pt>
                <c:pt idx="1652">
                  <c:v>43307</c:v>
                </c:pt>
                <c:pt idx="1653">
                  <c:v>43306</c:v>
                </c:pt>
                <c:pt idx="1654">
                  <c:v>43305</c:v>
                </c:pt>
                <c:pt idx="1655">
                  <c:v>43304</c:v>
                </c:pt>
                <c:pt idx="1656">
                  <c:v>43301</c:v>
                </c:pt>
                <c:pt idx="1657">
                  <c:v>43300</c:v>
                </c:pt>
                <c:pt idx="1658">
                  <c:v>43299</c:v>
                </c:pt>
                <c:pt idx="1659">
                  <c:v>43298</c:v>
                </c:pt>
                <c:pt idx="1660">
                  <c:v>43297</c:v>
                </c:pt>
                <c:pt idx="1661">
                  <c:v>43294</c:v>
                </c:pt>
                <c:pt idx="1662">
                  <c:v>43293</c:v>
                </c:pt>
                <c:pt idx="1663">
                  <c:v>43292</c:v>
                </c:pt>
                <c:pt idx="1664">
                  <c:v>43291</c:v>
                </c:pt>
                <c:pt idx="1665">
                  <c:v>43290</c:v>
                </c:pt>
                <c:pt idx="1666">
                  <c:v>43287</c:v>
                </c:pt>
                <c:pt idx="1667">
                  <c:v>43286</c:v>
                </c:pt>
                <c:pt idx="1668">
                  <c:v>43285</c:v>
                </c:pt>
                <c:pt idx="1669">
                  <c:v>43284</c:v>
                </c:pt>
                <c:pt idx="1670">
                  <c:v>43283</c:v>
                </c:pt>
                <c:pt idx="1671">
                  <c:v>43280</c:v>
                </c:pt>
                <c:pt idx="1672">
                  <c:v>43279</c:v>
                </c:pt>
                <c:pt idx="1673">
                  <c:v>43278</c:v>
                </c:pt>
                <c:pt idx="1674">
                  <c:v>43277</c:v>
                </c:pt>
                <c:pt idx="1675">
                  <c:v>43276</c:v>
                </c:pt>
                <c:pt idx="1676">
                  <c:v>43273</c:v>
                </c:pt>
                <c:pt idx="1677">
                  <c:v>43272</c:v>
                </c:pt>
                <c:pt idx="1678">
                  <c:v>43271</c:v>
                </c:pt>
                <c:pt idx="1679">
                  <c:v>43270</c:v>
                </c:pt>
                <c:pt idx="1680">
                  <c:v>43269</c:v>
                </c:pt>
                <c:pt idx="1681">
                  <c:v>43266</c:v>
                </c:pt>
                <c:pt idx="1682">
                  <c:v>43265</c:v>
                </c:pt>
                <c:pt idx="1683">
                  <c:v>43264</c:v>
                </c:pt>
                <c:pt idx="1684">
                  <c:v>43263</c:v>
                </c:pt>
                <c:pt idx="1685">
                  <c:v>43262</c:v>
                </c:pt>
                <c:pt idx="1686">
                  <c:v>43259</c:v>
                </c:pt>
                <c:pt idx="1687">
                  <c:v>43258</c:v>
                </c:pt>
                <c:pt idx="1688">
                  <c:v>43257</c:v>
                </c:pt>
                <c:pt idx="1689">
                  <c:v>43256</c:v>
                </c:pt>
                <c:pt idx="1690">
                  <c:v>43255</c:v>
                </c:pt>
                <c:pt idx="1691">
                  <c:v>43252</c:v>
                </c:pt>
                <c:pt idx="1692">
                  <c:v>43251</c:v>
                </c:pt>
                <c:pt idx="1693">
                  <c:v>43250</c:v>
                </c:pt>
                <c:pt idx="1694">
                  <c:v>43249</c:v>
                </c:pt>
                <c:pt idx="1695">
                  <c:v>43248</c:v>
                </c:pt>
                <c:pt idx="1696">
                  <c:v>43245</c:v>
                </c:pt>
                <c:pt idx="1697">
                  <c:v>43244</c:v>
                </c:pt>
                <c:pt idx="1698">
                  <c:v>43243</c:v>
                </c:pt>
                <c:pt idx="1699">
                  <c:v>43242</c:v>
                </c:pt>
                <c:pt idx="1700">
                  <c:v>43241</c:v>
                </c:pt>
                <c:pt idx="1701">
                  <c:v>43238</c:v>
                </c:pt>
                <c:pt idx="1702">
                  <c:v>43237</c:v>
                </c:pt>
                <c:pt idx="1703">
                  <c:v>43236</c:v>
                </c:pt>
                <c:pt idx="1704">
                  <c:v>43235</c:v>
                </c:pt>
                <c:pt idx="1705">
                  <c:v>43234</c:v>
                </c:pt>
                <c:pt idx="1706">
                  <c:v>43231</c:v>
                </c:pt>
                <c:pt idx="1707">
                  <c:v>43230</c:v>
                </c:pt>
                <c:pt idx="1708">
                  <c:v>43229</c:v>
                </c:pt>
                <c:pt idx="1709">
                  <c:v>43228</c:v>
                </c:pt>
                <c:pt idx="1710">
                  <c:v>43227</c:v>
                </c:pt>
                <c:pt idx="1711">
                  <c:v>43224</c:v>
                </c:pt>
                <c:pt idx="1712">
                  <c:v>43223</c:v>
                </c:pt>
                <c:pt idx="1713">
                  <c:v>43222</c:v>
                </c:pt>
                <c:pt idx="1714">
                  <c:v>43221</c:v>
                </c:pt>
                <c:pt idx="1715">
                  <c:v>43220</c:v>
                </c:pt>
                <c:pt idx="1716">
                  <c:v>43217</c:v>
                </c:pt>
                <c:pt idx="1717">
                  <c:v>43216</c:v>
                </c:pt>
                <c:pt idx="1718">
                  <c:v>43215</c:v>
                </c:pt>
                <c:pt idx="1719">
                  <c:v>43214</c:v>
                </c:pt>
                <c:pt idx="1720">
                  <c:v>43213</c:v>
                </c:pt>
                <c:pt idx="1721">
                  <c:v>43210</c:v>
                </c:pt>
                <c:pt idx="1722">
                  <c:v>43209</c:v>
                </c:pt>
                <c:pt idx="1723">
                  <c:v>43208</c:v>
                </c:pt>
                <c:pt idx="1724">
                  <c:v>43207</c:v>
                </c:pt>
                <c:pt idx="1725">
                  <c:v>43206</c:v>
                </c:pt>
                <c:pt idx="1726">
                  <c:v>43203</c:v>
                </c:pt>
                <c:pt idx="1727">
                  <c:v>43202</c:v>
                </c:pt>
                <c:pt idx="1728">
                  <c:v>43201</c:v>
                </c:pt>
                <c:pt idx="1729">
                  <c:v>43200</c:v>
                </c:pt>
                <c:pt idx="1730">
                  <c:v>43199</c:v>
                </c:pt>
                <c:pt idx="1731">
                  <c:v>43196</c:v>
                </c:pt>
                <c:pt idx="1732">
                  <c:v>43195</c:v>
                </c:pt>
                <c:pt idx="1733">
                  <c:v>43194</c:v>
                </c:pt>
                <c:pt idx="1734">
                  <c:v>43193</c:v>
                </c:pt>
                <c:pt idx="1735">
                  <c:v>43192</c:v>
                </c:pt>
                <c:pt idx="1736">
                  <c:v>43189</c:v>
                </c:pt>
                <c:pt idx="1737">
                  <c:v>43188</c:v>
                </c:pt>
                <c:pt idx="1738">
                  <c:v>43187</c:v>
                </c:pt>
                <c:pt idx="1739">
                  <c:v>43186</c:v>
                </c:pt>
                <c:pt idx="1740">
                  <c:v>43185</c:v>
                </c:pt>
                <c:pt idx="1741">
                  <c:v>43182</c:v>
                </c:pt>
                <c:pt idx="1742">
                  <c:v>43181</c:v>
                </c:pt>
                <c:pt idx="1743">
                  <c:v>43180</c:v>
                </c:pt>
                <c:pt idx="1744">
                  <c:v>43179</c:v>
                </c:pt>
                <c:pt idx="1745">
                  <c:v>43178</c:v>
                </c:pt>
                <c:pt idx="1746">
                  <c:v>43175</c:v>
                </c:pt>
                <c:pt idx="1747">
                  <c:v>43174</c:v>
                </c:pt>
                <c:pt idx="1748">
                  <c:v>43173</c:v>
                </c:pt>
                <c:pt idx="1749">
                  <c:v>43172</c:v>
                </c:pt>
                <c:pt idx="1750">
                  <c:v>43171</c:v>
                </c:pt>
                <c:pt idx="1751">
                  <c:v>43168</c:v>
                </c:pt>
                <c:pt idx="1752">
                  <c:v>43167</c:v>
                </c:pt>
                <c:pt idx="1753">
                  <c:v>43166</c:v>
                </c:pt>
                <c:pt idx="1754">
                  <c:v>43165</c:v>
                </c:pt>
                <c:pt idx="1755">
                  <c:v>43164</c:v>
                </c:pt>
                <c:pt idx="1756">
                  <c:v>43161</c:v>
                </c:pt>
                <c:pt idx="1757">
                  <c:v>43160</c:v>
                </c:pt>
                <c:pt idx="1758">
                  <c:v>43159</c:v>
                </c:pt>
                <c:pt idx="1759">
                  <c:v>43158</c:v>
                </c:pt>
                <c:pt idx="1760">
                  <c:v>43157</c:v>
                </c:pt>
                <c:pt idx="1761">
                  <c:v>43154</c:v>
                </c:pt>
                <c:pt idx="1762">
                  <c:v>43153</c:v>
                </c:pt>
                <c:pt idx="1763">
                  <c:v>43152</c:v>
                </c:pt>
                <c:pt idx="1764">
                  <c:v>43151</c:v>
                </c:pt>
                <c:pt idx="1765">
                  <c:v>43150</c:v>
                </c:pt>
                <c:pt idx="1766">
                  <c:v>43147</c:v>
                </c:pt>
                <c:pt idx="1767">
                  <c:v>43146</c:v>
                </c:pt>
                <c:pt idx="1768">
                  <c:v>43145</c:v>
                </c:pt>
                <c:pt idx="1769">
                  <c:v>43144</c:v>
                </c:pt>
                <c:pt idx="1770">
                  <c:v>43143</c:v>
                </c:pt>
                <c:pt idx="1771">
                  <c:v>43140</c:v>
                </c:pt>
                <c:pt idx="1772">
                  <c:v>43139</c:v>
                </c:pt>
                <c:pt idx="1773">
                  <c:v>43138</c:v>
                </c:pt>
                <c:pt idx="1774">
                  <c:v>43137</c:v>
                </c:pt>
                <c:pt idx="1775">
                  <c:v>43136</c:v>
                </c:pt>
                <c:pt idx="1776">
                  <c:v>43133</c:v>
                </c:pt>
                <c:pt idx="1777">
                  <c:v>43132</c:v>
                </c:pt>
                <c:pt idx="1778">
                  <c:v>43131</c:v>
                </c:pt>
                <c:pt idx="1779">
                  <c:v>43130</c:v>
                </c:pt>
                <c:pt idx="1780">
                  <c:v>43129</c:v>
                </c:pt>
                <c:pt idx="1781">
                  <c:v>43126</c:v>
                </c:pt>
                <c:pt idx="1782">
                  <c:v>43125</c:v>
                </c:pt>
                <c:pt idx="1783">
                  <c:v>43124</c:v>
                </c:pt>
                <c:pt idx="1784">
                  <c:v>43123</c:v>
                </c:pt>
                <c:pt idx="1785">
                  <c:v>43122</c:v>
                </c:pt>
                <c:pt idx="1786">
                  <c:v>43119</c:v>
                </c:pt>
                <c:pt idx="1787">
                  <c:v>43118</c:v>
                </c:pt>
                <c:pt idx="1788">
                  <c:v>43117</c:v>
                </c:pt>
                <c:pt idx="1789">
                  <c:v>43116</c:v>
                </c:pt>
                <c:pt idx="1790">
                  <c:v>43115</c:v>
                </c:pt>
                <c:pt idx="1791">
                  <c:v>43112</c:v>
                </c:pt>
                <c:pt idx="1792">
                  <c:v>43111</c:v>
                </c:pt>
                <c:pt idx="1793">
                  <c:v>43110</c:v>
                </c:pt>
                <c:pt idx="1794">
                  <c:v>43109</c:v>
                </c:pt>
                <c:pt idx="1795">
                  <c:v>43108</c:v>
                </c:pt>
                <c:pt idx="1796">
                  <c:v>43105</c:v>
                </c:pt>
                <c:pt idx="1797">
                  <c:v>43104</c:v>
                </c:pt>
                <c:pt idx="1798">
                  <c:v>43103</c:v>
                </c:pt>
                <c:pt idx="1799">
                  <c:v>43102</c:v>
                </c:pt>
                <c:pt idx="1800">
                  <c:v>43101</c:v>
                </c:pt>
                <c:pt idx="1801">
                  <c:v>43098</c:v>
                </c:pt>
                <c:pt idx="1802">
                  <c:v>43097</c:v>
                </c:pt>
                <c:pt idx="1803">
                  <c:v>43096</c:v>
                </c:pt>
                <c:pt idx="1804">
                  <c:v>43095</c:v>
                </c:pt>
                <c:pt idx="1805">
                  <c:v>43094</c:v>
                </c:pt>
                <c:pt idx="1806">
                  <c:v>43091</c:v>
                </c:pt>
                <c:pt idx="1807">
                  <c:v>43090</c:v>
                </c:pt>
                <c:pt idx="1808">
                  <c:v>43089</c:v>
                </c:pt>
                <c:pt idx="1809">
                  <c:v>43088</c:v>
                </c:pt>
                <c:pt idx="1810">
                  <c:v>43087</c:v>
                </c:pt>
                <c:pt idx="1811">
                  <c:v>43084</c:v>
                </c:pt>
                <c:pt idx="1812">
                  <c:v>43083</c:v>
                </c:pt>
                <c:pt idx="1813">
                  <c:v>43082</c:v>
                </c:pt>
                <c:pt idx="1814">
                  <c:v>43081</c:v>
                </c:pt>
                <c:pt idx="1815">
                  <c:v>43080</c:v>
                </c:pt>
                <c:pt idx="1816">
                  <c:v>43077</c:v>
                </c:pt>
                <c:pt idx="1817">
                  <c:v>43076</c:v>
                </c:pt>
                <c:pt idx="1818">
                  <c:v>43075</c:v>
                </c:pt>
                <c:pt idx="1819">
                  <c:v>43074</c:v>
                </c:pt>
                <c:pt idx="1820">
                  <c:v>43073</c:v>
                </c:pt>
                <c:pt idx="1821">
                  <c:v>43070</c:v>
                </c:pt>
                <c:pt idx="1822">
                  <c:v>43069</c:v>
                </c:pt>
                <c:pt idx="1823">
                  <c:v>43068</c:v>
                </c:pt>
                <c:pt idx="1824">
                  <c:v>43067</c:v>
                </c:pt>
                <c:pt idx="1825">
                  <c:v>43066</c:v>
                </c:pt>
                <c:pt idx="1826">
                  <c:v>43063</c:v>
                </c:pt>
                <c:pt idx="1827">
                  <c:v>43062</c:v>
                </c:pt>
                <c:pt idx="1828">
                  <c:v>43061</c:v>
                </c:pt>
                <c:pt idx="1829">
                  <c:v>43060</c:v>
                </c:pt>
                <c:pt idx="1830">
                  <c:v>43059</c:v>
                </c:pt>
                <c:pt idx="1831">
                  <c:v>43056</c:v>
                </c:pt>
                <c:pt idx="1832">
                  <c:v>43055</c:v>
                </c:pt>
                <c:pt idx="1833">
                  <c:v>43054</c:v>
                </c:pt>
                <c:pt idx="1834">
                  <c:v>43053</c:v>
                </c:pt>
                <c:pt idx="1835">
                  <c:v>43052</c:v>
                </c:pt>
                <c:pt idx="1836">
                  <c:v>43049</c:v>
                </c:pt>
                <c:pt idx="1837">
                  <c:v>43048</c:v>
                </c:pt>
                <c:pt idx="1838">
                  <c:v>43047</c:v>
                </c:pt>
                <c:pt idx="1839">
                  <c:v>43046</c:v>
                </c:pt>
                <c:pt idx="1840">
                  <c:v>43045</c:v>
                </c:pt>
                <c:pt idx="1841">
                  <c:v>43042</c:v>
                </c:pt>
                <c:pt idx="1842">
                  <c:v>43041</c:v>
                </c:pt>
                <c:pt idx="1843">
                  <c:v>43040</c:v>
                </c:pt>
                <c:pt idx="1844">
                  <c:v>43039</c:v>
                </c:pt>
                <c:pt idx="1845">
                  <c:v>43038</c:v>
                </c:pt>
                <c:pt idx="1846">
                  <c:v>43035</c:v>
                </c:pt>
                <c:pt idx="1847">
                  <c:v>43034</c:v>
                </c:pt>
                <c:pt idx="1848">
                  <c:v>43033</c:v>
                </c:pt>
                <c:pt idx="1849">
                  <c:v>43032</c:v>
                </c:pt>
                <c:pt idx="1850">
                  <c:v>43031</c:v>
                </c:pt>
                <c:pt idx="1851">
                  <c:v>43028</c:v>
                </c:pt>
                <c:pt idx="1852">
                  <c:v>43027</c:v>
                </c:pt>
                <c:pt idx="1853">
                  <c:v>43026</c:v>
                </c:pt>
                <c:pt idx="1854">
                  <c:v>43025</c:v>
                </c:pt>
                <c:pt idx="1855">
                  <c:v>43024</c:v>
                </c:pt>
                <c:pt idx="1856">
                  <c:v>43021</c:v>
                </c:pt>
                <c:pt idx="1857">
                  <c:v>43020</c:v>
                </c:pt>
                <c:pt idx="1858">
                  <c:v>43019</c:v>
                </c:pt>
                <c:pt idx="1859">
                  <c:v>43018</c:v>
                </c:pt>
                <c:pt idx="1860">
                  <c:v>43017</c:v>
                </c:pt>
                <c:pt idx="1861">
                  <c:v>43014</c:v>
                </c:pt>
                <c:pt idx="1862">
                  <c:v>43013</c:v>
                </c:pt>
                <c:pt idx="1863">
                  <c:v>43012</c:v>
                </c:pt>
                <c:pt idx="1864">
                  <c:v>43011</c:v>
                </c:pt>
                <c:pt idx="1865">
                  <c:v>43010</c:v>
                </c:pt>
                <c:pt idx="1866">
                  <c:v>43007</c:v>
                </c:pt>
                <c:pt idx="1867">
                  <c:v>43006</c:v>
                </c:pt>
                <c:pt idx="1868">
                  <c:v>43005</c:v>
                </c:pt>
                <c:pt idx="1869">
                  <c:v>43004</c:v>
                </c:pt>
                <c:pt idx="1870">
                  <c:v>43003</c:v>
                </c:pt>
                <c:pt idx="1871">
                  <c:v>43000</c:v>
                </c:pt>
                <c:pt idx="1872">
                  <c:v>42999</c:v>
                </c:pt>
                <c:pt idx="1873">
                  <c:v>42998</c:v>
                </c:pt>
                <c:pt idx="1874">
                  <c:v>42997</c:v>
                </c:pt>
                <c:pt idx="1875">
                  <c:v>42996</c:v>
                </c:pt>
                <c:pt idx="1876">
                  <c:v>42993</c:v>
                </c:pt>
                <c:pt idx="1877">
                  <c:v>42992</c:v>
                </c:pt>
                <c:pt idx="1878">
                  <c:v>42991</c:v>
                </c:pt>
                <c:pt idx="1879">
                  <c:v>42990</c:v>
                </c:pt>
                <c:pt idx="1880">
                  <c:v>42989</c:v>
                </c:pt>
                <c:pt idx="1881">
                  <c:v>42986</c:v>
                </c:pt>
                <c:pt idx="1882">
                  <c:v>42985</c:v>
                </c:pt>
                <c:pt idx="1883">
                  <c:v>42984</c:v>
                </c:pt>
                <c:pt idx="1884">
                  <c:v>42983</c:v>
                </c:pt>
                <c:pt idx="1885">
                  <c:v>42982</c:v>
                </c:pt>
                <c:pt idx="1886">
                  <c:v>42979</c:v>
                </c:pt>
                <c:pt idx="1887">
                  <c:v>42978</c:v>
                </c:pt>
                <c:pt idx="1888">
                  <c:v>42977</c:v>
                </c:pt>
                <c:pt idx="1889">
                  <c:v>42976</c:v>
                </c:pt>
                <c:pt idx="1890">
                  <c:v>42975</c:v>
                </c:pt>
                <c:pt idx="1891">
                  <c:v>42972</c:v>
                </c:pt>
                <c:pt idx="1892">
                  <c:v>42971</c:v>
                </c:pt>
                <c:pt idx="1893">
                  <c:v>42970</c:v>
                </c:pt>
                <c:pt idx="1894">
                  <c:v>42969</c:v>
                </c:pt>
                <c:pt idx="1895">
                  <c:v>42968</c:v>
                </c:pt>
                <c:pt idx="1896">
                  <c:v>42965</c:v>
                </c:pt>
                <c:pt idx="1897">
                  <c:v>42964</c:v>
                </c:pt>
                <c:pt idx="1898">
                  <c:v>42963</c:v>
                </c:pt>
                <c:pt idx="1899">
                  <c:v>42962</c:v>
                </c:pt>
                <c:pt idx="1900">
                  <c:v>42961</c:v>
                </c:pt>
                <c:pt idx="1901">
                  <c:v>42958</c:v>
                </c:pt>
                <c:pt idx="1902">
                  <c:v>42957</c:v>
                </c:pt>
                <c:pt idx="1903">
                  <c:v>42956</c:v>
                </c:pt>
                <c:pt idx="1904">
                  <c:v>42955</c:v>
                </c:pt>
                <c:pt idx="1905">
                  <c:v>42954</c:v>
                </c:pt>
                <c:pt idx="1906">
                  <c:v>42951</c:v>
                </c:pt>
                <c:pt idx="1907">
                  <c:v>42950</c:v>
                </c:pt>
                <c:pt idx="1908">
                  <c:v>42949</c:v>
                </c:pt>
                <c:pt idx="1909">
                  <c:v>42948</c:v>
                </c:pt>
                <c:pt idx="1910">
                  <c:v>42947</c:v>
                </c:pt>
                <c:pt idx="1911">
                  <c:v>42944</c:v>
                </c:pt>
                <c:pt idx="1912">
                  <c:v>42943</c:v>
                </c:pt>
                <c:pt idx="1913">
                  <c:v>42942</c:v>
                </c:pt>
                <c:pt idx="1914">
                  <c:v>42941</c:v>
                </c:pt>
                <c:pt idx="1915">
                  <c:v>42940</c:v>
                </c:pt>
                <c:pt idx="1916">
                  <c:v>42937</c:v>
                </c:pt>
                <c:pt idx="1917">
                  <c:v>42936</c:v>
                </c:pt>
                <c:pt idx="1918">
                  <c:v>42935</c:v>
                </c:pt>
                <c:pt idx="1919">
                  <c:v>42934</c:v>
                </c:pt>
                <c:pt idx="1920">
                  <c:v>42933</c:v>
                </c:pt>
                <c:pt idx="1921">
                  <c:v>42930</c:v>
                </c:pt>
                <c:pt idx="1922">
                  <c:v>42929</c:v>
                </c:pt>
                <c:pt idx="1923">
                  <c:v>42928</c:v>
                </c:pt>
                <c:pt idx="1924">
                  <c:v>42927</c:v>
                </c:pt>
                <c:pt idx="1925">
                  <c:v>42926</c:v>
                </c:pt>
                <c:pt idx="1926">
                  <c:v>42923</c:v>
                </c:pt>
                <c:pt idx="1927">
                  <c:v>42922</c:v>
                </c:pt>
                <c:pt idx="1928">
                  <c:v>42921</c:v>
                </c:pt>
                <c:pt idx="1929">
                  <c:v>42920</c:v>
                </c:pt>
                <c:pt idx="1930">
                  <c:v>42919</c:v>
                </c:pt>
                <c:pt idx="1931">
                  <c:v>42916</c:v>
                </c:pt>
                <c:pt idx="1932">
                  <c:v>42915</c:v>
                </c:pt>
                <c:pt idx="1933">
                  <c:v>42914</c:v>
                </c:pt>
                <c:pt idx="1934">
                  <c:v>42913</c:v>
                </c:pt>
                <c:pt idx="1935">
                  <c:v>42912</c:v>
                </c:pt>
                <c:pt idx="1936">
                  <c:v>42909</c:v>
                </c:pt>
                <c:pt idx="1937">
                  <c:v>42908</c:v>
                </c:pt>
                <c:pt idx="1938">
                  <c:v>42907</c:v>
                </c:pt>
                <c:pt idx="1939">
                  <c:v>42906</c:v>
                </c:pt>
                <c:pt idx="1940">
                  <c:v>42905</c:v>
                </c:pt>
                <c:pt idx="1941">
                  <c:v>42902</c:v>
                </c:pt>
                <c:pt idx="1942">
                  <c:v>42901</c:v>
                </c:pt>
                <c:pt idx="1943">
                  <c:v>42900</c:v>
                </c:pt>
                <c:pt idx="1944">
                  <c:v>42899</c:v>
                </c:pt>
                <c:pt idx="1945">
                  <c:v>42898</c:v>
                </c:pt>
                <c:pt idx="1946">
                  <c:v>42895</c:v>
                </c:pt>
                <c:pt idx="1947">
                  <c:v>42894</c:v>
                </c:pt>
                <c:pt idx="1948">
                  <c:v>42893</c:v>
                </c:pt>
                <c:pt idx="1949">
                  <c:v>42892</c:v>
                </c:pt>
                <c:pt idx="1950">
                  <c:v>42891</c:v>
                </c:pt>
                <c:pt idx="1951">
                  <c:v>42888</c:v>
                </c:pt>
                <c:pt idx="1952">
                  <c:v>42887</c:v>
                </c:pt>
                <c:pt idx="1953">
                  <c:v>42886</c:v>
                </c:pt>
                <c:pt idx="1954">
                  <c:v>42885</c:v>
                </c:pt>
                <c:pt idx="1955">
                  <c:v>42884</c:v>
                </c:pt>
                <c:pt idx="1956">
                  <c:v>42881</c:v>
                </c:pt>
                <c:pt idx="1957">
                  <c:v>42880</c:v>
                </c:pt>
                <c:pt idx="1958">
                  <c:v>42879</c:v>
                </c:pt>
                <c:pt idx="1959">
                  <c:v>42878</c:v>
                </c:pt>
                <c:pt idx="1960">
                  <c:v>42877</c:v>
                </c:pt>
                <c:pt idx="1961">
                  <c:v>42874</c:v>
                </c:pt>
                <c:pt idx="1962">
                  <c:v>42873</c:v>
                </c:pt>
                <c:pt idx="1963">
                  <c:v>42872</c:v>
                </c:pt>
                <c:pt idx="1964">
                  <c:v>42871</c:v>
                </c:pt>
                <c:pt idx="1965">
                  <c:v>42870</c:v>
                </c:pt>
                <c:pt idx="1966">
                  <c:v>42867</c:v>
                </c:pt>
                <c:pt idx="1967">
                  <c:v>42866</c:v>
                </c:pt>
                <c:pt idx="1968">
                  <c:v>42865</c:v>
                </c:pt>
                <c:pt idx="1969">
                  <c:v>42864</c:v>
                </c:pt>
                <c:pt idx="1970">
                  <c:v>42863</c:v>
                </c:pt>
                <c:pt idx="1971">
                  <c:v>42860</c:v>
                </c:pt>
                <c:pt idx="1972">
                  <c:v>42859</c:v>
                </c:pt>
                <c:pt idx="1973">
                  <c:v>42858</c:v>
                </c:pt>
                <c:pt idx="1974">
                  <c:v>42857</c:v>
                </c:pt>
                <c:pt idx="1975">
                  <c:v>42856</c:v>
                </c:pt>
                <c:pt idx="1976">
                  <c:v>42853</c:v>
                </c:pt>
                <c:pt idx="1977">
                  <c:v>42852</c:v>
                </c:pt>
                <c:pt idx="1978">
                  <c:v>42851</c:v>
                </c:pt>
                <c:pt idx="1979">
                  <c:v>42850</c:v>
                </c:pt>
                <c:pt idx="1980">
                  <c:v>42849</c:v>
                </c:pt>
                <c:pt idx="1981">
                  <c:v>42846</c:v>
                </c:pt>
                <c:pt idx="1982">
                  <c:v>42845</c:v>
                </c:pt>
                <c:pt idx="1983">
                  <c:v>42844</c:v>
                </c:pt>
                <c:pt idx="1984">
                  <c:v>42843</c:v>
                </c:pt>
                <c:pt idx="1985">
                  <c:v>42842</c:v>
                </c:pt>
                <c:pt idx="1986">
                  <c:v>42839</c:v>
                </c:pt>
                <c:pt idx="1987">
                  <c:v>42838</c:v>
                </c:pt>
                <c:pt idx="1988">
                  <c:v>42837</c:v>
                </c:pt>
                <c:pt idx="1989">
                  <c:v>42836</c:v>
                </c:pt>
                <c:pt idx="1990">
                  <c:v>42835</c:v>
                </c:pt>
                <c:pt idx="1991">
                  <c:v>42832</c:v>
                </c:pt>
                <c:pt idx="1992">
                  <c:v>42831</c:v>
                </c:pt>
                <c:pt idx="1993">
                  <c:v>42830</c:v>
                </c:pt>
                <c:pt idx="1994">
                  <c:v>42829</c:v>
                </c:pt>
                <c:pt idx="1995">
                  <c:v>42828</c:v>
                </c:pt>
                <c:pt idx="1996">
                  <c:v>42825</c:v>
                </c:pt>
                <c:pt idx="1997">
                  <c:v>42824</c:v>
                </c:pt>
                <c:pt idx="1998">
                  <c:v>42823</c:v>
                </c:pt>
                <c:pt idx="1999">
                  <c:v>42822</c:v>
                </c:pt>
                <c:pt idx="2000">
                  <c:v>42821</c:v>
                </c:pt>
                <c:pt idx="2001">
                  <c:v>42818</c:v>
                </c:pt>
                <c:pt idx="2002">
                  <c:v>42817</c:v>
                </c:pt>
                <c:pt idx="2003">
                  <c:v>42816</c:v>
                </c:pt>
                <c:pt idx="2004">
                  <c:v>42815</c:v>
                </c:pt>
                <c:pt idx="2005">
                  <c:v>42814</c:v>
                </c:pt>
                <c:pt idx="2006">
                  <c:v>42811</c:v>
                </c:pt>
                <c:pt idx="2007">
                  <c:v>42810</c:v>
                </c:pt>
                <c:pt idx="2008">
                  <c:v>42809</c:v>
                </c:pt>
                <c:pt idx="2009">
                  <c:v>42808</c:v>
                </c:pt>
                <c:pt idx="2010">
                  <c:v>42807</c:v>
                </c:pt>
                <c:pt idx="2011">
                  <c:v>42804</c:v>
                </c:pt>
                <c:pt idx="2012">
                  <c:v>42803</c:v>
                </c:pt>
                <c:pt idx="2013">
                  <c:v>42802</c:v>
                </c:pt>
                <c:pt idx="2014">
                  <c:v>42801</c:v>
                </c:pt>
                <c:pt idx="2015">
                  <c:v>42800</c:v>
                </c:pt>
                <c:pt idx="2016">
                  <c:v>42797</c:v>
                </c:pt>
                <c:pt idx="2017">
                  <c:v>42796</c:v>
                </c:pt>
                <c:pt idx="2018">
                  <c:v>42795</c:v>
                </c:pt>
                <c:pt idx="2019">
                  <c:v>42794</c:v>
                </c:pt>
                <c:pt idx="2020">
                  <c:v>42793</c:v>
                </c:pt>
                <c:pt idx="2021">
                  <c:v>42790</c:v>
                </c:pt>
                <c:pt idx="2022">
                  <c:v>42789</c:v>
                </c:pt>
                <c:pt idx="2023">
                  <c:v>42788</c:v>
                </c:pt>
                <c:pt idx="2024">
                  <c:v>42787</c:v>
                </c:pt>
                <c:pt idx="2025">
                  <c:v>42786</c:v>
                </c:pt>
                <c:pt idx="2026">
                  <c:v>42783</c:v>
                </c:pt>
                <c:pt idx="2027">
                  <c:v>42782</c:v>
                </c:pt>
                <c:pt idx="2028">
                  <c:v>42781</c:v>
                </c:pt>
                <c:pt idx="2029">
                  <c:v>42780</c:v>
                </c:pt>
                <c:pt idx="2030">
                  <c:v>42779</c:v>
                </c:pt>
                <c:pt idx="2031">
                  <c:v>42776</c:v>
                </c:pt>
                <c:pt idx="2032">
                  <c:v>42775</c:v>
                </c:pt>
                <c:pt idx="2033">
                  <c:v>42774</c:v>
                </c:pt>
                <c:pt idx="2034">
                  <c:v>42773</c:v>
                </c:pt>
                <c:pt idx="2035">
                  <c:v>42772</c:v>
                </c:pt>
                <c:pt idx="2036">
                  <c:v>42769</c:v>
                </c:pt>
                <c:pt idx="2037">
                  <c:v>42768</c:v>
                </c:pt>
                <c:pt idx="2038">
                  <c:v>42767</c:v>
                </c:pt>
                <c:pt idx="2039">
                  <c:v>42766</c:v>
                </c:pt>
                <c:pt idx="2040">
                  <c:v>42765</c:v>
                </c:pt>
                <c:pt idx="2041">
                  <c:v>42762</c:v>
                </c:pt>
                <c:pt idx="2042">
                  <c:v>42761</c:v>
                </c:pt>
                <c:pt idx="2043">
                  <c:v>42760</c:v>
                </c:pt>
                <c:pt idx="2044">
                  <c:v>42759</c:v>
                </c:pt>
                <c:pt idx="2045">
                  <c:v>42758</c:v>
                </c:pt>
                <c:pt idx="2046">
                  <c:v>42755</c:v>
                </c:pt>
                <c:pt idx="2047">
                  <c:v>42754</c:v>
                </c:pt>
                <c:pt idx="2048">
                  <c:v>42753</c:v>
                </c:pt>
                <c:pt idx="2049">
                  <c:v>42752</c:v>
                </c:pt>
                <c:pt idx="2050">
                  <c:v>42751</c:v>
                </c:pt>
                <c:pt idx="2051">
                  <c:v>42748</c:v>
                </c:pt>
                <c:pt idx="2052">
                  <c:v>42747</c:v>
                </c:pt>
                <c:pt idx="2053">
                  <c:v>42746</c:v>
                </c:pt>
                <c:pt idx="2054">
                  <c:v>42745</c:v>
                </c:pt>
                <c:pt idx="2055">
                  <c:v>42744</c:v>
                </c:pt>
                <c:pt idx="2056">
                  <c:v>42741</c:v>
                </c:pt>
                <c:pt idx="2057">
                  <c:v>42740</c:v>
                </c:pt>
                <c:pt idx="2058">
                  <c:v>42739</c:v>
                </c:pt>
                <c:pt idx="2059">
                  <c:v>42738</c:v>
                </c:pt>
                <c:pt idx="2060">
                  <c:v>42737</c:v>
                </c:pt>
                <c:pt idx="2061">
                  <c:v>42734</c:v>
                </c:pt>
                <c:pt idx="2062">
                  <c:v>42733</c:v>
                </c:pt>
                <c:pt idx="2063">
                  <c:v>42732</c:v>
                </c:pt>
                <c:pt idx="2064">
                  <c:v>42731</c:v>
                </c:pt>
                <c:pt idx="2065">
                  <c:v>42730</c:v>
                </c:pt>
                <c:pt idx="2066">
                  <c:v>42727</c:v>
                </c:pt>
                <c:pt idx="2067">
                  <c:v>42726</c:v>
                </c:pt>
                <c:pt idx="2068">
                  <c:v>42725</c:v>
                </c:pt>
                <c:pt idx="2069">
                  <c:v>42724</c:v>
                </c:pt>
                <c:pt idx="2070">
                  <c:v>42723</c:v>
                </c:pt>
                <c:pt idx="2071">
                  <c:v>42720</c:v>
                </c:pt>
                <c:pt idx="2072">
                  <c:v>42719</c:v>
                </c:pt>
                <c:pt idx="2073">
                  <c:v>42718</c:v>
                </c:pt>
                <c:pt idx="2074">
                  <c:v>42717</c:v>
                </c:pt>
                <c:pt idx="2075">
                  <c:v>42716</c:v>
                </c:pt>
                <c:pt idx="2076">
                  <c:v>42713</c:v>
                </c:pt>
                <c:pt idx="2077">
                  <c:v>42712</c:v>
                </c:pt>
                <c:pt idx="2078">
                  <c:v>42711</c:v>
                </c:pt>
                <c:pt idx="2079">
                  <c:v>42710</c:v>
                </c:pt>
                <c:pt idx="2080">
                  <c:v>42709</c:v>
                </c:pt>
                <c:pt idx="2081">
                  <c:v>42706</c:v>
                </c:pt>
                <c:pt idx="2082">
                  <c:v>42705</c:v>
                </c:pt>
                <c:pt idx="2083">
                  <c:v>42704</c:v>
                </c:pt>
                <c:pt idx="2084">
                  <c:v>42703</c:v>
                </c:pt>
                <c:pt idx="2085">
                  <c:v>42702</c:v>
                </c:pt>
                <c:pt idx="2086">
                  <c:v>42699</c:v>
                </c:pt>
                <c:pt idx="2087">
                  <c:v>42698</c:v>
                </c:pt>
                <c:pt idx="2088">
                  <c:v>42697</c:v>
                </c:pt>
                <c:pt idx="2089">
                  <c:v>42696</c:v>
                </c:pt>
                <c:pt idx="2090">
                  <c:v>42695</c:v>
                </c:pt>
                <c:pt idx="2091">
                  <c:v>42692</c:v>
                </c:pt>
                <c:pt idx="2092">
                  <c:v>42691</c:v>
                </c:pt>
                <c:pt idx="2093">
                  <c:v>42690</c:v>
                </c:pt>
                <c:pt idx="2094">
                  <c:v>42689</c:v>
                </c:pt>
                <c:pt idx="2095">
                  <c:v>42688</c:v>
                </c:pt>
                <c:pt idx="2096">
                  <c:v>42685</c:v>
                </c:pt>
                <c:pt idx="2097">
                  <c:v>42684</c:v>
                </c:pt>
                <c:pt idx="2098">
                  <c:v>42683</c:v>
                </c:pt>
                <c:pt idx="2099">
                  <c:v>42682</c:v>
                </c:pt>
                <c:pt idx="2100">
                  <c:v>42681</c:v>
                </c:pt>
                <c:pt idx="2101">
                  <c:v>42678</c:v>
                </c:pt>
                <c:pt idx="2102">
                  <c:v>42677</c:v>
                </c:pt>
                <c:pt idx="2103">
                  <c:v>42676</c:v>
                </c:pt>
                <c:pt idx="2104">
                  <c:v>42675</c:v>
                </c:pt>
                <c:pt idx="2105">
                  <c:v>42674</c:v>
                </c:pt>
                <c:pt idx="2106">
                  <c:v>42671</c:v>
                </c:pt>
                <c:pt idx="2107">
                  <c:v>42670</c:v>
                </c:pt>
                <c:pt idx="2108">
                  <c:v>42669</c:v>
                </c:pt>
                <c:pt idx="2109">
                  <c:v>42668</c:v>
                </c:pt>
                <c:pt idx="2110">
                  <c:v>42667</c:v>
                </c:pt>
                <c:pt idx="2111">
                  <c:v>42664</c:v>
                </c:pt>
                <c:pt idx="2112">
                  <c:v>42663</c:v>
                </c:pt>
                <c:pt idx="2113">
                  <c:v>42662</c:v>
                </c:pt>
                <c:pt idx="2114">
                  <c:v>42661</c:v>
                </c:pt>
                <c:pt idx="2115">
                  <c:v>42660</c:v>
                </c:pt>
                <c:pt idx="2116">
                  <c:v>42657</c:v>
                </c:pt>
                <c:pt idx="2117">
                  <c:v>42656</c:v>
                </c:pt>
                <c:pt idx="2118">
                  <c:v>42655</c:v>
                </c:pt>
                <c:pt idx="2119">
                  <c:v>42654</c:v>
                </c:pt>
                <c:pt idx="2120">
                  <c:v>42653</c:v>
                </c:pt>
                <c:pt idx="2121">
                  <c:v>42650</c:v>
                </c:pt>
                <c:pt idx="2122">
                  <c:v>42649</c:v>
                </c:pt>
                <c:pt idx="2123">
                  <c:v>42648</c:v>
                </c:pt>
                <c:pt idx="2124">
                  <c:v>42647</c:v>
                </c:pt>
                <c:pt idx="2125">
                  <c:v>42646</c:v>
                </c:pt>
                <c:pt idx="2126">
                  <c:v>42643</c:v>
                </c:pt>
                <c:pt idx="2127">
                  <c:v>42642</c:v>
                </c:pt>
                <c:pt idx="2128">
                  <c:v>42641</c:v>
                </c:pt>
                <c:pt idx="2129">
                  <c:v>42640</c:v>
                </c:pt>
                <c:pt idx="2130">
                  <c:v>42639</c:v>
                </c:pt>
                <c:pt idx="2131">
                  <c:v>42636</c:v>
                </c:pt>
                <c:pt idx="2132">
                  <c:v>42635</c:v>
                </c:pt>
                <c:pt idx="2133">
                  <c:v>42634</c:v>
                </c:pt>
                <c:pt idx="2134">
                  <c:v>42633</c:v>
                </c:pt>
                <c:pt idx="2135">
                  <c:v>42632</c:v>
                </c:pt>
                <c:pt idx="2136">
                  <c:v>42629</c:v>
                </c:pt>
                <c:pt idx="2137">
                  <c:v>42628</c:v>
                </c:pt>
                <c:pt idx="2138">
                  <c:v>42627</c:v>
                </c:pt>
                <c:pt idx="2139">
                  <c:v>42626</c:v>
                </c:pt>
                <c:pt idx="2140">
                  <c:v>42625</c:v>
                </c:pt>
                <c:pt idx="2141">
                  <c:v>42622</c:v>
                </c:pt>
                <c:pt idx="2142">
                  <c:v>42621</c:v>
                </c:pt>
                <c:pt idx="2143">
                  <c:v>42620</c:v>
                </c:pt>
                <c:pt idx="2144">
                  <c:v>42619</c:v>
                </c:pt>
                <c:pt idx="2145">
                  <c:v>42618</c:v>
                </c:pt>
                <c:pt idx="2146">
                  <c:v>42615</c:v>
                </c:pt>
                <c:pt idx="2147">
                  <c:v>42614</c:v>
                </c:pt>
                <c:pt idx="2148">
                  <c:v>42613</c:v>
                </c:pt>
                <c:pt idx="2149">
                  <c:v>42612</c:v>
                </c:pt>
                <c:pt idx="2150">
                  <c:v>42611</c:v>
                </c:pt>
                <c:pt idx="2151">
                  <c:v>42608</c:v>
                </c:pt>
                <c:pt idx="2152">
                  <c:v>42607</c:v>
                </c:pt>
                <c:pt idx="2153">
                  <c:v>42606</c:v>
                </c:pt>
                <c:pt idx="2154">
                  <c:v>42605</c:v>
                </c:pt>
                <c:pt idx="2155">
                  <c:v>42604</c:v>
                </c:pt>
                <c:pt idx="2156">
                  <c:v>42601</c:v>
                </c:pt>
                <c:pt idx="2157">
                  <c:v>42600</c:v>
                </c:pt>
                <c:pt idx="2158">
                  <c:v>42599</c:v>
                </c:pt>
                <c:pt idx="2159">
                  <c:v>42598</c:v>
                </c:pt>
                <c:pt idx="2160">
                  <c:v>42597</c:v>
                </c:pt>
                <c:pt idx="2161">
                  <c:v>42594</c:v>
                </c:pt>
                <c:pt idx="2162">
                  <c:v>42593</c:v>
                </c:pt>
                <c:pt idx="2163">
                  <c:v>42592</c:v>
                </c:pt>
                <c:pt idx="2164">
                  <c:v>42591</c:v>
                </c:pt>
                <c:pt idx="2165">
                  <c:v>42590</c:v>
                </c:pt>
                <c:pt idx="2166">
                  <c:v>42587</c:v>
                </c:pt>
                <c:pt idx="2167">
                  <c:v>42586</c:v>
                </c:pt>
                <c:pt idx="2168">
                  <c:v>42585</c:v>
                </c:pt>
                <c:pt idx="2169">
                  <c:v>42584</c:v>
                </c:pt>
                <c:pt idx="2170">
                  <c:v>42583</c:v>
                </c:pt>
                <c:pt idx="2171">
                  <c:v>42580</c:v>
                </c:pt>
                <c:pt idx="2172">
                  <c:v>42579</c:v>
                </c:pt>
                <c:pt idx="2173">
                  <c:v>42578</c:v>
                </c:pt>
                <c:pt idx="2174">
                  <c:v>42577</c:v>
                </c:pt>
                <c:pt idx="2175">
                  <c:v>42576</c:v>
                </c:pt>
                <c:pt idx="2176">
                  <c:v>42573</c:v>
                </c:pt>
                <c:pt idx="2177">
                  <c:v>42572</c:v>
                </c:pt>
                <c:pt idx="2178">
                  <c:v>42571</c:v>
                </c:pt>
                <c:pt idx="2179">
                  <c:v>42570</c:v>
                </c:pt>
                <c:pt idx="2180">
                  <c:v>42569</c:v>
                </c:pt>
                <c:pt idx="2181">
                  <c:v>42566</c:v>
                </c:pt>
                <c:pt idx="2182">
                  <c:v>42565</c:v>
                </c:pt>
                <c:pt idx="2183">
                  <c:v>42564</c:v>
                </c:pt>
                <c:pt idx="2184">
                  <c:v>42563</c:v>
                </c:pt>
                <c:pt idx="2185">
                  <c:v>42562</c:v>
                </c:pt>
                <c:pt idx="2186">
                  <c:v>42559</c:v>
                </c:pt>
                <c:pt idx="2187">
                  <c:v>42558</c:v>
                </c:pt>
                <c:pt idx="2188">
                  <c:v>42557</c:v>
                </c:pt>
                <c:pt idx="2189">
                  <c:v>42556</c:v>
                </c:pt>
                <c:pt idx="2190">
                  <c:v>42555</c:v>
                </c:pt>
                <c:pt idx="2191">
                  <c:v>42552</c:v>
                </c:pt>
                <c:pt idx="2192">
                  <c:v>42551</c:v>
                </c:pt>
                <c:pt idx="2193">
                  <c:v>42550</c:v>
                </c:pt>
                <c:pt idx="2194">
                  <c:v>42549</c:v>
                </c:pt>
                <c:pt idx="2195">
                  <c:v>42548</c:v>
                </c:pt>
                <c:pt idx="2196">
                  <c:v>42545</c:v>
                </c:pt>
                <c:pt idx="2197">
                  <c:v>42544</c:v>
                </c:pt>
                <c:pt idx="2198">
                  <c:v>42543</c:v>
                </c:pt>
                <c:pt idx="2199">
                  <c:v>42542</c:v>
                </c:pt>
                <c:pt idx="2200">
                  <c:v>42541</c:v>
                </c:pt>
                <c:pt idx="2201">
                  <c:v>42538</c:v>
                </c:pt>
                <c:pt idx="2202">
                  <c:v>42537</c:v>
                </c:pt>
                <c:pt idx="2203">
                  <c:v>42536</c:v>
                </c:pt>
                <c:pt idx="2204">
                  <c:v>42535</c:v>
                </c:pt>
                <c:pt idx="2205">
                  <c:v>42534</c:v>
                </c:pt>
                <c:pt idx="2206">
                  <c:v>42531</c:v>
                </c:pt>
                <c:pt idx="2207">
                  <c:v>42530</c:v>
                </c:pt>
                <c:pt idx="2208">
                  <c:v>42529</c:v>
                </c:pt>
                <c:pt idx="2209">
                  <c:v>42528</c:v>
                </c:pt>
                <c:pt idx="2210">
                  <c:v>42527</c:v>
                </c:pt>
                <c:pt idx="2211">
                  <c:v>42524</c:v>
                </c:pt>
                <c:pt idx="2212">
                  <c:v>42523</c:v>
                </c:pt>
                <c:pt idx="2213">
                  <c:v>42522</c:v>
                </c:pt>
                <c:pt idx="2214">
                  <c:v>42521</c:v>
                </c:pt>
                <c:pt idx="2215">
                  <c:v>42520</c:v>
                </c:pt>
                <c:pt idx="2216">
                  <c:v>42517</c:v>
                </c:pt>
                <c:pt idx="2217">
                  <c:v>42516</c:v>
                </c:pt>
                <c:pt idx="2218">
                  <c:v>42515</c:v>
                </c:pt>
                <c:pt idx="2219">
                  <c:v>42514</c:v>
                </c:pt>
                <c:pt idx="2220">
                  <c:v>42513</c:v>
                </c:pt>
                <c:pt idx="2221">
                  <c:v>42510</c:v>
                </c:pt>
                <c:pt idx="2222">
                  <c:v>42509</c:v>
                </c:pt>
                <c:pt idx="2223">
                  <c:v>42508</c:v>
                </c:pt>
                <c:pt idx="2224">
                  <c:v>42507</c:v>
                </c:pt>
                <c:pt idx="2225">
                  <c:v>42506</c:v>
                </c:pt>
                <c:pt idx="2226">
                  <c:v>42503</c:v>
                </c:pt>
                <c:pt idx="2227">
                  <c:v>42502</c:v>
                </c:pt>
                <c:pt idx="2228">
                  <c:v>42501</c:v>
                </c:pt>
                <c:pt idx="2229">
                  <c:v>42500</c:v>
                </c:pt>
                <c:pt idx="2230">
                  <c:v>42499</c:v>
                </c:pt>
                <c:pt idx="2231">
                  <c:v>42496</c:v>
                </c:pt>
                <c:pt idx="2232">
                  <c:v>42495</c:v>
                </c:pt>
                <c:pt idx="2233">
                  <c:v>42494</c:v>
                </c:pt>
                <c:pt idx="2234">
                  <c:v>42493</c:v>
                </c:pt>
                <c:pt idx="2235">
                  <c:v>42492</c:v>
                </c:pt>
                <c:pt idx="2236">
                  <c:v>42489</c:v>
                </c:pt>
                <c:pt idx="2237">
                  <c:v>42488</c:v>
                </c:pt>
                <c:pt idx="2238">
                  <c:v>42487</c:v>
                </c:pt>
                <c:pt idx="2239">
                  <c:v>42486</c:v>
                </c:pt>
                <c:pt idx="2240">
                  <c:v>42485</c:v>
                </c:pt>
                <c:pt idx="2241">
                  <c:v>42482</c:v>
                </c:pt>
                <c:pt idx="2242">
                  <c:v>42481</c:v>
                </c:pt>
                <c:pt idx="2243">
                  <c:v>42480</c:v>
                </c:pt>
                <c:pt idx="2244">
                  <c:v>42479</c:v>
                </c:pt>
                <c:pt idx="2245">
                  <c:v>42478</c:v>
                </c:pt>
                <c:pt idx="2246">
                  <c:v>42475</c:v>
                </c:pt>
                <c:pt idx="2247">
                  <c:v>42474</c:v>
                </c:pt>
                <c:pt idx="2248">
                  <c:v>42473</c:v>
                </c:pt>
                <c:pt idx="2249">
                  <c:v>42472</c:v>
                </c:pt>
                <c:pt idx="2250">
                  <c:v>42471</c:v>
                </c:pt>
                <c:pt idx="2251">
                  <c:v>42468</c:v>
                </c:pt>
                <c:pt idx="2252">
                  <c:v>42467</c:v>
                </c:pt>
                <c:pt idx="2253">
                  <c:v>42466</c:v>
                </c:pt>
                <c:pt idx="2254">
                  <c:v>42465</c:v>
                </c:pt>
                <c:pt idx="2255">
                  <c:v>42464</c:v>
                </c:pt>
                <c:pt idx="2256">
                  <c:v>42461</c:v>
                </c:pt>
                <c:pt idx="2257">
                  <c:v>42460</c:v>
                </c:pt>
                <c:pt idx="2258">
                  <c:v>42459</c:v>
                </c:pt>
                <c:pt idx="2259">
                  <c:v>42458</c:v>
                </c:pt>
                <c:pt idx="2260">
                  <c:v>42457</c:v>
                </c:pt>
                <c:pt idx="2261">
                  <c:v>42454</c:v>
                </c:pt>
                <c:pt idx="2262">
                  <c:v>42453</c:v>
                </c:pt>
                <c:pt idx="2263">
                  <c:v>42452</c:v>
                </c:pt>
                <c:pt idx="2264">
                  <c:v>42451</c:v>
                </c:pt>
                <c:pt idx="2265">
                  <c:v>42450</c:v>
                </c:pt>
                <c:pt idx="2266">
                  <c:v>42447</c:v>
                </c:pt>
                <c:pt idx="2267">
                  <c:v>42446</c:v>
                </c:pt>
                <c:pt idx="2268">
                  <c:v>42445</c:v>
                </c:pt>
                <c:pt idx="2269">
                  <c:v>42444</c:v>
                </c:pt>
                <c:pt idx="2270">
                  <c:v>42443</c:v>
                </c:pt>
                <c:pt idx="2271">
                  <c:v>42440</c:v>
                </c:pt>
                <c:pt idx="2272">
                  <c:v>42439</c:v>
                </c:pt>
                <c:pt idx="2273">
                  <c:v>42438</c:v>
                </c:pt>
                <c:pt idx="2274">
                  <c:v>42437</c:v>
                </c:pt>
                <c:pt idx="2275">
                  <c:v>42436</c:v>
                </c:pt>
                <c:pt idx="2276">
                  <c:v>42433</c:v>
                </c:pt>
                <c:pt idx="2277">
                  <c:v>42432</c:v>
                </c:pt>
                <c:pt idx="2278">
                  <c:v>42431</c:v>
                </c:pt>
                <c:pt idx="2279">
                  <c:v>42430</c:v>
                </c:pt>
                <c:pt idx="2280">
                  <c:v>42429</c:v>
                </c:pt>
                <c:pt idx="2281">
                  <c:v>42426</c:v>
                </c:pt>
                <c:pt idx="2282">
                  <c:v>42425</c:v>
                </c:pt>
                <c:pt idx="2283">
                  <c:v>42424</c:v>
                </c:pt>
                <c:pt idx="2284">
                  <c:v>42423</c:v>
                </c:pt>
                <c:pt idx="2285">
                  <c:v>42422</c:v>
                </c:pt>
                <c:pt idx="2286">
                  <c:v>42419</c:v>
                </c:pt>
                <c:pt idx="2287">
                  <c:v>42418</c:v>
                </c:pt>
                <c:pt idx="2288">
                  <c:v>42417</c:v>
                </c:pt>
                <c:pt idx="2289">
                  <c:v>42416</c:v>
                </c:pt>
                <c:pt idx="2290">
                  <c:v>42415</c:v>
                </c:pt>
                <c:pt idx="2291">
                  <c:v>42412</c:v>
                </c:pt>
                <c:pt idx="2292">
                  <c:v>42411</c:v>
                </c:pt>
                <c:pt idx="2293">
                  <c:v>42410</c:v>
                </c:pt>
                <c:pt idx="2294">
                  <c:v>42409</c:v>
                </c:pt>
                <c:pt idx="2295">
                  <c:v>42408</c:v>
                </c:pt>
                <c:pt idx="2296">
                  <c:v>42405</c:v>
                </c:pt>
                <c:pt idx="2297">
                  <c:v>42404</c:v>
                </c:pt>
                <c:pt idx="2298">
                  <c:v>42403</c:v>
                </c:pt>
                <c:pt idx="2299">
                  <c:v>42402</c:v>
                </c:pt>
                <c:pt idx="2300">
                  <c:v>42401</c:v>
                </c:pt>
                <c:pt idx="2301">
                  <c:v>42398</c:v>
                </c:pt>
                <c:pt idx="2302">
                  <c:v>42397</c:v>
                </c:pt>
                <c:pt idx="2303">
                  <c:v>42396</c:v>
                </c:pt>
                <c:pt idx="2304">
                  <c:v>42395</c:v>
                </c:pt>
                <c:pt idx="2305">
                  <c:v>42394</c:v>
                </c:pt>
                <c:pt idx="2306">
                  <c:v>42391</c:v>
                </c:pt>
                <c:pt idx="2307">
                  <c:v>42390</c:v>
                </c:pt>
                <c:pt idx="2308">
                  <c:v>42389</c:v>
                </c:pt>
                <c:pt idx="2309">
                  <c:v>42388</c:v>
                </c:pt>
                <c:pt idx="2310">
                  <c:v>42387</c:v>
                </c:pt>
                <c:pt idx="2311">
                  <c:v>42384</c:v>
                </c:pt>
                <c:pt idx="2312">
                  <c:v>42383</c:v>
                </c:pt>
                <c:pt idx="2313">
                  <c:v>42382</c:v>
                </c:pt>
                <c:pt idx="2314">
                  <c:v>42381</c:v>
                </c:pt>
                <c:pt idx="2315">
                  <c:v>42380</c:v>
                </c:pt>
                <c:pt idx="2316">
                  <c:v>42377</c:v>
                </c:pt>
                <c:pt idx="2317">
                  <c:v>42376</c:v>
                </c:pt>
                <c:pt idx="2318">
                  <c:v>42375</c:v>
                </c:pt>
                <c:pt idx="2319">
                  <c:v>42374</c:v>
                </c:pt>
                <c:pt idx="2320">
                  <c:v>42373</c:v>
                </c:pt>
                <c:pt idx="2321">
                  <c:v>42370</c:v>
                </c:pt>
                <c:pt idx="2322">
                  <c:v>42369</c:v>
                </c:pt>
                <c:pt idx="2323">
                  <c:v>42368</c:v>
                </c:pt>
                <c:pt idx="2324">
                  <c:v>42367</c:v>
                </c:pt>
                <c:pt idx="2325">
                  <c:v>42366</c:v>
                </c:pt>
                <c:pt idx="2326">
                  <c:v>42363</c:v>
                </c:pt>
                <c:pt idx="2327">
                  <c:v>42362</c:v>
                </c:pt>
                <c:pt idx="2328">
                  <c:v>42361</c:v>
                </c:pt>
                <c:pt idx="2329">
                  <c:v>42360</c:v>
                </c:pt>
                <c:pt idx="2330">
                  <c:v>42359</c:v>
                </c:pt>
                <c:pt idx="2331">
                  <c:v>42356</c:v>
                </c:pt>
                <c:pt idx="2332">
                  <c:v>42355</c:v>
                </c:pt>
                <c:pt idx="2333">
                  <c:v>42354</c:v>
                </c:pt>
                <c:pt idx="2334">
                  <c:v>42353</c:v>
                </c:pt>
                <c:pt idx="2335">
                  <c:v>42352</c:v>
                </c:pt>
                <c:pt idx="2336">
                  <c:v>42349</c:v>
                </c:pt>
                <c:pt idx="2337">
                  <c:v>42348</c:v>
                </c:pt>
                <c:pt idx="2338">
                  <c:v>42347</c:v>
                </c:pt>
                <c:pt idx="2339">
                  <c:v>42346</c:v>
                </c:pt>
                <c:pt idx="2340">
                  <c:v>42345</c:v>
                </c:pt>
                <c:pt idx="2341">
                  <c:v>42342</c:v>
                </c:pt>
                <c:pt idx="2342">
                  <c:v>42341</c:v>
                </c:pt>
                <c:pt idx="2343">
                  <c:v>42340</c:v>
                </c:pt>
                <c:pt idx="2344">
                  <c:v>42339</c:v>
                </c:pt>
                <c:pt idx="2345">
                  <c:v>42338</c:v>
                </c:pt>
                <c:pt idx="2346">
                  <c:v>42335</c:v>
                </c:pt>
                <c:pt idx="2347">
                  <c:v>42334</c:v>
                </c:pt>
                <c:pt idx="2348">
                  <c:v>42333</c:v>
                </c:pt>
                <c:pt idx="2349">
                  <c:v>42332</c:v>
                </c:pt>
                <c:pt idx="2350">
                  <c:v>42331</c:v>
                </c:pt>
                <c:pt idx="2351">
                  <c:v>42328</c:v>
                </c:pt>
                <c:pt idx="2352">
                  <c:v>42327</c:v>
                </c:pt>
                <c:pt idx="2353">
                  <c:v>42326</c:v>
                </c:pt>
                <c:pt idx="2354">
                  <c:v>42325</c:v>
                </c:pt>
                <c:pt idx="2355">
                  <c:v>42324</c:v>
                </c:pt>
                <c:pt idx="2356">
                  <c:v>42321</c:v>
                </c:pt>
                <c:pt idx="2357">
                  <c:v>42320</c:v>
                </c:pt>
                <c:pt idx="2358">
                  <c:v>42319</c:v>
                </c:pt>
                <c:pt idx="2359">
                  <c:v>42318</c:v>
                </c:pt>
                <c:pt idx="2360">
                  <c:v>42317</c:v>
                </c:pt>
                <c:pt idx="2361">
                  <c:v>42314</c:v>
                </c:pt>
                <c:pt idx="2362">
                  <c:v>42313</c:v>
                </c:pt>
                <c:pt idx="2363">
                  <c:v>42312</c:v>
                </c:pt>
                <c:pt idx="2364">
                  <c:v>42311</c:v>
                </c:pt>
                <c:pt idx="2365">
                  <c:v>42310</c:v>
                </c:pt>
                <c:pt idx="2366">
                  <c:v>42307</c:v>
                </c:pt>
                <c:pt idx="2367">
                  <c:v>42306</c:v>
                </c:pt>
                <c:pt idx="2368">
                  <c:v>42305</c:v>
                </c:pt>
                <c:pt idx="2369">
                  <c:v>42304</c:v>
                </c:pt>
                <c:pt idx="2370">
                  <c:v>42303</c:v>
                </c:pt>
                <c:pt idx="2371">
                  <c:v>42300</c:v>
                </c:pt>
                <c:pt idx="2372">
                  <c:v>42299</c:v>
                </c:pt>
                <c:pt idx="2373">
                  <c:v>42298</c:v>
                </c:pt>
                <c:pt idx="2374">
                  <c:v>42297</c:v>
                </c:pt>
                <c:pt idx="2375">
                  <c:v>42296</c:v>
                </c:pt>
                <c:pt idx="2376">
                  <c:v>42293</c:v>
                </c:pt>
                <c:pt idx="2377">
                  <c:v>42292</c:v>
                </c:pt>
                <c:pt idx="2378">
                  <c:v>42291</c:v>
                </c:pt>
                <c:pt idx="2379">
                  <c:v>42290</c:v>
                </c:pt>
                <c:pt idx="2380">
                  <c:v>42289</c:v>
                </c:pt>
                <c:pt idx="2381">
                  <c:v>42286</c:v>
                </c:pt>
                <c:pt idx="2382">
                  <c:v>42285</c:v>
                </c:pt>
                <c:pt idx="2383">
                  <c:v>42284</c:v>
                </c:pt>
                <c:pt idx="2384">
                  <c:v>42283</c:v>
                </c:pt>
                <c:pt idx="2385">
                  <c:v>42282</c:v>
                </c:pt>
                <c:pt idx="2386">
                  <c:v>42279</c:v>
                </c:pt>
                <c:pt idx="2387">
                  <c:v>42278</c:v>
                </c:pt>
                <c:pt idx="2388">
                  <c:v>42277</c:v>
                </c:pt>
                <c:pt idx="2389">
                  <c:v>42276</c:v>
                </c:pt>
                <c:pt idx="2390">
                  <c:v>42275</c:v>
                </c:pt>
                <c:pt idx="2391">
                  <c:v>42272</c:v>
                </c:pt>
                <c:pt idx="2392">
                  <c:v>42271</c:v>
                </c:pt>
                <c:pt idx="2393">
                  <c:v>42270</c:v>
                </c:pt>
                <c:pt idx="2394">
                  <c:v>42269</c:v>
                </c:pt>
                <c:pt idx="2395">
                  <c:v>42268</c:v>
                </c:pt>
                <c:pt idx="2396">
                  <c:v>42265</c:v>
                </c:pt>
                <c:pt idx="2397">
                  <c:v>42264</c:v>
                </c:pt>
                <c:pt idx="2398">
                  <c:v>42263</c:v>
                </c:pt>
                <c:pt idx="2399">
                  <c:v>42262</c:v>
                </c:pt>
                <c:pt idx="2400">
                  <c:v>42261</c:v>
                </c:pt>
                <c:pt idx="2401">
                  <c:v>42258</c:v>
                </c:pt>
                <c:pt idx="2402">
                  <c:v>42257</c:v>
                </c:pt>
                <c:pt idx="2403">
                  <c:v>42256</c:v>
                </c:pt>
                <c:pt idx="2404">
                  <c:v>42255</c:v>
                </c:pt>
                <c:pt idx="2405">
                  <c:v>42254</c:v>
                </c:pt>
                <c:pt idx="2406">
                  <c:v>42251</c:v>
                </c:pt>
                <c:pt idx="2407">
                  <c:v>42250</c:v>
                </c:pt>
                <c:pt idx="2408">
                  <c:v>42249</c:v>
                </c:pt>
                <c:pt idx="2409">
                  <c:v>42248</c:v>
                </c:pt>
                <c:pt idx="2410">
                  <c:v>42247</c:v>
                </c:pt>
                <c:pt idx="2411">
                  <c:v>42244</c:v>
                </c:pt>
                <c:pt idx="2412">
                  <c:v>42243</c:v>
                </c:pt>
                <c:pt idx="2413">
                  <c:v>42242</c:v>
                </c:pt>
                <c:pt idx="2414">
                  <c:v>42241</c:v>
                </c:pt>
                <c:pt idx="2415">
                  <c:v>42240</c:v>
                </c:pt>
                <c:pt idx="2416">
                  <c:v>42237</c:v>
                </c:pt>
                <c:pt idx="2417">
                  <c:v>42236</c:v>
                </c:pt>
                <c:pt idx="2418">
                  <c:v>42235</c:v>
                </c:pt>
                <c:pt idx="2419">
                  <c:v>42234</c:v>
                </c:pt>
                <c:pt idx="2420">
                  <c:v>42233</c:v>
                </c:pt>
                <c:pt idx="2421">
                  <c:v>42230</c:v>
                </c:pt>
                <c:pt idx="2422">
                  <c:v>42229</c:v>
                </c:pt>
                <c:pt idx="2423">
                  <c:v>42228</c:v>
                </c:pt>
                <c:pt idx="2424">
                  <c:v>42227</c:v>
                </c:pt>
                <c:pt idx="2425">
                  <c:v>42226</c:v>
                </c:pt>
                <c:pt idx="2426">
                  <c:v>42223</c:v>
                </c:pt>
                <c:pt idx="2427">
                  <c:v>42222</c:v>
                </c:pt>
                <c:pt idx="2428">
                  <c:v>42221</c:v>
                </c:pt>
                <c:pt idx="2429">
                  <c:v>42220</c:v>
                </c:pt>
                <c:pt idx="2430">
                  <c:v>42219</c:v>
                </c:pt>
                <c:pt idx="2431">
                  <c:v>42216</c:v>
                </c:pt>
                <c:pt idx="2432">
                  <c:v>42215</c:v>
                </c:pt>
                <c:pt idx="2433">
                  <c:v>42214</c:v>
                </c:pt>
                <c:pt idx="2434">
                  <c:v>42213</c:v>
                </c:pt>
                <c:pt idx="2435">
                  <c:v>42212</c:v>
                </c:pt>
                <c:pt idx="2436">
                  <c:v>42209</c:v>
                </c:pt>
                <c:pt idx="2437">
                  <c:v>42208</c:v>
                </c:pt>
                <c:pt idx="2438">
                  <c:v>42207</c:v>
                </c:pt>
                <c:pt idx="2439">
                  <c:v>42206</c:v>
                </c:pt>
                <c:pt idx="2440">
                  <c:v>42205</c:v>
                </c:pt>
                <c:pt idx="2441">
                  <c:v>42202</c:v>
                </c:pt>
                <c:pt idx="2442">
                  <c:v>42201</c:v>
                </c:pt>
                <c:pt idx="2443">
                  <c:v>42200</c:v>
                </c:pt>
                <c:pt idx="2444">
                  <c:v>42199</c:v>
                </c:pt>
                <c:pt idx="2445">
                  <c:v>42198</c:v>
                </c:pt>
                <c:pt idx="2446">
                  <c:v>42195</c:v>
                </c:pt>
                <c:pt idx="2447">
                  <c:v>42194</c:v>
                </c:pt>
                <c:pt idx="2448">
                  <c:v>42193</c:v>
                </c:pt>
                <c:pt idx="2449">
                  <c:v>42192</c:v>
                </c:pt>
                <c:pt idx="2450">
                  <c:v>42191</c:v>
                </c:pt>
                <c:pt idx="2451">
                  <c:v>42188</c:v>
                </c:pt>
                <c:pt idx="2452">
                  <c:v>42187</c:v>
                </c:pt>
                <c:pt idx="2453">
                  <c:v>42186</c:v>
                </c:pt>
                <c:pt idx="2454">
                  <c:v>42185</c:v>
                </c:pt>
                <c:pt idx="2455">
                  <c:v>42184</c:v>
                </c:pt>
                <c:pt idx="2456">
                  <c:v>42181</c:v>
                </c:pt>
                <c:pt idx="2457">
                  <c:v>42180</c:v>
                </c:pt>
                <c:pt idx="2458">
                  <c:v>42179</c:v>
                </c:pt>
                <c:pt idx="2459">
                  <c:v>42178</c:v>
                </c:pt>
                <c:pt idx="2460">
                  <c:v>42177</c:v>
                </c:pt>
                <c:pt idx="2461">
                  <c:v>42174</c:v>
                </c:pt>
                <c:pt idx="2462">
                  <c:v>42173</c:v>
                </c:pt>
                <c:pt idx="2463">
                  <c:v>42172</c:v>
                </c:pt>
                <c:pt idx="2464">
                  <c:v>42171</c:v>
                </c:pt>
                <c:pt idx="2465">
                  <c:v>42170</c:v>
                </c:pt>
                <c:pt idx="2466">
                  <c:v>42167</c:v>
                </c:pt>
                <c:pt idx="2467">
                  <c:v>42166</c:v>
                </c:pt>
                <c:pt idx="2468">
                  <c:v>42165</c:v>
                </c:pt>
                <c:pt idx="2469">
                  <c:v>42164</c:v>
                </c:pt>
                <c:pt idx="2470">
                  <c:v>42163</c:v>
                </c:pt>
                <c:pt idx="2471">
                  <c:v>42160</c:v>
                </c:pt>
                <c:pt idx="2472">
                  <c:v>42159</c:v>
                </c:pt>
                <c:pt idx="2473">
                  <c:v>42158</c:v>
                </c:pt>
                <c:pt idx="2474">
                  <c:v>42157</c:v>
                </c:pt>
                <c:pt idx="2475">
                  <c:v>42156</c:v>
                </c:pt>
                <c:pt idx="2476">
                  <c:v>42153</c:v>
                </c:pt>
                <c:pt idx="2477">
                  <c:v>42152</c:v>
                </c:pt>
                <c:pt idx="2478">
                  <c:v>42151</c:v>
                </c:pt>
                <c:pt idx="2479">
                  <c:v>42150</c:v>
                </c:pt>
                <c:pt idx="2480">
                  <c:v>42149</c:v>
                </c:pt>
                <c:pt idx="2481">
                  <c:v>42146</c:v>
                </c:pt>
                <c:pt idx="2482">
                  <c:v>42145</c:v>
                </c:pt>
                <c:pt idx="2483">
                  <c:v>42144</c:v>
                </c:pt>
                <c:pt idx="2484">
                  <c:v>42143</c:v>
                </c:pt>
                <c:pt idx="2485">
                  <c:v>42142</c:v>
                </c:pt>
                <c:pt idx="2486">
                  <c:v>42139</c:v>
                </c:pt>
                <c:pt idx="2487">
                  <c:v>42138</c:v>
                </c:pt>
                <c:pt idx="2488">
                  <c:v>42137</c:v>
                </c:pt>
                <c:pt idx="2489">
                  <c:v>42136</c:v>
                </c:pt>
                <c:pt idx="2490">
                  <c:v>42135</c:v>
                </c:pt>
                <c:pt idx="2491">
                  <c:v>42132</c:v>
                </c:pt>
                <c:pt idx="2492">
                  <c:v>42131</c:v>
                </c:pt>
                <c:pt idx="2493">
                  <c:v>42130</c:v>
                </c:pt>
                <c:pt idx="2494">
                  <c:v>42129</c:v>
                </c:pt>
                <c:pt idx="2495">
                  <c:v>42128</c:v>
                </c:pt>
                <c:pt idx="2496">
                  <c:v>42125</c:v>
                </c:pt>
                <c:pt idx="2497">
                  <c:v>42124</c:v>
                </c:pt>
                <c:pt idx="2498">
                  <c:v>42123</c:v>
                </c:pt>
                <c:pt idx="2499">
                  <c:v>42122</c:v>
                </c:pt>
                <c:pt idx="2500">
                  <c:v>42121</c:v>
                </c:pt>
                <c:pt idx="2501">
                  <c:v>42118</c:v>
                </c:pt>
                <c:pt idx="2502">
                  <c:v>42117</c:v>
                </c:pt>
                <c:pt idx="2503">
                  <c:v>42116</c:v>
                </c:pt>
                <c:pt idx="2504">
                  <c:v>42115</c:v>
                </c:pt>
                <c:pt idx="2505">
                  <c:v>42114</c:v>
                </c:pt>
                <c:pt idx="2506">
                  <c:v>42111</c:v>
                </c:pt>
                <c:pt idx="2507">
                  <c:v>42110</c:v>
                </c:pt>
                <c:pt idx="2508">
                  <c:v>42109</c:v>
                </c:pt>
                <c:pt idx="2509">
                  <c:v>42108</c:v>
                </c:pt>
                <c:pt idx="2510">
                  <c:v>42107</c:v>
                </c:pt>
                <c:pt idx="2511">
                  <c:v>42104</c:v>
                </c:pt>
                <c:pt idx="2512">
                  <c:v>42103</c:v>
                </c:pt>
                <c:pt idx="2513">
                  <c:v>42102</c:v>
                </c:pt>
                <c:pt idx="2514">
                  <c:v>42101</c:v>
                </c:pt>
                <c:pt idx="2515">
                  <c:v>42100</c:v>
                </c:pt>
                <c:pt idx="2516">
                  <c:v>42097</c:v>
                </c:pt>
                <c:pt idx="2517">
                  <c:v>42096</c:v>
                </c:pt>
                <c:pt idx="2518">
                  <c:v>42095</c:v>
                </c:pt>
                <c:pt idx="2519">
                  <c:v>42094</c:v>
                </c:pt>
                <c:pt idx="2520">
                  <c:v>42093</c:v>
                </c:pt>
                <c:pt idx="2521">
                  <c:v>42090</c:v>
                </c:pt>
                <c:pt idx="2522">
                  <c:v>42089</c:v>
                </c:pt>
                <c:pt idx="2523">
                  <c:v>42088</c:v>
                </c:pt>
                <c:pt idx="2524">
                  <c:v>42087</c:v>
                </c:pt>
                <c:pt idx="2525">
                  <c:v>42086</c:v>
                </c:pt>
                <c:pt idx="2526">
                  <c:v>42083</c:v>
                </c:pt>
                <c:pt idx="2527">
                  <c:v>42082</c:v>
                </c:pt>
                <c:pt idx="2528">
                  <c:v>42081</c:v>
                </c:pt>
                <c:pt idx="2529">
                  <c:v>42080</c:v>
                </c:pt>
                <c:pt idx="2530">
                  <c:v>42079</c:v>
                </c:pt>
                <c:pt idx="2531">
                  <c:v>42076</c:v>
                </c:pt>
                <c:pt idx="2532">
                  <c:v>42075</c:v>
                </c:pt>
                <c:pt idx="2533">
                  <c:v>42074</c:v>
                </c:pt>
                <c:pt idx="2534">
                  <c:v>42073</c:v>
                </c:pt>
                <c:pt idx="2535">
                  <c:v>42072</c:v>
                </c:pt>
                <c:pt idx="2536">
                  <c:v>42069</c:v>
                </c:pt>
                <c:pt idx="2537">
                  <c:v>42068</c:v>
                </c:pt>
                <c:pt idx="2538">
                  <c:v>42067</c:v>
                </c:pt>
                <c:pt idx="2539">
                  <c:v>42066</c:v>
                </c:pt>
                <c:pt idx="2540">
                  <c:v>42065</c:v>
                </c:pt>
                <c:pt idx="2541">
                  <c:v>42062</c:v>
                </c:pt>
                <c:pt idx="2542">
                  <c:v>42061</c:v>
                </c:pt>
                <c:pt idx="2543">
                  <c:v>42060</c:v>
                </c:pt>
                <c:pt idx="2544">
                  <c:v>42059</c:v>
                </c:pt>
                <c:pt idx="2545">
                  <c:v>42058</c:v>
                </c:pt>
                <c:pt idx="2546">
                  <c:v>42055</c:v>
                </c:pt>
                <c:pt idx="2547">
                  <c:v>42054</c:v>
                </c:pt>
                <c:pt idx="2548">
                  <c:v>42053</c:v>
                </c:pt>
                <c:pt idx="2549">
                  <c:v>42052</c:v>
                </c:pt>
                <c:pt idx="2550">
                  <c:v>42051</c:v>
                </c:pt>
                <c:pt idx="2551">
                  <c:v>42048</c:v>
                </c:pt>
                <c:pt idx="2552">
                  <c:v>42047</c:v>
                </c:pt>
                <c:pt idx="2553">
                  <c:v>42046</c:v>
                </c:pt>
                <c:pt idx="2554">
                  <c:v>42045</c:v>
                </c:pt>
                <c:pt idx="2555">
                  <c:v>42044</c:v>
                </c:pt>
                <c:pt idx="2556">
                  <c:v>42041</c:v>
                </c:pt>
                <c:pt idx="2557">
                  <c:v>42040</c:v>
                </c:pt>
                <c:pt idx="2558">
                  <c:v>42039</c:v>
                </c:pt>
                <c:pt idx="2559">
                  <c:v>42038</c:v>
                </c:pt>
                <c:pt idx="2560">
                  <c:v>42037</c:v>
                </c:pt>
                <c:pt idx="2561">
                  <c:v>42034</c:v>
                </c:pt>
                <c:pt idx="2562">
                  <c:v>42033</c:v>
                </c:pt>
                <c:pt idx="2563">
                  <c:v>42032</c:v>
                </c:pt>
                <c:pt idx="2564">
                  <c:v>42031</c:v>
                </c:pt>
                <c:pt idx="2565">
                  <c:v>42030</c:v>
                </c:pt>
                <c:pt idx="2566">
                  <c:v>42027</c:v>
                </c:pt>
                <c:pt idx="2567">
                  <c:v>42026</c:v>
                </c:pt>
                <c:pt idx="2568">
                  <c:v>42025</c:v>
                </c:pt>
                <c:pt idx="2569">
                  <c:v>42024</c:v>
                </c:pt>
                <c:pt idx="2570">
                  <c:v>42023</c:v>
                </c:pt>
                <c:pt idx="2571">
                  <c:v>42020</c:v>
                </c:pt>
                <c:pt idx="2572">
                  <c:v>42019</c:v>
                </c:pt>
                <c:pt idx="2573">
                  <c:v>42018</c:v>
                </c:pt>
                <c:pt idx="2574">
                  <c:v>42017</c:v>
                </c:pt>
                <c:pt idx="2575">
                  <c:v>42016</c:v>
                </c:pt>
                <c:pt idx="2576">
                  <c:v>42013</c:v>
                </c:pt>
                <c:pt idx="2577">
                  <c:v>42012</c:v>
                </c:pt>
                <c:pt idx="2578">
                  <c:v>42011</c:v>
                </c:pt>
                <c:pt idx="2579">
                  <c:v>42010</c:v>
                </c:pt>
                <c:pt idx="2580">
                  <c:v>42009</c:v>
                </c:pt>
                <c:pt idx="2581">
                  <c:v>42006</c:v>
                </c:pt>
                <c:pt idx="2582">
                  <c:v>42005</c:v>
                </c:pt>
                <c:pt idx="2583">
                  <c:v>42004</c:v>
                </c:pt>
                <c:pt idx="2584">
                  <c:v>42003</c:v>
                </c:pt>
                <c:pt idx="2585">
                  <c:v>42002</c:v>
                </c:pt>
                <c:pt idx="2586">
                  <c:v>41999</c:v>
                </c:pt>
                <c:pt idx="2587">
                  <c:v>41998</c:v>
                </c:pt>
                <c:pt idx="2588">
                  <c:v>41997</c:v>
                </c:pt>
                <c:pt idx="2589">
                  <c:v>41996</c:v>
                </c:pt>
                <c:pt idx="2590">
                  <c:v>41995</c:v>
                </c:pt>
                <c:pt idx="2591">
                  <c:v>41992</c:v>
                </c:pt>
                <c:pt idx="2592">
                  <c:v>41991</c:v>
                </c:pt>
                <c:pt idx="2593">
                  <c:v>41990</c:v>
                </c:pt>
                <c:pt idx="2594">
                  <c:v>41989</c:v>
                </c:pt>
                <c:pt idx="2595">
                  <c:v>41988</c:v>
                </c:pt>
                <c:pt idx="2596">
                  <c:v>41985</c:v>
                </c:pt>
                <c:pt idx="2597">
                  <c:v>41984</c:v>
                </c:pt>
                <c:pt idx="2598">
                  <c:v>41983</c:v>
                </c:pt>
                <c:pt idx="2599">
                  <c:v>41982</c:v>
                </c:pt>
                <c:pt idx="2600">
                  <c:v>41981</c:v>
                </c:pt>
                <c:pt idx="2601">
                  <c:v>41978</c:v>
                </c:pt>
                <c:pt idx="2602">
                  <c:v>41977</c:v>
                </c:pt>
                <c:pt idx="2603">
                  <c:v>41976</c:v>
                </c:pt>
                <c:pt idx="2604">
                  <c:v>41975</c:v>
                </c:pt>
                <c:pt idx="2605">
                  <c:v>41974</c:v>
                </c:pt>
                <c:pt idx="2606">
                  <c:v>41971</c:v>
                </c:pt>
                <c:pt idx="2607">
                  <c:v>41970</c:v>
                </c:pt>
                <c:pt idx="2608">
                  <c:v>41969</c:v>
                </c:pt>
                <c:pt idx="2609">
                  <c:v>41968</c:v>
                </c:pt>
              </c:numCache>
            </c:numRef>
          </c:cat>
          <c:val>
            <c:numRef>
              <c:f>Sheet1!$G$7:$G$2616</c:f>
              <c:numCache>
                <c:formatCode>General</c:formatCode>
                <c:ptCount val="2610"/>
                <c:pt idx="0">
                  <c:v>114.1092</c:v>
                </c:pt>
                <c:pt idx="1">
                  <c:v>114.55329999999999</c:v>
                </c:pt>
                <c:pt idx="2">
                  <c:v>114.14109999999999</c:v>
                </c:pt>
                <c:pt idx="3">
                  <c:v>114.1014</c:v>
                </c:pt>
                <c:pt idx="4">
                  <c:v>113.7253</c:v>
                </c:pt>
                <c:pt idx="5">
                  <c:v>113.82089999999999</c:v>
                </c:pt>
                <c:pt idx="6">
                  <c:v>114.0652</c:v>
                </c:pt>
                <c:pt idx="7">
                  <c:v>114.1315</c:v>
                </c:pt>
                <c:pt idx="8">
                  <c:v>114.0501</c:v>
                </c:pt>
                <c:pt idx="9">
                  <c:v>113.94459999999999</c:v>
                </c:pt>
                <c:pt idx="10">
                  <c:v>112.7556</c:v>
                </c:pt>
                <c:pt idx="11">
                  <c:v>112.7556</c:v>
                </c:pt>
                <c:pt idx="12">
                  <c:v>112.21469999999999</c:v>
                </c:pt>
                <c:pt idx="13">
                  <c:v>113.0612</c:v>
                </c:pt>
                <c:pt idx="14">
                  <c:v>112.0342</c:v>
                </c:pt>
                <c:pt idx="15">
                  <c:v>111.85769999999999</c:v>
                </c:pt>
                <c:pt idx="16">
                  <c:v>112.1473</c:v>
                </c:pt>
                <c:pt idx="17">
                  <c:v>112.0849</c:v>
                </c:pt>
                <c:pt idx="18">
                  <c:v>112.2567</c:v>
                </c:pt>
                <c:pt idx="19">
                  <c:v>112.28189999999999</c:v>
                </c:pt>
                <c:pt idx="20">
                  <c:v>112.1704</c:v>
                </c:pt>
                <c:pt idx="21">
                  <c:v>112.07680000000001</c:v>
                </c:pt>
                <c:pt idx="22">
                  <c:v>111.9785</c:v>
                </c:pt>
                <c:pt idx="23">
                  <c:v>112.1825</c:v>
                </c:pt>
                <c:pt idx="24">
                  <c:v>111.8129</c:v>
                </c:pt>
                <c:pt idx="25">
                  <c:v>111.8017</c:v>
                </c:pt>
                <c:pt idx="26">
                  <c:v>111.34869999999999</c:v>
                </c:pt>
                <c:pt idx="27">
                  <c:v>111.5992</c:v>
                </c:pt>
                <c:pt idx="28">
                  <c:v>111.4439</c:v>
                </c:pt>
                <c:pt idx="29">
                  <c:v>111.1503</c:v>
                </c:pt>
                <c:pt idx="30">
                  <c:v>110.57380000000001</c:v>
                </c:pt>
                <c:pt idx="31">
                  <c:v>110.57380000000001</c:v>
                </c:pt>
                <c:pt idx="32">
                  <c:v>110.76909999999999</c:v>
                </c:pt>
                <c:pt idx="33">
                  <c:v>110.5723</c:v>
                </c:pt>
                <c:pt idx="34">
                  <c:v>110.42189999999999</c:v>
                </c:pt>
                <c:pt idx="35">
                  <c:v>110.149</c:v>
                </c:pt>
                <c:pt idx="36">
                  <c:v>109.98520000000001</c:v>
                </c:pt>
                <c:pt idx="37">
                  <c:v>109.8899</c:v>
                </c:pt>
                <c:pt idx="38">
                  <c:v>109.4342</c:v>
                </c:pt>
                <c:pt idx="39">
                  <c:v>109.4873</c:v>
                </c:pt>
                <c:pt idx="40">
                  <c:v>109.00579999999999</c:v>
                </c:pt>
                <c:pt idx="41">
                  <c:v>108.889</c:v>
                </c:pt>
                <c:pt idx="42">
                  <c:v>109.0065</c:v>
                </c:pt>
                <c:pt idx="43">
                  <c:v>109.0446</c:v>
                </c:pt>
                <c:pt idx="44">
                  <c:v>109.06959999999999</c:v>
                </c:pt>
                <c:pt idx="45">
                  <c:v>109.43429999999999</c:v>
                </c:pt>
                <c:pt idx="46">
                  <c:v>109.4233</c:v>
                </c:pt>
                <c:pt idx="47">
                  <c:v>109.3349</c:v>
                </c:pt>
                <c:pt idx="48">
                  <c:v>109.36279999999999</c:v>
                </c:pt>
                <c:pt idx="49">
                  <c:v>109.3973</c:v>
                </c:pt>
                <c:pt idx="50">
                  <c:v>109.3901</c:v>
                </c:pt>
                <c:pt idx="51">
                  <c:v>109.4937</c:v>
                </c:pt>
                <c:pt idx="52">
                  <c:v>110.251</c:v>
                </c:pt>
                <c:pt idx="53">
                  <c:v>110.5188</c:v>
                </c:pt>
                <c:pt idx="54">
                  <c:v>110.6747</c:v>
                </c:pt>
                <c:pt idx="55">
                  <c:v>110.45950000000001</c:v>
                </c:pt>
                <c:pt idx="56">
                  <c:v>110.08329999999999</c:v>
                </c:pt>
                <c:pt idx="57">
                  <c:v>110.20829999999999</c:v>
                </c:pt>
                <c:pt idx="58">
                  <c:v>110.304</c:v>
                </c:pt>
                <c:pt idx="59">
                  <c:v>110.6114</c:v>
                </c:pt>
                <c:pt idx="60">
                  <c:v>110.1366</c:v>
                </c:pt>
                <c:pt idx="61">
                  <c:v>110.1366</c:v>
                </c:pt>
                <c:pt idx="62">
                  <c:v>110.191</c:v>
                </c:pt>
                <c:pt idx="63">
                  <c:v>109.8952</c:v>
                </c:pt>
                <c:pt idx="64">
                  <c:v>109.91459999999999</c:v>
                </c:pt>
                <c:pt idx="65">
                  <c:v>109.6418</c:v>
                </c:pt>
                <c:pt idx="66">
                  <c:v>109.5599</c:v>
                </c:pt>
                <c:pt idx="67">
                  <c:v>110.3224</c:v>
                </c:pt>
                <c:pt idx="68">
                  <c:v>109.9588</c:v>
                </c:pt>
                <c:pt idx="69">
                  <c:v>109.74639999999999</c:v>
                </c:pt>
                <c:pt idx="70">
                  <c:v>109.8565</c:v>
                </c:pt>
                <c:pt idx="71">
                  <c:v>110.4173</c:v>
                </c:pt>
                <c:pt idx="72">
                  <c:v>110.5427</c:v>
                </c:pt>
                <c:pt idx="73">
                  <c:v>110.3085</c:v>
                </c:pt>
                <c:pt idx="74">
                  <c:v>110.82250000000001</c:v>
                </c:pt>
                <c:pt idx="75">
                  <c:v>111.0031</c:v>
                </c:pt>
                <c:pt idx="76">
                  <c:v>110.7696</c:v>
                </c:pt>
                <c:pt idx="77">
                  <c:v>111.2038</c:v>
                </c:pt>
                <c:pt idx="78">
                  <c:v>111.29730000000001</c:v>
                </c:pt>
                <c:pt idx="79">
                  <c:v>111.2957</c:v>
                </c:pt>
                <c:pt idx="80">
                  <c:v>111.0612</c:v>
                </c:pt>
                <c:pt idx="81">
                  <c:v>111.18600000000001</c:v>
                </c:pt>
                <c:pt idx="82">
                  <c:v>111.6786</c:v>
                </c:pt>
                <c:pt idx="83">
                  <c:v>111.5476</c:v>
                </c:pt>
                <c:pt idx="84">
                  <c:v>112.1456</c:v>
                </c:pt>
                <c:pt idx="85">
                  <c:v>112.0034</c:v>
                </c:pt>
                <c:pt idx="86">
                  <c:v>111.6657</c:v>
                </c:pt>
                <c:pt idx="87">
                  <c:v>111.5224</c:v>
                </c:pt>
                <c:pt idx="88">
                  <c:v>111.57859999999999</c:v>
                </c:pt>
                <c:pt idx="89">
                  <c:v>111.5196</c:v>
                </c:pt>
                <c:pt idx="90">
                  <c:v>111.40989999999999</c:v>
                </c:pt>
                <c:pt idx="91">
                  <c:v>111.3824</c:v>
                </c:pt>
                <c:pt idx="92">
                  <c:v>111.0651</c:v>
                </c:pt>
                <c:pt idx="93">
                  <c:v>110.8531</c:v>
                </c:pt>
                <c:pt idx="94">
                  <c:v>111.10169999999999</c:v>
                </c:pt>
                <c:pt idx="95">
                  <c:v>110.9945</c:v>
                </c:pt>
                <c:pt idx="96">
                  <c:v>110.8244</c:v>
                </c:pt>
                <c:pt idx="97">
                  <c:v>111.0724</c:v>
                </c:pt>
                <c:pt idx="98">
                  <c:v>111.4842</c:v>
                </c:pt>
                <c:pt idx="99">
                  <c:v>111.61190000000001</c:v>
                </c:pt>
                <c:pt idx="100">
                  <c:v>111.54770000000001</c:v>
                </c:pt>
                <c:pt idx="101">
                  <c:v>111.6738</c:v>
                </c:pt>
                <c:pt idx="102">
                  <c:v>111.8489</c:v>
                </c:pt>
                <c:pt idx="103">
                  <c:v>111.8489</c:v>
                </c:pt>
                <c:pt idx="104">
                  <c:v>112.23950000000001</c:v>
                </c:pt>
                <c:pt idx="105">
                  <c:v>112.37560000000001</c:v>
                </c:pt>
                <c:pt idx="106">
                  <c:v>112.17319999999999</c:v>
                </c:pt>
                <c:pt idx="107">
                  <c:v>112.2889</c:v>
                </c:pt>
                <c:pt idx="108">
                  <c:v>112.2358</c:v>
                </c:pt>
                <c:pt idx="109">
                  <c:v>111.9833</c:v>
                </c:pt>
                <c:pt idx="110">
                  <c:v>111.77889999999999</c:v>
                </c:pt>
                <c:pt idx="111">
                  <c:v>112.1193</c:v>
                </c:pt>
                <c:pt idx="112">
                  <c:v>112.1294</c:v>
                </c:pt>
                <c:pt idx="113">
                  <c:v>111.9396</c:v>
                </c:pt>
                <c:pt idx="114">
                  <c:v>111.9396</c:v>
                </c:pt>
                <c:pt idx="115">
                  <c:v>112.18089999999999</c:v>
                </c:pt>
                <c:pt idx="116">
                  <c:v>112.14360000000001</c:v>
                </c:pt>
                <c:pt idx="117">
                  <c:v>111.99769999999999</c:v>
                </c:pt>
                <c:pt idx="118">
                  <c:v>111.7373</c:v>
                </c:pt>
                <c:pt idx="119">
                  <c:v>112.06310000000001</c:v>
                </c:pt>
                <c:pt idx="120">
                  <c:v>111.9118</c:v>
                </c:pt>
                <c:pt idx="121">
                  <c:v>111.6465</c:v>
                </c:pt>
                <c:pt idx="122">
                  <c:v>110.6837</c:v>
                </c:pt>
                <c:pt idx="123">
                  <c:v>110.79559999999999</c:v>
                </c:pt>
                <c:pt idx="124">
                  <c:v>110.8759</c:v>
                </c:pt>
                <c:pt idx="125">
                  <c:v>110.63800000000001</c:v>
                </c:pt>
                <c:pt idx="126">
                  <c:v>110.337</c:v>
                </c:pt>
                <c:pt idx="127">
                  <c:v>110.3057</c:v>
                </c:pt>
                <c:pt idx="128">
                  <c:v>110.51690000000001</c:v>
                </c:pt>
                <c:pt idx="129">
                  <c:v>109.9551</c:v>
                </c:pt>
                <c:pt idx="130">
                  <c:v>110.0513</c:v>
                </c:pt>
                <c:pt idx="131">
                  <c:v>110.0513</c:v>
                </c:pt>
                <c:pt idx="132">
                  <c:v>110.1878</c:v>
                </c:pt>
                <c:pt idx="133">
                  <c:v>110.0069</c:v>
                </c:pt>
                <c:pt idx="134">
                  <c:v>109.791</c:v>
                </c:pt>
                <c:pt idx="135">
                  <c:v>109.74250000000001</c:v>
                </c:pt>
                <c:pt idx="136">
                  <c:v>109.6537</c:v>
                </c:pt>
                <c:pt idx="137">
                  <c:v>109.70359999999999</c:v>
                </c:pt>
                <c:pt idx="138">
                  <c:v>109.736</c:v>
                </c:pt>
                <c:pt idx="139">
                  <c:v>110.24290000000001</c:v>
                </c:pt>
                <c:pt idx="140">
                  <c:v>110.3248</c:v>
                </c:pt>
                <c:pt idx="141">
                  <c:v>110.32599999999999</c:v>
                </c:pt>
                <c:pt idx="142">
                  <c:v>110.50790000000001</c:v>
                </c:pt>
                <c:pt idx="143">
                  <c:v>110.5462</c:v>
                </c:pt>
                <c:pt idx="144">
                  <c:v>110.2384</c:v>
                </c:pt>
                <c:pt idx="145">
                  <c:v>110.1846</c:v>
                </c:pt>
                <c:pt idx="146">
                  <c:v>110.3265</c:v>
                </c:pt>
                <c:pt idx="147">
                  <c:v>110.65430000000001</c:v>
                </c:pt>
                <c:pt idx="148">
                  <c:v>111.1454</c:v>
                </c:pt>
                <c:pt idx="149">
                  <c:v>111.0667</c:v>
                </c:pt>
                <c:pt idx="150">
                  <c:v>110.83450000000001</c:v>
                </c:pt>
                <c:pt idx="151">
                  <c:v>111.1375</c:v>
                </c:pt>
                <c:pt idx="152">
                  <c:v>111.0153</c:v>
                </c:pt>
                <c:pt idx="153">
                  <c:v>111.0851</c:v>
                </c:pt>
                <c:pt idx="154">
                  <c:v>110.8571</c:v>
                </c:pt>
                <c:pt idx="155">
                  <c:v>111.2499</c:v>
                </c:pt>
                <c:pt idx="156">
                  <c:v>111.14530000000001</c:v>
                </c:pt>
                <c:pt idx="157">
                  <c:v>111.09480000000001</c:v>
                </c:pt>
                <c:pt idx="158">
                  <c:v>111.07080000000001</c:v>
                </c:pt>
                <c:pt idx="159">
                  <c:v>111.19070000000001</c:v>
                </c:pt>
                <c:pt idx="160">
                  <c:v>110.70610000000001</c:v>
                </c:pt>
                <c:pt idx="161">
                  <c:v>110.5736</c:v>
                </c:pt>
                <c:pt idx="162">
                  <c:v>109.99299999999999</c:v>
                </c:pt>
                <c:pt idx="163">
                  <c:v>109.90470000000001</c:v>
                </c:pt>
                <c:pt idx="164">
                  <c:v>109.2521</c:v>
                </c:pt>
                <c:pt idx="165">
                  <c:v>109.2856</c:v>
                </c:pt>
                <c:pt idx="166">
                  <c:v>109.4875</c:v>
                </c:pt>
                <c:pt idx="167">
                  <c:v>109.32429999999999</c:v>
                </c:pt>
                <c:pt idx="168">
                  <c:v>109.5643</c:v>
                </c:pt>
                <c:pt idx="169">
                  <c:v>109.7171</c:v>
                </c:pt>
                <c:pt idx="170">
                  <c:v>109.8049</c:v>
                </c:pt>
                <c:pt idx="171">
                  <c:v>109.4806</c:v>
                </c:pt>
                <c:pt idx="172">
                  <c:v>109.50539999999999</c:v>
                </c:pt>
                <c:pt idx="173">
                  <c:v>109.4918</c:v>
                </c:pt>
                <c:pt idx="174">
                  <c:v>109.45140000000001</c:v>
                </c:pt>
                <c:pt idx="175">
                  <c:v>109.42449999999999</c:v>
                </c:pt>
                <c:pt idx="176">
                  <c:v>109.54810000000001</c:v>
                </c:pt>
                <c:pt idx="177">
                  <c:v>109.2346</c:v>
                </c:pt>
                <c:pt idx="178">
                  <c:v>109.35639999999999</c:v>
                </c:pt>
                <c:pt idx="179">
                  <c:v>109.38509999999999</c:v>
                </c:pt>
                <c:pt idx="180">
                  <c:v>109.0719</c:v>
                </c:pt>
                <c:pt idx="181">
                  <c:v>108.8685</c:v>
                </c:pt>
                <c:pt idx="182">
                  <c:v>108.804</c:v>
                </c:pt>
                <c:pt idx="183">
                  <c:v>108.5136</c:v>
                </c:pt>
                <c:pt idx="184">
                  <c:v>108.64919999999999</c:v>
                </c:pt>
                <c:pt idx="185">
                  <c:v>108.5382</c:v>
                </c:pt>
                <c:pt idx="186">
                  <c:v>108.50409999999999</c:v>
                </c:pt>
                <c:pt idx="187">
                  <c:v>108.74930000000001</c:v>
                </c:pt>
                <c:pt idx="188">
                  <c:v>108.9306</c:v>
                </c:pt>
                <c:pt idx="189">
                  <c:v>109.1472</c:v>
                </c:pt>
                <c:pt idx="190">
                  <c:v>109.1904</c:v>
                </c:pt>
                <c:pt idx="191">
                  <c:v>109.2991</c:v>
                </c:pt>
                <c:pt idx="192">
                  <c:v>109.2559</c:v>
                </c:pt>
                <c:pt idx="193">
                  <c:v>109.4362</c:v>
                </c:pt>
                <c:pt idx="194">
                  <c:v>109.24930000000001</c:v>
                </c:pt>
                <c:pt idx="195">
                  <c:v>109.3657</c:v>
                </c:pt>
                <c:pt idx="196">
                  <c:v>109.43389999999999</c:v>
                </c:pt>
                <c:pt idx="197">
                  <c:v>109.37269999999999</c:v>
                </c:pt>
                <c:pt idx="198">
                  <c:v>109.2931</c:v>
                </c:pt>
                <c:pt idx="199">
                  <c:v>109.23480000000001</c:v>
                </c:pt>
                <c:pt idx="200">
                  <c:v>109.3449</c:v>
                </c:pt>
                <c:pt idx="201">
                  <c:v>109.3449</c:v>
                </c:pt>
                <c:pt idx="202">
                  <c:v>109.4097</c:v>
                </c:pt>
                <c:pt idx="203">
                  <c:v>109.5692</c:v>
                </c:pt>
                <c:pt idx="204">
                  <c:v>109.7099</c:v>
                </c:pt>
                <c:pt idx="205">
                  <c:v>109.1931</c:v>
                </c:pt>
                <c:pt idx="206">
                  <c:v>109.2666</c:v>
                </c:pt>
                <c:pt idx="207">
                  <c:v>109.3528</c:v>
                </c:pt>
                <c:pt idx="208">
                  <c:v>109.12569999999999</c:v>
                </c:pt>
                <c:pt idx="209">
                  <c:v>109.2103</c:v>
                </c:pt>
                <c:pt idx="210">
                  <c:v>109.5416</c:v>
                </c:pt>
                <c:pt idx="211">
                  <c:v>109.11790000000001</c:v>
                </c:pt>
                <c:pt idx="212">
                  <c:v>108.7777</c:v>
                </c:pt>
                <c:pt idx="213">
                  <c:v>108.6764</c:v>
                </c:pt>
                <c:pt idx="214">
                  <c:v>108.93640000000001</c:v>
                </c:pt>
                <c:pt idx="215">
                  <c:v>109.0864</c:v>
                </c:pt>
                <c:pt idx="216">
                  <c:v>108.9162</c:v>
                </c:pt>
                <c:pt idx="217">
                  <c:v>109.0825</c:v>
                </c:pt>
                <c:pt idx="218">
                  <c:v>108.7079</c:v>
                </c:pt>
                <c:pt idx="219">
                  <c:v>109.28579999999999</c:v>
                </c:pt>
                <c:pt idx="220">
                  <c:v>108.95099999999999</c:v>
                </c:pt>
                <c:pt idx="221">
                  <c:v>108.9388</c:v>
                </c:pt>
                <c:pt idx="222">
                  <c:v>109.12569999999999</c:v>
                </c:pt>
                <c:pt idx="223">
                  <c:v>109.2482</c:v>
                </c:pt>
                <c:pt idx="224">
                  <c:v>108.947</c:v>
                </c:pt>
                <c:pt idx="225">
                  <c:v>107.8841</c:v>
                </c:pt>
                <c:pt idx="226">
                  <c:v>107.8841</c:v>
                </c:pt>
                <c:pt idx="227">
                  <c:v>108.23739999999999</c:v>
                </c:pt>
                <c:pt idx="228">
                  <c:v>108.17189999999999</c:v>
                </c:pt>
                <c:pt idx="229">
                  <c:v>108.1572</c:v>
                </c:pt>
                <c:pt idx="230">
                  <c:v>107.68770000000001</c:v>
                </c:pt>
                <c:pt idx="231">
                  <c:v>107.6863</c:v>
                </c:pt>
                <c:pt idx="232">
                  <c:v>107.97750000000001</c:v>
                </c:pt>
                <c:pt idx="233">
                  <c:v>107.99079999999999</c:v>
                </c:pt>
                <c:pt idx="234">
                  <c:v>107.6765</c:v>
                </c:pt>
                <c:pt idx="235">
                  <c:v>107.05929999999999</c:v>
                </c:pt>
                <c:pt idx="236">
                  <c:v>107.05929999999999</c:v>
                </c:pt>
                <c:pt idx="237">
                  <c:v>106.92910000000001</c:v>
                </c:pt>
                <c:pt idx="238">
                  <c:v>107.1268</c:v>
                </c:pt>
                <c:pt idx="239">
                  <c:v>107.39239999999999</c:v>
                </c:pt>
                <c:pt idx="240">
                  <c:v>107.2854</c:v>
                </c:pt>
                <c:pt idx="241">
                  <c:v>107.2854</c:v>
                </c:pt>
                <c:pt idx="242">
                  <c:v>107.6832</c:v>
                </c:pt>
                <c:pt idx="243">
                  <c:v>107.788</c:v>
                </c:pt>
                <c:pt idx="244">
                  <c:v>107.845</c:v>
                </c:pt>
                <c:pt idx="245">
                  <c:v>108.154</c:v>
                </c:pt>
                <c:pt idx="246">
                  <c:v>107.9563</c:v>
                </c:pt>
                <c:pt idx="247">
                  <c:v>107.7441</c:v>
                </c:pt>
                <c:pt idx="248">
                  <c:v>109.1872</c:v>
                </c:pt>
                <c:pt idx="249">
                  <c:v>108.904</c:v>
                </c:pt>
                <c:pt idx="250">
                  <c:v>109.12569999999999</c:v>
                </c:pt>
                <c:pt idx="251">
                  <c:v>108.8724</c:v>
                </c:pt>
                <c:pt idx="252">
                  <c:v>108.7291</c:v>
                </c:pt>
                <c:pt idx="253">
                  <c:v>108.7814</c:v>
                </c:pt>
                <c:pt idx="254">
                  <c:v>108.9342</c:v>
                </c:pt>
                <c:pt idx="255">
                  <c:v>108.6956</c:v>
                </c:pt>
                <c:pt idx="256">
                  <c:v>108.315</c:v>
                </c:pt>
                <c:pt idx="257">
                  <c:v>108.5728</c:v>
                </c:pt>
                <c:pt idx="258">
                  <c:v>108.07210000000001</c:v>
                </c:pt>
                <c:pt idx="259">
                  <c:v>108.1066</c:v>
                </c:pt>
                <c:pt idx="260">
                  <c:v>108.4716</c:v>
                </c:pt>
                <c:pt idx="261">
                  <c:v>108.4473</c:v>
                </c:pt>
                <c:pt idx="262">
                  <c:v>108.8321</c:v>
                </c:pt>
                <c:pt idx="263">
                  <c:v>108.8321</c:v>
                </c:pt>
                <c:pt idx="264">
                  <c:v>108.3535</c:v>
                </c:pt>
                <c:pt idx="265">
                  <c:v>108.4786</c:v>
                </c:pt>
                <c:pt idx="266">
                  <c:v>108.96939999999999</c:v>
                </c:pt>
                <c:pt idx="267">
                  <c:v>109.2655</c:v>
                </c:pt>
                <c:pt idx="268">
                  <c:v>109.27079999999999</c:v>
                </c:pt>
                <c:pt idx="269">
                  <c:v>109.50709999999999</c:v>
                </c:pt>
                <c:pt idx="270">
                  <c:v>110.51779999999999</c:v>
                </c:pt>
                <c:pt idx="271">
                  <c:v>110.6503</c:v>
                </c:pt>
                <c:pt idx="272">
                  <c:v>110.13209999999999</c:v>
                </c:pt>
                <c:pt idx="273">
                  <c:v>110.13939999999999</c:v>
                </c:pt>
                <c:pt idx="274">
                  <c:v>110.09099999999999</c:v>
                </c:pt>
                <c:pt idx="275">
                  <c:v>109.8121</c:v>
                </c:pt>
                <c:pt idx="276">
                  <c:v>110</c:v>
                </c:pt>
                <c:pt idx="277">
                  <c:v>110.83620000000001</c:v>
                </c:pt>
                <c:pt idx="278">
                  <c:v>111.49339999999999</c:v>
                </c:pt>
                <c:pt idx="279">
                  <c:v>111.4508</c:v>
                </c:pt>
                <c:pt idx="280">
                  <c:v>111.2402</c:v>
                </c:pt>
                <c:pt idx="281">
                  <c:v>111.41930000000001</c:v>
                </c:pt>
                <c:pt idx="282">
                  <c:v>111.7424</c:v>
                </c:pt>
                <c:pt idx="283">
                  <c:v>111.5973</c:v>
                </c:pt>
                <c:pt idx="284">
                  <c:v>111.4735</c:v>
                </c:pt>
                <c:pt idx="285">
                  <c:v>111.3524</c:v>
                </c:pt>
                <c:pt idx="286">
                  <c:v>111.45820000000001</c:v>
                </c:pt>
                <c:pt idx="287">
                  <c:v>111.66800000000001</c:v>
                </c:pt>
                <c:pt idx="288">
                  <c:v>111.63339999999999</c:v>
                </c:pt>
                <c:pt idx="289">
                  <c:v>111.14449999999999</c:v>
                </c:pt>
                <c:pt idx="290">
                  <c:v>111.2272</c:v>
                </c:pt>
                <c:pt idx="291">
                  <c:v>111.37569999999999</c:v>
                </c:pt>
                <c:pt idx="292">
                  <c:v>111.13</c:v>
                </c:pt>
                <c:pt idx="293">
                  <c:v>110.804</c:v>
                </c:pt>
                <c:pt idx="294">
                  <c:v>110.9691</c:v>
                </c:pt>
                <c:pt idx="295">
                  <c:v>111.5432</c:v>
                </c:pt>
                <c:pt idx="296">
                  <c:v>111.5432</c:v>
                </c:pt>
                <c:pt idx="297">
                  <c:v>111.57769999999999</c:v>
                </c:pt>
                <c:pt idx="298">
                  <c:v>111.4335</c:v>
                </c:pt>
                <c:pt idx="299">
                  <c:v>111.4145</c:v>
                </c:pt>
                <c:pt idx="300">
                  <c:v>110.9713</c:v>
                </c:pt>
                <c:pt idx="301">
                  <c:v>110.3608</c:v>
                </c:pt>
                <c:pt idx="302">
                  <c:v>110.663</c:v>
                </c:pt>
                <c:pt idx="303">
                  <c:v>110.88</c:v>
                </c:pt>
                <c:pt idx="304">
                  <c:v>110.5994</c:v>
                </c:pt>
                <c:pt idx="305">
                  <c:v>110.3104</c:v>
                </c:pt>
                <c:pt idx="306">
                  <c:v>109.7102</c:v>
                </c:pt>
                <c:pt idx="307">
                  <c:v>109.8797</c:v>
                </c:pt>
                <c:pt idx="308">
                  <c:v>109.34269999999999</c:v>
                </c:pt>
                <c:pt idx="309">
                  <c:v>109.58110000000001</c:v>
                </c:pt>
                <c:pt idx="310">
                  <c:v>109.6713</c:v>
                </c:pt>
                <c:pt idx="311">
                  <c:v>109.5573</c:v>
                </c:pt>
                <c:pt idx="312">
                  <c:v>109.5206</c:v>
                </c:pt>
                <c:pt idx="313">
                  <c:v>109.3647</c:v>
                </c:pt>
                <c:pt idx="314">
                  <c:v>109.6661</c:v>
                </c:pt>
                <c:pt idx="315">
                  <c:v>109.63800000000001</c:v>
                </c:pt>
                <c:pt idx="316">
                  <c:v>110.16459999999999</c:v>
                </c:pt>
                <c:pt idx="317">
                  <c:v>110.10509999999999</c:v>
                </c:pt>
                <c:pt idx="318">
                  <c:v>110.1053</c:v>
                </c:pt>
                <c:pt idx="319">
                  <c:v>109.8143</c:v>
                </c:pt>
                <c:pt idx="320">
                  <c:v>109.00530000000001</c:v>
                </c:pt>
                <c:pt idx="321">
                  <c:v>109.00530000000001</c:v>
                </c:pt>
                <c:pt idx="322">
                  <c:v>108.52589999999999</c:v>
                </c:pt>
                <c:pt idx="323">
                  <c:v>108.3587</c:v>
                </c:pt>
                <c:pt idx="324">
                  <c:v>108.76439999999999</c:v>
                </c:pt>
                <c:pt idx="325">
                  <c:v>108.78660000000001</c:v>
                </c:pt>
                <c:pt idx="326">
                  <c:v>108.9555</c:v>
                </c:pt>
                <c:pt idx="327">
                  <c:v>108.5702</c:v>
                </c:pt>
                <c:pt idx="328">
                  <c:v>108.6332</c:v>
                </c:pt>
                <c:pt idx="329">
                  <c:v>108.8741</c:v>
                </c:pt>
                <c:pt idx="330">
                  <c:v>108.90349999999999</c:v>
                </c:pt>
                <c:pt idx="331">
                  <c:v>108.9063</c:v>
                </c:pt>
                <c:pt idx="332">
                  <c:v>108.9243</c:v>
                </c:pt>
                <c:pt idx="333">
                  <c:v>108.807</c:v>
                </c:pt>
                <c:pt idx="334">
                  <c:v>108.794</c:v>
                </c:pt>
                <c:pt idx="335">
                  <c:v>108.5562</c:v>
                </c:pt>
                <c:pt idx="336">
                  <c:v>108.0498</c:v>
                </c:pt>
                <c:pt idx="337">
                  <c:v>107.75879999999999</c:v>
                </c:pt>
                <c:pt idx="338">
                  <c:v>107.9229</c:v>
                </c:pt>
                <c:pt idx="339">
                  <c:v>108.22450000000001</c:v>
                </c:pt>
                <c:pt idx="340">
                  <c:v>107.64400000000001</c:v>
                </c:pt>
                <c:pt idx="341">
                  <c:v>107.37560000000001</c:v>
                </c:pt>
                <c:pt idx="342">
                  <c:v>107.82210000000001</c:v>
                </c:pt>
                <c:pt idx="343">
                  <c:v>107.6614</c:v>
                </c:pt>
                <c:pt idx="344">
                  <c:v>107.1644</c:v>
                </c:pt>
                <c:pt idx="345">
                  <c:v>106.6185</c:v>
                </c:pt>
                <c:pt idx="346">
                  <c:v>106.46680000000001</c:v>
                </c:pt>
                <c:pt idx="347">
                  <c:v>106.7657</c:v>
                </c:pt>
                <c:pt idx="348">
                  <c:v>106.5427</c:v>
                </c:pt>
                <c:pt idx="349">
                  <c:v>106.6152</c:v>
                </c:pt>
                <c:pt idx="350">
                  <c:v>106.6559</c:v>
                </c:pt>
                <c:pt idx="351">
                  <c:v>106.7107</c:v>
                </c:pt>
                <c:pt idx="352">
                  <c:v>106.3479</c:v>
                </c:pt>
                <c:pt idx="353">
                  <c:v>106.2762</c:v>
                </c:pt>
                <c:pt idx="354">
                  <c:v>105.8586</c:v>
                </c:pt>
                <c:pt idx="355">
                  <c:v>106.08280000000001</c:v>
                </c:pt>
                <c:pt idx="356">
                  <c:v>105.8741</c:v>
                </c:pt>
                <c:pt idx="357">
                  <c:v>106.0609</c:v>
                </c:pt>
                <c:pt idx="358">
                  <c:v>106.3848</c:v>
                </c:pt>
                <c:pt idx="359">
                  <c:v>107.3929</c:v>
                </c:pt>
                <c:pt idx="360">
                  <c:v>107.6507</c:v>
                </c:pt>
                <c:pt idx="361">
                  <c:v>107.6801</c:v>
                </c:pt>
                <c:pt idx="362">
                  <c:v>108.3749</c:v>
                </c:pt>
                <c:pt idx="363">
                  <c:v>107.8459</c:v>
                </c:pt>
                <c:pt idx="364">
                  <c:v>107.83750000000001</c:v>
                </c:pt>
                <c:pt idx="365">
                  <c:v>107.83750000000001</c:v>
                </c:pt>
                <c:pt idx="366">
                  <c:v>108.1422</c:v>
                </c:pt>
                <c:pt idx="367">
                  <c:v>108.0763</c:v>
                </c:pt>
                <c:pt idx="368">
                  <c:v>107.8912</c:v>
                </c:pt>
                <c:pt idx="369">
                  <c:v>107.4768</c:v>
                </c:pt>
                <c:pt idx="370">
                  <c:v>107.7136</c:v>
                </c:pt>
                <c:pt idx="371">
                  <c:v>107.57599999999999</c:v>
                </c:pt>
                <c:pt idx="372">
                  <c:v>107.2983</c:v>
                </c:pt>
                <c:pt idx="373">
                  <c:v>107.19929999999999</c:v>
                </c:pt>
                <c:pt idx="374">
                  <c:v>107.31480000000001</c:v>
                </c:pt>
                <c:pt idx="375">
                  <c:v>106.8035</c:v>
                </c:pt>
                <c:pt idx="376">
                  <c:v>106.8035</c:v>
                </c:pt>
                <c:pt idx="377">
                  <c:v>106.9622</c:v>
                </c:pt>
                <c:pt idx="378">
                  <c:v>107.0463</c:v>
                </c:pt>
                <c:pt idx="379">
                  <c:v>107.3904</c:v>
                </c:pt>
                <c:pt idx="380">
                  <c:v>107.6532</c:v>
                </c:pt>
                <c:pt idx="381">
                  <c:v>107.4667</c:v>
                </c:pt>
                <c:pt idx="382">
                  <c:v>107.5859</c:v>
                </c:pt>
                <c:pt idx="383">
                  <c:v>107.77719999999999</c:v>
                </c:pt>
                <c:pt idx="384">
                  <c:v>107.8793</c:v>
                </c:pt>
                <c:pt idx="385">
                  <c:v>107.8092</c:v>
                </c:pt>
                <c:pt idx="386">
                  <c:v>107.7234</c:v>
                </c:pt>
                <c:pt idx="387">
                  <c:v>107.7984</c:v>
                </c:pt>
                <c:pt idx="388">
                  <c:v>108.3866</c:v>
                </c:pt>
                <c:pt idx="389">
                  <c:v>108.0455</c:v>
                </c:pt>
                <c:pt idx="390">
                  <c:v>108.1452</c:v>
                </c:pt>
                <c:pt idx="391">
                  <c:v>108.1452</c:v>
                </c:pt>
                <c:pt idx="392">
                  <c:v>108.1559</c:v>
                </c:pt>
                <c:pt idx="393">
                  <c:v>107.9432</c:v>
                </c:pt>
                <c:pt idx="394">
                  <c:v>107.8539</c:v>
                </c:pt>
                <c:pt idx="395">
                  <c:v>107.62269999999999</c:v>
                </c:pt>
                <c:pt idx="396">
                  <c:v>107.5278</c:v>
                </c:pt>
                <c:pt idx="397">
                  <c:v>107.7068</c:v>
                </c:pt>
                <c:pt idx="398">
                  <c:v>107.1541</c:v>
                </c:pt>
                <c:pt idx="399">
                  <c:v>106.8224</c:v>
                </c:pt>
                <c:pt idx="400">
                  <c:v>106.76600000000001</c:v>
                </c:pt>
                <c:pt idx="401">
                  <c:v>106.83669999999999</c:v>
                </c:pt>
                <c:pt idx="402">
                  <c:v>106.61920000000001</c:v>
                </c:pt>
                <c:pt idx="403">
                  <c:v>106.1832</c:v>
                </c:pt>
                <c:pt idx="404">
                  <c:v>106.3918</c:v>
                </c:pt>
                <c:pt idx="405">
                  <c:v>106.2183</c:v>
                </c:pt>
                <c:pt idx="406">
                  <c:v>106.2812</c:v>
                </c:pt>
                <c:pt idx="407">
                  <c:v>106.50709999999999</c:v>
                </c:pt>
                <c:pt idx="408">
                  <c:v>106.5441</c:v>
                </c:pt>
                <c:pt idx="409">
                  <c:v>106.91289999999999</c:v>
                </c:pt>
                <c:pt idx="410">
                  <c:v>106.7714</c:v>
                </c:pt>
                <c:pt idx="411">
                  <c:v>106.7816</c:v>
                </c:pt>
                <c:pt idx="412">
                  <c:v>106.77849999999999</c:v>
                </c:pt>
                <c:pt idx="413">
                  <c:v>106.73560000000001</c:v>
                </c:pt>
                <c:pt idx="414">
                  <c:v>106.90860000000001</c:v>
                </c:pt>
                <c:pt idx="415">
                  <c:v>106.5629</c:v>
                </c:pt>
                <c:pt idx="416">
                  <c:v>106.72969999999999</c:v>
                </c:pt>
                <c:pt idx="417">
                  <c:v>106.4268</c:v>
                </c:pt>
                <c:pt idx="418">
                  <c:v>106.6147</c:v>
                </c:pt>
                <c:pt idx="419">
                  <c:v>106.4652</c:v>
                </c:pt>
                <c:pt idx="420">
                  <c:v>106.69799999999999</c:v>
                </c:pt>
                <c:pt idx="421">
                  <c:v>106.2367</c:v>
                </c:pt>
                <c:pt idx="422">
                  <c:v>105.9783</c:v>
                </c:pt>
                <c:pt idx="423">
                  <c:v>106.4012</c:v>
                </c:pt>
                <c:pt idx="424">
                  <c:v>106.78440000000001</c:v>
                </c:pt>
                <c:pt idx="425">
                  <c:v>107.01690000000001</c:v>
                </c:pt>
                <c:pt idx="426">
                  <c:v>106.5527</c:v>
                </c:pt>
                <c:pt idx="427">
                  <c:v>106.6058</c:v>
                </c:pt>
                <c:pt idx="428">
                  <c:v>106.6104</c:v>
                </c:pt>
                <c:pt idx="429">
                  <c:v>106.3005</c:v>
                </c:pt>
                <c:pt idx="430">
                  <c:v>106.5745</c:v>
                </c:pt>
                <c:pt idx="431">
                  <c:v>106.6748</c:v>
                </c:pt>
                <c:pt idx="432">
                  <c:v>106.5728</c:v>
                </c:pt>
                <c:pt idx="433">
                  <c:v>106.93</c:v>
                </c:pt>
                <c:pt idx="434">
                  <c:v>106.8002</c:v>
                </c:pt>
                <c:pt idx="435">
                  <c:v>107.22539999999999</c:v>
                </c:pt>
                <c:pt idx="436">
                  <c:v>107.3948</c:v>
                </c:pt>
                <c:pt idx="437">
                  <c:v>106.6703</c:v>
                </c:pt>
                <c:pt idx="438">
                  <c:v>107.49209999999999</c:v>
                </c:pt>
                <c:pt idx="439">
                  <c:v>107.6109</c:v>
                </c:pt>
                <c:pt idx="440">
                  <c:v>107.794</c:v>
                </c:pt>
                <c:pt idx="441">
                  <c:v>108.1825</c:v>
                </c:pt>
                <c:pt idx="442">
                  <c:v>108.4526</c:v>
                </c:pt>
                <c:pt idx="443">
                  <c:v>108.6344</c:v>
                </c:pt>
                <c:pt idx="444">
                  <c:v>107.8064</c:v>
                </c:pt>
                <c:pt idx="445">
                  <c:v>107.6159</c:v>
                </c:pt>
                <c:pt idx="446">
                  <c:v>107.8657</c:v>
                </c:pt>
                <c:pt idx="447">
                  <c:v>108.2165</c:v>
                </c:pt>
                <c:pt idx="448">
                  <c:v>108.19280000000001</c:v>
                </c:pt>
                <c:pt idx="449">
                  <c:v>108.2923</c:v>
                </c:pt>
                <c:pt idx="450">
                  <c:v>107.55540000000001</c:v>
                </c:pt>
                <c:pt idx="451">
                  <c:v>107.74120000000001</c:v>
                </c:pt>
                <c:pt idx="452">
                  <c:v>107.9284</c:v>
                </c:pt>
                <c:pt idx="453">
                  <c:v>107.5256</c:v>
                </c:pt>
                <c:pt idx="454">
                  <c:v>108.1431</c:v>
                </c:pt>
                <c:pt idx="455">
                  <c:v>108.1349</c:v>
                </c:pt>
                <c:pt idx="456">
                  <c:v>108.42829999999999</c:v>
                </c:pt>
                <c:pt idx="457">
                  <c:v>107.8729</c:v>
                </c:pt>
                <c:pt idx="458">
                  <c:v>107.7193</c:v>
                </c:pt>
                <c:pt idx="459">
                  <c:v>107.43259999999999</c:v>
                </c:pt>
                <c:pt idx="460">
                  <c:v>107.5127</c:v>
                </c:pt>
                <c:pt idx="461">
                  <c:v>107.5127</c:v>
                </c:pt>
                <c:pt idx="462">
                  <c:v>107.39530000000001</c:v>
                </c:pt>
                <c:pt idx="463">
                  <c:v>107.4558</c:v>
                </c:pt>
                <c:pt idx="464">
                  <c:v>106.8385</c:v>
                </c:pt>
                <c:pt idx="465">
                  <c:v>106.91070000000001</c:v>
                </c:pt>
                <c:pt idx="466">
                  <c:v>106.86190000000001</c:v>
                </c:pt>
                <c:pt idx="467">
                  <c:v>106.6785</c:v>
                </c:pt>
                <c:pt idx="468">
                  <c:v>106.8918</c:v>
                </c:pt>
                <c:pt idx="469">
                  <c:v>107.035</c:v>
                </c:pt>
                <c:pt idx="470">
                  <c:v>106.75490000000001</c:v>
                </c:pt>
                <c:pt idx="471">
                  <c:v>106.2047</c:v>
                </c:pt>
                <c:pt idx="472">
                  <c:v>105.26900000000001</c:v>
                </c:pt>
                <c:pt idx="473">
                  <c:v>105.58320000000001</c:v>
                </c:pt>
                <c:pt idx="474">
                  <c:v>105.9246</c:v>
                </c:pt>
                <c:pt idx="475">
                  <c:v>105.7975</c:v>
                </c:pt>
                <c:pt idx="476">
                  <c:v>105.9554</c:v>
                </c:pt>
                <c:pt idx="477">
                  <c:v>105.9692</c:v>
                </c:pt>
                <c:pt idx="478">
                  <c:v>105.9067</c:v>
                </c:pt>
                <c:pt idx="479">
                  <c:v>105.9768</c:v>
                </c:pt>
                <c:pt idx="480">
                  <c:v>105.9936</c:v>
                </c:pt>
                <c:pt idx="481">
                  <c:v>106.15009999999999</c:v>
                </c:pt>
                <c:pt idx="482">
                  <c:v>106.35469999999999</c:v>
                </c:pt>
                <c:pt idx="483">
                  <c:v>105.72239999999999</c:v>
                </c:pt>
                <c:pt idx="484">
                  <c:v>106.0673</c:v>
                </c:pt>
                <c:pt idx="485">
                  <c:v>105.8215</c:v>
                </c:pt>
                <c:pt idx="486">
                  <c:v>105.8215</c:v>
                </c:pt>
                <c:pt idx="487">
                  <c:v>106.178</c:v>
                </c:pt>
                <c:pt idx="488">
                  <c:v>106.7628</c:v>
                </c:pt>
                <c:pt idx="489">
                  <c:v>106.8879</c:v>
                </c:pt>
                <c:pt idx="490">
                  <c:v>106.7949</c:v>
                </c:pt>
                <c:pt idx="491">
                  <c:v>107.69499999999999</c:v>
                </c:pt>
                <c:pt idx="492">
                  <c:v>108.51819999999999</c:v>
                </c:pt>
                <c:pt idx="493">
                  <c:v>108.1712</c:v>
                </c:pt>
                <c:pt idx="494">
                  <c:v>108.2535</c:v>
                </c:pt>
                <c:pt idx="495">
                  <c:v>108.1331</c:v>
                </c:pt>
                <c:pt idx="496">
                  <c:v>108.1331</c:v>
                </c:pt>
                <c:pt idx="497">
                  <c:v>108.4602</c:v>
                </c:pt>
                <c:pt idx="498">
                  <c:v>108.5056</c:v>
                </c:pt>
                <c:pt idx="499">
                  <c:v>108.5287</c:v>
                </c:pt>
                <c:pt idx="500">
                  <c:v>108.60339999999999</c:v>
                </c:pt>
                <c:pt idx="501">
                  <c:v>108.60339999999999</c:v>
                </c:pt>
                <c:pt idx="502">
                  <c:v>108.6897</c:v>
                </c:pt>
                <c:pt idx="503">
                  <c:v>108.6936</c:v>
                </c:pt>
                <c:pt idx="504">
                  <c:v>108.8518</c:v>
                </c:pt>
                <c:pt idx="505">
                  <c:v>109.1674</c:v>
                </c:pt>
                <c:pt idx="506">
                  <c:v>109.1592</c:v>
                </c:pt>
                <c:pt idx="507">
                  <c:v>108.9085</c:v>
                </c:pt>
                <c:pt idx="508">
                  <c:v>108.55070000000001</c:v>
                </c:pt>
                <c:pt idx="509">
                  <c:v>108.4706</c:v>
                </c:pt>
                <c:pt idx="510">
                  <c:v>109.3659</c:v>
                </c:pt>
                <c:pt idx="511">
                  <c:v>109.0902</c:v>
                </c:pt>
                <c:pt idx="512">
                  <c:v>109.0633</c:v>
                </c:pt>
                <c:pt idx="513">
                  <c:v>109.2993</c:v>
                </c:pt>
                <c:pt idx="514">
                  <c:v>109.4983</c:v>
                </c:pt>
                <c:pt idx="515">
                  <c:v>109.151</c:v>
                </c:pt>
                <c:pt idx="516">
                  <c:v>109.04130000000001</c:v>
                </c:pt>
                <c:pt idx="517">
                  <c:v>108.95359999999999</c:v>
                </c:pt>
                <c:pt idx="518">
                  <c:v>110.2379</c:v>
                </c:pt>
                <c:pt idx="519">
                  <c:v>110.4162</c:v>
                </c:pt>
                <c:pt idx="520">
                  <c:v>110.4731</c:v>
                </c:pt>
                <c:pt idx="521">
                  <c:v>110.2741</c:v>
                </c:pt>
                <c:pt idx="522">
                  <c:v>110.5445</c:v>
                </c:pt>
                <c:pt idx="523">
                  <c:v>110.5445</c:v>
                </c:pt>
                <c:pt idx="524">
                  <c:v>110.95010000000001</c:v>
                </c:pt>
                <c:pt idx="525">
                  <c:v>111.2544</c:v>
                </c:pt>
                <c:pt idx="526">
                  <c:v>110.4881</c:v>
                </c:pt>
                <c:pt idx="527">
                  <c:v>110.8537</c:v>
                </c:pt>
                <c:pt idx="528">
                  <c:v>110.009</c:v>
                </c:pt>
                <c:pt idx="529">
                  <c:v>109.791</c:v>
                </c:pt>
                <c:pt idx="530">
                  <c:v>110.16160000000001</c:v>
                </c:pt>
                <c:pt idx="531">
                  <c:v>110.25839999999999</c:v>
                </c:pt>
                <c:pt idx="532">
                  <c:v>111.3514</c:v>
                </c:pt>
                <c:pt idx="533">
                  <c:v>112.4709</c:v>
                </c:pt>
                <c:pt idx="534">
                  <c:v>112.3128</c:v>
                </c:pt>
                <c:pt idx="535">
                  <c:v>112.7521</c:v>
                </c:pt>
                <c:pt idx="536">
                  <c:v>113.0355</c:v>
                </c:pt>
                <c:pt idx="537">
                  <c:v>114.2778</c:v>
                </c:pt>
                <c:pt idx="538">
                  <c:v>113.6134</c:v>
                </c:pt>
                <c:pt idx="539">
                  <c:v>113.74939999999999</c:v>
                </c:pt>
                <c:pt idx="540">
                  <c:v>114.0146</c:v>
                </c:pt>
                <c:pt idx="541">
                  <c:v>113.5795</c:v>
                </c:pt>
                <c:pt idx="542">
                  <c:v>113.03700000000001</c:v>
                </c:pt>
                <c:pt idx="543">
                  <c:v>112.8229</c:v>
                </c:pt>
                <c:pt idx="544">
                  <c:v>113.7422</c:v>
                </c:pt>
                <c:pt idx="545">
                  <c:v>114.2146</c:v>
                </c:pt>
                <c:pt idx="546">
                  <c:v>114.2616</c:v>
                </c:pt>
                <c:pt idx="547">
                  <c:v>113.92829999999999</c:v>
                </c:pt>
                <c:pt idx="548">
                  <c:v>114.3554</c:v>
                </c:pt>
                <c:pt idx="549">
                  <c:v>113.8398</c:v>
                </c:pt>
                <c:pt idx="550">
                  <c:v>113.8336</c:v>
                </c:pt>
                <c:pt idx="551">
                  <c:v>114.20659999999999</c:v>
                </c:pt>
                <c:pt idx="552">
                  <c:v>114.3121</c:v>
                </c:pt>
                <c:pt idx="553">
                  <c:v>114.0061</c:v>
                </c:pt>
                <c:pt idx="554">
                  <c:v>113.87479999999999</c:v>
                </c:pt>
                <c:pt idx="555">
                  <c:v>113.3038</c:v>
                </c:pt>
                <c:pt idx="556">
                  <c:v>113.3038</c:v>
                </c:pt>
                <c:pt idx="557">
                  <c:v>113.09229999999999</c:v>
                </c:pt>
                <c:pt idx="558">
                  <c:v>113.08320000000001</c:v>
                </c:pt>
                <c:pt idx="559">
                  <c:v>112.5248</c:v>
                </c:pt>
                <c:pt idx="560">
                  <c:v>113.0081</c:v>
                </c:pt>
                <c:pt idx="561">
                  <c:v>113.42740000000001</c:v>
                </c:pt>
                <c:pt idx="562">
                  <c:v>113.43940000000001</c:v>
                </c:pt>
                <c:pt idx="563">
                  <c:v>114.18049999999999</c:v>
                </c:pt>
                <c:pt idx="564">
                  <c:v>114.13590000000001</c:v>
                </c:pt>
                <c:pt idx="565">
                  <c:v>113.88630000000001</c:v>
                </c:pt>
                <c:pt idx="566">
                  <c:v>113.22329999999999</c:v>
                </c:pt>
                <c:pt idx="567">
                  <c:v>112.3626</c:v>
                </c:pt>
                <c:pt idx="568">
                  <c:v>111.99769999999999</c:v>
                </c:pt>
                <c:pt idx="569">
                  <c:v>111.4632</c:v>
                </c:pt>
                <c:pt idx="570">
                  <c:v>111.2683</c:v>
                </c:pt>
                <c:pt idx="571">
                  <c:v>111.4033</c:v>
                </c:pt>
                <c:pt idx="572">
                  <c:v>111.1176</c:v>
                </c:pt>
                <c:pt idx="573">
                  <c:v>110.8275</c:v>
                </c:pt>
                <c:pt idx="574">
                  <c:v>110.65049999999999</c:v>
                </c:pt>
                <c:pt idx="575">
                  <c:v>109.8927</c:v>
                </c:pt>
                <c:pt idx="576">
                  <c:v>110.26560000000001</c:v>
                </c:pt>
                <c:pt idx="577">
                  <c:v>110.904</c:v>
                </c:pt>
                <c:pt idx="578">
                  <c:v>111.1336</c:v>
                </c:pt>
                <c:pt idx="579">
                  <c:v>111.09</c:v>
                </c:pt>
                <c:pt idx="580">
                  <c:v>110.12820000000001</c:v>
                </c:pt>
                <c:pt idx="581">
                  <c:v>110.12820000000001</c:v>
                </c:pt>
                <c:pt idx="582">
                  <c:v>110.66289999999999</c:v>
                </c:pt>
                <c:pt idx="583">
                  <c:v>110.04179999999999</c:v>
                </c:pt>
                <c:pt idx="584">
                  <c:v>110.18989999999999</c:v>
                </c:pt>
                <c:pt idx="585">
                  <c:v>109.9302</c:v>
                </c:pt>
                <c:pt idx="586">
                  <c:v>109.43770000000001</c:v>
                </c:pt>
                <c:pt idx="587">
                  <c:v>109.3866</c:v>
                </c:pt>
                <c:pt idx="588">
                  <c:v>109.55670000000001</c:v>
                </c:pt>
                <c:pt idx="589">
                  <c:v>109.468</c:v>
                </c:pt>
                <c:pt idx="590">
                  <c:v>109.9084</c:v>
                </c:pt>
                <c:pt idx="591">
                  <c:v>109.4509</c:v>
                </c:pt>
                <c:pt idx="592">
                  <c:v>108.7423</c:v>
                </c:pt>
                <c:pt idx="593">
                  <c:v>108.5248</c:v>
                </c:pt>
                <c:pt idx="594">
                  <c:v>108.3168</c:v>
                </c:pt>
                <c:pt idx="595">
                  <c:v>108.1277</c:v>
                </c:pt>
                <c:pt idx="596">
                  <c:v>107.7646</c:v>
                </c:pt>
                <c:pt idx="597">
                  <c:v>107.5433</c:v>
                </c:pt>
                <c:pt idx="598">
                  <c:v>107.372</c:v>
                </c:pt>
                <c:pt idx="599">
                  <c:v>108.3685</c:v>
                </c:pt>
                <c:pt idx="600">
                  <c:v>108.3094</c:v>
                </c:pt>
                <c:pt idx="601">
                  <c:v>108.80589999999999</c:v>
                </c:pt>
                <c:pt idx="602">
                  <c:v>108.3762</c:v>
                </c:pt>
                <c:pt idx="603">
                  <c:v>108.965</c:v>
                </c:pt>
                <c:pt idx="604">
                  <c:v>108.4627</c:v>
                </c:pt>
                <c:pt idx="605">
                  <c:v>108.1056</c:v>
                </c:pt>
                <c:pt idx="606">
                  <c:v>108.2165</c:v>
                </c:pt>
                <c:pt idx="607">
                  <c:v>108.6066</c:v>
                </c:pt>
                <c:pt idx="608">
                  <c:v>109.1931</c:v>
                </c:pt>
                <c:pt idx="609">
                  <c:v>109.0321</c:v>
                </c:pt>
                <c:pt idx="610">
                  <c:v>108.71939999999999</c:v>
                </c:pt>
                <c:pt idx="611">
                  <c:v>108.7677</c:v>
                </c:pt>
                <c:pt idx="612">
                  <c:v>109.20829999999999</c:v>
                </c:pt>
                <c:pt idx="613">
                  <c:v>108.92010000000001</c:v>
                </c:pt>
                <c:pt idx="614">
                  <c:v>108.7302</c:v>
                </c:pt>
                <c:pt idx="615">
                  <c:v>108.9097</c:v>
                </c:pt>
                <c:pt idx="616">
                  <c:v>109.8069</c:v>
                </c:pt>
                <c:pt idx="617">
                  <c:v>110.1643</c:v>
                </c:pt>
                <c:pt idx="618">
                  <c:v>109.2764</c:v>
                </c:pt>
                <c:pt idx="619">
                  <c:v>109.6995</c:v>
                </c:pt>
                <c:pt idx="620">
                  <c:v>108.9795</c:v>
                </c:pt>
                <c:pt idx="621">
                  <c:v>108.7889</c:v>
                </c:pt>
                <c:pt idx="622">
                  <c:v>108.73099999999999</c:v>
                </c:pt>
                <c:pt idx="623">
                  <c:v>108.73569999999999</c:v>
                </c:pt>
                <c:pt idx="624">
                  <c:v>107.7436</c:v>
                </c:pt>
                <c:pt idx="625">
                  <c:v>107.56489999999999</c:v>
                </c:pt>
                <c:pt idx="626">
                  <c:v>107.56489999999999</c:v>
                </c:pt>
                <c:pt idx="627">
                  <c:v>107.52119999999999</c:v>
                </c:pt>
                <c:pt idx="628">
                  <c:v>107.3805</c:v>
                </c:pt>
                <c:pt idx="629">
                  <c:v>107.15309999999999</c:v>
                </c:pt>
                <c:pt idx="630">
                  <c:v>106.717</c:v>
                </c:pt>
                <c:pt idx="631">
                  <c:v>106.952</c:v>
                </c:pt>
                <c:pt idx="632">
                  <c:v>107.15089999999999</c:v>
                </c:pt>
                <c:pt idx="633">
                  <c:v>107.03959999999999</c:v>
                </c:pt>
                <c:pt idx="634">
                  <c:v>107.172</c:v>
                </c:pt>
                <c:pt idx="635">
                  <c:v>107.7154</c:v>
                </c:pt>
                <c:pt idx="636">
                  <c:v>107.7154</c:v>
                </c:pt>
                <c:pt idx="637">
                  <c:v>107.5639</c:v>
                </c:pt>
                <c:pt idx="638">
                  <c:v>107.9538</c:v>
                </c:pt>
                <c:pt idx="639">
                  <c:v>107.9194</c:v>
                </c:pt>
                <c:pt idx="640">
                  <c:v>107.74169999999999</c:v>
                </c:pt>
                <c:pt idx="641">
                  <c:v>106.8293</c:v>
                </c:pt>
                <c:pt idx="642">
                  <c:v>105.489</c:v>
                </c:pt>
                <c:pt idx="643">
                  <c:v>105.4896</c:v>
                </c:pt>
                <c:pt idx="644">
                  <c:v>105.4188</c:v>
                </c:pt>
                <c:pt idx="645">
                  <c:v>105.27200000000001</c:v>
                </c:pt>
                <c:pt idx="646">
                  <c:v>105.1366</c:v>
                </c:pt>
                <c:pt idx="647">
                  <c:v>105.176</c:v>
                </c:pt>
                <c:pt idx="648">
                  <c:v>105.4665</c:v>
                </c:pt>
                <c:pt idx="649">
                  <c:v>105.08880000000001</c:v>
                </c:pt>
                <c:pt idx="650">
                  <c:v>105.2645</c:v>
                </c:pt>
                <c:pt idx="651">
                  <c:v>105.2645</c:v>
                </c:pt>
                <c:pt idx="652">
                  <c:v>105.66930000000001</c:v>
                </c:pt>
                <c:pt idx="653">
                  <c:v>105.70910000000001</c:v>
                </c:pt>
                <c:pt idx="654">
                  <c:v>105.3933</c:v>
                </c:pt>
                <c:pt idx="655">
                  <c:v>105.41589999999999</c:v>
                </c:pt>
                <c:pt idx="656">
                  <c:v>105.9982</c:v>
                </c:pt>
                <c:pt idx="657">
                  <c:v>106.1619</c:v>
                </c:pt>
                <c:pt idx="658">
                  <c:v>106.63679999999999</c:v>
                </c:pt>
                <c:pt idx="659">
                  <c:v>106.497</c:v>
                </c:pt>
                <c:pt idx="660">
                  <c:v>107.2625</c:v>
                </c:pt>
                <c:pt idx="661">
                  <c:v>107.28740000000001</c:v>
                </c:pt>
                <c:pt idx="662">
                  <c:v>107.4127</c:v>
                </c:pt>
                <c:pt idx="663">
                  <c:v>106.8006</c:v>
                </c:pt>
                <c:pt idx="664">
                  <c:v>106.9147</c:v>
                </c:pt>
                <c:pt idx="665">
                  <c:v>106.989</c:v>
                </c:pt>
                <c:pt idx="666">
                  <c:v>106.3289</c:v>
                </c:pt>
                <c:pt idx="667">
                  <c:v>106.3207</c:v>
                </c:pt>
                <c:pt idx="668">
                  <c:v>106.01009999999999</c:v>
                </c:pt>
                <c:pt idx="669">
                  <c:v>106.0838</c:v>
                </c:pt>
                <c:pt idx="670">
                  <c:v>106.31489999999999</c:v>
                </c:pt>
                <c:pt idx="671">
                  <c:v>105.8439</c:v>
                </c:pt>
                <c:pt idx="672">
                  <c:v>106.49290000000001</c:v>
                </c:pt>
                <c:pt idx="673">
                  <c:v>105.986</c:v>
                </c:pt>
                <c:pt idx="674">
                  <c:v>105.432</c:v>
                </c:pt>
                <c:pt idx="675">
                  <c:v>105.2086</c:v>
                </c:pt>
                <c:pt idx="676">
                  <c:v>104.6645</c:v>
                </c:pt>
                <c:pt idx="677">
                  <c:v>103.9529</c:v>
                </c:pt>
                <c:pt idx="678">
                  <c:v>103.5826</c:v>
                </c:pt>
                <c:pt idx="679">
                  <c:v>103.7794</c:v>
                </c:pt>
                <c:pt idx="680">
                  <c:v>103.4753</c:v>
                </c:pt>
                <c:pt idx="681">
                  <c:v>103.4385</c:v>
                </c:pt>
                <c:pt idx="682">
                  <c:v>103.389</c:v>
                </c:pt>
                <c:pt idx="683">
                  <c:v>103.1587</c:v>
                </c:pt>
                <c:pt idx="684">
                  <c:v>103.09820000000001</c:v>
                </c:pt>
                <c:pt idx="685">
                  <c:v>103.276</c:v>
                </c:pt>
                <c:pt idx="686">
                  <c:v>103.197</c:v>
                </c:pt>
                <c:pt idx="687">
                  <c:v>103.0864</c:v>
                </c:pt>
                <c:pt idx="688">
                  <c:v>102.90430000000001</c:v>
                </c:pt>
                <c:pt idx="689">
                  <c:v>102.60680000000001</c:v>
                </c:pt>
                <c:pt idx="690">
                  <c:v>102.358</c:v>
                </c:pt>
                <c:pt idx="691">
                  <c:v>102.46380000000001</c:v>
                </c:pt>
                <c:pt idx="692">
                  <c:v>102.1824</c:v>
                </c:pt>
                <c:pt idx="693">
                  <c:v>102.03740000000001</c:v>
                </c:pt>
                <c:pt idx="694">
                  <c:v>102.46259999999999</c:v>
                </c:pt>
                <c:pt idx="695">
                  <c:v>103.12990000000001</c:v>
                </c:pt>
                <c:pt idx="696">
                  <c:v>102.7218</c:v>
                </c:pt>
                <c:pt idx="697">
                  <c:v>102.8886</c:v>
                </c:pt>
                <c:pt idx="698">
                  <c:v>102.8986</c:v>
                </c:pt>
                <c:pt idx="699">
                  <c:v>102.9254</c:v>
                </c:pt>
                <c:pt idx="700">
                  <c:v>102.7718</c:v>
                </c:pt>
                <c:pt idx="701">
                  <c:v>102.8926</c:v>
                </c:pt>
                <c:pt idx="702">
                  <c:v>102.7889</c:v>
                </c:pt>
                <c:pt idx="703">
                  <c:v>103.25960000000001</c:v>
                </c:pt>
                <c:pt idx="704">
                  <c:v>103.6617</c:v>
                </c:pt>
                <c:pt idx="705">
                  <c:v>103.5673</c:v>
                </c:pt>
                <c:pt idx="706">
                  <c:v>103.4909</c:v>
                </c:pt>
                <c:pt idx="707">
                  <c:v>103.2959</c:v>
                </c:pt>
                <c:pt idx="708">
                  <c:v>103.1593</c:v>
                </c:pt>
                <c:pt idx="709">
                  <c:v>103.9834</c:v>
                </c:pt>
                <c:pt idx="710">
                  <c:v>103.794</c:v>
                </c:pt>
                <c:pt idx="711">
                  <c:v>103.1666</c:v>
                </c:pt>
                <c:pt idx="712">
                  <c:v>102.5686</c:v>
                </c:pt>
                <c:pt idx="713">
                  <c:v>102.65349999999999</c:v>
                </c:pt>
                <c:pt idx="714">
                  <c:v>102.25879999999999</c:v>
                </c:pt>
                <c:pt idx="715">
                  <c:v>101.9192</c:v>
                </c:pt>
                <c:pt idx="716">
                  <c:v>101.9091</c:v>
                </c:pt>
                <c:pt idx="717">
                  <c:v>102.61709999999999</c:v>
                </c:pt>
                <c:pt idx="718">
                  <c:v>101.41379999999999</c:v>
                </c:pt>
                <c:pt idx="719">
                  <c:v>101.49169999999999</c:v>
                </c:pt>
                <c:pt idx="720">
                  <c:v>101.462</c:v>
                </c:pt>
                <c:pt idx="721">
                  <c:v>101.462</c:v>
                </c:pt>
                <c:pt idx="722">
                  <c:v>101.4198</c:v>
                </c:pt>
                <c:pt idx="723">
                  <c:v>101.48820000000001</c:v>
                </c:pt>
                <c:pt idx="724">
                  <c:v>101.6122</c:v>
                </c:pt>
                <c:pt idx="725">
                  <c:v>101.83750000000001</c:v>
                </c:pt>
                <c:pt idx="726">
                  <c:v>101.55719999999999</c:v>
                </c:pt>
                <c:pt idx="727">
                  <c:v>101.3441</c:v>
                </c:pt>
                <c:pt idx="728">
                  <c:v>101.5457</c:v>
                </c:pt>
                <c:pt idx="729">
                  <c:v>101.7649</c:v>
                </c:pt>
                <c:pt idx="730">
                  <c:v>101.6242</c:v>
                </c:pt>
                <c:pt idx="731">
                  <c:v>101.57599999999999</c:v>
                </c:pt>
                <c:pt idx="732">
                  <c:v>101.5701</c:v>
                </c:pt>
                <c:pt idx="733">
                  <c:v>101.85120000000001</c:v>
                </c:pt>
                <c:pt idx="734">
                  <c:v>101.95869999999999</c:v>
                </c:pt>
                <c:pt idx="735">
                  <c:v>102.32729999999999</c:v>
                </c:pt>
                <c:pt idx="736">
                  <c:v>102.586</c:v>
                </c:pt>
                <c:pt idx="737">
                  <c:v>102.479</c:v>
                </c:pt>
                <c:pt idx="738">
                  <c:v>101.7647</c:v>
                </c:pt>
                <c:pt idx="739">
                  <c:v>101.80500000000001</c:v>
                </c:pt>
                <c:pt idx="740">
                  <c:v>101.6754</c:v>
                </c:pt>
                <c:pt idx="741">
                  <c:v>101.3484</c:v>
                </c:pt>
                <c:pt idx="742">
                  <c:v>101.3125</c:v>
                </c:pt>
                <c:pt idx="743">
                  <c:v>101.3302</c:v>
                </c:pt>
                <c:pt idx="744">
                  <c:v>101.47069999999999</c:v>
                </c:pt>
                <c:pt idx="745">
                  <c:v>101.23309999999999</c:v>
                </c:pt>
                <c:pt idx="746">
                  <c:v>101.23309999999999</c:v>
                </c:pt>
                <c:pt idx="747">
                  <c:v>101.1409</c:v>
                </c:pt>
                <c:pt idx="748">
                  <c:v>101.29170000000001</c:v>
                </c:pt>
                <c:pt idx="749">
                  <c:v>101.7333</c:v>
                </c:pt>
                <c:pt idx="750">
                  <c:v>101.9759</c:v>
                </c:pt>
                <c:pt idx="751">
                  <c:v>101.9221</c:v>
                </c:pt>
                <c:pt idx="752">
                  <c:v>102.0936</c:v>
                </c:pt>
                <c:pt idx="753">
                  <c:v>101.79819999999999</c:v>
                </c:pt>
                <c:pt idx="754">
                  <c:v>102.01049999999999</c:v>
                </c:pt>
                <c:pt idx="755">
                  <c:v>101.9769</c:v>
                </c:pt>
                <c:pt idx="756">
                  <c:v>101.7413</c:v>
                </c:pt>
                <c:pt idx="757">
                  <c:v>101.9228</c:v>
                </c:pt>
                <c:pt idx="758">
                  <c:v>102.00190000000001</c:v>
                </c:pt>
                <c:pt idx="759">
                  <c:v>101.96080000000001</c:v>
                </c:pt>
                <c:pt idx="760">
                  <c:v>101.9696</c:v>
                </c:pt>
                <c:pt idx="761">
                  <c:v>102.0532</c:v>
                </c:pt>
                <c:pt idx="762">
                  <c:v>102.0532</c:v>
                </c:pt>
                <c:pt idx="763">
                  <c:v>102.3103</c:v>
                </c:pt>
                <c:pt idx="764">
                  <c:v>102.4199</c:v>
                </c:pt>
                <c:pt idx="765">
                  <c:v>102.6045</c:v>
                </c:pt>
                <c:pt idx="766">
                  <c:v>102.4768</c:v>
                </c:pt>
                <c:pt idx="767">
                  <c:v>102.47329999999999</c:v>
                </c:pt>
                <c:pt idx="768">
                  <c:v>102.8852</c:v>
                </c:pt>
                <c:pt idx="769">
                  <c:v>102.6662</c:v>
                </c:pt>
                <c:pt idx="770">
                  <c:v>102.3702</c:v>
                </c:pt>
                <c:pt idx="771">
                  <c:v>102.1939</c:v>
                </c:pt>
                <c:pt idx="772">
                  <c:v>102.3199</c:v>
                </c:pt>
                <c:pt idx="773">
                  <c:v>102.02760000000001</c:v>
                </c:pt>
                <c:pt idx="774">
                  <c:v>102.435</c:v>
                </c:pt>
                <c:pt idx="775">
                  <c:v>102.63460000000001</c:v>
                </c:pt>
                <c:pt idx="776">
                  <c:v>102.6785</c:v>
                </c:pt>
                <c:pt idx="777">
                  <c:v>102.4889</c:v>
                </c:pt>
                <c:pt idx="778">
                  <c:v>102.2122</c:v>
                </c:pt>
                <c:pt idx="779">
                  <c:v>102.23860000000001</c:v>
                </c:pt>
                <c:pt idx="780">
                  <c:v>102.932</c:v>
                </c:pt>
                <c:pt idx="781">
                  <c:v>102.91889999999999</c:v>
                </c:pt>
                <c:pt idx="782">
                  <c:v>102.7893</c:v>
                </c:pt>
                <c:pt idx="783">
                  <c:v>102.7893</c:v>
                </c:pt>
                <c:pt idx="784">
                  <c:v>102.5508</c:v>
                </c:pt>
                <c:pt idx="785">
                  <c:v>102.1705</c:v>
                </c:pt>
                <c:pt idx="786">
                  <c:v>101.8391</c:v>
                </c:pt>
                <c:pt idx="787">
                  <c:v>101.7002</c:v>
                </c:pt>
                <c:pt idx="788">
                  <c:v>101.6824</c:v>
                </c:pt>
                <c:pt idx="789">
                  <c:v>101.64919999999999</c:v>
                </c:pt>
                <c:pt idx="790">
                  <c:v>101.2042</c:v>
                </c:pt>
                <c:pt idx="791">
                  <c:v>101.1046</c:v>
                </c:pt>
                <c:pt idx="792">
                  <c:v>100.6651</c:v>
                </c:pt>
                <c:pt idx="793">
                  <c:v>100.6651</c:v>
                </c:pt>
                <c:pt idx="794">
                  <c:v>100.4676</c:v>
                </c:pt>
                <c:pt idx="795">
                  <c:v>100.5939</c:v>
                </c:pt>
                <c:pt idx="796">
                  <c:v>100.9648</c:v>
                </c:pt>
                <c:pt idx="797">
                  <c:v>100.9211</c:v>
                </c:pt>
                <c:pt idx="798">
                  <c:v>101.2216</c:v>
                </c:pt>
                <c:pt idx="799">
                  <c:v>100.9824</c:v>
                </c:pt>
                <c:pt idx="800">
                  <c:v>101.023</c:v>
                </c:pt>
                <c:pt idx="801">
                  <c:v>100.6232</c:v>
                </c:pt>
                <c:pt idx="802">
                  <c:v>100.3887</c:v>
                </c:pt>
                <c:pt idx="803">
                  <c:v>100.4392</c:v>
                </c:pt>
                <c:pt idx="804">
                  <c:v>100.4084</c:v>
                </c:pt>
                <c:pt idx="805">
                  <c:v>100.4423</c:v>
                </c:pt>
                <c:pt idx="806">
                  <c:v>100.37269999999999</c:v>
                </c:pt>
                <c:pt idx="807">
                  <c:v>100.49160000000001</c:v>
                </c:pt>
                <c:pt idx="808">
                  <c:v>100.43129999999999</c:v>
                </c:pt>
                <c:pt idx="809">
                  <c:v>100.53400000000001</c:v>
                </c:pt>
                <c:pt idx="810">
                  <c:v>100.9084</c:v>
                </c:pt>
                <c:pt idx="811">
                  <c:v>100.88639999999999</c:v>
                </c:pt>
                <c:pt idx="812">
                  <c:v>100.9997</c:v>
                </c:pt>
                <c:pt idx="813">
                  <c:v>101.1048</c:v>
                </c:pt>
                <c:pt idx="814">
                  <c:v>101.4151</c:v>
                </c:pt>
                <c:pt idx="815">
                  <c:v>101.297</c:v>
                </c:pt>
                <c:pt idx="816">
                  <c:v>101.297</c:v>
                </c:pt>
                <c:pt idx="817">
                  <c:v>101.18680000000001</c:v>
                </c:pt>
                <c:pt idx="818">
                  <c:v>101.33459999999999</c:v>
                </c:pt>
                <c:pt idx="819">
                  <c:v>101.0445</c:v>
                </c:pt>
                <c:pt idx="820">
                  <c:v>100.98779999999999</c:v>
                </c:pt>
                <c:pt idx="821">
                  <c:v>100.9892</c:v>
                </c:pt>
                <c:pt idx="822">
                  <c:v>101.2102</c:v>
                </c:pt>
                <c:pt idx="823">
                  <c:v>101.289</c:v>
                </c:pt>
                <c:pt idx="824">
                  <c:v>100.8794</c:v>
                </c:pt>
                <c:pt idx="825">
                  <c:v>100.5389</c:v>
                </c:pt>
                <c:pt idx="826">
                  <c:v>100.5545</c:v>
                </c:pt>
                <c:pt idx="827">
                  <c:v>100.223</c:v>
                </c:pt>
                <c:pt idx="828">
                  <c:v>100.40779999999999</c:v>
                </c:pt>
                <c:pt idx="829">
                  <c:v>100.5975</c:v>
                </c:pt>
                <c:pt idx="830">
                  <c:v>100.6331</c:v>
                </c:pt>
                <c:pt idx="831">
                  <c:v>100.38249999999999</c:v>
                </c:pt>
                <c:pt idx="832">
                  <c:v>100.1233</c:v>
                </c:pt>
                <c:pt idx="833">
                  <c:v>99.794719999999998</c:v>
                </c:pt>
                <c:pt idx="834">
                  <c:v>99.81635</c:v>
                </c:pt>
                <c:pt idx="835">
                  <c:v>99.886700000000005</c:v>
                </c:pt>
                <c:pt idx="836">
                  <c:v>99.774519999999995</c:v>
                </c:pt>
                <c:pt idx="837">
                  <c:v>99.850809999999996</c:v>
                </c:pt>
                <c:pt idx="838">
                  <c:v>99.982119999999995</c:v>
                </c:pt>
                <c:pt idx="839">
                  <c:v>99.834050000000005</c:v>
                </c:pt>
                <c:pt idx="840">
                  <c:v>99.502030000000005</c:v>
                </c:pt>
                <c:pt idx="841">
                  <c:v>99.502030000000005</c:v>
                </c:pt>
                <c:pt idx="842">
                  <c:v>99.679019999999994</c:v>
                </c:pt>
                <c:pt idx="843">
                  <c:v>99.733000000000004</c:v>
                </c:pt>
                <c:pt idx="844">
                  <c:v>99.772369999999995</c:v>
                </c:pt>
                <c:pt idx="845">
                  <c:v>100.0688</c:v>
                </c:pt>
                <c:pt idx="846">
                  <c:v>100.2453</c:v>
                </c:pt>
                <c:pt idx="847">
                  <c:v>100.5348</c:v>
                </c:pt>
                <c:pt idx="848">
                  <c:v>100.4147</c:v>
                </c:pt>
                <c:pt idx="849">
                  <c:v>100.429</c:v>
                </c:pt>
                <c:pt idx="850">
                  <c:v>100.6891</c:v>
                </c:pt>
                <c:pt idx="851">
                  <c:v>101.1546</c:v>
                </c:pt>
                <c:pt idx="852">
                  <c:v>100.79340000000001</c:v>
                </c:pt>
                <c:pt idx="853">
                  <c:v>100.48609999999999</c:v>
                </c:pt>
                <c:pt idx="854">
                  <c:v>100.435</c:v>
                </c:pt>
                <c:pt idx="855">
                  <c:v>100.0819</c:v>
                </c:pt>
                <c:pt idx="856">
                  <c:v>99.989180000000005</c:v>
                </c:pt>
                <c:pt idx="857">
                  <c:v>100.1972</c:v>
                </c:pt>
                <c:pt idx="858">
                  <c:v>100.2109</c:v>
                </c:pt>
                <c:pt idx="859">
                  <c:v>100.4166</c:v>
                </c:pt>
                <c:pt idx="860">
                  <c:v>100.3242</c:v>
                </c:pt>
                <c:pt idx="861">
                  <c:v>100.2201</c:v>
                </c:pt>
                <c:pt idx="862">
                  <c:v>99.781620000000004</c:v>
                </c:pt>
                <c:pt idx="863">
                  <c:v>99.869349999999997</c:v>
                </c:pt>
                <c:pt idx="864">
                  <c:v>99.758939999999996</c:v>
                </c:pt>
                <c:pt idx="865">
                  <c:v>99.678049999999999</c:v>
                </c:pt>
                <c:pt idx="866">
                  <c:v>99.704530000000005</c:v>
                </c:pt>
                <c:pt idx="867">
                  <c:v>99.570139999999995</c:v>
                </c:pt>
                <c:pt idx="868">
                  <c:v>100.1649</c:v>
                </c:pt>
                <c:pt idx="869">
                  <c:v>100.2337</c:v>
                </c:pt>
                <c:pt idx="870">
                  <c:v>100.1704</c:v>
                </c:pt>
                <c:pt idx="871">
                  <c:v>100.31100000000001</c:v>
                </c:pt>
                <c:pt idx="872">
                  <c:v>100.3413</c:v>
                </c:pt>
                <c:pt idx="873">
                  <c:v>100.26519999999999</c:v>
                </c:pt>
                <c:pt idx="874">
                  <c:v>100.4945</c:v>
                </c:pt>
                <c:pt idx="875">
                  <c:v>100.3665</c:v>
                </c:pt>
                <c:pt idx="876">
                  <c:v>99.986180000000004</c:v>
                </c:pt>
                <c:pt idx="877">
                  <c:v>99.961119999999994</c:v>
                </c:pt>
                <c:pt idx="878">
                  <c:v>99.909930000000003</c:v>
                </c:pt>
                <c:pt idx="879">
                  <c:v>99.991709999999998</c:v>
                </c:pt>
                <c:pt idx="880">
                  <c:v>99.813630000000003</c:v>
                </c:pt>
                <c:pt idx="881">
                  <c:v>99.852220000000003</c:v>
                </c:pt>
                <c:pt idx="882">
                  <c:v>100.0253</c:v>
                </c:pt>
                <c:pt idx="883">
                  <c:v>100.041</c:v>
                </c:pt>
                <c:pt idx="884">
                  <c:v>99.880629999999996</c:v>
                </c:pt>
                <c:pt idx="885">
                  <c:v>99.62209</c:v>
                </c:pt>
                <c:pt idx="886">
                  <c:v>99.62209</c:v>
                </c:pt>
                <c:pt idx="887">
                  <c:v>99.776150000000001</c:v>
                </c:pt>
                <c:pt idx="888">
                  <c:v>99.497410000000002</c:v>
                </c:pt>
                <c:pt idx="889">
                  <c:v>99.402770000000004</c:v>
                </c:pt>
                <c:pt idx="890">
                  <c:v>99.221739999999997</c:v>
                </c:pt>
                <c:pt idx="891">
                  <c:v>99.161940000000001</c:v>
                </c:pt>
                <c:pt idx="892">
                  <c:v>99.46123</c:v>
                </c:pt>
                <c:pt idx="893">
                  <c:v>99.534899999999993</c:v>
                </c:pt>
                <c:pt idx="894">
                  <c:v>99.914249999999996</c:v>
                </c:pt>
                <c:pt idx="895">
                  <c:v>99.862629999999996</c:v>
                </c:pt>
                <c:pt idx="896">
                  <c:v>99.994349999999997</c:v>
                </c:pt>
                <c:pt idx="897">
                  <c:v>99.589420000000004</c:v>
                </c:pt>
                <c:pt idx="898">
                  <c:v>98.420590000000004</c:v>
                </c:pt>
                <c:pt idx="899">
                  <c:v>98.584410000000005</c:v>
                </c:pt>
                <c:pt idx="900">
                  <c:v>98.264330000000001</c:v>
                </c:pt>
                <c:pt idx="901">
                  <c:v>98.308530000000005</c:v>
                </c:pt>
                <c:pt idx="902">
                  <c:v>97.995239999999995</c:v>
                </c:pt>
                <c:pt idx="903">
                  <c:v>97.996750000000006</c:v>
                </c:pt>
                <c:pt idx="904">
                  <c:v>98.030410000000003</c:v>
                </c:pt>
                <c:pt idx="905">
                  <c:v>97.951390000000004</c:v>
                </c:pt>
                <c:pt idx="906">
                  <c:v>98.125309999999999</c:v>
                </c:pt>
                <c:pt idx="907">
                  <c:v>98.46866</c:v>
                </c:pt>
                <c:pt idx="908">
                  <c:v>97.958470000000005</c:v>
                </c:pt>
                <c:pt idx="909">
                  <c:v>97.897000000000006</c:v>
                </c:pt>
                <c:pt idx="910">
                  <c:v>98.120999999999995</c:v>
                </c:pt>
                <c:pt idx="911">
                  <c:v>98.120999999999995</c:v>
                </c:pt>
                <c:pt idx="912">
                  <c:v>98.208659999999995</c:v>
                </c:pt>
                <c:pt idx="913">
                  <c:v>98.20044</c:v>
                </c:pt>
                <c:pt idx="914">
                  <c:v>98.199070000000006</c:v>
                </c:pt>
                <c:pt idx="915">
                  <c:v>98.24136</c:v>
                </c:pt>
                <c:pt idx="916">
                  <c:v>98.436719999999994</c:v>
                </c:pt>
                <c:pt idx="917">
                  <c:v>98.336029999999994</c:v>
                </c:pt>
                <c:pt idx="918">
                  <c:v>98.290769999999995</c:v>
                </c:pt>
                <c:pt idx="919">
                  <c:v>98.234070000000003</c:v>
                </c:pt>
                <c:pt idx="920">
                  <c:v>98.454759999999993</c:v>
                </c:pt>
                <c:pt idx="921">
                  <c:v>98.482640000000004</c:v>
                </c:pt>
                <c:pt idx="922">
                  <c:v>98.821899999999999</c:v>
                </c:pt>
                <c:pt idx="923">
                  <c:v>98.915530000000004</c:v>
                </c:pt>
                <c:pt idx="924">
                  <c:v>98.289079999999998</c:v>
                </c:pt>
                <c:pt idx="925">
                  <c:v>98.189179999999993</c:v>
                </c:pt>
                <c:pt idx="926">
                  <c:v>98.406880000000001</c:v>
                </c:pt>
                <c:pt idx="927">
                  <c:v>99.007710000000003</c:v>
                </c:pt>
                <c:pt idx="928">
                  <c:v>99.320650000000001</c:v>
                </c:pt>
                <c:pt idx="929">
                  <c:v>99.377979999999994</c:v>
                </c:pt>
                <c:pt idx="930">
                  <c:v>99.167389999999997</c:v>
                </c:pt>
                <c:pt idx="931">
                  <c:v>99.250529999999998</c:v>
                </c:pt>
                <c:pt idx="932">
                  <c:v>98.94896</c:v>
                </c:pt>
                <c:pt idx="933">
                  <c:v>98.992949999999993</c:v>
                </c:pt>
                <c:pt idx="934">
                  <c:v>99.102940000000004</c:v>
                </c:pt>
                <c:pt idx="935">
                  <c:v>98.968729999999994</c:v>
                </c:pt>
                <c:pt idx="936">
                  <c:v>99.184510000000003</c:v>
                </c:pt>
                <c:pt idx="937">
                  <c:v>99.28586</c:v>
                </c:pt>
                <c:pt idx="938">
                  <c:v>99.262330000000006</c:v>
                </c:pt>
                <c:pt idx="939">
                  <c:v>99.31317</c:v>
                </c:pt>
                <c:pt idx="940">
                  <c:v>99.257890000000003</c:v>
                </c:pt>
                <c:pt idx="941">
                  <c:v>99.553479999999993</c:v>
                </c:pt>
                <c:pt idx="942">
                  <c:v>99.599180000000004</c:v>
                </c:pt>
                <c:pt idx="943">
                  <c:v>99.785769999999999</c:v>
                </c:pt>
                <c:pt idx="944">
                  <c:v>99.994420000000005</c:v>
                </c:pt>
                <c:pt idx="945">
                  <c:v>100.09910000000001</c:v>
                </c:pt>
                <c:pt idx="946">
                  <c:v>100.1647</c:v>
                </c:pt>
                <c:pt idx="947">
                  <c:v>100.00700000000001</c:v>
                </c:pt>
                <c:pt idx="948">
                  <c:v>100.16540000000001</c:v>
                </c:pt>
                <c:pt idx="949">
                  <c:v>100.1271</c:v>
                </c:pt>
                <c:pt idx="950">
                  <c:v>100.3686</c:v>
                </c:pt>
                <c:pt idx="951">
                  <c:v>100.66079999999999</c:v>
                </c:pt>
                <c:pt idx="952">
                  <c:v>100.58620000000001</c:v>
                </c:pt>
                <c:pt idx="953">
                  <c:v>100.652</c:v>
                </c:pt>
                <c:pt idx="954">
                  <c:v>101.048</c:v>
                </c:pt>
                <c:pt idx="955">
                  <c:v>100.7937</c:v>
                </c:pt>
                <c:pt idx="956">
                  <c:v>100.5962</c:v>
                </c:pt>
                <c:pt idx="957">
                  <c:v>100.7868</c:v>
                </c:pt>
                <c:pt idx="958">
                  <c:v>100.45</c:v>
                </c:pt>
                <c:pt idx="959">
                  <c:v>100.251</c:v>
                </c:pt>
                <c:pt idx="960">
                  <c:v>99.950500000000005</c:v>
                </c:pt>
                <c:pt idx="961">
                  <c:v>99.852069999999998</c:v>
                </c:pt>
                <c:pt idx="962">
                  <c:v>99.742490000000004</c:v>
                </c:pt>
                <c:pt idx="963">
                  <c:v>100.06399999999999</c:v>
                </c:pt>
                <c:pt idx="964">
                  <c:v>99.940280000000001</c:v>
                </c:pt>
                <c:pt idx="965">
                  <c:v>100.0736</c:v>
                </c:pt>
                <c:pt idx="966">
                  <c:v>99.970119999999994</c:v>
                </c:pt>
                <c:pt idx="967">
                  <c:v>99.815119999999993</c:v>
                </c:pt>
                <c:pt idx="968">
                  <c:v>100.42529999999999</c:v>
                </c:pt>
                <c:pt idx="969">
                  <c:v>100.63160000000001</c:v>
                </c:pt>
                <c:pt idx="970">
                  <c:v>100.88979999999999</c:v>
                </c:pt>
                <c:pt idx="971">
                  <c:v>100.43</c:v>
                </c:pt>
                <c:pt idx="972">
                  <c:v>99.864760000000004</c:v>
                </c:pt>
                <c:pt idx="973">
                  <c:v>99.555850000000007</c:v>
                </c:pt>
                <c:pt idx="974">
                  <c:v>99.385189999999994</c:v>
                </c:pt>
                <c:pt idx="975">
                  <c:v>99.357320000000001</c:v>
                </c:pt>
                <c:pt idx="976">
                  <c:v>99.605040000000002</c:v>
                </c:pt>
                <c:pt idx="977">
                  <c:v>98.936049999999994</c:v>
                </c:pt>
                <c:pt idx="978">
                  <c:v>98.712019999999995</c:v>
                </c:pt>
                <c:pt idx="979">
                  <c:v>98.856890000000007</c:v>
                </c:pt>
                <c:pt idx="980">
                  <c:v>98.868290000000002</c:v>
                </c:pt>
                <c:pt idx="981">
                  <c:v>98.679950000000005</c:v>
                </c:pt>
                <c:pt idx="982">
                  <c:v>99.033770000000004</c:v>
                </c:pt>
                <c:pt idx="983">
                  <c:v>98.865080000000006</c:v>
                </c:pt>
                <c:pt idx="984">
                  <c:v>98.721760000000003</c:v>
                </c:pt>
                <c:pt idx="985">
                  <c:v>98.426770000000005</c:v>
                </c:pt>
                <c:pt idx="986">
                  <c:v>98.426770000000005</c:v>
                </c:pt>
                <c:pt idx="987">
                  <c:v>98.436890000000005</c:v>
                </c:pt>
                <c:pt idx="988">
                  <c:v>98.51576</c:v>
                </c:pt>
                <c:pt idx="989">
                  <c:v>98.605770000000007</c:v>
                </c:pt>
                <c:pt idx="990">
                  <c:v>98.878069999999994</c:v>
                </c:pt>
                <c:pt idx="991">
                  <c:v>98.981639999999999</c:v>
                </c:pt>
                <c:pt idx="992">
                  <c:v>99.430629999999994</c:v>
                </c:pt>
                <c:pt idx="993">
                  <c:v>99.010729999999995</c:v>
                </c:pt>
                <c:pt idx="994">
                  <c:v>99.009159999999994</c:v>
                </c:pt>
                <c:pt idx="995">
                  <c:v>99.160640000000001</c:v>
                </c:pt>
                <c:pt idx="996">
                  <c:v>98.768950000000004</c:v>
                </c:pt>
                <c:pt idx="997">
                  <c:v>98.844449999999995</c:v>
                </c:pt>
                <c:pt idx="998">
                  <c:v>98.952650000000006</c:v>
                </c:pt>
                <c:pt idx="999">
                  <c:v>98.60257</c:v>
                </c:pt>
                <c:pt idx="1000">
                  <c:v>98.806920000000005</c:v>
                </c:pt>
                <c:pt idx="1001">
                  <c:v>98.572919999999996</c:v>
                </c:pt>
                <c:pt idx="1002">
                  <c:v>98.263689999999997</c:v>
                </c:pt>
                <c:pt idx="1003">
                  <c:v>98.235259999999997</c:v>
                </c:pt>
                <c:pt idx="1004">
                  <c:v>98.447649999999996</c:v>
                </c:pt>
                <c:pt idx="1005">
                  <c:v>98.528980000000004</c:v>
                </c:pt>
                <c:pt idx="1006">
                  <c:v>98.528980000000004</c:v>
                </c:pt>
                <c:pt idx="1007">
                  <c:v>98.260310000000004</c:v>
                </c:pt>
                <c:pt idx="1008">
                  <c:v>98.389020000000002</c:v>
                </c:pt>
                <c:pt idx="1009">
                  <c:v>98.566969999999998</c:v>
                </c:pt>
                <c:pt idx="1010">
                  <c:v>98.796040000000005</c:v>
                </c:pt>
                <c:pt idx="1011">
                  <c:v>98.326459999999997</c:v>
                </c:pt>
                <c:pt idx="1012">
                  <c:v>98.339219999999997</c:v>
                </c:pt>
                <c:pt idx="1013">
                  <c:v>97.984970000000004</c:v>
                </c:pt>
                <c:pt idx="1014">
                  <c:v>98.053020000000004</c:v>
                </c:pt>
                <c:pt idx="1015">
                  <c:v>98.131469999999993</c:v>
                </c:pt>
                <c:pt idx="1016">
                  <c:v>98.362139999999997</c:v>
                </c:pt>
                <c:pt idx="1017">
                  <c:v>98.362139999999997</c:v>
                </c:pt>
                <c:pt idx="1018">
                  <c:v>98.377809999999997</c:v>
                </c:pt>
                <c:pt idx="1019">
                  <c:v>98.550370000000001</c:v>
                </c:pt>
                <c:pt idx="1020">
                  <c:v>98.770970000000005</c:v>
                </c:pt>
                <c:pt idx="1021">
                  <c:v>98.748919999999998</c:v>
                </c:pt>
                <c:pt idx="1022">
                  <c:v>98.748919999999998</c:v>
                </c:pt>
                <c:pt idx="1023">
                  <c:v>98.963290000000001</c:v>
                </c:pt>
                <c:pt idx="1024">
                  <c:v>99.011610000000005</c:v>
                </c:pt>
                <c:pt idx="1025">
                  <c:v>99.05341</c:v>
                </c:pt>
                <c:pt idx="1026">
                  <c:v>98.640060000000005</c:v>
                </c:pt>
                <c:pt idx="1027">
                  <c:v>98.355590000000007</c:v>
                </c:pt>
                <c:pt idx="1028">
                  <c:v>98.749049999999997</c:v>
                </c:pt>
                <c:pt idx="1029">
                  <c:v>98.861400000000003</c:v>
                </c:pt>
                <c:pt idx="1030">
                  <c:v>99.069429999999997</c:v>
                </c:pt>
                <c:pt idx="1031">
                  <c:v>99.081019999999995</c:v>
                </c:pt>
                <c:pt idx="1032">
                  <c:v>98.961749999999995</c:v>
                </c:pt>
                <c:pt idx="1033">
                  <c:v>99.034940000000006</c:v>
                </c:pt>
                <c:pt idx="1034">
                  <c:v>98.833650000000006</c:v>
                </c:pt>
                <c:pt idx="1035">
                  <c:v>98.803150000000002</c:v>
                </c:pt>
                <c:pt idx="1036">
                  <c:v>98.771510000000006</c:v>
                </c:pt>
                <c:pt idx="1037">
                  <c:v>98.987170000000006</c:v>
                </c:pt>
                <c:pt idx="1038">
                  <c:v>99.487690000000001</c:v>
                </c:pt>
                <c:pt idx="1039">
                  <c:v>99.623549999999994</c:v>
                </c:pt>
                <c:pt idx="1040">
                  <c:v>99.892060000000001</c:v>
                </c:pt>
                <c:pt idx="1041">
                  <c:v>99.828639999999993</c:v>
                </c:pt>
                <c:pt idx="1042">
                  <c:v>99.950530000000001</c:v>
                </c:pt>
                <c:pt idx="1043">
                  <c:v>99.950530000000001</c:v>
                </c:pt>
                <c:pt idx="1044">
                  <c:v>100.1349</c:v>
                </c:pt>
                <c:pt idx="1045">
                  <c:v>100.3937</c:v>
                </c:pt>
                <c:pt idx="1046">
                  <c:v>100.1173</c:v>
                </c:pt>
                <c:pt idx="1047">
                  <c:v>100.2921</c:v>
                </c:pt>
                <c:pt idx="1048">
                  <c:v>100.10850000000001</c:v>
                </c:pt>
                <c:pt idx="1049">
                  <c:v>100.2773</c:v>
                </c:pt>
                <c:pt idx="1050">
                  <c:v>100.446</c:v>
                </c:pt>
                <c:pt idx="1051">
                  <c:v>100.7548</c:v>
                </c:pt>
                <c:pt idx="1052">
                  <c:v>100.8527</c:v>
                </c:pt>
                <c:pt idx="1053">
                  <c:v>100.7325</c:v>
                </c:pt>
                <c:pt idx="1054">
                  <c:v>100.7325</c:v>
                </c:pt>
                <c:pt idx="1055">
                  <c:v>100.7824</c:v>
                </c:pt>
                <c:pt idx="1056">
                  <c:v>100.6879</c:v>
                </c:pt>
                <c:pt idx="1057">
                  <c:v>101.0612</c:v>
                </c:pt>
                <c:pt idx="1058">
                  <c:v>101.69970000000001</c:v>
                </c:pt>
                <c:pt idx="1059">
                  <c:v>102.00060000000001</c:v>
                </c:pt>
                <c:pt idx="1060">
                  <c:v>102.6199</c:v>
                </c:pt>
                <c:pt idx="1061">
                  <c:v>102.4196</c:v>
                </c:pt>
                <c:pt idx="1062">
                  <c:v>102.66630000000001</c:v>
                </c:pt>
                <c:pt idx="1063">
                  <c:v>102.298</c:v>
                </c:pt>
                <c:pt idx="1064">
                  <c:v>101.6409</c:v>
                </c:pt>
                <c:pt idx="1065">
                  <c:v>101.8586</c:v>
                </c:pt>
                <c:pt idx="1066">
                  <c:v>101.6195</c:v>
                </c:pt>
                <c:pt idx="1067">
                  <c:v>101.7028</c:v>
                </c:pt>
                <c:pt idx="1068">
                  <c:v>101.4666</c:v>
                </c:pt>
                <c:pt idx="1069">
                  <c:v>101.7864</c:v>
                </c:pt>
                <c:pt idx="1070">
                  <c:v>101.9151</c:v>
                </c:pt>
                <c:pt idx="1071">
                  <c:v>102.20529999999999</c:v>
                </c:pt>
                <c:pt idx="1072">
                  <c:v>102.5458</c:v>
                </c:pt>
                <c:pt idx="1073">
                  <c:v>102.2059</c:v>
                </c:pt>
                <c:pt idx="1074">
                  <c:v>102.4521</c:v>
                </c:pt>
                <c:pt idx="1075">
                  <c:v>101.82299999999999</c:v>
                </c:pt>
                <c:pt idx="1076">
                  <c:v>101.82299999999999</c:v>
                </c:pt>
                <c:pt idx="1077">
                  <c:v>102.6538</c:v>
                </c:pt>
                <c:pt idx="1078">
                  <c:v>102.8158</c:v>
                </c:pt>
                <c:pt idx="1079">
                  <c:v>102.7276</c:v>
                </c:pt>
                <c:pt idx="1080">
                  <c:v>102.6901</c:v>
                </c:pt>
                <c:pt idx="1081">
                  <c:v>103.03530000000001</c:v>
                </c:pt>
                <c:pt idx="1082">
                  <c:v>103.104</c:v>
                </c:pt>
                <c:pt idx="1083">
                  <c:v>103.46469999999999</c:v>
                </c:pt>
                <c:pt idx="1084">
                  <c:v>103.85169999999999</c:v>
                </c:pt>
                <c:pt idx="1085">
                  <c:v>103.9624</c:v>
                </c:pt>
                <c:pt idx="1086">
                  <c:v>104.13720000000001</c:v>
                </c:pt>
                <c:pt idx="1087">
                  <c:v>103.8871</c:v>
                </c:pt>
                <c:pt idx="1088">
                  <c:v>103.59399999999999</c:v>
                </c:pt>
                <c:pt idx="1089">
                  <c:v>102.9469</c:v>
                </c:pt>
                <c:pt idx="1090">
                  <c:v>102.83839999999999</c:v>
                </c:pt>
                <c:pt idx="1091">
                  <c:v>101.8998</c:v>
                </c:pt>
                <c:pt idx="1092">
                  <c:v>102.0552</c:v>
                </c:pt>
                <c:pt idx="1093">
                  <c:v>101.9541</c:v>
                </c:pt>
                <c:pt idx="1094">
                  <c:v>102.1878</c:v>
                </c:pt>
                <c:pt idx="1095">
                  <c:v>102.2961</c:v>
                </c:pt>
                <c:pt idx="1096">
                  <c:v>102.7009</c:v>
                </c:pt>
                <c:pt idx="1097">
                  <c:v>102.5547</c:v>
                </c:pt>
                <c:pt idx="1098">
                  <c:v>102.7658</c:v>
                </c:pt>
                <c:pt idx="1099">
                  <c:v>103.0117</c:v>
                </c:pt>
                <c:pt idx="1100">
                  <c:v>102.82729999999999</c:v>
                </c:pt>
                <c:pt idx="1101">
                  <c:v>102.82729999999999</c:v>
                </c:pt>
                <c:pt idx="1102">
                  <c:v>102.8082</c:v>
                </c:pt>
                <c:pt idx="1103">
                  <c:v>102.8141</c:v>
                </c:pt>
                <c:pt idx="1104">
                  <c:v>102.4011</c:v>
                </c:pt>
                <c:pt idx="1105">
                  <c:v>102.6135</c:v>
                </c:pt>
                <c:pt idx="1106">
                  <c:v>102.6769</c:v>
                </c:pt>
                <c:pt idx="1107">
                  <c:v>103.3998</c:v>
                </c:pt>
                <c:pt idx="1108">
                  <c:v>103.1878</c:v>
                </c:pt>
                <c:pt idx="1109">
                  <c:v>103.4417</c:v>
                </c:pt>
                <c:pt idx="1110">
                  <c:v>103.49420000000001</c:v>
                </c:pt>
                <c:pt idx="1111">
                  <c:v>103.5972</c:v>
                </c:pt>
                <c:pt idx="1112">
                  <c:v>103.4357</c:v>
                </c:pt>
                <c:pt idx="1113">
                  <c:v>103.18640000000001</c:v>
                </c:pt>
                <c:pt idx="1114">
                  <c:v>103.24250000000001</c:v>
                </c:pt>
                <c:pt idx="1115">
                  <c:v>103.4063</c:v>
                </c:pt>
                <c:pt idx="1116">
                  <c:v>103.5672</c:v>
                </c:pt>
                <c:pt idx="1117">
                  <c:v>103.7152</c:v>
                </c:pt>
                <c:pt idx="1118">
                  <c:v>103.83159999999999</c:v>
                </c:pt>
                <c:pt idx="1119">
                  <c:v>103.83110000000001</c:v>
                </c:pt>
                <c:pt idx="1120">
                  <c:v>104.0675</c:v>
                </c:pt>
                <c:pt idx="1121">
                  <c:v>104.0894</c:v>
                </c:pt>
                <c:pt idx="1122">
                  <c:v>103.6039</c:v>
                </c:pt>
                <c:pt idx="1123">
                  <c:v>103.4597</c:v>
                </c:pt>
                <c:pt idx="1124">
                  <c:v>104.2458</c:v>
                </c:pt>
                <c:pt idx="1125">
                  <c:v>104.28230000000001</c:v>
                </c:pt>
                <c:pt idx="1126">
                  <c:v>103.7521</c:v>
                </c:pt>
                <c:pt idx="1127">
                  <c:v>103.91070000000001</c:v>
                </c:pt>
                <c:pt idx="1128">
                  <c:v>103.78400000000001</c:v>
                </c:pt>
                <c:pt idx="1129">
                  <c:v>103.8972</c:v>
                </c:pt>
                <c:pt idx="1130">
                  <c:v>103.9121</c:v>
                </c:pt>
                <c:pt idx="1131">
                  <c:v>104.5515</c:v>
                </c:pt>
                <c:pt idx="1132">
                  <c:v>104.49460000000001</c:v>
                </c:pt>
                <c:pt idx="1133">
                  <c:v>104.51990000000001</c:v>
                </c:pt>
                <c:pt idx="1134">
                  <c:v>104.6671</c:v>
                </c:pt>
                <c:pt idx="1135">
                  <c:v>105.2693</c:v>
                </c:pt>
                <c:pt idx="1136">
                  <c:v>105.30329999999999</c:v>
                </c:pt>
                <c:pt idx="1137">
                  <c:v>105.12520000000001</c:v>
                </c:pt>
                <c:pt idx="1138">
                  <c:v>105.17659999999999</c:v>
                </c:pt>
                <c:pt idx="1139">
                  <c:v>105.51690000000001</c:v>
                </c:pt>
                <c:pt idx="1140">
                  <c:v>105.3575</c:v>
                </c:pt>
                <c:pt idx="1141">
                  <c:v>105.4898</c:v>
                </c:pt>
                <c:pt idx="1142">
                  <c:v>105.5793</c:v>
                </c:pt>
                <c:pt idx="1143">
                  <c:v>105.6867</c:v>
                </c:pt>
                <c:pt idx="1144">
                  <c:v>105.6698</c:v>
                </c:pt>
                <c:pt idx="1145">
                  <c:v>105.41840000000001</c:v>
                </c:pt>
                <c:pt idx="1146">
                  <c:v>105.9756</c:v>
                </c:pt>
                <c:pt idx="1147">
                  <c:v>105.9756</c:v>
                </c:pt>
                <c:pt idx="1148">
                  <c:v>106.14579999999999</c:v>
                </c:pt>
                <c:pt idx="1149">
                  <c:v>106.4464</c:v>
                </c:pt>
                <c:pt idx="1150">
                  <c:v>106.5759</c:v>
                </c:pt>
                <c:pt idx="1151">
                  <c:v>106.4812</c:v>
                </c:pt>
                <c:pt idx="1152">
                  <c:v>106.27549999999999</c:v>
                </c:pt>
                <c:pt idx="1153">
                  <c:v>106.02330000000001</c:v>
                </c:pt>
                <c:pt idx="1154">
                  <c:v>105.56480000000001</c:v>
                </c:pt>
                <c:pt idx="1155">
                  <c:v>105.8514</c:v>
                </c:pt>
                <c:pt idx="1156">
                  <c:v>106.30200000000001</c:v>
                </c:pt>
                <c:pt idx="1157">
                  <c:v>106.2782</c:v>
                </c:pt>
                <c:pt idx="1158">
                  <c:v>105.92359999999999</c:v>
                </c:pt>
                <c:pt idx="1159">
                  <c:v>105.77509999999999</c:v>
                </c:pt>
                <c:pt idx="1160">
                  <c:v>106.06180000000001</c:v>
                </c:pt>
                <c:pt idx="1161">
                  <c:v>105.8288</c:v>
                </c:pt>
                <c:pt idx="1162">
                  <c:v>105.48</c:v>
                </c:pt>
                <c:pt idx="1163">
                  <c:v>104.8875</c:v>
                </c:pt>
                <c:pt idx="1164">
                  <c:v>105.0183</c:v>
                </c:pt>
                <c:pt idx="1165">
                  <c:v>105.041</c:v>
                </c:pt>
                <c:pt idx="1166">
                  <c:v>105.1807</c:v>
                </c:pt>
                <c:pt idx="1167">
                  <c:v>105.6026</c:v>
                </c:pt>
                <c:pt idx="1168">
                  <c:v>105.5615</c:v>
                </c:pt>
                <c:pt idx="1169">
                  <c:v>105.8407</c:v>
                </c:pt>
                <c:pt idx="1170">
                  <c:v>106.3571</c:v>
                </c:pt>
                <c:pt idx="1171">
                  <c:v>106.9046</c:v>
                </c:pt>
                <c:pt idx="1172">
                  <c:v>106.8954</c:v>
                </c:pt>
                <c:pt idx="1173">
                  <c:v>107.4081</c:v>
                </c:pt>
                <c:pt idx="1174">
                  <c:v>107.1679</c:v>
                </c:pt>
                <c:pt idx="1175">
                  <c:v>107.9731</c:v>
                </c:pt>
                <c:pt idx="1176">
                  <c:v>107.9731</c:v>
                </c:pt>
                <c:pt idx="1177">
                  <c:v>107.727</c:v>
                </c:pt>
                <c:pt idx="1178">
                  <c:v>107.75069999999999</c:v>
                </c:pt>
                <c:pt idx="1179">
                  <c:v>108.17359999999999</c:v>
                </c:pt>
                <c:pt idx="1180">
                  <c:v>108.36709999999999</c:v>
                </c:pt>
                <c:pt idx="1181">
                  <c:v>108.9526</c:v>
                </c:pt>
                <c:pt idx="1182">
                  <c:v>109.1093</c:v>
                </c:pt>
                <c:pt idx="1183">
                  <c:v>108.9422</c:v>
                </c:pt>
                <c:pt idx="1184">
                  <c:v>108.5658</c:v>
                </c:pt>
                <c:pt idx="1185">
                  <c:v>108.77</c:v>
                </c:pt>
                <c:pt idx="1186">
                  <c:v>108.20010000000001</c:v>
                </c:pt>
                <c:pt idx="1187">
                  <c:v>108.6331</c:v>
                </c:pt>
                <c:pt idx="1188">
                  <c:v>109.0822</c:v>
                </c:pt>
                <c:pt idx="1189">
                  <c:v>108.36360000000001</c:v>
                </c:pt>
                <c:pt idx="1190">
                  <c:v>108.6854</c:v>
                </c:pt>
                <c:pt idx="1191">
                  <c:v>108.6032</c:v>
                </c:pt>
                <c:pt idx="1192">
                  <c:v>108.02500000000001</c:v>
                </c:pt>
                <c:pt idx="1193">
                  <c:v>108.3381</c:v>
                </c:pt>
                <c:pt idx="1194">
                  <c:v>108.8908</c:v>
                </c:pt>
                <c:pt idx="1195">
                  <c:v>109.2944</c:v>
                </c:pt>
                <c:pt idx="1196">
                  <c:v>109.6691</c:v>
                </c:pt>
                <c:pt idx="1197">
                  <c:v>109.17610000000001</c:v>
                </c:pt>
                <c:pt idx="1198">
                  <c:v>109.38549999999999</c:v>
                </c:pt>
                <c:pt idx="1199">
                  <c:v>109.3015</c:v>
                </c:pt>
                <c:pt idx="1200">
                  <c:v>108.6698</c:v>
                </c:pt>
                <c:pt idx="1201">
                  <c:v>108.489</c:v>
                </c:pt>
                <c:pt idx="1202">
                  <c:v>108.9847</c:v>
                </c:pt>
                <c:pt idx="1203">
                  <c:v>108.6061</c:v>
                </c:pt>
                <c:pt idx="1204">
                  <c:v>107.8413</c:v>
                </c:pt>
                <c:pt idx="1205">
                  <c:v>108.1716</c:v>
                </c:pt>
                <c:pt idx="1206">
                  <c:v>107.9101</c:v>
                </c:pt>
                <c:pt idx="1207">
                  <c:v>108.0223</c:v>
                </c:pt>
                <c:pt idx="1208">
                  <c:v>108.6769</c:v>
                </c:pt>
                <c:pt idx="1209">
                  <c:v>108.5025</c:v>
                </c:pt>
                <c:pt idx="1210">
                  <c:v>109.4885</c:v>
                </c:pt>
                <c:pt idx="1211">
                  <c:v>109.73779999999999</c:v>
                </c:pt>
                <c:pt idx="1212">
                  <c:v>108.9661</c:v>
                </c:pt>
                <c:pt idx="1213">
                  <c:v>109.2816</c:v>
                </c:pt>
                <c:pt idx="1214">
                  <c:v>108.3635</c:v>
                </c:pt>
                <c:pt idx="1215">
                  <c:v>108.7901</c:v>
                </c:pt>
                <c:pt idx="1216">
                  <c:v>108.02460000000001</c:v>
                </c:pt>
                <c:pt idx="1217">
                  <c:v>107.9708</c:v>
                </c:pt>
                <c:pt idx="1218">
                  <c:v>109.9588</c:v>
                </c:pt>
                <c:pt idx="1219">
                  <c:v>110.3836</c:v>
                </c:pt>
                <c:pt idx="1220">
                  <c:v>110.9757</c:v>
                </c:pt>
                <c:pt idx="1221">
                  <c:v>109.9611</c:v>
                </c:pt>
                <c:pt idx="1222">
                  <c:v>109.73609999999999</c:v>
                </c:pt>
                <c:pt idx="1223">
                  <c:v>109.1596</c:v>
                </c:pt>
                <c:pt idx="1224">
                  <c:v>107.5034</c:v>
                </c:pt>
                <c:pt idx="1225">
                  <c:v>106.526</c:v>
                </c:pt>
                <c:pt idx="1226">
                  <c:v>106.1292</c:v>
                </c:pt>
                <c:pt idx="1227">
                  <c:v>106.0051</c:v>
                </c:pt>
                <c:pt idx="1228">
                  <c:v>104.3479</c:v>
                </c:pt>
                <c:pt idx="1229">
                  <c:v>103.9328</c:v>
                </c:pt>
                <c:pt idx="1230">
                  <c:v>103.4473</c:v>
                </c:pt>
                <c:pt idx="1231">
                  <c:v>103.10299999999999</c:v>
                </c:pt>
                <c:pt idx="1232">
                  <c:v>103.13039999999999</c:v>
                </c:pt>
                <c:pt idx="1233">
                  <c:v>103.06659999999999</c:v>
                </c:pt>
                <c:pt idx="1234">
                  <c:v>102.8657</c:v>
                </c:pt>
                <c:pt idx="1235">
                  <c:v>103.23569999999999</c:v>
                </c:pt>
                <c:pt idx="1236">
                  <c:v>103.919</c:v>
                </c:pt>
                <c:pt idx="1237">
                  <c:v>103.82980000000001</c:v>
                </c:pt>
                <c:pt idx="1238">
                  <c:v>103.79130000000001</c:v>
                </c:pt>
                <c:pt idx="1239">
                  <c:v>103.6953</c:v>
                </c:pt>
                <c:pt idx="1240">
                  <c:v>103.8587</c:v>
                </c:pt>
                <c:pt idx="1241">
                  <c:v>103.53270000000001</c:v>
                </c:pt>
                <c:pt idx="1242">
                  <c:v>103.7133</c:v>
                </c:pt>
                <c:pt idx="1243">
                  <c:v>103.2311</c:v>
                </c:pt>
                <c:pt idx="1244">
                  <c:v>103.0937</c:v>
                </c:pt>
                <c:pt idx="1245">
                  <c:v>102.9118</c:v>
                </c:pt>
                <c:pt idx="1246">
                  <c:v>102.9118</c:v>
                </c:pt>
                <c:pt idx="1247">
                  <c:v>102.8943</c:v>
                </c:pt>
                <c:pt idx="1248">
                  <c:v>102.7932</c:v>
                </c:pt>
                <c:pt idx="1249">
                  <c:v>102.82689999999999</c:v>
                </c:pt>
                <c:pt idx="1250">
                  <c:v>103.0192</c:v>
                </c:pt>
                <c:pt idx="1251">
                  <c:v>103.033</c:v>
                </c:pt>
                <c:pt idx="1252">
                  <c:v>102.6442</c:v>
                </c:pt>
                <c:pt idx="1253">
                  <c:v>102.52460000000001</c:v>
                </c:pt>
                <c:pt idx="1254">
                  <c:v>102.56319999999999</c:v>
                </c:pt>
                <c:pt idx="1255">
                  <c:v>102.72629999999999</c:v>
                </c:pt>
                <c:pt idx="1256">
                  <c:v>102.5029</c:v>
                </c:pt>
                <c:pt idx="1257">
                  <c:v>102.4256</c:v>
                </c:pt>
                <c:pt idx="1258">
                  <c:v>102.3189</c:v>
                </c:pt>
                <c:pt idx="1259">
                  <c:v>102.34180000000001</c:v>
                </c:pt>
                <c:pt idx="1260">
                  <c:v>102.413</c:v>
                </c:pt>
                <c:pt idx="1261">
                  <c:v>102.2214</c:v>
                </c:pt>
                <c:pt idx="1262">
                  <c:v>102.1861</c:v>
                </c:pt>
                <c:pt idx="1263">
                  <c:v>101.8447</c:v>
                </c:pt>
                <c:pt idx="1264">
                  <c:v>101.83240000000001</c:v>
                </c:pt>
                <c:pt idx="1265">
                  <c:v>101.66630000000001</c:v>
                </c:pt>
                <c:pt idx="1266">
                  <c:v>101.66630000000001</c:v>
                </c:pt>
                <c:pt idx="1267">
                  <c:v>101.6414</c:v>
                </c:pt>
                <c:pt idx="1268">
                  <c:v>101.6421</c:v>
                </c:pt>
                <c:pt idx="1269">
                  <c:v>101.67270000000001</c:v>
                </c:pt>
                <c:pt idx="1270">
                  <c:v>101.6718</c:v>
                </c:pt>
                <c:pt idx="1271">
                  <c:v>101.7456</c:v>
                </c:pt>
                <c:pt idx="1272">
                  <c:v>101.9038</c:v>
                </c:pt>
                <c:pt idx="1273">
                  <c:v>101.8716</c:v>
                </c:pt>
                <c:pt idx="1274">
                  <c:v>101.8866</c:v>
                </c:pt>
                <c:pt idx="1275">
                  <c:v>101.7846</c:v>
                </c:pt>
                <c:pt idx="1276">
                  <c:v>101.7929</c:v>
                </c:pt>
                <c:pt idx="1277">
                  <c:v>101.7289</c:v>
                </c:pt>
                <c:pt idx="1278">
                  <c:v>101.5762</c:v>
                </c:pt>
                <c:pt idx="1279">
                  <c:v>101.5762</c:v>
                </c:pt>
                <c:pt idx="1280">
                  <c:v>101.7861</c:v>
                </c:pt>
                <c:pt idx="1281">
                  <c:v>102.0373</c:v>
                </c:pt>
                <c:pt idx="1282">
                  <c:v>102.3446</c:v>
                </c:pt>
                <c:pt idx="1283">
                  <c:v>102.43259999999999</c:v>
                </c:pt>
                <c:pt idx="1284">
                  <c:v>102.43259999999999</c:v>
                </c:pt>
                <c:pt idx="1285">
                  <c:v>102.4791</c:v>
                </c:pt>
                <c:pt idx="1286">
                  <c:v>102.3978</c:v>
                </c:pt>
                <c:pt idx="1287">
                  <c:v>102.3039</c:v>
                </c:pt>
                <c:pt idx="1288">
                  <c:v>102.3468</c:v>
                </c:pt>
                <c:pt idx="1289">
                  <c:v>102.238</c:v>
                </c:pt>
                <c:pt idx="1290">
                  <c:v>102.2428</c:v>
                </c:pt>
                <c:pt idx="1291">
                  <c:v>102.39879999999999</c:v>
                </c:pt>
                <c:pt idx="1292">
                  <c:v>102.4478</c:v>
                </c:pt>
                <c:pt idx="1293">
                  <c:v>102.7985</c:v>
                </c:pt>
                <c:pt idx="1294">
                  <c:v>102.8952</c:v>
                </c:pt>
                <c:pt idx="1295">
                  <c:v>102.93859999999999</c:v>
                </c:pt>
                <c:pt idx="1296">
                  <c:v>103.0898</c:v>
                </c:pt>
                <c:pt idx="1297">
                  <c:v>102.99769999999999</c:v>
                </c:pt>
                <c:pt idx="1298">
                  <c:v>103.2319</c:v>
                </c:pt>
                <c:pt idx="1299">
                  <c:v>103.3766</c:v>
                </c:pt>
                <c:pt idx="1300">
                  <c:v>103.39879999999999</c:v>
                </c:pt>
                <c:pt idx="1301">
                  <c:v>103.4843</c:v>
                </c:pt>
                <c:pt idx="1302">
                  <c:v>103.4803</c:v>
                </c:pt>
                <c:pt idx="1303">
                  <c:v>103.4803</c:v>
                </c:pt>
                <c:pt idx="1304">
                  <c:v>103.4342</c:v>
                </c:pt>
                <c:pt idx="1305">
                  <c:v>103.4207</c:v>
                </c:pt>
                <c:pt idx="1306">
                  <c:v>103.32980000000001</c:v>
                </c:pt>
                <c:pt idx="1307">
                  <c:v>103.1734</c:v>
                </c:pt>
                <c:pt idx="1308">
                  <c:v>103.2432</c:v>
                </c:pt>
                <c:pt idx="1309">
                  <c:v>103.03060000000001</c:v>
                </c:pt>
                <c:pt idx="1310">
                  <c:v>102.9023</c:v>
                </c:pt>
                <c:pt idx="1311">
                  <c:v>102.88630000000001</c:v>
                </c:pt>
                <c:pt idx="1312">
                  <c:v>103.2265</c:v>
                </c:pt>
                <c:pt idx="1313">
                  <c:v>103.3001</c:v>
                </c:pt>
                <c:pt idx="1314">
                  <c:v>103.0343</c:v>
                </c:pt>
                <c:pt idx="1315">
                  <c:v>102.8053</c:v>
                </c:pt>
                <c:pt idx="1316">
                  <c:v>102.8053</c:v>
                </c:pt>
                <c:pt idx="1317">
                  <c:v>102.673</c:v>
                </c:pt>
                <c:pt idx="1318">
                  <c:v>102.6754</c:v>
                </c:pt>
                <c:pt idx="1319">
                  <c:v>102.712</c:v>
                </c:pt>
                <c:pt idx="1320">
                  <c:v>102.5193</c:v>
                </c:pt>
                <c:pt idx="1321">
                  <c:v>102.4631</c:v>
                </c:pt>
                <c:pt idx="1322">
                  <c:v>102.6246</c:v>
                </c:pt>
                <c:pt idx="1323">
                  <c:v>102.8004</c:v>
                </c:pt>
                <c:pt idx="1324">
                  <c:v>102.70399999999999</c:v>
                </c:pt>
                <c:pt idx="1325">
                  <c:v>102.7242</c:v>
                </c:pt>
                <c:pt idx="1326">
                  <c:v>102.7518</c:v>
                </c:pt>
                <c:pt idx="1327">
                  <c:v>102.7984</c:v>
                </c:pt>
                <c:pt idx="1328">
                  <c:v>102.7402</c:v>
                </c:pt>
                <c:pt idx="1329">
                  <c:v>102.7021</c:v>
                </c:pt>
                <c:pt idx="1330">
                  <c:v>102.7433</c:v>
                </c:pt>
                <c:pt idx="1331">
                  <c:v>102.87220000000001</c:v>
                </c:pt>
                <c:pt idx="1332">
                  <c:v>102.9354</c:v>
                </c:pt>
                <c:pt idx="1333">
                  <c:v>103.2676</c:v>
                </c:pt>
                <c:pt idx="1334">
                  <c:v>103.3764</c:v>
                </c:pt>
                <c:pt idx="1335">
                  <c:v>103.3426</c:v>
                </c:pt>
                <c:pt idx="1336">
                  <c:v>103.3426</c:v>
                </c:pt>
                <c:pt idx="1337">
                  <c:v>103.69499999999999</c:v>
                </c:pt>
                <c:pt idx="1338">
                  <c:v>104.0378</c:v>
                </c:pt>
                <c:pt idx="1339">
                  <c:v>104.13420000000001</c:v>
                </c:pt>
                <c:pt idx="1340">
                  <c:v>103.9802</c:v>
                </c:pt>
                <c:pt idx="1341">
                  <c:v>103.91889999999999</c:v>
                </c:pt>
                <c:pt idx="1342">
                  <c:v>104.0791</c:v>
                </c:pt>
                <c:pt idx="1343">
                  <c:v>104.3156</c:v>
                </c:pt>
                <c:pt idx="1344">
                  <c:v>104.3391</c:v>
                </c:pt>
                <c:pt idx="1345">
                  <c:v>104.2842</c:v>
                </c:pt>
                <c:pt idx="1346">
                  <c:v>104.1229</c:v>
                </c:pt>
                <c:pt idx="1347">
                  <c:v>104.1315</c:v>
                </c:pt>
                <c:pt idx="1348">
                  <c:v>104.0377</c:v>
                </c:pt>
                <c:pt idx="1349">
                  <c:v>103.708</c:v>
                </c:pt>
                <c:pt idx="1350">
                  <c:v>103.76</c:v>
                </c:pt>
                <c:pt idx="1351">
                  <c:v>103.6538</c:v>
                </c:pt>
                <c:pt idx="1352">
                  <c:v>103.538</c:v>
                </c:pt>
                <c:pt idx="1353">
                  <c:v>103.4348</c:v>
                </c:pt>
                <c:pt idx="1354">
                  <c:v>103.4875</c:v>
                </c:pt>
                <c:pt idx="1355">
                  <c:v>103.48390000000001</c:v>
                </c:pt>
                <c:pt idx="1356">
                  <c:v>103.276</c:v>
                </c:pt>
                <c:pt idx="1357">
                  <c:v>103.3647</c:v>
                </c:pt>
                <c:pt idx="1358">
                  <c:v>103.78870000000001</c:v>
                </c:pt>
                <c:pt idx="1359">
                  <c:v>103.6058</c:v>
                </c:pt>
                <c:pt idx="1360">
                  <c:v>103.5814</c:v>
                </c:pt>
                <c:pt idx="1361">
                  <c:v>103.5989</c:v>
                </c:pt>
                <c:pt idx="1362">
                  <c:v>103.9376</c:v>
                </c:pt>
                <c:pt idx="1363">
                  <c:v>104.0258</c:v>
                </c:pt>
                <c:pt idx="1364">
                  <c:v>104.6464</c:v>
                </c:pt>
                <c:pt idx="1365">
                  <c:v>104.4383</c:v>
                </c:pt>
                <c:pt idx="1366">
                  <c:v>104.4383</c:v>
                </c:pt>
                <c:pt idx="1367">
                  <c:v>104.39879999999999</c:v>
                </c:pt>
                <c:pt idx="1368">
                  <c:v>104.2894</c:v>
                </c:pt>
                <c:pt idx="1369">
                  <c:v>104.19240000000001</c:v>
                </c:pt>
                <c:pt idx="1370">
                  <c:v>104.0826</c:v>
                </c:pt>
                <c:pt idx="1371">
                  <c:v>103.7803</c:v>
                </c:pt>
                <c:pt idx="1372">
                  <c:v>103.77379999999999</c:v>
                </c:pt>
                <c:pt idx="1373">
                  <c:v>103.5757</c:v>
                </c:pt>
                <c:pt idx="1374">
                  <c:v>103.7264</c:v>
                </c:pt>
                <c:pt idx="1375">
                  <c:v>103.6404</c:v>
                </c:pt>
                <c:pt idx="1376">
                  <c:v>103.4278</c:v>
                </c:pt>
                <c:pt idx="1377">
                  <c:v>103.5188</c:v>
                </c:pt>
                <c:pt idx="1378">
                  <c:v>103.407</c:v>
                </c:pt>
                <c:pt idx="1379">
                  <c:v>103.0712</c:v>
                </c:pt>
                <c:pt idx="1380">
                  <c:v>103.1771</c:v>
                </c:pt>
                <c:pt idx="1381">
                  <c:v>102.9774</c:v>
                </c:pt>
                <c:pt idx="1382">
                  <c:v>102.9468</c:v>
                </c:pt>
                <c:pt idx="1383">
                  <c:v>103.2735</c:v>
                </c:pt>
                <c:pt idx="1384">
                  <c:v>103.1407</c:v>
                </c:pt>
                <c:pt idx="1385">
                  <c:v>103.11620000000001</c:v>
                </c:pt>
                <c:pt idx="1386">
                  <c:v>102.6361</c:v>
                </c:pt>
                <c:pt idx="1387">
                  <c:v>102.4539</c:v>
                </c:pt>
                <c:pt idx="1388">
                  <c:v>101.98869999999999</c:v>
                </c:pt>
                <c:pt idx="1389">
                  <c:v>102.066</c:v>
                </c:pt>
                <c:pt idx="1390">
                  <c:v>102.11360000000001</c:v>
                </c:pt>
                <c:pt idx="1391">
                  <c:v>102.0943</c:v>
                </c:pt>
                <c:pt idx="1392">
                  <c:v>101.88079999999999</c:v>
                </c:pt>
                <c:pt idx="1393">
                  <c:v>101.8558</c:v>
                </c:pt>
                <c:pt idx="1394">
                  <c:v>101.91540000000001</c:v>
                </c:pt>
                <c:pt idx="1395">
                  <c:v>101.6527</c:v>
                </c:pt>
                <c:pt idx="1396">
                  <c:v>101.5596</c:v>
                </c:pt>
                <c:pt idx="1397">
                  <c:v>101.61279999999999</c:v>
                </c:pt>
                <c:pt idx="1398">
                  <c:v>101.7778</c:v>
                </c:pt>
                <c:pt idx="1399">
                  <c:v>101.64490000000001</c:v>
                </c:pt>
                <c:pt idx="1400">
                  <c:v>101.3963</c:v>
                </c:pt>
                <c:pt idx="1401">
                  <c:v>101.5146</c:v>
                </c:pt>
                <c:pt idx="1402">
                  <c:v>101.5686</c:v>
                </c:pt>
                <c:pt idx="1403">
                  <c:v>101.78100000000001</c:v>
                </c:pt>
                <c:pt idx="1404">
                  <c:v>101.809</c:v>
                </c:pt>
                <c:pt idx="1405">
                  <c:v>101.7007</c:v>
                </c:pt>
                <c:pt idx="1406">
                  <c:v>101.8134</c:v>
                </c:pt>
                <c:pt idx="1407">
                  <c:v>101.5076</c:v>
                </c:pt>
                <c:pt idx="1408">
                  <c:v>101.5076</c:v>
                </c:pt>
                <c:pt idx="1409">
                  <c:v>101.5025</c:v>
                </c:pt>
                <c:pt idx="1410">
                  <c:v>101.41970000000001</c:v>
                </c:pt>
                <c:pt idx="1411">
                  <c:v>101.3008</c:v>
                </c:pt>
                <c:pt idx="1412">
                  <c:v>101.4057</c:v>
                </c:pt>
                <c:pt idx="1413">
                  <c:v>101.3661</c:v>
                </c:pt>
                <c:pt idx="1414">
                  <c:v>101.398</c:v>
                </c:pt>
                <c:pt idx="1415">
                  <c:v>101.36709999999999</c:v>
                </c:pt>
                <c:pt idx="1416">
                  <c:v>101.5132</c:v>
                </c:pt>
                <c:pt idx="1417">
                  <c:v>101.4906</c:v>
                </c:pt>
                <c:pt idx="1418">
                  <c:v>102.2666</c:v>
                </c:pt>
                <c:pt idx="1419">
                  <c:v>102.3441</c:v>
                </c:pt>
                <c:pt idx="1420">
                  <c:v>102.5003</c:v>
                </c:pt>
                <c:pt idx="1421">
                  <c:v>102.4395</c:v>
                </c:pt>
                <c:pt idx="1422">
                  <c:v>102.2441</c:v>
                </c:pt>
                <c:pt idx="1423">
                  <c:v>102.0898</c:v>
                </c:pt>
                <c:pt idx="1424">
                  <c:v>102.03919999999999</c:v>
                </c:pt>
                <c:pt idx="1425">
                  <c:v>102.161</c:v>
                </c:pt>
                <c:pt idx="1426">
                  <c:v>102.31100000000001</c:v>
                </c:pt>
                <c:pt idx="1427">
                  <c:v>102.60599999999999</c:v>
                </c:pt>
                <c:pt idx="1428">
                  <c:v>102.57640000000001</c:v>
                </c:pt>
                <c:pt idx="1429">
                  <c:v>102.5896</c:v>
                </c:pt>
                <c:pt idx="1430">
                  <c:v>102.8916</c:v>
                </c:pt>
                <c:pt idx="1431">
                  <c:v>103.1742</c:v>
                </c:pt>
                <c:pt idx="1432">
                  <c:v>102.7871</c:v>
                </c:pt>
                <c:pt idx="1433">
                  <c:v>103.00660000000001</c:v>
                </c:pt>
                <c:pt idx="1434">
                  <c:v>102.7694</c:v>
                </c:pt>
                <c:pt idx="1435">
                  <c:v>102.5458</c:v>
                </c:pt>
                <c:pt idx="1436">
                  <c:v>102.5458</c:v>
                </c:pt>
                <c:pt idx="1437">
                  <c:v>102.7204</c:v>
                </c:pt>
                <c:pt idx="1438">
                  <c:v>102.6969</c:v>
                </c:pt>
                <c:pt idx="1439">
                  <c:v>102.7178</c:v>
                </c:pt>
                <c:pt idx="1440">
                  <c:v>102.76900000000001</c:v>
                </c:pt>
                <c:pt idx="1441">
                  <c:v>102.87390000000001</c:v>
                </c:pt>
                <c:pt idx="1442">
                  <c:v>102.52460000000001</c:v>
                </c:pt>
                <c:pt idx="1443">
                  <c:v>102.375</c:v>
                </c:pt>
                <c:pt idx="1444">
                  <c:v>102.46550000000001</c:v>
                </c:pt>
                <c:pt idx="1445">
                  <c:v>102.44880000000001</c:v>
                </c:pt>
                <c:pt idx="1446">
                  <c:v>102.0942</c:v>
                </c:pt>
                <c:pt idx="1447">
                  <c:v>102.3518</c:v>
                </c:pt>
                <c:pt idx="1448">
                  <c:v>102.0004</c:v>
                </c:pt>
                <c:pt idx="1449">
                  <c:v>102.0608</c:v>
                </c:pt>
                <c:pt idx="1450">
                  <c:v>101.8844</c:v>
                </c:pt>
                <c:pt idx="1451">
                  <c:v>101.7694</c:v>
                </c:pt>
                <c:pt idx="1452">
                  <c:v>101.9983</c:v>
                </c:pt>
                <c:pt idx="1453">
                  <c:v>101.5231</c:v>
                </c:pt>
                <c:pt idx="1454">
                  <c:v>101.82859999999999</c:v>
                </c:pt>
                <c:pt idx="1455">
                  <c:v>101.9374</c:v>
                </c:pt>
                <c:pt idx="1456">
                  <c:v>101.8557</c:v>
                </c:pt>
                <c:pt idx="1457">
                  <c:v>102.1283</c:v>
                </c:pt>
                <c:pt idx="1458">
                  <c:v>101.82129999999999</c:v>
                </c:pt>
                <c:pt idx="1459">
                  <c:v>101.6493</c:v>
                </c:pt>
                <c:pt idx="1460">
                  <c:v>101.2741</c:v>
                </c:pt>
                <c:pt idx="1461">
                  <c:v>101.2186</c:v>
                </c:pt>
                <c:pt idx="1462">
                  <c:v>101.2289</c:v>
                </c:pt>
                <c:pt idx="1463">
                  <c:v>101.0271</c:v>
                </c:pt>
                <c:pt idx="1464">
                  <c:v>101.241</c:v>
                </c:pt>
                <c:pt idx="1465">
                  <c:v>101.0849</c:v>
                </c:pt>
                <c:pt idx="1466">
                  <c:v>100.9438</c:v>
                </c:pt>
                <c:pt idx="1467">
                  <c:v>101.2099</c:v>
                </c:pt>
                <c:pt idx="1468">
                  <c:v>101.05889999999999</c:v>
                </c:pt>
                <c:pt idx="1469">
                  <c:v>101.1173</c:v>
                </c:pt>
                <c:pt idx="1470">
                  <c:v>101.2597</c:v>
                </c:pt>
                <c:pt idx="1471">
                  <c:v>101.4559</c:v>
                </c:pt>
                <c:pt idx="1472">
                  <c:v>101.4686</c:v>
                </c:pt>
                <c:pt idx="1473">
                  <c:v>101.32810000000001</c:v>
                </c:pt>
                <c:pt idx="1474">
                  <c:v>101.6285</c:v>
                </c:pt>
                <c:pt idx="1475">
                  <c:v>101.4387</c:v>
                </c:pt>
                <c:pt idx="1476">
                  <c:v>101.5492</c:v>
                </c:pt>
                <c:pt idx="1477">
                  <c:v>101.7236</c:v>
                </c:pt>
                <c:pt idx="1478">
                  <c:v>101.5758</c:v>
                </c:pt>
                <c:pt idx="1479">
                  <c:v>101.202</c:v>
                </c:pt>
                <c:pt idx="1480">
                  <c:v>100.9729</c:v>
                </c:pt>
                <c:pt idx="1481">
                  <c:v>101.226</c:v>
                </c:pt>
                <c:pt idx="1482">
                  <c:v>100.7311</c:v>
                </c:pt>
                <c:pt idx="1483">
                  <c:v>100.7959</c:v>
                </c:pt>
                <c:pt idx="1484">
                  <c:v>100.8879</c:v>
                </c:pt>
                <c:pt idx="1485">
                  <c:v>101.0431</c:v>
                </c:pt>
                <c:pt idx="1486">
                  <c:v>101.188</c:v>
                </c:pt>
                <c:pt idx="1487">
                  <c:v>101.40219999999999</c:v>
                </c:pt>
                <c:pt idx="1488">
                  <c:v>101.3001</c:v>
                </c:pt>
                <c:pt idx="1489">
                  <c:v>101.4053</c:v>
                </c:pt>
                <c:pt idx="1490">
                  <c:v>101.71040000000001</c:v>
                </c:pt>
                <c:pt idx="1491">
                  <c:v>101.783</c:v>
                </c:pt>
                <c:pt idx="1492">
                  <c:v>101.8215</c:v>
                </c:pt>
                <c:pt idx="1493">
                  <c:v>101.4385</c:v>
                </c:pt>
                <c:pt idx="1494">
                  <c:v>101.3158</c:v>
                </c:pt>
                <c:pt idx="1495">
                  <c:v>101.2687</c:v>
                </c:pt>
                <c:pt idx="1496">
                  <c:v>101.1317</c:v>
                </c:pt>
                <c:pt idx="1497">
                  <c:v>100.7629</c:v>
                </c:pt>
                <c:pt idx="1498">
                  <c:v>100.7165</c:v>
                </c:pt>
                <c:pt idx="1499">
                  <c:v>100.7377</c:v>
                </c:pt>
                <c:pt idx="1500">
                  <c:v>100.7852</c:v>
                </c:pt>
                <c:pt idx="1501">
                  <c:v>100.8948</c:v>
                </c:pt>
                <c:pt idx="1502">
                  <c:v>101.0762</c:v>
                </c:pt>
                <c:pt idx="1503">
                  <c:v>100.85509999999999</c:v>
                </c:pt>
                <c:pt idx="1504">
                  <c:v>101.1872</c:v>
                </c:pt>
                <c:pt idx="1505">
                  <c:v>101.5241</c:v>
                </c:pt>
                <c:pt idx="1506">
                  <c:v>101.5241</c:v>
                </c:pt>
                <c:pt idx="1507">
                  <c:v>101.598</c:v>
                </c:pt>
                <c:pt idx="1508">
                  <c:v>101.48220000000001</c:v>
                </c:pt>
                <c:pt idx="1509">
                  <c:v>101.28660000000001</c:v>
                </c:pt>
                <c:pt idx="1510">
                  <c:v>101.55029999999999</c:v>
                </c:pt>
                <c:pt idx="1511">
                  <c:v>101.0397</c:v>
                </c:pt>
                <c:pt idx="1512">
                  <c:v>100.97410000000001</c:v>
                </c:pt>
                <c:pt idx="1513">
                  <c:v>100.8544</c:v>
                </c:pt>
                <c:pt idx="1514">
                  <c:v>100.7114</c:v>
                </c:pt>
                <c:pt idx="1515">
                  <c:v>100.6448</c:v>
                </c:pt>
                <c:pt idx="1516">
                  <c:v>100.5077</c:v>
                </c:pt>
                <c:pt idx="1517">
                  <c:v>100.1734</c:v>
                </c:pt>
                <c:pt idx="1518">
                  <c:v>100.7051</c:v>
                </c:pt>
                <c:pt idx="1519">
                  <c:v>100.66540000000001</c:v>
                </c:pt>
                <c:pt idx="1520">
                  <c:v>100.741</c:v>
                </c:pt>
                <c:pt idx="1521">
                  <c:v>100.70869999999999</c:v>
                </c:pt>
                <c:pt idx="1522">
                  <c:v>101.2366</c:v>
                </c:pt>
                <c:pt idx="1523">
                  <c:v>101.1825</c:v>
                </c:pt>
                <c:pt idx="1524">
                  <c:v>101.32089999999999</c:v>
                </c:pt>
                <c:pt idx="1525">
                  <c:v>101.19289999999999</c:v>
                </c:pt>
                <c:pt idx="1526">
                  <c:v>101.19289999999999</c:v>
                </c:pt>
                <c:pt idx="1527">
                  <c:v>101.027</c:v>
                </c:pt>
                <c:pt idx="1528">
                  <c:v>100.7882</c:v>
                </c:pt>
                <c:pt idx="1529">
                  <c:v>100.92140000000001</c:v>
                </c:pt>
                <c:pt idx="1530">
                  <c:v>100.6717</c:v>
                </c:pt>
                <c:pt idx="1531">
                  <c:v>100.7503</c:v>
                </c:pt>
                <c:pt idx="1532">
                  <c:v>100.74979999999999</c:v>
                </c:pt>
                <c:pt idx="1533">
                  <c:v>100.8934</c:v>
                </c:pt>
                <c:pt idx="1534">
                  <c:v>101.4152</c:v>
                </c:pt>
                <c:pt idx="1535">
                  <c:v>101.2474</c:v>
                </c:pt>
                <c:pt idx="1536">
                  <c:v>101.6399</c:v>
                </c:pt>
                <c:pt idx="1537">
                  <c:v>101.9384</c:v>
                </c:pt>
                <c:pt idx="1538">
                  <c:v>102.14400000000001</c:v>
                </c:pt>
                <c:pt idx="1539">
                  <c:v>102.0889</c:v>
                </c:pt>
                <c:pt idx="1540">
                  <c:v>102.0889</c:v>
                </c:pt>
                <c:pt idx="1541">
                  <c:v>102.1533</c:v>
                </c:pt>
                <c:pt idx="1542">
                  <c:v>102.3972</c:v>
                </c:pt>
                <c:pt idx="1543">
                  <c:v>102.55159999999999</c:v>
                </c:pt>
                <c:pt idx="1544">
                  <c:v>102.4689</c:v>
                </c:pt>
                <c:pt idx="1545">
                  <c:v>102.4689</c:v>
                </c:pt>
                <c:pt idx="1546">
                  <c:v>102.6301</c:v>
                </c:pt>
                <c:pt idx="1547">
                  <c:v>102.4726</c:v>
                </c:pt>
                <c:pt idx="1548">
                  <c:v>102.5522</c:v>
                </c:pt>
                <c:pt idx="1549">
                  <c:v>102.8198</c:v>
                </c:pt>
                <c:pt idx="1550">
                  <c:v>102.8548</c:v>
                </c:pt>
                <c:pt idx="1551">
                  <c:v>103.2009</c:v>
                </c:pt>
                <c:pt idx="1552">
                  <c:v>102.88209999999999</c:v>
                </c:pt>
                <c:pt idx="1553">
                  <c:v>102.6855</c:v>
                </c:pt>
                <c:pt idx="1554">
                  <c:v>103.1366</c:v>
                </c:pt>
                <c:pt idx="1555">
                  <c:v>103.1083</c:v>
                </c:pt>
                <c:pt idx="1556">
                  <c:v>102.59869999999999</c:v>
                </c:pt>
                <c:pt idx="1557">
                  <c:v>102.8699</c:v>
                </c:pt>
                <c:pt idx="1558">
                  <c:v>102.8249</c:v>
                </c:pt>
                <c:pt idx="1559">
                  <c:v>102.52849999999999</c:v>
                </c:pt>
                <c:pt idx="1560">
                  <c:v>102.4962</c:v>
                </c:pt>
                <c:pt idx="1561">
                  <c:v>103.0874</c:v>
                </c:pt>
                <c:pt idx="1562">
                  <c:v>102.8043</c:v>
                </c:pt>
                <c:pt idx="1563">
                  <c:v>103.1658</c:v>
                </c:pt>
                <c:pt idx="1564">
                  <c:v>103.3921</c:v>
                </c:pt>
                <c:pt idx="1565">
                  <c:v>103.19499999999999</c:v>
                </c:pt>
                <c:pt idx="1566">
                  <c:v>103.0468</c:v>
                </c:pt>
                <c:pt idx="1567">
                  <c:v>102.7758</c:v>
                </c:pt>
                <c:pt idx="1568">
                  <c:v>102.7758</c:v>
                </c:pt>
                <c:pt idx="1569">
                  <c:v>102.8878</c:v>
                </c:pt>
                <c:pt idx="1570">
                  <c:v>102.7039</c:v>
                </c:pt>
                <c:pt idx="1571">
                  <c:v>102.6349</c:v>
                </c:pt>
                <c:pt idx="1572">
                  <c:v>102.98820000000001</c:v>
                </c:pt>
                <c:pt idx="1573">
                  <c:v>103.1853</c:v>
                </c:pt>
                <c:pt idx="1574">
                  <c:v>103.38039999999999</c:v>
                </c:pt>
                <c:pt idx="1575">
                  <c:v>103.1888</c:v>
                </c:pt>
                <c:pt idx="1576">
                  <c:v>103.1888</c:v>
                </c:pt>
                <c:pt idx="1577">
                  <c:v>102.4633</c:v>
                </c:pt>
                <c:pt idx="1578">
                  <c:v>102.09220000000001</c:v>
                </c:pt>
                <c:pt idx="1579">
                  <c:v>102.3492</c:v>
                </c:pt>
                <c:pt idx="1580">
                  <c:v>102.4469</c:v>
                </c:pt>
                <c:pt idx="1581">
                  <c:v>102.2683</c:v>
                </c:pt>
                <c:pt idx="1582">
                  <c:v>102.61879999999999</c:v>
                </c:pt>
                <c:pt idx="1583">
                  <c:v>103.34950000000001</c:v>
                </c:pt>
                <c:pt idx="1584">
                  <c:v>102.9162</c:v>
                </c:pt>
                <c:pt idx="1585">
                  <c:v>102.6892</c:v>
                </c:pt>
                <c:pt idx="1586">
                  <c:v>102.2777</c:v>
                </c:pt>
                <c:pt idx="1587">
                  <c:v>102.30880000000001</c:v>
                </c:pt>
                <c:pt idx="1588">
                  <c:v>102.2106</c:v>
                </c:pt>
                <c:pt idx="1589">
                  <c:v>102.0484</c:v>
                </c:pt>
                <c:pt idx="1590">
                  <c:v>102.0592</c:v>
                </c:pt>
                <c:pt idx="1591">
                  <c:v>101.8168</c:v>
                </c:pt>
                <c:pt idx="1592">
                  <c:v>101.7676</c:v>
                </c:pt>
                <c:pt idx="1593">
                  <c:v>101.22669999999999</c:v>
                </c:pt>
                <c:pt idx="1594">
                  <c:v>101.0027</c:v>
                </c:pt>
                <c:pt idx="1595">
                  <c:v>101.1172</c:v>
                </c:pt>
                <c:pt idx="1596">
                  <c:v>101.4075</c:v>
                </c:pt>
                <c:pt idx="1597">
                  <c:v>101.369</c:v>
                </c:pt>
                <c:pt idx="1598">
                  <c:v>101.6524</c:v>
                </c:pt>
                <c:pt idx="1599">
                  <c:v>101.6831</c:v>
                </c:pt>
                <c:pt idx="1600">
                  <c:v>101.4798</c:v>
                </c:pt>
                <c:pt idx="1601">
                  <c:v>101.4798</c:v>
                </c:pt>
                <c:pt idx="1602">
                  <c:v>101.6474</c:v>
                </c:pt>
                <c:pt idx="1603">
                  <c:v>101.14790000000001</c:v>
                </c:pt>
                <c:pt idx="1604">
                  <c:v>100.9637</c:v>
                </c:pt>
                <c:pt idx="1605">
                  <c:v>100.86450000000001</c:v>
                </c:pt>
                <c:pt idx="1606">
                  <c:v>100.9258</c:v>
                </c:pt>
                <c:pt idx="1607">
                  <c:v>100.95699999999999</c:v>
                </c:pt>
                <c:pt idx="1608">
                  <c:v>100.75620000000001</c:v>
                </c:pt>
                <c:pt idx="1609">
                  <c:v>100.8074</c:v>
                </c:pt>
                <c:pt idx="1610">
                  <c:v>100.5941</c:v>
                </c:pt>
                <c:pt idx="1611">
                  <c:v>100.60339999999999</c:v>
                </c:pt>
                <c:pt idx="1612">
                  <c:v>100.59520000000001</c:v>
                </c:pt>
                <c:pt idx="1613">
                  <c:v>100.6889</c:v>
                </c:pt>
                <c:pt idx="1614">
                  <c:v>100.83329999999999</c:v>
                </c:pt>
                <c:pt idx="1615">
                  <c:v>100.9051</c:v>
                </c:pt>
                <c:pt idx="1616">
                  <c:v>101.0403</c:v>
                </c:pt>
                <c:pt idx="1617">
                  <c:v>100.87050000000001</c:v>
                </c:pt>
                <c:pt idx="1618">
                  <c:v>101.1554</c:v>
                </c:pt>
                <c:pt idx="1619">
                  <c:v>101.55929999999999</c:v>
                </c:pt>
                <c:pt idx="1620">
                  <c:v>101.5265</c:v>
                </c:pt>
                <c:pt idx="1621">
                  <c:v>101.3897</c:v>
                </c:pt>
                <c:pt idx="1622">
                  <c:v>101.48520000000001</c:v>
                </c:pt>
                <c:pt idx="1623">
                  <c:v>101.54089999999999</c:v>
                </c:pt>
                <c:pt idx="1624">
                  <c:v>101.62649999999999</c:v>
                </c:pt>
                <c:pt idx="1625">
                  <c:v>101.21769999999999</c:v>
                </c:pt>
                <c:pt idx="1626">
                  <c:v>101.21769999999999</c:v>
                </c:pt>
                <c:pt idx="1627">
                  <c:v>101.05670000000001</c:v>
                </c:pt>
                <c:pt idx="1628">
                  <c:v>100.6086</c:v>
                </c:pt>
                <c:pt idx="1629">
                  <c:v>100.3505</c:v>
                </c:pt>
                <c:pt idx="1630">
                  <c:v>100.30540000000001</c:v>
                </c:pt>
                <c:pt idx="1631">
                  <c:v>100.5963</c:v>
                </c:pt>
                <c:pt idx="1632">
                  <c:v>101.0667</c:v>
                </c:pt>
                <c:pt idx="1633">
                  <c:v>100.6832</c:v>
                </c:pt>
                <c:pt idx="1634">
                  <c:v>100.87990000000001</c:v>
                </c:pt>
                <c:pt idx="1635">
                  <c:v>101.2016</c:v>
                </c:pt>
                <c:pt idx="1636">
                  <c:v>101.42789999999999</c:v>
                </c:pt>
                <c:pt idx="1637">
                  <c:v>101.5005</c:v>
                </c:pt>
                <c:pt idx="1638">
                  <c:v>101.9644</c:v>
                </c:pt>
                <c:pt idx="1639">
                  <c:v>101.6129</c:v>
                </c:pt>
                <c:pt idx="1640">
                  <c:v>101.8421</c:v>
                </c:pt>
                <c:pt idx="1641">
                  <c:v>101.2187</c:v>
                </c:pt>
                <c:pt idx="1642">
                  <c:v>100.2213</c:v>
                </c:pt>
                <c:pt idx="1643">
                  <c:v>100.17149999999999</c:v>
                </c:pt>
                <c:pt idx="1644">
                  <c:v>100.0719</c:v>
                </c:pt>
                <c:pt idx="1645">
                  <c:v>100.3085</c:v>
                </c:pt>
                <c:pt idx="1646">
                  <c:v>100.1203</c:v>
                </c:pt>
                <c:pt idx="1647">
                  <c:v>100.2478</c:v>
                </c:pt>
                <c:pt idx="1648">
                  <c:v>99.963840000000005</c:v>
                </c:pt>
                <c:pt idx="1649">
                  <c:v>99.936080000000004</c:v>
                </c:pt>
                <c:pt idx="1650">
                  <c:v>99.713679999999997</c:v>
                </c:pt>
                <c:pt idx="1651">
                  <c:v>99.902569999999997</c:v>
                </c:pt>
                <c:pt idx="1652">
                  <c:v>99.933639999999997</c:v>
                </c:pt>
                <c:pt idx="1653">
                  <c:v>99.901139999999998</c:v>
                </c:pt>
                <c:pt idx="1654">
                  <c:v>100.2009</c:v>
                </c:pt>
                <c:pt idx="1655">
                  <c:v>100.3605</c:v>
                </c:pt>
                <c:pt idx="1656">
                  <c:v>100.2595</c:v>
                </c:pt>
                <c:pt idx="1657">
                  <c:v>100.76649999999999</c:v>
                </c:pt>
                <c:pt idx="1658">
                  <c:v>100.0722</c:v>
                </c:pt>
                <c:pt idx="1659">
                  <c:v>99.99821</c:v>
                </c:pt>
                <c:pt idx="1660">
                  <c:v>99.729799999999997</c:v>
                </c:pt>
                <c:pt idx="1661">
                  <c:v>99.920590000000004</c:v>
                </c:pt>
                <c:pt idx="1662">
                  <c:v>99.655330000000006</c:v>
                </c:pt>
                <c:pt idx="1663">
                  <c:v>99.69838</c:v>
                </c:pt>
                <c:pt idx="1664">
                  <c:v>99.418379999999999</c:v>
                </c:pt>
                <c:pt idx="1665">
                  <c:v>99.376459999999994</c:v>
                </c:pt>
                <c:pt idx="1666">
                  <c:v>99.450900000000004</c:v>
                </c:pt>
                <c:pt idx="1667">
                  <c:v>99.72287</c:v>
                </c:pt>
                <c:pt idx="1668">
                  <c:v>100.0103</c:v>
                </c:pt>
                <c:pt idx="1669">
                  <c:v>100.0103</c:v>
                </c:pt>
                <c:pt idx="1670">
                  <c:v>100.71339999999999</c:v>
                </c:pt>
                <c:pt idx="1671">
                  <c:v>100.0351</c:v>
                </c:pt>
                <c:pt idx="1672">
                  <c:v>100.4333</c:v>
                </c:pt>
                <c:pt idx="1673">
                  <c:v>100.4011</c:v>
                </c:pt>
                <c:pt idx="1674">
                  <c:v>99.911580000000001</c:v>
                </c:pt>
                <c:pt idx="1675">
                  <c:v>99.854810000000001</c:v>
                </c:pt>
                <c:pt idx="1676">
                  <c:v>99.810410000000005</c:v>
                </c:pt>
                <c:pt idx="1677">
                  <c:v>100.0389</c:v>
                </c:pt>
                <c:pt idx="1678">
                  <c:v>99.904750000000007</c:v>
                </c:pt>
                <c:pt idx="1679">
                  <c:v>100.05329999999999</c:v>
                </c:pt>
                <c:pt idx="1680">
                  <c:v>99.873199999999997</c:v>
                </c:pt>
                <c:pt idx="1681">
                  <c:v>99.764769999999999</c:v>
                </c:pt>
                <c:pt idx="1682">
                  <c:v>99.336529999999996</c:v>
                </c:pt>
                <c:pt idx="1683">
                  <c:v>98.848219999999998</c:v>
                </c:pt>
                <c:pt idx="1684">
                  <c:v>98.849559999999997</c:v>
                </c:pt>
                <c:pt idx="1685">
                  <c:v>98.773880000000005</c:v>
                </c:pt>
                <c:pt idx="1686">
                  <c:v>98.749690000000001</c:v>
                </c:pt>
                <c:pt idx="1687">
                  <c:v>98.655649999999994</c:v>
                </c:pt>
                <c:pt idx="1688">
                  <c:v>98.415450000000007</c:v>
                </c:pt>
                <c:pt idx="1689">
                  <c:v>98.811260000000004</c:v>
                </c:pt>
                <c:pt idx="1690">
                  <c:v>98.501369999999994</c:v>
                </c:pt>
                <c:pt idx="1691">
                  <c:v>98.507199999999997</c:v>
                </c:pt>
                <c:pt idx="1692">
                  <c:v>98.524079999999998</c:v>
                </c:pt>
                <c:pt idx="1693">
                  <c:v>98.383650000000003</c:v>
                </c:pt>
                <c:pt idx="1694">
                  <c:v>98.800349999999995</c:v>
                </c:pt>
                <c:pt idx="1695">
                  <c:v>98.310389999999998</c:v>
                </c:pt>
                <c:pt idx="1696">
                  <c:v>98.310389999999998</c:v>
                </c:pt>
                <c:pt idx="1697">
                  <c:v>98.171170000000004</c:v>
                </c:pt>
                <c:pt idx="1698">
                  <c:v>98.392030000000005</c:v>
                </c:pt>
                <c:pt idx="1699">
                  <c:v>97.984989999999996</c:v>
                </c:pt>
                <c:pt idx="1700">
                  <c:v>98.309269999999998</c:v>
                </c:pt>
                <c:pt idx="1701">
                  <c:v>98.314760000000007</c:v>
                </c:pt>
                <c:pt idx="1702">
                  <c:v>98.024410000000003</c:v>
                </c:pt>
                <c:pt idx="1703">
                  <c:v>97.988939999999999</c:v>
                </c:pt>
                <c:pt idx="1704">
                  <c:v>97.948580000000007</c:v>
                </c:pt>
                <c:pt idx="1705">
                  <c:v>97.219099999999997</c:v>
                </c:pt>
                <c:pt idx="1706">
                  <c:v>97.122559999999993</c:v>
                </c:pt>
                <c:pt idx="1707">
                  <c:v>97.186869999999999</c:v>
                </c:pt>
                <c:pt idx="1708">
                  <c:v>97.684629999999999</c:v>
                </c:pt>
                <c:pt idx="1709">
                  <c:v>97.676730000000006</c:v>
                </c:pt>
                <c:pt idx="1710">
                  <c:v>97.385729999999995</c:v>
                </c:pt>
                <c:pt idx="1711">
                  <c:v>97.100949999999997</c:v>
                </c:pt>
                <c:pt idx="1712">
                  <c:v>97.027590000000004</c:v>
                </c:pt>
                <c:pt idx="1713">
                  <c:v>97.077770000000001</c:v>
                </c:pt>
                <c:pt idx="1714">
                  <c:v>96.653379999999999</c:v>
                </c:pt>
                <c:pt idx="1715">
                  <c:v>96.334980000000002</c:v>
                </c:pt>
                <c:pt idx="1716">
                  <c:v>96.178709999999995</c:v>
                </c:pt>
                <c:pt idx="1717">
                  <c:v>96.373000000000005</c:v>
                </c:pt>
                <c:pt idx="1718">
                  <c:v>96.369739999999993</c:v>
                </c:pt>
                <c:pt idx="1719">
                  <c:v>95.861660000000001</c:v>
                </c:pt>
                <c:pt idx="1720">
                  <c:v>96.021770000000004</c:v>
                </c:pt>
                <c:pt idx="1721">
                  <c:v>95.368639999999999</c:v>
                </c:pt>
                <c:pt idx="1722">
                  <c:v>94.856459999999998</c:v>
                </c:pt>
                <c:pt idx="1723">
                  <c:v>94.509600000000006</c:v>
                </c:pt>
                <c:pt idx="1724">
                  <c:v>94.499340000000004</c:v>
                </c:pt>
                <c:pt idx="1725">
                  <c:v>94.473860000000002</c:v>
                </c:pt>
                <c:pt idx="1726">
                  <c:v>94.660139999999998</c:v>
                </c:pt>
                <c:pt idx="1727">
                  <c:v>94.712429999999998</c:v>
                </c:pt>
                <c:pt idx="1728">
                  <c:v>94.538470000000004</c:v>
                </c:pt>
                <c:pt idx="1729">
                  <c:v>94.732529999999997</c:v>
                </c:pt>
                <c:pt idx="1730">
                  <c:v>94.897090000000006</c:v>
                </c:pt>
                <c:pt idx="1731">
                  <c:v>95.081999999999994</c:v>
                </c:pt>
                <c:pt idx="1732">
                  <c:v>94.992419999999996</c:v>
                </c:pt>
                <c:pt idx="1733">
                  <c:v>94.925190000000001</c:v>
                </c:pt>
                <c:pt idx="1734">
                  <c:v>94.825329999999994</c:v>
                </c:pt>
                <c:pt idx="1735">
                  <c:v>94.89479</c:v>
                </c:pt>
                <c:pt idx="1736">
                  <c:v>94.708759999999998</c:v>
                </c:pt>
                <c:pt idx="1737">
                  <c:v>94.893100000000004</c:v>
                </c:pt>
                <c:pt idx="1738">
                  <c:v>94.852860000000007</c:v>
                </c:pt>
                <c:pt idx="1739">
                  <c:v>94.638919999999999</c:v>
                </c:pt>
                <c:pt idx="1740">
                  <c:v>94.511899999999997</c:v>
                </c:pt>
                <c:pt idx="1741">
                  <c:v>95.027829999999994</c:v>
                </c:pt>
                <c:pt idx="1742">
                  <c:v>95.289280000000005</c:v>
                </c:pt>
                <c:pt idx="1743">
                  <c:v>95.355029999999999</c:v>
                </c:pt>
                <c:pt idx="1744">
                  <c:v>95.606539999999995</c:v>
                </c:pt>
                <c:pt idx="1745">
                  <c:v>95.457700000000003</c:v>
                </c:pt>
                <c:pt idx="1746">
                  <c:v>95.533069999999995</c:v>
                </c:pt>
                <c:pt idx="1747">
                  <c:v>95.330200000000005</c:v>
                </c:pt>
                <c:pt idx="1748">
                  <c:v>95.095730000000003</c:v>
                </c:pt>
                <c:pt idx="1749">
                  <c:v>95.001800000000003</c:v>
                </c:pt>
                <c:pt idx="1750">
                  <c:v>95.196119999999993</c:v>
                </c:pt>
                <c:pt idx="1751">
                  <c:v>95.163300000000007</c:v>
                </c:pt>
                <c:pt idx="1752">
                  <c:v>95.419330000000002</c:v>
                </c:pt>
                <c:pt idx="1753">
                  <c:v>95.254180000000005</c:v>
                </c:pt>
                <c:pt idx="1754">
                  <c:v>95.018190000000004</c:v>
                </c:pt>
                <c:pt idx="1755">
                  <c:v>95.543350000000004</c:v>
                </c:pt>
                <c:pt idx="1756">
                  <c:v>95.461839999999995</c:v>
                </c:pt>
                <c:pt idx="1757">
                  <c:v>95.7072</c:v>
                </c:pt>
                <c:pt idx="1758">
                  <c:v>95.577380000000005</c:v>
                </c:pt>
                <c:pt idx="1759">
                  <c:v>95.412000000000006</c:v>
                </c:pt>
                <c:pt idx="1760">
                  <c:v>95.055340000000001</c:v>
                </c:pt>
                <c:pt idx="1761">
                  <c:v>95.029600000000002</c:v>
                </c:pt>
                <c:pt idx="1762">
                  <c:v>95.200559999999996</c:v>
                </c:pt>
                <c:pt idx="1763">
                  <c:v>95.216750000000005</c:v>
                </c:pt>
                <c:pt idx="1764">
                  <c:v>95.052260000000004</c:v>
                </c:pt>
                <c:pt idx="1765">
                  <c:v>94.593320000000006</c:v>
                </c:pt>
                <c:pt idx="1766">
                  <c:v>94.593320000000006</c:v>
                </c:pt>
                <c:pt idx="1767">
                  <c:v>94.527500000000003</c:v>
                </c:pt>
                <c:pt idx="1768">
                  <c:v>94.945589999999996</c:v>
                </c:pt>
                <c:pt idx="1769">
                  <c:v>95.142210000000006</c:v>
                </c:pt>
                <c:pt idx="1770">
                  <c:v>95.340479999999999</c:v>
                </c:pt>
                <c:pt idx="1771">
                  <c:v>95.509079999999997</c:v>
                </c:pt>
                <c:pt idx="1772">
                  <c:v>95.592740000000006</c:v>
                </c:pt>
                <c:pt idx="1773">
                  <c:v>95.047259999999994</c:v>
                </c:pt>
                <c:pt idx="1774">
                  <c:v>94.895129999999995</c:v>
                </c:pt>
                <c:pt idx="1775">
                  <c:v>94.779910000000001</c:v>
                </c:pt>
                <c:pt idx="1776">
                  <c:v>94.652739999999994</c:v>
                </c:pt>
                <c:pt idx="1777">
                  <c:v>94.204710000000006</c:v>
                </c:pt>
                <c:pt idx="1778">
                  <c:v>94.30829</c:v>
                </c:pt>
                <c:pt idx="1779">
                  <c:v>94.724699999999999</c:v>
                </c:pt>
                <c:pt idx="1780">
                  <c:v>94.712620000000001</c:v>
                </c:pt>
                <c:pt idx="1781">
                  <c:v>94.356570000000005</c:v>
                </c:pt>
                <c:pt idx="1782">
                  <c:v>94.231660000000005</c:v>
                </c:pt>
                <c:pt idx="1783">
                  <c:v>94.745000000000005</c:v>
                </c:pt>
                <c:pt idx="1784">
                  <c:v>95.511020000000002</c:v>
                </c:pt>
                <c:pt idx="1785">
                  <c:v>95.642439999999993</c:v>
                </c:pt>
                <c:pt idx="1786">
                  <c:v>95.445160000000001</c:v>
                </c:pt>
                <c:pt idx="1787">
                  <c:v>95.601349999999996</c:v>
                </c:pt>
                <c:pt idx="1788">
                  <c:v>95.684629999999999</c:v>
                </c:pt>
                <c:pt idx="1789">
                  <c:v>95.843000000000004</c:v>
                </c:pt>
                <c:pt idx="1790">
                  <c:v>96.316469999999995</c:v>
                </c:pt>
                <c:pt idx="1791">
                  <c:v>96.316469999999995</c:v>
                </c:pt>
                <c:pt idx="1792">
                  <c:v>96.862089999999995</c:v>
                </c:pt>
                <c:pt idx="1793">
                  <c:v>97.011780000000002</c:v>
                </c:pt>
                <c:pt idx="1794">
                  <c:v>97.274810000000002</c:v>
                </c:pt>
                <c:pt idx="1795">
                  <c:v>96.950789999999998</c:v>
                </c:pt>
                <c:pt idx="1796">
                  <c:v>96.767790000000005</c:v>
                </c:pt>
                <c:pt idx="1797">
                  <c:v>96.840590000000006</c:v>
                </c:pt>
                <c:pt idx="1798">
                  <c:v>97.021870000000007</c:v>
                </c:pt>
                <c:pt idx="1799">
                  <c:v>97.005570000000006</c:v>
                </c:pt>
                <c:pt idx="1800">
                  <c:v>97.381960000000007</c:v>
                </c:pt>
                <c:pt idx="1801">
                  <c:v>97.381960000000007</c:v>
                </c:pt>
                <c:pt idx="1802">
                  <c:v>97.742310000000003</c:v>
                </c:pt>
                <c:pt idx="1803">
                  <c:v>98.076400000000007</c:v>
                </c:pt>
                <c:pt idx="1804">
                  <c:v>98.103290000000001</c:v>
                </c:pt>
                <c:pt idx="1805">
                  <c:v>98.293700000000001</c:v>
                </c:pt>
                <c:pt idx="1806">
                  <c:v>98.293700000000001</c:v>
                </c:pt>
                <c:pt idx="1807">
                  <c:v>98.148859999999999</c:v>
                </c:pt>
                <c:pt idx="1808">
                  <c:v>98.215059999999994</c:v>
                </c:pt>
                <c:pt idx="1809">
                  <c:v>98.375960000000006</c:v>
                </c:pt>
                <c:pt idx="1810">
                  <c:v>98.156949999999995</c:v>
                </c:pt>
                <c:pt idx="1811">
                  <c:v>98.376949999999994</c:v>
                </c:pt>
                <c:pt idx="1812">
                  <c:v>98.399959999999993</c:v>
                </c:pt>
                <c:pt idx="1813">
                  <c:v>98.537769999999995</c:v>
                </c:pt>
                <c:pt idx="1814">
                  <c:v>98.749080000000006</c:v>
                </c:pt>
                <c:pt idx="1815">
                  <c:v>98.359279999999998</c:v>
                </c:pt>
                <c:pt idx="1816">
                  <c:v>98.501300000000001</c:v>
                </c:pt>
                <c:pt idx="1817">
                  <c:v>98.285079999999994</c:v>
                </c:pt>
                <c:pt idx="1818">
                  <c:v>98.191209999999998</c:v>
                </c:pt>
                <c:pt idx="1819">
                  <c:v>97.902529999999999</c:v>
                </c:pt>
                <c:pt idx="1820">
                  <c:v>97.83914</c:v>
                </c:pt>
                <c:pt idx="1821">
                  <c:v>97.681020000000004</c:v>
                </c:pt>
                <c:pt idx="1822">
                  <c:v>97.911559999999994</c:v>
                </c:pt>
                <c:pt idx="1823">
                  <c:v>97.751019999999997</c:v>
                </c:pt>
                <c:pt idx="1824">
                  <c:v>97.671419999999998</c:v>
                </c:pt>
                <c:pt idx="1825">
                  <c:v>97.532780000000002</c:v>
                </c:pt>
                <c:pt idx="1826">
                  <c:v>97.48442</c:v>
                </c:pt>
                <c:pt idx="1827">
                  <c:v>97.933930000000004</c:v>
                </c:pt>
                <c:pt idx="1828">
                  <c:v>97.933930000000004</c:v>
                </c:pt>
                <c:pt idx="1829">
                  <c:v>98.301590000000004</c:v>
                </c:pt>
                <c:pt idx="1830">
                  <c:v>98.567340000000002</c:v>
                </c:pt>
                <c:pt idx="1831">
                  <c:v>98.303179999999998</c:v>
                </c:pt>
                <c:pt idx="1832">
                  <c:v>98.52901</c:v>
                </c:pt>
                <c:pt idx="1833">
                  <c:v>98.70026</c:v>
                </c:pt>
                <c:pt idx="1834">
                  <c:v>98.775970000000001</c:v>
                </c:pt>
                <c:pt idx="1835">
                  <c:v>98.990369999999999</c:v>
                </c:pt>
                <c:pt idx="1836">
                  <c:v>98.824889999999996</c:v>
                </c:pt>
                <c:pt idx="1837">
                  <c:v>98.826549999999997</c:v>
                </c:pt>
                <c:pt idx="1838">
                  <c:v>98.894729999999996</c:v>
                </c:pt>
                <c:pt idx="1839">
                  <c:v>99.134399999999999</c:v>
                </c:pt>
                <c:pt idx="1840">
                  <c:v>98.927260000000004</c:v>
                </c:pt>
                <c:pt idx="1841">
                  <c:v>99.137299999999996</c:v>
                </c:pt>
                <c:pt idx="1842">
                  <c:v>98.759410000000003</c:v>
                </c:pt>
                <c:pt idx="1843">
                  <c:v>98.963149999999999</c:v>
                </c:pt>
                <c:pt idx="1844">
                  <c:v>99.015730000000005</c:v>
                </c:pt>
                <c:pt idx="1845">
                  <c:v>99.057130000000001</c:v>
                </c:pt>
                <c:pt idx="1846">
                  <c:v>99.308940000000007</c:v>
                </c:pt>
                <c:pt idx="1847">
                  <c:v>98.903149999999997</c:v>
                </c:pt>
                <c:pt idx="1848">
                  <c:v>98.685199999999995</c:v>
                </c:pt>
                <c:pt idx="1849">
                  <c:v>98.675830000000005</c:v>
                </c:pt>
                <c:pt idx="1850">
                  <c:v>98.548310000000001</c:v>
                </c:pt>
                <c:pt idx="1851">
                  <c:v>98.383700000000005</c:v>
                </c:pt>
                <c:pt idx="1852">
                  <c:v>97.891589999999994</c:v>
                </c:pt>
                <c:pt idx="1853">
                  <c:v>98.128649999999993</c:v>
                </c:pt>
                <c:pt idx="1854">
                  <c:v>98.193039999999996</c:v>
                </c:pt>
                <c:pt idx="1855">
                  <c:v>97.913039999999995</c:v>
                </c:pt>
                <c:pt idx="1856">
                  <c:v>97.676770000000005</c:v>
                </c:pt>
                <c:pt idx="1857">
                  <c:v>97.727770000000007</c:v>
                </c:pt>
                <c:pt idx="1858">
                  <c:v>97.722790000000003</c:v>
                </c:pt>
                <c:pt idx="1859">
                  <c:v>97.705309999999997</c:v>
                </c:pt>
                <c:pt idx="1860">
                  <c:v>98.20093</c:v>
                </c:pt>
                <c:pt idx="1861">
                  <c:v>98.20093</c:v>
                </c:pt>
                <c:pt idx="1862">
                  <c:v>98.055819999999997</c:v>
                </c:pt>
                <c:pt idx="1863">
                  <c:v>97.817340000000002</c:v>
                </c:pt>
                <c:pt idx="1864">
                  <c:v>97.880160000000004</c:v>
                </c:pt>
                <c:pt idx="1865">
                  <c:v>97.912480000000002</c:v>
                </c:pt>
                <c:pt idx="1866">
                  <c:v>97.700649999999996</c:v>
                </c:pt>
                <c:pt idx="1867">
                  <c:v>97.801439999999999</c:v>
                </c:pt>
                <c:pt idx="1868">
                  <c:v>97.677379999999999</c:v>
                </c:pt>
                <c:pt idx="1869">
                  <c:v>97.423079999999999</c:v>
                </c:pt>
                <c:pt idx="1870">
                  <c:v>97.030640000000005</c:v>
                </c:pt>
                <c:pt idx="1871">
                  <c:v>96.522319999999993</c:v>
                </c:pt>
                <c:pt idx="1872">
                  <c:v>96.675669999999997</c:v>
                </c:pt>
                <c:pt idx="1873">
                  <c:v>96.235209999999995</c:v>
                </c:pt>
                <c:pt idx="1874">
                  <c:v>96.397279999999995</c:v>
                </c:pt>
                <c:pt idx="1875">
                  <c:v>96.420389999999998</c:v>
                </c:pt>
                <c:pt idx="1876">
                  <c:v>96.127499999999998</c:v>
                </c:pt>
                <c:pt idx="1877">
                  <c:v>96.355549999999994</c:v>
                </c:pt>
                <c:pt idx="1878">
                  <c:v>96.345119999999994</c:v>
                </c:pt>
                <c:pt idx="1879">
                  <c:v>96.036990000000003</c:v>
                </c:pt>
                <c:pt idx="1880">
                  <c:v>95.853939999999994</c:v>
                </c:pt>
                <c:pt idx="1881">
                  <c:v>95.490740000000002</c:v>
                </c:pt>
                <c:pt idx="1882">
                  <c:v>95.575320000000005</c:v>
                </c:pt>
                <c:pt idx="1883">
                  <c:v>96.102010000000007</c:v>
                </c:pt>
                <c:pt idx="1884">
                  <c:v>96.38588</c:v>
                </c:pt>
                <c:pt idx="1885">
                  <c:v>96.592650000000006</c:v>
                </c:pt>
                <c:pt idx="1886">
                  <c:v>96.592650000000006</c:v>
                </c:pt>
                <c:pt idx="1887">
                  <c:v>96.873869999999997</c:v>
                </c:pt>
                <c:pt idx="1888">
                  <c:v>96.901899999999998</c:v>
                </c:pt>
                <c:pt idx="1889">
                  <c:v>96.638570000000001</c:v>
                </c:pt>
                <c:pt idx="1890">
                  <c:v>96.741820000000004</c:v>
                </c:pt>
                <c:pt idx="1891">
                  <c:v>96.916340000000005</c:v>
                </c:pt>
                <c:pt idx="1892">
                  <c:v>97.223020000000005</c:v>
                </c:pt>
                <c:pt idx="1893">
                  <c:v>97.270229999999998</c:v>
                </c:pt>
                <c:pt idx="1894">
                  <c:v>97.308989999999994</c:v>
                </c:pt>
                <c:pt idx="1895">
                  <c:v>97.248260000000002</c:v>
                </c:pt>
                <c:pt idx="1896">
                  <c:v>97.508700000000005</c:v>
                </c:pt>
                <c:pt idx="1897">
                  <c:v>97.642589999999998</c:v>
                </c:pt>
                <c:pt idx="1898">
                  <c:v>97.909180000000006</c:v>
                </c:pt>
                <c:pt idx="1899">
                  <c:v>97.90822</c:v>
                </c:pt>
                <c:pt idx="1900">
                  <c:v>97.572429999999997</c:v>
                </c:pt>
                <c:pt idx="1901">
                  <c:v>97.533370000000005</c:v>
                </c:pt>
                <c:pt idx="1902">
                  <c:v>97.636290000000002</c:v>
                </c:pt>
                <c:pt idx="1903">
                  <c:v>97.814670000000007</c:v>
                </c:pt>
                <c:pt idx="1904">
                  <c:v>97.855930000000001</c:v>
                </c:pt>
                <c:pt idx="1905">
                  <c:v>97.888310000000004</c:v>
                </c:pt>
                <c:pt idx="1906">
                  <c:v>97.852829999999997</c:v>
                </c:pt>
                <c:pt idx="1907">
                  <c:v>97.454729999999998</c:v>
                </c:pt>
                <c:pt idx="1908">
                  <c:v>97.421459999999996</c:v>
                </c:pt>
                <c:pt idx="1909">
                  <c:v>97.483279999999993</c:v>
                </c:pt>
                <c:pt idx="1910">
                  <c:v>97.483990000000006</c:v>
                </c:pt>
                <c:pt idx="1911">
                  <c:v>97.558170000000004</c:v>
                </c:pt>
                <c:pt idx="1912">
                  <c:v>97.832260000000005</c:v>
                </c:pt>
                <c:pt idx="1913">
                  <c:v>97.99194</c:v>
                </c:pt>
                <c:pt idx="1914">
                  <c:v>97.906859999999995</c:v>
                </c:pt>
                <c:pt idx="1915">
                  <c:v>97.82159</c:v>
                </c:pt>
                <c:pt idx="1916">
                  <c:v>97.840209999999999</c:v>
                </c:pt>
                <c:pt idx="1917">
                  <c:v>97.882260000000002</c:v>
                </c:pt>
                <c:pt idx="1918">
                  <c:v>98.048450000000003</c:v>
                </c:pt>
                <c:pt idx="1919">
                  <c:v>98.017669999999995</c:v>
                </c:pt>
                <c:pt idx="1920">
                  <c:v>98.470579999999998</c:v>
                </c:pt>
                <c:pt idx="1921">
                  <c:v>98.479230000000001</c:v>
                </c:pt>
                <c:pt idx="1922">
                  <c:v>98.98648</c:v>
                </c:pt>
                <c:pt idx="1923">
                  <c:v>99.015879999999996</c:v>
                </c:pt>
                <c:pt idx="1924">
                  <c:v>99.524519999999995</c:v>
                </c:pt>
                <c:pt idx="1925">
                  <c:v>99.535079999999994</c:v>
                </c:pt>
                <c:pt idx="1926">
                  <c:v>99.640609999999995</c:v>
                </c:pt>
                <c:pt idx="1927">
                  <c:v>99.727140000000006</c:v>
                </c:pt>
                <c:pt idx="1928">
                  <c:v>99.91283</c:v>
                </c:pt>
                <c:pt idx="1929">
                  <c:v>99.719909999999999</c:v>
                </c:pt>
                <c:pt idx="1930">
                  <c:v>99.719909999999999</c:v>
                </c:pt>
                <c:pt idx="1931">
                  <c:v>99.310699999999997</c:v>
                </c:pt>
                <c:pt idx="1932">
                  <c:v>99.329819999999998</c:v>
                </c:pt>
                <c:pt idx="1933">
                  <c:v>99.379549999999995</c:v>
                </c:pt>
                <c:pt idx="1934">
                  <c:v>99.73415</c:v>
                </c:pt>
                <c:pt idx="1935">
                  <c:v>99.942899999999995</c:v>
                </c:pt>
                <c:pt idx="1936">
                  <c:v>99.997709999999998</c:v>
                </c:pt>
                <c:pt idx="1937">
                  <c:v>100.2402</c:v>
                </c:pt>
                <c:pt idx="1938">
                  <c:v>100.3959</c:v>
                </c:pt>
                <c:pt idx="1939">
                  <c:v>100.36409999999999</c:v>
                </c:pt>
                <c:pt idx="1940">
                  <c:v>99.924099999999996</c:v>
                </c:pt>
                <c:pt idx="1941">
                  <c:v>99.773030000000006</c:v>
                </c:pt>
                <c:pt idx="1942">
                  <c:v>100.01179999999999</c:v>
                </c:pt>
                <c:pt idx="1943">
                  <c:v>99.249049999999997</c:v>
                </c:pt>
                <c:pt idx="1944">
                  <c:v>99.743560000000002</c:v>
                </c:pt>
                <c:pt idx="1945">
                  <c:v>100.0001</c:v>
                </c:pt>
                <c:pt idx="1946">
                  <c:v>100.00839999999999</c:v>
                </c:pt>
                <c:pt idx="1947">
                  <c:v>99.950969999999998</c:v>
                </c:pt>
                <c:pt idx="1948">
                  <c:v>99.909040000000005</c:v>
                </c:pt>
                <c:pt idx="1949">
                  <c:v>99.803340000000006</c:v>
                </c:pt>
                <c:pt idx="1950">
                  <c:v>100.0394</c:v>
                </c:pt>
                <c:pt idx="1951">
                  <c:v>100.21210000000001</c:v>
                </c:pt>
                <c:pt idx="1952">
                  <c:v>100.33240000000001</c:v>
                </c:pt>
                <c:pt idx="1953">
                  <c:v>100.33150000000001</c:v>
                </c:pt>
                <c:pt idx="1954">
                  <c:v>100.578</c:v>
                </c:pt>
                <c:pt idx="1955">
                  <c:v>100.5176</c:v>
                </c:pt>
                <c:pt idx="1956">
                  <c:v>100.5176</c:v>
                </c:pt>
                <c:pt idx="1957">
                  <c:v>100.45310000000001</c:v>
                </c:pt>
                <c:pt idx="1958">
                  <c:v>100.7621</c:v>
                </c:pt>
                <c:pt idx="1959">
                  <c:v>100.7538</c:v>
                </c:pt>
                <c:pt idx="1960">
                  <c:v>100.65130000000001</c:v>
                </c:pt>
                <c:pt idx="1961">
                  <c:v>100.7882</c:v>
                </c:pt>
                <c:pt idx="1962">
                  <c:v>101.2508</c:v>
                </c:pt>
                <c:pt idx="1963">
                  <c:v>100.81180000000001</c:v>
                </c:pt>
                <c:pt idx="1964">
                  <c:v>101.05759999999999</c:v>
                </c:pt>
                <c:pt idx="1965">
                  <c:v>101.3707</c:v>
                </c:pt>
                <c:pt idx="1966">
                  <c:v>101.6986</c:v>
                </c:pt>
                <c:pt idx="1967">
                  <c:v>101.95489999999999</c:v>
                </c:pt>
                <c:pt idx="1968">
                  <c:v>102.03149999999999</c:v>
                </c:pt>
                <c:pt idx="1969">
                  <c:v>102.274</c:v>
                </c:pt>
                <c:pt idx="1970">
                  <c:v>101.97799999999999</c:v>
                </c:pt>
                <c:pt idx="1971">
                  <c:v>101.7276</c:v>
                </c:pt>
                <c:pt idx="1972">
                  <c:v>101.8094</c:v>
                </c:pt>
                <c:pt idx="1973">
                  <c:v>101.61360000000001</c:v>
                </c:pt>
                <c:pt idx="1974">
                  <c:v>101.61839999999999</c:v>
                </c:pt>
                <c:pt idx="1975">
                  <c:v>101.5902</c:v>
                </c:pt>
                <c:pt idx="1976">
                  <c:v>101.699</c:v>
                </c:pt>
                <c:pt idx="1977">
                  <c:v>101.8741</c:v>
                </c:pt>
                <c:pt idx="1978">
                  <c:v>101.82980000000001</c:v>
                </c:pt>
                <c:pt idx="1979">
                  <c:v>101.4344</c:v>
                </c:pt>
                <c:pt idx="1980">
                  <c:v>101.3263</c:v>
                </c:pt>
                <c:pt idx="1981">
                  <c:v>101.6795</c:v>
                </c:pt>
                <c:pt idx="1982">
                  <c:v>101.5448</c:v>
                </c:pt>
                <c:pt idx="1983">
                  <c:v>101.6695</c:v>
                </c:pt>
                <c:pt idx="1984">
                  <c:v>101.2347</c:v>
                </c:pt>
                <c:pt idx="1985">
                  <c:v>101.2697</c:v>
                </c:pt>
                <c:pt idx="1986">
                  <c:v>101.4499</c:v>
                </c:pt>
                <c:pt idx="1987">
                  <c:v>101.4303</c:v>
                </c:pt>
                <c:pt idx="1988">
                  <c:v>101.7801</c:v>
                </c:pt>
                <c:pt idx="1989">
                  <c:v>101.8685</c:v>
                </c:pt>
                <c:pt idx="1990">
                  <c:v>101.99930000000001</c:v>
                </c:pt>
                <c:pt idx="1991">
                  <c:v>101.91379999999999</c:v>
                </c:pt>
                <c:pt idx="1992">
                  <c:v>101.8985</c:v>
                </c:pt>
                <c:pt idx="1993">
                  <c:v>101.8432</c:v>
                </c:pt>
                <c:pt idx="1994">
                  <c:v>101.84869999999999</c:v>
                </c:pt>
                <c:pt idx="1995">
                  <c:v>101.7445</c:v>
                </c:pt>
                <c:pt idx="1996">
                  <c:v>101.6896</c:v>
                </c:pt>
                <c:pt idx="1997">
                  <c:v>101.43859999999999</c:v>
                </c:pt>
                <c:pt idx="1998">
                  <c:v>101.5783</c:v>
                </c:pt>
                <c:pt idx="1999">
                  <c:v>101.31480000000001</c:v>
                </c:pt>
                <c:pt idx="2000">
                  <c:v>101.14919999999999</c:v>
                </c:pt>
                <c:pt idx="2001">
                  <c:v>101.4769</c:v>
                </c:pt>
                <c:pt idx="2002">
                  <c:v>101.6319</c:v>
                </c:pt>
                <c:pt idx="2003">
                  <c:v>101.62609999999999</c:v>
                </c:pt>
                <c:pt idx="2004">
                  <c:v>101.66500000000001</c:v>
                </c:pt>
                <c:pt idx="2005">
                  <c:v>101.8796</c:v>
                </c:pt>
                <c:pt idx="2006">
                  <c:v>102.0669</c:v>
                </c:pt>
                <c:pt idx="2007">
                  <c:v>102.0722</c:v>
                </c:pt>
                <c:pt idx="2008">
                  <c:v>103.0219</c:v>
                </c:pt>
                <c:pt idx="2009">
                  <c:v>103.1974</c:v>
                </c:pt>
                <c:pt idx="2010">
                  <c:v>103.0419</c:v>
                </c:pt>
                <c:pt idx="2011">
                  <c:v>103.22239999999999</c:v>
                </c:pt>
                <c:pt idx="2012">
                  <c:v>103.5288</c:v>
                </c:pt>
                <c:pt idx="2013">
                  <c:v>103.41240000000001</c:v>
                </c:pt>
                <c:pt idx="2014">
                  <c:v>103.01690000000001</c:v>
                </c:pt>
                <c:pt idx="2015">
                  <c:v>103.0223</c:v>
                </c:pt>
                <c:pt idx="2016">
                  <c:v>103.2088</c:v>
                </c:pt>
                <c:pt idx="2017">
                  <c:v>103.3383</c:v>
                </c:pt>
                <c:pt idx="2018">
                  <c:v>102.9742</c:v>
                </c:pt>
                <c:pt idx="2019">
                  <c:v>102.6127</c:v>
                </c:pt>
                <c:pt idx="2020">
                  <c:v>102.3287</c:v>
                </c:pt>
                <c:pt idx="2021">
                  <c:v>102.4623</c:v>
                </c:pt>
                <c:pt idx="2022">
                  <c:v>102.36150000000001</c:v>
                </c:pt>
                <c:pt idx="2023">
                  <c:v>102.8293</c:v>
                </c:pt>
                <c:pt idx="2024">
                  <c:v>103.14709999999999</c:v>
                </c:pt>
                <c:pt idx="2025">
                  <c:v>102.9567</c:v>
                </c:pt>
                <c:pt idx="2026">
                  <c:v>102.9567</c:v>
                </c:pt>
                <c:pt idx="2027">
                  <c:v>102.6317</c:v>
                </c:pt>
                <c:pt idx="2028">
                  <c:v>102.8723</c:v>
                </c:pt>
                <c:pt idx="2029">
                  <c:v>103.0561</c:v>
                </c:pt>
                <c:pt idx="2030">
                  <c:v>102.9849</c:v>
                </c:pt>
                <c:pt idx="2031">
                  <c:v>102.83920000000001</c:v>
                </c:pt>
                <c:pt idx="2032">
                  <c:v>102.9539</c:v>
                </c:pt>
                <c:pt idx="2033">
                  <c:v>102.7938</c:v>
                </c:pt>
                <c:pt idx="2034">
                  <c:v>103.00360000000001</c:v>
                </c:pt>
                <c:pt idx="2035">
                  <c:v>102.68600000000001</c:v>
                </c:pt>
                <c:pt idx="2036">
                  <c:v>102.3639</c:v>
                </c:pt>
                <c:pt idx="2037">
                  <c:v>102.6409</c:v>
                </c:pt>
                <c:pt idx="2038">
                  <c:v>103.06829999999999</c:v>
                </c:pt>
                <c:pt idx="2039">
                  <c:v>102.8914</c:v>
                </c:pt>
                <c:pt idx="2040">
                  <c:v>103.3327</c:v>
                </c:pt>
                <c:pt idx="2041">
                  <c:v>103.78919999999999</c:v>
                </c:pt>
                <c:pt idx="2042">
                  <c:v>103.80540000000001</c:v>
                </c:pt>
                <c:pt idx="2043">
                  <c:v>103.5016</c:v>
                </c:pt>
                <c:pt idx="2044">
                  <c:v>103.545</c:v>
                </c:pt>
                <c:pt idx="2045">
                  <c:v>103.68940000000001</c:v>
                </c:pt>
                <c:pt idx="2046">
                  <c:v>104.33759999999999</c:v>
                </c:pt>
                <c:pt idx="2047">
                  <c:v>104.60299999999999</c:v>
                </c:pt>
                <c:pt idx="2048">
                  <c:v>104.05029999999999</c:v>
                </c:pt>
                <c:pt idx="2049">
                  <c:v>103.68470000000001</c:v>
                </c:pt>
                <c:pt idx="2050">
                  <c:v>104.3449</c:v>
                </c:pt>
                <c:pt idx="2051">
                  <c:v>104.3449</c:v>
                </c:pt>
                <c:pt idx="2052">
                  <c:v>104.1529</c:v>
                </c:pt>
                <c:pt idx="2053">
                  <c:v>105.42</c:v>
                </c:pt>
                <c:pt idx="2054">
                  <c:v>104.8486</c:v>
                </c:pt>
                <c:pt idx="2055">
                  <c:v>104.7878</c:v>
                </c:pt>
                <c:pt idx="2056">
                  <c:v>104.7713</c:v>
                </c:pt>
                <c:pt idx="2057">
                  <c:v>104.39870000000001</c:v>
                </c:pt>
                <c:pt idx="2058">
                  <c:v>105.1712</c:v>
                </c:pt>
                <c:pt idx="2059">
                  <c:v>105.37949999999999</c:v>
                </c:pt>
                <c:pt idx="2060">
                  <c:v>104.75449999999999</c:v>
                </c:pt>
                <c:pt idx="2061">
                  <c:v>104.75449999999999</c:v>
                </c:pt>
                <c:pt idx="2062">
                  <c:v>104.9961</c:v>
                </c:pt>
                <c:pt idx="2063">
                  <c:v>105.4838</c:v>
                </c:pt>
                <c:pt idx="2064">
                  <c:v>105.2405</c:v>
                </c:pt>
                <c:pt idx="2065">
                  <c:v>105.0776</c:v>
                </c:pt>
                <c:pt idx="2066">
                  <c:v>105.0776</c:v>
                </c:pt>
                <c:pt idx="2067">
                  <c:v>105.1491</c:v>
                </c:pt>
                <c:pt idx="2068">
                  <c:v>104.92870000000001</c:v>
                </c:pt>
                <c:pt idx="2069">
                  <c:v>105.00360000000001</c:v>
                </c:pt>
                <c:pt idx="2070">
                  <c:v>104.82470000000001</c:v>
                </c:pt>
                <c:pt idx="2071">
                  <c:v>104.8146</c:v>
                </c:pt>
                <c:pt idx="2072">
                  <c:v>105.1533</c:v>
                </c:pt>
                <c:pt idx="2073">
                  <c:v>103.4528</c:v>
                </c:pt>
                <c:pt idx="2074">
                  <c:v>103.4892</c:v>
                </c:pt>
                <c:pt idx="2075">
                  <c:v>103.6002</c:v>
                </c:pt>
                <c:pt idx="2076">
                  <c:v>103.8908</c:v>
                </c:pt>
                <c:pt idx="2077">
                  <c:v>103.59050000000001</c:v>
                </c:pt>
                <c:pt idx="2078">
                  <c:v>103.28319999999999</c:v>
                </c:pt>
                <c:pt idx="2079">
                  <c:v>103.5202</c:v>
                </c:pt>
                <c:pt idx="2080">
                  <c:v>103.6378</c:v>
                </c:pt>
                <c:pt idx="2081">
                  <c:v>103.8348</c:v>
                </c:pt>
                <c:pt idx="2082">
                  <c:v>104.1022</c:v>
                </c:pt>
                <c:pt idx="2083">
                  <c:v>104.1499</c:v>
                </c:pt>
                <c:pt idx="2084">
                  <c:v>104.0416</c:v>
                </c:pt>
                <c:pt idx="2085">
                  <c:v>104.1241</c:v>
                </c:pt>
                <c:pt idx="2086">
                  <c:v>104.3801</c:v>
                </c:pt>
                <c:pt idx="2087">
                  <c:v>104.5851</c:v>
                </c:pt>
                <c:pt idx="2088">
                  <c:v>104.5851</c:v>
                </c:pt>
                <c:pt idx="2089">
                  <c:v>103.8411</c:v>
                </c:pt>
                <c:pt idx="2090">
                  <c:v>103.8464</c:v>
                </c:pt>
                <c:pt idx="2091">
                  <c:v>103.9136</c:v>
                </c:pt>
                <c:pt idx="2092">
                  <c:v>103.3519</c:v>
                </c:pt>
                <c:pt idx="2093">
                  <c:v>103.2337</c:v>
                </c:pt>
                <c:pt idx="2094">
                  <c:v>103.14700000000001</c:v>
                </c:pt>
                <c:pt idx="2095">
                  <c:v>103.5311</c:v>
                </c:pt>
                <c:pt idx="2096">
                  <c:v>102.83929999999999</c:v>
                </c:pt>
                <c:pt idx="2097">
                  <c:v>102.38420000000001</c:v>
                </c:pt>
                <c:pt idx="2098">
                  <c:v>101.35939999999999</c:v>
                </c:pt>
                <c:pt idx="2099">
                  <c:v>100.1057</c:v>
                </c:pt>
                <c:pt idx="2100">
                  <c:v>100.2906</c:v>
                </c:pt>
                <c:pt idx="2101">
                  <c:v>100.2788</c:v>
                </c:pt>
                <c:pt idx="2102">
                  <c:v>100.42310000000001</c:v>
                </c:pt>
                <c:pt idx="2103">
                  <c:v>100.453</c:v>
                </c:pt>
                <c:pt idx="2104">
                  <c:v>100.5308</c:v>
                </c:pt>
                <c:pt idx="2105">
                  <c:v>100.5917</c:v>
                </c:pt>
                <c:pt idx="2106">
                  <c:v>100.652</c:v>
                </c:pt>
                <c:pt idx="2107">
                  <c:v>100.7653</c:v>
                </c:pt>
                <c:pt idx="2108">
                  <c:v>100.4194</c:v>
                </c:pt>
                <c:pt idx="2109">
                  <c:v>100.3237</c:v>
                </c:pt>
                <c:pt idx="2110">
                  <c:v>100.4498</c:v>
                </c:pt>
                <c:pt idx="2111">
                  <c:v>100.4828</c:v>
                </c:pt>
                <c:pt idx="2112">
                  <c:v>100.0453</c:v>
                </c:pt>
                <c:pt idx="2113">
                  <c:v>99.749880000000005</c:v>
                </c:pt>
                <c:pt idx="2114">
                  <c:v>99.862700000000004</c:v>
                </c:pt>
                <c:pt idx="2115">
                  <c:v>100.1854</c:v>
                </c:pt>
                <c:pt idx="2116">
                  <c:v>100.2809</c:v>
                </c:pt>
                <c:pt idx="2117">
                  <c:v>100.1778</c:v>
                </c:pt>
                <c:pt idx="2118">
                  <c:v>100.20440000000001</c:v>
                </c:pt>
                <c:pt idx="2119">
                  <c:v>100.0067</c:v>
                </c:pt>
                <c:pt idx="2120">
                  <c:v>99.809079999999994</c:v>
                </c:pt>
                <c:pt idx="2121">
                  <c:v>99.809079999999994</c:v>
                </c:pt>
                <c:pt idx="2122">
                  <c:v>99.624189999999999</c:v>
                </c:pt>
                <c:pt idx="2123">
                  <c:v>99.481160000000003</c:v>
                </c:pt>
                <c:pt idx="2124">
                  <c:v>99.382630000000006</c:v>
                </c:pt>
                <c:pt idx="2125">
                  <c:v>99.251099999999994</c:v>
                </c:pt>
                <c:pt idx="2126">
                  <c:v>99.105829999999997</c:v>
                </c:pt>
                <c:pt idx="2127">
                  <c:v>99.117490000000004</c:v>
                </c:pt>
                <c:pt idx="2128">
                  <c:v>99.407169999999994</c:v>
                </c:pt>
                <c:pt idx="2129">
                  <c:v>99.311220000000006</c:v>
                </c:pt>
                <c:pt idx="2130">
                  <c:v>99.441850000000002</c:v>
                </c:pt>
                <c:pt idx="2131">
                  <c:v>99.457080000000005</c:v>
                </c:pt>
                <c:pt idx="2132">
                  <c:v>99.105410000000006</c:v>
                </c:pt>
                <c:pt idx="2133">
                  <c:v>99.685320000000004</c:v>
                </c:pt>
                <c:pt idx="2134">
                  <c:v>99.812299999999993</c:v>
                </c:pt>
                <c:pt idx="2135">
                  <c:v>99.621949999999998</c:v>
                </c:pt>
                <c:pt idx="2136">
                  <c:v>99.910030000000006</c:v>
                </c:pt>
                <c:pt idx="2137">
                  <c:v>99.366579999999999</c:v>
                </c:pt>
                <c:pt idx="2138">
                  <c:v>99.305769999999995</c:v>
                </c:pt>
                <c:pt idx="2139">
                  <c:v>99.337999999999994</c:v>
                </c:pt>
                <c:pt idx="2140">
                  <c:v>99.086870000000005</c:v>
                </c:pt>
                <c:pt idx="2141">
                  <c:v>98.940340000000006</c:v>
                </c:pt>
                <c:pt idx="2142">
                  <c:v>98.362849999999995</c:v>
                </c:pt>
                <c:pt idx="2143">
                  <c:v>98.109880000000004</c:v>
                </c:pt>
                <c:pt idx="2144">
                  <c:v>98.159610000000001</c:v>
                </c:pt>
                <c:pt idx="2145">
                  <c:v>99.021609999999995</c:v>
                </c:pt>
                <c:pt idx="2146">
                  <c:v>99.021609999999995</c:v>
                </c:pt>
                <c:pt idx="2147">
                  <c:v>99.111040000000003</c:v>
                </c:pt>
                <c:pt idx="2148">
                  <c:v>99.263319999999993</c:v>
                </c:pt>
                <c:pt idx="2149">
                  <c:v>99.161820000000006</c:v>
                </c:pt>
                <c:pt idx="2150">
                  <c:v>98.84836</c:v>
                </c:pt>
                <c:pt idx="2151">
                  <c:v>98.295119999999997</c:v>
                </c:pt>
                <c:pt idx="2152">
                  <c:v>98.236919999999998</c:v>
                </c:pt>
                <c:pt idx="2153">
                  <c:v>98.304550000000006</c:v>
                </c:pt>
                <c:pt idx="2154">
                  <c:v>98.005629999999996</c:v>
                </c:pt>
                <c:pt idx="2155">
                  <c:v>98.051640000000006</c:v>
                </c:pt>
                <c:pt idx="2156">
                  <c:v>97.910200000000003</c:v>
                </c:pt>
                <c:pt idx="2157">
                  <c:v>97.478620000000006</c:v>
                </c:pt>
                <c:pt idx="2158">
                  <c:v>97.957890000000006</c:v>
                </c:pt>
                <c:pt idx="2159">
                  <c:v>97.51746</c:v>
                </c:pt>
                <c:pt idx="2160">
                  <c:v>97.904139999999998</c:v>
                </c:pt>
                <c:pt idx="2161">
                  <c:v>98.187449999999998</c:v>
                </c:pt>
                <c:pt idx="2162">
                  <c:v>98.159419999999997</c:v>
                </c:pt>
                <c:pt idx="2163">
                  <c:v>98.221689999999995</c:v>
                </c:pt>
                <c:pt idx="2164">
                  <c:v>98.617609999999999</c:v>
                </c:pt>
                <c:pt idx="2165">
                  <c:v>99.005039999999994</c:v>
                </c:pt>
                <c:pt idx="2166">
                  <c:v>99.177899999999994</c:v>
                </c:pt>
                <c:pt idx="2167">
                  <c:v>98.823869999999999</c:v>
                </c:pt>
                <c:pt idx="2168">
                  <c:v>98.858199999999997</c:v>
                </c:pt>
                <c:pt idx="2169">
                  <c:v>98.637529999999998</c:v>
                </c:pt>
                <c:pt idx="2170">
                  <c:v>98.864199999999997</c:v>
                </c:pt>
                <c:pt idx="2171">
                  <c:v>98.796520000000001</c:v>
                </c:pt>
                <c:pt idx="2172">
                  <c:v>99.546710000000004</c:v>
                </c:pt>
                <c:pt idx="2173">
                  <c:v>99.957430000000002</c:v>
                </c:pt>
                <c:pt idx="2174">
                  <c:v>99.832490000000007</c:v>
                </c:pt>
                <c:pt idx="2175">
                  <c:v>99.960239999999999</c:v>
                </c:pt>
                <c:pt idx="2176">
                  <c:v>99.810699999999997</c:v>
                </c:pt>
                <c:pt idx="2177">
                  <c:v>99.531130000000005</c:v>
                </c:pt>
                <c:pt idx="2178">
                  <c:v>99.610460000000003</c:v>
                </c:pt>
                <c:pt idx="2179">
                  <c:v>99.574719999999999</c:v>
                </c:pt>
                <c:pt idx="2180">
                  <c:v>99.27722</c:v>
                </c:pt>
                <c:pt idx="2181">
                  <c:v>99.275409999999994</c:v>
                </c:pt>
                <c:pt idx="2182">
                  <c:v>98.846689999999995</c:v>
                </c:pt>
                <c:pt idx="2183">
                  <c:v>99.043049999999994</c:v>
                </c:pt>
                <c:pt idx="2184">
                  <c:v>99.097809999999996</c:v>
                </c:pt>
                <c:pt idx="2185">
                  <c:v>99.382570000000001</c:v>
                </c:pt>
                <c:pt idx="2186">
                  <c:v>99.293289999999999</c:v>
                </c:pt>
                <c:pt idx="2187">
                  <c:v>99.429320000000004</c:v>
                </c:pt>
                <c:pt idx="2188">
                  <c:v>99.363770000000002</c:v>
                </c:pt>
                <c:pt idx="2189">
                  <c:v>99.305300000000003</c:v>
                </c:pt>
                <c:pt idx="2190">
                  <c:v>98.701490000000007</c:v>
                </c:pt>
                <c:pt idx="2191">
                  <c:v>98.700999999999993</c:v>
                </c:pt>
                <c:pt idx="2192">
                  <c:v>99.133510000000001</c:v>
                </c:pt>
                <c:pt idx="2193">
                  <c:v>98.917400000000001</c:v>
                </c:pt>
                <c:pt idx="2194">
                  <c:v>99.588440000000006</c:v>
                </c:pt>
                <c:pt idx="2195">
                  <c:v>99.930599999999998</c:v>
                </c:pt>
                <c:pt idx="2196">
                  <c:v>99.145769999999999</c:v>
                </c:pt>
                <c:pt idx="2197">
                  <c:v>97.791049999999998</c:v>
                </c:pt>
                <c:pt idx="2198">
                  <c:v>98.099429999999998</c:v>
                </c:pt>
                <c:pt idx="2199">
                  <c:v>98.360230000000001</c:v>
                </c:pt>
                <c:pt idx="2200">
                  <c:v>98.20729</c:v>
                </c:pt>
                <c:pt idx="2201">
                  <c:v>98.717209999999994</c:v>
                </c:pt>
                <c:pt idx="2202">
                  <c:v>99.240200000000002</c:v>
                </c:pt>
                <c:pt idx="2203">
                  <c:v>98.900220000000004</c:v>
                </c:pt>
                <c:pt idx="2204">
                  <c:v>99.119029999999995</c:v>
                </c:pt>
                <c:pt idx="2205">
                  <c:v>98.701419999999999</c:v>
                </c:pt>
                <c:pt idx="2206">
                  <c:v>98.358810000000005</c:v>
                </c:pt>
                <c:pt idx="2207">
                  <c:v>97.958209999999994</c:v>
                </c:pt>
                <c:pt idx="2208">
                  <c:v>97.628569999999996</c:v>
                </c:pt>
                <c:pt idx="2209">
                  <c:v>98.154399999999995</c:v>
                </c:pt>
                <c:pt idx="2210">
                  <c:v>98.435490000000001</c:v>
                </c:pt>
                <c:pt idx="2211">
                  <c:v>98.614519999999999</c:v>
                </c:pt>
                <c:pt idx="2212">
                  <c:v>99.4756</c:v>
                </c:pt>
                <c:pt idx="2213">
                  <c:v>99.478440000000006</c:v>
                </c:pt>
                <c:pt idx="2214">
                  <c:v>99.488529999999997</c:v>
                </c:pt>
                <c:pt idx="2215">
                  <c:v>99.196089999999998</c:v>
                </c:pt>
                <c:pt idx="2216">
                  <c:v>99.196089999999998</c:v>
                </c:pt>
                <c:pt idx="2217">
                  <c:v>99.028559999999999</c:v>
                </c:pt>
                <c:pt idx="2218">
                  <c:v>99.263919999999999</c:v>
                </c:pt>
                <c:pt idx="2219">
                  <c:v>99.348079999999996</c:v>
                </c:pt>
                <c:pt idx="2220">
                  <c:v>99.281459999999996</c:v>
                </c:pt>
                <c:pt idx="2221">
                  <c:v>99.215530000000001</c:v>
                </c:pt>
                <c:pt idx="2222">
                  <c:v>99.274780000000007</c:v>
                </c:pt>
                <c:pt idx="2223">
                  <c:v>98.680729999999997</c:v>
                </c:pt>
                <c:pt idx="2224">
                  <c:v>98.282550000000001</c:v>
                </c:pt>
                <c:pt idx="2225">
                  <c:v>98.276200000000003</c:v>
                </c:pt>
                <c:pt idx="2226">
                  <c:v>98.409059999999997</c:v>
                </c:pt>
                <c:pt idx="2227">
                  <c:v>97.946780000000004</c:v>
                </c:pt>
                <c:pt idx="2228">
                  <c:v>97.571010000000001</c:v>
                </c:pt>
                <c:pt idx="2229">
                  <c:v>98.031189999999995</c:v>
                </c:pt>
                <c:pt idx="2230">
                  <c:v>98.172520000000006</c:v>
                </c:pt>
                <c:pt idx="2231">
                  <c:v>97.594499999999996</c:v>
                </c:pt>
                <c:pt idx="2232">
                  <c:v>97.510059999999996</c:v>
                </c:pt>
                <c:pt idx="2233">
                  <c:v>97.257859999999994</c:v>
                </c:pt>
                <c:pt idx="2234">
                  <c:v>96.771060000000006</c:v>
                </c:pt>
                <c:pt idx="2235">
                  <c:v>96.205539999999999</c:v>
                </c:pt>
                <c:pt idx="2236">
                  <c:v>96.372010000000003</c:v>
                </c:pt>
                <c:pt idx="2237">
                  <c:v>96.679429999999996</c:v>
                </c:pt>
                <c:pt idx="2238">
                  <c:v>97.251890000000003</c:v>
                </c:pt>
                <c:pt idx="2239">
                  <c:v>97.209199999999996</c:v>
                </c:pt>
                <c:pt idx="2240">
                  <c:v>97.542360000000002</c:v>
                </c:pt>
                <c:pt idx="2241">
                  <c:v>97.541169999999994</c:v>
                </c:pt>
                <c:pt idx="2242">
                  <c:v>97.136089999999996</c:v>
                </c:pt>
                <c:pt idx="2243">
                  <c:v>96.776150000000001</c:v>
                </c:pt>
                <c:pt idx="2244">
                  <c:v>96.656220000000005</c:v>
                </c:pt>
                <c:pt idx="2245">
                  <c:v>97.229900000000001</c:v>
                </c:pt>
                <c:pt idx="2246">
                  <c:v>97.374420000000001</c:v>
                </c:pt>
                <c:pt idx="2247">
                  <c:v>97.389600000000002</c:v>
                </c:pt>
                <c:pt idx="2248">
                  <c:v>97.354200000000006</c:v>
                </c:pt>
                <c:pt idx="2249">
                  <c:v>97.05153</c:v>
                </c:pt>
                <c:pt idx="2250">
                  <c:v>97.154219999999995</c:v>
                </c:pt>
                <c:pt idx="2251">
                  <c:v>97.484880000000004</c:v>
                </c:pt>
                <c:pt idx="2252">
                  <c:v>97.82741</c:v>
                </c:pt>
                <c:pt idx="2253">
                  <c:v>97.652770000000004</c:v>
                </c:pt>
                <c:pt idx="2254">
                  <c:v>97.954120000000003</c:v>
                </c:pt>
                <c:pt idx="2255">
                  <c:v>97.50752</c:v>
                </c:pt>
                <c:pt idx="2256">
                  <c:v>97.436170000000004</c:v>
                </c:pt>
                <c:pt idx="2257">
                  <c:v>97.143339999999995</c:v>
                </c:pt>
                <c:pt idx="2258">
                  <c:v>97.434950000000001</c:v>
                </c:pt>
                <c:pt idx="2259">
                  <c:v>98.425129999999996</c:v>
                </c:pt>
                <c:pt idx="2260">
                  <c:v>98.409030000000001</c:v>
                </c:pt>
                <c:pt idx="2261">
                  <c:v>98.708340000000007</c:v>
                </c:pt>
                <c:pt idx="2262">
                  <c:v>98.742940000000004</c:v>
                </c:pt>
                <c:pt idx="2263">
                  <c:v>98.542389999999997</c:v>
                </c:pt>
                <c:pt idx="2264">
                  <c:v>97.910929999999993</c:v>
                </c:pt>
                <c:pt idx="2265">
                  <c:v>97.883380000000002</c:v>
                </c:pt>
                <c:pt idx="2266">
                  <c:v>97.604839999999996</c:v>
                </c:pt>
                <c:pt idx="2267">
                  <c:v>97.604389999999995</c:v>
                </c:pt>
                <c:pt idx="2268">
                  <c:v>99.534869999999998</c:v>
                </c:pt>
                <c:pt idx="2269">
                  <c:v>99.389799999999994</c:v>
                </c:pt>
                <c:pt idx="2270">
                  <c:v>99.071240000000003</c:v>
                </c:pt>
                <c:pt idx="2271">
                  <c:v>98.742509999999996</c:v>
                </c:pt>
                <c:pt idx="2272">
                  <c:v>99.252700000000004</c:v>
                </c:pt>
                <c:pt idx="2273">
                  <c:v>99.276949999999999</c:v>
                </c:pt>
                <c:pt idx="2274">
                  <c:v>99.562809999999999</c:v>
                </c:pt>
                <c:pt idx="2275">
                  <c:v>99.410629999999998</c:v>
                </c:pt>
                <c:pt idx="2276">
                  <c:v>99.44708</c:v>
                </c:pt>
                <c:pt idx="2277">
                  <c:v>99.945890000000006</c:v>
                </c:pt>
                <c:pt idx="2278">
                  <c:v>100.4152</c:v>
                </c:pt>
                <c:pt idx="2279">
                  <c:v>100.4735</c:v>
                </c:pt>
                <c:pt idx="2280">
                  <c:v>100.7247</c:v>
                </c:pt>
                <c:pt idx="2281">
                  <c:v>100.8103</c:v>
                </c:pt>
                <c:pt idx="2282">
                  <c:v>100.42</c:v>
                </c:pt>
                <c:pt idx="2283">
                  <c:v>100.57899999999999</c:v>
                </c:pt>
                <c:pt idx="2284">
                  <c:v>100.598</c:v>
                </c:pt>
                <c:pt idx="2285">
                  <c:v>100.3128</c:v>
                </c:pt>
                <c:pt idx="2286">
                  <c:v>100.4511</c:v>
                </c:pt>
                <c:pt idx="2287">
                  <c:v>100.3767</c:v>
                </c:pt>
                <c:pt idx="2288">
                  <c:v>100.37520000000001</c:v>
                </c:pt>
                <c:pt idx="2289">
                  <c:v>100.8381</c:v>
                </c:pt>
                <c:pt idx="2290">
                  <c:v>100.77460000000001</c:v>
                </c:pt>
                <c:pt idx="2291">
                  <c:v>100.77460000000001</c:v>
                </c:pt>
                <c:pt idx="2292">
                  <c:v>100.646</c:v>
                </c:pt>
                <c:pt idx="2293">
                  <c:v>100.75149999999999</c:v>
                </c:pt>
                <c:pt idx="2294">
                  <c:v>100.5515</c:v>
                </c:pt>
                <c:pt idx="2295">
                  <c:v>100.9328</c:v>
                </c:pt>
                <c:pt idx="2296">
                  <c:v>100.8301</c:v>
                </c:pt>
                <c:pt idx="2297">
                  <c:v>100.2715</c:v>
                </c:pt>
                <c:pt idx="2298">
                  <c:v>101.1521</c:v>
                </c:pt>
                <c:pt idx="2299">
                  <c:v>101.8669</c:v>
                </c:pt>
                <c:pt idx="2300">
                  <c:v>101.6769</c:v>
                </c:pt>
                <c:pt idx="2301">
                  <c:v>101.86320000000001</c:v>
                </c:pt>
                <c:pt idx="2302">
                  <c:v>101.5676</c:v>
                </c:pt>
                <c:pt idx="2303">
                  <c:v>101.82</c:v>
                </c:pt>
                <c:pt idx="2304">
                  <c:v>101.941</c:v>
                </c:pt>
                <c:pt idx="2305">
                  <c:v>102.19</c:v>
                </c:pt>
                <c:pt idx="2306">
                  <c:v>102.02670000000001</c:v>
                </c:pt>
                <c:pt idx="2307">
                  <c:v>102.1835</c:v>
                </c:pt>
                <c:pt idx="2308">
                  <c:v>102.4175</c:v>
                </c:pt>
                <c:pt idx="2309">
                  <c:v>102.0129</c:v>
                </c:pt>
                <c:pt idx="2310">
                  <c:v>101.95820000000001</c:v>
                </c:pt>
                <c:pt idx="2311">
                  <c:v>101.95820000000001</c:v>
                </c:pt>
                <c:pt idx="2312">
                  <c:v>101.7353</c:v>
                </c:pt>
                <c:pt idx="2313">
                  <c:v>101.49979999999999</c:v>
                </c:pt>
                <c:pt idx="2314">
                  <c:v>101.6507</c:v>
                </c:pt>
                <c:pt idx="2315">
                  <c:v>101.44889999999999</c:v>
                </c:pt>
                <c:pt idx="2316">
                  <c:v>101.46339999999999</c:v>
                </c:pt>
                <c:pt idx="2317">
                  <c:v>101.1644</c:v>
                </c:pt>
                <c:pt idx="2318">
                  <c:v>101.11660000000001</c:v>
                </c:pt>
                <c:pt idx="2319">
                  <c:v>100.7856</c:v>
                </c:pt>
                <c:pt idx="2320">
                  <c:v>100.7323</c:v>
                </c:pt>
                <c:pt idx="2321">
                  <c:v>100.1035</c:v>
                </c:pt>
                <c:pt idx="2322">
                  <c:v>100.1035</c:v>
                </c:pt>
                <c:pt idx="2323">
                  <c:v>100.136</c:v>
                </c:pt>
                <c:pt idx="2324">
                  <c:v>99.881379999999993</c:v>
                </c:pt>
                <c:pt idx="2325">
                  <c:v>99.796679999999995</c:v>
                </c:pt>
                <c:pt idx="2326">
                  <c:v>99.776049999999998</c:v>
                </c:pt>
                <c:pt idx="2327">
                  <c:v>99.776049999999998</c:v>
                </c:pt>
                <c:pt idx="2328">
                  <c:v>99.962040000000002</c:v>
                </c:pt>
                <c:pt idx="2329">
                  <c:v>99.86157</c:v>
                </c:pt>
                <c:pt idx="2330">
                  <c:v>100.0215</c:v>
                </c:pt>
                <c:pt idx="2331">
                  <c:v>99.966319999999996</c:v>
                </c:pt>
                <c:pt idx="2332">
                  <c:v>100.3901</c:v>
                </c:pt>
                <c:pt idx="2333">
                  <c:v>99.817539999999994</c:v>
                </c:pt>
                <c:pt idx="2334">
                  <c:v>99.712519999999998</c:v>
                </c:pt>
                <c:pt idx="2335">
                  <c:v>99.645480000000006</c:v>
                </c:pt>
                <c:pt idx="2336">
                  <c:v>99.651139999999998</c:v>
                </c:pt>
                <c:pt idx="2337">
                  <c:v>99.260570000000001</c:v>
                </c:pt>
                <c:pt idx="2338">
                  <c:v>99.165880000000001</c:v>
                </c:pt>
                <c:pt idx="2339">
                  <c:v>99.398989999999998</c:v>
                </c:pt>
                <c:pt idx="2340">
                  <c:v>99.229680000000002</c:v>
                </c:pt>
                <c:pt idx="2341">
                  <c:v>98.699659999999994</c:v>
                </c:pt>
                <c:pt idx="2342">
                  <c:v>98.75403</c:v>
                </c:pt>
                <c:pt idx="2343">
                  <c:v>99.365660000000005</c:v>
                </c:pt>
                <c:pt idx="2344">
                  <c:v>99.138919999999999</c:v>
                </c:pt>
                <c:pt idx="2345">
                  <c:v>99.313999999999993</c:v>
                </c:pt>
                <c:pt idx="2346">
                  <c:v>99.206090000000003</c:v>
                </c:pt>
                <c:pt idx="2347">
                  <c:v>98.904690000000002</c:v>
                </c:pt>
                <c:pt idx="2348">
                  <c:v>98.904690000000002</c:v>
                </c:pt>
                <c:pt idx="2349">
                  <c:v>98.771209999999996</c:v>
                </c:pt>
                <c:pt idx="2350">
                  <c:v>99.031400000000005</c:v>
                </c:pt>
                <c:pt idx="2351">
                  <c:v>98.813599999999994</c:v>
                </c:pt>
                <c:pt idx="2352">
                  <c:v>98.658810000000003</c:v>
                </c:pt>
                <c:pt idx="2353">
                  <c:v>99.30968</c:v>
                </c:pt>
                <c:pt idx="2354">
                  <c:v>99.246639999999999</c:v>
                </c:pt>
                <c:pt idx="2355">
                  <c:v>99.165049999999994</c:v>
                </c:pt>
                <c:pt idx="2356">
                  <c:v>98.989410000000007</c:v>
                </c:pt>
                <c:pt idx="2357">
                  <c:v>98.808210000000003</c:v>
                </c:pt>
                <c:pt idx="2358">
                  <c:v>98.989379999999997</c:v>
                </c:pt>
                <c:pt idx="2359">
                  <c:v>98.989379999999997</c:v>
                </c:pt>
                <c:pt idx="2360">
                  <c:v>98.911590000000004</c:v>
                </c:pt>
                <c:pt idx="2361">
                  <c:v>98.893600000000006</c:v>
                </c:pt>
                <c:pt idx="2362">
                  <c:v>98.056880000000007</c:v>
                </c:pt>
                <c:pt idx="2363">
                  <c:v>97.89967</c:v>
                </c:pt>
                <c:pt idx="2364">
                  <c:v>97.518460000000005</c:v>
                </c:pt>
                <c:pt idx="2365">
                  <c:v>97.501189999999994</c:v>
                </c:pt>
                <c:pt idx="2366">
                  <c:v>97.412030000000001</c:v>
                </c:pt>
                <c:pt idx="2367">
                  <c:v>97.953370000000007</c:v>
                </c:pt>
                <c:pt idx="2368">
                  <c:v>97.451310000000007</c:v>
                </c:pt>
                <c:pt idx="2369">
                  <c:v>97.656220000000005</c:v>
                </c:pt>
                <c:pt idx="2370">
                  <c:v>97.448260000000005</c:v>
                </c:pt>
                <c:pt idx="2371">
                  <c:v>97.632599999999996</c:v>
                </c:pt>
                <c:pt idx="2372">
                  <c:v>97.325059999999993</c:v>
                </c:pt>
                <c:pt idx="2373">
                  <c:v>97.066280000000006</c:v>
                </c:pt>
                <c:pt idx="2374">
                  <c:v>96.760300000000001</c:v>
                </c:pt>
                <c:pt idx="2375">
                  <c:v>96.768680000000003</c:v>
                </c:pt>
                <c:pt idx="2376">
                  <c:v>96.426730000000006</c:v>
                </c:pt>
                <c:pt idx="2377">
                  <c:v>96.173680000000004</c:v>
                </c:pt>
                <c:pt idx="2378">
                  <c:v>96.567890000000006</c:v>
                </c:pt>
                <c:pt idx="2379">
                  <c:v>96.778270000000006</c:v>
                </c:pt>
                <c:pt idx="2380">
                  <c:v>96.521960000000007</c:v>
                </c:pt>
                <c:pt idx="2381">
                  <c:v>96.521960000000007</c:v>
                </c:pt>
                <c:pt idx="2382">
                  <c:v>96.988190000000003</c:v>
                </c:pt>
                <c:pt idx="2383">
                  <c:v>97.151730000000001</c:v>
                </c:pt>
                <c:pt idx="2384">
                  <c:v>97.431179999999998</c:v>
                </c:pt>
                <c:pt idx="2385">
                  <c:v>97.657899999999998</c:v>
                </c:pt>
                <c:pt idx="2386">
                  <c:v>97.810839999999999</c:v>
                </c:pt>
                <c:pt idx="2387">
                  <c:v>98.150180000000006</c:v>
                </c:pt>
                <c:pt idx="2388">
                  <c:v>98.32002</c:v>
                </c:pt>
                <c:pt idx="2389">
                  <c:v>98.487049999999996</c:v>
                </c:pt>
                <c:pt idx="2390">
                  <c:v>98.403790000000001</c:v>
                </c:pt>
                <c:pt idx="2391">
                  <c:v>98.404619999999994</c:v>
                </c:pt>
                <c:pt idx="2392">
                  <c:v>98.456159999999997</c:v>
                </c:pt>
                <c:pt idx="2393">
                  <c:v>98.592849999999999</c:v>
                </c:pt>
                <c:pt idx="2394">
                  <c:v>98.288420000000002</c:v>
                </c:pt>
                <c:pt idx="2395">
                  <c:v>97.832890000000006</c:v>
                </c:pt>
                <c:pt idx="2396">
                  <c:v>97.138490000000004</c:v>
                </c:pt>
                <c:pt idx="2397">
                  <c:v>97.409840000000003</c:v>
                </c:pt>
                <c:pt idx="2398">
                  <c:v>97.428939999999997</c:v>
                </c:pt>
                <c:pt idx="2399">
                  <c:v>97.812910000000002</c:v>
                </c:pt>
                <c:pt idx="2400">
                  <c:v>97.720110000000005</c:v>
                </c:pt>
                <c:pt idx="2401">
                  <c:v>97.80583</c:v>
                </c:pt>
                <c:pt idx="2402">
                  <c:v>97.878510000000006</c:v>
                </c:pt>
                <c:pt idx="2403">
                  <c:v>98.113100000000003</c:v>
                </c:pt>
                <c:pt idx="2404">
                  <c:v>98.013639999999995</c:v>
                </c:pt>
                <c:pt idx="2405">
                  <c:v>98.121750000000006</c:v>
                </c:pt>
                <c:pt idx="2406">
                  <c:v>98.121750000000006</c:v>
                </c:pt>
                <c:pt idx="2407">
                  <c:v>97.978759999999994</c:v>
                </c:pt>
                <c:pt idx="2408">
                  <c:v>97.887219999999999</c:v>
                </c:pt>
                <c:pt idx="2409">
                  <c:v>97.658389999999997</c:v>
                </c:pt>
                <c:pt idx="2410">
                  <c:v>97.804490000000001</c:v>
                </c:pt>
                <c:pt idx="2411">
                  <c:v>97.909610000000001</c:v>
                </c:pt>
                <c:pt idx="2412">
                  <c:v>97.794330000000002</c:v>
                </c:pt>
                <c:pt idx="2413">
                  <c:v>97.821619999999996</c:v>
                </c:pt>
                <c:pt idx="2414">
                  <c:v>97.625870000000006</c:v>
                </c:pt>
                <c:pt idx="2415">
                  <c:v>97.370850000000004</c:v>
                </c:pt>
                <c:pt idx="2416">
                  <c:v>97.573099999999997</c:v>
                </c:pt>
                <c:pt idx="2417">
                  <c:v>97.568569999999994</c:v>
                </c:pt>
                <c:pt idx="2418">
                  <c:v>97.826419999999999</c:v>
                </c:pt>
                <c:pt idx="2419">
                  <c:v>97.671019999999999</c:v>
                </c:pt>
                <c:pt idx="2420">
                  <c:v>97.571430000000007</c:v>
                </c:pt>
                <c:pt idx="2421">
                  <c:v>97.36618</c:v>
                </c:pt>
                <c:pt idx="2422">
                  <c:v>97.333650000000006</c:v>
                </c:pt>
                <c:pt idx="2423">
                  <c:v>96.96902</c:v>
                </c:pt>
                <c:pt idx="2424">
                  <c:v>97.257490000000004</c:v>
                </c:pt>
                <c:pt idx="2425">
                  <c:v>96.487380000000002</c:v>
                </c:pt>
                <c:pt idx="2426">
                  <c:v>96.633449999999996</c:v>
                </c:pt>
                <c:pt idx="2427">
                  <c:v>96.882919999999999</c:v>
                </c:pt>
                <c:pt idx="2428">
                  <c:v>97.013090000000005</c:v>
                </c:pt>
                <c:pt idx="2429">
                  <c:v>96.491929999999996</c:v>
                </c:pt>
                <c:pt idx="2430">
                  <c:v>96.458879999999994</c:v>
                </c:pt>
                <c:pt idx="2431">
                  <c:v>96.117680000000007</c:v>
                </c:pt>
                <c:pt idx="2432">
                  <c:v>96.707520000000002</c:v>
                </c:pt>
                <c:pt idx="2433">
                  <c:v>96.02713</c:v>
                </c:pt>
                <c:pt idx="2434">
                  <c:v>96.087680000000006</c:v>
                </c:pt>
                <c:pt idx="2435">
                  <c:v>96.074489999999997</c:v>
                </c:pt>
                <c:pt idx="2436">
                  <c:v>96.330870000000004</c:v>
                </c:pt>
                <c:pt idx="2437">
                  <c:v>96.120540000000005</c:v>
                </c:pt>
                <c:pt idx="2438">
                  <c:v>96.196299999999994</c:v>
                </c:pt>
                <c:pt idx="2439">
                  <c:v>95.853620000000006</c:v>
                </c:pt>
                <c:pt idx="2440">
                  <c:v>96.127870000000001</c:v>
                </c:pt>
                <c:pt idx="2441">
                  <c:v>95.96687</c:v>
                </c:pt>
                <c:pt idx="2442">
                  <c:v>95.714309999999998</c:v>
                </c:pt>
                <c:pt idx="2443">
                  <c:v>95.591660000000005</c:v>
                </c:pt>
                <c:pt idx="2444">
                  <c:v>95.166920000000005</c:v>
                </c:pt>
                <c:pt idx="2445">
                  <c:v>95.210009999999997</c:v>
                </c:pt>
                <c:pt idx="2446">
                  <c:v>94.886809999999997</c:v>
                </c:pt>
                <c:pt idx="2447">
                  <c:v>95.166899999999998</c:v>
                </c:pt>
                <c:pt idx="2448">
                  <c:v>95.151610000000005</c:v>
                </c:pt>
                <c:pt idx="2449">
                  <c:v>95.402659999999997</c:v>
                </c:pt>
                <c:pt idx="2450">
                  <c:v>94.904910000000001</c:v>
                </c:pt>
                <c:pt idx="2451">
                  <c:v>94.722579999999994</c:v>
                </c:pt>
                <c:pt idx="2452">
                  <c:v>94.722579999999994</c:v>
                </c:pt>
                <c:pt idx="2453">
                  <c:v>94.831739999999996</c:v>
                </c:pt>
                <c:pt idx="2454">
                  <c:v>94.424009999999996</c:v>
                </c:pt>
                <c:pt idx="2455">
                  <c:v>94.350620000000006</c:v>
                </c:pt>
                <c:pt idx="2456">
                  <c:v>94.414019999999994</c:v>
                </c:pt>
                <c:pt idx="2457">
                  <c:v>94.159409999999994</c:v>
                </c:pt>
                <c:pt idx="2458">
                  <c:v>94.24512</c:v>
                </c:pt>
                <c:pt idx="2459">
                  <c:v>94.037229999999994</c:v>
                </c:pt>
                <c:pt idx="2460">
                  <c:v>93.53886</c:v>
                </c:pt>
                <c:pt idx="2461">
                  <c:v>93.623760000000004</c:v>
                </c:pt>
                <c:pt idx="2462">
                  <c:v>93.365679999999998</c:v>
                </c:pt>
                <c:pt idx="2463">
                  <c:v>94.132639999999995</c:v>
                </c:pt>
                <c:pt idx="2464">
                  <c:v>94.084010000000006</c:v>
                </c:pt>
                <c:pt idx="2465">
                  <c:v>94.048230000000004</c:v>
                </c:pt>
                <c:pt idx="2466">
                  <c:v>93.957059999999998</c:v>
                </c:pt>
                <c:pt idx="2467">
                  <c:v>94.07123</c:v>
                </c:pt>
                <c:pt idx="2468">
                  <c:v>93.854020000000006</c:v>
                </c:pt>
                <c:pt idx="2469">
                  <c:v>94.198120000000003</c:v>
                </c:pt>
                <c:pt idx="2470">
                  <c:v>94.600629999999995</c:v>
                </c:pt>
                <c:pt idx="2471">
                  <c:v>94.87003</c:v>
                </c:pt>
                <c:pt idx="2472">
                  <c:v>94.323639999999997</c:v>
                </c:pt>
                <c:pt idx="2473">
                  <c:v>94.063389999999998</c:v>
                </c:pt>
                <c:pt idx="2474">
                  <c:v>94.322779999999995</c:v>
                </c:pt>
                <c:pt idx="2475">
                  <c:v>94.920760000000001</c:v>
                </c:pt>
                <c:pt idx="2476">
                  <c:v>94.550669999999997</c:v>
                </c:pt>
                <c:pt idx="2477">
                  <c:v>94.647000000000006</c:v>
                </c:pt>
                <c:pt idx="2478">
                  <c:v>94.68092</c:v>
                </c:pt>
                <c:pt idx="2479">
                  <c:v>94.559219999999996</c:v>
                </c:pt>
                <c:pt idx="2480">
                  <c:v>93.831670000000003</c:v>
                </c:pt>
                <c:pt idx="2481">
                  <c:v>93.831670000000003</c:v>
                </c:pt>
                <c:pt idx="2482">
                  <c:v>93.474580000000003</c:v>
                </c:pt>
                <c:pt idx="2483">
                  <c:v>93.649259999999998</c:v>
                </c:pt>
                <c:pt idx="2484">
                  <c:v>93.421329999999998</c:v>
                </c:pt>
                <c:pt idx="2485">
                  <c:v>92.840789999999998</c:v>
                </c:pt>
                <c:pt idx="2486">
                  <c:v>92.378720000000001</c:v>
                </c:pt>
                <c:pt idx="2487">
                  <c:v>92.617189999999994</c:v>
                </c:pt>
                <c:pt idx="2488">
                  <c:v>92.721149999999994</c:v>
                </c:pt>
                <c:pt idx="2489">
                  <c:v>93.184079999999994</c:v>
                </c:pt>
                <c:pt idx="2490">
                  <c:v>93.490650000000002</c:v>
                </c:pt>
                <c:pt idx="2491">
                  <c:v>93.084029999999998</c:v>
                </c:pt>
                <c:pt idx="2492">
                  <c:v>93.293499999999995</c:v>
                </c:pt>
                <c:pt idx="2493">
                  <c:v>92.946029999999993</c:v>
                </c:pt>
                <c:pt idx="2494">
                  <c:v>93.345830000000007</c:v>
                </c:pt>
                <c:pt idx="2495">
                  <c:v>93.68159</c:v>
                </c:pt>
                <c:pt idx="2496">
                  <c:v>93.633759999999995</c:v>
                </c:pt>
                <c:pt idx="2497">
                  <c:v>93.369320000000002</c:v>
                </c:pt>
                <c:pt idx="2498">
                  <c:v>92.820769999999996</c:v>
                </c:pt>
                <c:pt idx="2499">
                  <c:v>93.261669999999995</c:v>
                </c:pt>
                <c:pt idx="2500">
                  <c:v>93.690280000000001</c:v>
                </c:pt>
                <c:pt idx="2501">
                  <c:v>93.857730000000004</c:v>
                </c:pt>
                <c:pt idx="2502">
                  <c:v>94.055539999999993</c:v>
                </c:pt>
                <c:pt idx="2503">
                  <c:v>94.394300000000001</c:v>
                </c:pt>
                <c:pt idx="2504">
                  <c:v>94.293880000000001</c:v>
                </c:pt>
                <c:pt idx="2505">
                  <c:v>94.285610000000005</c:v>
                </c:pt>
                <c:pt idx="2506">
                  <c:v>94.140929999999997</c:v>
                </c:pt>
                <c:pt idx="2507">
                  <c:v>94.121459999999999</c:v>
                </c:pt>
                <c:pt idx="2508">
                  <c:v>94.822040000000001</c:v>
                </c:pt>
                <c:pt idx="2509">
                  <c:v>94.686570000000003</c:v>
                </c:pt>
                <c:pt idx="2510">
                  <c:v>95.191379999999995</c:v>
                </c:pt>
                <c:pt idx="2511">
                  <c:v>94.960170000000005</c:v>
                </c:pt>
                <c:pt idx="2512">
                  <c:v>94.628720000000001</c:v>
                </c:pt>
                <c:pt idx="2513">
                  <c:v>94.123599999999996</c:v>
                </c:pt>
                <c:pt idx="2514">
                  <c:v>94.140060000000005</c:v>
                </c:pt>
                <c:pt idx="2515">
                  <c:v>93.567409999999995</c:v>
                </c:pt>
                <c:pt idx="2516">
                  <c:v>93.637339999999995</c:v>
                </c:pt>
                <c:pt idx="2517">
                  <c:v>94.281649999999999</c:v>
                </c:pt>
                <c:pt idx="2518">
                  <c:v>94.591920000000002</c:v>
                </c:pt>
                <c:pt idx="2519">
                  <c:v>94.917270000000002</c:v>
                </c:pt>
                <c:pt idx="2520">
                  <c:v>94.868880000000004</c:v>
                </c:pt>
                <c:pt idx="2521">
                  <c:v>94.518630000000002</c:v>
                </c:pt>
                <c:pt idx="2522">
                  <c:v>94.227019999999996</c:v>
                </c:pt>
                <c:pt idx="2523">
                  <c:v>93.988429999999994</c:v>
                </c:pt>
                <c:pt idx="2524">
                  <c:v>94.132050000000007</c:v>
                </c:pt>
                <c:pt idx="2525">
                  <c:v>94.213989999999995</c:v>
                </c:pt>
                <c:pt idx="2526">
                  <c:v>94.679339999999996</c:v>
                </c:pt>
                <c:pt idx="2527">
                  <c:v>95.502960000000002</c:v>
                </c:pt>
                <c:pt idx="2528">
                  <c:v>95.755219999999994</c:v>
                </c:pt>
                <c:pt idx="2529">
                  <c:v>95.974670000000003</c:v>
                </c:pt>
                <c:pt idx="2530">
                  <c:v>95.981520000000003</c:v>
                </c:pt>
                <c:pt idx="2531">
                  <c:v>96.215410000000006</c:v>
                </c:pt>
                <c:pt idx="2532">
                  <c:v>95.685550000000006</c:v>
                </c:pt>
                <c:pt idx="2533">
                  <c:v>95.9572</c:v>
                </c:pt>
                <c:pt idx="2534">
                  <c:v>95.686340000000001</c:v>
                </c:pt>
                <c:pt idx="2535">
                  <c:v>95.175479999999993</c:v>
                </c:pt>
                <c:pt idx="2536">
                  <c:v>95.081950000000006</c:v>
                </c:pt>
                <c:pt idx="2537">
                  <c:v>94.349519999999998</c:v>
                </c:pt>
                <c:pt idx="2538">
                  <c:v>94.08202</c:v>
                </c:pt>
                <c:pt idx="2539">
                  <c:v>93.663480000000007</c:v>
                </c:pt>
                <c:pt idx="2540">
                  <c:v>93.837879999999998</c:v>
                </c:pt>
                <c:pt idx="2541">
                  <c:v>93.650279999999995</c:v>
                </c:pt>
                <c:pt idx="2542">
                  <c:v>93.527010000000004</c:v>
                </c:pt>
                <c:pt idx="2543">
                  <c:v>93.176569999999998</c:v>
                </c:pt>
                <c:pt idx="2544">
                  <c:v>93.567139999999995</c:v>
                </c:pt>
                <c:pt idx="2545">
                  <c:v>93.555530000000005</c:v>
                </c:pt>
                <c:pt idx="2546">
                  <c:v>93.411850000000001</c:v>
                </c:pt>
                <c:pt idx="2547">
                  <c:v>93.228210000000004</c:v>
                </c:pt>
                <c:pt idx="2548">
                  <c:v>93.340770000000006</c:v>
                </c:pt>
                <c:pt idx="2549">
                  <c:v>93.090239999999994</c:v>
                </c:pt>
                <c:pt idx="2550">
                  <c:v>92.971800000000002</c:v>
                </c:pt>
                <c:pt idx="2551">
                  <c:v>92.971800000000002</c:v>
                </c:pt>
                <c:pt idx="2552">
                  <c:v>93.050160000000005</c:v>
                </c:pt>
                <c:pt idx="2553">
                  <c:v>93.781800000000004</c:v>
                </c:pt>
                <c:pt idx="2554">
                  <c:v>93.308809999999994</c:v>
                </c:pt>
                <c:pt idx="2555">
                  <c:v>93.081940000000003</c:v>
                </c:pt>
                <c:pt idx="2556">
                  <c:v>93.190610000000007</c:v>
                </c:pt>
                <c:pt idx="2557">
                  <c:v>92.673280000000005</c:v>
                </c:pt>
                <c:pt idx="2558">
                  <c:v>92.834760000000003</c:v>
                </c:pt>
                <c:pt idx="2559">
                  <c:v>92.748829999999998</c:v>
                </c:pt>
                <c:pt idx="2560">
                  <c:v>93.223219999999998</c:v>
                </c:pt>
                <c:pt idx="2561">
                  <c:v>93.494669999999999</c:v>
                </c:pt>
                <c:pt idx="2562">
                  <c:v>93.284499999999994</c:v>
                </c:pt>
                <c:pt idx="2563">
                  <c:v>92.692760000000007</c:v>
                </c:pt>
                <c:pt idx="2564">
                  <c:v>92.429699999999997</c:v>
                </c:pt>
                <c:pt idx="2565">
                  <c:v>92.692840000000004</c:v>
                </c:pt>
                <c:pt idx="2566">
                  <c:v>92.59348</c:v>
                </c:pt>
                <c:pt idx="2567">
                  <c:v>92.214939999999999</c:v>
                </c:pt>
                <c:pt idx="2568">
                  <c:v>92.097669999999994</c:v>
                </c:pt>
                <c:pt idx="2569">
                  <c:v>91.945430000000002</c:v>
                </c:pt>
                <c:pt idx="2570">
                  <c:v>91.698549999999997</c:v>
                </c:pt>
                <c:pt idx="2571">
                  <c:v>91.698549999999997</c:v>
                </c:pt>
                <c:pt idx="2572">
                  <c:v>91.527360000000002</c:v>
                </c:pt>
                <c:pt idx="2573">
                  <c:v>91.407809999999998</c:v>
                </c:pt>
                <c:pt idx="2574">
                  <c:v>91.597520000000003</c:v>
                </c:pt>
                <c:pt idx="2575">
                  <c:v>91.573459999999997</c:v>
                </c:pt>
                <c:pt idx="2576">
                  <c:v>91.498230000000007</c:v>
                </c:pt>
                <c:pt idx="2577">
                  <c:v>91.648679999999999</c:v>
                </c:pt>
                <c:pt idx="2578">
                  <c:v>91.921329999999998</c:v>
                </c:pt>
                <c:pt idx="2579">
                  <c:v>91.645160000000004</c:v>
                </c:pt>
                <c:pt idx="2580">
                  <c:v>91.856719999999996</c:v>
                </c:pt>
                <c:pt idx="2581">
                  <c:v>91.396330000000006</c:v>
                </c:pt>
                <c:pt idx="2582">
                  <c:v>90.918850000000006</c:v>
                </c:pt>
                <c:pt idx="2583">
                  <c:v>90.918850000000006</c:v>
                </c:pt>
                <c:pt idx="2584">
                  <c:v>90.746399999999994</c:v>
                </c:pt>
                <c:pt idx="2585">
                  <c:v>90.975110000000001</c:v>
                </c:pt>
                <c:pt idx="2586">
                  <c:v>90.862870000000001</c:v>
                </c:pt>
                <c:pt idx="2587">
                  <c:v>90.926699999999997</c:v>
                </c:pt>
                <c:pt idx="2588">
                  <c:v>90.926699999999997</c:v>
                </c:pt>
                <c:pt idx="2589">
                  <c:v>90.967650000000006</c:v>
                </c:pt>
                <c:pt idx="2590">
                  <c:v>90.663129999999995</c:v>
                </c:pt>
                <c:pt idx="2591">
                  <c:v>90.716769999999997</c:v>
                </c:pt>
                <c:pt idx="2592">
                  <c:v>90.449749999999995</c:v>
                </c:pt>
                <c:pt idx="2593">
                  <c:v>90.180040000000005</c:v>
                </c:pt>
                <c:pt idx="2594">
                  <c:v>90.181920000000005</c:v>
                </c:pt>
                <c:pt idx="2595">
                  <c:v>90.286060000000006</c:v>
                </c:pt>
                <c:pt idx="2596">
                  <c:v>90.123080000000002</c:v>
                </c:pt>
                <c:pt idx="2597">
                  <c:v>90.143839999999997</c:v>
                </c:pt>
                <c:pt idx="2598">
                  <c:v>89.809430000000006</c:v>
                </c:pt>
                <c:pt idx="2599">
                  <c:v>89.662859999999995</c:v>
                </c:pt>
                <c:pt idx="2600">
                  <c:v>90.062839999999994</c:v>
                </c:pt>
                <c:pt idx="2601">
                  <c:v>89.892939999999996</c:v>
                </c:pt>
                <c:pt idx="2602">
                  <c:v>89.272900000000007</c:v>
                </c:pt>
                <c:pt idx="2603">
                  <c:v>89.444050000000004</c:v>
                </c:pt>
                <c:pt idx="2604">
                  <c:v>89.306399999999996</c:v>
                </c:pt>
                <c:pt idx="2605">
                  <c:v>88.859729999999999</c:v>
                </c:pt>
                <c:pt idx="2606">
                  <c:v>88.980040000000002</c:v>
                </c:pt>
                <c:pt idx="2607">
                  <c:v>88.296189999999996</c:v>
                </c:pt>
                <c:pt idx="2608">
                  <c:v>88.296189999999996</c:v>
                </c:pt>
                <c:pt idx="2609">
                  <c:v>88.359830000000002</c:v>
                </c:pt>
              </c:numCache>
            </c:numRef>
          </c:val>
          <c:smooth val="0"/>
          <c:extLst>
            <c:ext xmlns:c16="http://schemas.microsoft.com/office/drawing/2014/chart" uri="{C3380CC4-5D6E-409C-BE32-E72D297353CC}">
              <c16:uniqueId val="{00000000-58B7-4B56-B9A0-9E799BCE558A}"/>
            </c:ext>
          </c:extLst>
        </c:ser>
        <c:dLbls>
          <c:showLegendKey val="0"/>
          <c:showVal val="0"/>
          <c:showCatName val="0"/>
          <c:showSerName val="0"/>
          <c:showPercent val="0"/>
          <c:showBubbleSize val="0"/>
        </c:dLbls>
        <c:marker val="1"/>
        <c:smooth val="0"/>
        <c:axId val="927020303"/>
        <c:axId val="927021967"/>
      </c:lineChart>
      <c:lineChart>
        <c:grouping val="standard"/>
        <c:varyColors val="0"/>
        <c:ser>
          <c:idx val="1"/>
          <c:order val="1"/>
          <c:tx>
            <c:strRef>
              <c:f>Sheet1!$H$4</c:f>
              <c:strCache>
                <c:ptCount val="1"/>
                <c:pt idx="0">
                  <c:v>EUR/USD (rechts)</c:v>
                </c:pt>
              </c:strCache>
            </c:strRef>
          </c:tx>
          <c:spPr>
            <a:ln w="28575" cap="rnd">
              <a:solidFill>
                <a:schemeClr val="accent2"/>
              </a:solidFill>
              <a:round/>
            </a:ln>
            <a:effectLst/>
          </c:spPr>
          <c:marker>
            <c:symbol val="none"/>
          </c:marker>
          <c:cat>
            <c:numRef>
              <c:f>Sheet1!$F$7:$F$2616</c:f>
              <c:numCache>
                <c:formatCode>m/d/yyyy</c:formatCode>
                <c:ptCount val="2610"/>
                <c:pt idx="0">
                  <c:v>45621</c:v>
                </c:pt>
                <c:pt idx="1">
                  <c:v>45618</c:v>
                </c:pt>
                <c:pt idx="2">
                  <c:v>45617</c:v>
                </c:pt>
                <c:pt idx="3">
                  <c:v>45616</c:v>
                </c:pt>
                <c:pt idx="4">
                  <c:v>45615</c:v>
                </c:pt>
                <c:pt idx="5">
                  <c:v>45614</c:v>
                </c:pt>
                <c:pt idx="6">
                  <c:v>45611</c:v>
                </c:pt>
                <c:pt idx="7">
                  <c:v>45610</c:v>
                </c:pt>
                <c:pt idx="8">
                  <c:v>45609</c:v>
                </c:pt>
                <c:pt idx="9">
                  <c:v>45608</c:v>
                </c:pt>
                <c:pt idx="10">
                  <c:v>45607</c:v>
                </c:pt>
                <c:pt idx="11">
                  <c:v>45604</c:v>
                </c:pt>
                <c:pt idx="12">
                  <c:v>45603</c:v>
                </c:pt>
                <c:pt idx="13">
                  <c:v>45602</c:v>
                </c:pt>
                <c:pt idx="14">
                  <c:v>45601</c:v>
                </c:pt>
                <c:pt idx="15">
                  <c:v>45600</c:v>
                </c:pt>
                <c:pt idx="16">
                  <c:v>45597</c:v>
                </c:pt>
                <c:pt idx="17">
                  <c:v>45596</c:v>
                </c:pt>
                <c:pt idx="18">
                  <c:v>45595</c:v>
                </c:pt>
                <c:pt idx="19">
                  <c:v>45594</c:v>
                </c:pt>
                <c:pt idx="20">
                  <c:v>45593</c:v>
                </c:pt>
                <c:pt idx="21">
                  <c:v>45590</c:v>
                </c:pt>
                <c:pt idx="22">
                  <c:v>45589</c:v>
                </c:pt>
                <c:pt idx="23">
                  <c:v>45588</c:v>
                </c:pt>
                <c:pt idx="24">
                  <c:v>45587</c:v>
                </c:pt>
                <c:pt idx="25">
                  <c:v>45586</c:v>
                </c:pt>
                <c:pt idx="26">
                  <c:v>45583</c:v>
                </c:pt>
                <c:pt idx="27">
                  <c:v>45582</c:v>
                </c:pt>
                <c:pt idx="28">
                  <c:v>45581</c:v>
                </c:pt>
                <c:pt idx="29">
                  <c:v>45580</c:v>
                </c:pt>
                <c:pt idx="30">
                  <c:v>45579</c:v>
                </c:pt>
                <c:pt idx="31">
                  <c:v>45576</c:v>
                </c:pt>
                <c:pt idx="32">
                  <c:v>45575</c:v>
                </c:pt>
                <c:pt idx="33">
                  <c:v>45574</c:v>
                </c:pt>
                <c:pt idx="34">
                  <c:v>45573</c:v>
                </c:pt>
                <c:pt idx="35">
                  <c:v>45572</c:v>
                </c:pt>
                <c:pt idx="36">
                  <c:v>45569</c:v>
                </c:pt>
                <c:pt idx="37">
                  <c:v>45568</c:v>
                </c:pt>
                <c:pt idx="38">
                  <c:v>45567</c:v>
                </c:pt>
                <c:pt idx="39">
                  <c:v>45566</c:v>
                </c:pt>
                <c:pt idx="40">
                  <c:v>45565</c:v>
                </c:pt>
                <c:pt idx="41">
                  <c:v>45562</c:v>
                </c:pt>
                <c:pt idx="42">
                  <c:v>45561</c:v>
                </c:pt>
                <c:pt idx="43">
                  <c:v>45560</c:v>
                </c:pt>
                <c:pt idx="44">
                  <c:v>45559</c:v>
                </c:pt>
                <c:pt idx="45">
                  <c:v>45558</c:v>
                </c:pt>
                <c:pt idx="46">
                  <c:v>45555</c:v>
                </c:pt>
                <c:pt idx="47">
                  <c:v>45554</c:v>
                </c:pt>
                <c:pt idx="48">
                  <c:v>45553</c:v>
                </c:pt>
                <c:pt idx="49">
                  <c:v>45552</c:v>
                </c:pt>
                <c:pt idx="50">
                  <c:v>45551</c:v>
                </c:pt>
                <c:pt idx="51">
                  <c:v>45548</c:v>
                </c:pt>
                <c:pt idx="52">
                  <c:v>45547</c:v>
                </c:pt>
                <c:pt idx="53">
                  <c:v>45546</c:v>
                </c:pt>
                <c:pt idx="54">
                  <c:v>45545</c:v>
                </c:pt>
                <c:pt idx="55">
                  <c:v>45544</c:v>
                </c:pt>
                <c:pt idx="56">
                  <c:v>45541</c:v>
                </c:pt>
                <c:pt idx="57">
                  <c:v>45540</c:v>
                </c:pt>
                <c:pt idx="58">
                  <c:v>45539</c:v>
                </c:pt>
                <c:pt idx="59">
                  <c:v>45538</c:v>
                </c:pt>
                <c:pt idx="60">
                  <c:v>45537</c:v>
                </c:pt>
                <c:pt idx="61">
                  <c:v>45534</c:v>
                </c:pt>
                <c:pt idx="62">
                  <c:v>45533</c:v>
                </c:pt>
                <c:pt idx="63">
                  <c:v>45532</c:v>
                </c:pt>
                <c:pt idx="64">
                  <c:v>45531</c:v>
                </c:pt>
                <c:pt idx="65">
                  <c:v>45530</c:v>
                </c:pt>
                <c:pt idx="66">
                  <c:v>45527</c:v>
                </c:pt>
                <c:pt idx="67">
                  <c:v>45526</c:v>
                </c:pt>
                <c:pt idx="68">
                  <c:v>45525</c:v>
                </c:pt>
                <c:pt idx="69">
                  <c:v>45524</c:v>
                </c:pt>
                <c:pt idx="70">
                  <c:v>45523</c:v>
                </c:pt>
                <c:pt idx="71">
                  <c:v>45520</c:v>
                </c:pt>
                <c:pt idx="72">
                  <c:v>45519</c:v>
                </c:pt>
                <c:pt idx="73">
                  <c:v>45518</c:v>
                </c:pt>
                <c:pt idx="74">
                  <c:v>45517</c:v>
                </c:pt>
                <c:pt idx="75">
                  <c:v>45516</c:v>
                </c:pt>
                <c:pt idx="76">
                  <c:v>45513</c:v>
                </c:pt>
                <c:pt idx="77">
                  <c:v>45512</c:v>
                </c:pt>
                <c:pt idx="78">
                  <c:v>45511</c:v>
                </c:pt>
                <c:pt idx="79">
                  <c:v>45510</c:v>
                </c:pt>
                <c:pt idx="80">
                  <c:v>45509</c:v>
                </c:pt>
                <c:pt idx="81">
                  <c:v>45506</c:v>
                </c:pt>
                <c:pt idx="82">
                  <c:v>45505</c:v>
                </c:pt>
                <c:pt idx="83">
                  <c:v>45504</c:v>
                </c:pt>
                <c:pt idx="84">
                  <c:v>45503</c:v>
                </c:pt>
                <c:pt idx="85">
                  <c:v>45502</c:v>
                </c:pt>
                <c:pt idx="86">
                  <c:v>45499</c:v>
                </c:pt>
                <c:pt idx="87">
                  <c:v>45498</c:v>
                </c:pt>
                <c:pt idx="88">
                  <c:v>45497</c:v>
                </c:pt>
                <c:pt idx="89">
                  <c:v>45496</c:v>
                </c:pt>
                <c:pt idx="90">
                  <c:v>45495</c:v>
                </c:pt>
                <c:pt idx="91">
                  <c:v>45492</c:v>
                </c:pt>
                <c:pt idx="92">
                  <c:v>45491</c:v>
                </c:pt>
                <c:pt idx="93">
                  <c:v>45490</c:v>
                </c:pt>
                <c:pt idx="94">
                  <c:v>45489</c:v>
                </c:pt>
                <c:pt idx="95">
                  <c:v>45488</c:v>
                </c:pt>
                <c:pt idx="96">
                  <c:v>45485</c:v>
                </c:pt>
                <c:pt idx="97">
                  <c:v>45484</c:v>
                </c:pt>
                <c:pt idx="98">
                  <c:v>45483</c:v>
                </c:pt>
                <c:pt idx="99">
                  <c:v>45482</c:v>
                </c:pt>
                <c:pt idx="100">
                  <c:v>45481</c:v>
                </c:pt>
                <c:pt idx="101">
                  <c:v>45478</c:v>
                </c:pt>
                <c:pt idx="102">
                  <c:v>45477</c:v>
                </c:pt>
                <c:pt idx="103">
                  <c:v>45476</c:v>
                </c:pt>
                <c:pt idx="104">
                  <c:v>45475</c:v>
                </c:pt>
                <c:pt idx="105">
                  <c:v>45474</c:v>
                </c:pt>
                <c:pt idx="106">
                  <c:v>45471</c:v>
                </c:pt>
                <c:pt idx="107">
                  <c:v>45470</c:v>
                </c:pt>
                <c:pt idx="108">
                  <c:v>45469</c:v>
                </c:pt>
                <c:pt idx="109">
                  <c:v>45468</c:v>
                </c:pt>
                <c:pt idx="110">
                  <c:v>45467</c:v>
                </c:pt>
                <c:pt idx="111">
                  <c:v>45464</c:v>
                </c:pt>
                <c:pt idx="112">
                  <c:v>45463</c:v>
                </c:pt>
                <c:pt idx="113">
                  <c:v>45462</c:v>
                </c:pt>
                <c:pt idx="114">
                  <c:v>45461</c:v>
                </c:pt>
                <c:pt idx="115">
                  <c:v>45460</c:v>
                </c:pt>
                <c:pt idx="116">
                  <c:v>45457</c:v>
                </c:pt>
                <c:pt idx="117">
                  <c:v>45456</c:v>
                </c:pt>
                <c:pt idx="118">
                  <c:v>45455</c:v>
                </c:pt>
                <c:pt idx="119">
                  <c:v>45454</c:v>
                </c:pt>
                <c:pt idx="120">
                  <c:v>45453</c:v>
                </c:pt>
                <c:pt idx="121">
                  <c:v>45450</c:v>
                </c:pt>
                <c:pt idx="122">
                  <c:v>45449</c:v>
                </c:pt>
                <c:pt idx="123">
                  <c:v>45448</c:v>
                </c:pt>
                <c:pt idx="124">
                  <c:v>45447</c:v>
                </c:pt>
                <c:pt idx="125">
                  <c:v>45446</c:v>
                </c:pt>
                <c:pt idx="126">
                  <c:v>45443</c:v>
                </c:pt>
                <c:pt idx="127">
                  <c:v>45442</c:v>
                </c:pt>
                <c:pt idx="128">
                  <c:v>45441</c:v>
                </c:pt>
                <c:pt idx="129">
                  <c:v>45440</c:v>
                </c:pt>
                <c:pt idx="130">
                  <c:v>45439</c:v>
                </c:pt>
                <c:pt idx="131">
                  <c:v>45436</c:v>
                </c:pt>
                <c:pt idx="132">
                  <c:v>45435</c:v>
                </c:pt>
                <c:pt idx="133">
                  <c:v>45434</c:v>
                </c:pt>
                <c:pt idx="134">
                  <c:v>45433</c:v>
                </c:pt>
                <c:pt idx="135">
                  <c:v>45432</c:v>
                </c:pt>
                <c:pt idx="136">
                  <c:v>45429</c:v>
                </c:pt>
                <c:pt idx="137">
                  <c:v>45428</c:v>
                </c:pt>
                <c:pt idx="138">
                  <c:v>45427</c:v>
                </c:pt>
                <c:pt idx="139">
                  <c:v>45426</c:v>
                </c:pt>
                <c:pt idx="140">
                  <c:v>45425</c:v>
                </c:pt>
                <c:pt idx="141">
                  <c:v>45422</c:v>
                </c:pt>
                <c:pt idx="142">
                  <c:v>45421</c:v>
                </c:pt>
                <c:pt idx="143">
                  <c:v>45420</c:v>
                </c:pt>
                <c:pt idx="144">
                  <c:v>45419</c:v>
                </c:pt>
                <c:pt idx="145">
                  <c:v>45418</c:v>
                </c:pt>
                <c:pt idx="146">
                  <c:v>45415</c:v>
                </c:pt>
                <c:pt idx="147">
                  <c:v>45414</c:v>
                </c:pt>
                <c:pt idx="148">
                  <c:v>45413</c:v>
                </c:pt>
                <c:pt idx="149">
                  <c:v>45412</c:v>
                </c:pt>
                <c:pt idx="150">
                  <c:v>45411</c:v>
                </c:pt>
                <c:pt idx="151">
                  <c:v>45408</c:v>
                </c:pt>
                <c:pt idx="152">
                  <c:v>45407</c:v>
                </c:pt>
                <c:pt idx="153">
                  <c:v>45406</c:v>
                </c:pt>
                <c:pt idx="154">
                  <c:v>45405</c:v>
                </c:pt>
                <c:pt idx="155">
                  <c:v>45404</c:v>
                </c:pt>
                <c:pt idx="156">
                  <c:v>45401</c:v>
                </c:pt>
                <c:pt idx="157">
                  <c:v>45400</c:v>
                </c:pt>
                <c:pt idx="158">
                  <c:v>45399</c:v>
                </c:pt>
                <c:pt idx="159">
                  <c:v>45398</c:v>
                </c:pt>
                <c:pt idx="160">
                  <c:v>45397</c:v>
                </c:pt>
                <c:pt idx="161">
                  <c:v>45394</c:v>
                </c:pt>
                <c:pt idx="162">
                  <c:v>45393</c:v>
                </c:pt>
                <c:pt idx="163">
                  <c:v>45392</c:v>
                </c:pt>
                <c:pt idx="164">
                  <c:v>45391</c:v>
                </c:pt>
                <c:pt idx="165">
                  <c:v>45390</c:v>
                </c:pt>
                <c:pt idx="166">
                  <c:v>45387</c:v>
                </c:pt>
                <c:pt idx="167">
                  <c:v>45386</c:v>
                </c:pt>
                <c:pt idx="168">
                  <c:v>45385</c:v>
                </c:pt>
                <c:pt idx="169">
                  <c:v>45384</c:v>
                </c:pt>
                <c:pt idx="170">
                  <c:v>45383</c:v>
                </c:pt>
                <c:pt idx="171">
                  <c:v>45380</c:v>
                </c:pt>
                <c:pt idx="172">
                  <c:v>45379</c:v>
                </c:pt>
                <c:pt idx="173">
                  <c:v>45378</c:v>
                </c:pt>
                <c:pt idx="174">
                  <c:v>45377</c:v>
                </c:pt>
                <c:pt idx="175">
                  <c:v>45376</c:v>
                </c:pt>
                <c:pt idx="176">
                  <c:v>45373</c:v>
                </c:pt>
                <c:pt idx="177">
                  <c:v>45372</c:v>
                </c:pt>
                <c:pt idx="178">
                  <c:v>45371</c:v>
                </c:pt>
                <c:pt idx="179">
                  <c:v>45370</c:v>
                </c:pt>
                <c:pt idx="180">
                  <c:v>45369</c:v>
                </c:pt>
                <c:pt idx="181">
                  <c:v>45366</c:v>
                </c:pt>
                <c:pt idx="182">
                  <c:v>45365</c:v>
                </c:pt>
                <c:pt idx="183">
                  <c:v>45364</c:v>
                </c:pt>
                <c:pt idx="184">
                  <c:v>45363</c:v>
                </c:pt>
                <c:pt idx="185">
                  <c:v>45362</c:v>
                </c:pt>
                <c:pt idx="186">
                  <c:v>45359</c:v>
                </c:pt>
                <c:pt idx="187">
                  <c:v>45358</c:v>
                </c:pt>
                <c:pt idx="188">
                  <c:v>45357</c:v>
                </c:pt>
                <c:pt idx="189">
                  <c:v>45356</c:v>
                </c:pt>
                <c:pt idx="190">
                  <c:v>45355</c:v>
                </c:pt>
                <c:pt idx="191">
                  <c:v>45352</c:v>
                </c:pt>
                <c:pt idx="192">
                  <c:v>45351</c:v>
                </c:pt>
                <c:pt idx="193">
                  <c:v>45350</c:v>
                </c:pt>
                <c:pt idx="194">
                  <c:v>45349</c:v>
                </c:pt>
                <c:pt idx="195">
                  <c:v>45348</c:v>
                </c:pt>
                <c:pt idx="196">
                  <c:v>45345</c:v>
                </c:pt>
                <c:pt idx="197">
                  <c:v>45344</c:v>
                </c:pt>
                <c:pt idx="198">
                  <c:v>45343</c:v>
                </c:pt>
                <c:pt idx="199">
                  <c:v>45342</c:v>
                </c:pt>
                <c:pt idx="200">
                  <c:v>45341</c:v>
                </c:pt>
                <c:pt idx="201">
                  <c:v>45338</c:v>
                </c:pt>
                <c:pt idx="202">
                  <c:v>45337</c:v>
                </c:pt>
                <c:pt idx="203">
                  <c:v>45336</c:v>
                </c:pt>
                <c:pt idx="204">
                  <c:v>45335</c:v>
                </c:pt>
                <c:pt idx="205">
                  <c:v>45334</c:v>
                </c:pt>
                <c:pt idx="206">
                  <c:v>45331</c:v>
                </c:pt>
                <c:pt idx="207">
                  <c:v>45330</c:v>
                </c:pt>
                <c:pt idx="208">
                  <c:v>45329</c:v>
                </c:pt>
                <c:pt idx="209">
                  <c:v>45328</c:v>
                </c:pt>
                <c:pt idx="210">
                  <c:v>45327</c:v>
                </c:pt>
                <c:pt idx="211">
                  <c:v>45324</c:v>
                </c:pt>
                <c:pt idx="212">
                  <c:v>45323</c:v>
                </c:pt>
                <c:pt idx="213">
                  <c:v>45322</c:v>
                </c:pt>
                <c:pt idx="214">
                  <c:v>45321</c:v>
                </c:pt>
                <c:pt idx="215">
                  <c:v>45320</c:v>
                </c:pt>
                <c:pt idx="216">
                  <c:v>45317</c:v>
                </c:pt>
                <c:pt idx="217">
                  <c:v>45316</c:v>
                </c:pt>
                <c:pt idx="218">
                  <c:v>45315</c:v>
                </c:pt>
                <c:pt idx="219">
                  <c:v>45314</c:v>
                </c:pt>
                <c:pt idx="220">
                  <c:v>45313</c:v>
                </c:pt>
                <c:pt idx="221">
                  <c:v>45310</c:v>
                </c:pt>
                <c:pt idx="222">
                  <c:v>45309</c:v>
                </c:pt>
                <c:pt idx="223">
                  <c:v>45308</c:v>
                </c:pt>
                <c:pt idx="224">
                  <c:v>45307</c:v>
                </c:pt>
                <c:pt idx="225">
                  <c:v>45306</c:v>
                </c:pt>
                <c:pt idx="226">
                  <c:v>45303</c:v>
                </c:pt>
                <c:pt idx="227">
                  <c:v>45302</c:v>
                </c:pt>
                <c:pt idx="228">
                  <c:v>45301</c:v>
                </c:pt>
                <c:pt idx="229">
                  <c:v>45300</c:v>
                </c:pt>
                <c:pt idx="230">
                  <c:v>45299</c:v>
                </c:pt>
                <c:pt idx="231">
                  <c:v>45296</c:v>
                </c:pt>
                <c:pt idx="232">
                  <c:v>45295</c:v>
                </c:pt>
                <c:pt idx="233">
                  <c:v>45294</c:v>
                </c:pt>
                <c:pt idx="234">
                  <c:v>45293</c:v>
                </c:pt>
                <c:pt idx="235">
                  <c:v>45292</c:v>
                </c:pt>
                <c:pt idx="236">
                  <c:v>45289</c:v>
                </c:pt>
                <c:pt idx="237">
                  <c:v>45288</c:v>
                </c:pt>
                <c:pt idx="238">
                  <c:v>45287</c:v>
                </c:pt>
                <c:pt idx="239">
                  <c:v>45286</c:v>
                </c:pt>
                <c:pt idx="240">
                  <c:v>45285</c:v>
                </c:pt>
                <c:pt idx="241">
                  <c:v>45282</c:v>
                </c:pt>
                <c:pt idx="242">
                  <c:v>45281</c:v>
                </c:pt>
                <c:pt idx="243">
                  <c:v>45280</c:v>
                </c:pt>
                <c:pt idx="244">
                  <c:v>45279</c:v>
                </c:pt>
                <c:pt idx="245">
                  <c:v>45278</c:v>
                </c:pt>
                <c:pt idx="246">
                  <c:v>45275</c:v>
                </c:pt>
                <c:pt idx="247">
                  <c:v>45274</c:v>
                </c:pt>
                <c:pt idx="248">
                  <c:v>45273</c:v>
                </c:pt>
                <c:pt idx="249">
                  <c:v>45272</c:v>
                </c:pt>
                <c:pt idx="250">
                  <c:v>45271</c:v>
                </c:pt>
                <c:pt idx="251">
                  <c:v>45268</c:v>
                </c:pt>
                <c:pt idx="252">
                  <c:v>45267</c:v>
                </c:pt>
                <c:pt idx="253">
                  <c:v>45266</c:v>
                </c:pt>
                <c:pt idx="254">
                  <c:v>45265</c:v>
                </c:pt>
                <c:pt idx="255">
                  <c:v>45264</c:v>
                </c:pt>
                <c:pt idx="256">
                  <c:v>45261</c:v>
                </c:pt>
                <c:pt idx="257">
                  <c:v>45260</c:v>
                </c:pt>
                <c:pt idx="258">
                  <c:v>45259</c:v>
                </c:pt>
                <c:pt idx="259">
                  <c:v>45258</c:v>
                </c:pt>
                <c:pt idx="260">
                  <c:v>45257</c:v>
                </c:pt>
                <c:pt idx="261">
                  <c:v>45254</c:v>
                </c:pt>
                <c:pt idx="262">
                  <c:v>45253</c:v>
                </c:pt>
                <c:pt idx="263">
                  <c:v>45252</c:v>
                </c:pt>
                <c:pt idx="264">
                  <c:v>45251</c:v>
                </c:pt>
                <c:pt idx="265">
                  <c:v>45250</c:v>
                </c:pt>
                <c:pt idx="266">
                  <c:v>45247</c:v>
                </c:pt>
                <c:pt idx="267">
                  <c:v>45246</c:v>
                </c:pt>
                <c:pt idx="268">
                  <c:v>45245</c:v>
                </c:pt>
                <c:pt idx="269">
                  <c:v>45244</c:v>
                </c:pt>
                <c:pt idx="270">
                  <c:v>45243</c:v>
                </c:pt>
                <c:pt idx="271">
                  <c:v>45240</c:v>
                </c:pt>
                <c:pt idx="272">
                  <c:v>45239</c:v>
                </c:pt>
                <c:pt idx="273">
                  <c:v>45238</c:v>
                </c:pt>
                <c:pt idx="274">
                  <c:v>45237</c:v>
                </c:pt>
                <c:pt idx="275">
                  <c:v>45236</c:v>
                </c:pt>
                <c:pt idx="276">
                  <c:v>45233</c:v>
                </c:pt>
                <c:pt idx="277">
                  <c:v>45232</c:v>
                </c:pt>
                <c:pt idx="278">
                  <c:v>45231</c:v>
                </c:pt>
                <c:pt idx="279">
                  <c:v>45230</c:v>
                </c:pt>
                <c:pt idx="280">
                  <c:v>45229</c:v>
                </c:pt>
                <c:pt idx="281">
                  <c:v>45226</c:v>
                </c:pt>
                <c:pt idx="282">
                  <c:v>45225</c:v>
                </c:pt>
                <c:pt idx="283">
                  <c:v>45224</c:v>
                </c:pt>
                <c:pt idx="284">
                  <c:v>45223</c:v>
                </c:pt>
                <c:pt idx="285">
                  <c:v>45222</c:v>
                </c:pt>
                <c:pt idx="286">
                  <c:v>45219</c:v>
                </c:pt>
                <c:pt idx="287">
                  <c:v>45218</c:v>
                </c:pt>
                <c:pt idx="288">
                  <c:v>45217</c:v>
                </c:pt>
                <c:pt idx="289">
                  <c:v>45216</c:v>
                </c:pt>
                <c:pt idx="290">
                  <c:v>45215</c:v>
                </c:pt>
                <c:pt idx="291">
                  <c:v>45212</c:v>
                </c:pt>
                <c:pt idx="292">
                  <c:v>45211</c:v>
                </c:pt>
                <c:pt idx="293">
                  <c:v>45210</c:v>
                </c:pt>
                <c:pt idx="294">
                  <c:v>45209</c:v>
                </c:pt>
                <c:pt idx="295">
                  <c:v>45208</c:v>
                </c:pt>
                <c:pt idx="296">
                  <c:v>45205</c:v>
                </c:pt>
                <c:pt idx="297">
                  <c:v>45204</c:v>
                </c:pt>
                <c:pt idx="298">
                  <c:v>45203</c:v>
                </c:pt>
                <c:pt idx="299">
                  <c:v>45202</c:v>
                </c:pt>
                <c:pt idx="300">
                  <c:v>45201</c:v>
                </c:pt>
                <c:pt idx="301">
                  <c:v>45198</c:v>
                </c:pt>
                <c:pt idx="302">
                  <c:v>45197</c:v>
                </c:pt>
                <c:pt idx="303">
                  <c:v>45196</c:v>
                </c:pt>
                <c:pt idx="304">
                  <c:v>45195</c:v>
                </c:pt>
                <c:pt idx="305">
                  <c:v>45194</c:v>
                </c:pt>
                <c:pt idx="306">
                  <c:v>45191</c:v>
                </c:pt>
                <c:pt idx="307">
                  <c:v>45190</c:v>
                </c:pt>
                <c:pt idx="308">
                  <c:v>45189</c:v>
                </c:pt>
                <c:pt idx="309">
                  <c:v>45188</c:v>
                </c:pt>
                <c:pt idx="310">
                  <c:v>45187</c:v>
                </c:pt>
                <c:pt idx="311">
                  <c:v>45184</c:v>
                </c:pt>
                <c:pt idx="312">
                  <c:v>45183</c:v>
                </c:pt>
                <c:pt idx="313">
                  <c:v>45182</c:v>
                </c:pt>
                <c:pt idx="314">
                  <c:v>45181</c:v>
                </c:pt>
                <c:pt idx="315">
                  <c:v>45180</c:v>
                </c:pt>
                <c:pt idx="316">
                  <c:v>45177</c:v>
                </c:pt>
                <c:pt idx="317">
                  <c:v>45176</c:v>
                </c:pt>
                <c:pt idx="318">
                  <c:v>45175</c:v>
                </c:pt>
                <c:pt idx="319">
                  <c:v>45174</c:v>
                </c:pt>
                <c:pt idx="320">
                  <c:v>45173</c:v>
                </c:pt>
                <c:pt idx="321">
                  <c:v>45170</c:v>
                </c:pt>
                <c:pt idx="322">
                  <c:v>45169</c:v>
                </c:pt>
                <c:pt idx="323">
                  <c:v>45168</c:v>
                </c:pt>
                <c:pt idx="324">
                  <c:v>45167</c:v>
                </c:pt>
                <c:pt idx="325">
                  <c:v>45166</c:v>
                </c:pt>
                <c:pt idx="326">
                  <c:v>45163</c:v>
                </c:pt>
                <c:pt idx="327">
                  <c:v>45162</c:v>
                </c:pt>
                <c:pt idx="328">
                  <c:v>45161</c:v>
                </c:pt>
                <c:pt idx="329">
                  <c:v>45160</c:v>
                </c:pt>
                <c:pt idx="330">
                  <c:v>45159</c:v>
                </c:pt>
                <c:pt idx="331">
                  <c:v>45156</c:v>
                </c:pt>
                <c:pt idx="332">
                  <c:v>45155</c:v>
                </c:pt>
                <c:pt idx="333">
                  <c:v>45154</c:v>
                </c:pt>
                <c:pt idx="334">
                  <c:v>45153</c:v>
                </c:pt>
                <c:pt idx="335">
                  <c:v>45152</c:v>
                </c:pt>
                <c:pt idx="336">
                  <c:v>45149</c:v>
                </c:pt>
                <c:pt idx="337">
                  <c:v>45148</c:v>
                </c:pt>
                <c:pt idx="338">
                  <c:v>45147</c:v>
                </c:pt>
                <c:pt idx="339">
                  <c:v>45146</c:v>
                </c:pt>
                <c:pt idx="340">
                  <c:v>45145</c:v>
                </c:pt>
                <c:pt idx="341">
                  <c:v>45142</c:v>
                </c:pt>
                <c:pt idx="342">
                  <c:v>45141</c:v>
                </c:pt>
                <c:pt idx="343">
                  <c:v>45140</c:v>
                </c:pt>
                <c:pt idx="344">
                  <c:v>45139</c:v>
                </c:pt>
                <c:pt idx="345">
                  <c:v>45138</c:v>
                </c:pt>
                <c:pt idx="346">
                  <c:v>45135</c:v>
                </c:pt>
                <c:pt idx="347">
                  <c:v>45134</c:v>
                </c:pt>
                <c:pt idx="348">
                  <c:v>45133</c:v>
                </c:pt>
                <c:pt idx="349">
                  <c:v>45132</c:v>
                </c:pt>
                <c:pt idx="350">
                  <c:v>45131</c:v>
                </c:pt>
                <c:pt idx="351">
                  <c:v>45128</c:v>
                </c:pt>
                <c:pt idx="352">
                  <c:v>45127</c:v>
                </c:pt>
                <c:pt idx="353">
                  <c:v>45126</c:v>
                </c:pt>
                <c:pt idx="354">
                  <c:v>45125</c:v>
                </c:pt>
                <c:pt idx="355">
                  <c:v>45124</c:v>
                </c:pt>
                <c:pt idx="356">
                  <c:v>45121</c:v>
                </c:pt>
                <c:pt idx="357">
                  <c:v>45120</c:v>
                </c:pt>
                <c:pt idx="358">
                  <c:v>45119</c:v>
                </c:pt>
                <c:pt idx="359">
                  <c:v>45118</c:v>
                </c:pt>
                <c:pt idx="360">
                  <c:v>45117</c:v>
                </c:pt>
                <c:pt idx="361">
                  <c:v>45114</c:v>
                </c:pt>
                <c:pt idx="362">
                  <c:v>45113</c:v>
                </c:pt>
                <c:pt idx="363">
                  <c:v>45112</c:v>
                </c:pt>
                <c:pt idx="364">
                  <c:v>45111</c:v>
                </c:pt>
                <c:pt idx="365">
                  <c:v>45110</c:v>
                </c:pt>
                <c:pt idx="366">
                  <c:v>45107</c:v>
                </c:pt>
                <c:pt idx="367">
                  <c:v>45106</c:v>
                </c:pt>
                <c:pt idx="368">
                  <c:v>45105</c:v>
                </c:pt>
                <c:pt idx="369">
                  <c:v>45104</c:v>
                </c:pt>
                <c:pt idx="370">
                  <c:v>45103</c:v>
                </c:pt>
                <c:pt idx="371">
                  <c:v>45100</c:v>
                </c:pt>
                <c:pt idx="372">
                  <c:v>45099</c:v>
                </c:pt>
                <c:pt idx="373">
                  <c:v>45098</c:v>
                </c:pt>
                <c:pt idx="374">
                  <c:v>45097</c:v>
                </c:pt>
                <c:pt idx="375">
                  <c:v>45096</c:v>
                </c:pt>
                <c:pt idx="376">
                  <c:v>45093</c:v>
                </c:pt>
                <c:pt idx="377">
                  <c:v>45092</c:v>
                </c:pt>
                <c:pt idx="378">
                  <c:v>45091</c:v>
                </c:pt>
                <c:pt idx="379">
                  <c:v>45090</c:v>
                </c:pt>
                <c:pt idx="380">
                  <c:v>45089</c:v>
                </c:pt>
                <c:pt idx="381">
                  <c:v>45086</c:v>
                </c:pt>
                <c:pt idx="382">
                  <c:v>45085</c:v>
                </c:pt>
                <c:pt idx="383">
                  <c:v>45084</c:v>
                </c:pt>
                <c:pt idx="384">
                  <c:v>45083</c:v>
                </c:pt>
                <c:pt idx="385">
                  <c:v>45082</c:v>
                </c:pt>
                <c:pt idx="386">
                  <c:v>45079</c:v>
                </c:pt>
                <c:pt idx="387">
                  <c:v>45078</c:v>
                </c:pt>
                <c:pt idx="388">
                  <c:v>45077</c:v>
                </c:pt>
                <c:pt idx="389">
                  <c:v>45076</c:v>
                </c:pt>
                <c:pt idx="390">
                  <c:v>45075</c:v>
                </c:pt>
                <c:pt idx="391">
                  <c:v>45072</c:v>
                </c:pt>
                <c:pt idx="392">
                  <c:v>45071</c:v>
                </c:pt>
                <c:pt idx="393">
                  <c:v>45070</c:v>
                </c:pt>
                <c:pt idx="394">
                  <c:v>45069</c:v>
                </c:pt>
                <c:pt idx="395">
                  <c:v>45068</c:v>
                </c:pt>
                <c:pt idx="396">
                  <c:v>45065</c:v>
                </c:pt>
                <c:pt idx="397">
                  <c:v>45064</c:v>
                </c:pt>
                <c:pt idx="398">
                  <c:v>45063</c:v>
                </c:pt>
                <c:pt idx="399">
                  <c:v>45062</c:v>
                </c:pt>
                <c:pt idx="400">
                  <c:v>45061</c:v>
                </c:pt>
                <c:pt idx="401">
                  <c:v>45058</c:v>
                </c:pt>
                <c:pt idx="402">
                  <c:v>45057</c:v>
                </c:pt>
                <c:pt idx="403">
                  <c:v>45056</c:v>
                </c:pt>
                <c:pt idx="404">
                  <c:v>45055</c:v>
                </c:pt>
                <c:pt idx="405">
                  <c:v>45054</c:v>
                </c:pt>
                <c:pt idx="406">
                  <c:v>45051</c:v>
                </c:pt>
                <c:pt idx="407">
                  <c:v>45050</c:v>
                </c:pt>
                <c:pt idx="408">
                  <c:v>45049</c:v>
                </c:pt>
                <c:pt idx="409">
                  <c:v>45048</c:v>
                </c:pt>
                <c:pt idx="410">
                  <c:v>45047</c:v>
                </c:pt>
                <c:pt idx="411">
                  <c:v>45044</c:v>
                </c:pt>
                <c:pt idx="412">
                  <c:v>45043</c:v>
                </c:pt>
                <c:pt idx="413">
                  <c:v>45042</c:v>
                </c:pt>
                <c:pt idx="414">
                  <c:v>45041</c:v>
                </c:pt>
                <c:pt idx="415">
                  <c:v>45040</c:v>
                </c:pt>
                <c:pt idx="416">
                  <c:v>45037</c:v>
                </c:pt>
                <c:pt idx="417">
                  <c:v>45036</c:v>
                </c:pt>
                <c:pt idx="418">
                  <c:v>45035</c:v>
                </c:pt>
                <c:pt idx="419">
                  <c:v>45034</c:v>
                </c:pt>
                <c:pt idx="420">
                  <c:v>45033</c:v>
                </c:pt>
                <c:pt idx="421">
                  <c:v>45030</c:v>
                </c:pt>
                <c:pt idx="422">
                  <c:v>45029</c:v>
                </c:pt>
                <c:pt idx="423">
                  <c:v>45028</c:v>
                </c:pt>
                <c:pt idx="424">
                  <c:v>45027</c:v>
                </c:pt>
                <c:pt idx="425">
                  <c:v>45026</c:v>
                </c:pt>
                <c:pt idx="426">
                  <c:v>45023</c:v>
                </c:pt>
                <c:pt idx="427">
                  <c:v>45022</c:v>
                </c:pt>
                <c:pt idx="428">
                  <c:v>45021</c:v>
                </c:pt>
                <c:pt idx="429">
                  <c:v>45020</c:v>
                </c:pt>
                <c:pt idx="430">
                  <c:v>45019</c:v>
                </c:pt>
                <c:pt idx="431">
                  <c:v>45016</c:v>
                </c:pt>
                <c:pt idx="432">
                  <c:v>45015</c:v>
                </c:pt>
                <c:pt idx="433">
                  <c:v>45014</c:v>
                </c:pt>
                <c:pt idx="434">
                  <c:v>45013</c:v>
                </c:pt>
                <c:pt idx="435">
                  <c:v>45012</c:v>
                </c:pt>
                <c:pt idx="436">
                  <c:v>45009</c:v>
                </c:pt>
                <c:pt idx="437">
                  <c:v>45008</c:v>
                </c:pt>
                <c:pt idx="438">
                  <c:v>45007</c:v>
                </c:pt>
                <c:pt idx="439">
                  <c:v>45006</c:v>
                </c:pt>
                <c:pt idx="440">
                  <c:v>45005</c:v>
                </c:pt>
                <c:pt idx="441">
                  <c:v>45002</c:v>
                </c:pt>
                <c:pt idx="442">
                  <c:v>45001</c:v>
                </c:pt>
                <c:pt idx="443">
                  <c:v>45000</c:v>
                </c:pt>
                <c:pt idx="444">
                  <c:v>44999</c:v>
                </c:pt>
                <c:pt idx="445">
                  <c:v>44998</c:v>
                </c:pt>
                <c:pt idx="446">
                  <c:v>44995</c:v>
                </c:pt>
                <c:pt idx="447">
                  <c:v>44994</c:v>
                </c:pt>
                <c:pt idx="448">
                  <c:v>44993</c:v>
                </c:pt>
                <c:pt idx="449">
                  <c:v>44992</c:v>
                </c:pt>
                <c:pt idx="450">
                  <c:v>44991</c:v>
                </c:pt>
                <c:pt idx="451">
                  <c:v>44988</c:v>
                </c:pt>
                <c:pt idx="452">
                  <c:v>44987</c:v>
                </c:pt>
                <c:pt idx="453">
                  <c:v>44986</c:v>
                </c:pt>
                <c:pt idx="454">
                  <c:v>44985</c:v>
                </c:pt>
                <c:pt idx="455">
                  <c:v>44984</c:v>
                </c:pt>
                <c:pt idx="456">
                  <c:v>44981</c:v>
                </c:pt>
                <c:pt idx="457">
                  <c:v>44980</c:v>
                </c:pt>
                <c:pt idx="458">
                  <c:v>44979</c:v>
                </c:pt>
                <c:pt idx="459">
                  <c:v>44978</c:v>
                </c:pt>
                <c:pt idx="460">
                  <c:v>44977</c:v>
                </c:pt>
                <c:pt idx="461">
                  <c:v>44974</c:v>
                </c:pt>
                <c:pt idx="462">
                  <c:v>44973</c:v>
                </c:pt>
                <c:pt idx="463">
                  <c:v>44972</c:v>
                </c:pt>
                <c:pt idx="464">
                  <c:v>44971</c:v>
                </c:pt>
                <c:pt idx="465">
                  <c:v>44970</c:v>
                </c:pt>
                <c:pt idx="466">
                  <c:v>44967</c:v>
                </c:pt>
                <c:pt idx="467">
                  <c:v>44966</c:v>
                </c:pt>
                <c:pt idx="468">
                  <c:v>44965</c:v>
                </c:pt>
                <c:pt idx="469">
                  <c:v>44964</c:v>
                </c:pt>
                <c:pt idx="470">
                  <c:v>44963</c:v>
                </c:pt>
                <c:pt idx="471">
                  <c:v>44960</c:v>
                </c:pt>
                <c:pt idx="472">
                  <c:v>44959</c:v>
                </c:pt>
                <c:pt idx="473">
                  <c:v>44958</c:v>
                </c:pt>
                <c:pt idx="474">
                  <c:v>44957</c:v>
                </c:pt>
                <c:pt idx="475">
                  <c:v>44956</c:v>
                </c:pt>
                <c:pt idx="476">
                  <c:v>44953</c:v>
                </c:pt>
                <c:pt idx="477">
                  <c:v>44952</c:v>
                </c:pt>
                <c:pt idx="478">
                  <c:v>44951</c:v>
                </c:pt>
                <c:pt idx="479">
                  <c:v>44950</c:v>
                </c:pt>
                <c:pt idx="480">
                  <c:v>44949</c:v>
                </c:pt>
                <c:pt idx="481">
                  <c:v>44946</c:v>
                </c:pt>
                <c:pt idx="482">
                  <c:v>44945</c:v>
                </c:pt>
                <c:pt idx="483">
                  <c:v>44944</c:v>
                </c:pt>
                <c:pt idx="484">
                  <c:v>44943</c:v>
                </c:pt>
                <c:pt idx="485">
                  <c:v>44942</c:v>
                </c:pt>
                <c:pt idx="486">
                  <c:v>44939</c:v>
                </c:pt>
                <c:pt idx="487">
                  <c:v>44938</c:v>
                </c:pt>
                <c:pt idx="488">
                  <c:v>44937</c:v>
                </c:pt>
                <c:pt idx="489">
                  <c:v>44936</c:v>
                </c:pt>
                <c:pt idx="490">
                  <c:v>44935</c:v>
                </c:pt>
                <c:pt idx="491">
                  <c:v>44932</c:v>
                </c:pt>
                <c:pt idx="492">
                  <c:v>44931</c:v>
                </c:pt>
                <c:pt idx="493">
                  <c:v>44930</c:v>
                </c:pt>
                <c:pt idx="494">
                  <c:v>44929</c:v>
                </c:pt>
                <c:pt idx="495">
                  <c:v>44928</c:v>
                </c:pt>
                <c:pt idx="496">
                  <c:v>44925</c:v>
                </c:pt>
                <c:pt idx="497">
                  <c:v>44924</c:v>
                </c:pt>
                <c:pt idx="498">
                  <c:v>44923</c:v>
                </c:pt>
                <c:pt idx="499">
                  <c:v>44922</c:v>
                </c:pt>
                <c:pt idx="500">
                  <c:v>44921</c:v>
                </c:pt>
                <c:pt idx="501">
                  <c:v>44918</c:v>
                </c:pt>
                <c:pt idx="502">
                  <c:v>44917</c:v>
                </c:pt>
                <c:pt idx="503">
                  <c:v>44916</c:v>
                </c:pt>
                <c:pt idx="504">
                  <c:v>44915</c:v>
                </c:pt>
                <c:pt idx="505">
                  <c:v>44914</c:v>
                </c:pt>
                <c:pt idx="506">
                  <c:v>44911</c:v>
                </c:pt>
                <c:pt idx="507">
                  <c:v>44910</c:v>
                </c:pt>
                <c:pt idx="508">
                  <c:v>44909</c:v>
                </c:pt>
                <c:pt idx="509">
                  <c:v>44908</c:v>
                </c:pt>
                <c:pt idx="510">
                  <c:v>44907</c:v>
                </c:pt>
                <c:pt idx="511">
                  <c:v>44904</c:v>
                </c:pt>
                <c:pt idx="512">
                  <c:v>44903</c:v>
                </c:pt>
                <c:pt idx="513">
                  <c:v>44902</c:v>
                </c:pt>
                <c:pt idx="514">
                  <c:v>44901</c:v>
                </c:pt>
                <c:pt idx="515">
                  <c:v>44900</c:v>
                </c:pt>
                <c:pt idx="516">
                  <c:v>44897</c:v>
                </c:pt>
                <c:pt idx="517">
                  <c:v>44896</c:v>
                </c:pt>
                <c:pt idx="518">
                  <c:v>44895</c:v>
                </c:pt>
                <c:pt idx="519">
                  <c:v>44894</c:v>
                </c:pt>
                <c:pt idx="520">
                  <c:v>44893</c:v>
                </c:pt>
                <c:pt idx="521">
                  <c:v>44890</c:v>
                </c:pt>
                <c:pt idx="522">
                  <c:v>44889</c:v>
                </c:pt>
                <c:pt idx="523">
                  <c:v>44888</c:v>
                </c:pt>
                <c:pt idx="524">
                  <c:v>44887</c:v>
                </c:pt>
                <c:pt idx="525">
                  <c:v>44886</c:v>
                </c:pt>
                <c:pt idx="526">
                  <c:v>44883</c:v>
                </c:pt>
                <c:pt idx="527">
                  <c:v>44882</c:v>
                </c:pt>
                <c:pt idx="528">
                  <c:v>44881</c:v>
                </c:pt>
                <c:pt idx="529">
                  <c:v>44880</c:v>
                </c:pt>
                <c:pt idx="530">
                  <c:v>44879</c:v>
                </c:pt>
                <c:pt idx="531">
                  <c:v>44876</c:v>
                </c:pt>
                <c:pt idx="532">
                  <c:v>44875</c:v>
                </c:pt>
                <c:pt idx="533">
                  <c:v>44874</c:v>
                </c:pt>
                <c:pt idx="534">
                  <c:v>44873</c:v>
                </c:pt>
                <c:pt idx="535">
                  <c:v>44872</c:v>
                </c:pt>
                <c:pt idx="536">
                  <c:v>44869</c:v>
                </c:pt>
                <c:pt idx="537">
                  <c:v>44868</c:v>
                </c:pt>
                <c:pt idx="538">
                  <c:v>44867</c:v>
                </c:pt>
                <c:pt idx="539">
                  <c:v>44866</c:v>
                </c:pt>
                <c:pt idx="540">
                  <c:v>44865</c:v>
                </c:pt>
                <c:pt idx="541">
                  <c:v>44862</c:v>
                </c:pt>
                <c:pt idx="542">
                  <c:v>44861</c:v>
                </c:pt>
                <c:pt idx="543">
                  <c:v>44860</c:v>
                </c:pt>
                <c:pt idx="544">
                  <c:v>44859</c:v>
                </c:pt>
                <c:pt idx="545">
                  <c:v>44858</c:v>
                </c:pt>
                <c:pt idx="546">
                  <c:v>44855</c:v>
                </c:pt>
                <c:pt idx="547">
                  <c:v>44854</c:v>
                </c:pt>
                <c:pt idx="548">
                  <c:v>44853</c:v>
                </c:pt>
                <c:pt idx="549">
                  <c:v>44852</c:v>
                </c:pt>
                <c:pt idx="550">
                  <c:v>44851</c:v>
                </c:pt>
                <c:pt idx="551">
                  <c:v>44848</c:v>
                </c:pt>
                <c:pt idx="552">
                  <c:v>44847</c:v>
                </c:pt>
                <c:pt idx="553">
                  <c:v>44846</c:v>
                </c:pt>
                <c:pt idx="554">
                  <c:v>44845</c:v>
                </c:pt>
                <c:pt idx="555">
                  <c:v>44844</c:v>
                </c:pt>
                <c:pt idx="556">
                  <c:v>44841</c:v>
                </c:pt>
                <c:pt idx="557">
                  <c:v>44840</c:v>
                </c:pt>
                <c:pt idx="558">
                  <c:v>44839</c:v>
                </c:pt>
                <c:pt idx="559">
                  <c:v>44838</c:v>
                </c:pt>
                <c:pt idx="560">
                  <c:v>44837</c:v>
                </c:pt>
                <c:pt idx="561">
                  <c:v>44834</c:v>
                </c:pt>
                <c:pt idx="562">
                  <c:v>44833</c:v>
                </c:pt>
                <c:pt idx="563">
                  <c:v>44832</c:v>
                </c:pt>
                <c:pt idx="564">
                  <c:v>44831</c:v>
                </c:pt>
                <c:pt idx="565">
                  <c:v>44830</c:v>
                </c:pt>
                <c:pt idx="566">
                  <c:v>44827</c:v>
                </c:pt>
                <c:pt idx="567">
                  <c:v>44826</c:v>
                </c:pt>
                <c:pt idx="568">
                  <c:v>44825</c:v>
                </c:pt>
                <c:pt idx="569">
                  <c:v>44824</c:v>
                </c:pt>
                <c:pt idx="570">
                  <c:v>44823</c:v>
                </c:pt>
                <c:pt idx="571">
                  <c:v>44820</c:v>
                </c:pt>
                <c:pt idx="572">
                  <c:v>44819</c:v>
                </c:pt>
                <c:pt idx="573">
                  <c:v>44818</c:v>
                </c:pt>
                <c:pt idx="574">
                  <c:v>44817</c:v>
                </c:pt>
                <c:pt idx="575">
                  <c:v>44816</c:v>
                </c:pt>
                <c:pt idx="576">
                  <c:v>44813</c:v>
                </c:pt>
                <c:pt idx="577">
                  <c:v>44812</c:v>
                </c:pt>
                <c:pt idx="578">
                  <c:v>44811</c:v>
                </c:pt>
                <c:pt idx="579">
                  <c:v>44810</c:v>
                </c:pt>
                <c:pt idx="580">
                  <c:v>44809</c:v>
                </c:pt>
                <c:pt idx="581">
                  <c:v>44806</c:v>
                </c:pt>
                <c:pt idx="582">
                  <c:v>44805</c:v>
                </c:pt>
                <c:pt idx="583">
                  <c:v>44804</c:v>
                </c:pt>
                <c:pt idx="584">
                  <c:v>44803</c:v>
                </c:pt>
                <c:pt idx="585">
                  <c:v>44802</c:v>
                </c:pt>
                <c:pt idx="586">
                  <c:v>44799</c:v>
                </c:pt>
                <c:pt idx="587">
                  <c:v>44798</c:v>
                </c:pt>
                <c:pt idx="588">
                  <c:v>44797</c:v>
                </c:pt>
                <c:pt idx="589">
                  <c:v>44796</c:v>
                </c:pt>
                <c:pt idx="590">
                  <c:v>44795</c:v>
                </c:pt>
                <c:pt idx="591">
                  <c:v>44792</c:v>
                </c:pt>
                <c:pt idx="592">
                  <c:v>44791</c:v>
                </c:pt>
                <c:pt idx="593">
                  <c:v>44790</c:v>
                </c:pt>
                <c:pt idx="594">
                  <c:v>44789</c:v>
                </c:pt>
                <c:pt idx="595">
                  <c:v>44788</c:v>
                </c:pt>
                <c:pt idx="596">
                  <c:v>44785</c:v>
                </c:pt>
                <c:pt idx="597">
                  <c:v>44784</c:v>
                </c:pt>
                <c:pt idx="598">
                  <c:v>44783</c:v>
                </c:pt>
                <c:pt idx="599">
                  <c:v>44782</c:v>
                </c:pt>
                <c:pt idx="600">
                  <c:v>44781</c:v>
                </c:pt>
                <c:pt idx="601">
                  <c:v>44778</c:v>
                </c:pt>
                <c:pt idx="602">
                  <c:v>44777</c:v>
                </c:pt>
                <c:pt idx="603">
                  <c:v>44776</c:v>
                </c:pt>
                <c:pt idx="604">
                  <c:v>44775</c:v>
                </c:pt>
                <c:pt idx="605">
                  <c:v>44774</c:v>
                </c:pt>
                <c:pt idx="606">
                  <c:v>44771</c:v>
                </c:pt>
                <c:pt idx="607">
                  <c:v>44770</c:v>
                </c:pt>
                <c:pt idx="608">
                  <c:v>44769</c:v>
                </c:pt>
                <c:pt idx="609">
                  <c:v>44768</c:v>
                </c:pt>
                <c:pt idx="610">
                  <c:v>44767</c:v>
                </c:pt>
                <c:pt idx="611">
                  <c:v>44764</c:v>
                </c:pt>
                <c:pt idx="612">
                  <c:v>44763</c:v>
                </c:pt>
                <c:pt idx="613">
                  <c:v>44762</c:v>
                </c:pt>
                <c:pt idx="614">
                  <c:v>44761</c:v>
                </c:pt>
                <c:pt idx="615">
                  <c:v>44760</c:v>
                </c:pt>
                <c:pt idx="616">
                  <c:v>44757</c:v>
                </c:pt>
                <c:pt idx="617">
                  <c:v>44756</c:v>
                </c:pt>
                <c:pt idx="618">
                  <c:v>44755</c:v>
                </c:pt>
                <c:pt idx="619">
                  <c:v>44754</c:v>
                </c:pt>
                <c:pt idx="620">
                  <c:v>44753</c:v>
                </c:pt>
                <c:pt idx="621">
                  <c:v>44750</c:v>
                </c:pt>
                <c:pt idx="622">
                  <c:v>44749</c:v>
                </c:pt>
                <c:pt idx="623">
                  <c:v>44748</c:v>
                </c:pt>
                <c:pt idx="624">
                  <c:v>44747</c:v>
                </c:pt>
                <c:pt idx="625">
                  <c:v>44746</c:v>
                </c:pt>
                <c:pt idx="626">
                  <c:v>44743</c:v>
                </c:pt>
                <c:pt idx="627">
                  <c:v>44742</c:v>
                </c:pt>
                <c:pt idx="628">
                  <c:v>44741</c:v>
                </c:pt>
                <c:pt idx="629">
                  <c:v>44740</c:v>
                </c:pt>
                <c:pt idx="630">
                  <c:v>44739</c:v>
                </c:pt>
                <c:pt idx="631">
                  <c:v>44736</c:v>
                </c:pt>
                <c:pt idx="632">
                  <c:v>44735</c:v>
                </c:pt>
                <c:pt idx="633">
                  <c:v>44734</c:v>
                </c:pt>
                <c:pt idx="634">
                  <c:v>44733</c:v>
                </c:pt>
                <c:pt idx="635">
                  <c:v>44732</c:v>
                </c:pt>
                <c:pt idx="636">
                  <c:v>44729</c:v>
                </c:pt>
                <c:pt idx="637">
                  <c:v>44728</c:v>
                </c:pt>
                <c:pt idx="638">
                  <c:v>44727</c:v>
                </c:pt>
                <c:pt idx="639">
                  <c:v>44726</c:v>
                </c:pt>
                <c:pt idx="640">
                  <c:v>44725</c:v>
                </c:pt>
                <c:pt idx="641">
                  <c:v>44722</c:v>
                </c:pt>
                <c:pt idx="642">
                  <c:v>44721</c:v>
                </c:pt>
                <c:pt idx="643">
                  <c:v>44720</c:v>
                </c:pt>
                <c:pt idx="644">
                  <c:v>44719</c:v>
                </c:pt>
                <c:pt idx="645">
                  <c:v>44718</c:v>
                </c:pt>
                <c:pt idx="646">
                  <c:v>44715</c:v>
                </c:pt>
                <c:pt idx="647">
                  <c:v>44714</c:v>
                </c:pt>
                <c:pt idx="648">
                  <c:v>44713</c:v>
                </c:pt>
                <c:pt idx="649">
                  <c:v>44712</c:v>
                </c:pt>
                <c:pt idx="650">
                  <c:v>44711</c:v>
                </c:pt>
                <c:pt idx="651">
                  <c:v>44708</c:v>
                </c:pt>
                <c:pt idx="652">
                  <c:v>44707</c:v>
                </c:pt>
                <c:pt idx="653">
                  <c:v>44706</c:v>
                </c:pt>
                <c:pt idx="654">
                  <c:v>44705</c:v>
                </c:pt>
                <c:pt idx="655">
                  <c:v>44704</c:v>
                </c:pt>
                <c:pt idx="656">
                  <c:v>44701</c:v>
                </c:pt>
                <c:pt idx="657">
                  <c:v>44700</c:v>
                </c:pt>
                <c:pt idx="658">
                  <c:v>44699</c:v>
                </c:pt>
                <c:pt idx="659">
                  <c:v>44698</c:v>
                </c:pt>
                <c:pt idx="660">
                  <c:v>44697</c:v>
                </c:pt>
                <c:pt idx="661">
                  <c:v>44694</c:v>
                </c:pt>
                <c:pt idx="662">
                  <c:v>44693</c:v>
                </c:pt>
                <c:pt idx="663">
                  <c:v>44692</c:v>
                </c:pt>
                <c:pt idx="664">
                  <c:v>44691</c:v>
                </c:pt>
                <c:pt idx="665">
                  <c:v>44690</c:v>
                </c:pt>
                <c:pt idx="666">
                  <c:v>44687</c:v>
                </c:pt>
                <c:pt idx="667">
                  <c:v>44686</c:v>
                </c:pt>
                <c:pt idx="668">
                  <c:v>44685</c:v>
                </c:pt>
                <c:pt idx="669">
                  <c:v>44684</c:v>
                </c:pt>
                <c:pt idx="670">
                  <c:v>44683</c:v>
                </c:pt>
                <c:pt idx="671">
                  <c:v>44680</c:v>
                </c:pt>
                <c:pt idx="672">
                  <c:v>44679</c:v>
                </c:pt>
                <c:pt idx="673">
                  <c:v>44678</c:v>
                </c:pt>
                <c:pt idx="674">
                  <c:v>44677</c:v>
                </c:pt>
                <c:pt idx="675">
                  <c:v>44676</c:v>
                </c:pt>
                <c:pt idx="676">
                  <c:v>44673</c:v>
                </c:pt>
                <c:pt idx="677">
                  <c:v>44672</c:v>
                </c:pt>
                <c:pt idx="678">
                  <c:v>44671</c:v>
                </c:pt>
                <c:pt idx="679">
                  <c:v>44670</c:v>
                </c:pt>
                <c:pt idx="680">
                  <c:v>44669</c:v>
                </c:pt>
                <c:pt idx="681">
                  <c:v>44666</c:v>
                </c:pt>
                <c:pt idx="682">
                  <c:v>44665</c:v>
                </c:pt>
                <c:pt idx="683">
                  <c:v>44664</c:v>
                </c:pt>
                <c:pt idx="684">
                  <c:v>44663</c:v>
                </c:pt>
                <c:pt idx="685">
                  <c:v>44662</c:v>
                </c:pt>
                <c:pt idx="686">
                  <c:v>44659</c:v>
                </c:pt>
                <c:pt idx="687">
                  <c:v>44658</c:v>
                </c:pt>
                <c:pt idx="688">
                  <c:v>44657</c:v>
                </c:pt>
                <c:pt idx="689">
                  <c:v>44656</c:v>
                </c:pt>
                <c:pt idx="690">
                  <c:v>44655</c:v>
                </c:pt>
                <c:pt idx="691">
                  <c:v>44652</c:v>
                </c:pt>
                <c:pt idx="692">
                  <c:v>44651</c:v>
                </c:pt>
                <c:pt idx="693">
                  <c:v>44650</c:v>
                </c:pt>
                <c:pt idx="694">
                  <c:v>44649</c:v>
                </c:pt>
                <c:pt idx="695">
                  <c:v>44648</c:v>
                </c:pt>
                <c:pt idx="696">
                  <c:v>44645</c:v>
                </c:pt>
                <c:pt idx="697">
                  <c:v>44644</c:v>
                </c:pt>
                <c:pt idx="698">
                  <c:v>44643</c:v>
                </c:pt>
                <c:pt idx="699">
                  <c:v>44642</c:v>
                </c:pt>
                <c:pt idx="700">
                  <c:v>44641</c:v>
                </c:pt>
                <c:pt idx="701">
                  <c:v>44638</c:v>
                </c:pt>
                <c:pt idx="702">
                  <c:v>44637</c:v>
                </c:pt>
                <c:pt idx="703">
                  <c:v>44636</c:v>
                </c:pt>
                <c:pt idx="704">
                  <c:v>44635</c:v>
                </c:pt>
                <c:pt idx="705">
                  <c:v>44634</c:v>
                </c:pt>
                <c:pt idx="706">
                  <c:v>44631</c:v>
                </c:pt>
                <c:pt idx="707">
                  <c:v>44630</c:v>
                </c:pt>
                <c:pt idx="708">
                  <c:v>44629</c:v>
                </c:pt>
                <c:pt idx="709">
                  <c:v>44628</c:v>
                </c:pt>
                <c:pt idx="710">
                  <c:v>44627</c:v>
                </c:pt>
                <c:pt idx="711">
                  <c:v>44624</c:v>
                </c:pt>
                <c:pt idx="712">
                  <c:v>44623</c:v>
                </c:pt>
                <c:pt idx="713">
                  <c:v>44622</c:v>
                </c:pt>
                <c:pt idx="714">
                  <c:v>44621</c:v>
                </c:pt>
                <c:pt idx="715">
                  <c:v>44620</c:v>
                </c:pt>
                <c:pt idx="716">
                  <c:v>44617</c:v>
                </c:pt>
                <c:pt idx="717">
                  <c:v>44616</c:v>
                </c:pt>
                <c:pt idx="718">
                  <c:v>44615</c:v>
                </c:pt>
                <c:pt idx="719">
                  <c:v>44614</c:v>
                </c:pt>
                <c:pt idx="720">
                  <c:v>44613</c:v>
                </c:pt>
                <c:pt idx="721">
                  <c:v>44610</c:v>
                </c:pt>
                <c:pt idx="722">
                  <c:v>44609</c:v>
                </c:pt>
                <c:pt idx="723">
                  <c:v>44608</c:v>
                </c:pt>
                <c:pt idx="724">
                  <c:v>44607</c:v>
                </c:pt>
                <c:pt idx="725">
                  <c:v>44606</c:v>
                </c:pt>
                <c:pt idx="726">
                  <c:v>44603</c:v>
                </c:pt>
                <c:pt idx="727">
                  <c:v>44602</c:v>
                </c:pt>
                <c:pt idx="728">
                  <c:v>44601</c:v>
                </c:pt>
                <c:pt idx="729">
                  <c:v>44600</c:v>
                </c:pt>
                <c:pt idx="730">
                  <c:v>44599</c:v>
                </c:pt>
                <c:pt idx="731">
                  <c:v>44596</c:v>
                </c:pt>
                <c:pt idx="732">
                  <c:v>44595</c:v>
                </c:pt>
                <c:pt idx="733">
                  <c:v>44594</c:v>
                </c:pt>
                <c:pt idx="734">
                  <c:v>44593</c:v>
                </c:pt>
                <c:pt idx="735">
                  <c:v>44592</c:v>
                </c:pt>
                <c:pt idx="736">
                  <c:v>44589</c:v>
                </c:pt>
                <c:pt idx="737">
                  <c:v>44588</c:v>
                </c:pt>
                <c:pt idx="738">
                  <c:v>44587</c:v>
                </c:pt>
                <c:pt idx="739">
                  <c:v>44586</c:v>
                </c:pt>
                <c:pt idx="740">
                  <c:v>44585</c:v>
                </c:pt>
                <c:pt idx="741">
                  <c:v>44582</c:v>
                </c:pt>
                <c:pt idx="742">
                  <c:v>44581</c:v>
                </c:pt>
                <c:pt idx="743">
                  <c:v>44580</c:v>
                </c:pt>
                <c:pt idx="744">
                  <c:v>44579</c:v>
                </c:pt>
                <c:pt idx="745">
                  <c:v>44578</c:v>
                </c:pt>
                <c:pt idx="746">
                  <c:v>44575</c:v>
                </c:pt>
                <c:pt idx="747">
                  <c:v>44574</c:v>
                </c:pt>
                <c:pt idx="748">
                  <c:v>44573</c:v>
                </c:pt>
                <c:pt idx="749">
                  <c:v>44572</c:v>
                </c:pt>
                <c:pt idx="750">
                  <c:v>44571</c:v>
                </c:pt>
                <c:pt idx="751">
                  <c:v>44568</c:v>
                </c:pt>
                <c:pt idx="752">
                  <c:v>44567</c:v>
                </c:pt>
                <c:pt idx="753">
                  <c:v>44566</c:v>
                </c:pt>
                <c:pt idx="754">
                  <c:v>44565</c:v>
                </c:pt>
                <c:pt idx="755">
                  <c:v>44564</c:v>
                </c:pt>
                <c:pt idx="756">
                  <c:v>44561</c:v>
                </c:pt>
                <c:pt idx="757">
                  <c:v>44560</c:v>
                </c:pt>
                <c:pt idx="758">
                  <c:v>44559</c:v>
                </c:pt>
                <c:pt idx="759">
                  <c:v>44558</c:v>
                </c:pt>
                <c:pt idx="760">
                  <c:v>44557</c:v>
                </c:pt>
                <c:pt idx="761">
                  <c:v>44554</c:v>
                </c:pt>
                <c:pt idx="762">
                  <c:v>44553</c:v>
                </c:pt>
                <c:pt idx="763">
                  <c:v>44552</c:v>
                </c:pt>
                <c:pt idx="764">
                  <c:v>44551</c:v>
                </c:pt>
                <c:pt idx="765">
                  <c:v>44550</c:v>
                </c:pt>
                <c:pt idx="766">
                  <c:v>44547</c:v>
                </c:pt>
                <c:pt idx="767">
                  <c:v>44546</c:v>
                </c:pt>
                <c:pt idx="768">
                  <c:v>44545</c:v>
                </c:pt>
                <c:pt idx="769">
                  <c:v>44544</c:v>
                </c:pt>
                <c:pt idx="770">
                  <c:v>44543</c:v>
                </c:pt>
                <c:pt idx="771">
                  <c:v>44540</c:v>
                </c:pt>
                <c:pt idx="772">
                  <c:v>44539</c:v>
                </c:pt>
                <c:pt idx="773">
                  <c:v>44538</c:v>
                </c:pt>
                <c:pt idx="774">
                  <c:v>44537</c:v>
                </c:pt>
                <c:pt idx="775">
                  <c:v>44536</c:v>
                </c:pt>
                <c:pt idx="776">
                  <c:v>44533</c:v>
                </c:pt>
                <c:pt idx="777">
                  <c:v>44532</c:v>
                </c:pt>
                <c:pt idx="778">
                  <c:v>44531</c:v>
                </c:pt>
                <c:pt idx="779">
                  <c:v>44530</c:v>
                </c:pt>
                <c:pt idx="780">
                  <c:v>44529</c:v>
                </c:pt>
                <c:pt idx="781">
                  <c:v>44526</c:v>
                </c:pt>
                <c:pt idx="782">
                  <c:v>44525</c:v>
                </c:pt>
                <c:pt idx="783">
                  <c:v>44524</c:v>
                </c:pt>
                <c:pt idx="784">
                  <c:v>44523</c:v>
                </c:pt>
                <c:pt idx="785">
                  <c:v>44522</c:v>
                </c:pt>
                <c:pt idx="786">
                  <c:v>44519</c:v>
                </c:pt>
                <c:pt idx="787">
                  <c:v>44518</c:v>
                </c:pt>
                <c:pt idx="788">
                  <c:v>44517</c:v>
                </c:pt>
                <c:pt idx="789">
                  <c:v>44516</c:v>
                </c:pt>
                <c:pt idx="790">
                  <c:v>44515</c:v>
                </c:pt>
                <c:pt idx="791">
                  <c:v>44512</c:v>
                </c:pt>
                <c:pt idx="792">
                  <c:v>44511</c:v>
                </c:pt>
                <c:pt idx="793">
                  <c:v>44510</c:v>
                </c:pt>
                <c:pt idx="794">
                  <c:v>44509</c:v>
                </c:pt>
                <c:pt idx="795">
                  <c:v>44508</c:v>
                </c:pt>
                <c:pt idx="796">
                  <c:v>44505</c:v>
                </c:pt>
                <c:pt idx="797">
                  <c:v>44504</c:v>
                </c:pt>
                <c:pt idx="798">
                  <c:v>44503</c:v>
                </c:pt>
                <c:pt idx="799">
                  <c:v>44502</c:v>
                </c:pt>
                <c:pt idx="800">
                  <c:v>44501</c:v>
                </c:pt>
                <c:pt idx="801">
                  <c:v>44498</c:v>
                </c:pt>
                <c:pt idx="802">
                  <c:v>44497</c:v>
                </c:pt>
                <c:pt idx="803">
                  <c:v>44496</c:v>
                </c:pt>
                <c:pt idx="804">
                  <c:v>44495</c:v>
                </c:pt>
                <c:pt idx="805">
                  <c:v>44494</c:v>
                </c:pt>
                <c:pt idx="806">
                  <c:v>44491</c:v>
                </c:pt>
                <c:pt idx="807">
                  <c:v>44490</c:v>
                </c:pt>
                <c:pt idx="808">
                  <c:v>44489</c:v>
                </c:pt>
                <c:pt idx="809">
                  <c:v>44488</c:v>
                </c:pt>
                <c:pt idx="810">
                  <c:v>44487</c:v>
                </c:pt>
                <c:pt idx="811">
                  <c:v>44484</c:v>
                </c:pt>
                <c:pt idx="812">
                  <c:v>44483</c:v>
                </c:pt>
                <c:pt idx="813">
                  <c:v>44482</c:v>
                </c:pt>
                <c:pt idx="814">
                  <c:v>44481</c:v>
                </c:pt>
                <c:pt idx="815">
                  <c:v>44480</c:v>
                </c:pt>
                <c:pt idx="816">
                  <c:v>44477</c:v>
                </c:pt>
                <c:pt idx="817">
                  <c:v>44476</c:v>
                </c:pt>
                <c:pt idx="818">
                  <c:v>44475</c:v>
                </c:pt>
                <c:pt idx="819">
                  <c:v>44474</c:v>
                </c:pt>
                <c:pt idx="820">
                  <c:v>44473</c:v>
                </c:pt>
                <c:pt idx="821">
                  <c:v>44470</c:v>
                </c:pt>
                <c:pt idx="822">
                  <c:v>44469</c:v>
                </c:pt>
                <c:pt idx="823">
                  <c:v>44468</c:v>
                </c:pt>
                <c:pt idx="824">
                  <c:v>44467</c:v>
                </c:pt>
                <c:pt idx="825">
                  <c:v>44466</c:v>
                </c:pt>
                <c:pt idx="826">
                  <c:v>44463</c:v>
                </c:pt>
                <c:pt idx="827">
                  <c:v>44462</c:v>
                </c:pt>
                <c:pt idx="828">
                  <c:v>44461</c:v>
                </c:pt>
                <c:pt idx="829">
                  <c:v>44460</c:v>
                </c:pt>
                <c:pt idx="830">
                  <c:v>44459</c:v>
                </c:pt>
                <c:pt idx="831">
                  <c:v>44456</c:v>
                </c:pt>
                <c:pt idx="832">
                  <c:v>44455</c:v>
                </c:pt>
                <c:pt idx="833">
                  <c:v>44454</c:v>
                </c:pt>
                <c:pt idx="834">
                  <c:v>44453</c:v>
                </c:pt>
                <c:pt idx="835">
                  <c:v>44452</c:v>
                </c:pt>
                <c:pt idx="836">
                  <c:v>44449</c:v>
                </c:pt>
                <c:pt idx="837">
                  <c:v>44448</c:v>
                </c:pt>
                <c:pt idx="838">
                  <c:v>44447</c:v>
                </c:pt>
                <c:pt idx="839">
                  <c:v>44446</c:v>
                </c:pt>
                <c:pt idx="840">
                  <c:v>44445</c:v>
                </c:pt>
                <c:pt idx="841">
                  <c:v>44442</c:v>
                </c:pt>
                <c:pt idx="842">
                  <c:v>44441</c:v>
                </c:pt>
                <c:pt idx="843">
                  <c:v>44440</c:v>
                </c:pt>
                <c:pt idx="844">
                  <c:v>44439</c:v>
                </c:pt>
                <c:pt idx="845">
                  <c:v>44438</c:v>
                </c:pt>
                <c:pt idx="846">
                  <c:v>44435</c:v>
                </c:pt>
                <c:pt idx="847">
                  <c:v>44434</c:v>
                </c:pt>
                <c:pt idx="848">
                  <c:v>44433</c:v>
                </c:pt>
                <c:pt idx="849">
                  <c:v>44432</c:v>
                </c:pt>
                <c:pt idx="850">
                  <c:v>44431</c:v>
                </c:pt>
                <c:pt idx="851">
                  <c:v>44428</c:v>
                </c:pt>
                <c:pt idx="852">
                  <c:v>44427</c:v>
                </c:pt>
                <c:pt idx="853">
                  <c:v>44426</c:v>
                </c:pt>
                <c:pt idx="854">
                  <c:v>44425</c:v>
                </c:pt>
                <c:pt idx="855">
                  <c:v>44424</c:v>
                </c:pt>
                <c:pt idx="856">
                  <c:v>44421</c:v>
                </c:pt>
                <c:pt idx="857">
                  <c:v>44420</c:v>
                </c:pt>
                <c:pt idx="858">
                  <c:v>44419</c:v>
                </c:pt>
                <c:pt idx="859">
                  <c:v>44418</c:v>
                </c:pt>
                <c:pt idx="860">
                  <c:v>44417</c:v>
                </c:pt>
                <c:pt idx="861">
                  <c:v>44414</c:v>
                </c:pt>
                <c:pt idx="862">
                  <c:v>44413</c:v>
                </c:pt>
                <c:pt idx="863">
                  <c:v>44412</c:v>
                </c:pt>
                <c:pt idx="864">
                  <c:v>44411</c:v>
                </c:pt>
                <c:pt idx="865">
                  <c:v>44410</c:v>
                </c:pt>
                <c:pt idx="866">
                  <c:v>44407</c:v>
                </c:pt>
                <c:pt idx="867">
                  <c:v>44406</c:v>
                </c:pt>
                <c:pt idx="868">
                  <c:v>44405</c:v>
                </c:pt>
                <c:pt idx="869">
                  <c:v>44404</c:v>
                </c:pt>
                <c:pt idx="870">
                  <c:v>44403</c:v>
                </c:pt>
                <c:pt idx="871">
                  <c:v>44400</c:v>
                </c:pt>
                <c:pt idx="872">
                  <c:v>44399</c:v>
                </c:pt>
                <c:pt idx="873">
                  <c:v>44398</c:v>
                </c:pt>
                <c:pt idx="874">
                  <c:v>44397</c:v>
                </c:pt>
                <c:pt idx="875">
                  <c:v>44396</c:v>
                </c:pt>
                <c:pt idx="876">
                  <c:v>44393</c:v>
                </c:pt>
                <c:pt idx="877">
                  <c:v>44392</c:v>
                </c:pt>
                <c:pt idx="878">
                  <c:v>44391</c:v>
                </c:pt>
                <c:pt idx="879">
                  <c:v>44390</c:v>
                </c:pt>
                <c:pt idx="880">
                  <c:v>44389</c:v>
                </c:pt>
                <c:pt idx="881">
                  <c:v>44386</c:v>
                </c:pt>
                <c:pt idx="882">
                  <c:v>44385</c:v>
                </c:pt>
                <c:pt idx="883">
                  <c:v>44384</c:v>
                </c:pt>
                <c:pt idx="884">
                  <c:v>44383</c:v>
                </c:pt>
                <c:pt idx="885">
                  <c:v>44382</c:v>
                </c:pt>
                <c:pt idx="886">
                  <c:v>44379</c:v>
                </c:pt>
                <c:pt idx="887">
                  <c:v>44378</c:v>
                </c:pt>
                <c:pt idx="888">
                  <c:v>44377</c:v>
                </c:pt>
                <c:pt idx="889">
                  <c:v>44376</c:v>
                </c:pt>
                <c:pt idx="890">
                  <c:v>44375</c:v>
                </c:pt>
                <c:pt idx="891">
                  <c:v>44372</c:v>
                </c:pt>
                <c:pt idx="892">
                  <c:v>44371</c:v>
                </c:pt>
                <c:pt idx="893">
                  <c:v>44370</c:v>
                </c:pt>
                <c:pt idx="894">
                  <c:v>44369</c:v>
                </c:pt>
                <c:pt idx="895">
                  <c:v>44368</c:v>
                </c:pt>
                <c:pt idx="896">
                  <c:v>44365</c:v>
                </c:pt>
                <c:pt idx="897">
                  <c:v>44364</c:v>
                </c:pt>
                <c:pt idx="898">
                  <c:v>44363</c:v>
                </c:pt>
                <c:pt idx="899">
                  <c:v>44362</c:v>
                </c:pt>
                <c:pt idx="900">
                  <c:v>44361</c:v>
                </c:pt>
                <c:pt idx="901">
                  <c:v>44358</c:v>
                </c:pt>
                <c:pt idx="902">
                  <c:v>44357</c:v>
                </c:pt>
                <c:pt idx="903">
                  <c:v>44356</c:v>
                </c:pt>
                <c:pt idx="904">
                  <c:v>44355</c:v>
                </c:pt>
                <c:pt idx="905">
                  <c:v>44354</c:v>
                </c:pt>
                <c:pt idx="906">
                  <c:v>44351</c:v>
                </c:pt>
                <c:pt idx="907">
                  <c:v>44350</c:v>
                </c:pt>
                <c:pt idx="908">
                  <c:v>44349</c:v>
                </c:pt>
                <c:pt idx="909">
                  <c:v>44348</c:v>
                </c:pt>
                <c:pt idx="910">
                  <c:v>44347</c:v>
                </c:pt>
                <c:pt idx="911">
                  <c:v>44344</c:v>
                </c:pt>
                <c:pt idx="912">
                  <c:v>44343</c:v>
                </c:pt>
                <c:pt idx="913">
                  <c:v>44342</c:v>
                </c:pt>
                <c:pt idx="914">
                  <c:v>44341</c:v>
                </c:pt>
                <c:pt idx="915">
                  <c:v>44340</c:v>
                </c:pt>
                <c:pt idx="916">
                  <c:v>44337</c:v>
                </c:pt>
                <c:pt idx="917">
                  <c:v>44336</c:v>
                </c:pt>
                <c:pt idx="918">
                  <c:v>44335</c:v>
                </c:pt>
                <c:pt idx="919">
                  <c:v>44334</c:v>
                </c:pt>
                <c:pt idx="920">
                  <c:v>44333</c:v>
                </c:pt>
                <c:pt idx="921">
                  <c:v>44330</c:v>
                </c:pt>
                <c:pt idx="922">
                  <c:v>44329</c:v>
                </c:pt>
                <c:pt idx="923">
                  <c:v>44328</c:v>
                </c:pt>
                <c:pt idx="924">
                  <c:v>44327</c:v>
                </c:pt>
                <c:pt idx="925">
                  <c:v>44326</c:v>
                </c:pt>
                <c:pt idx="926">
                  <c:v>44323</c:v>
                </c:pt>
                <c:pt idx="927">
                  <c:v>44322</c:v>
                </c:pt>
                <c:pt idx="928">
                  <c:v>44321</c:v>
                </c:pt>
                <c:pt idx="929">
                  <c:v>44320</c:v>
                </c:pt>
                <c:pt idx="930">
                  <c:v>44319</c:v>
                </c:pt>
                <c:pt idx="931">
                  <c:v>44316</c:v>
                </c:pt>
                <c:pt idx="932">
                  <c:v>44315</c:v>
                </c:pt>
                <c:pt idx="933">
                  <c:v>44314</c:v>
                </c:pt>
                <c:pt idx="934">
                  <c:v>44313</c:v>
                </c:pt>
                <c:pt idx="935">
                  <c:v>44312</c:v>
                </c:pt>
                <c:pt idx="936">
                  <c:v>44309</c:v>
                </c:pt>
                <c:pt idx="937">
                  <c:v>44308</c:v>
                </c:pt>
                <c:pt idx="938">
                  <c:v>44307</c:v>
                </c:pt>
                <c:pt idx="939">
                  <c:v>44306</c:v>
                </c:pt>
                <c:pt idx="940">
                  <c:v>44305</c:v>
                </c:pt>
                <c:pt idx="941">
                  <c:v>44302</c:v>
                </c:pt>
                <c:pt idx="942">
                  <c:v>44301</c:v>
                </c:pt>
                <c:pt idx="943">
                  <c:v>44300</c:v>
                </c:pt>
                <c:pt idx="944">
                  <c:v>44299</c:v>
                </c:pt>
                <c:pt idx="945">
                  <c:v>44298</c:v>
                </c:pt>
                <c:pt idx="946">
                  <c:v>44295</c:v>
                </c:pt>
                <c:pt idx="947">
                  <c:v>44294</c:v>
                </c:pt>
                <c:pt idx="948">
                  <c:v>44293</c:v>
                </c:pt>
                <c:pt idx="949">
                  <c:v>44292</c:v>
                </c:pt>
                <c:pt idx="950">
                  <c:v>44291</c:v>
                </c:pt>
                <c:pt idx="951">
                  <c:v>44288</c:v>
                </c:pt>
                <c:pt idx="952">
                  <c:v>44287</c:v>
                </c:pt>
                <c:pt idx="953">
                  <c:v>44286</c:v>
                </c:pt>
                <c:pt idx="954">
                  <c:v>44285</c:v>
                </c:pt>
                <c:pt idx="955">
                  <c:v>44284</c:v>
                </c:pt>
                <c:pt idx="956">
                  <c:v>44281</c:v>
                </c:pt>
                <c:pt idx="957">
                  <c:v>44280</c:v>
                </c:pt>
                <c:pt idx="958">
                  <c:v>44279</c:v>
                </c:pt>
                <c:pt idx="959">
                  <c:v>44278</c:v>
                </c:pt>
                <c:pt idx="960">
                  <c:v>44277</c:v>
                </c:pt>
                <c:pt idx="961">
                  <c:v>44274</c:v>
                </c:pt>
                <c:pt idx="962">
                  <c:v>44273</c:v>
                </c:pt>
                <c:pt idx="963">
                  <c:v>44272</c:v>
                </c:pt>
                <c:pt idx="964">
                  <c:v>44271</c:v>
                </c:pt>
                <c:pt idx="965">
                  <c:v>44270</c:v>
                </c:pt>
                <c:pt idx="966">
                  <c:v>44267</c:v>
                </c:pt>
                <c:pt idx="967">
                  <c:v>44266</c:v>
                </c:pt>
                <c:pt idx="968">
                  <c:v>44265</c:v>
                </c:pt>
                <c:pt idx="969">
                  <c:v>44264</c:v>
                </c:pt>
                <c:pt idx="970">
                  <c:v>44263</c:v>
                </c:pt>
                <c:pt idx="971">
                  <c:v>44260</c:v>
                </c:pt>
                <c:pt idx="972">
                  <c:v>44259</c:v>
                </c:pt>
                <c:pt idx="973">
                  <c:v>44258</c:v>
                </c:pt>
                <c:pt idx="974">
                  <c:v>44257</c:v>
                </c:pt>
                <c:pt idx="975">
                  <c:v>44256</c:v>
                </c:pt>
                <c:pt idx="976">
                  <c:v>44253</c:v>
                </c:pt>
                <c:pt idx="977">
                  <c:v>44252</c:v>
                </c:pt>
                <c:pt idx="978">
                  <c:v>44251</c:v>
                </c:pt>
                <c:pt idx="979">
                  <c:v>44250</c:v>
                </c:pt>
                <c:pt idx="980">
                  <c:v>44249</c:v>
                </c:pt>
                <c:pt idx="981">
                  <c:v>44246</c:v>
                </c:pt>
                <c:pt idx="982">
                  <c:v>44245</c:v>
                </c:pt>
                <c:pt idx="983">
                  <c:v>44244</c:v>
                </c:pt>
                <c:pt idx="984">
                  <c:v>44243</c:v>
                </c:pt>
                <c:pt idx="985">
                  <c:v>44242</c:v>
                </c:pt>
                <c:pt idx="986">
                  <c:v>44239</c:v>
                </c:pt>
                <c:pt idx="987">
                  <c:v>44238</c:v>
                </c:pt>
                <c:pt idx="988">
                  <c:v>44237</c:v>
                </c:pt>
                <c:pt idx="989">
                  <c:v>44236</c:v>
                </c:pt>
                <c:pt idx="990">
                  <c:v>44235</c:v>
                </c:pt>
                <c:pt idx="991">
                  <c:v>44232</c:v>
                </c:pt>
                <c:pt idx="992">
                  <c:v>44231</c:v>
                </c:pt>
                <c:pt idx="993">
                  <c:v>44230</c:v>
                </c:pt>
                <c:pt idx="994">
                  <c:v>44229</c:v>
                </c:pt>
                <c:pt idx="995">
                  <c:v>44228</c:v>
                </c:pt>
                <c:pt idx="996">
                  <c:v>44225</c:v>
                </c:pt>
                <c:pt idx="997">
                  <c:v>44224</c:v>
                </c:pt>
                <c:pt idx="998">
                  <c:v>44223</c:v>
                </c:pt>
                <c:pt idx="999">
                  <c:v>44222</c:v>
                </c:pt>
                <c:pt idx="1000">
                  <c:v>44221</c:v>
                </c:pt>
                <c:pt idx="1001">
                  <c:v>44218</c:v>
                </c:pt>
                <c:pt idx="1002">
                  <c:v>44217</c:v>
                </c:pt>
                <c:pt idx="1003">
                  <c:v>44216</c:v>
                </c:pt>
                <c:pt idx="1004">
                  <c:v>44215</c:v>
                </c:pt>
                <c:pt idx="1005">
                  <c:v>44214</c:v>
                </c:pt>
                <c:pt idx="1006">
                  <c:v>44211</c:v>
                </c:pt>
                <c:pt idx="1007">
                  <c:v>44210</c:v>
                </c:pt>
                <c:pt idx="1008">
                  <c:v>44209</c:v>
                </c:pt>
                <c:pt idx="1009">
                  <c:v>44208</c:v>
                </c:pt>
                <c:pt idx="1010">
                  <c:v>44207</c:v>
                </c:pt>
                <c:pt idx="1011">
                  <c:v>44204</c:v>
                </c:pt>
                <c:pt idx="1012">
                  <c:v>44203</c:v>
                </c:pt>
                <c:pt idx="1013">
                  <c:v>44202</c:v>
                </c:pt>
                <c:pt idx="1014">
                  <c:v>44201</c:v>
                </c:pt>
                <c:pt idx="1015">
                  <c:v>44200</c:v>
                </c:pt>
                <c:pt idx="1016">
                  <c:v>44197</c:v>
                </c:pt>
                <c:pt idx="1017">
                  <c:v>44196</c:v>
                </c:pt>
                <c:pt idx="1018">
                  <c:v>44195</c:v>
                </c:pt>
                <c:pt idx="1019">
                  <c:v>44194</c:v>
                </c:pt>
                <c:pt idx="1020">
                  <c:v>44193</c:v>
                </c:pt>
                <c:pt idx="1021">
                  <c:v>44190</c:v>
                </c:pt>
                <c:pt idx="1022">
                  <c:v>44189</c:v>
                </c:pt>
                <c:pt idx="1023">
                  <c:v>44188</c:v>
                </c:pt>
                <c:pt idx="1024">
                  <c:v>44187</c:v>
                </c:pt>
                <c:pt idx="1025">
                  <c:v>44186</c:v>
                </c:pt>
                <c:pt idx="1026">
                  <c:v>44183</c:v>
                </c:pt>
                <c:pt idx="1027">
                  <c:v>44182</c:v>
                </c:pt>
                <c:pt idx="1028">
                  <c:v>44181</c:v>
                </c:pt>
                <c:pt idx="1029">
                  <c:v>44180</c:v>
                </c:pt>
                <c:pt idx="1030">
                  <c:v>44179</c:v>
                </c:pt>
                <c:pt idx="1031">
                  <c:v>44176</c:v>
                </c:pt>
                <c:pt idx="1032">
                  <c:v>44175</c:v>
                </c:pt>
                <c:pt idx="1033">
                  <c:v>44174</c:v>
                </c:pt>
                <c:pt idx="1034">
                  <c:v>44173</c:v>
                </c:pt>
                <c:pt idx="1035">
                  <c:v>44172</c:v>
                </c:pt>
                <c:pt idx="1036">
                  <c:v>44169</c:v>
                </c:pt>
                <c:pt idx="1037">
                  <c:v>44168</c:v>
                </c:pt>
                <c:pt idx="1038">
                  <c:v>44167</c:v>
                </c:pt>
                <c:pt idx="1039">
                  <c:v>44166</c:v>
                </c:pt>
                <c:pt idx="1040">
                  <c:v>44165</c:v>
                </c:pt>
                <c:pt idx="1041">
                  <c:v>44162</c:v>
                </c:pt>
                <c:pt idx="1042">
                  <c:v>44161</c:v>
                </c:pt>
                <c:pt idx="1043">
                  <c:v>44160</c:v>
                </c:pt>
                <c:pt idx="1044">
                  <c:v>44159</c:v>
                </c:pt>
                <c:pt idx="1045">
                  <c:v>44158</c:v>
                </c:pt>
                <c:pt idx="1046">
                  <c:v>44155</c:v>
                </c:pt>
                <c:pt idx="1047">
                  <c:v>44154</c:v>
                </c:pt>
                <c:pt idx="1048">
                  <c:v>44153</c:v>
                </c:pt>
                <c:pt idx="1049">
                  <c:v>44152</c:v>
                </c:pt>
                <c:pt idx="1050">
                  <c:v>44151</c:v>
                </c:pt>
                <c:pt idx="1051">
                  <c:v>44148</c:v>
                </c:pt>
                <c:pt idx="1052">
                  <c:v>44147</c:v>
                </c:pt>
                <c:pt idx="1053">
                  <c:v>44146</c:v>
                </c:pt>
                <c:pt idx="1054">
                  <c:v>44145</c:v>
                </c:pt>
                <c:pt idx="1055">
                  <c:v>44144</c:v>
                </c:pt>
                <c:pt idx="1056">
                  <c:v>44141</c:v>
                </c:pt>
                <c:pt idx="1057">
                  <c:v>44140</c:v>
                </c:pt>
                <c:pt idx="1058">
                  <c:v>44139</c:v>
                </c:pt>
                <c:pt idx="1059">
                  <c:v>44138</c:v>
                </c:pt>
                <c:pt idx="1060">
                  <c:v>44137</c:v>
                </c:pt>
                <c:pt idx="1061">
                  <c:v>44134</c:v>
                </c:pt>
                <c:pt idx="1062">
                  <c:v>44133</c:v>
                </c:pt>
                <c:pt idx="1063">
                  <c:v>44132</c:v>
                </c:pt>
                <c:pt idx="1064">
                  <c:v>44131</c:v>
                </c:pt>
                <c:pt idx="1065">
                  <c:v>44130</c:v>
                </c:pt>
                <c:pt idx="1066">
                  <c:v>44127</c:v>
                </c:pt>
                <c:pt idx="1067">
                  <c:v>44126</c:v>
                </c:pt>
                <c:pt idx="1068">
                  <c:v>44125</c:v>
                </c:pt>
                <c:pt idx="1069">
                  <c:v>44124</c:v>
                </c:pt>
                <c:pt idx="1070">
                  <c:v>44123</c:v>
                </c:pt>
                <c:pt idx="1071">
                  <c:v>44120</c:v>
                </c:pt>
                <c:pt idx="1072">
                  <c:v>44119</c:v>
                </c:pt>
                <c:pt idx="1073">
                  <c:v>44118</c:v>
                </c:pt>
                <c:pt idx="1074">
                  <c:v>44117</c:v>
                </c:pt>
                <c:pt idx="1075">
                  <c:v>44116</c:v>
                </c:pt>
                <c:pt idx="1076">
                  <c:v>44113</c:v>
                </c:pt>
                <c:pt idx="1077">
                  <c:v>44112</c:v>
                </c:pt>
                <c:pt idx="1078">
                  <c:v>44111</c:v>
                </c:pt>
                <c:pt idx="1079">
                  <c:v>44110</c:v>
                </c:pt>
                <c:pt idx="1080">
                  <c:v>44109</c:v>
                </c:pt>
                <c:pt idx="1081">
                  <c:v>44106</c:v>
                </c:pt>
                <c:pt idx="1082">
                  <c:v>44105</c:v>
                </c:pt>
                <c:pt idx="1083">
                  <c:v>44104</c:v>
                </c:pt>
                <c:pt idx="1084">
                  <c:v>44103</c:v>
                </c:pt>
                <c:pt idx="1085">
                  <c:v>44102</c:v>
                </c:pt>
                <c:pt idx="1086">
                  <c:v>44099</c:v>
                </c:pt>
                <c:pt idx="1087">
                  <c:v>44098</c:v>
                </c:pt>
                <c:pt idx="1088">
                  <c:v>44097</c:v>
                </c:pt>
                <c:pt idx="1089">
                  <c:v>44096</c:v>
                </c:pt>
                <c:pt idx="1090">
                  <c:v>44095</c:v>
                </c:pt>
                <c:pt idx="1091">
                  <c:v>44092</c:v>
                </c:pt>
                <c:pt idx="1092">
                  <c:v>44091</c:v>
                </c:pt>
                <c:pt idx="1093">
                  <c:v>44090</c:v>
                </c:pt>
                <c:pt idx="1094">
                  <c:v>44089</c:v>
                </c:pt>
                <c:pt idx="1095">
                  <c:v>44088</c:v>
                </c:pt>
                <c:pt idx="1096">
                  <c:v>44085</c:v>
                </c:pt>
                <c:pt idx="1097">
                  <c:v>44084</c:v>
                </c:pt>
                <c:pt idx="1098">
                  <c:v>44083</c:v>
                </c:pt>
                <c:pt idx="1099">
                  <c:v>44082</c:v>
                </c:pt>
                <c:pt idx="1100">
                  <c:v>44081</c:v>
                </c:pt>
                <c:pt idx="1101">
                  <c:v>44078</c:v>
                </c:pt>
                <c:pt idx="1102">
                  <c:v>44077</c:v>
                </c:pt>
                <c:pt idx="1103">
                  <c:v>44076</c:v>
                </c:pt>
                <c:pt idx="1104">
                  <c:v>44075</c:v>
                </c:pt>
                <c:pt idx="1105">
                  <c:v>44074</c:v>
                </c:pt>
                <c:pt idx="1106">
                  <c:v>44071</c:v>
                </c:pt>
                <c:pt idx="1107">
                  <c:v>44070</c:v>
                </c:pt>
                <c:pt idx="1108">
                  <c:v>44069</c:v>
                </c:pt>
                <c:pt idx="1109">
                  <c:v>44068</c:v>
                </c:pt>
                <c:pt idx="1110">
                  <c:v>44067</c:v>
                </c:pt>
                <c:pt idx="1111">
                  <c:v>44064</c:v>
                </c:pt>
                <c:pt idx="1112">
                  <c:v>44063</c:v>
                </c:pt>
                <c:pt idx="1113">
                  <c:v>44062</c:v>
                </c:pt>
                <c:pt idx="1114">
                  <c:v>44061</c:v>
                </c:pt>
                <c:pt idx="1115">
                  <c:v>44060</c:v>
                </c:pt>
                <c:pt idx="1116">
                  <c:v>44057</c:v>
                </c:pt>
                <c:pt idx="1117">
                  <c:v>44056</c:v>
                </c:pt>
                <c:pt idx="1118">
                  <c:v>44055</c:v>
                </c:pt>
                <c:pt idx="1119">
                  <c:v>44054</c:v>
                </c:pt>
                <c:pt idx="1120">
                  <c:v>44053</c:v>
                </c:pt>
                <c:pt idx="1121">
                  <c:v>44050</c:v>
                </c:pt>
                <c:pt idx="1122">
                  <c:v>44049</c:v>
                </c:pt>
                <c:pt idx="1123">
                  <c:v>44048</c:v>
                </c:pt>
                <c:pt idx="1124">
                  <c:v>44047</c:v>
                </c:pt>
                <c:pt idx="1125">
                  <c:v>44046</c:v>
                </c:pt>
                <c:pt idx="1126">
                  <c:v>44043</c:v>
                </c:pt>
                <c:pt idx="1127">
                  <c:v>44042</c:v>
                </c:pt>
                <c:pt idx="1128">
                  <c:v>44041</c:v>
                </c:pt>
                <c:pt idx="1129">
                  <c:v>44040</c:v>
                </c:pt>
                <c:pt idx="1130">
                  <c:v>44039</c:v>
                </c:pt>
                <c:pt idx="1131">
                  <c:v>44036</c:v>
                </c:pt>
                <c:pt idx="1132">
                  <c:v>44035</c:v>
                </c:pt>
                <c:pt idx="1133">
                  <c:v>44034</c:v>
                </c:pt>
                <c:pt idx="1134">
                  <c:v>44033</c:v>
                </c:pt>
                <c:pt idx="1135">
                  <c:v>44032</c:v>
                </c:pt>
                <c:pt idx="1136">
                  <c:v>44029</c:v>
                </c:pt>
                <c:pt idx="1137">
                  <c:v>44028</c:v>
                </c:pt>
                <c:pt idx="1138">
                  <c:v>44027</c:v>
                </c:pt>
                <c:pt idx="1139">
                  <c:v>44026</c:v>
                </c:pt>
                <c:pt idx="1140">
                  <c:v>44025</c:v>
                </c:pt>
                <c:pt idx="1141">
                  <c:v>44022</c:v>
                </c:pt>
                <c:pt idx="1142">
                  <c:v>44021</c:v>
                </c:pt>
                <c:pt idx="1143">
                  <c:v>44020</c:v>
                </c:pt>
                <c:pt idx="1144">
                  <c:v>44019</c:v>
                </c:pt>
                <c:pt idx="1145">
                  <c:v>44018</c:v>
                </c:pt>
                <c:pt idx="1146">
                  <c:v>44015</c:v>
                </c:pt>
                <c:pt idx="1147">
                  <c:v>44014</c:v>
                </c:pt>
                <c:pt idx="1148">
                  <c:v>44013</c:v>
                </c:pt>
                <c:pt idx="1149">
                  <c:v>44012</c:v>
                </c:pt>
                <c:pt idx="1150">
                  <c:v>44011</c:v>
                </c:pt>
                <c:pt idx="1151">
                  <c:v>44008</c:v>
                </c:pt>
                <c:pt idx="1152">
                  <c:v>44007</c:v>
                </c:pt>
                <c:pt idx="1153">
                  <c:v>44006</c:v>
                </c:pt>
                <c:pt idx="1154">
                  <c:v>44005</c:v>
                </c:pt>
                <c:pt idx="1155">
                  <c:v>44004</c:v>
                </c:pt>
                <c:pt idx="1156">
                  <c:v>44001</c:v>
                </c:pt>
                <c:pt idx="1157">
                  <c:v>44000</c:v>
                </c:pt>
                <c:pt idx="1158">
                  <c:v>43999</c:v>
                </c:pt>
                <c:pt idx="1159">
                  <c:v>43998</c:v>
                </c:pt>
                <c:pt idx="1160">
                  <c:v>43997</c:v>
                </c:pt>
                <c:pt idx="1161">
                  <c:v>43994</c:v>
                </c:pt>
                <c:pt idx="1162">
                  <c:v>43993</c:v>
                </c:pt>
                <c:pt idx="1163">
                  <c:v>43992</c:v>
                </c:pt>
                <c:pt idx="1164">
                  <c:v>43991</c:v>
                </c:pt>
                <c:pt idx="1165">
                  <c:v>43990</c:v>
                </c:pt>
                <c:pt idx="1166">
                  <c:v>43987</c:v>
                </c:pt>
                <c:pt idx="1167">
                  <c:v>43986</c:v>
                </c:pt>
                <c:pt idx="1168">
                  <c:v>43985</c:v>
                </c:pt>
                <c:pt idx="1169">
                  <c:v>43984</c:v>
                </c:pt>
                <c:pt idx="1170">
                  <c:v>43983</c:v>
                </c:pt>
                <c:pt idx="1171">
                  <c:v>43980</c:v>
                </c:pt>
                <c:pt idx="1172">
                  <c:v>43979</c:v>
                </c:pt>
                <c:pt idx="1173">
                  <c:v>43978</c:v>
                </c:pt>
                <c:pt idx="1174">
                  <c:v>43977</c:v>
                </c:pt>
                <c:pt idx="1175">
                  <c:v>43976</c:v>
                </c:pt>
                <c:pt idx="1176">
                  <c:v>43973</c:v>
                </c:pt>
                <c:pt idx="1177">
                  <c:v>43972</c:v>
                </c:pt>
                <c:pt idx="1178">
                  <c:v>43971</c:v>
                </c:pt>
                <c:pt idx="1179">
                  <c:v>43970</c:v>
                </c:pt>
                <c:pt idx="1180">
                  <c:v>43969</c:v>
                </c:pt>
                <c:pt idx="1181">
                  <c:v>43966</c:v>
                </c:pt>
                <c:pt idx="1182">
                  <c:v>43965</c:v>
                </c:pt>
                <c:pt idx="1183">
                  <c:v>43964</c:v>
                </c:pt>
                <c:pt idx="1184">
                  <c:v>43963</c:v>
                </c:pt>
                <c:pt idx="1185">
                  <c:v>43962</c:v>
                </c:pt>
                <c:pt idx="1186">
                  <c:v>43959</c:v>
                </c:pt>
                <c:pt idx="1187">
                  <c:v>43958</c:v>
                </c:pt>
                <c:pt idx="1188">
                  <c:v>43957</c:v>
                </c:pt>
                <c:pt idx="1189">
                  <c:v>43956</c:v>
                </c:pt>
                <c:pt idx="1190">
                  <c:v>43955</c:v>
                </c:pt>
                <c:pt idx="1191">
                  <c:v>43952</c:v>
                </c:pt>
                <c:pt idx="1192">
                  <c:v>43951</c:v>
                </c:pt>
                <c:pt idx="1193">
                  <c:v>43950</c:v>
                </c:pt>
                <c:pt idx="1194">
                  <c:v>43949</c:v>
                </c:pt>
                <c:pt idx="1195">
                  <c:v>43948</c:v>
                </c:pt>
                <c:pt idx="1196">
                  <c:v>43945</c:v>
                </c:pt>
                <c:pt idx="1197">
                  <c:v>43944</c:v>
                </c:pt>
                <c:pt idx="1198">
                  <c:v>43943</c:v>
                </c:pt>
                <c:pt idx="1199">
                  <c:v>43942</c:v>
                </c:pt>
                <c:pt idx="1200">
                  <c:v>43941</c:v>
                </c:pt>
                <c:pt idx="1201">
                  <c:v>43938</c:v>
                </c:pt>
                <c:pt idx="1202">
                  <c:v>43937</c:v>
                </c:pt>
                <c:pt idx="1203">
                  <c:v>43936</c:v>
                </c:pt>
                <c:pt idx="1204">
                  <c:v>43935</c:v>
                </c:pt>
                <c:pt idx="1205">
                  <c:v>43934</c:v>
                </c:pt>
                <c:pt idx="1206">
                  <c:v>43931</c:v>
                </c:pt>
                <c:pt idx="1207">
                  <c:v>43930</c:v>
                </c:pt>
                <c:pt idx="1208">
                  <c:v>43929</c:v>
                </c:pt>
                <c:pt idx="1209">
                  <c:v>43928</c:v>
                </c:pt>
                <c:pt idx="1210">
                  <c:v>43927</c:v>
                </c:pt>
                <c:pt idx="1211">
                  <c:v>43924</c:v>
                </c:pt>
                <c:pt idx="1212">
                  <c:v>43923</c:v>
                </c:pt>
                <c:pt idx="1213">
                  <c:v>43922</c:v>
                </c:pt>
                <c:pt idx="1214">
                  <c:v>43921</c:v>
                </c:pt>
                <c:pt idx="1215">
                  <c:v>43920</c:v>
                </c:pt>
                <c:pt idx="1216">
                  <c:v>43917</c:v>
                </c:pt>
                <c:pt idx="1217">
                  <c:v>43916</c:v>
                </c:pt>
                <c:pt idx="1218">
                  <c:v>43915</c:v>
                </c:pt>
                <c:pt idx="1219">
                  <c:v>43914</c:v>
                </c:pt>
                <c:pt idx="1220">
                  <c:v>43913</c:v>
                </c:pt>
                <c:pt idx="1221">
                  <c:v>43910</c:v>
                </c:pt>
                <c:pt idx="1222">
                  <c:v>43909</c:v>
                </c:pt>
                <c:pt idx="1223">
                  <c:v>43908</c:v>
                </c:pt>
                <c:pt idx="1224">
                  <c:v>43907</c:v>
                </c:pt>
                <c:pt idx="1225">
                  <c:v>43906</c:v>
                </c:pt>
                <c:pt idx="1226">
                  <c:v>43903</c:v>
                </c:pt>
                <c:pt idx="1227">
                  <c:v>43902</c:v>
                </c:pt>
                <c:pt idx="1228">
                  <c:v>43901</c:v>
                </c:pt>
                <c:pt idx="1229">
                  <c:v>43900</c:v>
                </c:pt>
                <c:pt idx="1230">
                  <c:v>43899</c:v>
                </c:pt>
                <c:pt idx="1231">
                  <c:v>43896</c:v>
                </c:pt>
                <c:pt idx="1232">
                  <c:v>43895</c:v>
                </c:pt>
                <c:pt idx="1233">
                  <c:v>43894</c:v>
                </c:pt>
                <c:pt idx="1234">
                  <c:v>43893</c:v>
                </c:pt>
                <c:pt idx="1235">
                  <c:v>43892</c:v>
                </c:pt>
                <c:pt idx="1236">
                  <c:v>43889</c:v>
                </c:pt>
                <c:pt idx="1237">
                  <c:v>43888</c:v>
                </c:pt>
                <c:pt idx="1238">
                  <c:v>43887</c:v>
                </c:pt>
                <c:pt idx="1239">
                  <c:v>43886</c:v>
                </c:pt>
                <c:pt idx="1240">
                  <c:v>43885</c:v>
                </c:pt>
                <c:pt idx="1241">
                  <c:v>43882</c:v>
                </c:pt>
                <c:pt idx="1242">
                  <c:v>43881</c:v>
                </c:pt>
                <c:pt idx="1243">
                  <c:v>43880</c:v>
                </c:pt>
                <c:pt idx="1244">
                  <c:v>43879</c:v>
                </c:pt>
                <c:pt idx="1245">
                  <c:v>43878</c:v>
                </c:pt>
                <c:pt idx="1246">
                  <c:v>43875</c:v>
                </c:pt>
                <c:pt idx="1247">
                  <c:v>43874</c:v>
                </c:pt>
                <c:pt idx="1248">
                  <c:v>43873</c:v>
                </c:pt>
                <c:pt idx="1249">
                  <c:v>43872</c:v>
                </c:pt>
                <c:pt idx="1250">
                  <c:v>43871</c:v>
                </c:pt>
                <c:pt idx="1251">
                  <c:v>43868</c:v>
                </c:pt>
                <c:pt idx="1252">
                  <c:v>43867</c:v>
                </c:pt>
                <c:pt idx="1253">
                  <c:v>43866</c:v>
                </c:pt>
                <c:pt idx="1254">
                  <c:v>43865</c:v>
                </c:pt>
                <c:pt idx="1255">
                  <c:v>43864</c:v>
                </c:pt>
                <c:pt idx="1256">
                  <c:v>43861</c:v>
                </c:pt>
                <c:pt idx="1257">
                  <c:v>43860</c:v>
                </c:pt>
                <c:pt idx="1258">
                  <c:v>43859</c:v>
                </c:pt>
                <c:pt idx="1259">
                  <c:v>43858</c:v>
                </c:pt>
                <c:pt idx="1260">
                  <c:v>43857</c:v>
                </c:pt>
                <c:pt idx="1261">
                  <c:v>43854</c:v>
                </c:pt>
                <c:pt idx="1262">
                  <c:v>43853</c:v>
                </c:pt>
                <c:pt idx="1263">
                  <c:v>43852</c:v>
                </c:pt>
                <c:pt idx="1264">
                  <c:v>43851</c:v>
                </c:pt>
                <c:pt idx="1265">
                  <c:v>43850</c:v>
                </c:pt>
                <c:pt idx="1266">
                  <c:v>43847</c:v>
                </c:pt>
                <c:pt idx="1267">
                  <c:v>43846</c:v>
                </c:pt>
                <c:pt idx="1268">
                  <c:v>43845</c:v>
                </c:pt>
                <c:pt idx="1269">
                  <c:v>43844</c:v>
                </c:pt>
                <c:pt idx="1270">
                  <c:v>43843</c:v>
                </c:pt>
                <c:pt idx="1271">
                  <c:v>43840</c:v>
                </c:pt>
                <c:pt idx="1272">
                  <c:v>43839</c:v>
                </c:pt>
                <c:pt idx="1273">
                  <c:v>43838</c:v>
                </c:pt>
                <c:pt idx="1274">
                  <c:v>43837</c:v>
                </c:pt>
                <c:pt idx="1275">
                  <c:v>43836</c:v>
                </c:pt>
                <c:pt idx="1276">
                  <c:v>43833</c:v>
                </c:pt>
                <c:pt idx="1277">
                  <c:v>43832</c:v>
                </c:pt>
                <c:pt idx="1278">
                  <c:v>43831</c:v>
                </c:pt>
                <c:pt idx="1279">
                  <c:v>43830</c:v>
                </c:pt>
                <c:pt idx="1280">
                  <c:v>43829</c:v>
                </c:pt>
                <c:pt idx="1281">
                  <c:v>43826</c:v>
                </c:pt>
                <c:pt idx="1282">
                  <c:v>43825</c:v>
                </c:pt>
                <c:pt idx="1283">
                  <c:v>43824</c:v>
                </c:pt>
                <c:pt idx="1284">
                  <c:v>43823</c:v>
                </c:pt>
                <c:pt idx="1285">
                  <c:v>43822</c:v>
                </c:pt>
                <c:pt idx="1286">
                  <c:v>43819</c:v>
                </c:pt>
                <c:pt idx="1287">
                  <c:v>43818</c:v>
                </c:pt>
                <c:pt idx="1288">
                  <c:v>43817</c:v>
                </c:pt>
                <c:pt idx="1289">
                  <c:v>43816</c:v>
                </c:pt>
                <c:pt idx="1290">
                  <c:v>43815</c:v>
                </c:pt>
                <c:pt idx="1291">
                  <c:v>43812</c:v>
                </c:pt>
                <c:pt idx="1292">
                  <c:v>43811</c:v>
                </c:pt>
                <c:pt idx="1293">
                  <c:v>43810</c:v>
                </c:pt>
                <c:pt idx="1294">
                  <c:v>43809</c:v>
                </c:pt>
                <c:pt idx="1295">
                  <c:v>43808</c:v>
                </c:pt>
                <c:pt idx="1296">
                  <c:v>43805</c:v>
                </c:pt>
                <c:pt idx="1297">
                  <c:v>43804</c:v>
                </c:pt>
                <c:pt idx="1298">
                  <c:v>43803</c:v>
                </c:pt>
                <c:pt idx="1299">
                  <c:v>43802</c:v>
                </c:pt>
                <c:pt idx="1300">
                  <c:v>43801</c:v>
                </c:pt>
                <c:pt idx="1301">
                  <c:v>43798</c:v>
                </c:pt>
                <c:pt idx="1302">
                  <c:v>43797</c:v>
                </c:pt>
                <c:pt idx="1303">
                  <c:v>43796</c:v>
                </c:pt>
                <c:pt idx="1304">
                  <c:v>43795</c:v>
                </c:pt>
                <c:pt idx="1305">
                  <c:v>43794</c:v>
                </c:pt>
                <c:pt idx="1306">
                  <c:v>43791</c:v>
                </c:pt>
                <c:pt idx="1307">
                  <c:v>43790</c:v>
                </c:pt>
                <c:pt idx="1308">
                  <c:v>43789</c:v>
                </c:pt>
                <c:pt idx="1309">
                  <c:v>43788</c:v>
                </c:pt>
                <c:pt idx="1310">
                  <c:v>43787</c:v>
                </c:pt>
                <c:pt idx="1311">
                  <c:v>43784</c:v>
                </c:pt>
                <c:pt idx="1312">
                  <c:v>43783</c:v>
                </c:pt>
                <c:pt idx="1313">
                  <c:v>43782</c:v>
                </c:pt>
                <c:pt idx="1314">
                  <c:v>43781</c:v>
                </c:pt>
                <c:pt idx="1315">
                  <c:v>43780</c:v>
                </c:pt>
                <c:pt idx="1316">
                  <c:v>43777</c:v>
                </c:pt>
                <c:pt idx="1317">
                  <c:v>43776</c:v>
                </c:pt>
                <c:pt idx="1318">
                  <c:v>43775</c:v>
                </c:pt>
                <c:pt idx="1319">
                  <c:v>43774</c:v>
                </c:pt>
                <c:pt idx="1320">
                  <c:v>43773</c:v>
                </c:pt>
                <c:pt idx="1321">
                  <c:v>43770</c:v>
                </c:pt>
                <c:pt idx="1322">
                  <c:v>43769</c:v>
                </c:pt>
                <c:pt idx="1323">
                  <c:v>43768</c:v>
                </c:pt>
                <c:pt idx="1324">
                  <c:v>43767</c:v>
                </c:pt>
                <c:pt idx="1325">
                  <c:v>43766</c:v>
                </c:pt>
                <c:pt idx="1326">
                  <c:v>43763</c:v>
                </c:pt>
                <c:pt idx="1327">
                  <c:v>43762</c:v>
                </c:pt>
                <c:pt idx="1328">
                  <c:v>43761</c:v>
                </c:pt>
                <c:pt idx="1329">
                  <c:v>43760</c:v>
                </c:pt>
                <c:pt idx="1330">
                  <c:v>43759</c:v>
                </c:pt>
                <c:pt idx="1331">
                  <c:v>43756</c:v>
                </c:pt>
                <c:pt idx="1332">
                  <c:v>43755</c:v>
                </c:pt>
                <c:pt idx="1333">
                  <c:v>43754</c:v>
                </c:pt>
                <c:pt idx="1334">
                  <c:v>43753</c:v>
                </c:pt>
                <c:pt idx="1335">
                  <c:v>43752</c:v>
                </c:pt>
                <c:pt idx="1336">
                  <c:v>43749</c:v>
                </c:pt>
                <c:pt idx="1337">
                  <c:v>43748</c:v>
                </c:pt>
                <c:pt idx="1338">
                  <c:v>43747</c:v>
                </c:pt>
                <c:pt idx="1339">
                  <c:v>43746</c:v>
                </c:pt>
                <c:pt idx="1340">
                  <c:v>43745</c:v>
                </c:pt>
                <c:pt idx="1341">
                  <c:v>43742</c:v>
                </c:pt>
                <c:pt idx="1342">
                  <c:v>43741</c:v>
                </c:pt>
                <c:pt idx="1343">
                  <c:v>43740</c:v>
                </c:pt>
                <c:pt idx="1344">
                  <c:v>43739</c:v>
                </c:pt>
                <c:pt idx="1345">
                  <c:v>43738</c:v>
                </c:pt>
                <c:pt idx="1346">
                  <c:v>43735</c:v>
                </c:pt>
                <c:pt idx="1347">
                  <c:v>43734</c:v>
                </c:pt>
                <c:pt idx="1348">
                  <c:v>43733</c:v>
                </c:pt>
                <c:pt idx="1349">
                  <c:v>43732</c:v>
                </c:pt>
                <c:pt idx="1350">
                  <c:v>43731</c:v>
                </c:pt>
                <c:pt idx="1351">
                  <c:v>43728</c:v>
                </c:pt>
                <c:pt idx="1352">
                  <c:v>43727</c:v>
                </c:pt>
                <c:pt idx="1353">
                  <c:v>43726</c:v>
                </c:pt>
                <c:pt idx="1354">
                  <c:v>43725</c:v>
                </c:pt>
                <c:pt idx="1355">
                  <c:v>43724</c:v>
                </c:pt>
                <c:pt idx="1356">
                  <c:v>43721</c:v>
                </c:pt>
                <c:pt idx="1357">
                  <c:v>43720</c:v>
                </c:pt>
                <c:pt idx="1358">
                  <c:v>43719</c:v>
                </c:pt>
                <c:pt idx="1359">
                  <c:v>43718</c:v>
                </c:pt>
                <c:pt idx="1360">
                  <c:v>43717</c:v>
                </c:pt>
                <c:pt idx="1361">
                  <c:v>43714</c:v>
                </c:pt>
                <c:pt idx="1362">
                  <c:v>43713</c:v>
                </c:pt>
                <c:pt idx="1363">
                  <c:v>43712</c:v>
                </c:pt>
                <c:pt idx="1364">
                  <c:v>43711</c:v>
                </c:pt>
                <c:pt idx="1365">
                  <c:v>43710</c:v>
                </c:pt>
                <c:pt idx="1366">
                  <c:v>43707</c:v>
                </c:pt>
                <c:pt idx="1367">
                  <c:v>43706</c:v>
                </c:pt>
                <c:pt idx="1368">
                  <c:v>43705</c:v>
                </c:pt>
                <c:pt idx="1369">
                  <c:v>43704</c:v>
                </c:pt>
                <c:pt idx="1370">
                  <c:v>43703</c:v>
                </c:pt>
                <c:pt idx="1371">
                  <c:v>43700</c:v>
                </c:pt>
                <c:pt idx="1372">
                  <c:v>43699</c:v>
                </c:pt>
                <c:pt idx="1373">
                  <c:v>43698</c:v>
                </c:pt>
                <c:pt idx="1374">
                  <c:v>43697</c:v>
                </c:pt>
                <c:pt idx="1375">
                  <c:v>43696</c:v>
                </c:pt>
                <c:pt idx="1376">
                  <c:v>43693</c:v>
                </c:pt>
                <c:pt idx="1377">
                  <c:v>43692</c:v>
                </c:pt>
                <c:pt idx="1378">
                  <c:v>43691</c:v>
                </c:pt>
                <c:pt idx="1379">
                  <c:v>43690</c:v>
                </c:pt>
                <c:pt idx="1380">
                  <c:v>43689</c:v>
                </c:pt>
                <c:pt idx="1381">
                  <c:v>43686</c:v>
                </c:pt>
                <c:pt idx="1382">
                  <c:v>43685</c:v>
                </c:pt>
                <c:pt idx="1383">
                  <c:v>43684</c:v>
                </c:pt>
                <c:pt idx="1384">
                  <c:v>43683</c:v>
                </c:pt>
                <c:pt idx="1385">
                  <c:v>43682</c:v>
                </c:pt>
                <c:pt idx="1386">
                  <c:v>43679</c:v>
                </c:pt>
                <c:pt idx="1387">
                  <c:v>43678</c:v>
                </c:pt>
                <c:pt idx="1388">
                  <c:v>43677</c:v>
                </c:pt>
                <c:pt idx="1389">
                  <c:v>43676</c:v>
                </c:pt>
                <c:pt idx="1390">
                  <c:v>43675</c:v>
                </c:pt>
                <c:pt idx="1391">
                  <c:v>43672</c:v>
                </c:pt>
                <c:pt idx="1392">
                  <c:v>43671</c:v>
                </c:pt>
                <c:pt idx="1393">
                  <c:v>43670</c:v>
                </c:pt>
                <c:pt idx="1394">
                  <c:v>43669</c:v>
                </c:pt>
                <c:pt idx="1395">
                  <c:v>43668</c:v>
                </c:pt>
                <c:pt idx="1396">
                  <c:v>43665</c:v>
                </c:pt>
                <c:pt idx="1397">
                  <c:v>43664</c:v>
                </c:pt>
                <c:pt idx="1398">
                  <c:v>43663</c:v>
                </c:pt>
                <c:pt idx="1399">
                  <c:v>43662</c:v>
                </c:pt>
                <c:pt idx="1400">
                  <c:v>43661</c:v>
                </c:pt>
                <c:pt idx="1401">
                  <c:v>43658</c:v>
                </c:pt>
                <c:pt idx="1402">
                  <c:v>43657</c:v>
                </c:pt>
                <c:pt idx="1403">
                  <c:v>43656</c:v>
                </c:pt>
                <c:pt idx="1404">
                  <c:v>43655</c:v>
                </c:pt>
                <c:pt idx="1405">
                  <c:v>43654</c:v>
                </c:pt>
                <c:pt idx="1406">
                  <c:v>43651</c:v>
                </c:pt>
                <c:pt idx="1407">
                  <c:v>43650</c:v>
                </c:pt>
                <c:pt idx="1408">
                  <c:v>43649</c:v>
                </c:pt>
                <c:pt idx="1409">
                  <c:v>43648</c:v>
                </c:pt>
                <c:pt idx="1410">
                  <c:v>43647</c:v>
                </c:pt>
                <c:pt idx="1411">
                  <c:v>43644</c:v>
                </c:pt>
                <c:pt idx="1412">
                  <c:v>43643</c:v>
                </c:pt>
                <c:pt idx="1413">
                  <c:v>43642</c:v>
                </c:pt>
                <c:pt idx="1414">
                  <c:v>43641</c:v>
                </c:pt>
                <c:pt idx="1415">
                  <c:v>43640</c:v>
                </c:pt>
                <c:pt idx="1416">
                  <c:v>43637</c:v>
                </c:pt>
                <c:pt idx="1417">
                  <c:v>43636</c:v>
                </c:pt>
                <c:pt idx="1418">
                  <c:v>43635</c:v>
                </c:pt>
                <c:pt idx="1419">
                  <c:v>43634</c:v>
                </c:pt>
                <c:pt idx="1420">
                  <c:v>43633</c:v>
                </c:pt>
                <c:pt idx="1421">
                  <c:v>43630</c:v>
                </c:pt>
                <c:pt idx="1422">
                  <c:v>43629</c:v>
                </c:pt>
                <c:pt idx="1423">
                  <c:v>43628</c:v>
                </c:pt>
                <c:pt idx="1424">
                  <c:v>43627</c:v>
                </c:pt>
                <c:pt idx="1425">
                  <c:v>43626</c:v>
                </c:pt>
                <c:pt idx="1426">
                  <c:v>43623</c:v>
                </c:pt>
                <c:pt idx="1427">
                  <c:v>43622</c:v>
                </c:pt>
                <c:pt idx="1428">
                  <c:v>43621</c:v>
                </c:pt>
                <c:pt idx="1429">
                  <c:v>43620</c:v>
                </c:pt>
                <c:pt idx="1430">
                  <c:v>43619</c:v>
                </c:pt>
                <c:pt idx="1431">
                  <c:v>43616</c:v>
                </c:pt>
                <c:pt idx="1432">
                  <c:v>43615</c:v>
                </c:pt>
                <c:pt idx="1433">
                  <c:v>43614</c:v>
                </c:pt>
                <c:pt idx="1434">
                  <c:v>43613</c:v>
                </c:pt>
                <c:pt idx="1435">
                  <c:v>43612</c:v>
                </c:pt>
                <c:pt idx="1436">
                  <c:v>43609</c:v>
                </c:pt>
                <c:pt idx="1437">
                  <c:v>43608</c:v>
                </c:pt>
                <c:pt idx="1438">
                  <c:v>43607</c:v>
                </c:pt>
                <c:pt idx="1439">
                  <c:v>43606</c:v>
                </c:pt>
                <c:pt idx="1440">
                  <c:v>43605</c:v>
                </c:pt>
                <c:pt idx="1441">
                  <c:v>43602</c:v>
                </c:pt>
                <c:pt idx="1442">
                  <c:v>43601</c:v>
                </c:pt>
                <c:pt idx="1443">
                  <c:v>43600</c:v>
                </c:pt>
                <c:pt idx="1444">
                  <c:v>43599</c:v>
                </c:pt>
                <c:pt idx="1445">
                  <c:v>43598</c:v>
                </c:pt>
                <c:pt idx="1446">
                  <c:v>43595</c:v>
                </c:pt>
                <c:pt idx="1447">
                  <c:v>43594</c:v>
                </c:pt>
                <c:pt idx="1448">
                  <c:v>43593</c:v>
                </c:pt>
                <c:pt idx="1449">
                  <c:v>43592</c:v>
                </c:pt>
                <c:pt idx="1450">
                  <c:v>43591</c:v>
                </c:pt>
                <c:pt idx="1451">
                  <c:v>43588</c:v>
                </c:pt>
                <c:pt idx="1452">
                  <c:v>43587</c:v>
                </c:pt>
                <c:pt idx="1453">
                  <c:v>43586</c:v>
                </c:pt>
                <c:pt idx="1454">
                  <c:v>43585</c:v>
                </c:pt>
                <c:pt idx="1455">
                  <c:v>43584</c:v>
                </c:pt>
                <c:pt idx="1456">
                  <c:v>43581</c:v>
                </c:pt>
                <c:pt idx="1457">
                  <c:v>43580</c:v>
                </c:pt>
                <c:pt idx="1458">
                  <c:v>43579</c:v>
                </c:pt>
                <c:pt idx="1459">
                  <c:v>43578</c:v>
                </c:pt>
                <c:pt idx="1460">
                  <c:v>43577</c:v>
                </c:pt>
                <c:pt idx="1461">
                  <c:v>43574</c:v>
                </c:pt>
                <c:pt idx="1462">
                  <c:v>43573</c:v>
                </c:pt>
                <c:pt idx="1463">
                  <c:v>43572</c:v>
                </c:pt>
                <c:pt idx="1464">
                  <c:v>43571</c:v>
                </c:pt>
                <c:pt idx="1465">
                  <c:v>43570</c:v>
                </c:pt>
                <c:pt idx="1466">
                  <c:v>43567</c:v>
                </c:pt>
                <c:pt idx="1467">
                  <c:v>43566</c:v>
                </c:pt>
                <c:pt idx="1468">
                  <c:v>43565</c:v>
                </c:pt>
                <c:pt idx="1469">
                  <c:v>43564</c:v>
                </c:pt>
                <c:pt idx="1470">
                  <c:v>43563</c:v>
                </c:pt>
                <c:pt idx="1471">
                  <c:v>43560</c:v>
                </c:pt>
                <c:pt idx="1472">
                  <c:v>43559</c:v>
                </c:pt>
                <c:pt idx="1473">
                  <c:v>43558</c:v>
                </c:pt>
                <c:pt idx="1474">
                  <c:v>43557</c:v>
                </c:pt>
                <c:pt idx="1475">
                  <c:v>43556</c:v>
                </c:pt>
                <c:pt idx="1476">
                  <c:v>43553</c:v>
                </c:pt>
                <c:pt idx="1477">
                  <c:v>43552</c:v>
                </c:pt>
                <c:pt idx="1478">
                  <c:v>43551</c:v>
                </c:pt>
                <c:pt idx="1479">
                  <c:v>43550</c:v>
                </c:pt>
                <c:pt idx="1480">
                  <c:v>43549</c:v>
                </c:pt>
                <c:pt idx="1481">
                  <c:v>43546</c:v>
                </c:pt>
                <c:pt idx="1482">
                  <c:v>43545</c:v>
                </c:pt>
                <c:pt idx="1483">
                  <c:v>43544</c:v>
                </c:pt>
                <c:pt idx="1484">
                  <c:v>43543</c:v>
                </c:pt>
                <c:pt idx="1485">
                  <c:v>43542</c:v>
                </c:pt>
                <c:pt idx="1486">
                  <c:v>43539</c:v>
                </c:pt>
                <c:pt idx="1487">
                  <c:v>43538</c:v>
                </c:pt>
                <c:pt idx="1488">
                  <c:v>43537</c:v>
                </c:pt>
                <c:pt idx="1489">
                  <c:v>43536</c:v>
                </c:pt>
                <c:pt idx="1490">
                  <c:v>43535</c:v>
                </c:pt>
                <c:pt idx="1491">
                  <c:v>43532</c:v>
                </c:pt>
                <c:pt idx="1492">
                  <c:v>43531</c:v>
                </c:pt>
                <c:pt idx="1493">
                  <c:v>43530</c:v>
                </c:pt>
                <c:pt idx="1494">
                  <c:v>43529</c:v>
                </c:pt>
                <c:pt idx="1495">
                  <c:v>43528</c:v>
                </c:pt>
                <c:pt idx="1496">
                  <c:v>43525</c:v>
                </c:pt>
                <c:pt idx="1497">
                  <c:v>43524</c:v>
                </c:pt>
                <c:pt idx="1498">
                  <c:v>43523</c:v>
                </c:pt>
                <c:pt idx="1499">
                  <c:v>43522</c:v>
                </c:pt>
                <c:pt idx="1500">
                  <c:v>43521</c:v>
                </c:pt>
                <c:pt idx="1501">
                  <c:v>43518</c:v>
                </c:pt>
                <c:pt idx="1502">
                  <c:v>43517</c:v>
                </c:pt>
                <c:pt idx="1503">
                  <c:v>43516</c:v>
                </c:pt>
                <c:pt idx="1504">
                  <c:v>43515</c:v>
                </c:pt>
                <c:pt idx="1505">
                  <c:v>43514</c:v>
                </c:pt>
                <c:pt idx="1506">
                  <c:v>43511</c:v>
                </c:pt>
                <c:pt idx="1507">
                  <c:v>43510</c:v>
                </c:pt>
                <c:pt idx="1508">
                  <c:v>43509</c:v>
                </c:pt>
                <c:pt idx="1509">
                  <c:v>43508</c:v>
                </c:pt>
                <c:pt idx="1510">
                  <c:v>43507</c:v>
                </c:pt>
                <c:pt idx="1511">
                  <c:v>43504</c:v>
                </c:pt>
                <c:pt idx="1512">
                  <c:v>43503</c:v>
                </c:pt>
                <c:pt idx="1513">
                  <c:v>43502</c:v>
                </c:pt>
                <c:pt idx="1514">
                  <c:v>43501</c:v>
                </c:pt>
                <c:pt idx="1515">
                  <c:v>43500</c:v>
                </c:pt>
                <c:pt idx="1516">
                  <c:v>43497</c:v>
                </c:pt>
                <c:pt idx="1517">
                  <c:v>43496</c:v>
                </c:pt>
                <c:pt idx="1518">
                  <c:v>43495</c:v>
                </c:pt>
                <c:pt idx="1519">
                  <c:v>43494</c:v>
                </c:pt>
                <c:pt idx="1520">
                  <c:v>43493</c:v>
                </c:pt>
                <c:pt idx="1521">
                  <c:v>43490</c:v>
                </c:pt>
                <c:pt idx="1522">
                  <c:v>43489</c:v>
                </c:pt>
                <c:pt idx="1523">
                  <c:v>43488</c:v>
                </c:pt>
                <c:pt idx="1524">
                  <c:v>43487</c:v>
                </c:pt>
                <c:pt idx="1525">
                  <c:v>43486</c:v>
                </c:pt>
                <c:pt idx="1526">
                  <c:v>43483</c:v>
                </c:pt>
                <c:pt idx="1527">
                  <c:v>43482</c:v>
                </c:pt>
                <c:pt idx="1528">
                  <c:v>43481</c:v>
                </c:pt>
                <c:pt idx="1529">
                  <c:v>43480</c:v>
                </c:pt>
                <c:pt idx="1530">
                  <c:v>43479</c:v>
                </c:pt>
                <c:pt idx="1531">
                  <c:v>43476</c:v>
                </c:pt>
                <c:pt idx="1532">
                  <c:v>43475</c:v>
                </c:pt>
                <c:pt idx="1533">
                  <c:v>43474</c:v>
                </c:pt>
                <c:pt idx="1534">
                  <c:v>43473</c:v>
                </c:pt>
                <c:pt idx="1535">
                  <c:v>43472</c:v>
                </c:pt>
                <c:pt idx="1536">
                  <c:v>43469</c:v>
                </c:pt>
                <c:pt idx="1537">
                  <c:v>43468</c:v>
                </c:pt>
                <c:pt idx="1538">
                  <c:v>43467</c:v>
                </c:pt>
                <c:pt idx="1539">
                  <c:v>43466</c:v>
                </c:pt>
                <c:pt idx="1540">
                  <c:v>43465</c:v>
                </c:pt>
                <c:pt idx="1541">
                  <c:v>43462</c:v>
                </c:pt>
                <c:pt idx="1542">
                  <c:v>43461</c:v>
                </c:pt>
                <c:pt idx="1543">
                  <c:v>43460</c:v>
                </c:pt>
                <c:pt idx="1544">
                  <c:v>43459</c:v>
                </c:pt>
                <c:pt idx="1545">
                  <c:v>43458</c:v>
                </c:pt>
                <c:pt idx="1546">
                  <c:v>43455</c:v>
                </c:pt>
                <c:pt idx="1547">
                  <c:v>43454</c:v>
                </c:pt>
                <c:pt idx="1548">
                  <c:v>43453</c:v>
                </c:pt>
                <c:pt idx="1549">
                  <c:v>43452</c:v>
                </c:pt>
                <c:pt idx="1550">
                  <c:v>43451</c:v>
                </c:pt>
                <c:pt idx="1551">
                  <c:v>43448</c:v>
                </c:pt>
                <c:pt idx="1552">
                  <c:v>43447</c:v>
                </c:pt>
                <c:pt idx="1553">
                  <c:v>43446</c:v>
                </c:pt>
                <c:pt idx="1554">
                  <c:v>43445</c:v>
                </c:pt>
                <c:pt idx="1555">
                  <c:v>43444</c:v>
                </c:pt>
                <c:pt idx="1556">
                  <c:v>43441</c:v>
                </c:pt>
                <c:pt idx="1557">
                  <c:v>43440</c:v>
                </c:pt>
                <c:pt idx="1558">
                  <c:v>43439</c:v>
                </c:pt>
                <c:pt idx="1559">
                  <c:v>43438</c:v>
                </c:pt>
                <c:pt idx="1560">
                  <c:v>43437</c:v>
                </c:pt>
                <c:pt idx="1561">
                  <c:v>43434</c:v>
                </c:pt>
                <c:pt idx="1562">
                  <c:v>43433</c:v>
                </c:pt>
                <c:pt idx="1563">
                  <c:v>43432</c:v>
                </c:pt>
                <c:pt idx="1564">
                  <c:v>43431</c:v>
                </c:pt>
                <c:pt idx="1565">
                  <c:v>43430</c:v>
                </c:pt>
                <c:pt idx="1566">
                  <c:v>43427</c:v>
                </c:pt>
                <c:pt idx="1567">
                  <c:v>43426</c:v>
                </c:pt>
                <c:pt idx="1568">
                  <c:v>43425</c:v>
                </c:pt>
                <c:pt idx="1569">
                  <c:v>43424</c:v>
                </c:pt>
                <c:pt idx="1570">
                  <c:v>43423</c:v>
                </c:pt>
                <c:pt idx="1571">
                  <c:v>43420</c:v>
                </c:pt>
                <c:pt idx="1572">
                  <c:v>43419</c:v>
                </c:pt>
                <c:pt idx="1573">
                  <c:v>43418</c:v>
                </c:pt>
                <c:pt idx="1574">
                  <c:v>43417</c:v>
                </c:pt>
                <c:pt idx="1575">
                  <c:v>43416</c:v>
                </c:pt>
                <c:pt idx="1576">
                  <c:v>43413</c:v>
                </c:pt>
                <c:pt idx="1577">
                  <c:v>43412</c:v>
                </c:pt>
                <c:pt idx="1578">
                  <c:v>43411</c:v>
                </c:pt>
                <c:pt idx="1579">
                  <c:v>43410</c:v>
                </c:pt>
                <c:pt idx="1580">
                  <c:v>43409</c:v>
                </c:pt>
                <c:pt idx="1581">
                  <c:v>43406</c:v>
                </c:pt>
                <c:pt idx="1582">
                  <c:v>43405</c:v>
                </c:pt>
                <c:pt idx="1583">
                  <c:v>43404</c:v>
                </c:pt>
                <c:pt idx="1584">
                  <c:v>43403</c:v>
                </c:pt>
                <c:pt idx="1585">
                  <c:v>43402</c:v>
                </c:pt>
                <c:pt idx="1586">
                  <c:v>43399</c:v>
                </c:pt>
                <c:pt idx="1587">
                  <c:v>43398</c:v>
                </c:pt>
                <c:pt idx="1588">
                  <c:v>43397</c:v>
                </c:pt>
                <c:pt idx="1589">
                  <c:v>43396</c:v>
                </c:pt>
                <c:pt idx="1590">
                  <c:v>43395</c:v>
                </c:pt>
                <c:pt idx="1591">
                  <c:v>43392</c:v>
                </c:pt>
                <c:pt idx="1592">
                  <c:v>43391</c:v>
                </c:pt>
                <c:pt idx="1593">
                  <c:v>43390</c:v>
                </c:pt>
                <c:pt idx="1594">
                  <c:v>43389</c:v>
                </c:pt>
                <c:pt idx="1595">
                  <c:v>43388</c:v>
                </c:pt>
                <c:pt idx="1596">
                  <c:v>43385</c:v>
                </c:pt>
                <c:pt idx="1597">
                  <c:v>43384</c:v>
                </c:pt>
                <c:pt idx="1598">
                  <c:v>43383</c:v>
                </c:pt>
                <c:pt idx="1599">
                  <c:v>43382</c:v>
                </c:pt>
                <c:pt idx="1600">
                  <c:v>43381</c:v>
                </c:pt>
                <c:pt idx="1601">
                  <c:v>43378</c:v>
                </c:pt>
                <c:pt idx="1602">
                  <c:v>43377</c:v>
                </c:pt>
                <c:pt idx="1603">
                  <c:v>43376</c:v>
                </c:pt>
                <c:pt idx="1604">
                  <c:v>43375</c:v>
                </c:pt>
                <c:pt idx="1605">
                  <c:v>43374</c:v>
                </c:pt>
                <c:pt idx="1606">
                  <c:v>43371</c:v>
                </c:pt>
                <c:pt idx="1607">
                  <c:v>43370</c:v>
                </c:pt>
                <c:pt idx="1608">
                  <c:v>43369</c:v>
                </c:pt>
                <c:pt idx="1609">
                  <c:v>43368</c:v>
                </c:pt>
                <c:pt idx="1610">
                  <c:v>43367</c:v>
                </c:pt>
                <c:pt idx="1611">
                  <c:v>43364</c:v>
                </c:pt>
                <c:pt idx="1612">
                  <c:v>43363</c:v>
                </c:pt>
                <c:pt idx="1613">
                  <c:v>43362</c:v>
                </c:pt>
                <c:pt idx="1614">
                  <c:v>43361</c:v>
                </c:pt>
                <c:pt idx="1615">
                  <c:v>43360</c:v>
                </c:pt>
                <c:pt idx="1616">
                  <c:v>43357</c:v>
                </c:pt>
                <c:pt idx="1617">
                  <c:v>43356</c:v>
                </c:pt>
                <c:pt idx="1618">
                  <c:v>43355</c:v>
                </c:pt>
                <c:pt idx="1619">
                  <c:v>43354</c:v>
                </c:pt>
                <c:pt idx="1620">
                  <c:v>43353</c:v>
                </c:pt>
                <c:pt idx="1621">
                  <c:v>43350</c:v>
                </c:pt>
                <c:pt idx="1622">
                  <c:v>43349</c:v>
                </c:pt>
                <c:pt idx="1623">
                  <c:v>43348</c:v>
                </c:pt>
                <c:pt idx="1624">
                  <c:v>43347</c:v>
                </c:pt>
                <c:pt idx="1625">
                  <c:v>43346</c:v>
                </c:pt>
                <c:pt idx="1626">
                  <c:v>43343</c:v>
                </c:pt>
                <c:pt idx="1627">
                  <c:v>43342</c:v>
                </c:pt>
                <c:pt idx="1628">
                  <c:v>43341</c:v>
                </c:pt>
                <c:pt idx="1629">
                  <c:v>43340</c:v>
                </c:pt>
                <c:pt idx="1630">
                  <c:v>43339</c:v>
                </c:pt>
                <c:pt idx="1631">
                  <c:v>43336</c:v>
                </c:pt>
                <c:pt idx="1632">
                  <c:v>43335</c:v>
                </c:pt>
                <c:pt idx="1633">
                  <c:v>43334</c:v>
                </c:pt>
                <c:pt idx="1634">
                  <c:v>43333</c:v>
                </c:pt>
                <c:pt idx="1635">
                  <c:v>43332</c:v>
                </c:pt>
                <c:pt idx="1636">
                  <c:v>43329</c:v>
                </c:pt>
                <c:pt idx="1637">
                  <c:v>43328</c:v>
                </c:pt>
                <c:pt idx="1638">
                  <c:v>43327</c:v>
                </c:pt>
                <c:pt idx="1639">
                  <c:v>43326</c:v>
                </c:pt>
                <c:pt idx="1640">
                  <c:v>43325</c:v>
                </c:pt>
                <c:pt idx="1641">
                  <c:v>43322</c:v>
                </c:pt>
                <c:pt idx="1642">
                  <c:v>43321</c:v>
                </c:pt>
                <c:pt idx="1643">
                  <c:v>43320</c:v>
                </c:pt>
                <c:pt idx="1644">
                  <c:v>43319</c:v>
                </c:pt>
                <c:pt idx="1645">
                  <c:v>43318</c:v>
                </c:pt>
                <c:pt idx="1646">
                  <c:v>43315</c:v>
                </c:pt>
                <c:pt idx="1647">
                  <c:v>43314</c:v>
                </c:pt>
                <c:pt idx="1648">
                  <c:v>43313</c:v>
                </c:pt>
                <c:pt idx="1649">
                  <c:v>43312</c:v>
                </c:pt>
                <c:pt idx="1650">
                  <c:v>43311</c:v>
                </c:pt>
                <c:pt idx="1651">
                  <c:v>43308</c:v>
                </c:pt>
                <c:pt idx="1652">
                  <c:v>43307</c:v>
                </c:pt>
                <c:pt idx="1653">
                  <c:v>43306</c:v>
                </c:pt>
                <c:pt idx="1654">
                  <c:v>43305</c:v>
                </c:pt>
                <c:pt idx="1655">
                  <c:v>43304</c:v>
                </c:pt>
                <c:pt idx="1656">
                  <c:v>43301</c:v>
                </c:pt>
                <c:pt idx="1657">
                  <c:v>43300</c:v>
                </c:pt>
                <c:pt idx="1658">
                  <c:v>43299</c:v>
                </c:pt>
                <c:pt idx="1659">
                  <c:v>43298</c:v>
                </c:pt>
                <c:pt idx="1660">
                  <c:v>43297</c:v>
                </c:pt>
                <c:pt idx="1661">
                  <c:v>43294</c:v>
                </c:pt>
                <c:pt idx="1662">
                  <c:v>43293</c:v>
                </c:pt>
                <c:pt idx="1663">
                  <c:v>43292</c:v>
                </c:pt>
                <c:pt idx="1664">
                  <c:v>43291</c:v>
                </c:pt>
                <c:pt idx="1665">
                  <c:v>43290</c:v>
                </c:pt>
                <c:pt idx="1666">
                  <c:v>43287</c:v>
                </c:pt>
                <c:pt idx="1667">
                  <c:v>43286</c:v>
                </c:pt>
                <c:pt idx="1668">
                  <c:v>43285</c:v>
                </c:pt>
                <c:pt idx="1669">
                  <c:v>43284</c:v>
                </c:pt>
                <c:pt idx="1670">
                  <c:v>43283</c:v>
                </c:pt>
                <c:pt idx="1671">
                  <c:v>43280</c:v>
                </c:pt>
                <c:pt idx="1672">
                  <c:v>43279</c:v>
                </c:pt>
                <c:pt idx="1673">
                  <c:v>43278</c:v>
                </c:pt>
                <c:pt idx="1674">
                  <c:v>43277</c:v>
                </c:pt>
                <c:pt idx="1675">
                  <c:v>43276</c:v>
                </c:pt>
                <c:pt idx="1676">
                  <c:v>43273</c:v>
                </c:pt>
                <c:pt idx="1677">
                  <c:v>43272</c:v>
                </c:pt>
                <c:pt idx="1678">
                  <c:v>43271</c:v>
                </c:pt>
                <c:pt idx="1679">
                  <c:v>43270</c:v>
                </c:pt>
                <c:pt idx="1680">
                  <c:v>43269</c:v>
                </c:pt>
                <c:pt idx="1681">
                  <c:v>43266</c:v>
                </c:pt>
                <c:pt idx="1682">
                  <c:v>43265</c:v>
                </c:pt>
                <c:pt idx="1683">
                  <c:v>43264</c:v>
                </c:pt>
                <c:pt idx="1684">
                  <c:v>43263</c:v>
                </c:pt>
                <c:pt idx="1685">
                  <c:v>43262</c:v>
                </c:pt>
                <c:pt idx="1686">
                  <c:v>43259</c:v>
                </c:pt>
                <c:pt idx="1687">
                  <c:v>43258</c:v>
                </c:pt>
                <c:pt idx="1688">
                  <c:v>43257</c:v>
                </c:pt>
                <c:pt idx="1689">
                  <c:v>43256</c:v>
                </c:pt>
                <c:pt idx="1690">
                  <c:v>43255</c:v>
                </c:pt>
                <c:pt idx="1691">
                  <c:v>43252</c:v>
                </c:pt>
                <c:pt idx="1692">
                  <c:v>43251</c:v>
                </c:pt>
                <c:pt idx="1693">
                  <c:v>43250</c:v>
                </c:pt>
                <c:pt idx="1694">
                  <c:v>43249</c:v>
                </c:pt>
                <c:pt idx="1695">
                  <c:v>43248</c:v>
                </c:pt>
                <c:pt idx="1696">
                  <c:v>43245</c:v>
                </c:pt>
                <c:pt idx="1697">
                  <c:v>43244</c:v>
                </c:pt>
                <c:pt idx="1698">
                  <c:v>43243</c:v>
                </c:pt>
                <c:pt idx="1699">
                  <c:v>43242</c:v>
                </c:pt>
                <c:pt idx="1700">
                  <c:v>43241</c:v>
                </c:pt>
                <c:pt idx="1701">
                  <c:v>43238</c:v>
                </c:pt>
                <c:pt idx="1702">
                  <c:v>43237</c:v>
                </c:pt>
                <c:pt idx="1703">
                  <c:v>43236</c:v>
                </c:pt>
                <c:pt idx="1704">
                  <c:v>43235</c:v>
                </c:pt>
                <c:pt idx="1705">
                  <c:v>43234</c:v>
                </c:pt>
                <c:pt idx="1706">
                  <c:v>43231</c:v>
                </c:pt>
                <c:pt idx="1707">
                  <c:v>43230</c:v>
                </c:pt>
                <c:pt idx="1708">
                  <c:v>43229</c:v>
                </c:pt>
                <c:pt idx="1709">
                  <c:v>43228</c:v>
                </c:pt>
                <c:pt idx="1710">
                  <c:v>43227</c:v>
                </c:pt>
                <c:pt idx="1711">
                  <c:v>43224</c:v>
                </c:pt>
                <c:pt idx="1712">
                  <c:v>43223</c:v>
                </c:pt>
                <c:pt idx="1713">
                  <c:v>43222</c:v>
                </c:pt>
                <c:pt idx="1714">
                  <c:v>43221</c:v>
                </c:pt>
                <c:pt idx="1715">
                  <c:v>43220</c:v>
                </c:pt>
                <c:pt idx="1716">
                  <c:v>43217</c:v>
                </c:pt>
                <c:pt idx="1717">
                  <c:v>43216</c:v>
                </c:pt>
                <c:pt idx="1718">
                  <c:v>43215</c:v>
                </c:pt>
                <c:pt idx="1719">
                  <c:v>43214</c:v>
                </c:pt>
                <c:pt idx="1720">
                  <c:v>43213</c:v>
                </c:pt>
                <c:pt idx="1721">
                  <c:v>43210</c:v>
                </c:pt>
                <c:pt idx="1722">
                  <c:v>43209</c:v>
                </c:pt>
                <c:pt idx="1723">
                  <c:v>43208</c:v>
                </c:pt>
                <c:pt idx="1724">
                  <c:v>43207</c:v>
                </c:pt>
                <c:pt idx="1725">
                  <c:v>43206</c:v>
                </c:pt>
                <c:pt idx="1726">
                  <c:v>43203</c:v>
                </c:pt>
                <c:pt idx="1727">
                  <c:v>43202</c:v>
                </c:pt>
                <c:pt idx="1728">
                  <c:v>43201</c:v>
                </c:pt>
                <c:pt idx="1729">
                  <c:v>43200</c:v>
                </c:pt>
                <c:pt idx="1730">
                  <c:v>43199</c:v>
                </c:pt>
                <c:pt idx="1731">
                  <c:v>43196</c:v>
                </c:pt>
                <c:pt idx="1732">
                  <c:v>43195</c:v>
                </c:pt>
                <c:pt idx="1733">
                  <c:v>43194</c:v>
                </c:pt>
                <c:pt idx="1734">
                  <c:v>43193</c:v>
                </c:pt>
                <c:pt idx="1735">
                  <c:v>43192</c:v>
                </c:pt>
                <c:pt idx="1736">
                  <c:v>43189</c:v>
                </c:pt>
                <c:pt idx="1737">
                  <c:v>43188</c:v>
                </c:pt>
                <c:pt idx="1738">
                  <c:v>43187</c:v>
                </c:pt>
                <c:pt idx="1739">
                  <c:v>43186</c:v>
                </c:pt>
                <c:pt idx="1740">
                  <c:v>43185</c:v>
                </c:pt>
                <c:pt idx="1741">
                  <c:v>43182</c:v>
                </c:pt>
                <c:pt idx="1742">
                  <c:v>43181</c:v>
                </c:pt>
                <c:pt idx="1743">
                  <c:v>43180</c:v>
                </c:pt>
                <c:pt idx="1744">
                  <c:v>43179</c:v>
                </c:pt>
                <c:pt idx="1745">
                  <c:v>43178</c:v>
                </c:pt>
                <c:pt idx="1746">
                  <c:v>43175</c:v>
                </c:pt>
                <c:pt idx="1747">
                  <c:v>43174</c:v>
                </c:pt>
                <c:pt idx="1748">
                  <c:v>43173</c:v>
                </c:pt>
                <c:pt idx="1749">
                  <c:v>43172</c:v>
                </c:pt>
                <c:pt idx="1750">
                  <c:v>43171</c:v>
                </c:pt>
                <c:pt idx="1751">
                  <c:v>43168</c:v>
                </c:pt>
                <c:pt idx="1752">
                  <c:v>43167</c:v>
                </c:pt>
                <c:pt idx="1753">
                  <c:v>43166</c:v>
                </c:pt>
                <c:pt idx="1754">
                  <c:v>43165</c:v>
                </c:pt>
                <c:pt idx="1755">
                  <c:v>43164</c:v>
                </c:pt>
                <c:pt idx="1756">
                  <c:v>43161</c:v>
                </c:pt>
                <c:pt idx="1757">
                  <c:v>43160</c:v>
                </c:pt>
                <c:pt idx="1758">
                  <c:v>43159</c:v>
                </c:pt>
                <c:pt idx="1759">
                  <c:v>43158</c:v>
                </c:pt>
                <c:pt idx="1760">
                  <c:v>43157</c:v>
                </c:pt>
                <c:pt idx="1761">
                  <c:v>43154</c:v>
                </c:pt>
                <c:pt idx="1762">
                  <c:v>43153</c:v>
                </c:pt>
                <c:pt idx="1763">
                  <c:v>43152</c:v>
                </c:pt>
                <c:pt idx="1764">
                  <c:v>43151</c:v>
                </c:pt>
                <c:pt idx="1765">
                  <c:v>43150</c:v>
                </c:pt>
                <c:pt idx="1766">
                  <c:v>43147</c:v>
                </c:pt>
                <c:pt idx="1767">
                  <c:v>43146</c:v>
                </c:pt>
                <c:pt idx="1768">
                  <c:v>43145</c:v>
                </c:pt>
                <c:pt idx="1769">
                  <c:v>43144</c:v>
                </c:pt>
                <c:pt idx="1770">
                  <c:v>43143</c:v>
                </c:pt>
                <c:pt idx="1771">
                  <c:v>43140</c:v>
                </c:pt>
                <c:pt idx="1772">
                  <c:v>43139</c:v>
                </c:pt>
                <c:pt idx="1773">
                  <c:v>43138</c:v>
                </c:pt>
                <c:pt idx="1774">
                  <c:v>43137</c:v>
                </c:pt>
                <c:pt idx="1775">
                  <c:v>43136</c:v>
                </c:pt>
                <c:pt idx="1776">
                  <c:v>43133</c:v>
                </c:pt>
                <c:pt idx="1777">
                  <c:v>43132</c:v>
                </c:pt>
                <c:pt idx="1778">
                  <c:v>43131</c:v>
                </c:pt>
                <c:pt idx="1779">
                  <c:v>43130</c:v>
                </c:pt>
                <c:pt idx="1780">
                  <c:v>43129</c:v>
                </c:pt>
                <c:pt idx="1781">
                  <c:v>43126</c:v>
                </c:pt>
                <c:pt idx="1782">
                  <c:v>43125</c:v>
                </c:pt>
                <c:pt idx="1783">
                  <c:v>43124</c:v>
                </c:pt>
                <c:pt idx="1784">
                  <c:v>43123</c:v>
                </c:pt>
                <c:pt idx="1785">
                  <c:v>43122</c:v>
                </c:pt>
                <c:pt idx="1786">
                  <c:v>43119</c:v>
                </c:pt>
                <c:pt idx="1787">
                  <c:v>43118</c:v>
                </c:pt>
                <c:pt idx="1788">
                  <c:v>43117</c:v>
                </c:pt>
                <c:pt idx="1789">
                  <c:v>43116</c:v>
                </c:pt>
                <c:pt idx="1790">
                  <c:v>43115</c:v>
                </c:pt>
                <c:pt idx="1791">
                  <c:v>43112</c:v>
                </c:pt>
                <c:pt idx="1792">
                  <c:v>43111</c:v>
                </c:pt>
                <c:pt idx="1793">
                  <c:v>43110</c:v>
                </c:pt>
                <c:pt idx="1794">
                  <c:v>43109</c:v>
                </c:pt>
                <c:pt idx="1795">
                  <c:v>43108</c:v>
                </c:pt>
                <c:pt idx="1796">
                  <c:v>43105</c:v>
                </c:pt>
                <c:pt idx="1797">
                  <c:v>43104</c:v>
                </c:pt>
                <c:pt idx="1798">
                  <c:v>43103</c:v>
                </c:pt>
                <c:pt idx="1799">
                  <c:v>43102</c:v>
                </c:pt>
                <c:pt idx="1800">
                  <c:v>43101</c:v>
                </c:pt>
                <c:pt idx="1801">
                  <c:v>43098</c:v>
                </c:pt>
                <c:pt idx="1802">
                  <c:v>43097</c:v>
                </c:pt>
                <c:pt idx="1803">
                  <c:v>43096</c:v>
                </c:pt>
                <c:pt idx="1804">
                  <c:v>43095</c:v>
                </c:pt>
                <c:pt idx="1805">
                  <c:v>43094</c:v>
                </c:pt>
                <c:pt idx="1806">
                  <c:v>43091</c:v>
                </c:pt>
                <c:pt idx="1807">
                  <c:v>43090</c:v>
                </c:pt>
                <c:pt idx="1808">
                  <c:v>43089</c:v>
                </c:pt>
                <c:pt idx="1809">
                  <c:v>43088</c:v>
                </c:pt>
                <c:pt idx="1810">
                  <c:v>43087</c:v>
                </c:pt>
                <c:pt idx="1811">
                  <c:v>43084</c:v>
                </c:pt>
                <c:pt idx="1812">
                  <c:v>43083</c:v>
                </c:pt>
                <c:pt idx="1813">
                  <c:v>43082</c:v>
                </c:pt>
                <c:pt idx="1814">
                  <c:v>43081</c:v>
                </c:pt>
                <c:pt idx="1815">
                  <c:v>43080</c:v>
                </c:pt>
                <c:pt idx="1816">
                  <c:v>43077</c:v>
                </c:pt>
                <c:pt idx="1817">
                  <c:v>43076</c:v>
                </c:pt>
                <c:pt idx="1818">
                  <c:v>43075</c:v>
                </c:pt>
                <c:pt idx="1819">
                  <c:v>43074</c:v>
                </c:pt>
                <c:pt idx="1820">
                  <c:v>43073</c:v>
                </c:pt>
                <c:pt idx="1821">
                  <c:v>43070</c:v>
                </c:pt>
                <c:pt idx="1822">
                  <c:v>43069</c:v>
                </c:pt>
                <c:pt idx="1823">
                  <c:v>43068</c:v>
                </c:pt>
                <c:pt idx="1824">
                  <c:v>43067</c:v>
                </c:pt>
                <c:pt idx="1825">
                  <c:v>43066</c:v>
                </c:pt>
                <c:pt idx="1826">
                  <c:v>43063</c:v>
                </c:pt>
                <c:pt idx="1827">
                  <c:v>43062</c:v>
                </c:pt>
                <c:pt idx="1828">
                  <c:v>43061</c:v>
                </c:pt>
                <c:pt idx="1829">
                  <c:v>43060</c:v>
                </c:pt>
                <c:pt idx="1830">
                  <c:v>43059</c:v>
                </c:pt>
                <c:pt idx="1831">
                  <c:v>43056</c:v>
                </c:pt>
                <c:pt idx="1832">
                  <c:v>43055</c:v>
                </c:pt>
                <c:pt idx="1833">
                  <c:v>43054</c:v>
                </c:pt>
                <c:pt idx="1834">
                  <c:v>43053</c:v>
                </c:pt>
                <c:pt idx="1835">
                  <c:v>43052</c:v>
                </c:pt>
                <c:pt idx="1836">
                  <c:v>43049</c:v>
                </c:pt>
                <c:pt idx="1837">
                  <c:v>43048</c:v>
                </c:pt>
                <c:pt idx="1838">
                  <c:v>43047</c:v>
                </c:pt>
                <c:pt idx="1839">
                  <c:v>43046</c:v>
                </c:pt>
                <c:pt idx="1840">
                  <c:v>43045</c:v>
                </c:pt>
                <c:pt idx="1841">
                  <c:v>43042</c:v>
                </c:pt>
                <c:pt idx="1842">
                  <c:v>43041</c:v>
                </c:pt>
                <c:pt idx="1843">
                  <c:v>43040</c:v>
                </c:pt>
                <c:pt idx="1844">
                  <c:v>43039</c:v>
                </c:pt>
                <c:pt idx="1845">
                  <c:v>43038</c:v>
                </c:pt>
                <c:pt idx="1846">
                  <c:v>43035</c:v>
                </c:pt>
                <c:pt idx="1847">
                  <c:v>43034</c:v>
                </c:pt>
                <c:pt idx="1848">
                  <c:v>43033</c:v>
                </c:pt>
                <c:pt idx="1849">
                  <c:v>43032</c:v>
                </c:pt>
                <c:pt idx="1850">
                  <c:v>43031</c:v>
                </c:pt>
                <c:pt idx="1851">
                  <c:v>43028</c:v>
                </c:pt>
                <c:pt idx="1852">
                  <c:v>43027</c:v>
                </c:pt>
                <c:pt idx="1853">
                  <c:v>43026</c:v>
                </c:pt>
                <c:pt idx="1854">
                  <c:v>43025</c:v>
                </c:pt>
                <c:pt idx="1855">
                  <c:v>43024</c:v>
                </c:pt>
                <c:pt idx="1856">
                  <c:v>43021</c:v>
                </c:pt>
                <c:pt idx="1857">
                  <c:v>43020</c:v>
                </c:pt>
                <c:pt idx="1858">
                  <c:v>43019</c:v>
                </c:pt>
                <c:pt idx="1859">
                  <c:v>43018</c:v>
                </c:pt>
                <c:pt idx="1860">
                  <c:v>43017</c:v>
                </c:pt>
                <c:pt idx="1861">
                  <c:v>43014</c:v>
                </c:pt>
                <c:pt idx="1862">
                  <c:v>43013</c:v>
                </c:pt>
                <c:pt idx="1863">
                  <c:v>43012</c:v>
                </c:pt>
                <c:pt idx="1864">
                  <c:v>43011</c:v>
                </c:pt>
                <c:pt idx="1865">
                  <c:v>43010</c:v>
                </c:pt>
                <c:pt idx="1866">
                  <c:v>43007</c:v>
                </c:pt>
                <c:pt idx="1867">
                  <c:v>43006</c:v>
                </c:pt>
                <c:pt idx="1868">
                  <c:v>43005</c:v>
                </c:pt>
                <c:pt idx="1869">
                  <c:v>43004</c:v>
                </c:pt>
                <c:pt idx="1870">
                  <c:v>43003</c:v>
                </c:pt>
                <c:pt idx="1871">
                  <c:v>43000</c:v>
                </c:pt>
                <c:pt idx="1872">
                  <c:v>42999</c:v>
                </c:pt>
                <c:pt idx="1873">
                  <c:v>42998</c:v>
                </c:pt>
                <c:pt idx="1874">
                  <c:v>42997</c:v>
                </c:pt>
                <c:pt idx="1875">
                  <c:v>42996</c:v>
                </c:pt>
                <c:pt idx="1876">
                  <c:v>42993</c:v>
                </c:pt>
                <c:pt idx="1877">
                  <c:v>42992</c:v>
                </c:pt>
                <c:pt idx="1878">
                  <c:v>42991</c:v>
                </c:pt>
                <c:pt idx="1879">
                  <c:v>42990</c:v>
                </c:pt>
                <c:pt idx="1880">
                  <c:v>42989</c:v>
                </c:pt>
                <c:pt idx="1881">
                  <c:v>42986</c:v>
                </c:pt>
                <c:pt idx="1882">
                  <c:v>42985</c:v>
                </c:pt>
                <c:pt idx="1883">
                  <c:v>42984</c:v>
                </c:pt>
                <c:pt idx="1884">
                  <c:v>42983</c:v>
                </c:pt>
                <c:pt idx="1885">
                  <c:v>42982</c:v>
                </c:pt>
                <c:pt idx="1886">
                  <c:v>42979</c:v>
                </c:pt>
                <c:pt idx="1887">
                  <c:v>42978</c:v>
                </c:pt>
                <c:pt idx="1888">
                  <c:v>42977</c:v>
                </c:pt>
                <c:pt idx="1889">
                  <c:v>42976</c:v>
                </c:pt>
                <c:pt idx="1890">
                  <c:v>42975</c:v>
                </c:pt>
                <c:pt idx="1891">
                  <c:v>42972</c:v>
                </c:pt>
                <c:pt idx="1892">
                  <c:v>42971</c:v>
                </c:pt>
                <c:pt idx="1893">
                  <c:v>42970</c:v>
                </c:pt>
                <c:pt idx="1894">
                  <c:v>42969</c:v>
                </c:pt>
                <c:pt idx="1895">
                  <c:v>42968</c:v>
                </c:pt>
                <c:pt idx="1896">
                  <c:v>42965</c:v>
                </c:pt>
                <c:pt idx="1897">
                  <c:v>42964</c:v>
                </c:pt>
                <c:pt idx="1898">
                  <c:v>42963</c:v>
                </c:pt>
                <c:pt idx="1899">
                  <c:v>42962</c:v>
                </c:pt>
                <c:pt idx="1900">
                  <c:v>42961</c:v>
                </c:pt>
                <c:pt idx="1901">
                  <c:v>42958</c:v>
                </c:pt>
                <c:pt idx="1902">
                  <c:v>42957</c:v>
                </c:pt>
                <c:pt idx="1903">
                  <c:v>42956</c:v>
                </c:pt>
                <c:pt idx="1904">
                  <c:v>42955</c:v>
                </c:pt>
                <c:pt idx="1905">
                  <c:v>42954</c:v>
                </c:pt>
                <c:pt idx="1906">
                  <c:v>42951</c:v>
                </c:pt>
                <c:pt idx="1907">
                  <c:v>42950</c:v>
                </c:pt>
                <c:pt idx="1908">
                  <c:v>42949</c:v>
                </c:pt>
                <c:pt idx="1909">
                  <c:v>42948</c:v>
                </c:pt>
                <c:pt idx="1910">
                  <c:v>42947</c:v>
                </c:pt>
                <c:pt idx="1911">
                  <c:v>42944</c:v>
                </c:pt>
                <c:pt idx="1912">
                  <c:v>42943</c:v>
                </c:pt>
                <c:pt idx="1913">
                  <c:v>42942</c:v>
                </c:pt>
                <c:pt idx="1914">
                  <c:v>42941</c:v>
                </c:pt>
                <c:pt idx="1915">
                  <c:v>42940</c:v>
                </c:pt>
                <c:pt idx="1916">
                  <c:v>42937</c:v>
                </c:pt>
                <c:pt idx="1917">
                  <c:v>42936</c:v>
                </c:pt>
                <c:pt idx="1918">
                  <c:v>42935</c:v>
                </c:pt>
                <c:pt idx="1919">
                  <c:v>42934</c:v>
                </c:pt>
                <c:pt idx="1920">
                  <c:v>42933</c:v>
                </c:pt>
                <c:pt idx="1921">
                  <c:v>42930</c:v>
                </c:pt>
                <c:pt idx="1922">
                  <c:v>42929</c:v>
                </c:pt>
                <c:pt idx="1923">
                  <c:v>42928</c:v>
                </c:pt>
                <c:pt idx="1924">
                  <c:v>42927</c:v>
                </c:pt>
                <c:pt idx="1925">
                  <c:v>42926</c:v>
                </c:pt>
                <c:pt idx="1926">
                  <c:v>42923</c:v>
                </c:pt>
                <c:pt idx="1927">
                  <c:v>42922</c:v>
                </c:pt>
                <c:pt idx="1928">
                  <c:v>42921</c:v>
                </c:pt>
                <c:pt idx="1929">
                  <c:v>42920</c:v>
                </c:pt>
                <c:pt idx="1930">
                  <c:v>42919</c:v>
                </c:pt>
                <c:pt idx="1931">
                  <c:v>42916</c:v>
                </c:pt>
                <c:pt idx="1932">
                  <c:v>42915</c:v>
                </c:pt>
                <c:pt idx="1933">
                  <c:v>42914</c:v>
                </c:pt>
                <c:pt idx="1934">
                  <c:v>42913</c:v>
                </c:pt>
                <c:pt idx="1935">
                  <c:v>42912</c:v>
                </c:pt>
                <c:pt idx="1936">
                  <c:v>42909</c:v>
                </c:pt>
                <c:pt idx="1937">
                  <c:v>42908</c:v>
                </c:pt>
                <c:pt idx="1938">
                  <c:v>42907</c:v>
                </c:pt>
                <c:pt idx="1939">
                  <c:v>42906</c:v>
                </c:pt>
                <c:pt idx="1940">
                  <c:v>42905</c:v>
                </c:pt>
                <c:pt idx="1941">
                  <c:v>42902</c:v>
                </c:pt>
                <c:pt idx="1942">
                  <c:v>42901</c:v>
                </c:pt>
                <c:pt idx="1943">
                  <c:v>42900</c:v>
                </c:pt>
                <c:pt idx="1944">
                  <c:v>42899</c:v>
                </c:pt>
                <c:pt idx="1945">
                  <c:v>42898</c:v>
                </c:pt>
                <c:pt idx="1946">
                  <c:v>42895</c:v>
                </c:pt>
                <c:pt idx="1947">
                  <c:v>42894</c:v>
                </c:pt>
                <c:pt idx="1948">
                  <c:v>42893</c:v>
                </c:pt>
                <c:pt idx="1949">
                  <c:v>42892</c:v>
                </c:pt>
                <c:pt idx="1950">
                  <c:v>42891</c:v>
                </c:pt>
                <c:pt idx="1951">
                  <c:v>42888</c:v>
                </c:pt>
                <c:pt idx="1952">
                  <c:v>42887</c:v>
                </c:pt>
                <c:pt idx="1953">
                  <c:v>42886</c:v>
                </c:pt>
                <c:pt idx="1954">
                  <c:v>42885</c:v>
                </c:pt>
                <c:pt idx="1955">
                  <c:v>42884</c:v>
                </c:pt>
                <c:pt idx="1956">
                  <c:v>42881</c:v>
                </c:pt>
                <c:pt idx="1957">
                  <c:v>42880</c:v>
                </c:pt>
                <c:pt idx="1958">
                  <c:v>42879</c:v>
                </c:pt>
                <c:pt idx="1959">
                  <c:v>42878</c:v>
                </c:pt>
                <c:pt idx="1960">
                  <c:v>42877</c:v>
                </c:pt>
                <c:pt idx="1961">
                  <c:v>42874</c:v>
                </c:pt>
                <c:pt idx="1962">
                  <c:v>42873</c:v>
                </c:pt>
                <c:pt idx="1963">
                  <c:v>42872</c:v>
                </c:pt>
                <c:pt idx="1964">
                  <c:v>42871</c:v>
                </c:pt>
                <c:pt idx="1965">
                  <c:v>42870</c:v>
                </c:pt>
                <c:pt idx="1966">
                  <c:v>42867</c:v>
                </c:pt>
                <c:pt idx="1967">
                  <c:v>42866</c:v>
                </c:pt>
                <c:pt idx="1968">
                  <c:v>42865</c:v>
                </c:pt>
                <c:pt idx="1969">
                  <c:v>42864</c:v>
                </c:pt>
                <c:pt idx="1970">
                  <c:v>42863</c:v>
                </c:pt>
                <c:pt idx="1971">
                  <c:v>42860</c:v>
                </c:pt>
                <c:pt idx="1972">
                  <c:v>42859</c:v>
                </c:pt>
                <c:pt idx="1973">
                  <c:v>42858</c:v>
                </c:pt>
                <c:pt idx="1974">
                  <c:v>42857</c:v>
                </c:pt>
                <c:pt idx="1975">
                  <c:v>42856</c:v>
                </c:pt>
                <c:pt idx="1976">
                  <c:v>42853</c:v>
                </c:pt>
                <c:pt idx="1977">
                  <c:v>42852</c:v>
                </c:pt>
                <c:pt idx="1978">
                  <c:v>42851</c:v>
                </c:pt>
                <c:pt idx="1979">
                  <c:v>42850</c:v>
                </c:pt>
                <c:pt idx="1980">
                  <c:v>42849</c:v>
                </c:pt>
                <c:pt idx="1981">
                  <c:v>42846</c:v>
                </c:pt>
                <c:pt idx="1982">
                  <c:v>42845</c:v>
                </c:pt>
                <c:pt idx="1983">
                  <c:v>42844</c:v>
                </c:pt>
                <c:pt idx="1984">
                  <c:v>42843</c:v>
                </c:pt>
                <c:pt idx="1985">
                  <c:v>42842</c:v>
                </c:pt>
                <c:pt idx="1986">
                  <c:v>42839</c:v>
                </c:pt>
                <c:pt idx="1987">
                  <c:v>42838</c:v>
                </c:pt>
                <c:pt idx="1988">
                  <c:v>42837</c:v>
                </c:pt>
                <c:pt idx="1989">
                  <c:v>42836</c:v>
                </c:pt>
                <c:pt idx="1990">
                  <c:v>42835</c:v>
                </c:pt>
                <c:pt idx="1991">
                  <c:v>42832</c:v>
                </c:pt>
                <c:pt idx="1992">
                  <c:v>42831</c:v>
                </c:pt>
                <c:pt idx="1993">
                  <c:v>42830</c:v>
                </c:pt>
                <c:pt idx="1994">
                  <c:v>42829</c:v>
                </c:pt>
                <c:pt idx="1995">
                  <c:v>42828</c:v>
                </c:pt>
                <c:pt idx="1996">
                  <c:v>42825</c:v>
                </c:pt>
                <c:pt idx="1997">
                  <c:v>42824</c:v>
                </c:pt>
                <c:pt idx="1998">
                  <c:v>42823</c:v>
                </c:pt>
                <c:pt idx="1999">
                  <c:v>42822</c:v>
                </c:pt>
                <c:pt idx="2000">
                  <c:v>42821</c:v>
                </c:pt>
                <c:pt idx="2001">
                  <c:v>42818</c:v>
                </c:pt>
                <c:pt idx="2002">
                  <c:v>42817</c:v>
                </c:pt>
                <c:pt idx="2003">
                  <c:v>42816</c:v>
                </c:pt>
                <c:pt idx="2004">
                  <c:v>42815</c:v>
                </c:pt>
                <c:pt idx="2005">
                  <c:v>42814</c:v>
                </c:pt>
                <c:pt idx="2006">
                  <c:v>42811</c:v>
                </c:pt>
                <c:pt idx="2007">
                  <c:v>42810</c:v>
                </c:pt>
                <c:pt idx="2008">
                  <c:v>42809</c:v>
                </c:pt>
                <c:pt idx="2009">
                  <c:v>42808</c:v>
                </c:pt>
                <c:pt idx="2010">
                  <c:v>42807</c:v>
                </c:pt>
                <c:pt idx="2011">
                  <c:v>42804</c:v>
                </c:pt>
                <c:pt idx="2012">
                  <c:v>42803</c:v>
                </c:pt>
                <c:pt idx="2013">
                  <c:v>42802</c:v>
                </c:pt>
                <c:pt idx="2014">
                  <c:v>42801</c:v>
                </c:pt>
                <c:pt idx="2015">
                  <c:v>42800</c:v>
                </c:pt>
                <c:pt idx="2016">
                  <c:v>42797</c:v>
                </c:pt>
                <c:pt idx="2017">
                  <c:v>42796</c:v>
                </c:pt>
                <c:pt idx="2018">
                  <c:v>42795</c:v>
                </c:pt>
                <c:pt idx="2019">
                  <c:v>42794</c:v>
                </c:pt>
                <c:pt idx="2020">
                  <c:v>42793</c:v>
                </c:pt>
                <c:pt idx="2021">
                  <c:v>42790</c:v>
                </c:pt>
                <c:pt idx="2022">
                  <c:v>42789</c:v>
                </c:pt>
                <c:pt idx="2023">
                  <c:v>42788</c:v>
                </c:pt>
                <c:pt idx="2024">
                  <c:v>42787</c:v>
                </c:pt>
                <c:pt idx="2025">
                  <c:v>42786</c:v>
                </c:pt>
                <c:pt idx="2026">
                  <c:v>42783</c:v>
                </c:pt>
                <c:pt idx="2027">
                  <c:v>42782</c:v>
                </c:pt>
                <c:pt idx="2028">
                  <c:v>42781</c:v>
                </c:pt>
                <c:pt idx="2029">
                  <c:v>42780</c:v>
                </c:pt>
                <c:pt idx="2030">
                  <c:v>42779</c:v>
                </c:pt>
                <c:pt idx="2031">
                  <c:v>42776</c:v>
                </c:pt>
                <c:pt idx="2032">
                  <c:v>42775</c:v>
                </c:pt>
                <c:pt idx="2033">
                  <c:v>42774</c:v>
                </c:pt>
                <c:pt idx="2034">
                  <c:v>42773</c:v>
                </c:pt>
                <c:pt idx="2035">
                  <c:v>42772</c:v>
                </c:pt>
                <c:pt idx="2036">
                  <c:v>42769</c:v>
                </c:pt>
                <c:pt idx="2037">
                  <c:v>42768</c:v>
                </c:pt>
                <c:pt idx="2038">
                  <c:v>42767</c:v>
                </c:pt>
                <c:pt idx="2039">
                  <c:v>42766</c:v>
                </c:pt>
                <c:pt idx="2040">
                  <c:v>42765</c:v>
                </c:pt>
                <c:pt idx="2041">
                  <c:v>42762</c:v>
                </c:pt>
                <c:pt idx="2042">
                  <c:v>42761</c:v>
                </c:pt>
                <c:pt idx="2043">
                  <c:v>42760</c:v>
                </c:pt>
                <c:pt idx="2044">
                  <c:v>42759</c:v>
                </c:pt>
                <c:pt idx="2045">
                  <c:v>42758</c:v>
                </c:pt>
                <c:pt idx="2046">
                  <c:v>42755</c:v>
                </c:pt>
                <c:pt idx="2047">
                  <c:v>42754</c:v>
                </c:pt>
                <c:pt idx="2048">
                  <c:v>42753</c:v>
                </c:pt>
                <c:pt idx="2049">
                  <c:v>42752</c:v>
                </c:pt>
                <c:pt idx="2050">
                  <c:v>42751</c:v>
                </c:pt>
                <c:pt idx="2051">
                  <c:v>42748</c:v>
                </c:pt>
                <c:pt idx="2052">
                  <c:v>42747</c:v>
                </c:pt>
                <c:pt idx="2053">
                  <c:v>42746</c:v>
                </c:pt>
                <c:pt idx="2054">
                  <c:v>42745</c:v>
                </c:pt>
                <c:pt idx="2055">
                  <c:v>42744</c:v>
                </c:pt>
                <c:pt idx="2056">
                  <c:v>42741</c:v>
                </c:pt>
                <c:pt idx="2057">
                  <c:v>42740</c:v>
                </c:pt>
                <c:pt idx="2058">
                  <c:v>42739</c:v>
                </c:pt>
                <c:pt idx="2059">
                  <c:v>42738</c:v>
                </c:pt>
                <c:pt idx="2060">
                  <c:v>42737</c:v>
                </c:pt>
                <c:pt idx="2061">
                  <c:v>42734</c:v>
                </c:pt>
                <c:pt idx="2062">
                  <c:v>42733</c:v>
                </c:pt>
                <c:pt idx="2063">
                  <c:v>42732</c:v>
                </c:pt>
                <c:pt idx="2064">
                  <c:v>42731</c:v>
                </c:pt>
                <c:pt idx="2065">
                  <c:v>42730</c:v>
                </c:pt>
                <c:pt idx="2066">
                  <c:v>42727</c:v>
                </c:pt>
                <c:pt idx="2067">
                  <c:v>42726</c:v>
                </c:pt>
                <c:pt idx="2068">
                  <c:v>42725</c:v>
                </c:pt>
                <c:pt idx="2069">
                  <c:v>42724</c:v>
                </c:pt>
                <c:pt idx="2070">
                  <c:v>42723</c:v>
                </c:pt>
                <c:pt idx="2071">
                  <c:v>42720</c:v>
                </c:pt>
                <c:pt idx="2072">
                  <c:v>42719</c:v>
                </c:pt>
                <c:pt idx="2073">
                  <c:v>42718</c:v>
                </c:pt>
                <c:pt idx="2074">
                  <c:v>42717</c:v>
                </c:pt>
                <c:pt idx="2075">
                  <c:v>42716</c:v>
                </c:pt>
                <c:pt idx="2076">
                  <c:v>42713</c:v>
                </c:pt>
                <c:pt idx="2077">
                  <c:v>42712</c:v>
                </c:pt>
                <c:pt idx="2078">
                  <c:v>42711</c:v>
                </c:pt>
                <c:pt idx="2079">
                  <c:v>42710</c:v>
                </c:pt>
                <c:pt idx="2080">
                  <c:v>42709</c:v>
                </c:pt>
                <c:pt idx="2081">
                  <c:v>42706</c:v>
                </c:pt>
                <c:pt idx="2082">
                  <c:v>42705</c:v>
                </c:pt>
                <c:pt idx="2083">
                  <c:v>42704</c:v>
                </c:pt>
                <c:pt idx="2084">
                  <c:v>42703</c:v>
                </c:pt>
                <c:pt idx="2085">
                  <c:v>42702</c:v>
                </c:pt>
                <c:pt idx="2086">
                  <c:v>42699</c:v>
                </c:pt>
                <c:pt idx="2087">
                  <c:v>42698</c:v>
                </c:pt>
                <c:pt idx="2088">
                  <c:v>42697</c:v>
                </c:pt>
                <c:pt idx="2089">
                  <c:v>42696</c:v>
                </c:pt>
                <c:pt idx="2090">
                  <c:v>42695</c:v>
                </c:pt>
                <c:pt idx="2091">
                  <c:v>42692</c:v>
                </c:pt>
                <c:pt idx="2092">
                  <c:v>42691</c:v>
                </c:pt>
                <c:pt idx="2093">
                  <c:v>42690</c:v>
                </c:pt>
                <c:pt idx="2094">
                  <c:v>42689</c:v>
                </c:pt>
                <c:pt idx="2095">
                  <c:v>42688</c:v>
                </c:pt>
                <c:pt idx="2096">
                  <c:v>42685</c:v>
                </c:pt>
                <c:pt idx="2097">
                  <c:v>42684</c:v>
                </c:pt>
                <c:pt idx="2098">
                  <c:v>42683</c:v>
                </c:pt>
                <c:pt idx="2099">
                  <c:v>42682</c:v>
                </c:pt>
                <c:pt idx="2100">
                  <c:v>42681</c:v>
                </c:pt>
                <c:pt idx="2101">
                  <c:v>42678</c:v>
                </c:pt>
                <c:pt idx="2102">
                  <c:v>42677</c:v>
                </c:pt>
                <c:pt idx="2103">
                  <c:v>42676</c:v>
                </c:pt>
                <c:pt idx="2104">
                  <c:v>42675</c:v>
                </c:pt>
                <c:pt idx="2105">
                  <c:v>42674</c:v>
                </c:pt>
                <c:pt idx="2106">
                  <c:v>42671</c:v>
                </c:pt>
                <c:pt idx="2107">
                  <c:v>42670</c:v>
                </c:pt>
                <c:pt idx="2108">
                  <c:v>42669</c:v>
                </c:pt>
                <c:pt idx="2109">
                  <c:v>42668</c:v>
                </c:pt>
                <c:pt idx="2110">
                  <c:v>42667</c:v>
                </c:pt>
                <c:pt idx="2111">
                  <c:v>42664</c:v>
                </c:pt>
                <c:pt idx="2112">
                  <c:v>42663</c:v>
                </c:pt>
                <c:pt idx="2113">
                  <c:v>42662</c:v>
                </c:pt>
                <c:pt idx="2114">
                  <c:v>42661</c:v>
                </c:pt>
                <c:pt idx="2115">
                  <c:v>42660</c:v>
                </c:pt>
                <c:pt idx="2116">
                  <c:v>42657</c:v>
                </c:pt>
                <c:pt idx="2117">
                  <c:v>42656</c:v>
                </c:pt>
                <c:pt idx="2118">
                  <c:v>42655</c:v>
                </c:pt>
                <c:pt idx="2119">
                  <c:v>42654</c:v>
                </c:pt>
                <c:pt idx="2120">
                  <c:v>42653</c:v>
                </c:pt>
                <c:pt idx="2121">
                  <c:v>42650</c:v>
                </c:pt>
                <c:pt idx="2122">
                  <c:v>42649</c:v>
                </c:pt>
                <c:pt idx="2123">
                  <c:v>42648</c:v>
                </c:pt>
                <c:pt idx="2124">
                  <c:v>42647</c:v>
                </c:pt>
                <c:pt idx="2125">
                  <c:v>42646</c:v>
                </c:pt>
                <c:pt idx="2126">
                  <c:v>42643</c:v>
                </c:pt>
                <c:pt idx="2127">
                  <c:v>42642</c:v>
                </c:pt>
                <c:pt idx="2128">
                  <c:v>42641</c:v>
                </c:pt>
                <c:pt idx="2129">
                  <c:v>42640</c:v>
                </c:pt>
                <c:pt idx="2130">
                  <c:v>42639</c:v>
                </c:pt>
                <c:pt idx="2131">
                  <c:v>42636</c:v>
                </c:pt>
                <c:pt idx="2132">
                  <c:v>42635</c:v>
                </c:pt>
                <c:pt idx="2133">
                  <c:v>42634</c:v>
                </c:pt>
                <c:pt idx="2134">
                  <c:v>42633</c:v>
                </c:pt>
                <c:pt idx="2135">
                  <c:v>42632</c:v>
                </c:pt>
                <c:pt idx="2136">
                  <c:v>42629</c:v>
                </c:pt>
                <c:pt idx="2137">
                  <c:v>42628</c:v>
                </c:pt>
                <c:pt idx="2138">
                  <c:v>42627</c:v>
                </c:pt>
                <c:pt idx="2139">
                  <c:v>42626</c:v>
                </c:pt>
                <c:pt idx="2140">
                  <c:v>42625</c:v>
                </c:pt>
                <c:pt idx="2141">
                  <c:v>42622</c:v>
                </c:pt>
                <c:pt idx="2142">
                  <c:v>42621</c:v>
                </c:pt>
                <c:pt idx="2143">
                  <c:v>42620</c:v>
                </c:pt>
                <c:pt idx="2144">
                  <c:v>42619</c:v>
                </c:pt>
                <c:pt idx="2145">
                  <c:v>42618</c:v>
                </c:pt>
                <c:pt idx="2146">
                  <c:v>42615</c:v>
                </c:pt>
                <c:pt idx="2147">
                  <c:v>42614</c:v>
                </c:pt>
                <c:pt idx="2148">
                  <c:v>42613</c:v>
                </c:pt>
                <c:pt idx="2149">
                  <c:v>42612</c:v>
                </c:pt>
                <c:pt idx="2150">
                  <c:v>42611</c:v>
                </c:pt>
                <c:pt idx="2151">
                  <c:v>42608</c:v>
                </c:pt>
                <c:pt idx="2152">
                  <c:v>42607</c:v>
                </c:pt>
                <c:pt idx="2153">
                  <c:v>42606</c:v>
                </c:pt>
                <c:pt idx="2154">
                  <c:v>42605</c:v>
                </c:pt>
                <c:pt idx="2155">
                  <c:v>42604</c:v>
                </c:pt>
                <c:pt idx="2156">
                  <c:v>42601</c:v>
                </c:pt>
                <c:pt idx="2157">
                  <c:v>42600</c:v>
                </c:pt>
                <c:pt idx="2158">
                  <c:v>42599</c:v>
                </c:pt>
                <c:pt idx="2159">
                  <c:v>42598</c:v>
                </c:pt>
                <c:pt idx="2160">
                  <c:v>42597</c:v>
                </c:pt>
                <c:pt idx="2161">
                  <c:v>42594</c:v>
                </c:pt>
                <c:pt idx="2162">
                  <c:v>42593</c:v>
                </c:pt>
                <c:pt idx="2163">
                  <c:v>42592</c:v>
                </c:pt>
                <c:pt idx="2164">
                  <c:v>42591</c:v>
                </c:pt>
                <c:pt idx="2165">
                  <c:v>42590</c:v>
                </c:pt>
                <c:pt idx="2166">
                  <c:v>42587</c:v>
                </c:pt>
                <c:pt idx="2167">
                  <c:v>42586</c:v>
                </c:pt>
                <c:pt idx="2168">
                  <c:v>42585</c:v>
                </c:pt>
                <c:pt idx="2169">
                  <c:v>42584</c:v>
                </c:pt>
                <c:pt idx="2170">
                  <c:v>42583</c:v>
                </c:pt>
                <c:pt idx="2171">
                  <c:v>42580</c:v>
                </c:pt>
                <c:pt idx="2172">
                  <c:v>42579</c:v>
                </c:pt>
                <c:pt idx="2173">
                  <c:v>42578</c:v>
                </c:pt>
                <c:pt idx="2174">
                  <c:v>42577</c:v>
                </c:pt>
                <c:pt idx="2175">
                  <c:v>42576</c:v>
                </c:pt>
                <c:pt idx="2176">
                  <c:v>42573</c:v>
                </c:pt>
                <c:pt idx="2177">
                  <c:v>42572</c:v>
                </c:pt>
                <c:pt idx="2178">
                  <c:v>42571</c:v>
                </c:pt>
                <c:pt idx="2179">
                  <c:v>42570</c:v>
                </c:pt>
                <c:pt idx="2180">
                  <c:v>42569</c:v>
                </c:pt>
                <c:pt idx="2181">
                  <c:v>42566</c:v>
                </c:pt>
                <c:pt idx="2182">
                  <c:v>42565</c:v>
                </c:pt>
                <c:pt idx="2183">
                  <c:v>42564</c:v>
                </c:pt>
                <c:pt idx="2184">
                  <c:v>42563</c:v>
                </c:pt>
                <c:pt idx="2185">
                  <c:v>42562</c:v>
                </c:pt>
                <c:pt idx="2186">
                  <c:v>42559</c:v>
                </c:pt>
                <c:pt idx="2187">
                  <c:v>42558</c:v>
                </c:pt>
                <c:pt idx="2188">
                  <c:v>42557</c:v>
                </c:pt>
                <c:pt idx="2189">
                  <c:v>42556</c:v>
                </c:pt>
                <c:pt idx="2190">
                  <c:v>42555</c:v>
                </c:pt>
                <c:pt idx="2191">
                  <c:v>42552</c:v>
                </c:pt>
                <c:pt idx="2192">
                  <c:v>42551</c:v>
                </c:pt>
                <c:pt idx="2193">
                  <c:v>42550</c:v>
                </c:pt>
                <c:pt idx="2194">
                  <c:v>42549</c:v>
                </c:pt>
                <c:pt idx="2195">
                  <c:v>42548</c:v>
                </c:pt>
                <c:pt idx="2196">
                  <c:v>42545</c:v>
                </c:pt>
                <c:pt idx="2197">
                  <c:v>42544</c:v>
                </c:pt>
                <c:pt idx="2198">
                  <c:v>42543</c:v>
                </c:pt>
                <c:pt idx="2199">
                  <c:v>42542</c:v>
                </c:pt>
                <c:pt idx="2200">
                  <c:v>42541</c:v>
                </c:pt>
                <c:pt idx="2201">
                  <c:v>42538</c:v>
                </c:pt>
                <c:pt idx="2202">
                  <c:v>42537</c:v>
                </c:pt>
                <c:pt idx="2203">
                  <c:v>42536</c:v>
                </c:pt>
                <c:pt idx="2204">
                  <c:v>42535</c:v>
                </c:pt>
                <c:pt idx="2205">
                  <c:v>42534</c:v>
                </c:pt>
                <c:pt idx="2206">
                  <c:v>42531</c:v>
                </c:pt>
                <c:pt idx="2207">
                  <c:v>42530</c:v>
                </c:pt>
                <c:pt idx="2208">
                  <c:v>42529</c:v>
                </c:pt>
                <c:pt idx="2209">
                  <c:v>42528</c:v>
                </c:pt>
                <c:pt idx="2210">
                  <c:v>42527</c:v>
                </c:pt>
                <c:pt idx="2211">
                  <c:v>42524</c:v>
                </c:pt>
                <c:pt idx="2212">
                  <c:v>42523</c:v>
                </c:pt>
                <c:pt idx="2213">
                  <c:v>42522</c:v>
                </c:pt>
                <c:pt idx="2214">
                  <c:v>42521</c:v>
                </c:pt>
                <c:pt idx="2215">
                  <c:v>42520</c:v>
                </c:pt>
                <c:pt idx="2216">
                  <c:v>42517</c:v>
                </c:pt>
                <c:pt idx="2217">
                  <c:v>42516</c:v>
                </c:pt>
                <c:pt idx="2218">
                  <c:v>42515</c:v>
                </c:pt>
                <c:pt idx="2219">
                  <c:v>42514</c:v>
                </c:pt>
                <c:pt idx="2220">
                  <c:v>42513</c:v>
                </c:pt>
                <c:pt idx="2221">
                  <c:v>42510</c:v>
                </c:pt>
                <c:pt idx="2222">
                  <c:v>42509</c:v>
                </c:pt>
                <c:pt idx="2223">
                  <c:v>42508</c:v>
                </c:pt>
                <c:pt idx="2224">
                  <c:v>42507</c:v>
                </c:pt>
                <c:pt idx="2225">
                  <c:v>42506</c:v>
                </c:pt>
                <c:pt idx="2226">
                  <c:v>42503</c:v>
                </c:pt>
                <c:pt idx="2227">
                  <c:v>42502</c:v>
                </c:pt>
                <c:pt idx="2228">
                  <c:v>42501</c:v>
                </c:pt>
                <c:pt idx="2229">
                  <c:v>42500</c:v>
                </c:pt>
                <c:pt idx="2230">
                  <c:v>42499</c:v>
                </c:pt>
                <c:pt idx="2231">
                  <c:v>42496</c:v>
                </c:pt>
                <c:pt idx="2232">
                  <c:v>42495</c:v>
                </c:pt>
                <c:pt idx="2233">
                  <c:v>42494</c:v>
                </c:pt>
                <c:pt idx="2234">
                  <c:v>42493</c:v>
                </c:pt>
                <c:pt idx="2235">
                  <c:v>42492</c:v>
                </c:pt>
                <c:pt idx="2236">
                  <c:v>42489</c:v>
                </c:pt>
                <c:pt idx="2237">
                  <c:v>42488</c:v>
                </c:pt>
                <c:pt idx="2238">
                  <c:v>42487</c:v>
                </c:pt>
                <c:pt idx="2239">
                  <c:v>42486</c:v>
                </c:pt>
                <c:pt idx="2240">
                  <c:v>42485</c:v>
                </c:pt>
                <c:pt idx="2241">
                  <c:v>42482</c:v>
                </c:pt>
                <c:pt idx="2242">
                  <c:v>42481</c:v>
                </c:pt>
                <c:pt idx="2243">
                  <c:v>42480</c:v>
                </c:pt>
                <c:pt idx="2244">
                  <c:v>42479</c:v>
                </c:pt>
                <c:pt idx="2245">
                  <c:v>42478</c:v>
                </c:pt>
                <c:pt idx="2246">
                  <c:v>42475</c:v>
                </c:pt>
                <c:pt idx="2247">
                  <c:v>42474</c:v>
                </c:pt>
                <c:pt idx="2248">
                  <c:v>42473</c:v>
                </c:pt>
                <c:pt idx="2249">
                  <c:v>42472</c:v>
                </c:pt>
                <c:pt idx="2250">
                  <c:v>42471</c:v>
                </c:pt>
                <c:pt idx="2251">
                  <c:v>42468</c:v>
                </c:pt>
                <c:pt idx="2252">
                  <c:v>42467</c:v>
                </c:pt>
                <c:pt idx="2253">
                  <c:v>42466</c:v>
                </c:pt>
                <c:pt idx="2254">
                  <c:v>42465</c:v>
                </c:pt>
                <c:pt idx="2255">
                  <c:v>42464</c:v>
                </c:pt>
                <c:pt idx="2256">
                  <c:v>42461</c:v>
                </c:pt>
                <c:pt idx="2257">
                  <c:v>42460</c:v>
                </c:pt>
                <c:pt idx="2258">
                  <c:v>42459</c:v>
                </c:pt>
                <c:pt idx="2259">
                  <c:v>42458</c:v>
                </c:pt>
                <c:pt idx="2260">
                  <c:v>42457</c:v>
                </c:pt>
                <c:pt idx="2261">
                  <c:v>42454</c:v>
                </c:pt>
                <c:pt idx="2262">
                  <c:v>42453</c:v>
                </c:pt>
                <c:pt idx="2263">
                  <c:v>42452</c:v>
                </c:pt>
                <c:pt idx="2264">
                  <c:v>42451</c:v>
                </c:pt>
                <c:pt idx="2265">
                  <c:v>42450</c:v>
                </c:pt>
                <c:pt idx="2266">
                  <c:v>42447</c:v>
                </c:pt>
                <c:pt idx="2267">
                  <c:v>42446</c:v>
                </c:pt>
                <c:pt idx="2268">
                  <c:v>42445</c:v>
                </c:pt>
                <c:pt idx="2269">
                  <c:v>42444</c:v>
                </c:pt>
                <c:pt idx="2270">
                  <c:v>42443</c:v>
                </c:pt>
                <c:pt idx="2271">
                  <c:v>42440</c:v>
                </c:pt>
                <c:pt idx="2272">
                  <c:v>42439</c:v>
                </c:pt>
                <c:pt idx="2273">
                  <c:v>42438</c:v>
                </c:pt>
                <c:pt idx="2274">
                  <c:v>42437</c:v>
                </c:pt>
                <c:pt idx="2275">
                  <c:v>42436</c:v>
                </c:pt>
                <c:pt idx="2276">
                  <c:v>42433</c:v>
                </c:pt>
                <c:pt idx="2277">
                  <c:v>42432</c:v>
                </c:pt>
                <c:pt idx="2278">
                  <c:v>42431</c:v>
                </c:pt>
                <c:pt idx="2279">
                  <c:v>42430</c:v>
                </c:pt>
                <c:pt idx="2280">
                  <c:v>42429</c:v>
                </c:pt>
                <c:pt idx="2281">
                  <c:v>42426</c:v>
                </c:pt>
                <c:pt idx="2282">
                  <c:v>42425</c:v>
                </c:pt>
                <c:pt idx="2283">
                  <c:v>42424</c:v>
                </c:pt>
                <c:pt idx="2284">
                  <c:v>42423</c:v>
                </c:pt>
                <c:pt idx="2285">
                  <c:v>42422</c:v>
                </c:pt>
                <c:pt idx="2286">
                  <c:v>42419</c:v>
                </c:pt>
                <c:pt idx="2287">
                  <c:v>42418</c:v>
                </c:pt>
                <c:pt idx="2288">
                  <c:v>42417</c:v>
                </c:pt>
                <c:pt idx="2289">
                  <c:v>42416</c:v>
                </c:pt>
                <c:pt idx="2290">
                  <c:v>42415</c:v>
                </c:pt>
                <c:pt idx="2291">
                  <c:v>42412</c:v>
                </c:pt>
                <c:pt idx="2292">
                  <c:v>42411</c:v>
                </c:pt>
                <c:pt idx="2293">
                  <c:v>42410</c:v>
                </c:pt>
                <c:pt idx="2294">
                  <c:v>42409</c:v>
                </c:pt>
                <c:pt idx="2295">
                  <c:v>42408</c:v>
                </c:pt>
                <c:pt idx="2296">
                  <c:v>42405</c:v>
                </c:pt>
                <c:pt idx="2297">
                  <c:v>42404</c:v>
                </c:pt>
                <c:pt idx="2298">
                  <c:v>42403</c:v>
                </c:pt>
                <c:pt idx="2299">
                  <c:v>42402</c:v>
                </c:pt>
                <c:pt idx="2300">
                  <c:v>42401</c:v>
                </c:pt>
                <c:pt idx="2301">
                  <c:v>42398</c:v>
                </c:pt>
                <c:pt idx="2302">
                  <c:v>42397</c:v>
                </c:pt>
                <c:pt idx="2303">
                  <c:v>42396</c:v>
                </c:pt>
                <c:pt idx="2304">
                  <c:v>42395</c:v>
                </c:pt>
                <c:pt idx="2305">
                  <c:v>42394</c:v>
                </c:pt>
                <c:pt idx="2306">
                  <c:v>42391</c:v>
                </c:pt>
                <c:pt idx="2307">
                  <c:v>42390</c:v>
                </c:pt>
                <c:pt idx="2308">
                  <c:v>42389</c:v>
                </c:pt>
                <c:pt idx="2309">
                  <c:v>42388</c:v>
                </c:pt>
                <c:pt idx="2310">
                  <c:v>42387</c:v>
                </c:pt>
                <c:pt idx="2311">
                  <c:v>42384</c:v>
                </c:pt>
                <c:pt idx="2312">
                  <c:v>42383</c:v>
                </c:pt>
                <c:pt idx="2313">
                  <c:v>42382</c:v>
                </c:pt>
                <c:pt idx="2314">
                  <c:v>42381</c:v>
                </c:pt>
                <c:pt idx="2315">
                  <c:v>42380</c:v>
                </c:pt>
                <c:pt idx="2316">
                  <c:v>42377</c:v>
                </c:pt>
                <c:pt idx="2317">
                  <c:v>42376</c:v>
                </c:pt>
                <c:pt idx="2318">
                  <c:v>42375</c:v>
                </c:pt>
                <c:pt idx="2319">
                  <c:v>42374</c:v>
                </c:pt>
                <c:pt idx="2320">
                  <c:v>42373</c:v>
                </c:pt>
                <c:pt idx="2321">
                  <c:v>42370</c:v>
                </c:pt>
                <c:pt idx="2322">
                  <c:v>42369</c:v>
                </c:pt>
                <c:pt idx="2323">
                  <c:v>42368</c:v>
                </c:pt>
                <c:pt idx="2324">
                  <c:v>42367</c:v>
                </c:pt>
                <c:pt idx="2325">
                  <c:v>42366</c:v>
                </c:pt>
                <c:pt idx="2326">
                  <c:v>42363</c:v>
                </c:pt>
                <c:pt idx="2327">
                  <c:v>42362</c:v>
                </c:pt>
                <c:pt idx="2328">
                  <c:v>42361</c:v>
                </c:pt>
                <c:pt idx="2329">
                  <c:v>42360</c:v>
                </c:pt>
                <c:pt idx="2330">
                  <c:v>42359</c:v>
                </c:pt>
                <c:pt idx="2331">
                  <c:v>42356</c:v>
                </c:pt>
                <c:pt idx="2332">
                  <c:v>42355</c:v>
                </c:pt>
                <c:pt idx="2333">
                  <c:v>42354</c:v>
                </c:pt>
                <c:pt idx="2334">
                  <c:v>42353</c:v>
                </c:pt>
                <c:pt idx="2335">
                  <c:v>42352</c:v>
                </c:pt>
                <c:pt idx="2336">
                  <c:v>42349</c:v>
                </c:pt>
                <c:pt idx="2337">
                  <c:v>42348</c:v>
                </c:pt>
                <c:pt idx="2338">
                  <c:v>42347</c:v>
                </c:pt>
                <c:pt idx="2339">
                  <c:v>42346</c:v>
                </c:pt>
                <c:pt idx="2340">
                  <c:v>42345</c:v>
                </c:pt>
                <c:pt idx="2341">
                  <c:v>42342</c:v>
                </c:pt>
                <c:pt idx="2342">
                  <c:v>42341</c:v>
                </c:pt>
                <c:pt idx="2343">
                  <c:v>42340</c:v>
                </c:pt>
                <c:pt idx="2344">
                  <c:v>42339</c:v>
                </c:pt>
                <c:pt idx="2345">
                  <c:v>42338</c:v>
                </c:pt>
                <c:pt idx="2346">
                  <c:v>42335</c:v>
                </c:pt>
                <c:pt idx="2347">
                  <c:v>42334</c:v>
                </c:pt>
                <c:pt idx="2348">
                  <c:v>42333</c:v>
                </c:pt>
                <c:pt idx="2349">
                  <c:v>42332</c:v>
                </c:pt>
                <c:pt idx="2350">
                  <c:v>42331</c:v>
                </c:pt>
                <c:pt idx="2351">
                  <c:v>42328</c:v>
                </c:pt>
                <c:pt idx="2352">
                  <c:v>42327</c:v>
                </c:pt>
                <c:pt idx="2353">
                  <c:v>42326</c:v>
                </c:pt>
                <c:pt idx="2354">
                  <c:v>42325</c:v>
                </c:pt>
                <c:pt idx="2355">
                  <c:v>42324</c:v>
                </c:pt>
                <c:pt idx="2356">
                  <c:v>42321</c:v>
                </c:pt>
                <c:pt idx="2357">
                  <c:v>42320</c:v>
                </c:pt>
                <c:pt idx="2358">
                  <c:v>42319</c:v>
                </c:pt>
                <c:pt idx="2359">
                  <c:v>42318</c:v>
                </c:pt>
                <c:pt idx="2360">
                  <c:v>42317</c:v>
                </c:pt>
                <c:pt idx="2361">
                  <c:v>42314</c:v>
                </c:pt>
                <c:pt idx="2362">
                  <c:v>42313</c:v>
                </c:pt>
                <c:pt idx="2363">
                  <c:v>42312</c:v>
                </c:pt>
                <c:pt idx="2364">
                  <c:v>42311</c:v>
                </c:pt>
                <c:pt idx="2365">
                  <c:v>42310</c:v>
                </c:pt>
                <c:pt idx="2366">
                  <c:v>42307</c:v>
                </c:pt>
                <c:pt idx="2367">
                  <c:v>42306</c:v>
                </c:pt>
                <c:pt idx="2368">
                  <c:v>42305</c:v>
                </c:pt>
                <c:pt idx="2369">
                  <c:v>42304</c:v>
                </c:pt>
                <c:pt idx="2370">
                  <c:v>42303</c:v>
                </c:pt>
                <c:pt idx="2371">
                  <c:v>42300</c:v>
                </c:pt>
                <c:pt idx="2372">
                  <c:v>42299</c:v>
                </c:pt>
                <c:pt idx="2373">
                  <c:v>42298</c:v>
                </c:pt>
                <c:pt idx="2374">
                  <c:v>42297</c:v>
                </c:pt>
                <c:pt idx="2375">
                  <c:v>42296</c:v>
                </c:pt>
                <c:pt idx="2376">
                  <c:v>42293</c:v>
                </c:pt>
                <c:pt idx="2377">
                  <c:v>42292</c:v>
                </c:pt>
                <c:pt idx="2378">
                  <c:v>42291</c:v>
                </c:pt>
                <c:pt idx="2379">
                  <c:v>42290</c:v>
                </c:pt>
                <c:pt idx="2380">
                  <c:v>42289</c:v>
                </c:pt>
                <c:pt idx="2381">
                  <c:v>42286</c:v>
                </c:pt>
                <c:pt idx="2382">
                  <c:v>42285</c:v>
                </c:pt>
                <c:pt idx="2383">
                  <c:v>42284</c:v>
                </c:pt>
                <c:pt idx="2384">
                  <c:v>42283</c:v>
                </c:pt>
                <c:pt idx="2385">
                  <c:v>42282</c:v>
                </c:pt>
                <c:pt idx="2386">
                  <c:v>42279</c:v>
                </c:pt>
                <c:pt idx="2387">
                  <c:v>42278</c:v>
                </c:pt>
                <c:pt idx="2388">
                  <c:v>42277</c:v>
                </c:pt>
                <c:pt idx="2389">
                  <c:v>42276</c:v>
                </c:pt>
                <c:pt idx="2390">
                  <c:v>42275</c:v>
                </c:pt>
                <c:pt idx="2391">
                  <c:v>42272</c:v>
                </c:pt>
                <c:pt idx="2392">
                  <c:v>42271</c:v>
                </c:pt>
                <c:pt idx="2393">
                  <c:v>42270</c:v>
                </c:pt>
                <c:pt idx="2394">
                  <c:v>42269</c:v>
                </c:pt>
                <c:pt idx="2395">
                  <c:v>42268</c:v>
                </c:pt>
                <c:pt idx="2396">
                  <c:v>42265</c:v>
                </c:pt>
                <c:pt idx="2397">
                  <c:v>42264</c:v>
                </c:pt>
                <c:pt idx="2398">
                  <c:v>42263</c:v>
                </c:pt>
                <c:pt idx="2399">
                  <c:v>42262</c:v>
                </c:pt>
                <c:pt idx="2400">
                  <c:v>42261</c:v>
                </c:pt>
                <c:pt idx="2401">
                  <c:v>42258</c:v>
                </c:pt>
                <c:pt idx="2402">
                  <c:v>42257</c:v>
                </c:pt>
                <c:pt idx="2403">
                  <c:v>42256</c:v>
                </c:pt>
                <c:pt idx="2404">
                  <c:v>42255</c:v>
                </c:pt>
                <c:pt idx="2405">
                  <c:v>42254</c:v>
                </c:pt>
                <c:pt idx="2406">
                  <c:v>42251</c:v>
                </c:pt>
                <c:pt idx="2407">
                  <c:v>42250</c:v>
                </c:pt>
                <c:pt idx="2408">
                  <c:v>42249</c:v>
                </c:pt>
                <c:pt idx="2409">
                  <c:v>42248</c:v>
                </c:pt>
                <c:pt idx="2410">
                  <c:v>42247</c:v>
                </c:pt>
                <c:pt idx="2411">
                  <c:v>42244</c:v>
                </c:pt>
                <c:pt idx="2412">
                  <c:v>42243</c:v>
                </c:pt>
                <c:pt idx="2413">
                  <c:v>42242</c:v>
                </c:pt>
                <c:pt idx="2414">
                  <c:v>42241</c:v>
                </c:pt>
                <c:pt idx="2415">
                  <c:v>42240</c:v>
                </c:pt>
                <c:pt idx="2416">
                  <c:v>42237</c:v>
                </c:pt>
                <c:pt idx="2417">
                  <c:v>42236</c:v>
                </c:pt>
                <c:pt idx="2418">
                  <c:v>42235</c:v>
                </c:pt>
                <c:pt idx="2419">
                  <c:v>42234</c:v>
                </c:pt>
                <c:pt idx="2420">
                  <c:v>42233</c:v>
                </c:pt>
                <c:pt idx="2421">
                  <c:v>42230</c:v>
                </c:pt>
                <c:pt idx="2422">
                  <c:v>42229</c:v>
                </c:pt>
                <c:pt idx="2423">
                  <c:v>42228</c:v>
                </c:pt>
                <c:pt idx="2424">
                  <c:v>42227</c:v>
                </c:pt>
                <c:pt idx="2425">
                  <c:v>42226</c:v>
                </c:pt>
                <c:pt idx="2426">
                  <c:v>42223</c:v>
                </c:pt>
                <c:pt idx="2427">
                  <c:v>42222</c:v>
                </c:pt>
                <c:pt idx="2428">
                  <c:v>42221</c:v>
                </c:pt>
                <c:pt idx="2429">
                  <c:v>42220</c:v>
                </c:pt>
                <c:pt idx="2430">
                  <c:v>42219</c:v>
                </c:pt>
                <c:pt idx="2431">
                  <c:v>42216</c:v>
                </c:pt>
                <c:pt idx="2432">
                  <c:v>42215</c:v>
                </c:pt>
                <c:pt idx="2433">
                  <c:v>42214</c:v>
                </c:pt>
                <c:pt idx="2434">
                  <c:v>42213</c:v>
                </c:pt>
                <c:pt idx="2435">
                  <c:v>42212</c:v>
                </c:pt>
                <c:pt idx="2436">
                  <c:v>42209</c:v>
                </c:pt>
                <c:pt idx="2437">
                  <c:v>42208</c:v>
                </c:pt>
                <c:pt idx="2438">
                  <c:v>42207</c:v>
                </c:pt>
                <c:pt idx="2439">
                  <c:v>42206</c:v>
                </c:pt>
                <c:pt idx="2440">
                  <c:v>42205</c:v>
                </c:pt>
                <c:pt idx="2441">
                  <c:v>42202</c:v>
                </c:pt>
                <c:pt idx="2442">
                  <c:v>42201</c:v>
                </c:pt>
                <c:pt idx="2443">
                  <c:v>42200</c:v>
                </c:pt>
                <c:pt idx="2444">
                  <c:v>42199</c:v>
                </c:pt>
                <c:pt idx="2445">
                  <c:v>42198</c:v>
                </c:pt>
                <c:pt idx="2446">
                  <c:v>42195</c:v>
                </c:pt>
                <c:pt idx="2447">
                  <c:v>42194</c:v>
                </c:pt>
                <c:pt idx="2448">
                  <c:v>42193</c:v>
                </c:pt>
                <c:pt idx="2449">
                  <c:v>42192</c:v>
                </c:pt>
                <c:pt idx="2450">
                  <c:v>42191</c:v>
                </c:pt>
                <c:pt idx="2451">
                  <c:v>42188</c:v>
                </c:pt>
                <c:pt idx="2452">
                  <c:v>42187</c:v>
                </c:pt>
                <c:pt idx="2453">
                  <c:v>42186</c:v>
                </c:pt>
                <c:pt idx="2454">
                  <c:v>42185</c:v>
                </c:pt>
                <c:pt idx="2455">
                  <c:v>42184</c:v>
                </c:pt>
                <c:pt idx="2456">
                  <c:v>42181</c:v>
                </c:pt>
                <c:pt idx="2457">
                  <c:v>42180</c:v>
                </c:pt>
                <c:pt idx="2458">
                  <c:v>42179</c:v>
                </c:pt>
                <c:pt idx="2459">
                  <c:v>42178</c:v>
                </c:pt>
                <c:pt idx="2460">
                  <c:v>42177</c:v>
                </c:pt>
                <c:pt idx="2461">
                  <c:v>42174</c:v>
                </c:pt>
                <c:pt idx="2462">
                  <c:v>42173</c:v>
                </c:pt>
                <c:pt idx="2463">
                  <c:v>42172</c:v>
                </c:pt>
                <c:pt idx="2464">
                  <c:v>42171</c:v>
                </c:pt>
                <c:pt idx="2465">
                  <c:v>42170</c:v>
                </c:pt>
                <c:pt idx="2466">
                  <c:v>42167</c:v>
                </c:pt>
                <c:pt idx="2467">
                  <c:v>42166</c:v>
                </c:pt>
                <c:pt idx="2468">
                  <c:v>42165</c:v>
                </c:pt>
                <c:pt idx="2469">
                  <c:v>42164</c:v>
                </c:pt>
                <c:pt idx="2470">
                  <c:v>42163</c:v>
                </c:pt>
                <c:pt idx="2471">
                  <c:v>42160</c:v>
                </c:pt>
                <c:pt idx="2472">
                  <c:v>42159</c:v>
                </c:pt>
                <c:pt idx="2473">
                  <c:v>42158</c:v>
                </c:pt>
                <c:pt idx="2474">
                  <c:v>42157</c:v>
                </c:pt>
                <c:pt idx="2475">
                  <c:v>42156</c:v>
                </c:pt>
                <c:pt idx="2476">
                  <c:v>42153</c:v>
                </c:pt>
                <c:pt idx="2477">
                  <c:v>42152</c:v>
                </c:pt>
                <c:pt idx="2478">
                  <c:v>42151</c:v>
                </c:pt>
                <c:pt idx="2479">
                  <c:v>42150</c:v>
                </c:pt>
                <c:pt idx="2480">
                  <c:v>42149</c:v>
                </c:pt>
                <c:pt idx="2481">
                  <c:v>42146</c:v>
                </c:pt>
                <c:pt idx="2482">
                  <c:v>42145</c:v>
                </c:pt>
                <c:pt idx="2483">
                  <c:v>42144</c:v>
                </c:pt>
                <c:pt idx="2484">
                  <c:v>42143</c:v>
                </c:pt>
                <c:pt idx="2485">
                  <c:v>42142</c:v>
                </c:pt>
                <c:pt idx="2486">
                  <c:v>42139</c:v>
                </c:pt>
                <c:pt idx="2487">
                  <c:v>42138</c:v>
                </c:pt>
                <c:pt idx="2488">
                  <c:v>42137</c:v>
                </c:pt>
                <c:pt idx="2489">
                  <c:v>42136</c:v>
                </c:pt>
                <c:pt idx="2490">
                  <c:v>42135</c:v>
                </c:pt>
                <c:pt idx="2491">
                  <c:v>42132</c:v>
                </c:pt>
                <c:pt idx="2492">
                  <c:v>42131</c:v>
                </c:pt>
                <c:pt idx="2493">
                  <c:v>42130</c:v>
                </c:pt>
                <c:pt idx="2494">
                  <c:v>42129</c:v>
                </c:pt>
                <c:pt idx="2495">
                  <c:v>42128</c:v>
                </c:pt>
                <c:pt idx="2496">
                  <c:v>42125</c:v>
                </c:pt>
                <c:pt idx="2497">
                  <c:v>42124</c:v>
                </c:pt>
                <c:pt idx="2498">
                  <c:v>42123</c:v>
                </c:pt>
                <c:pt idx="2499">
                  <c:v>42122</c:v>
                </c:pt>
                <c:pt idx="2500">
                  <c:v>42121</c:v>
                </c:pt>
                <c:pt idx="2501">
                  <c:v>42118</c:v>
                </c:pt>
                <c:pt idx="2502">
                  <c:v>42117</c:v>
                </c:pt>
                <c:pt idx="2503">
                  <c:v>42116</c:v>
                </c:pt>
                <c:pt idx="2504">
                  <c:v>42115</c:v>
                </c:pt>
                <c:pt idx="2505">
                  <c:v>42114</c:v>
                </c:pt>
                <c:pt idx="2506">
                  <c:v>42111</c:v>
                </c:pt>
                <c:pt idx="2507">
                  <c:v>42110</c:v>
                </c:pt>
                <c:pt idx="2508">
                  <c:v>42109</c:v>
                </c:pt>
                <c:pt idx="2509">
                  <c:v>42108</c:v>
                </c:pt>
                <c:pt idx="2510">
                  <c:v>42107</c:v>
                </c:pt>
                <c:pt idx="2511">
                  <c:v>42104</c:v>
                </c:pt>
                <c:pt idx="2512">
                  <c:v>42103</c:v>
                </c:pt>
                <c:pt idx="2513">
                  <c:v>42102</c:v>
                </c:pt>
                <c:pt idx="2514">
                  <c:v>42101</c:v>
                </c:pt>
                <c:pt idx="2515">
                  <c:v>42100</c:v>
                </c:pt>
                <c:pt idx="2516">
                  <c:v>42097</c:v>
                </c:pt>
                <c:pt idx="2517">
                  <c:v>42096</c:v>
                </c:pt>
                <c:pt idx="2518">
                  <c:v>42095</c:v>
                </c:pt>
                <c:pt idx="2519">
                  <c:v>42094</c:v>
                </c:pt>
                <c:pt idx="2520">
                  <c:v>42093</c:v>
                </c:pt>
                <c:pt idx="2521">
                  <c:v>42090</c:v>
                </c:pt>
                <c:pt idx="2522">
                  <c:v>42089</c:v>
                </c:pt>
                <c:pt idx="2523">
                  <c:v>42088</c:v>
                </c:pt>
                <c:pt idx="2524">
                  <c:v>42087</c:v>
                </c:pt>
                <c:pt idx="2525">
                  <c:v>42086</c:v>
                </c:pt>
                <c:pt idx="2526">
                  <c:v>42083</c:v>
                </c:pt>
                <c:pt idx="2527">
                  <c:v>42082</c:v>
                </c:pt>
                <c:pt idx="2528">
                  <c:v>42081</c:v>
                </c:pt>
                <c:pt idx="2529">
                  <c:v>42080</c:v>
                </c:pt>
                <c:pt idx="2530">
                  <c:v>42079</c:v>
                </c:pt>
                <c:pt idx="2531">
                  <c:v>42076</c:v>
                </c:pt>
                <c:pt idx="2532">
                  <c:v>42075</c:v>
                </c:pt>
                <c:pt idx="2533">
                  <c:v>42074</c:v>
                </c:pt>
                <c:pt idx="2534">
                  <c:v>42073</c:v>
                </c:pt>
                <c:pt idx="2535">
                  <c:v>42072</c:v>
                </c:pt>
                <c:pt idx="2536">
                  <c:v>42069</c:v>
                </c:pt>
                <c:pt idx="2537">
                  <c:v>42068</c:v>
                </c:pt>
                <c:pt idx="2538">
                  <c:v>42067</c:v>
                </c:pt>
                <c:pt idx="2539">
                  <c:v>42066</c:v>
                </c:pt>
                <c:pt idx="2540">
                  <c:v>42065</c:v>
                </c:pt>
                <c:pt idx="2541">
                  <c:v>42062</c:v>
                </c:pt>
                <c:pt idx="2542">
                  <c:v>42061</c:v>
                </c:pt>
                <c:pt idx="2543">
                  <c:v>42060</c:v>
                </c:pt>
                <c:pt idx="2544">
                  <c:v>42059</c:v>
                </c:pt>
                <c:pt idx="2545">
                  <c:v>42058</c:v>
                </c:pt>
                <c:pt idx="2546">
                  <c:v>42055</c:v>
                </c:pt>
                <c:pt idx="2547">
                  <c:v>42054</c:v>
                </c:pt>
                <c:pt idx="2548">
                  <c:v>42053</c:v>
                </c:pt>
                <c:pt idx="2549">
                  <c:v>42052</c:v>
                </c:pt>
                <c:pt idx="2550">
                  <c:v>42051</c:v>
                </c:pt>
                <c:pt idx="2551">
                  <c:v>42048</c:v>
                </c:pt>
                <c:pt idx="2552">
                  <c:v>42047</c:v>
                </c:pt>
                <c:pt idx="2553">
                  <c:v>42046</c:v>
                </c:pt>
                <c:pt idx="2554">
                  <c:v>42045</c:v>
                </c:pt>
                <c:pt idx="2555">
                  <c:v>42044</c:v>
                </c:pt>
                <c:pt idx="2556">
                  <c:v>42041</c:v>
                </c:pt>
                <c:pt idx="2557">
                  <c:v>42040</c:v>
                </c:pt>
                <c:pt idx="2558">
                  <c:v>42039</c:v>
                </c:pt>
                <c:pt idx="2559">
                  <c:v>42038</c:v>
                </c:pt>
                <c:pt idx="2560">
                  <c:v>42037</c:v>
                </c:pt>
                <c:pt idx="2561">
                  <c:v>42034</c:v>
                </c:pt>
                <c:pt idx="2562">
                  <c:v>42033</c:v>
                </c:pt>
                <c:pt idx="2563">
                  <c:v>42032</c:v>
                </c:pt>
                <c:pt idx="2564">
                  <c:v>42031</c:v>
                </c:pt>
                <c:pt idx="2565">
                  <c:v>42030</c:v>
                </c:pt>
                <c:pt idx="2566">
                  <c:v>42027</c:v>
                </c:pt>
                <c:pt idx="2567">
                  <c:v>42026</c:v>
                </c:pt>
                <c:pt idx="2568">
                  <c:v>42025</c:v>
                </c:pt>
                <c:pt idx="2569">
                  <c:v>42024</c:v>
                </c:pt>
                <c:pt idx="2570">
                  <c:v>42023</c:v>
                </c:pt>
                <c:pt idx="2571">
                  <c:v>42020</c:v>
                </c:pt>
                <c:pt idx="2572">
                  <c:v>42019</c:v>
                </c:pt>
                <c:pt idx="2573">
                  <c:v>42018</c:v>
                </c:pt>
                <c:pt idx="2574">
                  <c:v>42017</c:v>
                </c:pt>
                <c:pt idx="2575">
                  <c:v>42016</c:v>
                </c:pt>
                <c:pt idx="2576">
                  <c:v>42013</c:v>
                </c:pt>
                <c:pt idx="2577">
                  <c:v>42012</c:v>
                </c:pt>
                <c:pt idx="2578">
                  <c:v>42011</c:v>
                </c:pt>
                <c:pt idx="2579">
                  <c:v>42010</c:v>
                </c:pt>
                <c:pt idx="2580">
                  <c:v>42009</c:v>
                </c:pt>
                <c:pt idx="2581">
                  <c:v>42006</c:v>
                </c:pt>
                <c:pt idx="2582">
                  <c:v>42005</c:v>
                </c:pt>
                <c:pt idx="2583">
                  <c:v>42004</c:v>
                </c:pt>
                <c:pt idx="2584">
                  <c:v>42003</c:v>
                </c:pt>
                <c:pt idx="2585">
                  <c:v>42002</c:v>
                </c:pt>
                <c:pt idx="2586">
                  <c:v>41999</c:v>
                </c:pt>
                <c:pt idx="2587">
                  <c:v>41998</c:v>
                </c:pt>
                <c:pt idx="2588">
                  <c:v>41997</c:v>
                </c:pt>
                <c:pt idx="2589">
                  <c:v>41996</c:v>
                </c:pt>
                <c:pt idx="2590">
                  <c:v>41995</c:v>
                </c:pt>
                <c:pt idx="2591">
                  <c:v>41992</c:v>
                </c:pt>
                <c:pt idx="2592">
                  <c:v>41991</c:v>
                </c:pt>
                <c:pt idx="2593">
                  <c:v>41990</c:v>
                </c:pt>
                <c:pt idx="2594">
                  <c:v>41989</c:v>
                </c:pt>
                <c:pt idx="2595">
                  <c:v>41988</c:v>
                </c:pt>
                <c:pt idx="2596">
                  <c:v>41985</c:v>
                </c:pt>
                <c:pt idx="2597">
                  <c:v>41984</c:v>
                </c:pt>
                <c:pt idx="2598">
                  <c:v>41983</c:v>
                </c:pt>
                <c:pt idx="2599">
                  <c:v>41982</c:v>
                </c:pt>
                <c:pt idx="2600">
                  <c:v>41981</c:v>
                </c:pt>
                <c:pt idx="2601">
                  <c:v>41978</c:v>
                </c:pt>
                <c:pt idx="2602">
                  <c:v>41977</c:v>
                </c:pt>
                <c:pt idx="2603">
                  <c:v>41976</c:v>
                </c:pt>
                <c:pt idx="2604">
                  <c:v>41975</c:v>
                </c:pt>
                <c:pt idx="2605">
                  <c:v>41974</c:v>
                </c:pt>
                <c:pt idx="2606">
                  <c:v>41971</c:v>
                </c:pt>
                <c:pt idx="2607">
                  <c:v>41970</c:v>
                </c:pt>
                <c:pt idx="2608">
                  <c:v>41969</c:v>
                </c:pt>
                <c:pt idx="2609">
                  <c:v>41968</c:v>
                </c:pt>
              </c:numCache>
            </c:numRef>
          </c:cat>
          <c:val>
            <c:numRef>
              <c:f>Sheet1!$H$7:$H$2616</c:f>
              <c:numCache>
                <c:formatCode>General</c:formatCode>
                <c:ptCount val="2610"/>
                <c:pt idx="0">
                  <c:v>1.0488500000000001</c:v>
                </c:pt>
                <c:pt idx="1">
                  <c:v>1.0409999999999999</c:v>
                </c:pt>
                <c:pt idx="2">
                  <c:v>1.0510999999999999</c:v>
                </c:pt>
                <c:pt idx="3">
                  <c:v>1.0520499999999999</c:v>
                </c:pt>
                <c:pt idx="4">
                  <c:v>1.0586500000000001</c:v>
                </c:pt>
                <c:pt idx="5">
                  <c:v>1.05735</c:v>
                </c:pt>
                <c:pt idx="6">
                  <c:v>1.0535000000000001</c:v>
                </c:pt>
                <c:pt idx="7">
                  <c:v>1.0576000000000001</c:v>
                </c:pt>
                <c:pt idx="8">
                  <c:v>1.0589500000000001</c:v>
                </c:pt>
                <c:pt idx="9">
                  <c:v>1.0609500000000001</c:v>
                </c:pt>
                <c:pt idx="10">
                  <c:v>1.0648</c:v>
                </c:pt>
                <c:pt idx="11">
                  <c:v>1.0749</c:v>
                </c:pt>
                <c:pt idx="12">
                  <c:v>1.0811999999999999</c:v>
                </c:pt>
                <c:pt idx="13">
                  <c:v>1.07385</c:v>
                </c:pt>
                <c:pt idx="14">
                  <c:v>1.0902000000000001</c:v>
                </c:pt>
                <c:pt idx="15">
                  <c:v>1.0899000000000001</c:v>
                </c:pt>
                <c:pt idx="16">
                  <c:v>1.0849</c:v>
                </c:pt>
                <c:pt idx="17">
                  <c:v>1.08565</c:v>
                </c:pt>
                <c:pt idx="18">
                  <c:v>1.0863499999999999</c:v>
                </c:pt>
                <c:pt idx="19">
                  <c:v>1.07985</c:v>
                </c:pt>
                <c:pt idx="20">
                  <c:v>1.08185</c:v>
                </c:pt>
                <c:pt idx="21">
                  <c:v>1.0831500000000001</c:v>
                </c:pt>
                <c:pt idx="22">
                  <c:v>1.07975</c:v>
                </c:pt>
                <c:pt idx="23">
                  <c:v>1.0774999999999999</c:v>
                </c:pt>
                <c:pt idx="24">
                  <c:v>1.081</c:v>
                </c:pt>
                <c:pt idx="25">
                  <c:v>1.0834999999999999</c:v>
                </c:pt>
                <c:pt idx="26">
                  <c:v>1.08575</c:v>
                </c:pt>
                <c:pt idx="27">
                  <c:v>1.0828</c:v>
                </c:pt>
                <c:pt idx="28">
                  <c:v>1.08795</c:v>
                </c:pt>
                <c:pt idx="29">
                  <c:v>1.0903</c:v>
                </c:pt>
                <c:pt idx="30">
                  <c:v>1.0914999999999999</c:v>
                </c:pt>
                <c:pt idx="31">
                  <c:v>1.0944</c:v>
                </c:pt>
                <c:pt idx="32">
                  <c:v>1.0923</c:v>
                </c:pt>
                <c:pt idx="33">
                  <c:v>1.0948</c:v>
                </c:pt>
                <c:pt idx="34">
                  <c:v>1.0970500000000001</c:v>
                </c:pt>
                <c:pt idx="35">
                  <c:v>1.09755</c:v>
                </c:pt>
                <c:pt idx="36">
                  <c:v>1.0969500000000001</c:v>
                </c:pt>
                <c:pt idx="37">
                  <c:v>1.1017999999999999</c:v>
                </c:pt>
                <c:pt idx="38">
                  <c:v>1.1035999999999999</c:v>
                </c:pt>
                <c:pt idx="39">
                  <c:v>1.10765</c:v>
                </c:pt>
                <c:pt idx="40">
                  <c:v>1.11605</c:v>
                </c:pt>
                <c:pt idx="41">
                  <c:v>1.1178999999999999</c:v>
                </c:pt>
                <c:pt idx="42">
                  <c:v>1.1166499999999999</c:v>
                </c:pt>
                <c:pt idx="43">
                  <c:v>1.1172</c:v>
                </c:pt>
                <c:pt idx="44">
                  <c:v>1.1151</c:v>
                </c:pt>
                <c:pt idx="45">
                  <c:v>1.1132</c:v>
                </c:pt>
                <c:pt idx="46">
                  <c:v>1.1143000000000001</c:v>
                </c:pt>
                <c:pt idx="47">
                  <c:v>1.1129</c:v>
                </c:pt>
                <c:pt idx="48">
                  <c:v>1.1117999999999999</c:v>
                </c:pt>
                <c:pt idx="49">
                  <c:v>1.1124499999999999</c:v>
                </c:pt>
                <c:pt idx="50">
                  <c:v>1.1124000000000001</c:v>
                </c:pt>
                <c:pt idx="51">
                  <c:v>1.1089</c:v>
                </c:pt>
                <c:pt idx="52">
                  <c:v>1.1040000000000001</c:v>
                </c:pt>
                <c:pt idx="53">
                  <c:v>1.101</c:v>
                </c:pt>
                <c:pt idx="54">
                  <c:v>1.1017999999999999</c:v>
                </c:pt>
                <c:pt idx="55">
                  <c:v>1.1043000000000001</c:v>
                </c:pt>
                <c:pt idx="56">
                  <c:v>1.11205</c:v>
                </c:pt>
                <c:pt idx="57">
                  <c:v>1.1079000000000001</c:v>
                </c:pt>
                <c:pt idx="58">
                  <c:v>1.1091</c:v>
                </c:pt>
                <c:pt idx="59">
                  <c:v>1.10425</c:v>
                </c:pt>
                <c:pt idx="60">
                  <c:v>1.1069500000000001</c:v>
                </c:pt>
                <c:pt idx="61">
                  <c:v>1.1069</c:v>
                </c:pt>
                <c:pt idx="62">
                  <c:v>1.1070500000000001</c:v>
                </c:pt>
                <c:pt idx="63">
                  <c:v>1.113</c:v>
                </c:pt>
                <c:pt idx="64">
                  <c:v>1.1166499999999999</c:v>
                </c:pt>
                <c:pt idx="65">
                  <c:v>1.1175999999999999</c:v>
                </c:pt>
                <c:pt idx="66">
                  <c:v>1.11785</c:v>
                </c:pt>
                <c:pt idx="67">
                  <c:v>1.11155</c:v>
                </c:pt>
                <c:pt idx="68">
                  <c:v>1.1126499999999999</c:v>
                </c:pt>
                <c:pt idx="69">
                  <c:v>1.1111500000000001</c:v>
                </c:pt>
                <c:pt idx="70">
                  <c:v>1.1065</c:v>
                </c:pt>
                <c:pt idx="71">
                  <c:v>1.0991</c:v>
                </c:pt>
                <c:pt idx="72">
                  <c:v>1.0984</c:v>
                </c:pt>
                <c:pt idx="73">
                  <c:v>1.1034999999999999</c:v>
                </c:pt>
                <c:pt idx="74">
                  <c:v>1.0955999999999999</c:v>
                </c:pt>
                <c:pt idx="75">
                  <c:v>1.0931500000000001</c:v>
                </c:pt>
                <c:pt idx="76">
                  <c:v>1.0923</c:v>
                </c:pt>
                <c:pt idx="77">
                  <c:v>1.0907500000000001</c:v>
                </c:pt>
                <c:pt idx="78">
                  <c:v>1.0932500000000001</c:v>
                </c:pt>
                <c:pt idx="79">
                  <c:v>1.0933999999999999</c:v>
                </c:pt>
                <c:pt idx="80">
                  <c:v>1.09795</c:v>
                </c:pt>
                <c:pt idx="81">
                  <c:v>1.0922499999999999</c:v>
                </c:pt>
                <c:pt idx="82">
                  <c:v>1.07925</c:v>
                </c:pt>
                <c:pt idx="83">
                  <c:v>1.0821000000000001</c:v>
                </c:pt>
                <c:pt idx="84">
                  <c:v>1.0805</c:v>
                </c:pt>
                <c:pt idx="85">
                  <c:v>1.0815999999999999</c:v>
                </c:pt>
                <c:pt idx="86">
                  <c:v>1.0855999999999999</c:v>
                </c:pt>
                <c:pt idx="87">
                  <c:v>1.08555</c:v>
                </c:pt>
                <c:pt idx="88">
                  <c:v>1.0853999999999999</c:v>
                </c:pt>
                <c:pt idx="89">
                  <c:v>1.0845499999999999</c:v>
                </c:pt>
                <c:pt idx="90">
                  <c:v>1.0885</c:v>
                </c:pt>
                <c:pt idx="91">
                  <c:v>1.089</c:v>
                </c:pt>
                <c:pt idx="92">
                  <c:v>1.0914999999999999</c:v>
                </c:pt>
                <c:pt idx="93">
                  <c:v>1.0931500000000001</c:v>
                </c:pt>
                <c:pt idx="94">
                  <c:v>1.0879000000000001</c:v>
                </c:pt>
                <c:pt idx="95">
                  <c:v>1.0916999999999999</c:v>
                </c:pt>
                <c:pt idx="96">
                  <c:v>1.0909500000000001</c:v>
                </c:pt>
                <c:pt idx="97">
                  <c:v>1.0879000000000001</c:v>
                </c:pt>
                <c:pt idx="98">
                  <c:v>1.0824</c:v>
                </c:pt>
                <c:pt idx="99">
                  <c:v>1.0815999999999999</c:v>
                </c:pt>
                <c:pt idx="100">
                  <c:v>1.08345</c:v>
                </c:pt>
                <c:pt idx="101">
                  <c:v>1.0824</c:v>
                </c:pt>
                <c:pt idx="102">
                  <c:v>1.0808</c:v>
                </c:pt>
                <c:pt idx="103">
                  <c:v>1.0804499999999999</c:v>
                </c:pt>
                <c:pt idx="104">
                  <c:v>1.0743</c:v>
                </c:pt>
                <c:pt idx="105">
                  <c:v>1.0729500000000001</c:v>
                </c:pt>
                <c:pt idx="106">
                  <c:v>1.07175</c:v>
                </c:pt>
                <c:pt idx="107">
                  <c:v>1.0711999999999999</c:v>
                </c:pt>
                <c:pt idx="108">
                  <c:v>1.0681499999999999</c:v>
                </c:pt>
                <c:pt idx="109">
                  <c:v>1.0701000000000001</c:v>
                </c:pt>
                <c:pt idx="110">
                  <c:v>1.073</c:v>
                </c:pt>
                <c:pt idx="111">
                  <c:v>1.0682</c:v>
                </c:pt>
                <c:pt idx="112">
                  <c:v>1.0722</c:v>
                </c:pt>
                <c:pt idx="113">
                  <c:v>1.0749</c:v>
                </c:pt>
                <c:pt idx="114">
                  <c:v>1.0739000000000001</c:v>
                </c:pt>
                <c:pt idx="115">
                  <c:v>1.07165</c:v>
                </c:pt>
                <c:pt idx="116">
                  <c:v>1.0687500000000001</c:v>
                </c:pt>
                <c:pt idx="117">
                  <c:v>1.0771500000000001</c:v>
                </c:pt>
                <c:pt idx="118">
                  <c:v>1.0847500000000001</c:v>
                </c:pt>
                <c:pt idx="119">
                  <c:v>1.0723</c:v>
                </c:pt>
                <c:pt idx="120">
                  <c:v>1.07345</c:v>
                </c:pt>
                <c:pt idx="121">
                  <c:v>1.0811999999999999</c:v>
                </c:pt>
                <c:pt idx="122">
                  <c:v>1.08785</c:v>
                </c:pt>
                <c:pt idx="123">
                  <c:v>1.0866499999999999</c:v>
                </c:pt>
                <c:pt idx="124">
                  <c:v>1.0880000000000001</c:v>
                </c:pt>
                <c:pt idx="125">
                  <c:v>1.087</c:v>
                </c:pt>
                <c:pt idx="126">
                  <c:v>1.0855999999999999</c:v>
                </c:pt>
                <c:pt idx="127">
                  <c:v>1.0841000000000001</c:v>
                </c:pt>
                <c:pt idx="128">
                  <c:v>1.0813999999999999</c:v>
                </c:pt>
                <c:pt idx="129">
                  <c:v>1.08745</c:v>
                </c:pt>
                <c:pt idx="130">
                  <c:v>1.08585</c:v>
                </c:pt>
                <c:pt idx="131">
                  <c:v>1.0846</c:v>
                </c:pt>
                <c:pt idx="132">
                  <c:v>1.0826499999999999</c:v>
                </c:pt>
                <c:pt idx="133">
                  <c:v>1.0833999999999999</c:v>
                </c:pt>
                <c:pt idx="134">
                  <c:v>1.0860000000000001</c:v>
                </c:pt>
                <c:pt idx="135">
                  <c:v>1.0865</c:v>
                </c:pt>
                <c:pt idx="136">
                  <c:v>1.0875999999999999</c:v>
                </c:pt>
                <c:pt idx="137">
                  <c:v>1.087</c:v>
                </c:pt>
                <c:pt idx="138">
                  <c:v>1.08565</c:v>
                </c:pt>
                <c:pt idx="139">
                  <c:v>1.0825</c:v>
                </c:pt>
                <c:pt idx="140">
                  <c:v>1.0803499999999999</c:v>
                </c:pt>
                <c:pt idx="141">
                  <c:v>1.0764</c:v>
                </c:pt>
                <c:pt idx="142">
                  <c:v>1.07765</c:v>
                </c:pt>
                <c:pt idx="143">
                  <c:v>1.0749500000000001</c:v>
                </c:pt>
                <c:pt idx="144">
                  <c:v>1.0778000000000001</c:v>
                </c:pt>
                <c:pt idx="145">
                  <c:v>1.07805</c:v>
                </c:pt>
                <c:pt idx="146">
                  <c:v>1.0767500000000001</c:v>
                </c:pt>
                <c:pt idx="147">
                  <c:v>1.0688500000000001</c:v>
                </c:pt>
                <c:pt idx="148">
                  <c:v>1.0683499999999999</c:v>
                </c:pt>
                <c:pt idx="149">
                  <c:v>1.06925</c:v>
                </c:pt>
                <c:pt idx="150">
                  <c:v>1.0712999999999999</c:v>
                </c:pt>
                <c:pt idx="151">
                  <c:v>1.0680000000000001</c:v>
                </c:pt>
                <c:pt idx="152">
                  <c:v>1.0712999999999999</c:v>
                </c:pt>
                <c:pt idx="153">
                  <c:v>1.0688500000000001</c:v>
                </c:pt>
                <c:pt idx="154">
                  <c:v>1.0698000000000001</c:v>
                </c:pt>
                <c:pt idx="155">
                  <c:v>1.0645</c:v>
                </c:pt>
                <c:pt idx="156">
                  <c:v>1.0669999999999999</c:v>
                </c:pt>
                <c:pt idx="157">
                  <c:v>1.06555</c:v>
                </c:pt>
                <c:pt idx="158">
                  <c:v>1.06365</c:v>
                </c:pt>
                <c:pt idx="159">
                  <c:v>1.06315</c:v>
                </c:pt>
                <c:pt idx="160">
                  <c:v>1.0627</c:v>
                </c:pt>
                <c:pt idx="161">
                  <c:v>1.0630500000000001</c:v>
                </c:pt>
                <c:pt idx="162">
                  <c:v>1.0705499999999999</c:v>
                </c:pt>
                <c:pt idx="163">
                  <c:v>1.07535</c:v>
                </c:pt>
                <c:pt idx="164">
                  <c:v>1.08575</c:v>
                </c:pt>
                <c:pt idx="165">
                  <c:v>1.0852999999999999</c:v>
                </c:pt>
                <c:pt idx="166">
                  <c:v>1.0818000000000001</c:v>
                </c:pt>
                <c:pt idx="167">
                  <c:v>1.0868</c:v>
                </c:pt>
                <c:pt idx="168">
                  <c:v>1.0822499999999999</c:v>
                </c:pt>
                <c:pt idx="169">
                  <c:v>1.0766</c:v>
                </c:pt>
                <c:pt idx="170">
                  <c:v>1.0744499999999999</c:v>
                </c:pt>
                <c:pt idx="171">
                  <c:v>1.08</c:v>
                </c:pt>
                <c:pt idx="172">
                  <c:v>1.08</c:v>
                </c:pt>
                <c:pt idx="173">
                  <c:v>1.08205</c:v>
                </c:pt>
                <c:pt idx="174">
                  <c:v>1.0828500000000001</c:v>
                </c:pt>
                <c:pt idx="175">
                  <c:v>1.08375</c:v>
                </c:pt>
                <c:pt idx="176">
                  <c:v>1.0815999999999999</c:v>
                </c:pt>
                <c:pt idx="177">
                  <c:v>1.0861000000000001</c:v>
                </c:pt>
                <c:pt idx="178">
                  <c:v>1.0853999999999999</c:v>
                </c:pt>
                <c:pt idx="179">
                  <c:v>1.0859000000000001</c:v>
                </c:pt>
                <c:pt idx="180">
                  <c:v>1.0885499999999999</c:v>
                </c:pt>
                <c:pt idx="181">
                  <c:v>1.0888</c:v>
                </c:pt>
                <c:pt idx="182">
                  <c:v>1.0888</c:v>
                </c:pt>
                <c:pt idx="183">
                  <c:v>1.0943499999999999</c:v>
                </c:pt>
                <c:pt idx="184">
                  <c:v>1.0918000000000001</c:v>
                </c:pt>
                <c:pt idx="185">
                  <c:v>1.0927500000000001</c:v>
                </c:pt>
                <c:pt idx="186">
                  <c:v>1.0960000000000001</c:v>
                </c:pt>
                <c:pt idx="187">
                  <c:v>1.0929500000000001</c:v>
                </c:pt>
                <c:pt idx="188">
                  <c:v>1.0907500000000001</c:v>
                </c:pt>
                <c:pt idx="189">
                  <c:v>1.0871500000000001</c:v>
                </c:pt>
                <c:pt idx="190">
                  <c:v>1.0863499999999999</c:v>
                </c:pt>
                <c:pt idx="191">
                  <c:v>1.08355</c:v>
                </c:pt>
                <c:pt idx="192">
                  <c:v>1.0821499999999999</c:v>
                </c:pt>
                <c:pt idx="193">
                  <c:v>1.08345</c:v>
                </c:pt>
                <c:pt idx="194">
                  <c:v>1.0848</c:v>
                </c:pt>
                <c:pt idx="195">
                  <c:v>1.0851500000000001</c:v>
                </c:pt>
                <c:pt idx="196">
                  <c:v>1.0821499999999999</c:v>
                </c:pt>
                <c:pt idx="197">
                  <c:v>1.0810500000000001</c:v>
                </c:pt>
                <c:pt idx="198">
                  <c:v>1.0805499999999999</c:v>
                </c:pt>
                <c:pt idx="199">
                  <c:v>1.0823499999999999</c:v>
                </c:pt>
                <c:pt idx="200">
                  <c:v>1.0767500000000001</c:v>
                </c:pt>
                <c:pt idx="201">
                  <c:v>1.0771500000000001</c:v>
                </c:pt>
                <c:pt idx="202">
                  <c:v>1.0762</c:v>
                </c:pt>
                <c:pt idx="203">
                  <c:v>1.0721000000000001</c:v>
                </c:pt>
                <c:pt idx="204">
                  <c:v>1.07175</c:v>
                </c:pt>
                <c:pt idx="205">
                  <c:v>1.0767500000000001</c:v>
                </c:pt>
                <c:pt idx="206">
                  <c:v>1.0786500000000001</c:v>
                </c:pt>
                <c:pt idx="207">
                  <c:v>1.0762</c:v>
                </c:pt>
                <c:pt idx="208">
                  <c:v>1.07575</c:v>
                </c:pt>
                <c:pt idx="209">
                  <c:v>1.0744</c:v>
                </c:pt>
                <c:pt idx="210">
                  <c:v>1.0725499999999999</c:v>
                </c:pt>
                <c:pt idx="211">
                  <c:v>1.0802</c:v>
                </c:pt>
                <c:pt idx="212">
                  <c:v>1.0829</c:v>
                </c:pt>
                <c:pt idx="213">
                  <c:v>1.0862499999999999</c:v>
                </c:pt>
                <c:pt idx="214">
                  <c:v>1.08365</c:v>
                </c:pt>
                <c:pt idx="215">
                  <c:v>1.07985</c:v>
                </c:pt>
                <c:pt idx="216">
                  <c:v>1.0862499999999999</c:v>
                </c:pt>
                <c:pt idx="217">
                  <c:v>1.0830500000000001</c:v>
                </c:pt>
                <c:pt idx="218">
                  <c:v>1.09015</c:v>
                </c:pt>
                <c:pt idx="219">
                  <c:v>1.08325</c:v>
                </c:pt>
                <c:pt idx="220">
                  <c:v>1.0885499999999999</c:v>
                </c:pt>
                <c:pt idx="221">
                  <c:v>1.0883</c:v>
                </c:pt>
                <c:pt idx="222">
                  <c:v>1.0851500000000001</c:v>
                </c:pt>
                <c:pt idx="223">
                  <c:v>1.0849500000000001</c:v>
                </c:pt>
                <c:pt idx="224">
                  <c:v>1.08765</c:v>
                </c:pt>
                <c:pt idx="225">
                  <c:v>1.0950500000000001</c:v>
                </c:pt>
                <c:pt idx="226">
                  <c:v>1.0965499999999999</c:v>
                </c:pt>
                <c:pt idx="227">
                  <c:v>1.0946499999999999</c:v>
                </c:pt>
                <c:pt idx="228">
                  <c:v>1.0967499999999999</c:v>
                </c:pt>
                <c:pt idx="229">
                  <c:v>1.0918000000000001</c:v>
                </c:pt>
                <c:pt idx="230">
                  <c:v>1.0971500000000001</c:v>
                </c:pt>
                <c:pt idx="231">
                  <c:v>1.09785</c:v>
                </c:pt>
                <c:pt idx="232">
                  <c:v>1.09555</c:v>
                </c:pt>
                <c:pt idx="233">
                  <c:v>1.0905499999999999</c:v>
                </c:pt>
                <c:pt idx="234">
                  <c:v>1.0943499999999999</c:v>
                </c:pt>
                <c:pt idx="235">
                  <c:v>1.1046499999999999</c:v>
                </c:pt>
                <c:pt idx="236">
                  <c:v>1.1046499999999999</c:v>
                </c:pt>
                <c:pt idx="237">
                  <c:v>1.1105499999999999</c:v>
                </c:pt>
                <c:pt idx="238">
                  <c:v>1.1105</c:v>
                </c:pt>
                <c:pt idx="239">
                  <c:v>1.1026499999999999</c:v>
                </c:pt>
                <c:pt idx="240">
                  <c:v>1.1012500000000001</c:v>
                </c:pt>
                <c:pt idx="241">
                  <c:v>1.1012500000000001</c:v>
                </c:pt>
                <c:pt idx="242">
                  <c:v>1.099</c:v>
                </c:pt>
                <c:pt idx="243">
                  <c:v>1.09735</c:v>
                </c:pt>
                <c:pt idx="244">
                  <c:v>1.0986499999999999</c:v>
                </c:pt>
                <c:pt idx="245">
                  <c:v>1.0914999999999999</c:v>
                </c:pt>
                <c:pt idx="246">
                  <c:v>1.09155</c:v>
                </c:pt>
                <c:pt idx="247">
                  <c:v>1.09945</c:v>
                </c:pt>
                <c:pt idx="248">
                  <c:v>1.07945</c:v>
                </c:pt>
                <c:pt idx="249">
                  <c:v>1.0781499999999999</c:v>
                </c:pt>
                <c:pt idx="250">
                  <c:v>1.0744499999999999</c:v>
                </c:pt>
                <c:pt idx="251">
                  <c:v>1.0768500000000001</c:v>
                </c:pt>
                <c:pt idx="252">
                  <c:v>1.0784499999999999</c:v>
                </c:pt>
                <c:pt idx="253">
                  <c:v>1.0790999999999999</c:v>
                </c:pt>
                <c:pt idx="254">
                  <c:v>1.0805499999999999</c:v>
                </c:pt>
                <c:pt idx="255">
                  <c:v>1.08155</c:v>
                </c:pt>
                <c:pt idx="256">
                  <c:v>1.08355</c:v>
                </c:pt>
                <c:pt idx="257">
                  <c:v>1.0911</c:v>
                </c:pt>
                <c:pt idx="258">
                  <c:v>1.0974999999999999</c:v>
                </c:pt>
                <c:pt idx="259">
                  <c:v>1.0981000000000001</c:v>
                </c:pt>
                <c:pt idx="260">
                  <c:v>1.0932999999999999</c:v>
                </c:pt>
                <c:pt idx="261">
                  <c:v>1.0940000000000001</c:v>
                </c:pt>
                <c:pt idx="262">
                  <c:v>1.091</c:v>
                </c:pt>
                <c:pt idx="263">
                  <c:v>1.0866499999999999</c:v>
                </c:pt>
                <c:pt idx="264">
                  <c:v>1.09345</c:v>
                </c:pt>
                <c:pt idx="265">
                  <c:v>1.09395</c:v>
                </c:pt>
                <c:pt idx="266">
                  <c:v>1.0887500000000001</c:v>
                </c:pt>
                <c:pt idx="267">
                  <c:v>1.08775</c:v>
                </c:pt>
                <c:pt idx="268">
                  <c:v>1.0865499999999999</c:v>
                </c:pt>
                <c:pt idx="269">
                  <c:v>1.08375</c:v>
                </c:pt>
                <c:pt idx="270">
                  <c:v>1.0690500000000001</c:v>
                </c:pt>
                <c:pt idx="271">
                  <c:v>1.0670500000000001</c:v>
                </c:pt>
                <c:pt idx="272">
                  <c:v>1.07155</c:v>
                </c:pt>
                <c:pt idx="273">
                  <c:v>1.0706500000000001</c:v>
                </c:pt>
                <c:pt idx="274">
                  <c:v>1.0685</c:v>
                </c:pt>
                <c:pt idx="275">
                  <c:v>1.0744499999999999</c:v>
                </c:pt>
                <c:pt idx="276">
                  <c:v>1.07335</c:v>
                </c:pt>
                <c:pt idx="277">
                  <c:v>1.06185</c:v>
                </c:pt>
                <c:pt idx="278">
                  <c:v>1.05375</c:v>
                </c:pt>
                <c:pt idx="279">
                  <c:v>1.0569999999999999</c:v>
                </c:pt>
                <c:pt idx="280">
                  <c:v>1.0619499999999999</c:v>
                </c:pt>
                <c:pt idx="281">
                  <c:v>1.0579000000000001</c:v>
                </c:pt>
                <c:pt idx="282">
                  <c:v>1.0543</c:v>
                </c:pt>
                <c:pt idx="283">
                  <c:v>1.0586500000000001</c:v>
                </c:pt>
                <c:pt idx="284">
                  <c:v>1.0599000000000001</c:v>
                </c:pt>
                <c:pt idx="285">
                  <c:v>1.0629500000000001</c:v>
                </c:pt>
                <c:pt idx="286">
                  <c:v>1.0588500000000001</c:v>
                </c:pt>
                <c:pt idx="287">
                  <c:v>1.0568500000000001</c:v>
                </c:pt>
                <c:pt idx="288">
                  <c:v>1.05385</c:v>
                </c:pt>
                <c:pt idx="289">
                  <c:v>1.05765</c:v>
                </c:pt>
                <c:pt idx="290">
                  <c:v>1.0549500000000001</c:v>
                </c:pt>
                <c:pt idx="291">
                  <c:v>1.0503499999999999</c:v>
                </c:pt>
                <c:pt idx="292">
                  <c:v>1.05555</c:v>
                </c:pt>
                <c:pt idx="293">
                  <c:v>1.0623499999999999</c:v>
                </c:pt>
                <c:pt idx="294">
                  <c:v>1.05975</c:v>
                </c:pt>
                <c:pt idx="295">
                  <c:v>1.0545500000000001</c:v>
                </c:pt>
                <c:pt idx="296">
                  <c:v>1.05385</c:v>
                </c:pt>
                <c:pt idx="297">
                  <c:v>1.05305</c:v>
                </c:pt>
                <c:pt idx="298">
                  <c:v>1.04925</c:v>
                </c:pt>
                <c:pt idx="299">
                  <c:v>1.04755</c:v>
                </c:pt>
                <c:pt idx="300">
                  <c:v>1.0497000000000001</c:v>
                </c:pt>
                <c:pt idx="301">
                  <c:v>1.0587500000000001</c:v>
                </c:pt>
                <c:pt idx="302">
                  <c:v>1.0563</c:v>
                </c:pt>
                <c:pt idx="303">
                  <c:v>1.05115</c:v>
                </c:pt>
                <c:pt idx="304">
                  <c:v>1.0584</c:v>
                </c:pt>
                <c:pt idx="305">
                  <c:v>1.05775</c:v>
                </c:pt>
                <c:pt idx="306">
                  <c:v>1.0658000000000001</c:v>
                </c:pt>
                <c:pt idx="307">
                  <c:v>1.0660000000000001</c:v>
                </c:pt>
                <c:pt idx="308">
                  <c:v>1.07195</c:v>
                </c:pt>
                <c:pt idx="309">
                  <c:v>1.069</c:v>
                </c:pt>
                <c:pt idx="310">
                  <c:v>1.06755</c:v>
                </c:pt>
                <c:pt idx="311">
                  <c:v>1.0666500000000001</c:v>
                </c:pt>
                <c:pt idx="312">
                  <c:v>1.0665500000000001</c:v>
                </c:pt>
                <c:pt idx="313">
                  <c:v>1.07385</c:v>
                </c:pt>
                <c:pt idx="314">
                  <c:v>1.07135</c:v>
                </c:pt>
                <c:pt idx="315">
                  <c:v>1.0746</c:v>
                </c:pt>
                <c:pt idx="316">
                  <c:v>1.0714999999999999</c:v>
                </c:pt>
                <c:pt idx="317">
                  <c:v>1.0705</c:v>
                </c:pt>
                <c:pt idx="318">
                  <c:v>1.0708</c:v>
                </c:pt>
                <c:pt idx="319">
                  <c:v>1.0708500000000001</c:v>
                </c:pt>
                <c:pt idx="320">
                  <c:v>1.0785499999999999</c:v>
                </c:pt>
                <c:pt idx="321">
                  <c:v>1.0807500000000001</c:v>
                </c:pt>
                <c:pt idx="322">
                  <c:v>1.08535</c:v>
                </c:pt>
                <c:pt idx="323">
                  <c:v>1.0928500000000001</c:v>
                </c:pt>
                <c:pt idx="324">
                  <c:v>1.0829</c:v>
                </c:pt>
                <c:pt idx="325">
                  <c:v>1.0805499999999999</c:v>
                </c:pt>
                <c:pt idx="326">
                  <c:v>1.0770500000000001</c:v>
                </c:pt>
                <c:pt idx="327">
                  <c:v>1.08395</c:v>
                </c:pt>
                <c:pt idx="328">
                  <c:v>1.0846499999999999</c:v>
                </c:pt>
                <c:pt idx="329">
                  <c:v>1.0850500000000001</c:v>
                </c:pt>
                <c:pt idx="330">
                  <c:v>1.0887500000000001</c:v>
                </c:pt>
                <c:pt idx="331">
                  <c:v>1.08735</c:v>
                </c:pt>
                <c:pt idx="332">
                  <c:v>1.0889500000000001</c:v>
                </c:pt>
                <c:pt idx="333">
                  <c:v>1.0907</c:v>
                </c:pt>
                <c:pt idx="334">
                  <c:v>1.09395</c:v>
                </c:pt>
                <c:pt idx="335">
                  <c:v>1.0904499999999999</c:v>
                </c:pt>
                <c:pt idx="336">
                  <c:v>1.0972</c:v>
                </c:pt>
                <c:pt idx="337">
                  <c:v>1.10185</c:v>
                </c:pt>
                <c:pt idx="338">
                  <c:v>1.0983499999999999</c:v>
                </c:pt>
                <c:pt idx="339">
                  <c:v>1.0946499999999999</c:v>
                </c:pt>
                <c:pt idx="340">
                  <c:v>1.1003499999999999</c:v>
                </c:pt>
                <c:pt idx="341">
                  <c:v>1.1023000000000001</c:v>
                </c:pt>
                <c:pt idx="342">
                  <c:v>1.0932500000000001</c:v>
                </c:pt>
                <c:pt idx="343">
                  <c:v>1.0927</c:v>
                </c:pt>
                <c:pt idx="344">
                  <c:v>1.09795</c:v>
                </c:pt>
                <c:pt idx="345">
                  <c:v>1.1025499999999999</c:v>
                </c:pt>
                <c:pt idx="346">
                  <c:v>1.10355</c:v>
                </c:pt>
                <c:pt idx="347">
                  <c:v>1.0991500000000001</c:v>
                </c:pt>
                <c:pt idx="348">
                  <c:v>1.1064000000000001</c:v>
                </c:pt>
                <c:pt idx="349">
                  <c:v>1.1044499999999999</c:v>
                </c:pt>
                <c:pt idx="350">
                  <c:v>1.1080000000000001</c:v>
                </c:pt>
                <c:pt idx="351">
                  <c:v>1.1113500000000001</c:v>
                </c:pt>
                <c:pt idx="352">
                  <c:v>1.1147499999999999</c:v>
                </c:pt>
                <c:pt idx="353">
                  <c:v>1.1191</c:v>
                </c:pt>
                <c:pt idx="354">
                  <c:v>1.12365</c:v>
                </c:pt>
                <c:pt idx="355">
                  <c:v>1.1232500000000001</c:v>
                </c:pt>
                <c:pt idx="356">
                  <c:v>1.12425</c:v>
                </c:pt>
                <c:pt idx="357">
                  <c:v>1.1194500000000001</c:v>
                </c:pt>
                <c:pt idx="358">
                  <c:v>1.1121000000000001</c:v>
                </c:pt>
                <c:pt idx="359">
                  <c:v>1.0990500000000001</c:v>
                </c:pt>
                <c:pt idx="360">
                  <c:v>1.09765</c:v>
                </c:pt>
                <c:pt idx="361">
                  <c:v>1.0949500000000001</c:v>
                </c:pt>
                <c:pt idx="362">
                  <c:v>1.0867500000000001</c:v>
                </c:pt>
                <c:pt idx="363">
                  <c:v>1.0873999999999999</c:v>
                </c:pt>
                <c:pt idx="364">
                  <c:v>1.0902000000000001</c:v>
                </c:pt>
                <c:pt idx="365">
                  <c:v>1.0906499999999999</c:v>
                </c:pt>
                <c:pt idx="366">
                  <c:v>1.091</c:v>
                </c:pt>
                <c:pt idx="367">
                  <c:v>1.0888500000000001</c:v>
                </c:pt>
                <c:pt idx="368">
                  <c:v>1.09005</c:v>
                </c:pt>
                <c:pt idx="369">
                  <c:v>1.095</c:v>
                </c:pt>
                <c:pt idx="370">
                  <c:v>1.0909</c:v>
                </c:pt>
                <c:pt idx="371">
                  <c:v>1.0882499999999999</c:v>
                </c:pt>
                <c:pt idx="372">
                  <c:v>1.09595</c:v>
                </c:pt>
                <c:pt idx="373">
                  <c:v>1.0954999999999999</c:v>
                </c:pt>
                <c:pt idx="374">
                  <c:v>1.0902000000000001</c:v>
                </c:pt>
                <c:pt idx="375">
                  <c:v>1.0924499999999999</c:v>
                </c:pt>
                <c:pt idx="376">
                  <c:v>1.0925499999999999</c:v>
                </c:pt>
                <c:pt idx="377">
                  <c:v>1.0911500000000001</c:v>
                </c:pt>
                <c:pt idx="378">
                  <c:v>1.08545</c:v>
                </c:pt>
                <c:pt idx="379">
                  <c:v>1.0802499999999999</c:v>
                </c:pt>
                <c:pt idx="380">
                  <c:v>1.0747500000000001</c:v>
                </c:pt>
                <c:pt idx="381">
                  <c:v>1.0757000000000001</c:v>
                </c:pt>
                <c:pt idx="382">
                  <c:v>1.0770500000000001</c:v>
                </c:pt>
                <c:pt idx="383">
                  <c:v>1.0707500000000001</c:v>
                </c:pt>
                <c:pt idx="384">
                  <c:v>1.0690500000000001</c:v>
                </c:pt>
                <c:pt idx="385">
                  <c:v>1.07115</c:v>
                </c:pt>
                <c:pt idx="386">
                  <c:v>1.0725499999999999</c:v>
                </c:pt>
                <c:pt idx="387">
                  <c:v>1.07315</c:v>
                </c:pt>
                <c:pt idx="388">
                  <c:v>1.0661</c:v>
                </c:pt>
                <c:pt idx="389">
                  <c:v>1.0727500000000001</c:v>
                </c:pt>
                <c:pt idx="390">
                  <c:v>1.0709</c:v>
                </c:pt>
                <c:pt idx="391">
                  <c:v>1.0705499999999999</c:v>
                </c:pt>
                <c:pt idx="392">
                  <c:v>1.0728500000000001</c:v>
                </c:pt>
                <c:pt idx="393">
                  <c:v>1.0762499999999999</c:v>
                </c:pt>
                <c:pt idx="394">
                  <c:v>1.07785</c:v>
                </c:pt>
                <c:pt idx="395">
                  <c:v>1.0799000000000001</c:v>
                </c:pt>
                <c:pt idx="396">
                  <c:v>1.0787</c:v>
                </c:pt>
                <c:pt idx="397">
                  <c:v>1.0769500000000001</c:v>
                </c:pt>
                <c:pt idx="398">
                  <c:v>1.08205</c:v>
                </c:pt>
                <c:pt idx="399">
                  <c:v>1.0866499999999999</c:v>
                </c:pt>
                <c:pt idx="400">
                  <c:v>1.0865499999999999</c:v>
                </c:pt>
                <c:pt idx="401">
                  <c:v>1.0862499999999999</c:v>
                </c:pt>
                <c:pt idx="402">
                  <c:v>1.0918000000000001</c:v>
                </c:pt>
                <c:pt idx="403">
                  <c:v>1.0972</c:v>
                </c:pt>
                <c:pt idx="404">
                  <c:v>1.09555</c:v>
                </c:pt>
                <c:pt idx="405">
                  <c:v>1.1013999999999999</c:v>
                </c:pt>
                <c:pt idx="406">
                  <c:v>1.1006499999999999</c:v>
                </c:pt>
                <c:pt idx="407">
                  <c:v>1.10005</c:v>
                </c:pt>
                <c:pt idx="408">
                  <c:v>1.1052999999999999</c:v>
                </c:pt>
                <c:pt idx="409">
                  <c:v>1.0979000000000001</c:v>
                </c:pt>
                <c:pt idx="410">
                  <c:v>1.09805</c:v>
                </c:pt>
                <c:pt idx="411">
                  <c:v>1.1040000000000001</c:v>
                </c:pt>
                <c:pt idx="412">
                  <c:v>1.1010500000000001</c:v>
                </c:pt>
                <c:pt idx="413">
                  <c:v>1.1043499999999999</c:v>
                </c:pt>
                <c:pt idx="414">
                  <c:v>1.09775</c:v>
                </c:pt>
                <c:pt idx="415">
                  <c:v>1.1029500000000001</c:v>
                </c:pt>
                <c:pt idx="416">
                  <c:v>1.09735</c:v>
                </c:pt>
                <c:pt idx="417">
                  <c:v>1.09785</c:v>
                </c:pt>
                <c:pt idx="418">
                  <c:v>1.09585</c:v>
                </c:pt>
                <c:pt idx="419">
                  <c:v>1.0962499999999999</c:v>
                </c:pt>
                <c:pt idx="420">
                  <c:v>1.0915999999999999</c:v>
                </c:pt>
                <c:pt idx="421">
                  <c:v>1.1007499999999999</c:v>
                </c:pt>
                <c:pt idx="422">
                  <c:v>1.1047499999999999</c:v>
                </c:pt>
                <c:pt idx="423">
                  <c:v>1.09775</c:v>
                </c:pt>
                <c:pt idx="424">
                  <c:v>1.0912500000000001</c:v>
                </c:pt>
                <c:pt idx="425">
                  <c:v>1.08395</c:v>
                </c:pt>
                <c:pt idx="426">
                  <c:v>1.0923499999999999</c:v>
                </c:pt>
                <c:pt idx="427">
                  <c:v>1.0923499999999999</c:v>
                </c:pt>
                <c:pt idx="428">
                  <c:v>1.0911500000000001</c:v>
                </c:pt>
                <c:pt idx="429">
                  <c:v>1.0969500000000001</c:v>
                </c:pt>
                <c:pt idx="430">
                  <c:v>1.0888500000000001</c:v>
                </c:pt>
                <c:pt idx="431">
                  <c:v>1.0864499999999999</c:v>
                </c:pt>
                <c:pt idx="432">
                  <c:v>1.0912999999999999</c:v>
                </c:pt>
                <c:pt idx="433">
                  <c:v>1.0831</c:v>
                </c:pt>
                <c:pt idx="434">
                  <c:v>1.08335</c:v>
                </c:pt>
                <c:pt idx="435">
                  <c:v>1.0781499999999999</c:v>
                </c:pt>
                <c:pt idx="436">
                  <c:v>1.0762499999999999</c:v>
                </c:pt>
                <c:pt idx="437">
                  <c:v>1.089</c:v>
                </c:pt>
                <c:pt idx="438">
                  <c:v>1.0791500000000001</c:v>
                </c:pt>
                <c:pt idx="439">
                  <c:v>1.0770500000000001</c:v>
                </c:pt>
                <c:pt idx="440">
                  <c:v>1.0721499999999999</c:v>
                </c:pt>
                <c:pt idx="441">
                  <c:v>1.0645500000000001</c:v>
                </c:pt>
                <c:pt idx="442">
                  <c:v>1.0620499999999999</c:v>
                </c:pt>
                <c:pt idx="443">
                  <c:v>1.05345</c:v>
                </c:pt>
                <c:pt idx="444">
                  <c:v>1.0723499999999999</c:v>
                </c:pt>
                <c:pt idx="445">
                  <c:v>1.07325</c:v>
                </c:pt>
                <c:pt idx="446">
                  <c:v>1.0687500000000001</c:v>
                </c:pt>
                <c:pt idx="447">
                  <c:v>1.0569</c:v>
                </c:pt>
                <c:pt idx="448">
                  <c:v>1.05525</c:v>
                </c:pt>
                <c:pt idx="449">
                  <c:v>1.0585500000000001</c:v>
                </c:pt>
                <c:pt idx="450">
                  <c:v>1.0679000000000001</c:v>
                </c:pt>
                <c:pt idx="451">
                  <c:v>1.05975</c:v>
                </c:pt>
                <c:pt idx="452">
                  <c:v>1.06105</c:v>
                </c:pt>
                <c:pt idx="453">
                  <c:v>1.06715</c:v>
                </c:pt>
                <c:pt idx="454">
                  <c:v>1.0605</c:v>
                </c:pt>
                <c:pt idx="455">
                  <c:v>1.0601499999999999</c:v>
                </c:pt>
                <c:pt idx="456">
                  <c:v>1.0541499999999999</c:v>
                </c:pt>
                <c:pt idx="457">
                  <c:v>1.05965</c:v>
                </c:pt>
                <c:pt idx="458">
                  <c:v>1.0628</c:v>
                </c:pt>
                <c:pt idx="459">
                  <c:v>1.0683499999999999</c:v>
                </c:pt>
                <c:pt idx="460">
                  <c:v>1.0687500000000001</c:v>
                </c:pt>
                <c:pt idx="461">
                  <c:v>1.0663499999999999</c:v>
                </c:pt>
                <c:pt idx="462">
                  <c:v>1.0672999999999999</c:v>
                </c:pt>
                <c:pt idx="463">
                  <c:v>1.0676000000000001</c:v>
                </c:pt>
                <c:pt idx="464">
                  <c:v>1.07185</c:v>
                </c:pt>
                <c:pt idx="465">
                  <c:v>1.07195</c:v>
                </c:pt>
                <c:pt idx="466">
                  <c:v>1.06765</c:v>
                </c:pt>
                <c:pt idx="467">
                  <c:v>1.0762</c:v>
                </c:pt>
                <c:pt idx="468">
                  <c:v>1.0724499999999999</c:v>
                </c:pt>
                <c:pt idx="469">
                  <c:v>1.06925</c:v>
                </c:pt>
                <c:pt idx="470">
                  <c:v>1.07315</c:v>
                </c:pt>
                <c:pt idx="471">
                  <c:v>1.08575</c:v>
                </c:pt>
                <c:pt idx="472">
                  <c:v>1.09405</c:v>
                </c:pt>
                <c:pt idx="473">
                  <c:v>1.09215</c:v>
                </c:pt>
                <c:pt idx="474">
                  <c:v>1.08605</c:v>
                </c:pt>
                <c:pt idx="475">
                  <c:v>1.0870500000000001</c:v>
                </c:pt>
                <c:pt idx="476">
                  <c:v>1.08405</c:v>
                </c:pt>
                <c:pt idx="477">
                  <c:v>1.0853999999999999</c:v>
                </c:pt>
                <c:pt idx="478">
                  <c:v>1.0902499999999999</c:v>
                </c:pt>
                <c:pt idx="479">
                  <c:v>1.08755</c:v>
                </c:pt>
                <c:pt idx="480">
                  <c:v>1.0865</c:v>
                </c:pt>
                <c:pt idx="481">
                  <c:v>1.0831</c:v>
                </c:pt>
                <c:pt idx="482">
                  <c:v>1.0789500000000001</c:v>
                </c:pt>
                <c:pt idx="483">
                  <c:v>1.0831500000000001</c:v>
                </c:pt>
                <c:pt idx="484">
                  <c:v>1.0801499999999999</c:v>
                </c:pt>
                <c:pt idx="485">
                  <c:v>1.0825499999999999</c:v>
                </c:pt>
                <c:pt idx="486">
                  <c:v>1.0829500000000001</c:v>
                </c:pt>
                <c:pt idx="487">
                  <c:v>1.0806500000000001</c:v>
                </c:pt>
                <c:pt idx="488">
                  <c:v>1.07535</c:v>
                </c:pt>
                <c:pt idx="489">
                  <c:v>1.0728</c:v>
                </c:pt>
                <c:pt idx="490">
                  <c:v>1.0741499999999999</c:v>
                </c:pt>
                <c:pt idx="491">
                  <c:v>1.0602499999999999</c:v>
                </c:pt>
                <c:pt idx="492">
                  <c:v>1.0519499999999999</c:v>
                </c:pt>
                <c:pt idx="493">
                  <c:v>1.0603499999999999</c:v>
                </c:pt>
                <c:pt idx="494">
                  <c:v>1.05555</c:v>
                </c:pt>
                <c:pt idx="495">
                  <c:v>1.06725</c:v>
                </c:pt>
                <c:pt idx="496">
                  <c:v>1.06725</c:v>
                </c:pt>
                <c:pt idx="497">
                  <c:v>1.0666500000000001</c:v>
                </c:pt>
                <c:pt idx="498">
                  <c:v>1.06185</c:v>
                </c:pt>
                <c:pt idx="499">
                  <c:v>1.0649500000000001</c:v>
                </c:pt>
                <c:pt idx="500">
                  <c:v>1.06135</c:v>
                </c:pt>
                <c:pt idx="501">
                  <c:v>1.06135</c:v>
                </c:pt>
                <c:pt idx="502">
                  <c:v>1.0600499999999999</c:v>
                </c:pt>
                <c:pt idx="503">
                  <c:v>1.06145</c:v>
                </c:pt>
                <c:pt idx="504">
                  <c:v>1.06395</c:v>
                </c:pt>
                <c:pt idx="505">
                  <c:v>1.0579499999999999</c:v>
                </c:pt>
                <c:pt idx="506">
                  <c:v>1.06155</c:v>
                </c:pt>
                <c:pt idx="507">
                  <c:v>1.0650500000000001</c:v>
                </c:pt>
                <c:pt idx="508">
                  <c:v>1.0647500000000001</c:v>
                </c:pt>
                <c:pt idx="509">
                  <c:v>1.06385</c:v>
                </c:pt>
                <c:pt idx="510">
                  <c:v>1.0521499999999999</c:v>
                </c:pt>
                <c:pt idx="511">
                  <c:v>1.0540499999999999</c:v>
                </c:pt>
                <c:pt idx="512">
                  <c:v>1.0545500000000001</c:v>
                </c:pt>
                <c:pt idx="513">
                  <c:v>1.0503499999999999</c:v>
                </c:pt>
                <c:pt idx="514">
                  <c:v>1.0502499999999999</c:v>
                </c:pt>
                <c:pt idx="515">
                  <c:v>1.0527500000000001</c:v>
                </c:pt>
                <c:pt idx="516">
                  <c:v>1.04735</c:v>
                </c:pt>
                <c:pt idx="517">
                  <c:v>1.0486500000000001</c:v>
                </c:pt>
                <c:pt idx="518">
                  <c:v>1.02965</c:v>
                </c:pt>
                <c:pt idx="519">
                  <c:v>1.03565</c:v>
                </c:pt>
                <c:pt idx="520">
                  <c:v>1.03975</c:v>
                </c:pt>
                <c:pt idx="521">
                  <c:v>1.0406500000000001</c:v>
                </c:pt>
                <c:pt idx="522">
                  <c:v>1.04095</c:v>
                </c:pt>
                <c:pt idx="523">
                  <c:v>1.03745</c:v>
                </c:pt>
                <c:pt idx="524">
                  <c:v>1.0284500000000001</c:v>
                </c:pt>
                <c:pt idx="525">
                  <c:v>1.0240499999999999</c:v>
                </c:pt>
                <c:pt idx="526">
                  <c:v>1.0361499999999999</c:v>
                </c:pt>
                <c:pt idx="527">
                  <c:v>1.03295</c:v>
                </c:pt>
                <c:pt idx="528">
                  <c:v>1.0405500000000001</c:v>
                </c:pt>
                <c:pt idx="529">
                  <c:v>1.0366500000000001</c:v>
                </c:pt>
                <c:pt idx="530">
                  <c:v>1.03315</c:v>
                </c:pt>
                <c:pt idx="531">
                  <c:v>1.0326500000000001</c:v>
                </c:pt>
                <c:pt idx="532">
                  <c:v>1.0181500000000001</c:v>
                </c:pt>
                <c:pt idx="533">
                  <c:v>1.00285</c:v>
                </c:pt>
                <c:pt idx="534">
                  <c:v>1.00665</c:v>
                </c:pt>
                <c:pt idx="535">
                  <c:v>0.99995000000000001</c:v>
                </c:pt>
                <c:pt idx="536">
                  <c:v>0.98955000000000004</c:v>
                </c:pt>
                <c:pt idx="537">
                  <c:v>0.97585</c:v>
                </c:pt>
                <c:pt idx="538">
                  <c:v>0.98719999999999997</c:v>
                </c:pt>
                <c:pt idx="539">
                  <c:v>0.98724999999999996</c:v>
                </c:pt>
                <c:pt idx="540">
                  <c:v>0.98834999999999995</c:v>
                </c:pt>
                <c:pt idx="541">
                  <c:v>0.99495</c:v>
                </c:pt>
                <c:pt idx="542">
                  <c:v>0.99975000000000003</c:v>
                </c:pt>
                <c:pt idx="543">
                  <c:v>1.00485</c:v>
                </c:pt>
                <c:pt idx="544">
                  <c:v>0.99585000000000001</c:v>
                </c:pt>
                <c:pt idx="545">
                  <c:v>0.98845000000000005</c:v>
                </c:pt>
                <c:pt idx="546">
                  <c:v>0.97965000000000002</c:v>
                </c:pt>
                <c:pt idx="547">
                  <c:v>0.98434999999999995</c:v>
                </c:pt>
                <c:pt idx="548">
                  <c:v>0.97904999999999998</c:v>
                </c:pt>
                <c:pt idx="549">
                  <c:v>0.98504999999999998</c:v>
                </c:pt>
                <c:pt idx="550">
                  <c:v>0.98165000000000002</c:v>
                </c:pt>
                <c:pt idx="551">
                  <c:v>0.97535000000000005</c:v>
                </c:pt>
                <c:pt idx="552">
                  <c:v>0.97165000000000001</c:v>
                </c:pt>
                <c:pt idx="553">
                  <c:v>0.97004999999999997</c:v>
                </c:pt>
                <c:pt idx="554">
                  <c:v>0.97089999999999999</c:v>
                </c:pt>
                <c:pt idx="555">
                  <c:v>0.97024999999999995</c:v>
                </c:pt>
                <c:pt idx="556">
                  <c:v>0.97855000000000003</c:v>
                </c:pt>
                <c:pt idx="557">
                  <c:v>0.98414999999999997</c:v>
                </c:pt>
                <c:pt idx="558">
                  <c:v>0.98555000000000004</c:v>
                </c:pt>
                <c:pt idx="559">
                  <c:v>0.99565000000000003</c:v>
                </c:pt>
                <c:pt idx="560">
                  <c:v>0.98175000000000001</c:v>
                </c:pt>
                <c:pt idx="561">
                  <c:v>0.97965000000000002</c:v>
                </c:pt>
                <c:pt idx="562">
                  <c:v>0.97665000000000002</c:v>
                </c:pt>
                <c:pt idx="563">
                  <c:v>0.96304999999999996</c:v>
                </c:pt>
                <c:pt idx="564">
                  <c:v>0.96209999999999996</c:v>
                </c:pt>
                <c:pt idx="565">
                  <c:v>0.96484999999999999</c:v>
                </c:pt>
                <c:pt idx="566">
                  <c:v>0.97055000000000002</c:v>
                </c:pt>
                <c:pt idx="567">
                  <c:v>0.98155000000000003</c:v>
                </c:pt>
                <c:pt idx="568">
                  <c:v>0.98785000000000001</c:v>
                </c:pt>
                <c:pt idx="569">
                  <c:v>0.99944999999999995</c:v>
                </c:pt>
                <c:pt idx="570">
                  <c:v>1.00125</c:v>
                </c:pt>
                <c:pt idx="571">
                  <c:v>1.00305</c:v>
                </c:pt>
                <c:pt idx="572">
                  <c:v>0.99955000000000005</c:v>
                </c:pt>
                <c:pt idx="573">
                  <c:v>0.99975000000000003</c:v>
                </c:pt>
                <c:pt idx="574">
                  <c:v>1.0015499999999999</c:v>
                </c:pt>
                <c:pt idx="575">
                  <c:v>1.0130999999999999</c:v>
                </c:pt>
                <c:pt idx="576">
                  <c:v>1.0042500000000001</c:v>
                </c:pt>
                <c:pt idx="577">
                  <c:v>0.99565000000000003</c:v>
                </c:pt>
                <c:pt idx="578">
                  <c:v>0.99485000000000001</c:v>
                </c:pt>
                <c:pt idx="579">
                  <c:v>0.99045000000000005</c:v>
                </c:pt>
                <c:pt idx="580">
                  <c:v>0.99204999999999999</c:v>
                </c:pt>
                <c:pt idx="581">
                  <c:v>1.00275</c:v>
                </c:pt>
                <c:pt idx="582">
                  <c:v>0.99360000000000004</c:v>
                </c:pt>
                <c:pt idx="583">
                  <c:v>1.0055499999999999</c:v>
                </c:pt>
                <c:pt idx="584">
                  <c:v>0.99885000000000002</c:v>
                </c:pt>
                <c:pt idx="585">
                  <c:v>0.99834999999999996</c:v>
                </c:pt>
                <c:pt idx="586">
                  <c:v>1.0016499999999999</c:v>
                </c:pt>
                <c:pt idx="587">
                  <c:v>0.99814999999999998</c:v>
                </c:pt>
                <c:pt idx="588">
                  <c:v>0.99919999999999998</c:v>
                </c:pt>
                <c:pt idx="589">
                  <c:v>0.99865000000000004</c:v>
                </c:pt>
                <c:pt idx="590">
                  <c:v>0.99665000000000004</c:v>
                </c:pt>
                <c:pt idx="591">
                  <c:v>1.0041500000000001</c:v>
                </c:pt>
                <c:pt idx="592">
                  <c:v>1.01295</c:v>
                </c:pt>
                <c:pt idx="593">
                  <c:v>1.0162500000000001</c:v>
                </c:pt>
                <c:pt idx="594">
                  <c:v>1.0179499999999999</c:v>
                </c:pt>
                <c:pt idx="595">
                  <c:v>1.01945</c:v>
                </c:pt>
                <c:pt idx="596">
                  <c:v>1.0244500000000001</c:v>
                </c:pt>
                <c:pt idx="597">
                  <c:v>1.0345500000000001</c:v>
                </c:pt>
                <c:pt idx="598">
                  <c:v>1.03555</c:v>
                </c:pt>
                <c:pt idx="599">
                  <c:v>1.0223</c:v>
                </c:pt>
                <c:pt idx="600">
                  <c:v>1.0217499999999999</c:v>
                </c:pt>
                <c:pt idx="601">
                  <c:v>1.0165500000000001</c:v>
                </c:pt>
                <c:pt idx="602">
                  <c:v>1.02115</c:v>
                </c:pt>
                <c:pt idx="603">
                  <c:v>1.01305</c:v>
                </c:pt>
                <c:pt idx="604">
                  <c:v>1.0199499999999999</c:v>
                </c:pt>
                <c:pt idx="605">
                  <c:v>1.0273000000000001</c:v>
                </c:pt>
                <c:pt idx="606">
                  <c:v>1.0196499999999999</c:v>
                </c:pt>
                <c:pt idx="607">
                  <c:v>1.01555</c:v>
                </c:pt>
                <c:pt idx="608">
                  <c:v>1.0120499999999999</c:v>
                </c:pt>
                <c:pt idx="609">
                  <c:v>1.01335</c:v>
                </c:pt>
                <c:pt idx="610">
                  <c:v>1.0217499999999999</c:v>
                </c:pt>
                <c:pt idx="611">
                  <c:v>1.02305</c:v>
                </c:pt>
                <c:pt idx="612">
                  <c:v>1.0192000000000001</c:v>
                </c:pt>
                <c:pt idx="613">
                  <c:v>1.02125</c:v>
                </c:pt>
                <c:pt idx="614">
                  <c:v>1.02475</c:v>
                </c:pt>
                <c:pt idx="615">
                  <c:v>1.01955</c:v>
                </c:pt>
                <c:pt idx="616">
                  <c:v>1.0079499999999999</c:v>
                </c:pt>
                <c:pt idx="617">
                  <c:v>0.99965000000000004</c:v>
                </c:pt>
                <c:pt idx="618">
                  <c:v>1.01095</c:v>
                </c:pt>
                <c:pt idx="619">
                  <c:v>1.00495</c:v>
                </c:pt>
                <c:pt idx="620">
                  <c:v>1.0083500000000001</c:v>
                </c:pt>
                <c:pt idx="621">
                  <c:v>1.01735</c:v>
                </c:pt>
                <c:pt idx="622">
                  <c:v>1.0169999999999999</c:v>
                </c:pt>
                <c:pt idx="623">
                  <c:v>1.01945</c:v>
                </c:pt>
                <c:pt idx="624">
                  <c:v>1.0242</c:v>
                </c:pt>
                <c:pt idx="625">
                  <c:v>1.0424</c:v>
                </c:pt>
                <c:pt idx="626">
                  <c:v>1.03915</c:v>
                </c:pt>
                <c:pt idx="627">
                  <c:v>1.04545</c:v>
                </c:pt>
                <c:pt idx="628">
                  <c:v>1.0478499999999999</c:v>
                </c:pt>
                <c:pt idx="629">
                  <c:v>1.05145</c:v>
                </c:pt>
                <c:pt idx="630">
                  <c:v>1.05975</c:v>
                </c:pt>
                <c:pt idx="631">
                  <c:v>1.0544500000000001</c:v>
                </c:pt>
                <c:pt idx="632">
                  <c:v>1.0528500000000001</c:v>
                </c:pt>
                <c:pt idx="633">
                  <c:v>1.05965</c:v>
                </c:pt>
                <c:pt idx="634">
                  <c:v>1.0564499999999999</c:v>
                </c:pt>
                <c:pt idx="635">
                  <c:v>1.05365</c:v>
                </c:pt>
                <c:pt idx="636">
                  <c:v>1.04575</c:v>
                </c:pt>
                <c:pt idx="637">
                  <c:v>1.0496000000000001</c:v>
                </c:pt>
                <c:pt idx="638">
                  <c:v>1.04105</c:v>
                </c:pt>
                <c:pt idx="639">
                  <c:v>1.04105</c:v>
                </c:pt>
                <c:pt idx="640">
                  <c:v>1.0422499999999999</c:v>
                </c:pt>
                <c:pt idx="641">
                  <c:v>1.05305</c:v>
                </c:pt>
                <c:pt idx="642">
                  <c:v>1.0650500000000001</c:v>
                </c:pt>
                <c:pt idx="643">
                  <c:v>1.07315</c:v>
                </c:pt>
                <c:pt idx="644">
                  <c:v>1.0705499999999999</c:v>
                </c:pt>
                <c:pt idx="645">
                  <c:v>1.0720499999999999</c:v>
                </c:pt>
                <c:pt idx="646">
                  <c:v>1.0722</c:v>
                </c:pt>
                <c:pt idx="647">
                  <c:v>1.07165</c:v>
                </c:pt>
                <c:pt idx="648">
                  <c:v>1.0667500000000001</c:v>
                </c:pt>
                <c:pt idx="649">
                  <c:v>1.07125</c:v>
                </c:pt>
                <c:pt idx="650">
                  <c:v>1.07795</c:v>
                </c:pt>
                <c:pt idx="651">
                  <c:v>1.071</c:v>
                </c:pt>
                <c:pt idx="652">
                  <c:v>1.07175</c:v>
                </c:pt>
                <c:pt idx="653">
                  <c:v>1.06795</c:v>
                </c:pt>
                <c:pt idx="654">
                  <c:v>1.0726500000000001</c:v>
                </c:pt>
                <c:pt idx="655">
                  <c:v>1.0668500000000001</c:v>
                </c:pt>
                <c:pt idx="656">
                  <c:v>1.0558000000000001</c:v>
                </c:pt>
                <c:pt idx="657">
                  <c:v>1.0589500000000001</c:v>
                </c:pt>
                <c:pt idx="658">
                  <c:v>1.05125</c:v>
                </c:pt>
                <c:pt idx="659">
                  <c:v>1.05355</c:v>
                </c:pt>
                <c:pt idx="660">
                  <c:v>1.0404</c:v>
                </c:pt>
                <c:pt idx="661">
                  <c:v>1.03945</c:v>
                </c:pt>
                <c:pt idx="662">
                  <c:v>1.04125</c:v>
                </c:pt>
                <c:pt idx="663">
                  <c:v>1.0546500000000001</c:v>
                </c:pt>
                <c:pt idx="664">
                  <c:v>1.0543</c:v>
                </c:pt>
                <c:pt idx="665">
                  <c:v>1.0529999999999999</c:v>
                </c:pt>
                <c:pt idx="666">
                  <c:v>1.0583</c:v>
                </c:pt>
                <c:pt idx="667">
                  <c:v>1.05305</c:v>
                </c:pt>
                <c:pt idx="668">
                  <c:v>1.0548500000000001</c:v>
                </c:pt>
                <c:pt idx="669">
                  <c:v>1.05385</c:v>
                </c:pt>
                <c:pt idx="670">
                  <c:v>1.0523499999999999</c:v>
                </c:pt>
                <c:pt idx="671">
                  <c:v>1.0549500000000001</c:v>
                </c:pt>
                <c:pt idx="672">
                  <c:v>1.05165</c:v>
                </c:pt>
                <c:pt idx="673">
                  <c:v>1.05175</c:v>
                </c:pt>
                <c:pt idx="674">
                  <c:v>1.0650500000000001</c:v>
                </c:pt>
                <c:pt idx="675">
                  <c:v>1.0707500000000001</c:v>
                </c:pt>
                <c:pt idx="676">
                  <c:v>1.07755</c:v>
                </c:pt>
                <c:pt idx="677">
                  <c:v>1.0844499999999999</c:v>
                </c:pt>
                <c:pt idx="678">
                  <c:v>1.0865499999999999</c:v>
                </c:pt>
                <c:pt idx="679">
                  <c:v>1.0786500000000001</c:v>
                </c:pt>
                <c:pt idx="680">
                  <c:v>1.07935</c:v>
                </c:pt>
                <c:pt idx="681">
                  <c:v>1.07765</c:v>
                </c:pt>
                <c:pt idx="682">
                  <c:v>1.07765</c:v>
                </c:pt>
                <c:pt idx="683">
                  <c:v>1.0847500000000001</c:v>
                </c:pt>
                <c:pt idx="684">
                  <c:v>1.08735</c:v>
                </c:pt>
                <c:pt idx="685">
                  <c:v>1.0896999999999999</c:v>
                </c:pt>
                <c:pt idx="686">
                  <c:v>1.08735</c:v>
                </c:pt>
                <c:pt idx="687">
                  <c:v>1.0911500000000001</c:v>
                </c:pt>
                <c:pt idx="688">
                  <c:v>1.09195</c:v>
                </c:pt>
                <c:pt idx="689">
                  <c:v>1.09385</c:v>
                </c:pt>
                <c:pt idx="690">
                  <c:v>1.09965</c:v>
                </c:pt>
                <c:pt idx="691">
                  <c:v>1.10365</c:v>
                </c:pt>
                <c:pt idx="692">
                  <c:v>1.1126499999999999</c:v>
                </c:pt>
                <c:pt idx="693">
                  <c:v>1.1164499999999999</c:v>
                </c:pt>
                <c:pt idx="694">
                  <c:v>1.11025</c:v>
                </c:pt>
                <c:pt idx="695">
                  <c:v>1.0969500000000001</c:v>
                </c:pt>
                <c:pt idx="696">
                  <c:v>1.0984499999999999</c:v>
                </c:pt>
                <c:pt idx="697">
                  <c:v>1.1007499999999999</c:v>
                </c:pt>
                <c:pt idx="698">
                  <c:v>1.10015</c:v>
                </c:pt>
                <c:pt idx="699">
                  <c:v>1.1022000000000001</c:v>
                </c:pt>
                <c:pt idx="700">
                  <c:v>1.1049500000000001</c:v>
                </c:pt>
                <c:pt idx="701">
                  <c:v>1.1048500000000001</c:v>
                </c:pt>
                <c:pt idx="702">
                  <c:v>1.1109500000000001</c:v>
                </c:pt>
                <c:pt idx="703">
                  <c:v>1.09935</c:v>
                </c:pt>
                <c:pt idx="704">
                  <c:v>1.09735</c:v>
                </c:pt>
                <c:pt idx="705">
                  <c:v>1.0980000000000001</c:v>
                </c:pt>
                <c:pt idx="706">
                  <c:v>1.0966499999999999</c:v>
                </c:pt>
                <c:pt idx="707">
                  <c:v>1.10185</c:v>
                </c:pt>
                <c:pt idx="708">
                  <c:v>1.1045499999999999</c:v>
                </c:pt>
                <c:pt idx="709">
                  <c:v>1.08775</c:v>
                </c:pt>
                <c:pt idx="710">
                  <c:v>1.08755</c:v>
                </c:pt>
                <c:pt idx="711">
                  <c:v>1.09195</c:v>
                </c:pt>
                <c:pt idx="712">
                  <c:v>1.10625</c:v>
                </c:pt>
                <c:pt idx="713">
                  <c:v>1.1067499999999999</c:v>
                </c:pt>
                <c:pt idx="714">
                  <c:v>1.11415</c:v>
                </c:pt>
                <c:pt idx="715">
                  <c:v>1.1232</c:v>
                </c:pt>
                <c:pt idx="716">
                  <c:v>1.1245499999999999</c:v>
                </c:pt>
                <c:pt idx="717">
                  <c:v>1.1113999999999999</c:v>
                </c:pt>
                <c:pt idx="718">
                  <c:v>1.13245</c:v>
                </c:pt>
                <c:pt idx="719">
                  <c:v>1.1334500000000001</c:v>
                </c:pt>
                <c:pt idx="720">
                  <c:v>1.1335999999999999</c:v>
                </c:pt>
                <c:pt idx="721">
                  <c:v>1.13415</c:v>
                </c:pt>
                <c:pt idx="722">
                  <c:v>1.1368499999999999</c:v>
                </c:pt>
                <c:pt idx="723">
                  <c:v>1.13645</c:v>
                </c:pt>
                <c:pt idx="724">
                  <c:v>1.13565</c:v>
                </c:pt>
                <c:pt idx="725">
                  <c:v>1.1308499999999999</c:v>
                </c:pt>
                <c:pt idx="726">
                  <c:v>1.14035</c:v>
                </c:pt>
                <c:pt idx="727">
                  <c:v>1.1467499999999999</c:v>
                </c:pt>
                <c:pt idx="728">
                  <c:v>1.1428499999999999</c:v>
                </c:pt>
                <c:pt idx="729">
                  <c:v>1.1419999999999999</c:v>
                </c:pt>
                <c:pt idx="730">
                  <c:v>1.14455</c:v>
                </c:pt>
                <c:pt idx="731">
                  <c:v>1.1443000000000001</c:v>
                </c:pt>
                <c:pt idx="732">
                  <c:v>1.14175</c:v>
                </c:pt>
                <c:pt idx="733">
                  <c:v>1.12965</c:v>
                </c:pt>
                <c:pt idx="734">
                  <c:v>1.1249</c:v>
                </c:pt>
                <c:pt idx="735">
                  <c:v>1.121</c:v>
                </c:pt>
                <c:pt idx="736">
                  <c:v>1.1165499999999999</c:v>
                </c:pt>
                <c:pt idx="737">
                  <c:v>1.1149</c:v>
                </c:pt>
                <c:pt idx="738">
                  <c:v>1.12825</c:v>
                </c:pt>
                <c:pt idx="739">
                  <c:v>1.1274</c:v>
                </c:pt>
                <c:pt idx="740">
                  <c:v>1.1309</c:v>
                </c:pt>
                <c:pt idx="741">
                  <c:v>1.1347</c:v>
                </c:pt>
                <c:pt idx="742">
                  <c:v>1.1348</c:v>
                </c:pt>
                <c:pt idx="743">
                  <c:v>1.1345000000000001</c:v>
                </c:pt>
                <c:pt idx="744">
                  <c:v>1.1343000000000001</c:v>
                </c:pt>
                <c:pt idx="745">
                  <c:v>1.1403000000000001</c:v>
                </c:pt>
                <c:pt idx="746">
                  <c:v>1.1433500000000001</c:v>
                </c:pt>
                <c:pt idx="747">
                  <c:v>1.14605</c:v>
                </c:pt>
                <c:pt idx="748">
                  <c:v>1.14205</c:v>
                </c:pt>
                <c:pt idx="749">
                  <c:v>1.13405</c:v>
                </c:pt>
                <c:pt idx="750">
                  <c:v>1.13195</c:v>
                </c:pt>
                <c:pt idx="751">
                  <c:v>1.1348</c:v>
                </c:pt>
                <c:pt idx="752">
                  <c:v>1.1295999999999999</c:v>
                </c:pt>
                <c:pt idx="753">
                  <c:v>1.13365</c:v>
                </c:pt>
                <c:pt idx="754">
                  <c:v>1.1309499999999999</c:v>
                </c:pt>
                <c:pt idx="755">
                  <c:v>1.1292</c:v>
                </c:pt>
                <c:pt idx="756">
                  <c:v>1.1372</c:v>
                </c:pt>
                <c:pt idx="757">
                  <c:v>1.1331</c:v>
                </c:pt>
                <c:pt idx="758">
                  <c:v>1.1350499999999999</c:v>
                </c:pt>
                <c:pt idx="759">
                  <c:v>1.12965</c:v>
                </c:pt>
                <c:pt idx="760">
                  <c:v>1.1318999999999999</c:v>
                </c:pt>
                <c:pt idx="761">
                  <c:v>1.1329</c:v>
                </c:pt>
                <c:pt idx="762">
                  <c:v>1.1308499999999999</c:v>
                </c:pt>
                <c:pt idx="763">
                  <c:v>1.13235</c:v>
                </c:pt>
                <c:pt idx="764">
                  <c:v>1.12625</c:v>
                </c:pt>
                <c:pt idx="765">
                  <c:v>1.1289499999999999</c:v>
                </c:pt>
                <c:pt idx="766">
                  <c:v>1.1274500000000001</c:v>
                </c:pt>
                <c:pt idx="767">
                  <c:v>1.1307</c:v>
                </c:pt>
                <c:pt idx="768">
                  <c:v>1.1251500000000001</c:v>
                </c:pt>
                <c:pt idx="769">
                  <c:v>1.1273500000000001</c:v>
                </c:pt>
                <c:pt idx="770">
                  <c:v>1.1275500000000001</c:v>
                </c:pt>
                <c:pt idx="771">
                  <c:v>1.13045</c:v>
                </c:pt>
                <c:pt idx="772">
                  <c:v>1.1285499999999999</c:v>
                </c:pt>
                <c:pt idx="773">
                  <c:v>1.1332500000000001</c:v>
                </c:pt>
                <c:pt idx="774">
                  <c:v>1.1247</c:v>
                </c:pt>
                <c:pt idx="775">
                  <c:v>1.1270500000000001</c:v>
                </c:pt>
                <c:pt idx="776">
                  <c:v>1.1279999999999999</c:v>
                </c:pt>
                <c:pt idx="777">
                  <c:v>1.13175</c:v>
                </c:pt>
                <c:pt idx="778">
                  <c:v>1.1334</c:v>
                </c:pt>
                <c:pt idx="779">
                  <c:v>1.1255999999999999</c:v>
                </c:pt>
                <c:pt idx="780">
                  <c:v>1.1268499999999999</c:v>
                </c:pt>
                <c:pt idx="781">
                  <c:v>1.1315500000000001</c:v>
                </c:pt>
                <c:pt idx="782">
                  <c:v>1.121</c:v>
                </c:pt>
                <c:pt idx="783">
                  <c:v>1.11965</c:v>
                </c:pt>
                <c:pt idx="784">
                  <c:v>1.12635</c:v>
                </c:pt>
                <c:pt idx="785">
                  <c:v>1.1246499999999999</c:v>
                </c:pt>
                <c:pt idx="786">
                  <c:v>1.13175</c:v>
                </c:pt>
                <c:pt idx="787">
                  <c:v>1.1348499999999999</c:v>
                </c:pt>
                <c:pt idx="788">
                  <c:v>1.1308</c:v>
                </c:pt>
                <c:pt idx="789">
                  <c:v>1.1350499999999999</c:v>
                </c:pt>
                <c:pt idx="790">
                  <c:v>1.14205</c:v>
                </c:pt>
                <c:pt idx="791">
                  <c:v>1.14445</c:v>
                </c:pt>
                <c:pt idx="792">
                  <c:v>1.1471</c:v>
                </c:pt>
                <c:pt idx="793">
                  <c:v>1.15185</c:v>
                </c:pt>
                <c:pt idx="794">
                  <c:v>1.15845</c:v>
                </c:pt>
                <c:pt idx="795">
                  <c:v>1.1589</c:v>
                </c:pt>
                <c:pt idx="796">
                  <c:v>1.1554500000000001</c:v>
                </c:pt>
                <c:pt idx="797">
                  <c:v>1.15455</c:v>
                </c:pt>
                <c:pt idx="798">
                  <c:v>1.15845</c:v>
                </c:pt>
                <c:pt idx="799">
                  <c:v>1.1579999999999999</c:v>
                </c:pt>
                <c:pt idx="800">
                  <c:v>1.1590499999999999</c:v>
                </c:pt>
                <c:pt idx="801">
                  <c:v>1.1572499999999999</c:v>
                </c:pt>
                <c:pt idx="802">
                  <c:v>1.1676500000000001</c:v>
                </c:pt>
                <c:pt idx="803">
                  <c:v>1.1596</c:v>
                </c:pt>
                <c:pt idx="804">
                  <c:v>1.1594</c:v>
                </c:pt>
                <c:pt idx="805">
                  <c:v>1.1613</c:v>
                </c:pt>
                <c:pt idx="806">
                  <c:v>1.16465</c:v>
                </c:pt>
                <c:pt idx="807">
                  <c:v>1.1646000000000001</c:v>
                </c:pt>
                <c:pt idx="808">
                  <c:v>1.16475</c:v>
                </c:pt>
                <c:pt idx="809">
                  <c:v>1.16445</c:v>
                </c:pt>
                <c:pt idx="810">
                  <c:v>1.16015</c:v>
                </c:pt>
                <c:pt idx="811">
                  <c:v>1.16055</c:v>
                </c:pt>
                <c:pt idx="812">
                  <c:v>1.1589499999999999</c:v>
                </c:pt>
                <c:pt idx="813">
                  <c:v>1.1574500000000001</c:v>
                </c:pt>
                <c:pt idx="814">
                  <c:v>1.1549</c:v>
                </c:pt>
                <c:pt idx="815">
                  <c:v>1.1572499999999999</c:v>
                </c:pt>
                <c:pt idx="816">
                  <c:v>1.1574</c:v>
                </c:pt>
                <c:pt idx="817">
                  <c:v>1.15605</c:v>
                </c:pt>
                <c:pt idx="818">
                  <c:v>1.15425</c:v>
                </c:pt>
                <c:pt idx="819">
                  <c:v>1.1593</c:v>
                </c:pt>
                <c:pt idx="820">
                  <c:v>1.1624000000000001</c:v>
                </c:pt>
                <c:pt idx="821">
                  <c:v>1.1596500000000001</c:v>
                </c:pt>
                <c:pt idx="822">
                  <c:v>1.1589499999999999</c:v>
                </c:pt>
                <c:pt idx="823">
                  <c:v>1.1615500000000001</c:v>
                </c:pt>
                <c:pt idx="824">
                  <c:v>1.1673500000000001</c:v>
                </c:pt>
                <c:pt idx="825">
                  <c:v>1.17005</c:v>
                </c:pt>
                <c:pt idx="826">
                  <c:v>1.1713499999999999</c:v>
                </c:pt>
                <c:pt idx="827">
                  <c:v>1.1749499999999999</c:v>
                </c:pt>
                <c:pt idx="828">
                  <c:v>1.1733499999999999</c:v>
                </c:pt>
                <c:pt idx="829">
                  <c:v>1.17245</c:v>
                </c:pt>
                <c:pt idx="830">
                  <c:v>1.1725000000000001</c:v>
                </c:pt>
                <c:pt idx="831">
                  <c:v>1.1737</c:v>
                </c:pt>
                <c:pt idx="832">
                  <c:v>1.17635</c:v>
                </c:pt>
                <c:pt idx="833">
                  <c:v>1.1819</c:v>
                </c:pt>
                <c:pt idx="834">
                  <c:v>1.18215</c:v>
                </c:pt>
                <c:pt idx="835">
                  <c:v>1.181</c:v>
                </c:pt>
                <c:pt idx="836">
                  <c:v>1.1834499999999999</c:v>
                </c:pt>
                <c:pt idx="837">
                  <c:v>1.1817500000000001</c:v>
                </c:pt>
                <c:pt idx="838">
                  <c:v>1.1812</c:v>
                </c:pt>
                <c:pt idx="839">
                  <c:v>1.18455</c:v>
                </c:pt>
                <c:pt idx="840">
                  <c:v>1.18615</c:v>
                </c:pt>
                <c:pt idx="841">
                  <c:v>1.1880999999999999</c:v>
                </c:pt>
                <c:pt idx="842">
                  <c:v>1.18675</c:v>
                </c:pt>
                <c:pt idx="843">
                  <c:v>1.1854</c:v>
                </c:pt>
                <c:pt idx="844">
                  <c:v>1.18045</c:v>
                </c:pt>
                <c:pt idx="845">
                  <c:v>1.1798999999999999</c:v>
                </c:pt>
                <c:pt idx="846">
                  <c:v>1.1786000000000001</c:v>
                </c:pt>
                <c:pt idx="847">
                  <c:v>1.1754500000000001</c:v>
                </c:pt>
                <c:pt idx="848">
                  <c:v>1.1751499999999999</c:v>
                </c:pt>
                <c:pt idx="849">
                  <c:v>1.17605</c:v>
                </c:pt>
                <c:pt idx="850">
                  <c:v>1.1739999999999999</c:v>
                </c:pt>
                <c:pt idx="851">
                  <c:v>1.16795</c:v>
                </c:pt>
                <c:pt idx="852">
                  <c:v>1.16825</c:v>
                </c:pt>
                <c:pt idx="853">
                  <c:v>1.1711499999999999</c:v>
                </c:pt>
                <c:pt idx="854">
                  <c:v>1.1716500000000001</c:v>
                </c:pt>
                <c:pt idx="855">
                  <c:v>1.17885</c:v>
                </c:pt>
                <c:pt idx="856">
                  <c:v>1.1793</c:v>
                </c:pt>
                <c:pt idx="857">
                  <c:v>1.1729499999999999</c:v>
                </c:pt>
                <c:pt idx="858">
                  <c:v>1.1738999999999999</c:v>
                </c:pt>
                <c:pt idx="859">
                  <c:v>1.17195</c:v>
                </c:pt>
                <c:pt idx="860">
                  <c:v>1.17445</c:v>
                </c:pt>
                <c:pt idx="861">
                  <c:v>1.1759999999999999</c:v>
                </c:pt>
                <c:pt idx="862">
                  <c:v>1.1838500000000001</c:v>
                </c:pt>
                <c:pt idx="863">
                  <c:v>1.1846000000000001</c:v>
                </c:pt>
                <c:pt idx="864">
                  <c:v>1.1859500000000001</c:v>
                </c:pt>
                <c:pt idx="865">
                  <c:v>1.18815</c:v>
                </c:pt>
                <c:pt idx="866">
                  <c:v>1.1858</c:v>
                </c:pt>
                <c:pt idx="867">
                  <c:v>1.18845</c:v>
                </c:pt>
                <c:pt idx="868">
                  <c:v>1.1799500000000001</c:v>
                </c:pt>
                <c:pt idx="869">
                  <c:v>1.18255</c:v>
                </c:pt>
                <c:pt idx="870">
                  <c:v>1.1808000000000001</c:v>
                </c:pt>
                <c:pt idx="871">
                  <c:v>1.17615</c:v>
                </c:pt>
                <c:pt idx="872">
                  <c:v>1.1792499999999999</c:v>
                </c:pt>
                <c:pt idx="873">
                  <c:v>1.17885</c:v>
                </c:pt>
                <c:pt idx="874">
                  <c:v>1.17625</c:v>
                </c:pt>
                <c:pt idx="875">
                  <c:v>1.18055</c:v>
                </c:pt>
                <c:pt idx="876">
                  <c:v>1.1809000000000001</c:v>
                </c:pt>
                <c:pt idx="877">
                  <c:v>1.1818500000000001</c:v>
                </c:pt>
                <c:pt idx="878">
                  <c:v>1.1819</c:v>
                </c:pt>
                <c:pt idx="879">
                  <c:v>1.18245</c:v>
                </c:pt>
                <c:pt idx="880">
                  <c:v>1.1868000000000001</c:v>
                </c:pt>
                <c:pt idx="881">
                  <c:v>1.18645</c:v>
                </c:pt>
                <c:pt idx="882">
                  <c:v>1.1854499999999999</c:v>
                </c:pt>
                <c:pt idx="883">
                  <c:v>1.1799500000000001</c:v>
                </c:pt>
                <c:pt idx="884">
                  <c:v>1.1830000000000001</c:v>
                </c:pt>
                <c:pt idx="885">
                  <c:v>1.18615</c:v>
                </c:pt>
                <c:pt idx="886">
                  <c:v>1.1842999999999999</c:v>
                </c:pt>
                <c:pt idx="887">
                  <c:v>1.1868000000000001</c:v>
                </c:pt>
                <c:pt idx="888">
                  <c:v>1.1859</c:v>
                </c:pt>
                <c:pt idx="889">
                  <c:v>1.1904999999999999</c:v>
                </c:pt>
                <c:pt idx="890">
                  <c:v>1.19265</c:v>
                </c:pt>
                <c:pt idx="891">
                  <c:v>1.1951000000000001</c:v>
                </c:pt>
                <c:pt idx="892">
                  <c:v>1.19265</c:v>
                </c:pt>
                <c:pt idx="893">
                  <c:v>1.1948000000000001</c:v>
                </c:pt>
                <c:pt idx="894">
                  <c:v>1.1899</c:v>
                </c:pt>
                <c:pt idx="895">
                  <c:v>1.1911</c:v>
                </c:pt>
                <c:pt idx="896">
                  <c:v>1.1856</c:v>
                </c:pt>
                <c:pt idx="897">
                  <c:v>1.1941999999999999</c:v>
                </c:pt>
                <c:pt idx="898">
                  <c:v>1.2119</c:v>
                </c:pt>
                <c:pt idx="899">
                  <c:v>1.21265</c:v>
                </c:pt>
                <c:pt idx="900">
                  <c:v>1.21245</c:v>
                </c:pt>
                <c:pt idx="901">
                  <c:v>1.21105</c:v>
                </c:pt>
                <c:pt idx="902">
                  <c:v>1.2172000000000001</c:v>
                </c:pt>
                <c:pt idx="903">
                  <c:v>1.21855</c:v>
                </c:pt>
                <c:pt idx="904">
                  <c:v>1.21865</c:v>
                </c:pt>
                <c:pt idx="905">
                  <c:v>1.2186999999999999</c:v>
                </c:pt>
                <c:pt idx="906">
                  <c:v>1.21635</c:v>
                </c:pt>
                <c:pt idx="907">
                  <c:v>1.2137</c:v>
                </c:pt>
                <c:pt idx="908">
                  <c:v>1.22065</c:v>
                </c:pt>
                <c:pt idx="909">
                  <c:v>1.2244999999999999</c:v>
                </c:pt>
                <c:pt idx="910">
                  <c:v>1.22265</c:v>
                </c:pt>
                <c:pt idx="911">
                  <c:v>1.2181500000000001</c:v>
                </c:pt>
                <c:pt idx="912">
                  <c:v>1.2201500000000001</c:v>
                </c:pt>
                <c:pt idx="913">
                  <c:v>1.2217499999999999</c:v>
                </c:pt>
                <c:pt idx="914">
                  <c:v>1.22445</c:v>
                </c:pt>
                <c:pt idx="915">
                  <c:v>1.2219</c:v>
                </c:pt>
                <c:pt idx="916">
                  <c:v>1.21885</c:v>
                </c:pt>
                <c:pt idx="917">
                  <c:v>1.2215499999999999</c:v>
                </c:pt>
                <c:pt idx="918">
                  <c:v>1.2215499999999999</c:v>
                </c:pt>
                <c:pt idx="919">
                  <c:v>1.2218500000000001</c:v>
                </c:pt>
                <c:pt idx="920">
                  <c:v>1.2144999999999999</c:v>
                </c:pt>
                <c:pt idx="921">
                  <c:v>1.2133499999999999</c:v>
                </c:pt>
                <c:pt idx="922">
                  <c:v>1.2074</c:v>
                </c:pt>
                <c:pt idx="923">
                  <c:v>1.2076</c:v>
                </c:pt>
                <c:pt idx="924">
                  <c:v>1.2161500000000001</c:v>
                </c:pt>
                <c:pt idx="925">
                  <c:v>1.216</c:v>
                </c:pt>
                <c:pt idx="926">
                  <c:v>1.2141999999999999</c:v>
                </c:pt>
                <c:pt idx="927">
                  <c:v>1.2059</c:v>
                </c:pt>
                <c:pt idx="928">
                  <c:v>1.2004999999999999</c:v>
                </c:pt>
                <c:pt idx="929">
                  <c:v>1.2032</c:v>
                </c:pt>
                <c:pt idx="930">
                  <c:v>1.2074499999999999</c:v>
                </c:pt>
                <c:pt idx="931">
                  <c:v>1.2038</c:v>
                </c:pt>
                <c:pt idx="932">
                  <c:v>1.2112000000000001</c:v>
                </c:pt>
                <c:pt idx="933">
                  <c:v>1.20895</c:v>
                </c:pt>
                <c:pt idx="934">
                  <c:v>1.2081500000000001</c:v>
                </c:pt>
                <c:pt idx="935">
                  <c:v>1.20825</c:v>
                </c:pt>
                <c:pt idx="936">
                  <c:v>1.20495</c:v>
                </c:pt>
                <c:pt idx="937">
                  <c:v>1.20225</c:v>
                </c:pt>
                <c:pt idx="938">
                  <c:v>1.20285</c:v>
                </c:pt>
                <c:pt idx="939">
                  <c:v>1.20485</c:v>
                </c:pt>
                <c:pt idx="940">
                  <c:v>1.2019500000000001</c:v>
                </c:pt>
                <c:pt idx="941">
                  <c:v>1.1979500000000001</c:v>
                </c:pt>
                <c:pt idx="942">
                  <c:v>1.1970000000000001</c:v>
                </c:pt>
                <c:pt idx="943">
                  <c:v>1.19675</c:v>
                </c:pt>
                <c:pt idx="944">
                  <c:v>1.19255</c:v>
                </c:pt>
                <c:pt idx="945">
                  <c:v>1.19075</c:v>
                </c:pt>
                <c:pt idx="946">
                  <c:v>1.18895</c:v>
                </c:pt>
                <c:pt idx="947">
                  <c:v>1.1897500000000001</c:v>
                </c:pt>
                <c:pt idx="948">
                  <c:v>1.1900500000000001</c:v>
                </c:pt>
                <c:pt idx="949">
                  <c:v>1.1839</c:v>
                </c:pt>
                <c:pt idx="950">
                  <c:v>1.1798500000000001</c:v>
                </c:pt>
                <c:pt idx="951">
                  <c:v>1.17605</c:v>
                </c:pt>
                <c:pt idx="952">
                  <c:v>1.17605</c:v>
                </c:pt>
                <c:pt idx="953">
                  <c:v>1.1753</c:v>
                </c:pt>
                <c:pt idx="954">
                  <c:v>1.17275</c:v>
                </c:pt>
                <c:pt idx="955">
                  <c:v>1.17635</c:v>
                </c:pt>
                <c:pt idx="956">
                  <c:v>1.1797</c:v>
                </c:pt>
                <c:pt idx="957">
                  <c:v>1.1775500000000001</c:v>
                </c:pt>
                <c:pt idx="958">
                  <c:v>1.1830499999999999</c:v>
                </c:pt>
                <c:pt idx="959">
                  <c:v>1.1872</c:v>
                </c:pt>
                <c:pt idx="960">
                  <c:v>1.1932</c:v>
                </c:pt>
                <c:pt idx="961">
                  <c:v>1.19095</c:v>
                </c:pt>
                <c:pt idx="962">
                  <c:v>1.1924999999999999</c:v>
                </c:pt>
                <c:pt idx="963">
                  <c:v>1.19045</c:v>
                </c:pt>
                <c:pt idx="964">
                  <c:v>1.1894499999999999</c:v>
                </c:pt>
                <c:pt idx="965">
                  <c:v>1.1916500000000001</c:v>
                </c:pt>
                <c:pt idx="966">
                  <c:v>1.1938</c:v>
                </c:pt>
                <c:pt idx="967">
                  <c:v>1.1960500000000001</c:v>
                </c:pt>
                <c:pt idx="968">
                  <c:v>1.1896500000000001</c:v>
                </c:pt>
                <c:pt idx="969">
                  <c:v>1.18835</c:v>
                </c:pt>
                <c:pt idx="970">
                  <c:v>1.1858</c:v>
                </c:pt>
                <c:pt idx="971">
                  <c:v>1.1909000000000001</c:v>
                </c:pt>
                <c:pt idx="972">
                  <c:v>1.2040999999999999</c:v>
                </c:pt>
                <c:pt idx="973">
                  <c:v>1.2074499999999999</c:v>
                </c:pt>
                <c:pt idx="974">
                  <c:v>1.20625</c:v>
                </c:pt>
                <c:pt idx="975">
                  <c:v>1.2051499999999999</c:v>
                </c:pt>
                <c:pt idx="976">
                  <c:v>1.2138</c:v>
                </c:pt>
                <c:pt idx="977">
                  <c:v>1.2223999999999999</c:v>
                </c:pt>
                <c:pt idx="978">
                  <c:v>1.21225</c:v>
                </c:pt>
                <c:pt idx="979">
                  <c:v>1.2159500000000001</c:v>
                </c:pt>
                <c:pt idx="980">
                  <c:v>1.2137500000000001</c:v>
                </c:pt>
                <c:pt idx="981">
                  <c:v>1.2126999999999999</c:v>
                </c:pt>
                <c:pt idx="982">
                  <c:v>1.2073</c:v>
                </c:pt>
                <c:pt idx="983">
                  <c:v>1.2032499999999999</c:v>
                </c:pt>
                <c:pt idx="984">
                  <c:v>1.2119</c:v>
                </c:pt>
                <c:pt idx="985">
                  <c:v>1.2132000000000001</c:v>
                </c:pt>
                <c:pt idx="986">
                  <c:v>1.2118500000000001</c:v>
                </c:pt>
                <c:pt idx="987">
                  <c:v>1.2132000000000001</c:v>
                </c:pt>
                <c:pt idx="988">
                  <c:v>1.21305</c:v>
                </c:pt>
                <c:pt idx="989">
                  <c:v>1.2097500000000001</c:v>
                </c:pt>
                <c:pt idx="990">
                  <c:v>1.20475</c:v>
                </c:pt>
                <c:pt idx="991">
                  <c:v>1.20255</c:v>
                </c:pt>
                <c:pt idx="992">
                  <c:v>1.1978500000000001</c:v>
                </c:pt>
                <c:pt idx="993">
                  <c:v>1.2012499999999999</c:v>
                </c:pt>
                <c:pt idx="994">
                  <c:v>1.20285</c:v>
                </c:pt>
                <c:pt idx="995">
                  <c:v>1.20825</c:v>
                </c:pt>
                <c:pt idx="996">
                  <c:v>1.2149000000000001</c:v>
                </c:pt>
                <c:pt idx="997">
                  <c:v>1.21225</c:v>
                </c:pt>
                <c:pt idx="998">
                  <c:v>1.2091000000000001</c:v>
                </c:pt>
                <c:pt idx="999">
                  <c:v>1.21665</c:v>
                </c:pt>
                <c:pt idx="1000">
                  <c:v>1.2130000000000001</c:v>
                </c:pt>
                <c:pt idx="1001">
                  <c:v>1.2172499999999999</c:v>
                </c:pt>
                <c:pt idx="1002">
                  <c:v>1.21505</c:v>
                </c:pt>
                <c:pt idx="1003">
                  <c:v>1.2104999999999999</c:v>
                </c:pt>
                <c:pt idx="1004">
                  <c:v>1.21275</c:v>
                </c:pt>
                <c:pt idx="1005">
                  <c:v>1.2075</c:v>
                </c:pt>
                <c:pt idx="1006">
                  <c:v>1.2092499999999999</c:v>
                </c:pt>
                <c:pt idx="1007">
                  <c:v>1.2135</c:v>
                </c:pt>
                <c:pt idx="1008">
                  <c:v>1.2160500000000001</c:v>
                </c:pt>
                <c:pt idx="1009">
                  <c:v>1.2158500000000001</c:v>
                </c:pt>
                <c:pt idx="1010">
                  <c:v>1.21505</c:v>
                </c:pt>
                <c:pt idx="1011">
                  <c:v>1.2256</c:v>
                </c:pt>
                <c:pt idx="1012">
                  <c:v>1.2259500000000001</c:v>
                </c:pt>
                <c:pt idx="1013">
                  <c:v>1.2281</c:v>
                </c:pt>
                <c:pt idx="1014">
                  <c:v>1.2276499999999999</c:v>
                </c:pt>
                <c:pt idx="1015">
                  <c:v>1.2272000000000001</c:v>
                </c:pt>
                <c:pt idx="1016">
                  <c:v>1.2235499999999999</c:v>
                </c:pt>
                <c:pt idx="1017">
                  <c:v>1.2235499999999999</c:v>
                </c:pt>
                <c:pt idx="1018">
                  <c:v>1.2300500000000001</c:v>
                </c:pt>
                <c:pt idx="1019">
                  <c:v>1.2241500000000001</c:v>
                </c:pt>
                <c:pt idx="1020">
                  <c:v>1.2214499999999999</c:v>
                </c:pt>
                <c:pt idx="1021">
                  <c:v>1.21835</c:v>
                </c:pt>
                <c:pt idx="1022">
                  <c:v>1.21835</c:v>
                </c:pt>
                <c:pt idx="1023">
                  <c:v>1.21865</c:v>
                </c:pt>
                <c:pt idx="1024">
                  <c:v>1.21685</c:v>
                </c:pt>
                <c:pt idx="1025">
                  <c:v>1.2212499999999999</c:v>
                </c:pt>
                <c:pt idx="1026">
                  <c:v>1.2234499999999999</c:v>
                </c:pt>
                <c:pt idx="1027">
                  <c:v>1.2244999999999999</c:v>
                </c:pt>
                <c:pt idx="1028">
                  <c:v>1.21865</c:v>
                </c:pt>
                <c:pt idx="1029">
                  <c:v>1.2152499999999999</c:v>
                </c:pt>
                <c:pt idx="1030">
                  <c:v>1.2124999999999999</c:v>
                </c:pt>
                <c:pt idx="1031">
                  <c:v>1.21075</c:v>
                </c:pt>
                <c:pt idx="1032">
                  <c:v>1.21295</c:v>
                </c:pt>
                <c:pt idx="1033">
                  <c:v>1.2081500000000001</c:v>
                </c:pt>
                <c:pt idx="1034">
                  <c:v>1.2113499999999999</c:v>
                </c:pt>
                <c:pt idx="1035">
                  <c:v>1.2133499999999999</c:v>
                </c:pt>
                <c:pt idx="1036">
                  <c:v>1.2141500000000001</c:v>
                </c:pt>
                <c:pt idx="1037">
                  <c:v>1.216</c:v>
                </c:pt>
                <c:pt idx="1038">
                  <c:v>1.2078</c:v>
                </c:pt>
                <c:pt idx="1039">
                  <c:v>1.2032499999999999</c:v>
                </c:pt>
                <c:pt idx="1040">
                  <c:v>1.1961999999999999</c:v>
                </c:pt>
                <c:pt idx="1041">
                  <c:v>1.19485</c:v>
                </c:pt>
                <c:pt idx="1042">
                  <c:v>1.1901999999999999</c:v>
                </c:pt>
                <c:pt idx="1043">
                  <c:v>1.1900500000000001</c:v>
                </c:pt>
                <c:pt idx="1044">
                  <c:v>1.1872499999999999</c:v>
                </c:pt>
                <c:pt idx="1045">
                  <c:v>1.1818500000000001</c:v>
                </c:pt>
                <c:pt idx="1046">
                  <c:v>1.1854</c:v>
                </c:pt>
                <c:pt idx="1047">
                  <c:v>1.1839999999999999</c:v>
                </c:pt>
                <c:pt idx="1048">
                  <c:v>1.1876</c:v>
                </c:pt>
                <c:pt idx="1049">
                  <c:v>1.1875500000000001</c:v>
                </c:pt>
                <c:pt idx="1050">
                  <c:v>1.1836500000000001</c:v>
                </c:pt>
                <c:pt idx="1051">
                  <c:v>1.1819999999999999</c:v>
                </c:pt>
                <c:pt idx="1052">
                  <c:v>1.1810499999999999</c:v>
                </c:pt>
                <c:pt idx="1053">
                  <c:v>1.1758</c:v>
                </c:pt>
                <c:pt idx="1054">
                  <c:v>1.18205</c:v>
                </c:pt>
                <c:pt idx="1055">
                  <c:v>1.1823999999999999</c:v>
                </c:pt>
                <c:pt idx="1056">
                  <c:v>1.1874499999999999</c:v>
                </c:pt>
                <c:pt idx="1057">
                  <c:v>1.18265</c:v>
                </c:pt>
                <c:pt idx="1058">
                  <c:v>1.1708499999999999</c:v>
                </c:pt>
                <c:pt idx="1059">
                  <c:v>1.1730499999999999</c:v>
                </c:pt>
                <c:pt idx="1060">
                  <c:v>1.1636500000000001</c:v>
                </c:pt>
                <c:pt idx="1061">
                  <c:v>1.1648499999999999</c:v>
                </c:pt>
                <c:pt idx="1062">
                  <c:v>1.1657500000000001</c:v>
                </c:pt>
                <c:pt idx="1063">
                  <c:v>1.1751499999999999</c:v>
                </c:pt>
                <c:pt idx="1064">
                  <c:v>1.1833</c:v>
                </c:pt>
                <c:pt idx="1065">
                  <c:v>1.1817500000000001</c:v>
                </c:pt>
                <c:pt idx="1066">
                  <c:v>1.1835500000000001</c:v>
                </c:pt>
                <c:pt idx="1067">
                  <c:v>1.18275</c:v>
                </c:pt>
                <c:pt idx="1068">
                  <c:v>1.1874499999999999</c:v>
                </c:pt>
                <c:pt idx="1069">
                  <c:v>1.1830499999999999</c:v>
                </c:pt>
                <c:pt idx="1070">
                  <c:v>1.1782999999999999</c:v>
                </c:pt>
                <c:pt idx="1071">
                  <c:v>1.1719999999999999</c:v>
                </c:pt>
                <c:pt idx="1072">
                  <c:v>1.16995</c:v>
                </c:pt>
                <c:pt idx="1073">
                  <c:v>1.1759500000000001</c:v>
                </c:pt>
                <c:pt idx="1074">
                  <c:v>1.1744000000000001</c:v>
                </c:pt>
                <c:pt idx="1075">
                  <c:v>1.1812499999999999</c:v>
                </c:pt>
                <c:pt idx="1076">
                  <c:v>1.1814499999999999</c:v>
                </c:pt>
                <c:pt idx="1077">
                  <c:v>1.1748499999999999</c:v>
                </c:pt>
                <c:pt idx="1078">
                  <c:v>1.17615</c:v>
                </c:pt>
                <c:pt idx="1079">
                  <c:v>1.1791499999999999</c:v>
                </c:pt>
                <c:pt idx="1080">
                  <c:v>1.1792499999999999</c:v>
                </c:pt>
                <c:pt idx="1081">
                  <c:v>1.1714500000000001</c:v>
                </c:pt>
                <c:pt idx="1082">
                  <c:v>1.1735500000000001</c:v>
                </c:pt>
                <c:pt idx="1083">
                  <c:v>1.17265</c:v>
                </c:pt>
                <c:pt idx="1084">
                  <c:v>1.1731</c:v>
                </c:pt>
                <c:pt idx="1085">
                  <c:v>1.1645000000000001</c:v>
                </c:pt>
                <c:pt idx="1086">
                  <c:v>1.1618999999999999</c:v>
                </c:pt>
                <c:pt idx="1087">
                  <c:v>1.16405</c:v>
                </c:pt>
                <c:pt idx="1088">
                  <c:v>1.1673500000000001</c:v>
                </c:pt>
                <c:pt idx="1089">
                  <c:v>1.17055</c:v>
                </c:pt>
                <c:pt idx="1090">
                  <c:v>1.1742999999999999</c:v>
                </c:pt>
                <c:pt idx="1091">
                  <c:v>1.1859999999999999</c:v>
                </c:pt>
                <c:pt idx="1092">
                  <c:v>1.18075</c:v>
                </c:pt>
                <c:pt idx="1093">
                  <c:v>1.18285</c:v>
                </c:pt>
                <c:pt idx="1094">
                  <c:v>1.1850499999999999</c:v>
                </c:pt>
                <c:pt idx="1095">
                  <c:v>1.1872</c:v>
                </c:pt>
                <c:pt idx="1096">
                  <c:v>1.1831</c:v>
                </c:pt>
                <c:pt idx="1097">
                  <c:v>1.1870499999999999</c:v>
                </c:pt>
                <c:pt idx="1098">
                  <c:v>1.1809000000000001</c:v>
                </c:pt>
                <c:pt idx="1099">
                  <c:v>1.1792499999999999</c:v>
                </c:pt>
                <c:pt idx="1100">
                  <c:v>1.18265</c:v>
                </c:pt>
                <c:pt idx="1101">
                  <c:v>1.1797500000000001</c:v>
                </c:pt>
                <c:pt idx="1102">
                  <c:v>1.1837500000000001</c:v>
                </c:pt>
                <c:pt idx="1103">
                  <c:v>1.18405</c:v>
                </c:pt>
                <c:pt idx="1104">
                  <c:v>1.19635</c:v>
                </c:pt>
                <c:pt idx="1105">
                  <c:v>1.1959500000000001</c:v>
                </c:pt>
                <c:pt idx="1106">
                  <c:v>1.1898</c:v>
                </c:pt>
                <c:pt idx="1107">
                  <c:v>1.179</c:v>
                </c:pt>
                <c:pt idx="1108">
                  <c:v>1.1817500000000001</c:v>
                </c:pt>
                <c:pt idx="1109">
                  <c:v>1.18235</c:v>
                </c:pt>
                <c:pt idx="1110">
                  <c:v>1.1813499999999999</c:v>
                </c:pt>
                <c:pt idx="1111">
                  <c:v>1.1779500000000001</c:v>
                </c:pt>
                <c:pt idx="1112">
                  <c:v>1.18415</c:v>
                </c:pt>
                <c:pt idx="1113">
                  <c:v>1.1900500000000001</c:v>
                </c:pt>
                <c:pt idx="1114">
                  <c:v>1.1920500000000001</c:v>
                </c:pt>
                <c:pt idx="1115">
                  <c:v>1.18675</c:v>
                </c:pt>
                <c:pt idx="1116">
                  <c:v>1.1829000000000001</c:v>
                </c:pt>
                <c:pt idx="1117">
                  <c:v>1.1837500000000001</c:v>
                </c:pt>
                <c:pt idx="1118">
                  <c:v>1.18045</c:v>
                </c:pt>
                <c:pt idx="1119">
                  <c:v>1.17655</c:v>
                </c:pt>
                <c:pt idx="1120">
                  <c:v>1.17665</c:v>
                </c:pt>
                <c:pt idx="1121">
                  <c:v>1.17885</c:v>
                </c:pt>
                <c:pt idx="1122">
                  <c:v>1.1842999999999999</c:v>
                </c:pt>
                <c:pt idx="1123">
                  <c:v>1.18825</c:v>
                </c:pt>
                <c:pt idx="1124">
                  <c:v>1.1755500000000001</c:v>
                </c:pt>
                <c:pt idx="1125">
                  <c:v>1.1738</c:v>
                </c:pt>
                <c:pt idx="1126">
                  <c:v>1.1825000000000001</c:v>
                </c:pt>
                <c:pt idx="1127">
                  <c:v>1.1794500000000001</c:v>
                </c:pt>
                <c:pt idx="1128">
                  <c:v>1.1774500000000001</c:v>
                </c:pt>
                <c:pt idx="1129">
                  <c:v>1.1728499999999999</c:v>
                </c:pt>
                <c:pt idx="1130">
                  <c:v>1.1777500000000001</c:v>
                </c:pt>
                <c:pt idx="1131">
                  <c:v>1.16245</c:v>
                </c:pt>
                <c:pt idx="1132">
                  <c:v>1.1595</c:v>
                </c:pt>
                <c:pt idx="1133">
                  <c:v>1.1593</c:v>
                </c:pt>
                <c:pt idx="1134">
                  <c:v>1.1488</c:v>
                </c:pt>
                <c:pt idx="1135">
                  <c:v>1.1439999999999999</c:v>
                </c:pt>
                <c:pt idx="1136">
                  <c:v>1.1422000000000001</c:v>
                </c:pt>
                <c:pt idx="1137">
                  <c:v>1.1431500000000001</c:v>
                </c:pt>
                <c:pt idx="1138">
                  <c:v>1.1417999999999999</c:v>
                </c:pt>
                <c:pt idx="1139">
                  <c:v>1.1397999999999999</c:v>
                </c:pt>
                <c:pt idx="1140">
                  <c:v>1.1368499999999999</c:v>
                </c:pt>
                <c:pt idx="1141">
                  <c:v>1.13185</c:v>
                </c:pt>
                <c:pt idx="1142">
                  <c:v>1.1293500000000001</c:v>
                </c:pt>
                <c:pt idx="1143">
                  <c:v>1.1327499999999999</c:v>
                </c:pt>
                <c:pt idx="1144">
                  <c:v>1.1285499999999999</c:v>
                </c:pt>
                <c:pt idx="1145">
                  <c:v>1.13175</c:v>
                </c:pt>
                <c:pt idx="1146">
                  <c:v>1.12425</c:v>
                </c:pt>
                <c:pt idx="1147">
                  <c:v>1.1228499999999999</c:v>
                </c:pt>
                <c:pt idx="1148">
                  <c:v>1.1261000000000001</c:v>
                </c:pt>
                <c:pt idx="1149">
                  <c:v>1.1231500000000001</c:v>
                </c:pt>
                <c:pt idx="1150">
                  <c:v>1.1246</c:v>
                </c:pt>
                <c:pt idx="1151">
                  <c:v>1.1202000000000001</c:v>
                </c:pt>
                <c:pt idx="1152">
                  <c:v>1.1213500000000001</c:v>
                </c:pt>
                <c:pt idx="1153">
                  <c:v>1.1275500000000001</c:v>
                </c:pt>
                <c:pt idx="1154">
                  <c:v>1.1333500000000001</c:v>
                </c:pt>
                <c:pt idx="1155">
                  <c:v>1.1248499999999999</c:v>
                </c:pt>
                <c:pt idx="1156">
                  <c:v>1.11835</c:v>
                </c:pt>
                <c:pt idx="1157">
                  <c:v>1.12195</c:v>
                </c:pt>
                <c:pt idx="1158">
                  <c:v>1.12225</c:v>
                </c:pt>
                <c:pt idx="1159">
                  <c:v>1.12375</c:v>
                </c:pt>
                <c:pt idx="1160">
                  <c:v>1.1274500000000001</c:v>
                </c:pt>
                <c:pt idx="1161">
                  <c:v>1.1246499999999999</c:v>
                </c:pt>
                <c:pt idx="1162">
                  <c:v>1.1380999999999999</c:v>
                </c:pt>
                <c:pt idx="1163">
                  <c:v>1.1352</c:v>
                </c:pt>
                <c:pt idx="1164">
                  <c:v>1.1354500000000001</c:v>
                </c:pt>
                <c:pt idx="1165">
                  <c:v>1.1301000000000001</c:v>
                </c:pt>
                <c:pt idx="1166">
                  <c:v>1.1313500000000001</c:v>
                </c:pt>
                <c:pt idx="1167">
                  <c:v>1.1344000000000001</c:v>
                </c:pt>
                <c:pt idx="1168">
                  <c:v>1.12195</c:v>
                </c:pt>
                <c:pt idx="1169">
                  <c:v>1.1183000000000001</c:v>
                </c:pt>
                <c:pt idx="1170">
                  <c:v>1.11375</c:v>
                </c:pt>
                <c:pt idx="1171">
                  <c:v>1.1123499999999999</c:v>
                </c:pt>
                <c:pt idx="1172">
                  <c:v>1.10555</c:v>
                </c:pt>
                <c:pt idx="1173">
                  <c:v>1.0972999999999999</c:v>
                </c:pt>
                <c:pt idx="1174">
                  <c:v>1.0984499999999999</c:v>
                </c:pt>
                <c:pt idx="1175">
                  <c:v>1.08935</c:v>
                </c:pt>
                <c:pt idx="1176">
                  <c:v>1.0890500000000001</c:v>
                </c:pt>
                <c:pt idx="1177">
                  <c:v>1.09415</c:v>
                </c:pt>
                <c:pt idx="1178">
                  <c:v>1.0992500000000001</c:v>
                </c:pt>
                <c:pt idx="1179">
                  <c:v>1.0947499999999999</c:v>
                </c:pt>
                <c:pt idx="1180">
                  <c:v>1.08575</c:v>
                </c:pt>
                <c:pt idx="1181">
                  <c:v>1.08185</c:v>
                </c:pt>
                <c:pt idx="1182">
                  <c:v>1.08135</c:v>
                </c:pt>
                <c:pt idx="1183">
                  <c:v>1.0839000000000001</c:v>
                </c:pt>
                <c:pt idx="1184">
                  <c:v>1.08745</c:v>
                </c:pt>
                <c:pt idx="1185">
                  <c:v>1.0825</c:v>
                </c:pt>
                <c:pt idx="1186">
                  <c:v>1.08725</c:v>
                </c:pt>
                <c:pt idx="1187">
                  <c:v>1.07775</c:v>
                </c:pt>
                <c:pt idx="1188">
                  <c:v>1.07975</c:v>
                </c:pt>
                <c:pt idx="1189">
                  <c:v>1.08405</c:v>
                </c:pt>
                <c:pt idx="1190">
                  <c:v>1.09165</c:v>
                </c:pt>
                <c:pt idx="1191">
                  <c:v>1.1008500000000001</c:v>
                </c:pt>
                <c:pt idx="1192">
                  <c:v>1.0952999999999999</c:v>
                </c:pt>
                <c:pt idx="1193">
                  <c:v>1.08535</c:v>
                </c:pt>
                <c:pt idx="1194">
                  <c:v>1.0831999999999999</c:v>
                </c:pt>
                <c:pt idx="1195">
                  <c:v>1.08405</c:v>
                </c:pt>
                <c:pt idx="1196">
                  <c:v>1.08125</c:v>
                </c:pt>
                <c:pt idx="1197">
                  <c:v>1.0828</c:v>
                </c:pt>
                <c:pt idx="1198">
                  <c:v>1.0827500000000001</c:v>
                </c:pt>
                <c:pt idx="1199">
                  <c:v>1.0861499999999999</c:v>
                </c:pt>
                <c:pt idx="1200">
                  <c:v>1.08815</c:v>
                </c:pt>
                <c:pt idx="1201">
                  <c:v>1.0889</c:v>
                </c:pt>
                <c:pt idx="1202">
                  <c:v>1.0849500000000001</c:v>
                </c:pt>
                <c:pt idx="1203">
                  <c:v>1.0905</c:v>
                </c:pt>
                <c:pt idx="1204">
                  <c:v>1.0969</c:v>
                </c:pt>
                <c:pt idx="1205">
                  <c:v>1.09005</c:v>
                </c:pt>
                <c:pt idx="1206">
                  <c:v>1.09385</c:v>
                </c:pt>
                <c:pt idx="1207">
                  <c:v>1.09385</c:v>
                </c:pt>
                <c:pt idx="1208">
                  <c:v>1.0863499999999999</c:v>
                </c:pt>
                <c:pt idx="1209">
                  <c:v>1.0882000000000001</c:v>
                </c:pt>
                <c:pt idx="1210">
                  <c:v>1.0783499999999999</c:v>
                </c:pt>
                <c:pt idx="1211">
                  <c:v>1.07985</c:v>
                </c:pt>
                <c:pt idx="1212">
                  <c:v>1.0863499999999999</c:v>
                </c:pt>
                <c:pt idx="1213">
                  <c:v>1.0924</c:v>
                </c:pt>
                <c:pt idx="1214">
                  <c:v>1.0972500000000001</c:v>
                </c:pt>
                <c:pt idx="1215">
                  <c:v>1.1029500000000001</c:v>
                </c:pt>
                <c:pt idx="1216">
                  <c:v>1.1057999999999999</c:v>
                </c:pt>
                <c:pt idx="1217">
                  <c:v>1.1024</c:v>
                </c:pt>
                <c:pt idx="1218">
                  <c:v>1.08325</c:v>
                </c:pt>
                <c:pt idx="1219">
                  <c:v>1.07965</c:v>
                </c:pt>
                <c:pt idx="1220">
                  <c:v>1.07595</c:v>
                </c:pt>
                <c:pt idx="1221">
                  <c:v>1.0689</c:v>
                </c:pt>
                <c:pt idx="1222">
                  <c:v>1.0701499999999999</c:v>
                </c:pt>
                <c:pt idx="1223">
                  <c:v>1.08335</c:v>
                </c:pt>
                <c:pt idx="1224">
                  <c:v>1.0972</c:v>
                </c:pt>
                <c:pt idx="1225">
                  <c:v>1.11385</c:v>
                </c:pt>
                <c:pt idx="1226">
                  <c:v>1.1069</c:v>
                </c:pt>
                <c:pt idx="1227">
                  <c:v>1.10815</c:v>
                </c:pt>
                <c:pt idx="1228">
                  <c:v>1.12775</c:v>
                </c:pt>
                <c:pt idx="1229">
                  <c:v>1.13445</c:v>
                </c:pt>
                <c:pt idx="1230">
                  <c:v>1.14185</c:v>
                </c:pt>
                <c:pt idx="1231">
                  <c:v>1.1310500000000001</c:v>
                </c:pt>
                <c:pt idx="1232">
                  <c:v>1.1189</c:v>
                </c:pt>
                <c:pt idx="1233">
                  <c:v>1.1141000000000001</c:v>
                </c:pt>
                <c:pt idx="1234">
                  <c:v>1.1177999999999999</c:v>
                </c:pt>
                <c:pt idx="1235">
                  <c:v>1.1131500000000001</c:v>
                </c:pt>
                <c:pt idx="1236">
                  <c:v>1.0984499999999999</c:v>
                </c:pt>
                <c:pt idx="1237">
                  <c:v>1.0986</c:v>
                </c:pt>
                <c:pt idx="1238">
                  <c:v>1.0865499999999999</c:v>
                </c:pt>
                <c:pt idx="1239">
                  <c:v>1.0864499999999999</c:v>
                </c:pt>
                <c:pt idx="1240">
                  <c:v>1.08565</c:v>
                </c:pt>
                <c:pt idx="1241">
                  <c:v>1.0851999999999999</c:v>
                </c:pt>
                <c:pt idx="1242">
                  <c:v>1.0803499999999999</c:v>
                </c:pt>
                <c:pt idx="1243">
                  <c:v>1.07925</c:v>
                </c:pt>
                <c:pt idx="1244">
                  <c:v>1.0823</c:v>
                </c:pt>
                <c:pt idx="1245">
                  <c:v>1.0830500000000001</c:v>
                </c:pt>
                <c:pt idx="1246">
                  <c:v>1.0845499999999999</c:v>
                </c:pt>
                <c:pt idx="1247">
                  <c:v>1.0848500000000001</c:v>
                </c:pt>
                <c:pt idx="1248">
                  <c:v>1.08955</c:v>
                </c:pt>
                <c:pt idx="1249">
                  <c:v>1.09155</c:v>
                </c:pt>
                <c:pt idx="1250">
                  <c:v>1.0924</c:v>
                </c:pt>
                <c:pt idx="1251">
                  <c:v>1.0964</c:v>
                </c:pt>
                <c:pt idx="1252">
                  <c:v>1.09775</c:v>
                </c:pt>
                <c:pt idx="1253">
                  <c:v>1.1002000000000001</c:v>
                </c:pt>
                <c:pt idx="1254">
                  <c:v>1.10385</c:v>
                </c:pt>
                <c:pt idx="1255">
                  <c:v>1.10575</c:v>
                </c:pt>
                <c:pt idx="1256">
                  <c:v>1.1082000000000001</c:v>
                </c:pt>
                <c:pt idx="1257">
                  <c:v>1.1034999999999999</c:v>
                </c:pt>
                <c:pt idx="1258">
                  <c:v>1.09985</c:v>
                </c:pt>
                <c:pt idx="1259">
                  <c:v>1.10005</c:v>
                </c:pt>
                <c:pt idx="1260">
                  <c:v>1.1012500000000001</c:v>
                </c:pt>
                <c:pt idx="1261">
                  <c:v>1.1025</c:v>
                </c:pt>
                <c:pt idx="1262">
                  <c:v>1.1045499999999999</c:v>
                </c:pt>
                <c:pt idx="1263">
                  <c:v>1.10755</c:v>
                </c:pt>
                <c:pt idx="1264">
                  <c:v>1.1097999999999999</c:v>
                </c:pt>
                <c:pt idx="1265">
                  <c:v>1.10825</c:v>
                </c:pt>
                <c:pt idx="1266">
                  <c:v>1.1094999999999999</c:v>
                </c:pt>
                <c:pt idx="1267">
                  <c:v>1.11415</c:v>
                </c:pt>
                <c:pt idx="1268">
                  <c:v>1.1151500000000001</c:v>
                </c:pt>
                <c:pt idx="1269">
                  <c:v>1.11215</c:v>
                </c:pt>
                <c:pt idx="1270">
                  <c:v>1.1133999999999999</c:v>
                </c:pt>
                <c:pt idx="1271">
                  <c:v>1.1113500000000001</c:v>
                </c:pt>
                <c:pt idx="1272">
                  <c:v>1.11025</c:v>
                </c:pt>
                <c:pt idx="1273">
                  <c:v>1.11195</c:v>
                </c:pt>
                <c:pt idx="1274">
                  <c:v>1.11415</c:v>
                </c:pt>
                <c:pt idx="1275">
                  <c:v>1.1189499999999999</c:v>
                </c:pt>
                <c:pt idx="1276">
                  <c:v>1.1165</c:v>
                </c:pt>
                <c:pt idx="1277">
                  <c:v>1.1201000000000001</c:v>
                </c:pt>
                <c:pt idx="1278">
                  <c:v>1.1225000000000001</c:v>
                </c:pt>
                <c:pt idx="1279">
                  <c:v>1.1225000000000001</c:v>
                </c:pt>
                <c:pt idx="1280">
                  <c:v>1.12035</c:v>
                </c:pt>
                <c:pt idx="1281">
                  <c:v>1.1163000000000001</c:v>
                </c:pt>
                <c:pt idx="1282">
                  <c:v>1.10985</c:v>
                </c:pt>
                <c:pt idx="1283">
                  <c:v>1.109</c:v>
                </c:pt>
                <c:pt idx="1284">
                  <c:v>1.109</c:v>
                </c:pt>
                <c:pt idx="1285">
                  <c:v>1.1087499999999999</c:v>
                </c:pt>
                <c:pt idx="1286">
                  <c:v>1.1085</c:v>
                </c:pt>
                <c:pt idx="1287">
                  <c:v>1.11165</c:v>
                </c:pt>
                <c:pt idx="1288">
                  <c:v>1.1126</c:v>
                </c:pt>
                <c:pt idx="1289">
                  <c:v>1.1153500000000001</c:v>
                </c:pt>
                <c:pt idx="1290">
                  <c:v>1.11375</c:v>
                </c:pt>
                <c:pt idx="1291">
                  <c:v>1.11365</c:v>
                </c:pt>
                <c:pt idx="1292">
                  <c:v>1.11175</c:v>
                </c:pt>
                <c:pt idx="1293">
                  <c:v>1.1085499999999999</c:v>
                </c:pt>
                <c:pt idx="1294">
                  <c:v>1.1089</c:v>
                </c:pt>
                <c:pt idx="1295">
                  <c:v>1.1069500000000001</c:v>
                </c:pt>
                <c:pt idx="1296">
                  <c:v>1.1049</c:v>
                </c:pt>
                <c:pt idx="1297">
                  <c:v>1.1092500000000001</c:v>
                </c:pt>
                <c:pt idx="1298">
                  <c:v>1.1087499999999999</c:v>
                </c:pt>
                <c:pt idx="1299">
                  <c:v>1.1083499999999999</c:v>
                </c:pt>
                <c:pt idx="1300">
                  <c:v>1.1072500000000001</c:v>
                </c:pt>
                <c:pt idx="1301">
                  <c:v>1.1026</c:v>
                </c:pt>
                <c:pt idx="1302">
                  <c:v>1.1006499999999999</c:v>
                </c:pt>
                <c:pt idx="1303">
                  <c:v>1.09995</c:v>
                </c:pt>
                <c:pt idx="1304">
                  <c:v>1.10145</c:v>
                </c:pt>
                <c:pt idx="1305">
                  <c:v>1.1012</c:v>
                </c:pt>
                <c:pt idx="1306">
                  <c:v>1.1033500000000001</c:v>
                </c:pt>
                <c:pt idx="1307">
                  <c:v>1.1075999999999999</c:v>
                </c:pt>
                <c:pt idx="1308">
                  <c:v>1.1066</c:v>
                </c:pt>
                <c:pt idx="1309">
                  <c:v>1.10795</c:v>
                </c:pt>
                <c:pt idx="1310">
                  <c:v>1.1081000000000001</c:v>
                </c:pt>
                <c:pt idx="1311">
                  <c:v>1.1052</c:v>
                </c:pt>
                <c:pt idx="1312">
                  <c:v>1.10015</c:v>
                </c:pt>
                <c:pt idx="1313">
                  <c:v>1.1009500000000001</c:v>
                </c:pt>
                <c:pt idx="1314">
                  <c:v>1.1012500000000001</c:v>
                </c:pt>
                <c:pt idx="1315">
                  <c:v>1.10345</c:v>
                </c:pt>
                <c:pt idx="1316">
                  <c:v>1.1021000000000001</c:v>
                </c:pt>
                <c:pt idx="1317">
                  <c:v>1.1044499999999999</c:v>
                </c:pt>
                <c:pt idx="1318">
                  <c:v>1.1073999999999999</c:v>
                </c:pt>
                <c:pt idx="1319">
                  <c:v>1.10745</c:v>
                </c:pt>
                <c:pt idx="1320">
                  <c:v>1.11555</c:v>
                </c:pt>
                <c:pt idx="1321">
                  <c:v>1.1169500000000001</c:v>
                </c:pt>
                <c:pt idx="1322">
                  <c:v>1.11565</c:v>
                </c:pt>
                <c:pt idx="1323">
                  <c:v>1.1123000000000001</c:v>
                </c:pt>
                <c:pt idx="1324">
                  <c:v>1.11155</c:v>
                </c:pt>
                <c:pt idx="1325">
                  <c:v>1.1092500000000001</c:v>
                </c:pt>
                <c:pt idx="1326">
                  <c:v>1.1091</c:v>
                </c:pt>
                <c:pt idx="1327">
                  <c:v>1.1104499999999999</c:v>
                </c:pt>
                <c:pt idx="1328">
                  <c:v>1.1115999999999999</c:v>
                </c:pt>
                <c:pt idx="1329">
                  <c:v>1.1131</c:v>
                </c:pt>
                <c:pt idx="1330">
                  <c:v>1.1146499999999999</c:v>
                </c:pt>
                <c:pt idx="1331">
                  <c:v>1.11395</c:v>
                </c:pt>
                <c:pt idx="1332">
                  <c:v>1.1115999999999999</c:v>
                </c:pt>
                <c:pt idx="1333">
                  <c:v>1.1050500000000001</c:v>
                </c:pt>
                <c:pt idx="1334">
                  <c:v>1.10375</c:v>
                </c:pt>
                <c:pt idx="1335">
                  <c:v>1.1025499999999999</c:v>
                </c:pt>
                <c:pt idx="1336">
                  <c:v>1.1035999999999999</c:v>
                </c:pt>
                <c:pt idx="1337">
                  <c:v>1.1013500000000001</c:v>
                </c:pt>
                <c:pt idx="1338">
                  <c:v>1.0980000000000001</c:v>
                </c:pt>
                <c:pt idx="1339">
                  <c:v>1.09565</c:v>
                </c:pt>
                <c:pt idx="1340">
                  <c:v>1.0994999999999999</c:v>
                </c:pt>
                <c:pt idx="1341">
                  <c:v>1.09795</c:v>
                </c:pt>
                <c:pt idx="1342">
                  <c:v>1.0984499999999999</c:v>
                </c:pt>
                <c:pt idx="1343">
                  <c:v>1.0945499999999999</c:v>
                </c:pt>
                <c:pt idx="1344">
                  <c:v>1.09175</c:v>
                </c:pt>
                <c:pt idx="1345">
                  <c:v>1.0902000000000001</c:v>
                </c:pt>
                <c:pt idx="1346">
                  <c:v>1.0947499999999999</c:v>
                </c:pt>
                <c:pt idx="1347">
                  <c:v>1.09415</c:v>
                </c:pt>
                <c:pt idx="1348">
                  <c:v>1.0958000000000001</c:v>
                </c:pt>
                <c:pt idx="1349">
                  <c:v>1.0996999999999999</c:v>
                </c:pt>
                <c:pt idx="1350">
                  <c:v>1.09955</c:v>
                </c:pt>
                <c:pt idx="1351">
                  <c:v>1.1011500000000001</c:v>
                </c:pt>
                <c:pt idx="1352">
                  <c:v>1.10565</c:v>
                </c:pt>
                <c:pt idx="1353">
                  <c:v>1.10595</c:v>
                </c:pt>
                <c:pt idx="1354">
                  <c:v>1.1049500000000001</c:v>
                </c:pt>
                <c:pt idx="1355">
                  <c:v>1.09975</c:v>
                </c:pt>
                <c:pt idx="1356">
                  <c:v>1.1084000000000001</c:v>
                </c:pt>
                <c:pt idx="1357">
                  <c:v>1.1030500000000001</c:v>
                </c:pt>
                <c:pt idx="1358">
                  <c:v>1.0996999999999999</c:v>
                </c:pt>
                <c:pt idx="1359">
                  <c:v>1.1041000000000001</c:v>
                </c:pt>
                <c:pt idx="1360">
                  <c:v>1.1056999999999999</c:v>
                </c:pt>
                <c:pt idx="1361">
                  <c:v>1.1047499999999999</c:v>
                </c:pt>
                <c:pt idx="1362">
                  <c:v>1.1043499999999999</c:v>
                </c:pt>
                <c:pt idx="1363">
                  <c:v>1.1029500000000001</c:v>
                </c:pt>
                <c:pt idx="1364">
                  <c:v>1.0962499999999999</c:v>
                </c:pt>
                <c:pt idx="1365">
                  <c:v>1.0967499999999999</c:v>
                </c:pt>
                <c:pt idx="1366">
                  <c:v>1.1012500000000001</c:v>
                </c:pt>
                <c:pt idx="1367">
                  <c:v>1.1066499999999999</c:v>
                </c:pt>
                <c:pt idx="1368">
                  <c:v>1.10755</c:v>
                </c:pt>
                <c:pt idx="1369">
                  <c:v>1.1101000000000001</c:v>
                </c:pt>
                <c:pt idx="1370">
                  <c:v>1.1113500000000001</c:v>
                </c:pt>
                <c:pt idx="1371">
                  <c:v>1.1108499999999999</c:v>
                </c:pt>
                <c:pt idx="1372">
                  <c:v>1.10805</c:v>
                </c:pt>
                <c:pt idx="1373">
                  <c:v>1.1093500000000001</c:v>
                </c:pt>
                <c:pt idx="1374">
                  <c:v>1.1089</c:v>
                </c:pt>
                <c:pt idx="1375">
                  <c:v>1.10955</c:v>
                </c:pt>
                <c:pt idx="1376">
                  <c:v>1.1104499999999999</c:v>
                </c:pt>
                <c:pt idx="1377">
                  <c:v>1.1108499999999999</c:v>
                </c:pt>
                <c:pt idx="1378">
                  <c:v>1.115</c:v>
                </c:pt>
                <c:pt idx="1379">
                  <c:v>1.1188</c:v>
                </c:pt>
                <c:pt idx="1380">
                  <c:v>1.1218999999999999</c:v>
                </c:pt>
                <c:pt idx="1381">
                  <c:v>1.12015</c:v>
                </c:pt>
                <c:pt idx="1382">
                  <c:v>1.12005</c:v>
                </c:pt>
                <c:pt idx="1383">
                  <c:v>1.12155</c:v>
                </c:pt>
                <c:pt idx="1384">
                  <c:v>1.1186499999999999</c:v>
                </c:pt>
                <c:pt idx="1385">
                  <c:v>1.1185</c:v>
                </c:pt>
                <c:pt idx="1386">
                  <c:v>1.1102000000000001</c:v>
                </c:pt>
                <c:pt idx="1387">
                  <c:v>1.10585</c:v>
                </c:pt>
                <c:pt idx="1388">
                  <c:v>1.1133999999999999</c:v>
                </c:pt>
                <c:pt idx="1389">
                  <c:v>1.11395</c:v>
                </c:pt>
                <c:pt idx="1390">
                  <c:v>1.1131500000000001</c:v>
                </c:pt>
                <c:pt idx="1391">
                  <c:v>1.1126499999999999</c:v>
                </c:pt>
                <c:pt idx="1392">
                  <c:v>1.11585</c:v>
                </c:pt>
                <c:pt idx="1393">
                  <c:v>1.1143000000000001</c:v>
                </c:pt>
                <c:pt idx="1394">
                  <c:v>1.115</c:v>
                </c:pt>
                <c:pt idx="1395">
                  <c:v>1.12225</c:v>
                </c:pt>
                <c:pt idx="1396">
                  <c:v>1.1222000000000001</c:v>
                </c:pt>
                <c:pt idx="1397">
                  <c:v>1.12185</c:v>
                </c:pt>
                <c:pt idx="1398">
                  <c:v>1.1225499999999999</c:v>
                </c:pt>
                <c:pt idx="1399">
                  <c:v>1.12235</c:v>
                </c:pt>
                <c:pt idx="1400">
                  <c:v>1.1262000000000001</c:v>
                </c:pt>
                <c:pt idx="1401">
                  <c:v>1.1252500000000001</c:v>
                </c:pt>
                <c:pt idx="1402">
                  <c:v>1.1253</c:v>
                </c:pt>
                <c:pt idx="1403">
                  <c:v>1.1251</c:v>
                </c:pt>
                <c:pt idx="1404">
                  <c:v>1.1206499999999999</c:v>
                </c:pt>
                <c:pt idx="1405">
                  <c:v>1.12155</c:v>
                </c:pt>
                <c:pt idx="1406">
                  <c:v>1.12225</c:v>
                </c:pt>
                <c:pt idx="1407">
                  <c:v>1.1282000000000001</c:v>
                </c:pt>
                <c:pt idx="1408">
                  <c:v>1.12815</c:v>
                </c:pt>
                <c:pt idx="1409">
                  <c:v>1.1294999999999999</c:v>
                </c:pt>
                <c:pt idx="1410">
                  <c:v>1.13245</c:v>
                </c:pt>
                <c:pt idx="1411">
                  <c:v>1.1388</c:v>
                </c:pt>
                <c:pt idx="1412">
                  <c:v>1.1368499999999999</c:v>
                </c:pt>
                <c:pt idx="1413">
                  <c:v>1.1376500000000001</c:v>
                </c:pt>
                <c:pt idx="1414">
                  <c:v>1.13825</c:v>
                </c:pt>
                <c:pt idx="1415">
                  <c:v>1.1389499999999999</c:v>
                </c:pt>
                <c:pt idx="1416">
                  <c:v>1.13205</c:v>
                </c:pt>
                <c:pt idx="1417">
                  <c:v>1.1291</c:v>
                </c:pt>
                <c:pt idx="1418">
                  <c:v>1.12155</c:v>
                </c:pt>
                <c:pt idx="1419">
                  <c:v>1.1185499999999999</c:v>
                </c:pt>
                <c:pt idx="1420">
                  <c:v>1.1226</c:v>
                </c:pt>
                <c:pt idx="1421">
                  <c:v>1.1225000000000001</c:v>
                </c:pt>
                <c:pt idx="1422">
                  <c:v>1.1272500000000001</c:v>
                </c:pt>
                <c:pt idx="1423">
                  <c:v>1.13205</c:v>
                </c:pt>
                <c:pt idx="1424">
                  <c:v>1.1314500000000001</c:v>
                </c:pt>
                <c:pt idx="1425">
                  <c:v>1.1315</c:v>
                </c:pt>
                <c:pt idx="1426">
                  <c:v>1.13375</c:v>
                </c:pt>
                <c:pt idx="1427">
                  <c:v>1.12825</c:v>
                </c:pt>
                <c:pt idx="1428">
                  <c:v>1.1262000000000001</c:v>
                </c:pt>
                <c:pt idx="1429">
                  <c:v>1.1233</c:v>
                </c:pt>
                <c:pt idx="1430">
                  <c:v>1.12015</c:v>
                </c:pt>
                <c:pt idx="1431">
                  <c:v>1.11435</c:v>
                </c:pt>
                <c:pt idx="1432">
                  <c:v>1.1126499999999999</c:v>
                </c:pt>
                <c:pt idx="1433">
                  <c:v>1.11425</c:v>
                </c:pt>
                <c:pt idx="1434">
                  <c:v>1.1173999999999999</c:v>
                </c:pt>
                <c:pt idx="1435">
                  <c:v>1.1192</c:v>
                </c:pt>
                <c:pt idx="1436">
                  <c:v>1.1204000000000001</c:v>
                </c:pt>
                <c:pt idx="1437">
                  <c:v>1.115</c:v>
                </c:pt>
                <c:pt idx="1438">
                  <c:v>1.1153999999999999</c:v>
                </c:pt>
                <c:pt idx="1439">
                  <c:v>1.11815</c:v>
                </c:pt>
                <c:pt idx="1440">
                  <c:v>1.1165</c:v>
                </c:pt>
                <c:pt idx="1441">
                  <c:v>1.11595</c:v>
                </c:pt>
                <c:pt idx="1442">
                  <c:v>1.1178999999999999</c:v>
                </c:pt>
                <c:pt idx="1443">
                  <c:v>1.1206499999999999</c:v>
                </c:pt>
                <c:pt idx="1444">
                  <c:v>1.1212</c:v>
                </c:pt>
                <c:pt idx="1445">
                  <c:v>1.1243000000000001</c:v>
                </c:pt>
                <c:pt idx="1446">
                  <c:v>1.1244000000000001</c:v>
                </c:pt>
                <c:pt idx="1447">
                  <c:v>1.1229499999999999</c:v>
                </c:pt>
                <c:pt idx="1448">
                  <c:v>1.1202000000000001</c:v>
                </c:pt>
                <c:pt idx="1449">
                  <c:v>1.1188</c:v>
                </c:pt>
                <c:pt idx="1450">
                  <c:v>1.1194999999999999</c:v>
                </c:pt>
                <c:pt idx="1451">
                  <c:v>1.1187499999999999</c:v>
                </c:pt>
                <c:pt idx="1452">
                  <c:v>1.11835</c:v>
                </c:pt>
                <c:pt idx="1453">
                  <c:v>1.12405</c:v>
                </c:pt>
                <c:pt idx="1454">
                  <c:v>1.1207</c:v>
                </c:pt>
                <c:pt idx="1455">
                  <c:v>1.1166</c:v>
                </c:pt>
                <c:pt idx="1456">
                  <c:v>1.11625</c:v>
                </c:pt>
                <c:pt idx="1457">
                  <c:v>1.1144000000000001</c:v>
                </c:pt>
                <c:pt idx="1458">
                  <c:v>1.12025</c:v>
                </c:pt>
                <c:pt idx="1459">
                  <c:v>1.1207</c:v>
                </c:pt>
                <c:pt idx="1460">
                  <c:v>1.1254999999999999</c:v>
                </c:pt>
                <c:pt idx="1461">
                  <c:v>1.12435</c:v>
                </c:pt>
                <c:pt idx="1462">
                  <c:v>1.12435</c:v>
                </c:pt>
                <c:pt idx="1463">
                  <c:v>1.13025</c:v>
                </c:pt>
                <c:pt idx="1464">
                  <c:v>1.1299999999999999</c:v>
                </c:pt>
                <c:pt idx="1465">
                  <c:v>1.1309499999999999</c:v>
                </c:pt>
                <c:pt idx="1466">
                  <c:v>1.1314</c:v>
                </c:pt>
                <c:pt idx="1467">
                  <c:v>1.1273</c:v>
                </c:pt>
                <c:pt idx="1468">
                  <c:v>1.1251</c:v>
                </c:pt>
                <c:pt idx="1469">
                  <c:v>1.1273</c:v>
                </c:pt>
                <c:pt idx="1470">
                  <c:v>1.12615</c:v>
                </c:pt>
                <c:pt idx="1471">
                  <c:v>1.1223000000000001</c:v>
                </c:pt>
                <c:pt idx="1472">
                  <c:v>1.12165</c:v>
                </c:pt>
                <c:pt idx="1473">
                  <c:v>1.1229499999999999</c:v>
                </c:pt>
                <c:pt idx="1474">
                  <c:v>1.1190500000000001</c:v>
                </c:pt>
                <c:pt idx="1475">
                  <c:v>1.1221000000000001</c:v>
                </c:pt>
                <c:pt idx="1476">
                  <c:v>1.1228499999999999</c:v>
                </c:pt>
                <c:pt idx="1477">
                  <c:v>1.1234999999999999</c:v>
                </c:pt>
                <c:pt idx="1478">
                  <c:v>1.1252</c:v>
                </c:pt>
                <c:pt idx="1479">
                  <c:v>1.12805</c:v>
                </c:pt>
                <c:pt idx="1480">
                  <c:v>1.13225</c:v>
                </c:pt>
                <c:pt idx="1481">
                  <c:v>1.1283000000000001</c:v>
                </c:pt>
                <c:pt idx="1482">
                  <c:v>1.13605</c:v>
                </c:pt>
                <c:pt idx="1483">
                  <c:v>1.1352</c:v>
                </c:pt>
                <c:pt idx="1484">
                  <c:v>1.1346499999999999</c:v>
                </c:pt>
                <c:pt idx="1485">
                  <c:v>1.13375</c:v>
                </c:pt>
                <c:pt idx="1486">
                  <c:v>1.1326000000000001</c:v>
                </c:pt>
                <c:pt idx="1487">
                  <c:v>1.13045</c:v>
                </c:pt>
                <c:pt idx="1488">
                  <c:v>1.1309499999999999</c:v>
                </c:pt>
                <c:pt idx="1489">
                  <c:v>1.1274500000000001</c:v>
                </c:pt>
                <c:pt idx="1490">
                  <c:v>1.1224000000000001</c:v>
                </c:pt>
                <c:pt idx="1491">
                  <c:v>1.1234500000000001</c:v>
                </c:pt>
                <c:pt idx="1492">
                  <c:v>1.1231500000000001</c:v>
                </c:pt>
                <c:pt idx="1493">
                  <c:v>1.13175</c:v>
                </c:pt>
                <c:pt idx="1494">
                  <c:v>1.1305499999999999</c:v>
                </c:pt>
                <c:pt idx="1495">
                  <c:v>1.13215</c:v>
                </c:pt>
                <c:pt idx="1496">
                  <c:v>1.1387499999999999</c:v>
                </c:pt>
                <c:pt idx="1497">
                  <c:v>1.1387</c:v>
                </c:pt>
                <c:pt idx="1498">
                  <c:v>1.13825</c:v>
                </c:pt>
                <c:pt idx="1499">
                  <c:v>1.13585</c:v>
                </c:pt>
                <c:pt idx="1500">
                  <c:v>1.1347499999999999</c:v>
                </c:pt>
                <c:pt idx="1501">
                  <c:v>1.13395</c:v>
                </c:pt>
                <c:pt idx="1502">
                  <c:v>1.1347499999999999</c:v>
                </c:pt>
                <c:pt idx="1503">
                  <c:v>1.1349</c:v>
                </c:pt>
                <c:pt idx="1504">
                  <c:v>1.1334500000000001</c:v>
                </c:pt>
                <c:pt idx="1505">
                  <c:v>1.1307</c:v>
                </c:pt>
                <c:pt idx="1506">
                  <c:v>1.12635</c:v>
                </c:pt>
                <c:pt idx="1507">
                  <c:v>1.1274999999999999</c:v>
                </c:pt>
                <c:pt idx="1508">
                  <c:v>1.1287499999999999</c:v>
                </c:pt>
                <c:pt idx="1509">
                  <c:v>1.12995</c:v>
                </c:pt>
                <c:pt idx="1510">
                  <c:v>1.1275999999999999</c:v>
                </c:pt>
                <c:pt idx="1511">
                  <c:v>1.1328</c:v>
                </c:pt>
                <c:pt idx="1512">
                  <c:v>1.1355999999999999</c:v>
                </c:pt>
                <c:pt idx="1513">
                  <c:v>1.13785</c:v>
                </c:pt>
                <c:pt idx="1514">
                  <c:v>1.141</c:v>
                </c:pt>
                <c:pt idx="1515">
                  <c:v>1.1428499999999999</c:v>
                </c:pt>
                <c:pt idx="1516">
                  <c:v>1.1468</c:v>
                </c:pt>
                <c:pt idx="1517">
                  <c:v>1.1474500000000001</c:v>
                </c:pt>
                <c:pt idx="1518">
                  <c:v>1.14255</c:v>
                </c:pt>
                <c:pt idx="1519">
                  <c:v>1.1415</c:v>
                </c:pt>
                <c:pt idx="1520">
                  <c:v>1.1435500000000001</c:v>
                </c:pt>
                <c:pt idx="1521">
                  <c:v>1.1397999999999999</c:v>
                </c:pt>
                <c:pt idx="1522">
                  <c:v>1.1353500000000001</c:v>
                </c:pt>
                <c:pt idx="1523">
                  <c:v>1.1378999999999999</c:v>
                </c:pt>
                <c:pt idx="1524">
                  <c:v>1.13565</c:v>
                </c:pt>
                <c:pt idx="1525">
                  <c:v>1.1365499999999999</c:v>
                </c:pt>
                <c:pt idx="1526">
                  <c:v>1.1366499999999999</c:v>
                </c:pt>
                <c:pt idx="1527">
                  <c:v>1.13795</c:v>
                </c:pt>
                <c:pt idx="1528">
                  <c:v>1.1394500000000001</c:v>
                </c:pt>
                <c:pt idx="1529">
                  <c:v>1.1432500000000001</c:v>
                </c:pt>
                <c:pt idx="1530">
                  <c:v>1.1467499999999999</c:v>
                </c:pt>
                <c:pt idx="1531">
                  <c:v>1.14775</c:v>
                </c:pt>
                <c:pt idx="1532">
                  <c:v>1.15215</c:v>
                </c:pt>
                <c:pt idx="1533">
                  <c:v>1.1511</c:v>
                </c:pt>
                <c:pt idx="1534">
                  <c:v>1.14415</c:v>
                </c:pt>
                <c:pt idx="1535">
                  <c:v>1.14615</c:v>
                </c:pt>
                <c:pt idx="1536">
                  <c:v>1.1409499999999999</c:v>
                </c:pt>
                <c:pt idx="1537">
                  <c:v>1.1392</c:v>
                </c:pt>
                <c:pt idx="1538">
                  <c:v>1.1354500000000001</c:v>
                </c:pt>
                <c:pt idx="1539">
                  <c:v>1.1431500000000001</c:v>
                </c:pt>
                <c:pt idx="1540">
                  <c:v>1.1431500000000001</c:v>
                </c:pt>
                <c:pt idx="1541">
                  <c:v>1.1434500000000001</c:v>
                </c:pt>
                <c:pt idx="1542">
                  <c:v>1.14025</c:v>
                </c:pt>
                <c:pt idx="1543">
                  <c:v>1.1407499999999999</c:v>
                </c:pt>
                <c:pt idx="1544">
                  <c:v>1.1413500000000001</c:v>
                </c:pt>
                <c:pt idx="1545">
                  <c:v>1.1413500000000001</c:v>
                </c:pt>
                <c:pt idx="1546">
                  <c:v>1.1413500000000001</c:v>
                </c:pt>
                <c:pt idx="1547">
                  <c:v>1.1415999999999999</c:v>
                </c:pt>
                <c:pt idx="1548">
                  <c:v>1.1422000000000001</c:v>
                </c:pt>
                <c:pt idx="1549">
                  <c:v>1.13635</c:v>
                </c:pt>
                <c:pt idx="1550">
                  <c:v>1.13365</c:v>
                </c:pt>
                <c:pt idx="1551">
                  <c:v>1.12975</c:v>
                </c:pt>
                <c:pt idx="1552">
                  <c:v>1.1347499999999999</c:v>
                </c:pt>
                <c:pt idx="1553">
                  <c:v>1.1366000000000001</c:v>
                </c:pt>
                <c:pt idx="1554">
                  <c:v>1.13245</c:v>
                </c:pt>
                <c:pt idx="1555">
                  <c:v>1.1376500000000001</c:v>
                </c:pt>
                <c:pt idx="1556">
                  <c:v>1.1391</c:v>
                </c:pt>
                <c:pt idx="1557">
                  <c:v>1.13825</c:v>
                </c:pt>
                <c:pt idx="1558">
                  <c:v>1.1341000000000001</c:v>
                </c:pt>
                <c:pt idx="1559">
                  <c:v>1.1351500000000001</c:v>
                </c:pt>
                <c:pt idx="1560">
                  <c:v>1.1347499999999999</c:v>
                </c:pt>
                <c:pt idx="1561">
                  <c:v>1.13225</c:v>
                </c:pt>
                <c:pt idx="1562">
                  <c:v>1.1386499999999999</c:v>
                </c:pt>
                <c:pt idx="1563">
                  <c:v>1.1275500000000001</c:v>
                </c:pt>
                <c:pt idx="1564">
                  <c:v>1.1289499999999999</c:v>
                </c:pt>
                <c:pt idx="1565">
                  <c:v>1.13395</c:v>
                </c:pt>
                <c:pt idx="1566">
                  <c:v>1.1344000000000001</c:v>
                </c:pt>
                <c:pt idx="1567">
                  <c:v>1.1407</c:v>
                </c:pt>
                <c:pt idx="1568">
                  <c:v>1.1394</c:v>
                </c:pt>
                <c:pt idx="1569">
                  <c:v>1.1411500000000001</c:v>
                </c:pt>
                <c:pt idx="1570">
                  <c:v>1.1453500000000001</c:v>
                </c:pt>
                <c:pt idx="1571">
                  <c:v>1.1394500000000001</c:v>
                </c:pt>
                <c:pt idx="1572">
                  <c:v>1.1318999999999999</c:v>
                </c:pt>
                <c:pt idx="1573">
                  <c:v>1.1308</c:v>
                </c:pt>
                <c:pt idx="1574">
                  <c:v>1.12805</c:v>
                </c:pt>
                <c:pt idx="1575">
                  <c:v>1.1251</c:v>
                </c:pt>
                <c:pt idx="1576">
                  <c:v>1.1353500000000001</c:v>
                </c:pt>
                <c:pt idx="1577">
                  <c:v>1.1426499999999999</c:v>
                </c:pt>
                <c:pt idx="1578">
                  <c:v>1.1471</c:v>
                </c:pt>
                <c:pt idx="1579">
                  <c:v>1.1416999999999999</c:v>
                </c:pt>
                <c:pt idx="1580">
                  <c:v>1.14005</c:v>
                </c:pt>
                <c:pt idx="1581">
                  <c:v>1.13785</c:v>
                </c:pt>
                <c:pt idx="1582">
                  <c:v>1.1396999999999999</c:v>
                </c:pt>
                <c:pt idx="1583">
                  <c:v>1.1330499999999999</c:v>
                </c:pt>
                <c:pt idx="1584">
                  <c:v>1.13635</c:v>
                </c:pt>
                <c:pt idx="1585">
                  <c:v>1.1389499999999999</c:v>
                </c:pt>
                <c:pt idx="1586">
                  <c:v>1.1370499999999999</c:v>
                </c:pt>
                <c:pt idx="1587">
                  <c:v>1.13795</c:v>
                </c:pt>
                <c:pt idx="1588">
                  <c:v>1.1395999999999999</c:v>
                </c:pt>
                <c:pt idx="1589">
                  <c:v>1.14585</c:v>
                </c:pt>
                <c:pt idx="1590">
                  <c:v>1.1469499999999999</c:v>
                </c:pt>
                <c:pt idx="1591">
                  <c:v>1.1496</c:v>
                </c:pt>
                <c:pt idx="1592">
                  <c:v>1.149</c:v>
                </c:pt>
                <c:pt idx="1593">
                  <c:v>1.1529499999999999</c:v>
                </c:pt>
                <c:pt idx="1594">
                  <c:v>1.15805</c:v>
                </c:pt>
                <c:pt idx="1595">
                  <c:v>1.15865</c:v>
                </c:pt>
                <c:pt idx="1596">
                  <c:v>1.15615</c:v>
                </c:pt>
                <c:pt idx="1597">
                  <c:v>1.1559999999999999</c:v>
                </c:pt>
                <c:pt idx="1598">
                  <c:v>1.1532500000000001</c:v>
                </c:pt>
                <c:pt idx="1599">
                  <c:v>1.1469499999999999</c:v>
                </c:pt>
                <c:pt idx="1600">
                  <c:v>1.1472500000000001</c:v>
                </c:pt>
                <c:pt idx="1601">
                  <c:v>1.1510499999999999</c:v>
                </c:pt>
                <c:pt idx="1602">
                  <c:v>1.1520999999999999</c:v>
                </c:pt>
                <c:pt idx="1603">
                  <c:v>1.1537999999999999</c:v>
                </c:pt>
                <c:pt idx="1604">
                  <c:v>1.1555500000000001</c:v>
                </c:pt>
                <c:pt idx="1605">
                  <c:v>1.15845</c:v>
                </c:pt>
                <c:pt idx="1606">
                  <c:v>1.1615</c:v>
                </c:pt>
                <c:pt idx="1607">
                  <c:v>1.1677</c:v>
                </c:pt>
                <c:pt idx="1608">
                  <c:v>1.1748000000000001</c:v>
                </c:pt>
                <c:pt idx="1609">
                  <c:v>1.1785000000000001</c:v>
                </c:pt>
                <c:pt idx="1610">
                  <c:v>1.1789499999999999</c:v>
                </c:pt>
                <c:pt idx="1611">
                  <c:v>1.17605</c:v>
                </c:pt>
                <c:pt idx="1612">
                  <c:v>1.1751499999999999</c:v>
                </c:pt>
                <c:pt idx="1613">
                  <c:v>1.1669499999999999</c:v>
                </c:pt>
                <c:pt idx="1614">
                  <c:v>1.16995</c:v>
                </c:pt>
                <c:pt idx="1615">
                  <c:v>1.1689499999999999</c:v>
                </c:pt>
                <c:pt idx="1616">
                  <c:v>1.16665</c:v>
                </c:pt>
                <c:pt idx="1617">
                  <c:v>1.1674500000000001</c:v>
                </c:pt>
                <c:pt idx="1618">
                  <c:v>1.1625000000000001</c:v>
                </c:pt>
                <c:pt idx="1619">
                  <c:v>1.15855</c:v>
                </c:pt>
                <c:pt idx="1620">
                  <c:v>1.1604000000000001</c:v>
                </c:pt>
                <c:pt idx="1621">
                  <c:v>1.15835</c:v>
                </c:pt>
                <c:pt idx="1622">
                  <c:v>1.1631499999999999</c:v>
                </c:pt>
                <c:pt idx="1623">
                  <c:v>1.16255</c:v>
                </c:pt>
                <c:pt idx="1624">
                  <c:v>1.1555500000000001</c:v>
                </c:pt>
                <c:pt idx="1625">
                  <c:v>1.16265</c:v>
                </c:pt>
                <c:pt idx="1626">
                  <c:v>1.1635</c:v>
                </c:pt>
                <c:pt idx="1627">
                  <c:v>1.1657500000000001</c:v>
                </c:pt>
                <c:pt idx="1628">
                  <c:v>1.1693</c:v>
                </c:pt>
                <c:pt idx="1629">
                  <c:v>1.1713499999999999</c:v>
                </c:pt>
                <c:pt idx="1630">
                  <c:v>1.1670499999999999</c:v>
                </c:pt>
                <c:pt idx="1631">
                  <c:v>1.16275</c:v>
                </c:pt>
                <c:pt idx="1632">
                  <c:v>1.1575</c:v>
                </c:pt>
                <c:pt idx="1633">
                  <c:v>1.15985</c:v>
                </c:pt>
                <c:pt idx="1634">
                  <c:v>1.1518999999999999</c:v>
                </c:pt>
                <c:pt idx="1635">
                  <c:v>1.1432500000000001</c:v>
                </c:pt>
                <c:pt idx="1636">
                  <c:v>1.1409</c:v>
                </c:pt>
                <c:pt idx="1637">
                  <c:v>1.1391500000000001</c:v>
                </c:pt>
                <c:pt idx="1638">
                  <c:v>1.1312500000000001</c:v>
                </c:pt>
                <c:pt idx="1639">
                  <c:v>1.1372500000000001</c:v>
                </c:pt>
                <c:pt idx="1640">
                  <c:v>1.1415999999999999</c:v>
                </c:pt>
                <c:pt idx="1641">
                  <c:v>1.1432500000000001</c:v>
                </c:pt>
                <c:pt idx="1642">
                  <c:v>1.1572499999999999</c:v>
                </c:pt>
                <c:pt idx="1643">
                  <c:v>1.16035</c:v>
                </c:pt>
                <c:pt idx="1644">
                  <c:v>1.1592</c:v>
                </c:pt>
                <c:pt idx="1645">
                  <c:v>1.1557999999999999</c:v>
                </c:pt>
                <c:pt idx="1646">
                  <c:v>1.159</c:v>
                </c:pt>
                <c:pt idx="1647">
                  <c:v>1.1612</c:v>
                </c:pt>
                <c:pt idx="1648">
                  <c:v>1.1672499999999999</c:v>
                </c:pt>
                <c:pt idx="1649">
                  <c:v>1.17005</c:v>
                </c:pt>
                <c:pt idx="1650">
                  <c:v>1.1711499999999999</c:v>
                </c:pt>
                <c:pt idx="1651">
                  <c:v>1.1652499999999999</c:v>
                </c:pt>
                <c:pt idx="1652">
                  <c:v>1.16595</c:v>
                </c:pt>
                <c:pt idx="1653">
                  <c:v>1.1673500000000001</c:v>
                </c:pt>
                <c:pt idx="1654">
                  <c:v>1.17055</c:v>
                </c:pt>
                <c:pt idx="1655">
                  <c:v>1.17045</c:v>
                </c:pt>
                <c:pt idx="1656">
                  <c:v>1.17075</c:v>
                </c:pt>
                <c:pt idx="1657">
                  <c:v>1.1612499999999999</c:v>
                </c:pt>
                <c:pt idx="1658">
                  <c:v>1.16425</c:v>
                </c:pt>
                <c:pt idx="1659">
                  <c:v>1.1682999999999999</c:v>
                </c:pt>
                <c:pt idx="1660">
                  <c:v>1.17075</c:v>
                </c:pt>
                <c:pt idx="1661">
                  <c:v>1.16675</c:v>
                </c:pt>
                <c:pt idx="1662">
                  <c:v>1.16845</c:v>
                </c:pt>
                <c:pt idx="1663">
                  <c:v>1.1720999999999999</c:v>
                </c:pt>
                <c:pt idx="1664">
                  <c:v>1.17205</c:v>
                </c:pt>
                <c:pt idx="1665">
                  <c:v>1.1759500000000001</c:v>
                </c:pt>
                <c:pt idx="1666">
                  <c:v>1.1757500000000001</c:v>
                </c:pt>
                <c:pt idx="1667">
                  <c:v>1.1702999999999999</c:v>
                </c:pt>
                <c:pt idx="1668">
                  <c:v>1.16445</c:v>
                </c:pt>
                <c:pt idx="1669">
                  <c:v>1.1649499999999999</c:v>
                </c:pt>
                <c:pt idx="1670">
                  <c:v>1.16065</c:v>
                </c:pt>
                <c:pt idx="1671">
                  <c:v>1.1675500000000001</c:v>
                </c:pt>
                <c:pt idx="1672">
                  <c:v>1.1577999999999999</c:v>
                </c:pt>
                <c:pt idx="1673">
                  <c:v>1.1595500000000001</c:v>
                </c:pt>
                <c:pt idx="1674">
                  <c:v>1.16655</c:v>
                </c:pt>
                <c:pt idx="1675">
                  <c:v>1.1686000000000001</c:v>
                </c:pt>
                <c:pt idx="1676">
                  <c:v>1.1637999999999999</c:v>
                </c:pt>
                <c:pt idx="1677">
                  <c:v>1.1607000000000001</c:v>
                </c:pt>
                <c:pt idx="1678">
                  <c:v>1.15785</c:v>
                </c:pt>
                <c:pt idx="1679">
                  <c:v>1.1564000000000001</c:v>
                </c:pt>
                <c:pt idx="1680">
                  <c:v>1.1613500000000001</c:v>
                </c:pt>
                <c:pt idx="1681">
                  <c:v>1.1617</c:v>
                </c:pt>
                <c:pt idx="1682">
                  <c:v>1.165</c:v>
                </c:pt>
                <c:pt idx="1683">
                  <c:v>1.1773</c:v>
                </c:pt>
                <c:pt idx="1684">
                  <c:v>1.1786000000000001</c:v>
                </c:pt>
                <c:pt idx="1685">
                  <c:v>1.18065</c:v>
                </c:pt>
                <c:pt idx="1686">
                  <c:v>1.1766000000000001</c:v>
                </c:pt>
                <c:pt idx="1687">
                  <c:v>1.1825000000000001</c:v>
                </c:pt>
                <c:pt idx="1688">
                  <c:v>1.1780999999999999</c:v>
                </c:pt>
                <c:pt idx="1689">
                  <c:v>1.1669</c:v>
                </c:pt>
                <c:pt idx="1690">
                  <c:v>1.1696500000000001</c:v>
                </c:pt>
                <c:pt idx="1691">
                  <c:v>1.1662999999999999</c:v>
                </c:pt>
                <c:pt idx="1692">
                  <c:v>1.1673</c:v>
                </c:pt>
                <c:pt idx="1693">
                  <c:v>1.1612499999999999</c:v>
                </c:pt>
                <c:pt idx="1694">
                  <c:v>1.1564000000000001</c:v>
                </c:pt>
                <c:pt idx="1695">
                  <c:v>1.1620999999999999</c:v>
                </c:pt>
                <c:pt idx="1696">
                  <c:v>1.1654500000000001</c:v>
                </c:pt>
                <c:pt idx="1697">
                  <c:v>1.1724000000000001</c:v>
                </c:pt>
                <c:pt idx="1698">
                  <c:v>1.1704000000000001</c:v>
                </c:pt>
                <c:pt idx="1699">
                  <c:v>1.1773499999999999</c:v>
                </c:pt>
                <c:pt idx="1700">
                  <c:v>1.1750499999999999</c:v>
                </c:pt>
                <c:pt idx="1701">
                  <c:v>1.177</c:v>
                </c:pt>
                <c:pt idx="1702">
                  <c:v>1.1792</c:v>
                </c:pt>
                <c:pt idx="1703">
                  <c:v>1.17865</c:v>
                </c:pt>
                <c:pt idx="1704">
                  <c:v>1.1861999999999999</c:v>
                </c:pt>
                <c:pt idx="1705">
                  <c:v>1.19685</c:v>
                </c:pt>
                <c:pt idx="1706">
                  <c:v>1.1943999999999999</c:v>
                </c:pt>
                <c:pt idx="1707">
                  <c:v>1.1879500000000001</c:v>
                </c:pt>
                <c:pt idx="1708">
                  <c:v>1.1855500000000001</c:v>
                </c:pt>
                <c:pt idx="1709">
                  <c:v>1.1855</c:v>
                </c:pt>
                <c:pt idx="1710">
                  <c:v>1.1914499999999999</c:v>
                </c:pt>
                <c:pt idx="1711">
                  <c:v>1.1930499999999999</c:v>
                </c:pt>
                <c:pt idx="1712">
                  <c:v>1.1952499999999999</c:v>
                </c:pt>
                <c:pt idx="1713">
                  <c:v>1.1956500000000001</c:v>
                </c:pt>
                <c:pt idx="1714">
                  <c:v>1.19895</c:v>
                </c:pt>
                <c:pt idx="1715">
                  <c:v>1.2081999999999999</c:v>
                </c:pt>
                <c:pt idx="1716">
                  <c:v>1.2101500000000001</c:v>
                </c:pt>
                <c:pt idx="1717">
                  <c:v>1.2113</c:v>
                </c:pt>
                <c:pt idx="1718">
                  <c:v>1.2172499999999999</c:v>
                </c:pt>
                <c:pt idx="1719">
                  <c:v>1.2214499999999999</c:v>
                </c:pt>
                <c:pt idx="1720">
                  <c:v>1.2220500000000001</c:v>
                </c:pt>
                <c:pt idx="1721">
                  <c:v>1.2278500000000001</c:v>
                </c:pt>
                <c:pt idx="1722">
                  <c:v>1.23645</c:v>
                </c:pt>
                <c:pt idx="1723">
                  <c:v>1.2377</c:v>
                </c:pt>
                <c:pt idx="1724">
                  <c:v>1.23445</c:v>
                </c:pt>
                <c:pt idx="1725">
                  <c:v>1.23665</c:v>
                </c:pt>
                <c:pt idx="1726">
                  <c:v>1.2326999999999999</c:v>
                </c:pt>
                <c:pt idx="1727">
                  <c:v>1.2317499999999999</c:v>
                </c:pt>
                <c:pt idx="1728">
                  <c:v>1.2384500000000001</c:v>
                </c:pt>
                <c:pt idx="1729">
                  <c:v>1.2350000000000001</c:v>
                </c:pt>
                <c:pt idx="1730">
                  <c:v>1.2311000000000001</c:v>
                </c:pt>
                <c:pt idx="1731">
                  <c:v>1.2261500000000001</c:v>
                </c:pt>
                <c:pt idx="1732">
                  <c:v>1.22285</c:v>
                </c:pt>
                <c:pt idx="1733">
                  <c:v>1.2299</c:v>
                </c:pt>
                <c:pt idx="1734">
                  <c:v>1.2274</c:v>
                </c:pt>
                <c:pt idx="1735">
                  <c:v>1.23095</c:v>
                </c:pt>
                <c:pt idx="1736">
                  <c:v>1.2298500000000001</c:v>
                </c:pt>
                <c:pt idx="1737">
                  <c:v>1.2298500000000001</c:v>
                </c:pt>
                <c:pt idx="1738">
                  <c:v>1.2351000000000001</c:v>
                </c:pt>
                <c:pt idx="1739">
                  <c:v>1.2395</c:v>
                </c:pt>
                <c:pt idx="1740">
                  <c:v>1.2442</c:v>
                </c:pt>
                <c:pt idx="1741">
                  <c:v>1.236</c:v>
                </c:pt>
                <c:pt idx="1742">
                  <c:v>1.23085</c:v>
                </c:pt>
                <c:pt idx="1743">
                  <c:v>1.22675</c:v>
                </c:pt>
                <c:pt idx="1744">
                  <c:v>1.22715</c:v>
                </c:pt>
                <c:pt idx="1745">
                  <c:v>1.2330000000000001</c:v>
                </c:pt>
                <c:pt idx="1746">
                  <c:v>1.228</c:v>
                </c:pt>
                <c:pt idx="1747">
                  <c:v>1.2320500000000001</c:v>
                </c:pt>
                <c:pt idx="1748">
                  <c:v>1.2359500000000001</c:v>
                </c:pt>
                <c:pt idx="1749">
                  <c:v>1.2397</c:v>
                </c:pt>
                <c:pt idx="1750">
                  <c:v>1.2318499999999999</c:v>
                </c:pt>
                <c:pt idx="1751">
                  <c:v>1.2319500000000001</c:v>
                </c:pt>
                <c:pt idx="1752">
                  <c:v>1.23285</c:v>
                </c:pt>
                <c:pt idx="1753">
                  <c:v>1.2402500000000001</c:v>
                </c:pt>
                <c:pt idx="1754">
                  <c:v>1.24</c:v>
                </c:pt>
                <c:pt idx="1755">
                  <c:v>1.2326999999999999</c:v>
                </c:pt>
                <c:pt idx="1756">
                  <c:v>1.23105</c:v>
                </c:pt>
                <c:pt idx="1757">
                  <c:v>1.2178500000000001</c:v>
                </c:pt>
                <c:pt idx="1758">
                  <c:v>1.2196499999999999</c:v>
                </c:pt>
                <c:pt idx="1759">
                  <c:v>1.2239</c:v>
                </c:pt>
                <c:pt idx="1760">
                  <c:v>1.22875</c:v>
                </c:pt>
                <c:pt idx="1761">
                  <c:v>1.2297499999999999</c:v>
                </c:pt>
                <c:pt idx="1762">
                  <c:v>1.232</c:v>
                </c:pt>
                <c:pt idx="1763">
                  <c:v>1.2319500000000001</c:v>
                </c:pt>
                <c:pt idx="1764">
                  <c:v>1.2341</c:v>
                </c:pt>
                <c:pt idx="1765">
                  <c:v>1.2396499999999999</c:v>
                </c:pt>
                <c:pt idx="1766">
                  <c:v>1.24485</c:v>
                </c:pt>
                <c:pt idx="1767">
                  <c:v>1.2479499999999999</c:v>
                </c:pt>
                <c:pt idx="1768">
                  <c:v>1.24065</c:v>
                </c:pt>
                <c:pt idx="1769">
                  <c:v>1.2356</c:v>
                </c:pt>
                <c:pt idx="1770">
                  <c:v>1.2276</c:v>
                </c:pt>
                <c:pt idx="1771">
                  <c:v>1.22485</c:v>
                </c:pt>
                <c:pt idx="1772">
                  <c:v>1.2257499999999999</c:v>
                </c:pt>
                <c:pt idx="1773">
                  <c:v>1.2293499999999999</c:v>
                </c:pt>
                <c:pt idx="1774">
                  <c:v>1.23445</c:v>
                </c:pt>
                <c:pt idx="1775">
                  <c:v>1.242</c:v>
                </c:pt>
                <c:pt idx="1776">
                  <c:v>1.2437</c:v>
                </c:pt>
                <c:pt idx="1777">
                  <c:v>1.24705</c:v>
                </c:pt>
                <c:pt idx="1778">
                  <c:v>1.2457499999999999</c:v>
                </c:pt>
                <c:pt idx="1779">
                  <c:v>1.24115</c:v>
                </c:pt>
                <c:pt idx="1780">
                  <c:v>1.2356499999999999</c:v>
                </c:pt>
                <c:pt idx="1781">
                  <c:v>1.24335</c:v>
                </c:pt>
                <c:pt idx="1782">
                  <c:v>1.2503</c:v>
                </c:pt>
                <c:pt idx="1783">
                  <c:v>1.2382</c:v>
                </c:pt>
                <c:pt idx="1784">
                  <c:v>1.2293000000000001</c:v>
                </c:pt>
                <c:pt idx="1785">
                  <c:v>1.22515</c:v>
                </c:pt>
                <c:pt idx="1786">
                  <c:v>1.22245</c:v>
                </c:pt>
                <c:pt idx="1787">
                  <c:v>1.2239500000000001</c:v>
                </c:pt>
                <c:pt idx="1788">
                  <c:v>1.2242500000000001</c:v>
                </c:pt>
                <c:pt idx="1789">
                  <c:v>1.22305</c:v>
                </c:pt>
                <c:pt idx="1790">
                  <c:v>1.2273000000000001</c:v>
                </c:pt>
                <c:pt idx="1791">
                  <c:v>1.21465</c:v>
                </c:pt>
                <c:pt idx="1792">
                  <c:v>1.2045999999999999</c:v>
                </c:pt>
                <c:pt idx="1793">
                  <c:v>1.19815</c:v>
                </c:pt>
                <c:pt idx="1794">
                  <c:v>1.1930000000000001</c:v>
                </c:pt>
                <c:pt idx="1795">
                  <c:v>1.1976500000000001</c:v>
                </c:pt>
                <c:pt idx="1796">
                  <c:v>1.2036500000000001</c:v>
                </c:pt>
                <c:pt idx="1797">
                  <c:v>1.2075499999999999</c:v>
                </c:pt>
                <c:pt idx="1798">
                  <c:v>1.20235</c:v>
                </c:pt>
                <c:pt idx="1799">
                  <c:v>1.2044999999999999</c:v>
                </c:pt>
                <c:pt idx="1800">
                  <c:v>1.2008000000000001</c:v>
                </c:pt>
                <c:pt idx="1801">
                  <c:v>1.2008000000000001</c:v>
                </c:pt>
                <c:pt idx="1802">
                  <c:v>1.1938</c:v>
                </c:pt>
                <c:pt idx="1803">
                  <c:v>1.1893499999999999</c:v>
                </c:pt>
                <c:pt idx="1804">
                  <c:v>1.1865000000000001</c:v>
                </c:pt>
                <c:pt idx="1805">
                  <c:v>1.1834</c:v>
                </c:pt>
                <c:pt idx="1806">
                  <c:v>1.1834</c:v>
                </c:pt>
                <c:pt idx="1807">
                  <c:v>1.1859999999999999</c:v>
                </c:pt>
                <c:pt idx="1808">
                  <c:v>1.18825</c:v>
                </c:pt>
                <c:pt idx="1809">
                  <c:v>1.1810499999999999</c:v>
                </c:pt>
                <c:pt idx="1810">
                  <c:v>1.1812499999999999</c:v>
                </c:pt>
                <c:pt idx="1811">
                  <c:v>1.17655</c:v>
                </c:pt>
                <c:pt idx="1812">
                  <c:v>1.1775500000000001</c:v>
                </c:pt>
                <c:pt idx="1813">
                  <c:v>1.1757500000000001</c:v>
                </c:pt>
                <c:pt idx="1814">
                  <c:v>1.1729499999999999</c:v>
                </c:pt>
                <c:pt idx="1815">
                  <c:v>1.1795500000000001</c:v>
                </c:pt>
                <c:pt idx="1816">
                  <c:v>1.1751499999999999</c:v>
                </c:pt>
                <c:pt idx="1817">
                  <c:v>1.179</c:v>
                </c:pt>
                <c:pt idx="1818">
                  <c:v>1.1789000000000001</c:v>
                </c:pt>
                <c:pt idx="1819">
                  <c:v>1.1831499999999999</c:v>
                </c:pt>
                <c:pt idx="1820">
                  <c:v>1.1850000000000001</c:v>
                </c:pt>
                <c:pt idx="1821">
                  <c:v>1.18665</c:v>
                </c:pt>
                <c:pt idx="1822">
                  <c:v>1.19235</c:v>
                </c:pt>
                <c:pt idx="1823">
                  <c:v>1.1850499999999999</c:v>
                </c:pt>
                <c:pt idx="1824">
                  <c:v>1.18675</c:v>
                </c:pt>
                <c:pt idx="1825">
                  <c:v>1.1918500000000001</c:v>
                </c:pt>
                <c:pt idx="1826">
                  <c:v>1.1937</c:v>
                </c:pt>
                <c:pt idx="1827">
                  <c:v>1.18425</c:v>
                </c:pt>
                <c:pt idx="1828">
                  <c:v>1.17865</c:v>
                </c:pt>
                <c:pt idx="1829">
                  <c:v>1.17255</c:v>
                </c:pt>
                <c:pt idx="1830">
                  <c:v>1.1748499999999999</c:v>
                </c:pt>
                <c:pt idx="1831">
                  <c:v>1.1781999999999999</c:v>
                </c:pt>
                <c:pt idx="1832">
                  <c:v>1.1772499999999999</c:v>
                </c:pt>
                <c:pt idx="1833">
                  <c:v>1.1800999999999999</c:v>
                </c:pt>
                <c:pt idx="1834">
                  <c:v>1.1754500000000001</c:v>
                </c:pt>
                <c:pt idx="1835">
                  <c:v>1.16645</c:v>
                </c:pt>
                <c:pt idx="1836">
                  <c:v>1.16625</c:v>
                </c:pt>
                <c:pt idx="1837">
                  <c:v>1.1625000000000001</c:v>
                </c:pt>
                <c:pt idx="1838">
                  <c:v>1.15855</c:v>
                </c:pt>
                <c:pt idx="1839">
                  <c:v>1.1576500000000001</c:v>
                </c:pt>
                <c:pt idx="1840">
                  <c:v>1.1586000000000001</c:v>
                </c:pt>
                <c:pt idx="1841">
                  <c:v>1.1617500000000001</c:v>
                </c:pt>
                <c:pt idx="1842">
                  <c:v>1.1673500000000001</c:v>
                </c:pt>
                <c:pt idx="1843">
                  <c:v>1.1616500000000001</c:v>
                </c:pt>
                <c:pt idx="1844">
                  <c:v>1.1649499999999999</c:v>
                </c:pt>
                <c:pt idx="1845">
                  <c:v>1.16275</c:v>
                </c:pt>
                <c:pt idx="1846">
                  <c:v>1.15825</c:v>
                </c:pt>
                <c:pt idx="1847">
                  <c:v>1.17035</c:v>
                </c:pt>
                <c:pt idx="1848">
                  <c:v>1.1810499999999999</c:v>
                </c:pt>
                <c:pt idx="1849">
                  <c:v>1.1760999999999999</c:v>
                </c:pt>
                <c:pt idx="1850">
                  <c:v>1.17445</c:v>
                </c:pt>
                <c:pt idx="1851">
                  <c:v>1.1787000000000001</c:v>
                </c:pt>
                <c:pt idx="1852">
                  <c:v>1.1853499999999999</c:v>
                </c:pt>
                <c:pt idx="1853">
                  <c:v>1.1776500000000001</c:v>
                </c:pt>
                <c:pt idx="1854">
                  <c:v>1.1752</c:v>
                </c:pt>
                <c:pt idx="1855">
                  <c:v>1.1797500000000001</c:v>
                </c:pt>
                <c:pt idx="1856">
                  <c:v>1.1835500000000001</c:v>
                </c:pt>
                <c:pt idx="1857">
                  <c:v>1.1846000000000001</c:v>
                </c:pt>
                <c:pt idx="1858">
                  <c:v>1.18435</c:v>
                </c:pt>
                <c:pt idx="1859">
                  <c:v>1.1816500000000001</c:v>
                </c:pt>
                <c:pt idx="1860">
                  <c:v>1.1737500000000001</c:v>
                </c:pt>
                <c:pt idx="1861">
                  <c:v>1.1732499999999999</c:v>
                </c:pt>
                <c:pt idx="1862">
                  <c:v>1.1714500000000001</c:v>
                </c:pt>
                <c:pt idx="1863">
                  <c:v>1.17615</c:v>
                </c:pt>
                <c:pt idx="1864">
                  <c:v>1.1754500000000001</c:v>
                </c:pt>
                <c:pt idx="1865">
                  <c:v>1.1736</c:v>
                </c:pt>
                <c:pt idx="1866">
                  <c:v>1.1821999999999999</c:v>
                </c:pt>
                <c:pt idx="1867">
                  <c:v>1.17855</c:v>
                </c:pt>
                <c:pt idx="1868">
                  <c:v>1.1731499999999999</c:v>
                </c:pt>
                <c:pt idx="1869">
                  <c:v>1.17665</c:v>
                </c:pt>
                <c:pt idx="1870">
                  <c:v>1.18685</c:v>
                </c:pt>
                <c:pt idx="1871">
                  <c:v>1.1969000000000001</c:v>
                </c:pt>
                <c:pt idx="1872">
                  <c:v>1.19225</c:v>
                </c:pt>
                <c:pt idx="1873">
                  <c:v>1.1996</c:v>
                </c:pt>
                <c:pt idx="1874">
                  <c:v>1.1979</c:v>
                </c:pt>
                <c:pt idx="1875">
                  <c:v>1.1954499999999999</c:v>
                </c:pt>
                <c:pt idx="1876">
                  <c:v>1.19635</c:v>
                </c:pt>
                <c:pt idx="1877">
                  <c:v>1.1872499999999999</c:v>
                </c:pt>
                <c:pt idx="1878">
                  <c:v>1.1916500000000001</c:v>
                </c:pt>
                <c:pt idx="1879">
                  <c:v>1.1953499999999999</c:v>
                </c:pt>
                <c:pt idx="1880">
                  <c:v>1.19835</c:v>
                </c:pt>
                <c:pt idx="1881">
                  <c:v>1.2020500000000001</c:v>
                </c:pt>
                <c:pt idx="1882">
                  <c:v>1.20075</c:v>
                </c:pt>
                <c:pt idx="1883">
                  <c:v>1.1938</c:v>
                </c:pt>
                <c:pt idx="1884">
                  <c:v>1.19225</c:v>
                </c:pt>
                <c:pt idx="1885">
                  <c:v>1.1912</c:v>
                </c:pt>
                <c:pt idx="1886">
                  <c:v>1.1879</c:v>
                </c:pt>
                <c:pt idx="1887">
                  <c:v>1.1889000000000001</c:v>
                </c:pt>
                <c:pt idx="1888">
                  <c:v>1.1915500000000001</c:v>
                </c:pt>
                <c:pt idx="1889">
                  <c:v>1.2025999999999999</c:v>
                </c:pt>
                <c:pt idx="1890">
                  <c:v>1.1955499999999999</c:v>
                </c:pt>
                <c:pt idx="1891">
                  <c:v>1.1872</c:v>
                </c:pt>
                <c:pt idx="1892">
                  <c:v>1.1805000000000001</c:v>
                </c:pt>
                <c:pt idx="1893">
                  <c:v>1.1815</c:v>
                </c:pt>
                <c:pt idx="1894">
                  <c:v>1.17645</c:v>
                </c:pt>
                <c:pt idx="1895">
                  <c:v>1.1817500000000001</c:v>
                </c:pt>
                <c:pt idx="1896">
                  <c:v>1.1750499999999999</c:v>
                </c:pt>
                <c:pt idx="1897">
                  <c:v>1.17425</c:v>
                </c:pt>
                <c:pt idx="1898">
                  <c:v>1.1704000000000001</c:v>
                </c:pt>
                <c:pt idx="1899">
                  <c:v>1.1718500000000001</c:v>
                </c:pt>
                <c:pt idx="1900">
                  <c:v>1.17835</c:v>
                </c:pt>
                <c:pt idx="1901">
                  <c:v>1.1791499999999999</c:v>
                </c:pt>
                <c:pt idx="1902">
                  <c:v>1.1749499999999999</c:v>
                </c:pt>
                <c:pt idx="1903">
                  <c:v>1.1741999999999999</c:v>
                </c:pt>
                <c:pt idx="1904">
                  <c:v>1.1737</c:v>
                </c:pt>
                <c:pt idx="1905">
                  <c:v>1.1795500000000001</c:v>
                </c:pt>
                <c:pt idx="1906">
                  <c:v>1.1751499999999999</c:v>
                </c:pt>
                <c:pt idx="1907">
                  <c:v>1.1879</c:v>
                </c:pt>
                <c:pt idx="1908">
                  <c:v>1.1857</c:v>
                </c:pt>
                <c:pt idx="1909">
                  <c:v>1.181</c:v>
                </c:pt>
                <c:pt idx="1910">
                  <c:v>1.179</c:v>
                </c:pt>
                <c:pt idx="1911">
                  <c:v>1.1747000000000001</c:v>
                </c:pt>
                <c:pt idx="1912">
                  <c:v>1.1666000000000001</c:v>
                </c:pt>
                <c:pt idx="1913">
                  <c:v>1.1630499999999999</c:v>
                </c:pt>
                <c:pt idx="1914">
                  <c:v>1.1661999999999999</c:v>
                </c:pt>
                <c:pt idx="1915">
                  <c:v>1.16435</c:v>
                </c:pt>
                <c:pt idx="1916">
                  <c:v>1.1657</c:v>
                </c:pt>
                <c:pt idx="1917">
                  <c:v>1.1634</c:v>
                </c:pt>
                <c:pt idx="1918">
                  <c:v>1.15185</c:v>
                </c:pt>
                <c:pt idx="1919">
                  <c:v>1.15815</c:v>
                </c:pt>
                <c:pt idx="1920">
                  <c:v>1.1471</c:v>
                </c:pt>
                <c:pt idx="1921">
                  <c:v>1.1447499999999999</c:v>
                </c:pt>
                <c:pt idx="1922">
                  <c:v>1.1404000000000001</c:v>
                </c:pt>
                <c:pt idx="1923">
                  <c:v>1.14195</c:v>
                </c:pt>
                <c:pt idx="1924">
                  <c:v>1.1418999999999999</c:v>
                </c:pt>
                <c:pt idx="1925">
                  <c:v>1.1388499999999999</c:v>
                </c:pt>
                <c:pt idx="1926">
                  <c:v>1.1391</c:v>
                </c:pt>
                <c:pt idx="1927">
                  <c:v>1.14055</c:v>
                </c:pt>
                <c:pt idx="1928">
                  <c:v>1.1329</c:v>
                </c:pt>
                <c:pt idx="1929">
                  <c:v>1.1351500000000001</c:v>
                </c:pt>
                <c:pt idx="1930">
                  <c:v>1.1368</c:v>
                </c:pt>
                <c:pt idx="1931">
                  <c:v>1.14055</c:v>
                </c:pt>
                <c:pt idx="1932">
                  <c:v>1.1426499999999999</c:v>
                </c:pt>
                <c:pt idx="1933">
                  <c:v>1.1363000000000001</c:v>
                </c:pt>
                <c:pt idx="1934">
                  <c:v>1.1286499999999999</c:v>
                </c:pt>
                <c:pt idx="1935">
                  <c:v>1.1202000000000001</c:v>
                </c:pt>
                <c:pt idx="1936">
                  <c:v>1.1200000000000001</c:v>
                </c:pt>
                <c:pt idx="1937">
                  <c:v>1.11575</c:v>
                </c:pt>
                <c:pt idx="1938">
                  <c:v>1.1143000000000001</c:v>
                </c:pt>
                <c:pt idx="1939">
                  <c:v>1.1126499999999999</c:v>
                </c:pt>
                <c:pt idx="1940">
                  <c:v>1.1168</c:v>
                </c:pt>
                <c:pt idx="1941">
                  <c:v>1.11985</c:v>
                </c:pt>
                <c:pt idx="1942">
                  <c:v>1.115</c:v>
                </c:pt>
                <c:pt idx="1943">
                  <c:v>1.12785</c:v>
                </c:pt>
                <c:pt idx="1944">
                  <c:v>1.1206499999999999</c:v>
                </c:pt>
                <c:pt idx="1945">
                  <c:v>1.1202000000000001</c:v>
                </c:pt>
                <c:pt idx="1946">
                  <c:v>1.1184000000000001</c:v>
                </c:pt>
                <c:pt idx="1947">
                  <c:v>1.1222000000000001</c:v>
                </c:pt>
                <c:pt idx="1948">
                  <c:v>1.12625</c:v>
                </c:pt>
                <c:pt idx="1949">
                  <c:v>1.1265499999999999</c:v>
                </c:pt>
                <c:pt idx="1950">
                  <c:v>1.1252500000000001</c:v>
                </c:pt>
                <c:pt idx="1951">
                  <c:v>1.1274999999999999</c:v>
                </c:pt>
                <c:pt idx="1952">
                  <c:v>1.1225499999999999</c:v>
                </c:pt>
                <c:pt idx="1953">
                  <c:v>1.1245000000000001</c:v>
                </c:pt>
                <c:pt idx="1954">
                  <c:v>1.11775</c:v>
                </c:pt>
                <c:pt idx="1955">
                  <c:v>1.1176999999999999</c:v>
                </c:pt>
                <c:pt idx="1956">
                  <c:v>1.1184000000000001</c:v>
                </c:pt>
                <c:pt idx="1957">
                  <c:v>1.1213</c:v>
                </c:pt>
                <c:pt idx="1958">
                  <c:v>1.1184000000000001</c:v>
                </c:pt>
                <c:pt idx="1959">
                  <c:v>1.1229499999999999</c:v>
                </c:pt>
                <c:pt idx="1960">
                  <c:v>1.1248499999999999</c:v>
                </c:pt>
                <c:pt idx="1961">
                  <c:v>1.1194999999999999</c:v>
                </c:pt>
                <c:pt idx="1962">
                  <c:v>1.1126499999999999</c:v>
                </c:pt>
                <c:pt idx="1963">
                  <c:v>1.1146499999999999</c:v>
                </c:pt>
                <c:pt idx="1964">
                  <c:v>1.1083499999999999</c:v>
                </c:pt>
                <c:pt idx="1965">
                  <c:v>1.09785</c:v>
                </c:pt>
                <c:pt idx="1966">
                  <c:v>1.0923</c:v>
                </c:pt>
                <c:pt idx="1967">
                  <c:v>1.0868</c:v>
                </c:pt>
                <c:pt idx="1968">
                  <c:v>1.0869</c:v>
                </c:pt>
                <c:pt idx="1969">
                  <c:v>1.0891</c:v>
                </c:pt>
                <c:pt idx="1970">
                  <c:v>1.0931999999999999</c:v>
                </c:pt>
                <c:pt idx="1971">
                  <c:v>1.0987499999999999</c:v>
                </c:pt>
                <c:pt idx="1972">
                  <c:v>1.0946</c:v>
                </c:pt>
                <c:pt idx="1973">
                  <c:v>1.0908</c:v>
                </c:pt>
                <c:pt idx="1974">
                  <c:v>1.09015</c:v>
                </c:pt>
                <c:pt idx="1975">
                  <c:v>1.09175</c:v>
                </c:pt>
                <c:pt idx="1976">
                  <c:v>1.0889500000000001</c:v>
                </c:pt>
                <c:pt idx="1977">
                  <c:v>1.0866499999999999</c:v>
                </c:pt>
                <c:pt idx="1978">
                  <c:v>1.08765</c:v>
                </c:pt>
                <c:pt idx="1979">
                  <c:v>1.0926</c:v>
                </c:pt>
                <c:pt idx="1980">
                  <c:v>1.0862000000000001</c:v>
                </c:pt>
                <c:pt idx="1981">
                  <c:v>1.0688</c:v>
                </c:pt>
                <c:pt idx="1982">
                  <c:v>1.0766500000000001</c:v>
                </c:pt>
                <c:pt idx="1983">
                  <c:v>1.07145</c:v>
                </c:pt>
                <c:pt idx="1984">
                  <c:v>1.06985</c:v>
                </c:pt>
                <c:pt idx="1985">
                  <c:v>1.0664</c:v>
                </c:pt>
                <c:pt idx="1986">
                  <c:v>1.0625500000000001</c:v>
                </c:pt>
                <c:pt idx="1987">
                  <c:v>1.0625500000000001</c:v>
                </c:pt>
                <c:pt idx="1988">
                  <c:v>1.0620000000000001</c:v>
                </c:pt>
                <c:pt idx="1989">
                  <c:v>1.0628500000000001</c:v>
                </c:pt>
                <c:pt idx="1990">
                  <c:v>1.0599000000000001</c:v>
                </c:pt>
                <c:pt idx="1991">
                  <c:v>1.0617000000000001</c:v>
                </c:pt>
                <c:pt idx="1992">
                  <c:v>1.06575</c:v>
                </c:pt>
                <c:pt idx="1993">
                  <c:v>1.0663</c:v>
                </c:pt>
                <c:pt idx="1994">
                  <c:v>1.0663</c:v>
                </c:pt>
                <c:pt idx="1995">
                  <c:v>1.06525</c:v>
                </c:pt>
                <c:pt idx="1996">
                  <c:v>1.06955</c:v>
                </c:pt>
                <c:pt idx="1997">
                  <c:v>1.0734999999999999</c:v>
                </c:pt>
                <c:pt idx="1998">
                  <c:v>1.075</c:v>
                </c:pt>
                <c:pt idx="1999">
                  <c:v>1.0867500000000001</c:v>
                </c:pt>
                <c:pt idx="2000">
                  <c:v>1.0884499999999999</c:v>
                </c:pt>
                <c:pt idx="2001">
                  <c:v>1.0805499999999999</c:v>
                </c:pt>
                <c:pt idx="2002">
                  <c:v>1.0787</c:v>
                </c:pt>
                <c:pt idx="2003">
                  <c:v>1.0801499999999999</c:v>
                </c:pt>
                <c:pt idx="2004">
                  <c:v>1.081</c:v>
                </c:pt>
                <c:pt idx="2005">
                  <c:v>1.07535</c:v>
                </c:pt>
                <c:pt idx="2006">
                  <c:v>1.0741499999999999</c:v>
                </c:pt>
                <c:pt idx="2007">
                  <c:v>1.07365</c:v>
                </c:pt>
                <c:pt idx="2008">
                  <c:v>1.0630500000000001</c:v>
                </c:pt>
                <c:pt idx="2009">
                  <c:v>1.0645</c:v>
                </c:pt>
                <c:pt idx="2010">
                  <c:v>1.0669</c:v>
                </c:pt>
                <c:pt idx="2011">
                  <c:v>1.06565</c:v>
                </c:pt>
                <c:pt idx="2012">
                  <c:v>1.0581</c:v>
                </c:pt>
                <c:pt idx="2013">
                  <c:v>1.0556000000000001</c:v>
                </c:pt>
                <c:pt idx="2014">
                  <c:v>1.0580499999999999</c:v>
                </c:pt>
                <c:pt idx="2015">
                  <c:v>1.0598000000000001</c:v>
                </c:pt>
                <c:pt idx="2016">
                  <c:v>1.0562499999999999</c:v>
                </c:pt>
                <c:pt idx="2017">
                  <c:v>1.0526500000000001</c:v>
                </c:pt>
                <c:pt idx="2018">
                  <c:v>1.0556000000000001</c:v>
                </c:pt>
                <c:pt idx="2019">
                  <c:v>1.0626</c:v>
                </c:pt>
                <c:pt idx="2020">
                  <c:v>1.06125</c:v>
                </c:pt>
                <c:pt idx="2021">
                  <c:v>1.0569</c:v>
                </c:pt>
                <c:pt idx="2022">
                  <c:v>1.05925</c:v>
                </c:pt>
                <c:pt idx="2023">
                  <c:v>1.0543499999999999</c:v>
                </c:pt>
                <c:pt idx="2024">
                  <c:v>1.05365</c:v>
                </c:pt>
                <c:pt idx="2025">
                  <c:v>1.0621</c:v>
                </c:pt>
                <c:pt idx="2026">
                  <c:v>1.0629500000000001</c:v>
                </c:pt>
                <c:pt idx="2027">
                  <c:v>1.0670999999999999</c:v>
                </c:pt>
                <c:pt idx="2028">
                  <c:v>1.05735</c:v>
                </c:pt>
                <c:pt idx="2029">
                  <c:v>1.0564</c:v>
                </c:pt>
                <c:pt idx="2030">
                  <c:v>1.0605500000000001</c:v>
                </c:pt>
                <c:pt idx="2031">
                  <c:v>1.0623499999999999</c:v>
                </c:pt>
                <c:pt idx="2032">
                  <c:v>1.0664499999999999</c:v>
                </c:pt>
                <c:pt idx="2033">
                  <c:v>1.0707</c:v>
                </c:pt>
                <c:pt idx="2034">
                  <c:v>1.0687500000000001</c:v>
                </c:pt>
                <c:pt idx="2035">
                  <c:v>1.0740000000000001</c:v>
                </c:pt>
                <c:pt idx="2036">
                  <c:v>1.0789</c:v>
                </c:pt>
                <c:pt idx="2037">
                  <c:v>1.0806500000000001</c:v>
                </c:pt>
                <c:pt idx="2038">
                  <c:v>1.0759000000000001</c:v>
                </c:pt>
                <c:pt idx="2039">
                  <c:v>1.0807</c:v>
                </c:pt>
                <c:pt idx="2040">
                  <c:v>1.0690999999999999</c:v>
                </c:pt>
                <c:pt idx="2041">
                  <c:v>1.0705499999999999</c:v>
                </c:pt>
                <c:pt idx="2042">
                  <c:v>1.0668500000000001</c:v>
                </c:pt>
                <c:pt idx="2043">
                  <c:v>1.0742</c:v>
                </c:pt>
                <c:pt idx="2044">
                  <c:v>1.0754999999999999</c:v>
                </c:pt>
                <c:pt idx="2045">
                  <c:v>1.0746500000000001</c:v>
                </c:pt>
                <c:pt idx="2046">
                  <c:v>1.06785</c:v>
                </c:pt>
                <c:pt idx="2047">
                  <c:v>1.06115</c:v>
                </c:pt>
                <c:pt idx="2048">
                  <c:v>1.06935</c:v>
                </c:pt>
                <c:pt idx="2049">
                  <c:v>1.06935</c:v>
                </c:pt>
                <c:pt idx="2050">
                  <c:v>1.0605</c:v>
                </c:pt>
                <c:pt idx="2051">
                  <c:v>1.0625</c:v>
                </c:pt>
                <c:pt idx="2052">
                  <c:v>1.06535</c:v>
                </c:pt>
                <c:pt idx="2053">
                  <c:v>1.0468500000000001</c:v>
                </c:pt>
                <c:pt idx="2054">
                  <c:v>1.0591999999999999</c:v>
                </c:pt>
                <c:pt idx="2055">
                  <c:v>1.05555</c:v>
                </c:pt>
                <c:pt idx="2056">
                  <c:v>1.05775</c:v>
                </c:pt>
                <c:pt idx="2057">
                  <c:v>1.0600499999999999</c:v>
                </c:pt>
                <c:pt idx="2058">
                  <c:v>1.04755</c:v>
                </c:pt>
                <c:pt idx="2059">
                  <c:v>1.0384</c:v>
                </c:pt>
                <c:pt idx="2060">
                  <c:v>1.0547500000000001</c:v>
                </c:pt>
                <c:pt idx="2061">
                  <c:v>1.0547500000000001</c:v>
                </c:pt>
                <c:pt idx="2062">
                  <c:v>1.04895</c:v>
                </c:pt>
                <c:pt idx="2063">
                  <c:v>1.0394000000000001</c:v>
                </c:pt>
                <c:pt idx="2064">
                  <c:v>1.0458000000000001</c:v>
                </c:pt>
                <c:pt idx="2065">
                  <c:v>1.0461499999999999</c:v>
                </c:pt>
                <c:pt idx="2066">
                  <c:v>1.0461499999999999</c:v>
                </c:pt>
                <c:pt idx="2067">
                  <c:v>1.04565</c:v>
                </c:pt>
                <c:pt idx="2068">
                  <c:v>1.0432999999999999</c:v>
                </c:pt>
                <c:pt idx="2069">
                  <c:v>1.0378000000000001</c:v>
                </c:pt>
                <c:pt idx="2070">
                  <c:v>1.0437000000000001</c:v>
                </c:pt>
                <c:pt idx="2071">
                  <c:v>1.04095</c:v>
                </c:pt>
                <c:pt idx="2072">
                  <c:v>1.0415000000000001</c:v>
                </c:pt>
                <c:pt idx="2073">
                  <c:v>1.0652999999999999</c:v>
                </c:pt>
                <c:pt idx="2074">
                  <c:v>1.0641</c:v>
                </c:pt>
                <c:pt idx="2075">
                  <c:v>1.0608500000000001</c:v>
                </c:pt>
                <c:pt idx="2076">
                  <c:v>1.0537000000000001</c:v>
                </c:pt>
                <c:pt idx="2077">
                  <c:v>1.06115</c:v>
                </c:pt>
                <c:pt idx="2078">
                  <c:v>1.0765499999999999</c:v>
                </c:pt>
                <c:pt idx="2079">
                  <c:v>1.07335</c:v>
                </c:pt>
                <c:pt idx="2080">
                  <c:v>1.0725</c:v>
                </c:pt>
                <c:pt idx="2081">
                  <c:v>1.0660499999999999</c:v>
                </c:pt>
                <c:pt idx="2082">
                  <c:v>1.06115</c:v>
                </c:pt>
                <c:pt idx="2083">
                  <c:v>1.0608</c:v>
                </c:pt>
                <c:pt idx="2084">
                  <c:v>1.0619499999999999</c:v>
                </c:pt>
                <c:pt idx="2085">
                  <c:v>1.0584499999999999</c:v>
                </c:pt>
                <c:pt idx="2086">
                  <c:v>1.0604499999999999</c:v>
                </c:pt>
                <c:pt idx="2087">
                  <c:v>1.0563499999999999</c:v>
                </c:pt>
                <c:pt idx="2088">
                  <c:v>1.0531999999999999</c:v>
                </c:pt>
                <c:pt idx="2089">
                  <c:v>1.0589999999999999</c:v>
                </c:pt>
                <c:pt idx="2090">
                  <c:v>1.0622499999999999</c:v>
                </c:pt>
                <c:pt idx="2091">
                  <c:v>1.05745</c:v>
                </c:pt>
                <c:pt idx="2092">
                  <c:v>1.0673999999999999</c:v>
                </c:pt>
                <c:pt idx="2093">
                  <c:v>1.06745</c:v>
                </c:pt>
                <c:pt idx="2094">
                  <c:v>1.0728500000000001</c:v>
                </c:pt>
                <c:pt idx="2095">
                  <c:v>1.0723</c:v>
                </c:pt>
                <c:pt idx="2096">
                  <c:v>1.0854999999999999</c:v>
                </c:pt>
                <c:pt idx="2097">
                  <c:v>1.0879000000000001</c:v>
                </c:pt>
                <c:pt idx="2098">
                  <c:v>1.0947</c:v>
                </c:pt>
                <c:pt idx="2099">
                  <c:v>1.1046499999999999</c:v>
                </c:pt>
                <c:pt idx="2100">
                  <c:v>1.10345</c:v>
                </c:pt>
                <c:pt idx="2101">
                  <c:v>1.1123000000000001</c:v>
                </c:pt>
                <c:pt idx="2102">
                  <c:v>1.10945</c:v>
                </c:pt>
                <c:pt idx="2103">
                  <c:v>1.1117999999999999</c:v>
                </c:pt>
                <c:pt idx="2104">
                  <c:v>1.1043499999999999</c:v>
                </c:pt>
                <c:pt idx="2105">
                  <c:v>1.0962000000000001</c:v>
                </c:pt>
                <c:pt idx="2106">
                  <c:v>1.0929</c:v>
                </c:pt>
                <c:pt idx="2107">
                  <c:v>1.09185</c:v>
                </c:pt>
                <c:pt idx="2108">
                  <c:v>1.09175</c:v>
                </c:pt>
                <c:pt idx="2109">
                  <c:v>1.08595</c:v>
                </c:pt>
                <c:pt idx="2110">
                  <c:v>1.0884499999999999</c:v>
                </c:pt>
                <c:pt idx="2111">
                  <c:v>1.0871</c:v>
                </c:pt>
                <c:pt idx="2112">
                  <c:v>1.0926</c:v>
                </c:pt>
                <c:pt idx="2113">
                  <c:v>1.0967499999999999</c:v>
                </c:pt>
                <c:pt idx="2114">
                  <c:v>1.0973999999999999</c:v>
                </c:pt>
                <c:pt idx="2115">
                  <c:v>1.0992</c:v>
                </c:pt>
                <c:pt idx="2116">
                  <c:v>1.1003499999999999</c:v>
                </c:pt>
                <c:pt idx="2117">
                  <c:v>1.1030500000000001</c:v>
                </c:pt>
                <c:pt idx="2118">
                  <c:v>1.1012500000000001</c:v>
                </c:pt>
                <c:pt idx="2119">
                  <c:v>1.10585</c:v>
                </c:pt>
                <c:pt idx="2120">
                  <c:v>1.1156999999999999</c:v>
                </c:pt>
                <c:pt idx="2121">
                  <c:v>1.11765</c:v>
                </c:pt>
                <c:pt idx="2122">
                  <c:v>1.1168499999999999</c:v>
                </c:pt>
                <c:pt idx="2123">
                  <c:v>1.1200000000000001</c:v>
                </c:pt>
                <c:pt idx="2124">
                  <c:v>1.1157999999999999</c:v>
                </c:pt>
                <c:pt idx="2125">
                  <c:v>1.1217999999999999</c:v>
                </c:pt>
                <c:pt idx="2126">
                  <c:v>1.1237999999999999</c:v>
                </c:pt>
                <c:pt idx="2127">
                  <c:v>1.1229499999999999</c:v>
                </c:pt>
                <c:pt idx="2128">
                  <c:v>1.1191</c:v>
                </c:pt>
                <c:pt idx="2129">
                  <c:v>1.1196999999999999</c:v>
                </c:pt>
                <c:pt idx="2130">
                  <c:v>1.1267499999999999</c:v>
                </c:pt>
                <c:pt idx="2131">
                  <c:v>1.12195</c:v>
                </c:pt>
                <c:pt idx="2132">
                  <c:v>1.1241000000000001</c:v>
                </c:pt>
                <c:pt idx="2133">
                  <c:v>1.1140000000000001</c:v>
                </c:pt>
                <c:pt idx="2134">
                  <c:v>1.1170500000000001</c:v>
                </c:pt>
                <c:pt idx="2135">
                  <c:v>1.1183000000000001</c:v>
                </c:pt>
                <c:pt idx="2136">
                  <c:v>1.1163000000000001</c:v>
                </c:pt>
                <c:pt idx="2137">
                  <c:v>1.1244000000000001</c:v>
                </c:pt>
                <c:pt idx="2138">
                  <c:v>1.1248</c:v>
                </c:pt>
                <c:pt idx="2139">
                  <c:v>1.1242000000000001</c:v>
                </c:pt>
                <c:pt idx="2140">
                  <c:v>1.1220000000000001</c:v>
                </c:pt>
                <c:pt idx="2141">
                  <c:v>1.1211500000000001</c:v>
                </c:pt>
                <c:pt idx="2142">
                  <c:v>1.1274500000000001</c:v>
                </c:pt>
                <c:pt idx="2143">
                  <c:v>1.12425</c:v>
                </c:pt>
                <c:pt idx="2144">
                  <c:v>1.1238999999999999</c:v>
                </c:pt>
                <c:pt idx="2145">
                  <c:v>1.1145499999999999</c:v>
                </c:pt>
                <c:pt idx="2146">
                  <c:v>1.11625</c:v>
                </c:pt>
                <c:pt idx="2147">
                  <c:v>1.1193</c:v>
                </c:pt>
                <c:pt idx="2148">
                  <c:v>1.11375</c:v>
                </c:pt>
                <c:pt idx="2149">
                  <c:v>1.1151500000000001</c:v>
                </c:pt>
                <c:pt idx="2150">
                  <c:v>1.1167</c:v>
                </c:pt>
                <c:pt idx="2151">
                  <c:v>1.12805</c:v>
                </c:pt>
                <c:pt idx="2152">
                  <c:v>1.1282000000000001</c:v>
                </c:pt>
                <c:pt idx="2153">
                  <c:v>1.1249</c:v>
                </c:pt>
                <c:pt idx="2154">
                  <c:v>1.13215</c:v>
                </c:pt>
                <c:pt idx="2155">
                  <c:v>1.1329499999999999</c:v>
                </c:pt>
                <c:pt idx="2156">
                  <c:v>1.13245</c:v>
                </c:pt>
                <c:pt idx="2157">
                  <c:v>1.1328</c:v>
                </c:pt>
                <c:pt idx="2158">
                  <c:v>1.1275500000000001</c:v>
                </c:pt>
                <c:pt idx="2159">
                  <c:v>1.1259999999999999</c:v>
                </c:pt>
                <c:pt idx="2160">
                  <c:v>1.11975</c:v>
                </c:pt>
                <c:pt idx="2161">
                  <c:v>1.1178999999999999</c:v>
                </c:pt>
                <c:pt idx="2162">
                  <c:v>1.11785</c:v>
                </c:pt>
                <c:pt idx="2163">
                  <c:v>1.1163000000000001</c:v>
                </c:pt>
                <c:pt idx="2164">
                  <c:v>1.1112</c:v>
                </c:pt>
                <c:pt idx="2165">
                  <c:v>1.10745</c:v>
                </c:pt>
                <c:pt idx="2166">
                  <c:v>1.1070500000000001</c:v>
                </c:pt>
                <c:pt idx="2167">
                  <c:v>1.11385</c:v>
                </c:pt>
                <c:pt idx="2168">
                  <c:v>1.1173</c:v>
                </c:pt>
                <c:pt idx="2169">
                  <c:v>1.1224000000000001</c:v>
                </c:pt>
                <c:pt idx="2170">
                  <c:v>1.1171500000000001</c:v>
                </c:pt>
                <c:pt idx="2171">
                  <c:v>1.11825</c:v>
                </c:pt>
                <c:pt idx="2172">
                  <c:v>1.1083499999999999</c:v>
                </c:pt>
                <c:pt idx="2173">
                  <c:v>1.0989500000000001</c:v>
                </c:pt>
                <c:pt idx="2174">
                  <c:v>1.0984499999999999</c:v>
                </c:pt>
                <c:pt idx="2175">
                  <c:v>1.0973999999999999</c:v>
                </c:pt>
                <c:pt idx="2176">
                  <c:v>1.09775</c:v>
                </c:pt>
                <c:pt idx="2177">
                  <c:v>1.0998000000000001</c:v>
                </c:pt>
                <c:pt idx="2178">
                  <c:v>1.1009500000000001</c:v>
                </c:pt>
                <c:pt idx="2179">
                  <c:v>1.1011500000000001</c:v>
                </c:pt>
                <c:pt idx="2180">
                  <c:v>1.1065499999999999</c:v>
                </c:pt>
                <c:pt idx="2181">
                  <c:v>1.1070500000000001</c:v>
                </c:pt>
                <c:pt idx="2182">
                  <c:v>1.1104499999999999</c:v>
                </c:pt>
                <c:pt idx="2183">
                  <c:v>1.1103499999999999</c:v>
                </c:pt>
                <c:pt idx="2184">
                  <c:v>1.1069500000000001</c:v>
                </c:pt>
                <c:pt idx="2185">
                  <c:v>1.1046</c:v>
                </c:pt>
                <c:pt idx="2186">
                  <c:v>1.10345</c:v>
                </c:pt>
                <c:pt idx="2187">
                  <c:v>1.1072500000000001</c:v>
                </c:pt>
                <c:pt idx="2188">
                  <c:v>1.1071500000000001</c:v>
                </c:pt>
                <c:pt idx="2189">
                  <c:v>1.1109</c:v>
                </c:pt>
                <c:pt idx="2190">
                  <c:v>1.11375</c:v>
                </c:pt>
                <c:pt idx="2191">
                  <c:v>1.1132</c:v>
                </c:pt>
                <c:pt idx="2192">
                  <c:v>1.1109500000000001</c:v>
                </c:pt>
                <c:pt idx="2193">
                  <c:v>1.1103000000000001</c:v>
                </c:pt>
                <c:pt idx="2194">
                  <c:v>1.1050500000000001</c:v>
                </c:pt>
                <c:pt idx="2195">
                  <c:v>1.0975999999999999</c:v>
                </c:pt>
                <c:pt idx="2196">
                  <c:v>1.11155</c:v>
                </c:pt>
                <c:pt idx="2197">
                  <c:v>1.1350499999999999</c:v>
                </c:pt>
                <c:pt idx="2198">
                  <c:v>1.1282000000000001</c:v>
                </c:pt>
                <c:pt idx="2199">
                  <c:v>1.1271</c:v>
                </c:pt>
                <c:pt idx="2200">
                  <c:v>1.1336999999999999</c:v>
                </c:pt>
                <c:pt idx="2201">
                  <c:v>1.1248499999999999</c:v>
                </c:pt>
                <c:pt idx="2202">
                  <c:v>1.1146499999999999</c:v>
                </c:pt>
                <c:pt idx="2203">
                  <c:v>1.1234999999999999</c:v>
                </c:pt>
                <c:pt idx="2204">
                  <c:v>1.121</c:v>
                </c:pt>
                <c:pt idx="2205">
                  <c:v>1.13005</c:v>
                </c:pt>
                <c:pt idx="2206">
                  <c:v>1.12975</c:v>
                </c:pt>
                <c:pt idx="2207">
                  <c:v>1.1325499999999999</c:v>
                </c:pt>
                <c:pt idx="2208">
                  <c:v>1.1393500000000001</c:v>
                </c:pt>
                <c:pt idx="2209">
                  <c:v>1.1354500000000001</c:v>
                </c:pt>
                <c:pt idx="2210">
                  <c:v>1.1366499999999999</c:v>
                </c:pt>
                <c:pt idx="2211">
                  <c:v>1.1332500000000001</c:v>
                </c:pt>
                <c:pt idx="2212">
                  <c:v>1.1160000000000001</c:v>
                </c:pt>
                <c:pt idx="2213">
                  <c:v>1.1172500000000001</c:v>
                </c:pt>
                <c:pt idx="2214">
                  <c:v>1.1132500000000001</c:v>
                </c:pt>
                <c:pt idx="2215">
                  <c:v>1.1137999999999999</c:v>
                </c:pt>
                <c:pt idx="2216">
                  <c:v>1.1131500000000001</c:v>
                </c:pt>
                <c:pt idx="2217">
                  <c:v>1.1184499999999999</c:v>
                </c:pt>
                <c:pt idx="2218">
                  <c:v>1.1144499999999999</c:v>
                </c:pt>
                <c:pt idx="2219">
                  <c:v>1.11605</c:v>
                </c:pt>
                <c:pt idx="2220">
                  <c:v>1.11995</c:v>
                </c:pt>
                <c:pt idx="2221">
                  <c:v>1.1213</c:v>
                </c:pt>
                <c:pt idx="2222">
                  <c:v>1.1205000000000001</c:v>
                </c:pt>
                <c:pt idx="2223">
                  <c:v>1.12795</c:v>
                </c:pt>
                <c:pt idx="2224">
                  <c:v>1.1335999999999999</c:v>
                </c:pt>
                <c:pt idx="2225">
                  <c:v>1.1331</c:v>
                </c:pt>
                <c:pt idx="2226">
                  <c:v>1.12985</c:v>
                </c:pt>
                <c:pt idx="2227">
                  <c:v>1.1404000000000001</c:v>
                </c:pt>
                <c:pt idx="2228">
                  <c:v>1.1433</c:v>
                </c:pt>
                <c:pt idx="2229">
                  <c:v>1.1395500000000001</c:v>
                </c:pt>
                <c:pt idx="2230">
                  <c:v>1.1397999999999999</c:v>
                </c:pt>
                <c:pt idx="2231">
                  <c:v>1.1423000000000001</c:v>
                </c:pt>
                <c:pt idx="2232">
                  <c:v>1.13995</c:v>
                </c:pt>
                <c:pt idx="2233">
                  <c:v>1.1492500000000001</c:v>
                </c:pt>
                <c:pt idx="2234">
                  <c:v>1.1517500000000001</c:v>
                </c:pt>
                <c:pt idx="2235">
                  <c:v>1.1513500000000001</c:v>
                </c:pt>
                <c:pt idx="2236">
                  <c:v>1.1453500000000001</c:v>
                </c:pt>
                <c:pt idx="2237">
                  <c:v>1.1315</c:v>
                </c:pt>
                <c:pt idx="2238">
                  <c:v>1.131</c:v>
                </c:pt>
                <c:pt idx="2239">
                  <c:v>1.1307499999999999</c:v>
                </c:pt>
                <c:pt idx="2240">
                  <c:v>1.1268499999999999</c:v>
                </c:pt>
                <c:pt idx="2241">
                  <c:v>1.12405</c:v>
                </c:pt>
                <c:pt idx="2242">
                  <c:v>1.1289499999999999</c:v>
                </c:pt>
                <c:pt idx="2243">
                  <c:v>1.1333500000000001</c:v>
                </c:pt>
                <c:pt idx="2244">
                  <c:v>1.1375500000000001</c:v>
                </c:pt>
                <c:pt idx="2245">
                  <c:v>1.1328499999999999</c:v>
                </c:pt>
                <c:pt idx="2246">
                  <c:v>1.12975</c:v>
                </c:pt>
                <c:pt idx="2247">
                  <c:v>1.1263000000000001</c:v>
                </c:pt>
                <c:pt idx="2248">
                  <c:v>1.12835</c:v>
                </c:pt>
                <c:pt idx="2249">
                  <c:v>1.1375500000000001</c:v>
                </c:pt>
                <c:pt idx="2250">
                  <c:v>1.1443000000000001</c:v>
                </c:pt>
                <c:pt idx="2251">
                  <c:v>1.1407499999999999</c:v>
                </c:pt>
                <c:pt idx="2252">
                  <c:v>1.1382000000000001</c:v>
                </c:pt>
                <c:pt idx="2253">
                  <c:v>1.1374500000000001</c:v>
                </c:pt>
                <c:pt idx="2254">
                  <c:v>1.1375500000000001</c:v>
                </c:pt>
                <c:pt idx="2255">
                  <c:v>1.13815</c:v>
                </c:pt>
                <c:pt idx="2256">
                  <c:v>1.1345000000000001</c:v>
                </c:pt>
                <c:pt idx="2257">
                  <c:v>1.1395500000000001</c:v>
                </c:pt>
                <c:pt idx="2258">
                  <c:v>1.1355</c:v>
                </c:pt>
                <c:pt idx="2259">
                  <c:v>1.1185499999999999</c:v>
                </c:pt>
                <c:pt idx="2260">
                  <c:v>1.1214999999999999</c:v>
                </c:pt>
                <c:pt idx="2261">
                  <c:v>1.11635</c:v>
                </c:pt>
                <c:pt idx="2262">
                  <c:v>1.11635</c:v>
                </c:pt>
                <c:pt idx="2263">
                  <c:v>1.1174999999999999</c:v>
                </c:pt>
                <c:pt idx="2264">
                  <c:v>1.1226499999999999</c:v>
                </c:pt>
                <c:pt idx="2265">
                  <c:v>1.12595</c:v>
                </c:pt>
                <c:pt idx="2266">
                  <c:v>1.1291500000000001</c:v>
                </c:pt>
                <c:pt idx="2267">
                  <c:v>1.13165</c:v>
                </c:pt>
                <c:pt idx="2268">
                  <c:v>1.10745</c:v>
                </c:pt>
                <c:pt idx="2269">
                  <c:v>1.1112</c:v>
                </c:pt>
                <c:pt idx="2270">
                  <c:v>1.1107</c:v>
                </c:pt>
                <c:pt idx="2271">
                  <c:v>1.1158999999999999</c:v>
                </c:pt>
                <c:pt idx="2272">
                  <c:v>1.1146499999999999</c:v>
                </c:pt>
                <c:pt idx="2273">
                  <c:v>1.1010500000000001</c:v>
                </c:pt>
                <c:pt idx="2274">
                  <c:v>1.1053500000000001</c:v>
                </c:pt>
                <c:pt idx="2275">
                  <c:v>1.0983499999999999</c:v>
                </c:pt>
                <c:pt idx="2276">
                  <c:v>1.1007</c:v>
                </c:pt>
                <c:pt idx="2277">
                  <c:v>1.0931999999999999</c:v>
                </c:pt>
                <c:pt idx="2278">
                  <c:v>1.0828</c:v>
                </c:pt>
                <c:pt idx="2279">
                  <c:v>1.08595</c:v>
                </c:pt>
                <c:pt idx="2280">
                  <c:v>1.0865499999999999</c:v>
                </c:pt>
                <c:pt idx="2281">
                  <c:v>1.0926499999999999</c:v>
                </c:pt>
                <c:pt idx="2282">
                  <c:v>1.1032999999999999</c:v>
                </c:pt>
                <c:pt idx="2283">
                  <c:v>1.1022000000000001</c:v>
                </c:pt>
                <c:pt idx="2284">
                  <c:v>1.1024</c:v>
                </c:pt>
                <c:pt idx="2285">
                  <c:v>1.1027499999999999</c:v>
                </c:pt>
                <c:pt idx="2286">
                  <c:v>1.1106499999999999</c:v>
                </c:pt>
                <c:pt idx="2287">
                  <c:v>1.10995</c:v>
                </c:pt>
                <c:pt idx="2288">
                  <c:v>1.1133500000000001</c:v>
                </c:pt>
                <c:pt idx="2289">
                  <c:v>1.1144499999999999</c:v>
                </c:pt>
                <c:pt idx="2290">
                  <c:v>1.1144499999999999</c:v>
                </c:pt>
                <c:pt idx="2291">
                  <c:v>1.1244000000000001</c:v>
                </c:pt>
                <c:pt idx="2292">
                  <c:v>1.13435</c:v>
                </c:pt>
                <c:pt idx="2293">
                  <c:v>1.1194500000000001</c:v>
                </c:pt>
                <c:pt idx="2294">
                  <c:v>1.1309499999999999</c:v>
                </c:pt>
                <c:pt idx="2295">
                  <c:v>1.1147499999999999</c:v>
                </c:pt>
                <c:pt idx="2296">
                  <c:v>1.11435</c:v>
                </c:pt>
                <c:pt idx="2297">
                  <c:v>1.117</c:v>
                </c:pt>
                <c:pt idx="2298">
                  <c:v>1.1049500000000001</c:v>
                </c:pt>
                <c:pt idx="2299">
                  <c:v>1.09005</c:v>
                </c:pt>
                <c:pt idx="2300">
                  <c:v>1.08935</c:v>
                </c:pt>
                <c:pt idx="2301">
                  <c:v>1.08205</c:v>
                </c:pt>
                <c:pt idx="2302">
                  <c:v>1.09395</c:v>
                </c:pt>
                <c:pt idx="2303">
                  <c:v>1.0871</c:v>
                </c:pt>
                <c:pt idx="2304">
                  <c:v>1.0848500000000001</c:v>
                </c:pt>
                <c:pt idx="2305">
                  <c:v>1.08325</c:v>
                </c:pt>
                <c:pt idx="2306">
                  <c:v>1.0824499999999999</c:v>
                </c:pt>
                <c:pt idx="2307">
                  <c:v>1.0823499999999999</c:v>
                </c:pt>
                <c:pt idx="2308">
                  <c:v>1.0896999999999999</c:v>
                </c:pt>
                <c:pt idx="2309">
                  <c:v>1.08985</c:v>
                </c:pt>
                <c:pt idx="2310">
                  <c:v>1.08755</c:v>
                </c:pt>
                <c:pt idx="2311">
                  <c:v>1.0952</c:v>
                </c:pt>
                <c:pt idx="2312">
                  <c:v>1.08395</c:v>
                </c:pt>
                <c:pt idx="2313">
                  <c:v>1.0849500000000001</c:v>
                </c:pt>
                <c:pt idx="2314">
                  <c:v>1.0826</c:v>
                </c:pt>
                <c:pt idx="2315">
                  <c:v>1.0853999999999999</c:v>
                </c:pt>
                <c:pt idx="2316">
                  <c:v>1.0905499999999999</c:v>
                </c:pt>
                <c:pt idx="2317">
                  <c:v>1.0832999999999999</c:v>
                </c:pt>
                <c:pt idx="2318">
                  <c:v>1.075</c:v>
                </c:pt>
                <c:pt idx="2319">
                  <c:v>1.0721000000000001</c:v>
                </c:pt>
                <c:pt idx="2320">
                  <c:v>1.0804499999999999</c:v>
                </c:pt>
                <c:pt idx="2321">
                  <c:v>1.0863</c:v>
                </c:pt>
                <c:pt idx="2322">
                  <c:v>1.0863</c:v>
                </c:pt>
                <c:pt idx="2323">
                  <c:v>1.09135</c:v>
                </c:pt>
                <c:pt idx="2324">
                  <c:v>1.0906</c:v>
                </c:pt>
                <c:pt idx="2325">
                  <c:v>1.0971500000000001</c:v>
                </c:pt>
                <c:pt idx="2326">
                  <c:v>1.09585</c:v>
                </c:pt>
                <c:pt idx="2327">
                  <c:v>1.09585</c:v>
                </c:pt>
                <c:pt idx="2328">
                  <c:v>1.08795</c:v>
                </c:pt>
                <c:pt idx="2329">
                  <c:v>1.0966499999999999</c:v>
                </c:pt>
                <c:pt idx="2330">
                  <c:v>1.09175</c:v>
                </c:pt>
                <c:pt idx="2331">
                  <c:v>1.0844499999999999</c:v>
                </c:pt>
                <c:pt idx="2332">
                  <c:v>1.0833999999999999</c:v>
                </c:pt>
                <c:pt idx="2333">
                  <c:v>1.0943499999999999</c:v>
                </c:pt>
                <c:pt idx="2334">
                  <c:v>1.0921000000000001</c:v>
                </c:pt>
                <c:pt idx="2335">
                  <c:v>1.1027499999999999</c:v>
                </c:pt>
                <c:pt idx="2336">
                  <c:v>1.0996999999999999</c:v>
                </c:pt>
                <c:pt idx="2337">
                  <c:v>1.0936999999999999</c:v>
                </c:pt>
                <c:pt idx="2338">
                  <c:v>1.0962499999999999</c:v>
                </c:pt>
                <c:pt idx="2339">
                  <c:v>1.0871</c:v>
                </c:pt>
                <c:pt idx="2340">
                  <c:v>1.08525</c:v>
                </c:pt>
                <c:pt idx="2341">
                  <c:v>1.0888500000000001</c:v>
                </c:pt>
                <c:pt idx="2342">
                  <c:v>1.0851500000000001</c:v>
                </c:pt>
                <c:pt idx="2343">
                  <c:v>1.0572999999999999</c:v>
                </c:pt>
                <c:pt idx="2344">
                  <c:v>1.0607500000000001</c:v>
                </c:pt>
                <c:pt idx="2345">
                  <c:v>1.0561499999999999</c:v>
                </c:pt>
                <c:pt idx="2346">
                  <c:v>1.05945</c:v>
                </c:pt>
                <c:pt idx="2347">
                  <c:v>1.0619000000000001</c:v>
                </c:pt>
                <c:pt idx="2348">
                  <c:v>1.0602</c:v>
                </c:pt>
                <c:pt idx="2349">
                  <c:v>1.0640499999999999</c:v>
                </c:pt>
                <c:pt idx="2350">
                  <c:v>1.06185</c:v>
                </c:pt>
                <c:pt idx="2351">
                  <c:v>1.0669999999999999</c:v>
                </c:pt>
                <c:pt idx="2352">
                  <c:v>1.07365</c:v>
                </c:pt>
                <c:pt idx="2353">
                  <c:v>1.0647</c:v>
                </c:pt>
                <c:pt idx="2354">
                  <c:v>1.0650500000000001</c:v>
                </c:pt>
                <c:pt idx="2355">
                  <c:v>1.0717000000000001</c:v>
                </c:pt>
                <c:pt idx="2356">
                  <c:v>1.07315</c:v>
                </c:pt>
                <c:pt idx="2357">
                  <c:v>1.07545</c:v>
                </c:pt>
                <c:pt idx="2358">
                  <c:v>1.0728500000000001</c:v>
                </c:pt>
                <c:pt idx="2359">
                  <c:v>1.06935</c:v>
                </c:pt>
                <c:pt idx="2360">
                  <c:v>1.0745</c:v>
                </c:pt>
                <c:pt idx="2361">
                  <c:v>1.0741499999999999</c:v>
                </c:pt>
                <c:pt idx="2362">
                  <c:v>1.0863499999999999</c:v>
                </c:pt>
                <c:pt idx="2363">
                  <c:v>1.0861499999999999</c:v>
                </c:pt>
                <c:pt idx="2364">
                  <c:v>1.0952</c:v>
                </c:pt>
                <c:pt idx="2365">
                  <c:v>1.10345</c:v>
                </c:pt>
                <c:pt idx="2366">
                  <c:v>1.1046499999999999</c:v>
                </c:pt>
                <c:pt idx="2367">
                  <c:v>1.09605</c:v>
                </c:pt>
                <c:pt idx="2368">
                  <c:v>1.1065499999999999</c:v>
                </c:pt>
                <c:pt idx="2369">
                  <c:v>1.105</c:v>
                </c:pt>
                <c:pt idx="2370">
                  <c:v>1.1048500000000001</c:v>
                </c:pt>
                <c:pt idx="2371">
                  <c:v>1.1032500000000001</c:v>
                </c:pt>
                <c:pt idx="2372">
                  <c:v>1.11605</c:v>
                </c:pt>
                <c:pt idx="2373">
                  <c:v>1.1354500000000001</c:v>
                </c:pt>
                <c:pt idx="2374">
                  <c:v>1.13425</c:v>
                </c:pt>
                <c:pt idx="2375">
                  <c:v>1.131</c:v>
                </c:pt>
                <c:pt idx="2376">
                  <c:v>1.1376999999999999</c:v>
                </c:pt>
                <c:pt idx="2377">
                  <c:v>1.1386499999999999</c:v>
                </c:pt>
                <c:pt idx="2378">
                  <c:v>1.1435999999999999</c:v>
                </c:pt>
                <c:pt idx="2379">
                  <c:v>1.1373500000000001</c:v>
                </c:pt>
                <c:pt idx="2380">
                  <c:v>1.1372500000000001</c:v>
                </c:pt>
                <c:pt idx="2381">
                  <c:v>1.1354500000000001</c:v>
                </c:pt>
                <c:pt idx="2382">
                  <c:v>1.12775</c:v>
                </c:pt>
                <c:pt idx="2383">
                  <c:v>1.1236999999999999</c:v>
                </c:pt>
                <c:pt idx="2384">
                  <c:v>1.1263000000000001</c:v>
                </c:pt>
                <c:pt idx="2385">
                  <c:v>1.1211500000000001</c:v>
                </c:pt>
                <c:pt idx="2386">
                  <c:v>1.1275500000000001</c:v>
                </c:pt>
                <c:pt idx="2387">
                  <c:v>1.1204000000000001</c:v>
                </c:pt>
                <c:pt idx="2388">
                  <c:v>1.11625</c:v>
                </c:pt>
                <c:pt idx="2389">
                  <c:v>1.12195</c:v>
                </c:pt>
                <c:pt idx="2390">
                  <c:v>1.1208499999999999</c:v>
                </c:pt>
                <c:pt idx="2391">
                  <c:v>1.1173500000000001</c:v>
                </c:pt>
                <c:pt idx="2392">
                  <c:v>1.1288499999999999</c:v>
                </c:pt>
                <c:pt idx="2393">
                  <c:v>1.1145</c:v>
                </c:pt>
                <c:pt idx="2394">
                  <c:v>1.1133500000000001</c:v>
                </c:pt>
                <c:pt idx="2395">
                  <c:v>1.1194999999999999</c:v>
                </c:pt>
                <c:pt idx="2396">
                  <c:v>1.1376999999999999</c:v>
                </c:pt>
                <c:pt idx="2397">
                  <c:v>1.13165</c:v>
                </c:pt>
                <c:pt idx="2398">
                  <c:v>1.1295500000000001</c:v>
                </c:pt>
                <c:pt idx="2399">
                  <c:v>1.1274999999999999</c:v>
                </c:pt>
                <c:pt idx="2400">
                  <c:v>1.1293</c:v>
                </c:pt>
                <c:pt idx="2401">
                  <c:v>1.1287</c:v>
                </c:pt>
                <c:pt idx="2402">
                  <c:v>1.12225</c:v>
                </c:pt>
                <c:pt idx="2403">
                  <c:v>1.1167499999999999</c:v>
                </c:pt>
                <c:pt idx="2404">
                  <c:v>1.1185499999999999</c:v>
                </c:pt>
                <c:pt idx="2405">
                  <c:v>1.1158999999999999</c:v>
                </c:pt>
                <c:pt idx="2406">
                  <c:v>1.11155</c:v>
                </c:pt>
                <c:pt idx="2407">
                  <c:v>1.10965</c:v>
                </c:pt>
                <c:pt idx="2408">
                  <c:v>1.1230500000000001</c:v>
                </c:pt>
                <c:pt idx="2409">
                  <c:v>1.12585</c:v>
                </c:pt>
                <c:pt idx="2410">
                  <c:v>1.1205000000000001</c:v>
                </c:pt>
                <c:pt idx="2411">
                  <c:v>1.12215</c:v>
                </c:pt>
                <c:pt idx="2412">
                  <c:v>1.12155</c:v>
                </c:pt>
                <c:pt idx="2413">
                  <c:v>1.14045</c:v>
                </c:pt>
                <c:pt idx="2414">
                  <c:v>1.1411</c:v>
                </c:pt>
                <c:pt idx="2415">
                  <c:v>1.1575500000000001</c:v>
                </c:pt>
                <c:pt idx="2416">
                  <c:v>1.1314</c:v>
                </c:pt>
                <c:pt idx="2417">
                  <c:v>1.11985</c:v>
                </c:pt>
                <c:pt idx="2418">
                  <c:v>1.10555</c:v>
                </c:pt>
                <c:pt idx="2419">
                  <c:v>1.10345</c:v>
                </c:pt>
                <c:pt idx="2420">
                  <c:v>1.10745</c:v>
                </c:pt>
                <c:pt idx="2421">
                  <c:v>1.1111</c:v>
                </c:pt>
                <c:pt idx="2422">
                  <c:v>1.1127499999999999</c:v>
                </c:pt>
                <c:pt idx="2423">
                  <c:v>1.1189499999999999</c:v>
                </c:pt>
                <c:pt idx="2424">
                  <c:v>1.1047499999999999</c:v>
                </c:pt>
                <c:pt idx="2425">
                  <c:v>1.09805</c:v>
                </c:pt>
                <c:pt idx="2426">
                  <c:v>1.09395</c:v>
                </c:pt>
                <c:pt idx="2427">
                  <c:v>1.0912999999999999</c:v>
                </c:pt>
                <c:pt idx="2428">
                  <c:v>1.0866499999999999</c:v>
                </c:pt>
                <c:pt idx="2429">
                  <c:v>1.09605</c:v>
                </c:pt>
                <c:pt idx="2430">
                  <c:v>1.0972500000000001</c:v>
                </c:pt>
                <c:pt idx="2431">
                  <c:v>1.1048500000000001</c:v>
                </c:pt>
                <c:pt idx="2432">
                  <c:v>1.0924499999999999</c:v>
                </c:pt>
                <c:pt idx="2433">
                  <c:v>1.1032</c:v>
                </c:pt>
                <c:pt idx="2434">
                  <c:v>1.10375</c:v>
                </c:pt>
                <c:pt idx="2435">
                  <c:v>1.11015</c:v>
                </c:pt>
                <c:pt idx="2436">
                  <c:v>1.0965499999999999</c:v>
                </c:pt>
                <c:pt idx="2437">
                  <c:v>1.09785</c:v>
                </c:pt>
                <c:pt idx="2438">
                  <c:v>1.0891500000000001</c:v>
                </c:pt>
                <c:pt idx="2439">
                  <c:v>1.09335</c:v>
                </c:pt>
                <c:pt idx="2440">
                  <c:v>1.0863499999999999</c:v>
                </c:pt>
                <c:pt idx="2441">
                  <c:v>1.08535</c:v>
                </c:pt>
                <c:pt idx="2442">
                  <c:v>1.0903499999999999</c:v>
                </c:pt>
                <c:pt idx="2443">
                  <c:v>1.09565</c:v>
                </c:pt>
                <c:pt idx="2444">
                  <c:v>1.1000000000000001</c:v>
                </c:pt>
                <c:pt idx="2445">
                  <c:v>1.1010500000000001</c:v>
                </c:pt>
                <c:pt idx="2446">
                  <c:v>1.1173</c:v>
                </c:pt>
                <c:pt idx="2447">
                  <c:v>1.1045499999999999</c:v>
                </c:pt>
                <c:pt idx="2448">
                  <c:v>1.1065</c:v>
                </c:pt>
                <c:pt idx="2449">
                  <c:v>1.09355</c:v>
                </c:pt>
                <c:pt idx="2450">
                  <c:v>1.10745</c:v>
                </c:pt>
                <c:pt idx="2451">
                  <c:v>1.11005</c:v>
                </c:pt>
                <c:pt idx="2452">
                  <c:v>1.1104499999999999</c:v>
                </c:pt>
                <c:pt idx="2453">
                  <c:v>1.1102000000000001</c:v>
                </c:pt>
                <c:pt idx="2454">
                  <c:v>1.1142000000000001</c:v>
                </c:pt>
                <c:pt idx="2455">
                  <c:v>1.1150500000000001</c:v>
                </c:pt>
                <c:pt idx="2456">
                  <c:v>1.11405</c:v>
                </c:pt>
                <c:pt idx="2457">
                  <c:v>1.1192500000000001</c:v>
                </c:pt>
                <c:pt idx="2458">
                  <c:v>1.1184499999999999</c:v>
                </c:pt>
                <c:pt idx="2459">
                  <c:v>1.11835</c:v>
                </c:pt>
                <c:pt idx="2460">
                  <c:v>1.1396500000000001</c:v>
                </c:pt>
                <c:pt idx="2461">
                  <c:v>1.1329</c:v>
                </c:pt>
                <c:pt idx="2462">
                  <c:v>1.1403000000000001</c:v>
                </c:pt>
                <c:pt idx="2463">
                  <c:v>1.1233500000000001</c:v>
                </c:pt>
                <c:pt idx="2464">
                  <c:v>1.1234500000000001</c:v>
                </c:pt>
                <c:pt idx="2465">
                  <c:v>1.1253500000000001</c:v>
                </c:pt>
                <c:pt idx="2466">
                  <c:v>1.1268499999999999</c:v>
                </c:pt>
                <c:pt idx="2467">
                  <c:v>1.1234500000000001</c:v>
                </c:pt>
                <c:pt idx="2468">
                  <c:v>1.13025</c:v>
                </c:pt>
                <c:pt idx="2469">
                  <c:v>1.1244499999999999</c:v>
                </c:pt>
                <c:pt idx="2470">
                  <c:v>1.1204499999999999</c:v>
                </c:pt>
                <c:pt idx="2471">
                  <c:v>1.1109500000000001</c:v>
                </c:pt>
                <c:pt idx="2472">
                  <c:v>1.1282000000000001</c:v>
                </c:pt>
                <c:pt idx="2473">
                  <c:v>1.1265499999999999</c:v>
                </c:pt>
                <c:pt idx="2474">
                  <c:v>1.1128499999999999</c:v>
                </c:pt>
                <c:pt idx="2475">
                  <c:v>1.08975</c:v>
                </c:pt>
                <c:pt idx="2476">
                  <c:v>1.0963499999999999</c:v>
                </c:pt>
                <c:pt idx="2477">
                  <c:v>1.09185</c:v>
                </c:pt>
                <c:pt idx="2478">
                  <c:v>1.08755</c:v>
                </c:pt>
                <c:pt idx="2479">
                  <c:v>1.08975</c:v>
                </c:pt>
                <c:pt idx="2480">
                  <c:v>1.1023499999999999</c:v>
                </c:pt>
                <c:pt idx="2481">
                  <c:v>1.1023499999999999</c:v>
                </c:pt>
                <c:pt idx="2482">
                  <c:v>1.11215</c:v>
                </c:pt>
                <c:pt idx="2483">
                  <c:v>1.11025</c:v>
                </c:pt>
                <c:pt idx="2484">
                  <c:v>1.1127499999999999</c:v>
                </c:pt>
                <c:pt idx="2485">
                  <c:v>1.1364000000000001</c:v>
                </c:pt>
                <c:pt idx="2486">
                  <c:v>1.1440999999999999</c:v>
                </c:pt>
                <c:pt idx="2487">
                  <c:v>1.1379999999999999</c:v>
                </c:pt>
                <c:pt idx="2488">
                  <c:v>1.1352500000000001</c:v>
                </c:pt>
                <c:pt idx="2489">
                  <c:v>1.1246499999999999</c:v>
                </c:pt>
                <c:pt idx="2490">
                  <c:v>1.1151500000000001</c:v>
                </c:pt>
                <c:pt idx="2491">
                  <c:v>1.12185</c:v>
                </c:pt>
                <c:pt idx="2492">
                  <c:v>1.12615</c:v>
                </c:pt>
                <c:pt idx="2493">
                  <c:v>1.1354500000000001</c:v>
                </c:pt>
                <c:pt idx="2494">
                  <c:v>1.1187499999999999</c:v>
                </c:pt>
                <c:pt idx="2495">
                  <c:v>1.11615</c:v>
                </c:pt>
                <c:pt idx="2496">
                  <c:v>1.12225</c:v>
                </c:pt>
                <c:pt idx="2497">
                  <c:v>1.1205499999999999</c:v>
                </c:pt>
                <c:pt idx="2498">
                  <c:v>1.115</c:v>
                </c:pt>
                <c:pt idx="2499">
                  <c:v>1.09815</c:v>
                </c:pt>
                <c:pt idx="2500">
                  <c:v>1.0883499999999999</c:v>
                </c:pt>
                <c:pt idx="2501">
                  <c:v>1.0865499999999999</c:v>
                </c:pt>
                <c:pt idx="2502">
                  <c:v>1.0801499999999999</c:v>
                </c:pt>
                <c:pt idx="2503">
                  <c:v>1.0724</c:v>
                </c:pt>
                <c:pt idx="2504">
                  <c:v>1.0741499999999999</c:v>
                </c:pt>
                <c:pt idx="2505">
                  <c:v>1.07545</c:v>
                </c:pt>
                <c:pt idx="2506">
                  <c:v>1.07745</c:v>
                </c:pt>
                <c:pt idx="2507">
                  <c:v>1.06995</c:v>
                </c:pt>
                <c:pt idx="2508">
                  <c:v>1.0609</c:v>
                </c:pt>
                <c:pt idx="2509">
                  <c:v>1.06945</c:v>
                </c:pt>
                <c:pt idx="2510">
                  <c:v>1.05725</c:v>
                </c:pt>
                <c:pt idx="2511">
                  <c:v>1.0626500000000001</c:v>
                </c:pt>
                <c:pt idx="2512">
                  <c:v>1.0678000000000001</c:v>
                </c:pt>
                <c:pt idx="2513">
                  <c:v>1.0791500000000001</c:v>
                </c:pt>
                <c:pt idx="2514">
                  <c:v>1.08605</c:v>
                </c:pt>
                <c:pt idx="2515">
                  <c:v>1.1033500000000001</c:v>
                </c:pt>
                <c:pt idx="2516">
                  <c:v>1.0882499999999999</c:v>
                </c:pt>
                <c:pt idx="2517">
                  <c:v>1.0882499999999999</c:v>
                </c:pt>
                <c:pt idx="2518">
                  <c:v>1.0758000000000001</c:v>
                </c:pt>
                <c:pt idx="2519">
                  <c:v>1.0740000000000001</c:v>
                </c:pt>
                <c:pt idx="2520">
                  <c:v>1.083</c:v>
                </c:pt>
                <c:pt idx="2521">
                  <c:v>1.0890500000000001</c:v>
                </c:pt>
                <c:pt idx="2522">
                  <c:v>1.09185</c:v>
                </c:pt>
                <c:pt idx="2523">
                  <c:v>1.0987499999999999</c:v>
                </c:pt>
                <c:pt idx="2524">
                  <c:v>1.0906499999999999</c:v>
                </c:pt>
                <c:pt idx="2525">
                  <c:v>1.0926499999999999</c:v>
                </c:pt>
                <c:pt idx="2526">
                  <c:v>1.07945</c:v>
                </c:pt>
                <c:pt idx="2527">
                  <c:v>1.0623499999999999</c:v>
                </c:pt>
                <c:pt idx="2528">
                  <c:v>1.0643499999999999</c:v>
                </c:pt>
                <c:pt idx="2529">
                  <c:v>1.0604499999999999</c:v>
                </c:pt>
                <c:pt idx="2530">
                  <c:v>1.05785</c:v>
                </c:pt>
                <c:pt idx="2531">
                  <c:v>1.0521499999999999</c:v>
                </c:pt>
                <c:pt idx="2532">
                  <c:v>1.06165</c:v>
                </c:pt>
                <c:pt idx="2533">
                  <c:v>1.05755</c:v>
                </c:pt>
                <c:pt idx="2534">
                  <c:v>1.0707500000000001</c:v>
                </c:pt>
                <c:pt idx="2535">
                  <c:v>1.0846</c:v>
                </c:pt>
                <c:pt idx="2536">
                  <c:v>1.0861499999999999</c:v>
                </c:pt>
                <c:pt idx="2537">
                  <c:v>1.1029500000000001</c:v>
                </c:pt>
                <c:pt idx="2538">
                  <c:v>1.1068</c:v>
                </c:pt>
                <c:pt idx="2539">
                  <c:v>1.1184499999999999</c:v>
                </c:pt>
                <c:pt idx="2540">
                  <c:v>1.11955</c:v>
                </c:pt>
                <c:pt idx="2541">
                  <c:v>1.12165</c:v>
                </c:pt>
                <c:pt idx="2542">
                  <c:v>1.1213500000000001</c:v>
                </c:pt>
                <c:pt idx="2543">
                  <c:v>1.13575</c:v>
                </c:pt>
                <c:pt idx="2544">
                  <c:v>1.1336999999999999</c:v>
                </c:pt>
                <c:pt idx="2545">
                  <c:v>1.1354500000000001</c:v>
                </c:pt>
                <c:pt idx="2546">
                  <c:v>1.1368499999999999</c:v>
                </c:pt>
                <c:pt idx="2547">
                  <c:v>1.1390499999999999</c:v>
                </c:pt>
                <c:pt idx="2548">
                  <c:v>1.13615</c:v>
                </c:pt>
                <c:pt idx="2549">
                  <c:v>1.1398999999999999</c:v>
                </c:pt>
                <c:pt idx="2550">
                  <c:v>1.14045</c:v>
                </c:pt>
                <c:pt idx="2551">
                  <c:v>1.14025</c:v>
                </c:pt>
                <c:pt idx="2552">
                  <c:v>1.1372500000000001</c:v>
                </c:pt>
                <c:pt idx="2553">
                  <c:v>1.13045</c:v>
                </c:pt>
                <c:pt idx="2554">
                  <c:v>1.1324000000000001</c:v>
                </c:pt>
                <c:pt idx="2555">
                  <c:v>1.1335500000000001</c:v>
                </c:pt>
                <c:pt idx="2556">
                  <c:v>1.13445</c:v>
                </c:pt>
                <c:pt idx="2557">
                  <c:v>1.1430499999999999</c:v>
                </c:pt>
                <c:pt idx="2558">
                  <c:v>1.14245</c:v>
                </c:pt>
                <c:pt idx="2559">
                  <c:v>1.1448499999999999</c:v>
                </c:pt>
                <c:pt idx="2560">
                  <c:v>1.13435</c:v>
                </c:pt>
                <c:pt idx="2561">
                  <c:v>1.12845</c:v>
                </c:pt>
                <c:pt idx="2562">
                  <c:v>1.1337999999999999</c:v>
                </c:pt>
                <c:pt idx="2563">
                  <c:v>1.1341000000000001</c:v>
                </c:pt>
                <c:pt idx="2564">
                  <c:v>1.14005</c:v>
                </c:pt>
                <c:pt idx="2565">
                  <c:v>1.1255999999999999</c:v>
                </c:pt>
                <c:pt idx="2566">
                  <c:v>1.1249499999999999</c:v>
                </c:pt>
                <c:pt idx="2567">
                  <c:v>1.1416500000000001</c:v>
                </c:pt>
                <c:pt idx="2568">
                  <c:v>1.15865</c:v>
                </c:pt>
                <c:pt idx="2569">
                  <c:v>1.1572499999999999</c:v>
                </c:pt>
                <c:pt idx="2570">
                  <c:v>1.1631499999999999</c:v>
                </c:pt>
                <c:pt idx="2571">
                  <c:v>1.14975</c:v>
                </c:pt>
                <c:pt idx="2572">
                  <c:v>1.1587499999999999</c:v>
                </c:pt>
                <c:pt idx="2573">
                  <c:v>1.17875</c:v>
                </c:pt>
                <c:pt idx="2574">
                  <c:v>1.17815</c:v>
                </c:pt>
                <c:pt idx="2575">
                  <c:v>1.1818</c:v>
                </c:pt>
                <c:pt idx="2576">
                  <c:v>1.1834499999999999</c:v>
                </c:pt>
                <c:pt idx="2577">
                  <c:v>1.1792499999999999</c:v>
                </c:pt>
                <c:pt idx="2578">
                  <c:v>1.18035</c:v>
                </c:pt>
                <c:pt idx="2579">
                  <c:v>1.1919500000000001</c:v>
                </c:pt>
                <c:pt idx="2580">
                  <c:v>1.1937</c:v>
                </c:pt>
                <c:pt idx="2581">
                  <c:v>1.20305</c:v>
                </c:pt>
                <c:pt idx="2582">
                  <c:v>1.2100500000000001</c:v>
                </c:pt>
                <c:pt idx="2583">
                  <c:v>1.2100500000000001</c:v>
                </c:pt>
                <c:pt idx="2584">
                  <c:v>1.21645</c:v>
                </c:pt>
                <c:pt idx="2585">
                  <c:v>1.2180500000000001</c:v>
                </c:pt>
                <c:pt idx="2586">
                  <c:v>1.21705</c:v>
                </c:pt>
                <c:pt idx="2587">
                  <c:v>1.21895</c:v>
                </c:pt>
                <c:pt idx="2588">
                  <c:v>1.21895</c:v>
                </c:pt>
                <c:pt idx="2589">
                  <c:v>1.2176499999999999</c:v>
                </c:pt>
                <c:pt idx="2590">
                  <c:v>1.2257499999999999</c:v>
                </c:pt>
                <c:pt idx="2591">
                  <c:v>1.2263500000000001</c:v>
                </c:pt>
                <c:pt idx="2592">
                  <c:v>1.2279500000000001</c:v>
                </c:pt>
                <c:pt idx="2593">
                  <c:v>1.2394499999999999</c:v>
                </c:pt>
                <c:pt idx="2594">
                  <c:v>1.25095</c:v>
                </c:pt>
                <c:pt idx="2595">
                  <c:v>1.2422500000000001</c:v>
                </c:pt>
                <c:pt idx="2596">
                  <c:v>1.2462</c:v>
                </c:pt>
                <c:pt idx="2597">
                  <c:v>1.2382500000000001</c:v>
                </c:pt>
                <c:pt idx="2598">
                  <c:v>1.2416499999999999</c:v>
                </c:pt>
                <c:pt idx="2599">
                  <c:v>1.2423500000000001</c:v>
                </c:pt>
                <c:pt idx="2600">
                  <c:v>1.22915</c:v>
                </c:pt>
                <c:pt idx="2601">
                  <c:v>1.2297</c:v>
                </c:pt>
                <c:pt idx="2602">
                  <c:v>1.2437</c:v>
                </c:pt>
                <c:pt idx="2603">
                  <c:v>1.2321500000000001</c:v>
                </c:pt>
                <c:pt idx="2604">
                  <c:v>1.2402500000000001</c:v>
                </c:pt>
                <c:pt idx="2605">
                  <c:v>1.2476499999999999</c:v>
                </c:pt>
                <c:pt idx="2606">
                  <c:v>1.24665</c:v>
                </c:pt>
                <c:pt idx="2607">
                  <c:v>1.2481500000000001</c:v>
                </c:pt>
                <c:pt idx="2608">
                  <c:v>1.25285</c:v>
                </c:pt>
                <c:pt idx="2609">
                  <c:v>1.24855</c:v>
                </c:pt>
              </c:numCache>
            </c:numRef>
          </c:val>
          <c:smooth val="0"/>
          <c:extLst>
            <c:ext xmlns:c16="http://schemas.microsoft.com/office/drawing/2014/chart" uri="{C3380CC4-5D6E-409C-BE32-E72D297353CC}">
              <c16:uniqueId val="{00000001-58B7-4B56-B9A0-9E799BCE558A}"/>
            </c:ext>
          </c:extLst>
        </c:ser>
        <c:dLbls>
          <c:showLegendKey val="0"/>
          <c:showVal val="0"/>
          <c:showCatName val="0"/>
          <c:showSerName val="0"/>
          <c:showPercent val="0"/>
          <c:showBubbleSize val="0"/>
        </c:dLbls>
        <c:marker val="1"/>
        <c:smooth val="0"/>
        <c:axId val="2092929327"/>
        <c:axId val="1493594959"/>
      </c:lineChart>
      <c:dateAx>
        <c:axId val="927020303"/>
        <c:scaling>
          <c:orientation val="minMax"/>
          <c:min val="43774"/>
        </c:scaling>
        <c:delete val="0"/>
        <c:axPos val="t"/>
        <c:numFmt formatCode="[$-407]mmm\.\ yy;@" sourceLinked="0"/>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days"/>
        <c:majorUnit val="1"/>
        <c:majorTimeUnit val="years"/>
      </c:dateAx>
      <c:valAx>
        <c:axId val="927021967"/>
        <c:scaling>
          <c:orientation val="maxMin"/>
          <c:max val="115"/>
          <c:min val="95"/>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majorUnit val="5"/>
      </c:valAx>
      <c:valAx>
        <c:axId val="1493594959"/>
        <c:scaling>
          <c:orientation val="minMax"/>
          <c:min val="0.95000000000000007"/>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2092929327"/>
        <c:crosses val="max"/>
        <c:crossBetween val="between"/>
      </c:valAx>
      <c:dateAx>
        <c:axId val="2092929327"/>
        <c:scaling>
          <c:orientation val="minMax"/>
        </c:scaling>
        <c:delete val="1"/>
        <c:axPos val="b"/>
        <c:numFmt formatCode="m/d/yyyy" sourceLinked="1"/>
        <c:majorTickMark val="out"/>
        <c:minorTickMark val="none"/>
        <c:tickLblPos val="nextTo"/>
        <c:crossAx val="1493594959"/>
        <c:crosses val="autoZero"/>
        <c:auto val="1"/>
        <c:lblOffset val="100"/>
        <c:baseTimeUnit val="days"/>
      </c:dateAx>
      <c:spPr>
        <a:noFill/>
        <a:ln>
          <a:noFill/>
        </a:ln>
        <a:effectLst/>
      </c:spPr>
    </c:plotArea>
    <c:legend>
      <c:legendPos val="b"/>
      <c:layout>
        <c:manualLayout>
          <c:xMode val="edge"/>
          <c:yMode val="edge"/>
          <c:x val="0.14246159951655527"/>
          <c:y val="0.82246448694867025"/>
          <c:w val="0.63718447565188363"/>
          <c:h val="0.1530332199003637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3"/>
          <c:order val="3"/>
          <c:tx>
            <c:strRef>
              <c:f>Sheet1!$Q$2</c:f>
              <c:strCache>
                <c:ptCount val="1"/>
                <c:pt idx="0">
                  <c:v>Rezession</c:v>
                </c:pt>
              </c:strCache>
            </c:strRef>
          </c:tx>
          <c:spPr>
            <a:solidFill>
              <a:srgbClr val="89999E">
                <a:lumMod val="20000"/>
                <a:lumOff val="80000"/>
              </a:srgbClr>
            </a:solidFill>
            <a:ln>
              <a:noFill/>
            </a:ln>
            <a:effectLst/>
          </c:spPr>
          <c:invertIfNegative val="0"/>
          <c:cat>
            <c:numRef>
              <c:f>Sheet1!$P$4:$P$1389</c:f>
              <c:numCache>
                <c:formatCode>m/d/yyyy</c:formatCode>
                <c:ptCount val="1386"/>
                <c:pt idx="0">
                  <c:v>3319</c:v>
                </c:pt>
                <c:pt idx="1">
                  <c:v>3347</c:v>
                </c:pt>
                <c:pt idx="2">
                  <c:v>3378</c:v>
                </c:pt>
                <c:pt idx="3">
                  <c:v>3408</c:v>
                </c:pt>
                <c:pt idx="4">
                  <c:v>3439</c:v>
                </c:pt>
                <c:pt idx="5">
                  <c:v>3469</c:v>
                </c:pt>
                <c:pt idx="6">
                  <c:v>3500</c:v>
                </c:pt>
                <c:pt idx="7">
                  <c:v>3531</c:v>
                </c:pt>
                <c:pt idx="8">
                  <c:v>3561</c:v>
                </c:pt>
                <c:pt idx="9">
                  <c:v>3592</c:v>
                </c:pt>
                <c:pt idx="10">
                  <c:v>3622</c:v>
                </c:pt>
                <c:pt idx="11">
                  <c:v>3653</c:v>
                </c:pt>
                <c:pt idx="12">
                  <c:v>3684</c:v>
                </c:pt>
                <c:pt idx="13">
                  <c:v>3712</c:v>
                </c:pt>
                <c:pt idx="14">
                  <c:v>3743</c:v>
                </c:pt>
                <c:pt idx="15">
                  <c:v>3773</c:v>
                </c:pt>
                <c:pt idx="16">
                  <c:v>3804</c:v>
                </c:pt>
                <c:pt idx="17">
                  <c:v>3834</c:v>
                </c:pt>
                <c:pt idx="18">
                  <c:v>3865</c:v>
                </c:pt>
                <c:pt idx="19">
                  <c:v>3896</c:v>
                </c:pt>
                <c:pt idx="20">
                  <c:v>3926</c:v>
                </c:pt>
                <c:pt idx="21">
                  <c:v>3957</c:v>
                </c:pt>
                <c:pt idx="22">
                  <c:v>3987</c:v>
                </c:pt>
                <c:pt idx="23">
                  <c:v>4018</c:v>
                </c:pt>
                <c:pt idx="24">
                  <c:v>4049</c:v>
                </c:pt>
                <c:pt idx="25">
                  <c:v>4077</c:v>
                </c:pt>
                <c:pt idx="26">
                  <c:v>4108</c:v>
                </c:pt>
                <c:pt idx="27">
                  <c:v>4138</c:v>
                </c:pt>
                <c:pt idx="28">
                  <c:v>4169</c:v>
                </c:pt>
                <c:pt idx="29">
                  <c:v>4199</c:v>
                </c:pt>
                <c:pt idx="30">
                  <c:v>4230</c:v>
                </c:pt>
                <c:pt idx="31">
                  <c:v>4261</c:v>
                </c:pt>
                <c:pt idx="32">
                  <c:v>4291</c:v>
                </c:pt>
                <c:pt idx="33">
                  <c:v>4322</c:v>
                </c:pt>
                <c:pt idx="34">
                  <c:v>4352</c:v>
                </c:pt>
                <c:pt idx="35">
                  <c:v>4383</c:v>
                </c:pt>
                <c:pt idx="36">
                  <c:v>4414</c:v>
                </c:pt>
                <c:pt idx="37">
                  <c:v>4443</c:v>
                </c:pt>
                <c:pt idx="38">
                  <c:v>4474</c:v>
                </c:pt>
                <c:pt idx="39">
                  <c:v>4504</c:v>
                </c:pt>
                <c:pt idx="40">
                  <c:v>4535</c:v>
                </c:pt>
                <c:pt idx="41">
                  <c:v>4565</c:v>
                </c:pt>
                <c:pt idx="42">
                  <c:v>4596</c:v>
                </c:pt>
                <c:pt idx="43">
                  <c:v>4627</c:v>
                </c:pt>
                <c:pt idx="44">
                  <c:v>4657</c:v>
                </c:pt>
                <c:pt idx="45">
                  <c:v>4688</c:v>
                </c:pt>
                <c:pt idx="46">
                  <c:v>4718</c:v>
                </c:pt>
                <c:pt idx="47">
                  <c:v>4749</c:v>
                </c:pt>
                <c:pt idx="48">
                  <c:v>4780</c:v>
                </c:pt>
                <c:pt idx="49">
                  <c:v>4808</c:v>
                </c:pt>
                <c:pt idx="50">
                  <c:v>4839</c:v>
                </c:pt>
                <c:pt idx="51">
                  <c:v>4869</c:v>
                </c:pt>
                <c:pt idx="52">
                  <c:v>4900</c:v>
                </c:pt>
                <c:pt idx="53">
                  <c:v>4930</c:v>
                </c:pt>
                <c:pt idx="54">
                  <c:v>4961</c:v>
                </c:pt>
                <c:pt idx="55">
                  <c:v>4992</c:v>
                </c:pt>
                <c:pt idx="56">
                  <c:v>5022</c:v>
                </c:pt>
                <c:pt idx="57">
                  <c:v>5053</c:v>
                </c:pt>
                <c:pt idx="58">
                  <c:v>5083</c:v>
                </c:pt>
                <c:pt idx="59">
                  <c:v>5114</c:v>
                </c:pt>
                <c:pt idx="60">
                  <c:v>5145</c:v>
                </c:pt>
                <c:pt idx="61">
                  <c:v>5173</c:v>
                </c:pt>
                <c:pt idx="62">
                  <c:v>5204</c:v>
                </c:pt>
                <c:pt idx="63">
                  <c:v>5234</c:v>
                </c:pt>
                <c:pt idx="64">
                  <c:v>5265</c:v>
                </c:pt>
                <c:pt idx="65">
                  <c:v>5295</c:v>
                </c:pt>
                <c:pt idx="66">
                  <c:v>5326</c:v>
                </c:pt>
                <c:pt idx="67">
                  <c:v>5357</c:v>
                </c:pt>
                <c:pt idx="68">
                  <c:v>5387</c:v>
                </c:pt>
                <c:pt idx="69">
                  <c:v>5418</c:v>
                </c:pt>
                <c:pt idx="70">
                  <c:v>5448</c:v>
                </c:pt>
                <c:pt idx="71">
                  <c:v>5479</c:v>
                </c:pt>
                <c:pt idx="72">
                  <c:v>5510</c:v>
                </c:pt>
                <c:pt idx="73">
                  <c:v>5538</c:v>
                </c:pt>
                <c:pt idx="74">
                  <c:v>5569</c:v>
                </c:pt>
                <c:pt idx="75">
                  <c:v>5599</c:v>
                </c:pt>
                <c:pt idx="76">
                  <c:v>5630</c:v>
                </c:pt>
                <c:pt idx="77">
                  <c:v>5660</c:v>
                </c:pt>
                <c:pt idx="78">
                  <c:v>5691</c:v>
                </c:pt>
                <c:pt idx="79">
                  <c:v>5722</c:v>
                </c:pt>
                <c:pt idx="80">
                  <c:v>5752</c:v>
                </c:pt>
                <c:pt idx="81">
                  <c:v>5783</c:v>
                </c:pt>
                <c:pt idx="82">
                  <c:v>5813</c:v>
                </c:pt>
                <c:pt idx="83">
                  <c:v>5844</c:v>
                </c:pt>
                <c:pt idx="84">
                  <c:v>5875</c:v>
                </c:pt>
                <c:pt idx="85">
                  <c:v>5904</c:v>
                </c:pt>
                <c:pt idx="86">
                  <c:v>5935</c:v>
                </c:pt>
                <c:pt idx="87">
                  <c:v>5965</c:v>
                </c:pt>
                <c:pt idx="88">
                  <c:v>5996</c:v>
                </c:pt>
                <c:pt idx="89">
                  <c:v>6026</c:v>
                </c:pt>
                <c:pt idx="90">
                  <c:v>6057</c:v>
                </c:pt>
                <c:pt idx="91">
                  <c:v>6088</c:v>
                </c:pt>
                <c:pt idx="92">
                  <c:v>6118</c:v>
                </c:pt>
                <c:pt idx="93">
                  <c:v>6149</c:v>
                </c:pt>
                <c:pt idx="94">
                  <c:v>6179</c:v>
                </c:pt>
                <c:pt idx="95">
                  <c:v>6210</c:v>
                </c:pt>
                <c:pt idx="96">
                  <c:v>6241</c:v>
                </c:pt>
                <c:pt idx="97">
                  <c:v>6269</c:v>
                </c:pt>
                <c:pt idx="98">
                  <c:v>6300</c:v>
                </c:pt>
                <c:pt idx="99">
                  <c:v>6330</c:v>
                </c:pt>
                <c:pt idx="100">
                  <c:v>6361</c:v>
                </c:pt>
                <c:pt idx="101">
                  <c:v>6391</c:v>
                </c:pt>
                <c:pt idx="102">
                  <c:v>6422</c:v>
                </c:pt>
                <c:pt idx="103">
                  <c:v>6453</c:v>
                </c:pt>
                <c:pt idx="104">
                  <c:v>6483</c:v>
                </c:pt>
                <c:pt idx="105">
                  <c:v>6514</c:v>
                </c:pt>
                <c:pt idx="106">
                  <c:v>6544</c:v>
                </c:pt>
                <c:pt idx="107">
                  <c:v>6575</c:v>
                </c:pt>
                <c:pt idx="108">
                  <c:v>6606</c:v>
                </c:pt>
                <c:pt idx="109">
                  <c:v>6634</c:v>
                </c:pt>
                <c:pt idx="110">
                  <c:v>6665</c:v>
                </c:pt>
                <c:pt idx="111">
                  <c:v>6695</c:v>
                </c:pt>
                <c:pt idx="112">
                  <c:v>6726</c:v>
                </c:pt>
                <c:pt idx="113">
                  <c:v>6756</c:v>
                </c:pt>
                <c:pt idx="114">
                  <c:v>6787</c:v>
                </c:pt>
                <c:pt idx="115">
                  <c:v>6818</c:v>
                </c:pt>
                <c:pt idx="116">
                  <c:v>6848</c:v>
                </c:pt>
                <c:pt idx="117">
                  <c:v>6879</c:v>
                </c:pt>
                <c:pt idx="118">
                  <c:v>6909</c:v>
                </c:pt>
                <c:pt idx="119">
                  <c:v>6940</c:v>
                </c:pt>
                <c:pt idx="120">
                  <c:v>6971</c:v>
                </c:pt>
                <c:pt idx="121">
                  <c:v>6999</c:v>
                </c:pt>
                <c:pt idx="122">
                  <c:v>7030</c:v>
                </c:pt>
                <c:pt idx="123">
                  <c:v>7060</c:v>
                </c:pt>
                <c:pt idx="124">
                  <c:v>7091</c:v>
                </c:pt>
                <c:pt idx="125">
                  <c:v>7121</c:v>
                </c:pt>
                <c:pt idx="126">
                  <c:v>7152</c:v>
                </c:pt>
                <c:pt idx="127">
                  <c:v>7183</c:v>
                </c:pt>
                <c:pt idx="128">
                  <c:v>7213</c:v>
                </c:pt>
                <c:pt idx="129">
                  <c:v>7244</c:v>
                </c:pt>
                <c:pt idx="130">
                  <c:v>7274</c:v>
                </c:pt>
                <c:pt idx="131">
                  <c:v>7305</c:v>
                </c:pt>
                <c:pt idx="132">
                  <c:v>7336</c:v>
                </c:pt>
                <c:pt idx="133">
                  <c:v>7365</c:v>
                </c:pt>
                <c:pt idx="134">
                  <c:v>7396</c:v>
                </c:pt>
                <c:pt idx="135">
                  <c:v>7426</c:v>
                </c:pt>
                <c:pt idx="136">
                  <c:v>7457</c:v>
                </c:pt>
                <c:pt idx="137">
                  <c:v>7487</c:v>
                </c:pt>
                <c:pt idx="138">
                  <c:v>7518</c:v>
                </c:pt>
                <c:pt idx="139">
                  <c:v>7549</c:v>
                </c:pt>
                <c:pt idx="140">
                  <c:v>7579</c:v>
                </c:pt>
                <c:pt idx="141">
                  <c:v>7610</c:v>
                </c:pt>
                <c:pt idx="142">
                  <c:v>7640</c:v>
                </c:pt>
                <c:pt idx="143">
                  <c:v>7671</c:v>
                </c:pt>
                <c:pt idx="144">
                  <c:v>7702</c:v>
                </c:pt>
                <c:pt idx="145">
                  <c:v>7730</c:v>
                </c:pt>
                <c:pt idx="146">
                  <c:v>7761</c:v>
                </c:pt>
                <c:pt idx="147">
                  <c:v>7791</c:v>
                </c:pt>
                <c:pt idx="148">
                  <c:v>7822</c:v>
                </c:pt>
                <c:pt idx="149">
                  <c:v>7852</c:v>
                </c:pt>
                <c:pt idx="150">
                  <c:v>7883</c:v>
                </c:pt>
                <c:pt idx="151">
                  <c:v>7914</c:v>
                </c:pt>
                <c:pt idx="152">
                  <c:v>7944</c:v>
                </c:pt>
                <c:pt idx="153">
                  <c:v>7975</c:v>
                </c:pt>
                <c:pt idx="154">
                  <c:v>8005</c:v>
                </c:pt>
                <c:pt idx="155">
                  <c:v>8036</c:v>
                </c:pt>
                <c:pt idx="156">
                  <c:v>8067</c:v>
                </c:pt>
                <c:pt idx="157">
                  <c:v>8095</c:v>
                </c:pt>
                <c:pt idx="158">
                  <c:v>8126</c:v>
                </c:pt>
                <c:pt idx="159">
                  <c:v>8156</c:v>
                </c:pt>
                <c:pt idx="160">
                  <c:v>8187</c:v>
                </c:pt>
                <c:pt idx="161">
                  <c:v>8217</c:v>
                </c:pt>
                <c:pt idx="162">
                  <c:v>8248</c:v>
                </c:pt>
                <c:pt idx="163">
                  <c:v>8279</c:v>
                </c:pt>
                <c:pt idx="164">
                  <c:v>8309</c:v>
                </c:pt>
                <c:pt idx="165">
                  <c:v>8340</c:v>
                </c:pt>
                <c:pt idx="166">
                  <c:v>8370</c:v>
                </c:pt>
                <c:pt idx="167">
                  <c:v>8401</c:v>
                </c:pt>
                <c:pt idx="168">
                  <c:v>8432</c:v>
                </c:pt>
                <c:pt idx="169">
                  <c:v>8460</c:v>
                </c:pt>
                <c:pt idx="170">
                  <c:v>8491</c:v>
                </c:pt>
                <c:pt idx="171">
                  <c:v>8521</c:v>
                </c:pt>
                <c:pt idx="172">
                  <c:v>8552</c:v>
                </c:pt>
                <c:pt idx="173">
                  <c:v>8582</c:v>
                </c:pt>
                <c:pt idx="174">
                  <c:v>8613</c:v>
                </c:pt>
                <c:pt idx="175">
                  <c:v>8644</c:v>
                </c:pt>
                <c:pt idx="176">
                  <c:v>8674</c:v>
                </c:pt>
                <c:pt idx="177">
                  <c:v>8705</c:v>
                </c:pt>
                <c:pt idx="178">
                  <c:v>8735</c:v>
                </c:pt>
                <c:pt idx="179">
                  <c:v>8766</c:v>
                </c:pt>
                <c:pt idx="180">
                  <c:v>8797</c:v>
                </c:pt>
                <c:pt idx="181">
                  <c:v>8826</c:v>
                </c:pt>
                <c:pt idx="182">
                  <c:v>8857</c:v>
                </c:pt>
                <c:pt idx="183">
                  <c:v>8887</c:v>
                </c:pt>
                <c:pt idx="184">
                  <c:v>8918</c:v>
                </c:pt>
                <c:pt idx="185">
                  <c:v>8948</c:v>
                </c:pt>
                <c:pt idx="186">
                  <c:v>8979</c:v>
                </c:pt>
                <c:pt idx="187">
                  <c:v>9010</c:v>
                </c:pt>
                <c:pt idx="188">
                  <c:v>9040</c:v>
                </c:pt>
                <c:pt idx="189">
                  <c:v>9071</c:v>
                </c:pt>
                <c:pt idx="190">
                  <c:v>9101</c:v>
                </c:pt>
                <c:pt idx="191">
                  <c:v>9132</c:v>
                </c:pt>
                <c:pt idx="192">
                  <c:v>9163</c:v>
                </c:pt>
                <c:pt idx="193">
                  <c:v>9191</c:v>
                </c:pt>
                <c:pt idx="194">
                  <c:v>9222</c:v>
                </c:pt>
                <c:pt idx="195">
                  <c:v>9252</c:v>
                </c:pt>
                <c:pt idx="196">
                  <c:v>9283</c:v>
                </c:pt>
                <c:pt idx="197">
                  <c:v>9313</c:v>
                </c:pt>
                <c:pt idx="198">
                  <c:v>9344</c:v>
                </c:pt>
                <c:pt idx="199">
                  <c:v>9375</c:v>
                </c:pt>
                <c:pt idx="200">
                  <c:v>9405</c:v>
                </c:pt>
                <c:pt idx="201">
                  <c:v>9436</c:v>
                </c:pt>
                <c:pt idx="202">
                  <c:v>9466</c:v>
                </c:pt>
                <c:pt idx="203">
                  <c:v>9497</c:v>
                </c:pt>
                <c:pt idx="204">
                  <c:v>9528</c:v>
                </c:pt>
                <c:pt idx="205">
                  <c:v>9556</c:v>
                </c:pt>
                <c:pt idx="206">
                  <c:v>9587</c:v>
                </c:pt>
                <c:pt idx="207">
                  <c:v>9617</c:v>
                </c:pt>
                <c:pt idx="208">
                  <c:v>9648</c:v>
                </c:pt>
                <c:pt idx="209">
                  <c:v>9678</c:v>
                </c:pt>
                <c:pt idx="210">
                  <c:v>9709</c:v>
                </c:pt>
                <c:pt idx="211">
                  <c:v>9740</c:v>
                </c:pt>
                <c:pt idx="212">
                  <c:v>9770</c:v>
                </c:pt>
                <c:pt idx="213">
                  <c:v>9801</c:v>
                </c:pt>
                <c:pt idx="214">
                  <c:v>9831</c:v>
                </c:pt>
                <c:pt idx="215">
                  <c:v>9862</c:v>
                </c:pt>
                <c:pt idx="216">
                  <c:v>9893</c:v>
                </c:pt>
                <c:pt idx="217">
                  <c:v>9921</c:v>
                </c:pt>
                <c:pt idx="218">
                  <c:v>9952</c:v>
                </c:pt>
                <c:pt idx="219">
                  <c:v>9982</c:v>
                </c:pt>
                <c:pt idx="220">
                  <c:v>10013</c:v>
                </c:pt>
                <c:pt idx="221">
                  <c:v>10043</c:v>
                </c:pt>
                <c:pt idx="222">
                  <c:v>10074</c:v>
                </c:pt>
                <c:pt idx="223">
                  <c:v>10105</c:v>
                </c:pt>
                <c:pt idx="224">
                  <c:v>10135</c:v>
                </c:pt>
                <c:pt idx="225">
                  <c:v>10166</c:v>
                </c:pt>
                <c:pt idx="226">
                  <c:v>10196</c:v>
                </c:pt>
                <c:pt idx="227">
                  <c:v>10227</c:v>
                </c:pt>
                <c:pt idx="228">
                  <c:v>10258</c:v>
                </c:pt>
                <c:pt idx="229">
                  <c:v>10287</c:v>
                </c:pt>
                <c:pt idx="230">
                  <c:v>10318</c:v>
                </c:pt>
                <c:pt idx="231">
                  <c:v>10348</c:v>
                </c:pt>
                <c:pt idx="232">
                  <c:v>10379</c:v>
                </c:pt>
                <c:pt idx="233">
                  <c:v>10409</c:v>
                </c:pt>
                <c:pt idx="234">
                  <c:v>10440</c:v>
                </c:pt>
                <c:pt idx="235">
                  <c:v>10471</c:v>
                </c:pt>
                <c:pt idx="236">
                  <c:v>10501</c:v>
                </c:pt>
                <c:pt idx="237">
                  <c:v>10532</c:v>
                </c:pt>
                <c:pt idx="238">
                  <c:v>10562</c:v>
                </c:pt>
                <c:pt idx="239">
                  <c:v>10593</c:v>
                </c:pt>
                <c:pt idx="240">
                  <c:v>10624</c:v>
                </c:pt>
                <c:pt idx="241">
                  <c:v>10652</c:v>
                </c:pt>
                <c:pt idx="242">
                  <c:v>10683</c:v>
                </c:pt>
                <c:pt idx="243">
                  <c:v>10713</c:v>
                </c:pt>
                <c:pt idx="244">
                  <c:v>10744</c:v>
                </c:pt>
                <c:pt idx="245">
                  <c:v>10774</c:v>
                </c:pt>
                <c:pt idx="246">
                  <c:v>10805</c:v>
                </c:pt>
                <c:pt idx="247">
                  <c:v>10836</c:v>
                </c:pt>
                <c:pt idx="248">
                  <c:v>10866</c:v>
                </c:pt>
                <c:pt idx="249">
                  <c:v>10897</c:v>
                </c:pt>
                <c:pt idx="250">
                  <c:v>10927</c:v>
                </c:pt>
                <c:pt idx="251">
                  <c:v>10958</c:v>
                </c:pt>
                <c:pt idx="252">
                  <c:v>10989</c:v>
                </c:pt>
                <c:pt idx="253">
                  <c:v>11017</c:v>
                </c:pt>
                <c:pt idx="254">
                  <c:v>11048</c:v>
                </c:pt>
                <c:pt idx="255">
                  <c:v>11078</c:v>
                </c:pt>
                <c:pt idx="256">
                  <c:v>11109</c:v>
                </c:pt>
                <c:pt idx="257">
                  <c:v>11139</c:v>
                </c:pt>
                <c:pt idx="258">
                  <c:v>11170</c:v>
                </c:pt>
                <c:pt idx="259">
                  <c:v>11201</c:v>
                </c:pt>
                <c:pt idx="260">
                  <c:v>11231</c:v>
                </c:pt>
                <c:pt idx="261">
                  <c:v>11262</c:v>
                </c:pt>
                <c:pt idx="262">
                  <c:v>11292</c:v>
                </c:pt>
                <c:pt idx="263">
                  <c:v>11323</c:v>
                </c:pt>
                <c:pt idx="264">
                  <c:v>11354</c:v>
                </c:pt>
                <c:pt idx="265">
                  <c:v>11382</c:v>
                </c:pt>
                <c:pt idx="266">
                  <c:v>11413</c:v>
                </c:pt>
                <c:pt idx="267">
                  <c:v>11443</c:v>
                </c:pt>
                <c:pt idx="268">
                  <c:v>11474</c:v>
                </c:pt>
                <c:pt idx="269">
                  <c:v>11504</c:v>
                </c:pt>
                <c:pt idx="270">
                  <c:v>11535</c:v>
                </c:pt>
                <c:pt idx="271">
                  <c:v>11566</c:v>
                </c:pt>
                <c:pt idx="272">
                  <c:v>11596</c:v>
                </c:pt>
                <c:pt idx="273">
                  <c:v>11627</c:v>
                </c:pt>
                <c:pt idx="274">
                  <c:v>11657</c:v>
                </c:pt>
                <c:pt idx="275">
                  <c:v>11688</c:v>
                </c:pt>
                <c:pt idx="276">
                  <c:v>11719</c:v>
                </c:pt>
                <c:pt idx="277">
                  <c:v>11748</c:v>
                </c:pt>
                <c:pt idx="278">
                  <c:v>11779</c:v>
                </c:pt>
                <c:pt idx="279">
                  <c:v>11809</c:v>
                </c:pt>
                <c:pt idx="280">
                  <c:v>11840</c:v>
                </c:pt>
                <c:pt idx="281">
                  <c:v>11870</c:v>
                </c:pt>
                <c:pt idx="282">
                  <c:v>11901</c:v>
                </c:pt>
                <c:pt idx="283">
                  <c:v>11932</c:v>
                </c:pt>
                <c:pt idx="284">
                  <c:v>11962</c:v>
                </c:pt>
                <c:pt idx="285">
                  <c:v>11993</c:v>
                </c:pt>
                <c:pt idx="286">
                  <c:v>12023</c:v>
                </c:pt>
                <c:pt idx="287">
                  <c:v>12054</c:v>
                </c:pt>
                <c:pt idx="288">
                  <c:v>12085</c:v>
                </c:pt>
                <c:pt idx="289">
                  <c:v>12113</c:v>
                </c:pt>
                <c:pt idx="290">
                  <c:v>12144</c:v>
                </c:pt>
                <c:pt idx="291">
                  <c:v>12174</c:v>
                </c:pt>
                <c:pt idx="292">
                  <c:v>12205</c:v>
                </c:pt>
                <c:pt idx="293">
                  <c:v>12235</c:v>
                </c:pt>
                <c:pt idx="294">
                  <c:v>12266</c:v>
                </c:pt>
                <c:pt idx="295">
                  <c:v>12297</c:v>
                </c:pt>
                <c:pt idx="296">
                  <c:v>12327</c:v>
                </c:pt>
                <c:pt idx="297">
                  <c:v>12358</c:v>
                </c:pt>
                <c:pt idx="298">
                  <c:v>12388</c:v>
                </c:pt>
                <c:pt idx="299">
                  <c:v>12419</c:v>
                </c:pt>
                <c:pt idx="300">
                  <c:v>12450</c:v>
                </c:pt>
                <c:pt idx="301">
                  <c:v>12478</c:v>
                </c:pt>
                <c:pt idx="302">
                  <c:v>12509</c:v>
                </c:pt>
                <c:pt idx="303">
                  <c:v>12539</c:v>
                </c:pt>
                <c:pt idx="304">
                  <c:v>12570</c:v>
                </c:pt>
                <c:pt idx="305">
                  <c:v>12600</c:v>
                </c:pt>
                <c:pt idx="306">
                  <c:v>12631</c:v>
                </c:pt>
                <c:pt idx="307">
                  <c:v>12662</c:v>
                </c:pt>
                <c:pt idx="308">
                  <c:v>12692</c:v>
                </c:pt>
                <c:pt idx="309">
                  <c:v>12723</c:v>
                </c:pt>
                <c:pt idx="310">
                  <c:v>12753</c:v>
                </c:pt>
                <c:pt idx="311">
                  <c:v>12784</c:v>
                </c:pt>
                <c:pt idx="312">
                  <c:v>12815</c:v>
                </c:pt>
                <c:pt idx="313">
                  <c:v>12843</c:v>
                </c:pt>
                <c:pt idx="314">
                  <c:v>12874</c:v>
                </c:pt>
                <c:pt idx="315">
                  <c:v>12904</c:v>
                </c:pt>
                <c:pt idx="316">
                  <c:v>12935</c:v>
                </c:pt>
                <c:pt idx="317">
                  <c:v>12965</c:v>
                </c:pt>
                <c:pt idx="318">
                  <c:v>12996</c:v>
                </c:pt>
                <c:pt idx="319">
                  <c:v>13027</c:v>
                </c:pt>
                <c:pt idx="320">
                  <c:v>13057</c:v>
                </c:pt>
                <c:pt idx="321">
                  <c:v>13088</c:v>
                </c:pt>
                <c:pt idx="322">
                  <c:v>13118</c:v>
                </c:pt>
                <c:pt idx="323">
                  <c:v>13149</c:v>
                </c:pt>
                <c:pt idx="324">
                  <c:v>13180</c:v>
                </c:pt>
                <c:pt idx="325">
                  <c:v>13209</c:v>
                </c:pt>
                <c:pt idx="326">
                  <c:v>13240</c:v>
                </c:pt>
                <c:pt idx="327">
                  <c:v>13270</c:v>
                </c:pt>
                <c:pt idx="328">
                  <c:v>13301</c:v>
                </c:pt>
                <c:pt idx="329">
                  <c:v>13331</c:v>
                </c:pt>
                <c:pt idx="330">
                  <c:v>13362</c:v>
                </c:pt>
                <c:pt idx="331">
                  <c:v>13393</c:v>
                </c:pt>
                <c:pt idx="332">
                  <c:v>13423</c:v>
                </c:pt>
                <c:pt idx="333">
                  <c:v>13454</c:v>
                </c:pt>
                <c:pt idx="334">
                  <c:v>13484</c:v>
                </c:pt>
                <c:pt idx="335">
                  <c:v>13515</c:v>
                </c:pt>
                <c:pt idx="336">
                  <c:v>13546</c:v>
                </c:pt>
                <c:pt idx="337">
                  <c:v>13574</c:v>
                </c:pt>
                <c:pt idx="338">
                  <c:v>13605</c:v>
                </c:pt>
                <c:pt idx="339">
                  <c:v>13635</c:v>
                </c:pt>
                <c:pt idx="340">
                  <c:v>13666</c:v>
                </c:pt>
                <c:pt idx="341">
                  <c:v>13696</c:v>
                </c:pt>
                <c:pt idx="342">
                  <c:v>13727</c:v>
                </c:pt>
                <c:pt idx="343">
                  <c:v>13758</c:v>
                </c:pt>
                <c:pt idx="344">
                  <c:v>13788</c:v>
                </c:pt>
                <c:pt idx="345">
                  <c:v>13819</c:v>
                </c:pt>
                <c:pt idx="346">
                  <c:v>13849</c:v>
                </c:pt>
                <c:pt idx="347">
                  <c:v>13880</c:v>
                </c:pt>
                <c:pt idx="348">
                  <c:v>13911</c:v>
                </c:pt>
                <c:pt idx="349">
                  <c:v>13939</c:v>
                </c:pt>
                <c:pt idx="350">
                  <c:v>13970</c:v>
                </c:pt>
                <c:pt idx="351">
                  <c:v>14000</c:v>
                </c:pt>
                <c:pt idx="352">
                  <c:v>14031</c:v>
                </c:pt>
                <c:pt idx="353">
                  <c:v>14061</c:v>
                </c:pt>
                <c:pt idx="354">
                  <c:v>14092</c:v>
                </c:pt>
                <c:pt idx="355">
                  <c:v>14123</c:v>
                </c:pt>
                <c:pt idx="356">
                  <c:v>14153</c:v>
                </c:pt>
                <c:pt idx="357">
                  <c:v>14184</c:v>
                </c:pt>
                <c:pt idx="358">
                  <c:v>14214</c:v>
                </c:pt>
                <c:pt idx="359">
                  <c:v>14245</c:v>
                </c:pt>
                <c:pt idx="360">
                  <c:v>14276</c:v>
                </c:pt>
                <c:pt idx="361">
                  <c:v>14304</c:v>
                </c:pt>
                <c:pt idx="362">
                  <c:v>14335</c:v>
                </c:pt>
                <c:pt idx="363">
                  <c:v>14365</c:v>
                </c:pt>
                <c:pt idx="364">
                  <c:v>14396</c:v>
                </c:pt>
                <c:pt idx="365">
                  <c:v>14426</c:v>
                </c:pt>
                <c:pt idx="366">
                  <c:v>14457</c:v>
                </c:pt>
                <c:pt idx="367">
                  <c:v>14488</c:v>
                </c:pt>
                <c:pt idx="368">
                  <c:v>14518</c:v>
                </c:pt>
                <c:pt idx="369">
                  <c:v>14549</c:v>
                </c:pt>
                <c:pt idx="370">
                  <c:v>14579</c:v>
                </c:pt>
                <c:pt idx="371">
                  <c:v>14610</c:v>
                </c:pt>
                <c:pt idx="372">
                  <c:v>14641</c:v>
                </c:pt>
                <c:pt idx="373">
                  <c:v>14670</c:v>
                </c:pt>
                <c:pt idx="374">
                  <c:v>14701</c:v>
                </c:pt>
                <c:pt idx="375">
                  <c:v>14731</c:v>
                </c:pt>
                <c:pt idx="376">
                  <c:v>14762</c:v>
                </c:pt>
                <c:pt idx="377">
                  <c:v>14792</c:v>
                </c:pt>
                <c:pt idx="378">
                  <c:v>14823</c:v>
                </c:pt>
                <c:pt idx="379">
                  <c:v>14854</c:v>
                </c:pt>
                <c:pt idx="380">
                  <c:v>14884</c:v>
                </c:pt>
                <c:pt idx="381">
                  <c:v>14915</c:v>
                </c:pt>
                <c:pt idx="382">
                  <c:v>14945</c:v>
                </c:pt>
                <c:pt idx="383">
                  <c:v>14976</c:v>
                </c:pt>
                <c:pt idx="384">
                  <c:v>15007</c:v>
                </c:pt>
                <c:pt idx="385">
                  <c:v>15035</c:v>
                </c:pt>
                <c:pt idx="386">
                  <c:v>15066</c:v>
                </c:pt>
                <c:pt idx="387">
                  <c:v>15096</c:v>
                </c:pt>
                <c:pt idx="388">
                  <c:v>15127</c:v>
                </c:pt>
                <c:pt idx="389">
                  <c:v>15157</c:v>
                </c:pt>
                <c:pt idx="390">
                  <c:v>15188</c:v>
                </c:pt>
                <c:pt idx="391">
                  <c:v>15219</c:v>
                </c:pt>
                <c:pt idx="392">
                  <c:v>15249</c:v>
                </c:pt>
                <c:pt idx="393">
                  <c:v>15280</c:v>
                </c:pt>
                <c:pt idx="394">
                  <c:v>15310</c:v>
                </c:pt>
                <c:pt idx="395">
                  <c:v>15341</c:v>
                </c:pt>
                <c:pt idx="396">
                  <c:v>15372</c:v>
                </c:pt>
                <c:pt idx="397">
                  <c:v>15400</c:v>
                </c:pt>
                <c:pt idx="398">
                  <c:v>15431</c:v>
                </c:pt>
                <c:pt idx="399">
                  <c:v>15461</c:v>
                </c:pt>
                <c:pt idx="400">
                  <c:v>15492</c:v>
                </c:pt>
                <c:pt idx="401">
                  <c:v>15522</c:v>
                </c:pt>
                <c:pt idx="402">
                  <c:v>15553</c:v>
                </c:pt>
                <c:pt idx="403">
                  <c:v>15584</c:v>
                </c:pt>
                <c:pt idx="404">
                  <c:v>15614</c:v>
                </c:pt>
                <c:pt idx="405">
                  <c:v>15645</c:v>
                </c:pt>
                <c:pt idx="406">
                  <c:v>15675</c:v>
                </c:pt>
                <c:pt idx="407">
                  <c:v>15706</c:v>
                </c:pt>
                <c:pt idx="408">
                  <c:v>15737</c:v>
                </c:pt>
                <c:pt idx="409">
                  <c:v>15765</c:v>
                </c:pt>
                <c:pt idx="410">
                  <c:v>15796</c:v>
                </c:pt>
                <c:pt idx="411">
                  <c:v>15826</c:v>
                </c:pt>
                <c:pt idx="412">
                  <c:v>15857</c:v>
                </c:pt>
                <c:pt idx="413">
                  <c:v>15887</c:v>
                </c:pt>
                <c:pt idx="414">
                  <c:v>15918</c:v>
                </c:pt>
                <c:pt idx="415">
                  <c:v>15949</c:v>
                </c:pt>
                <c:pt idx="416">
                  <c:v>15979</c:v>
                </c:pt>
                <c:pt idx="417">
                  <c:v>16010</c:v>
                </c:pt>
                <c:pt idx="418">
                  <c:v>16040</c:v>
                </c:pt>
                <c:pt idx="419">
                  <c:v>16071</c:v>
                </c:pt>
                <c:pt idx="420">
                  <c:v>16102</c:v>
                </c:pt>
                <c:pt idx="421">
                  <c:v>16131</c:v>
                </c:pt>
                <c:pt idx="422">
                  <c:v>16162</c:v>
                </c:pt>
                <c:pt idx="423">
                  <c:v>16192</c:v>
                </c:pt>
                <c:pt idx="424">
                  <c:v>16223</c:v>
                </c:pt>
                <c:pt idx="425">
                  <c:v>16253</c:v>
                </c:pt>
                <c:pt idx="426">
                  <c:v>16284</c:v>
                </c:pt>
                <c:pt idx="427">
                  <c:v>16315</c:v>
                </c:pt>
                <c:pt idx="428">
                  <c:v>16345</c:v>
                </c:pt>
                <c:pt idx="429">
                  <c:v>16376</c:v>
                </c:pt>
                <c:pt idx="430">
                  <c:v>16406</c:v>
                </c:pt>
                <c:pt idx="431">
                  <c:v>16437</c:v>
                </c:pt>
                <c:pt idx="432">
                  <c:v>16468</c:v>
                </c:pt>
                <c:pt idx="433">
                  <c:v>16496</c:v>
                </c:pt>
                <c:pt idx="434">
                  <c:v>16527</c:v>
                </c:pt>
                <c:pt idx="435">
                  <c:v>16557</c:v>
                </c:pt>
                <c:pt idx="436">
                  <c:v>16588</c:v>
                </c:pt>
                <c:pt idx="437">
                  <c:v>16618</c:v>
                </c:pt>
                <c:pt idx="438">
                  <c:v>16649</c:v>
                </c:pt>
                <c:pt idx="439">
                  <c:v>16680</c:v>
                </c:pt>
                <c:pt idx="440">
                  <c:v>16710</c:v>
                </c:pt>
                <c:pt idx="441">
                  <c:v>16741</c:v>
                </c:pt>
                <c:pt idx="442">
                  <c:v>16771</c:v>
                </c:pt>
                <c:pt idx="443">
                  <c:v>16802</c:v>
                </c:pt>
                <c:pt idx="444">
                  <c:v>16833</c:v>
                </c:pt>
                <c:pt idx="445">
                  <c:v>16861</c:v>
                </c:pt>
                <c:pt idx="446">
                  <c:v>16892</c:v>
                </c:pt>
                <c:pt idx="447">
                  <c:v>16922</c:v>
                </c:pt>
                <c:pt idx="448">
                  <c:v>16953</c:v>
                </c:pt>
                <c:pt idx="449">
                  <c:v>16983</c:v>
                </c:pt>
                <c:pt idx="450">
                  <c:v>17014</c:v>
                </c:pt>
                <c:pt idx="451">
                  <c:v>17045</c:v>
                </c:pt>
                <c:pt idx="452">
                  <c:v>17075</c:v>
                </c:pt>
                <c:pt idx="453">
                  <c:v>17106</c:v>
                </c:pt>
                <c:pt idx="454">
                  <c:v>17136</c:v>
                </c:pt>
                <c:pt idx="455">
                  <c:v>17167</c:v>
                </c:pt>
                <c:pt idx="456">
                  <c:v>17198</c:v>
                </c:pt>
                <c:pt idx="457">
                  <c:v>17226</c:v>
                </c:pt>
                <c:pt idx="458">
                  <c:v>17257</c:v>
                </c:pt>
                <c:pt idx="459">
                  <c:v>17287</c:v>
                </c:pt>
                <c:pt idx="460">
                  <c:v>17318</c:v>
                </c:pt>
                <c:pt idx="461">
                  <c:v>17348</c:v>
                </c:pt>
                <c:pt idx="462">
                  <c:v>17379</c:v>
                </c:pt>
                <c:pt idx="463">
                  <c:v>17410</c:v>
                </c:pt>
                <c:pt idx="464">
                  <c:v>17440</c:v>
                </c:pt>
                <c:pt idx="465">
                  <c:v>17471</c:v>
                </c:pt>
                <c:pt idx="466">
                  <c:v>17501</c:v>
                </c:pt>
                <c:pt idx="467">
                  <c:v>17532</c:v>
                </c:pt>
                <c:pt idx="468">
                  <c:v>17563</c:v>
                </c:pt>
                <c:pt idx="469">
                  <c:v>17592</c:v>
                </c:pt>
                <c:pt idx="470">
                  <c:v>17623</c:v>
                </c:pt>
                <c:pt idx="471">
                  <c:v>17653</c:v>
                </c:pt>
                <c:pt idx="472">
                  <c:v>17684</c:v>
                </c:pt>
                <c:pt idx="473">
                  <c:v>17714</c:v>
                </c:pt>
                <c:pt idx="474">
                  <c:v>17745</c:v>
                </c:pt>
                <c:pt idx="475">
                  <c:v>17776</c:v>
                </c:pt>
                <c:pt idx="476">
                  <c:v>17806</c:v>
                </c:pt>
                <c:pt idx="477">
                  <c:v>17837</c:v>
                </c:pt>
                <c:pt idx="478">
                  <c:v>17867</c:v>
                </c:pt>
                <c:pt idx="479">
                  <c:v>17898</c:v>
                </c:pt>
                <c:pt idx="480">
                  <c:v>17929</c:v>
                </c:pt>
                <c:pt idx="481">
                  <c:v>17957</c:v>
                </c:pt>
                <c:pt idx="482">
                  <c:v>17988</c:v>
                </c:pt>
                <c:pt idx="483">
                  <c:v>18018</c:v>
                </c:pt>
                <c:pt idx="484">
                  <c:v>18049</c:v>
                </c:pt>
                <c:pt idx="485">
                  <c:v>18079</c:v>
                </c:pt>
                <c:pt idx="486">
                  <c:v>18110</c:v>
                </c:pt>
                <c:pt idx="487">
                  <c:v>18141</c:v>
                </c:pt>
                <c:pt idx="488">
                  <c:v>18171</c:v>
                </c:pt>
                <c:pt idx="489">
                  <c:v>18202</c:v>
                </c:pt>
                <c:pt idx="490">
                  <c:v>18232</c:v>
                </c:pt>
                <c:pt idx="491">
                  <c:v>18263</c:v>
                </c:pt>
                <c:pt idx="492">
                  <c:v>18294</c:v>
                </c:pt>
                <c:pt idx="493">
                  <c:v>18322</c:v>
                </c:pt>
                <c:pt idx="494">
                  <c:v>18353</c:v>
                </c:pt>
                <c:pt idx="495">
                  <c:v>18383</c:v>
                </c:pt>
                <c:pt idx="496">
                  <c:v>18414</c:v>
                </c:pt>
                <c:pt idx="497">
                  <c:v>18444</c:v>
                </c:pt>
                <c:pt idx="498">
                  <c:v>18475</c:v>
                </c:pt>
                <c:pt idx="499">
                  <c:v>18506</c:v>
                </c:pt>
                <c:pt idx="500">
                  <c:v>18536</c:v>
                </c:pt>
                <c:pt idx="501">
                  <c:v>18567</c:v>
                </c:pt>
                <c:pt idx="502">
                  <c:v>18597</c:v>
                </c:pt>
                <c:pt idx="503">
                  <c:v>18628</c:v>
                </c:pt>
                <c:pt idx="504">
                  <c:v>18659</c:v>
                </c:pt>
                <c:pt idx="505">
                  <c:v>18687</c:v>
                </c:pt>
                <c:pt idx="506">
                  <c:v>18718</c:v>
                </c:pt>
                <c:pt idx="507">
                  <c:v>18748</c:v>
                </c:pt>
                <c:pt idx="508">
                  <c:v>18779</c:v>
                </c:pt>
                <c:pt idx="509">
                  <c:v>18809</c:v>
                </c:pt>
                <c:pt idx="510">
                  <c:v>18840</c:v>
                </c:pt>
                <c:pt idx="511">
                  <c:v>18871</c:v>
                </c:pt>
                <c:pt idx="512">
                  <c:v>18901</c:v>
                </c:pt>
                <c:pt idx="513">
                  <c:v>18932</c:v>
                </c:pt>
                <c:pt idx="514">
                  <c:v>18962</c:v>
                </c:pt>
                <c:pt idx="515">
                  <c:v>18993</c:v>
                </c:pt>
                <c:pt idx="516">
                  <c:v>19024</c:v>
                </c:pt>
                <c:pt idx="517">
                  <c:v>19053</c:v>
                </c:pt>
                <c:pt idx="518">
                  <c:v>19084</c:v>
                </c:pt>
                <c:pt idx="519">
                  <c:v>19114</c:v>
                </c:pt>
                <c:pt idx="520">
                  <c:v>19145</c:v>
                </c:pt>
                <c:pt idx="521">
                  <c:v>19175</c:v>
                </c:pt>
                <c:pt idx="522">
                  <c:v>19206</c:v>
                </c:pt>
                <c:pt idx="523">
                  <c:v>19237</c:v>
                </c:pt>
                <c:pt idx="524">
                  <c:v>19267</c:v>
                </c:pt>
                <c:pt idx="525">
                  <c:v>19298</c:v>
                </c:pt>
                <c:pt idx="526">
                  <c:v>19328</c:v>
                </c:pt>
                <c:pt idx="527">
                  <c:v>19359</c:v>
                </c:pt>
                <c:pt idx="528">
                  <c:v>19390</c:v>
                </c:pt>
                <c:pt idx="529">
                  <c:v>19418</c:v>
                </c:pt>
                <c:pt idx="530">
                  <c:v>19449</c:v>
                </c:pt>
                <c:pt idx="531">
                  <c:v>19479</c:v>
                </c:pt>
                <c:pt idx="532">
                  <c:v>19510</c:v>
                </c:pt>
                <c:pt idx="533">
                  <c:v>19540</c:v>
                </c:pt>
                <c:pt idx="534">
                  <c:v>19571</c:v>
                </c:pt>
                <c:pt idx="535">
                  <c:v>19602</c:v>
                </c:pt>
                <c:pt idx="536">
                  <c:v>19632</c:v>
                </c:pt>
                <c:pt idx="537">
                  <c:v>19663</c:v>
                </c:pt>
                <c:pt idx="538">
                  <c:v>19693</c:v>
                </c:pt>
                <c:pt idx="539">
                  <c:v>19724</c:v>
                </c:pt>
                <c:pt idx="540">
                  <c:v>19755</c:v>
                </c:pt>
                <c:pt idx="541">
                  <c:v>19783</c:v>
                </c:pt>
                <c:pt idx="542">
                  <c:v>19814</c:v>
                </c:pt>
                <c:pt idx="543">
                  <c:v>19844</c:v>
                </c:pt>
                <c:pt idx="544">
                  <c:v>19875</c:v>
                </c:pt>
                <c:pt idx="545">
                  <c:v>19905</c:v>
                </c:pt>
                <c:pt idx="546">
                  <c:v>19936</c:v>
                </c:pt>
                <c:pt idx="547">
                  <c:v>19967</c:v>
                </c:pt>
                <c:pt idx="548">
                  <c:v>19997</c:v>
                </c:pt>
                <c:pt idx="549">
                  <c:v>20028</c:v>
                </c:pt>
                <c:pt idx="550">
                  <c:v>20058</c:v>
                </c:pt>
                <c:pt idx="551">
                  <c:v>20089</c:v>
                </c:pt>
                <c:pt idx="552">
                  <c:v>20120</c:v>
                </c:pt>
                <c:pt idx="553">
                  <c:v>20148</c:v>
                </c:pt>
                <c:pt idx="554">
                  <c:v>20179</c:v>
                </c:pt>
                <c:pt idx="555">
                  <c:v>20209</c:v>
                </c:pt>
                <c:pt idx="556">
                  <c:v>20240</c:v>
                </c:pt>
                <c:pt idx="557">
                  <c:v>20270</c:v>
                </c:pt>
                <c:pt idx="558">
                  <c:v>20301</c:v>
                </c:pt>
                <c:pt idx="559">
                  <c:v>20332</c:v>
                </c:pt>
                <c:pt idx="560">
                  <c:v>20362</c:v>
                </c:pt>
                <c:pt idx="561">
                  <c:v>20393</c:v>
                </c:pt>
                <c:pt idx="562">
                  <c:v>20423</c:v>
                </c:pt>
                <c:pt idx="563">
                  <c:v>20454</c:v>
                </c:pt>
                <c:pt idx="564">
                  <c:v>20485</c:v>
                </c:pt>
                <c:pt idx="565">
                  <c:v>20514</c:v>
                </c:pt>
                <c:pt idx="566">
                  <c:v>20545</c:v>
                </c:pt>
                <c:pt idx="567">
                  <c:v>20575</c:v>
                </c:pt>
                <c:pt idx="568">
                  <c:v>20606</c:v>
                </c:pt>
                <c:pt idx="569">
                  <c:v>20636</c:v>
                </c:pt>
                <c:pt idx="570">
                  <c:v>20667</c:v>
                </c:pt>
                <c:pt idx="571">
                  <c:v>20698</c:v>
                </c:pt>
                <c:pt idx="572">
                  <c:v>20728</c:v>
                </c:pt>
                <c:pt idx="573">
                  <c:v>20759</c:v>
                </c:pt>
                <c:pt idx="574">
                  <c:v>20789</c:v>
                </c:pt>
                <c:pt idx="575">
                  <c:v>20820</c:v>
                </c:pt>
                <c:pt idx="576">
                  <c:v>20851</c:v>
                </c:pt>
                <c:pt idx="577">
                  <c:v>20879</c:v>
                </c:pt>
                <c:pt idx="578">
                  <c:v>20910</c:v>
                </c:pt>
                <c:pt idx="579">
                  <c:v>20940</c:v>
                </c:pt>
                <c:pt idx="580">
                  <c:v>20971</c:v>
                </c:pt>
                <c:pt idx="581">
                  <c:v>21001</c:v>
                </c:pt>
                <c:pt idx="582">
                  <c:v>21032</c:v>
                </c:pt>
                <c:pt idx="583">
                  <c:v>21063</c:v>
                </c:pt>
                <c:pt idx="584">
                  <c:v>21093</c:v>
                </c:pt>
                <c:pt idx="585">
                  <c:v>21124</c:v>
                </c:pt>
                <c:pt idx="586">
                  <c:v>21154</c:v>
                </c:pt>
                <c:pt idx="587">
                  <c:v>21185</c:v>
                </c:pt>
                <c:pt idx="588">
                  <c:v>21216</c:v>
                </c:pt>
                <c:pt idx="589">
                  <c:v>21244</c:v>
                </c:pt>
                <c:pt idx="590">
                  <c:v>21275</c:v>
                </c:pt>
                <c:pt idx="591">
                  <c:v>21305</c:v>
                </c:pt>
                <c:pt idx="592">
                  <c:v>21336</c:v>
                </c:pt>
                <c:pt idx="593">
                  <c:v>21366</c:v>
                </c:pt>
                <c:pt idx="594">
                  <c:v>21397</c:v>
                </c:pt>
                <c:pt idx="595">
                  <c:v>21428</c:v>
                </c:pt>
                <c:pt idx="596">
                  <c:v>21458</c:v>
                </c:pt>
                <c:pt idx="597">
                  <c:v>21489</c:v>
                </c:pt>
                <c:pt idx="598">
                  <c:v>21519</c:v>
                </c:pt>
                <c:pt idx="599">
                  <c:v>21550</c:v>
                </c:pt>
                <c:pt idx="600">
                  <c:v>21581</c:v>
                </c:pt>
                <c:pt idx="601">
                  <c:v>21609</c:v>
                </c:pt>
                <c:pt idx="602">
                  <c:v>21640</c:v>
                </c:pt>
                <c:pt idx="603">
                  <c:v>21670</c:v>
                </c:pt>
                <c:pt idx="604">
                  <c:v>21701</c:v>
                </c:pt>
                <c:pt idx="605">
                  <c:v>21731</c:v>
                </c:pt>
                <c:pt idx="606">
                  <c:v>21762</c:v>
                </c:pt>
                <c:pt idx="607">
                  <c:v>21793</c:v>
                </c:pt>
                <c:pt idx="608">
                  <c:v>21823</c:v>
                </c:pt>
                <c:pt idx="609">
                  <c:v>21854</c:v>
                </c:pt>
                <c:pt idx="610">
                  <c:v>21884</c:v>
                </c:pt>
                <c:pt idx="611">
                  <c:v>21915</c:v>
                </c:pt>
                <c:pt idx="612">
                  <c:v>21946</c:v>
                </c:pt>
                <c:pt idx="613">
                  <c:v>21975</c:v>
                </c:pt>
                <c:pt idx="614">
                  <c:v>22006</c:v>
                </c:pt>
                <c:pt idx="615">
                  <c:v>22036</c:v>
                </c:pt>
                <c:pt idx="616">
                  <c:v>22067</c:v>
                </c:pt>
                <c:pt idx="617">
                  <c:v>22097</c:v>
                </c:pt>
                <c:pt idx="618">
                  <c:v>22128</c:v>
                </c:pt>
                <c:pt idx="619">
                  <c:v>22159</c:v>
                </c:pt>
                <c:pt idx="620">
                  <c:v>22189</c:v>
                </c:pt>
                <c:pt idx="621">
                  <c:v>22220</c:v>
                </c:pt>
                <c:pt idx="622">
                  <c:v>22250</c:v>
                </c:pt>
                <c:pt idx="623">
                  <c:v>22281</c:v>
                </c:pt>
                <c:pt idx="624">
                  <c:v>22312</c:v>
                </c:pt>
                <c:pt idx="625">
                  <c:v>22340</c:v>
                </c:pt>
                <c:pt idx="626">
                  <c:v>22371</c:v>
                </c:pt>
                <c:pt idx="627">
                  <c:v>22401</c:v>
                </c:pt>
                <c:pt idx="628">
                  <c:v>22432</c:v>
                </c:pt>
                <c:pt idx="629">
                  <c:v>22462</c:v>
                </c:pt>
                <c:pt idx="630">
                  <c:v>22493</c:v>
                </c:pt>
                <c:pt idx="631">
                  <c:v>22524</c:v>
                </c:pt>
                <c:pt idx="632">
                  <c:v>22554</c:v>
                </c:pt>
                <c:pt idx="633">
                  <c:v>22585</c:v>
                </c:pt>
                <c:pt idx="634">
                  <c:v>22615</c:v>
                </c:pt>
                <c:pt idx="635">
                  <c:v>22646</c:v>
                </c:pt>
                <c:pt idx="636">
                  <c:v>22677</c:v>
                </c:pt>
                <c:pt idx="637">
                  <c:v>22705</c:v>
                </c:pt>
                <c:pt idx="638">
                  <c:v>22736</c:v>
                </c:pt>
                <c:pt idx="639">
                  <c:v>22766</c:v>
                </c:pt>
                <c:pt idx="640">
                  <c:v>22797</c:v>
                </c:pt>
                <c:pt idx="641">
                  <c:v>22827</c:v>
                </c:pt>
                <c:pt idx="642">
                  <c:v>22858</c:v>
                </c:pt>
                <c:pt idx="643">
                  <c:v>22889</c:v>
                </c:pt>
                <c:pt idx="644">
                  <c:v>22919</c:v>
                </c:pt>
                <c:pt idx="645">
                  <c:v>22950</c:v>
                </c:pt>
                <c:pt idx="646">
                  <c:v>22980</c:v>
                </c:pt>
                <c:pt idx="647">
                  <c:v>23011</c:v>
                </c:pt>
                <c:pt idx="648">
                  <c:v>23042</c:v>
                </c:pt>
                <c:pt idx="649">
                  <c:v>23070</c:v>
                </c:pt>
                <c:pt idx="650">
                  <c:v>23101</c:v>
                </c:pt>
                <c:pt idx="651">
                  <c:v>23131</c:v>
                </c:pt>
                <c:pt idx="652">
                  <c:v>23162</c:v>
                </c:pt>
                <c:pt idx="653">
                  <c:v>23192</c:v>
                </c:pt>
                <c:pt idx="654">
                  <c:v>23223</c:v>
                </c:pt>
                <c:pt idx="655">
                  <c:v>23254</c:v>
                </c:pt>
                <c:pt idx="656">
                  <c:v>23284</c:v>
                </c:pt>
                <c:pt idx="657">
                  <c:v>23315</c:v>
                </c:pt>
                <c:pt idx="658">
                  <c:v>23345</c:v>
                </c:pt>
                <c:pt idx="659">
                  <c:v>23376</c:v>
                </c:pt>
                <c:pt idx="660">
                  <c:v>23407</c:v>
                </c:pt>
                <c:pt idx="661">
                  <c:v>23436</c:v>
                </c:pt>
                <c:pt idx="662">
                  <c:v>23467</c:v>
                </c:pt>
                <c:pt idx="663">
                  <c:v>23497</c:v>
                </c:pt>
                <c:pt idx="664">
                  <c:v>23528</c:v>
                </c:pt>
                <c:pt idx="665">
                  <c:v>23558</c:v>
                </c:pt>
                <c:pt idx="666">
                  <c:v>23589</c:v>
                </c:pt>
                <c:pt idx="667">
                  <c:v>23620</c:v>
                </c:pt>
                <c:pt idx="668">
                  <c:v>23650</c:v>
                </c:pt>
                <c:pt idx="669">
                  <c:v>23681</c:v>
                </c:pt>
                <c:pt idx="670">
                  <c:v>23711</c:v>
                </c:pt>
                <c:pt idx="671">
                  <c:v>23742</c:v>
                </c:pt>
                <c:pt idx="672">
                  <c:v>23773</c:v>
                </c:pt>
                <c:pt idx="673">
                  <c:v>23801</c:v>
                </c:pt>
                <c:pt idx="674">
                  <c:v>23832</c:v>
                </c:pt>
                <c:pt idx="675">
                  <c:v>23862</c:v>
                </c:pt>
                <c:pt idx="676">
                  <c:v>23893</c:v>
                </c:pt>
                <c:pt idx="677">
                  <c:v>23923</c:v>
                </c:pt>
                <c:pt idx="678">
                  <c:v>23954</c:v>
                </c:pt>
                <c:pt idx="679">
                  <c:v>23985</c:v>
                </c:pt>
                <c:pt idx="680">
                  <c:v>24015</c:v>
                </c:pt>
                <c:pt idx="681">
                  <c:v>24046</c:v>
                </c:pt>
                <c:pt idx="682">
                  <c:v>24076</c:v>
                </c:pt>
                <c:pt idx="683">
                  <c:v>24107</c:v>
                </c:pt>
                <c:pt idx="684">
                  <c:v>24138</c:v>
                </c:pt>
                <c:pt idx="685">
                  <c:v>24166</c:v>
                </c:pt>
                <c:pt idx="686">
                  <c:v>24197</c:v>
                </c:pt>
                <c:pt idx="687">
                  <c:v>24227</c:v>
                </c:pt>
                <c:pt idx="688">
                  <c:v>24258</c:v>
                </c:pt>
                <c:pt idx="689">
                  <c:v>24288</c:v>
                </c:pt>
                <c:pt idx="690">
                  <c:v>24319</c:v>
                </c:pt>
                <c:pt idx="691">
                  <c:v>24350</c:v>
                </c:pt>
                <c:pt idx="692">
                  <c:v>24380</c:v>
                </c:pt>
                <c:pt idx="693">
                  <c:v>24411</c:v>
                </c:pt>
                <c:pt idx="694">
                  <c:v>24441</c:v>
                </c:pt>
                <c:pt idx="695">
                  <c:v>24472</c:v>
                </c:pt>
                <c:pt idx="696">
                  <c:v>24503</c:v>
                </c:pt>
                <c:pt idx="697">
                  <c:v>24531</c:v>
                </c:pt>
                <c:pt idx="698">
                  <c:v>24562</c:v>
                </c:pt>
                <c:pt idx="699">
                  <c:v>24592</c:v>
                </c:pt>
                <c:pt idx="700">
                  <c:v>24623</c:v>
                </c:pt>
                <c:pt idx="701">
                  <c:v>24653</c:v>
                </c:pt>
                <c:pt idx="702">
                  <c:v>24684</c:v>
                </c:pt>
                <c:pt idx="703">
                  <c:v>24715</c:v>
                </c:pt>
                <c:pt idx="704">
                  <c:v>24745</c:v>
                </c:pt>
                <c:pt idx="705">
                  <c:v>24776</c:v>
                </c:pt>
                <c:pt idx="706">
                  <c:v>24806</c:v>
                </c:pt>
                <c:pt idx="707">
                  <c:v>24837</c:v>
                </c:pt>
                <c:pt idx="708">
                  <c:v>24868</c:v>
                </c:pt>
                <c:pt idx="709">
                  <c:v>24897</c:v>
                </c:pt>
                <c:pt idx="710">
                  <c:v>24928</c:v>
                </c:pt>
                <c:pt idx="711">
                  <c:v>24958</c:v>
                </c:pt>
                <c:pt idx="712">
                  <c:v>24989</c:v>
                </c:pt>
                <c:pt idx="713">
                  <c:v>25019</c:v>
                </c:pt>
                <c:pt idx="714">
                  <c:v>25050</c:v>
                </c:pt>
                <c:pt idx="715">
                  <c:v>25081</c:v>
                </c:pt>
                <c:pt idx="716">
                  <c:v>25111</c:v>
                </c:pt>
                <c:pt idx="717">
                  <c:v>25142</c:v>
                </c:pt>
                <c:pt idx="718">
                  <c:v>25172</c:v>
                </c:pt>
                <c:pt idx="719">
                  <c:v>25203</c:v>
                </c:pt>
                <c:pt idx="720">
                  <c:v>25234</c:v>
                </c:pt>
                <c:pt idx="721">
                  <c:v>25262</c:v>
                </c:pt>
                <c:pt idx="722">
                  <c:v>25293</c:v>
                </c:pt>
                <c:pt idx="723">
                  <c:v>25323</c:v>
                </c:pt>
                <c:pt idx="724">
                  <c:v>25354</c:v>
                </c:pt>
                <c:pt idx="725">
                  <c:v>25384</c:v>
                </c:pt>
                <c:pt idx="726">
                  <c:v>25415</c:v>
                </c:pt>
                <c:pt idx="727">
                  <c:v>25446</c:v>
                </c:pt>
                <c:pt idx="728">
                  <c:v>25476</c:v>
                </c:pt>
                <c:pt idx="729">
                  <c:v>25507</c:v>
                </c:pt>
                <c:pt idx="730">
                  <c:v>25537</c:v>
                </c:pt>
                <c:pt idx="731">
                  <c:v>25568</c:v>
                </c:pt>
                <c:pt idx="732">
                  <c:v>25599</c:v>
                </c:pt>
                <c:pt idx="733">
                  <c:v>25627</c:v>
                </c:pt>
                <c:pt idx="734">
                  <c:v>25658</c:v>
                </c:pt>
                <c:pt idx="735">
                  <c:v>25688</c:v>
                </c:pt>
                <c:pt idx="736">
                  <c:v>25719</c:v>
                </c:pt>
                <c:pt idx="737">
                  <c:v>25749</c:v>
                </c:pt>
                <c:pt idx="738">
                  <c:v>25780</c:v>
                </c:pt>
                <c:pt idx="739">
                  <c:v>25811</c:v>
                </c:pt>
                <c:pt idx="740">
                  <c:v>25841</c:v>
                </c:pt>
                <c:pt idx="741">
                  <c:v>25872</c:v>
                </c:pt>
                <c:pt idx="742">
                  <c:v>25902</c:v>
                </c:pt>
                <c:pt idx="743">
                  <c:v>25933</c:v>
                </c:pt>
                <c:pt idx="744">
                  <c:v>25964</c:v>
                </c:pt>
                <c:pt idx="745">
                  <c:v>25992</c:v>
                </c:pt>
                <c:pt idx="746">
                  <c:v>26023</c:v>
                </c:pt>
                <c:pt idx="747">
                  <c:v>26053</c:v>
                </c:pt>
                <c:pt idx="748">
                  <c:v>26084</c:v>
                </c:pt>
                <c:pt idx="749">
                  <c:v>26114</c:v>
                </c:pt>
                <c:pt idx="750">
                  <c:v>26145</c:v>
                </c:pt>
                <c:pt idx="751">
                  <c:v>26176</c:v>
                </c:pt>
                <c:pt idx="752">
                  <c:v>26206</c:v>
                </c:pt>
                <c:pt idx="753">
                  <c:v>26237</c:v>
                </c:pt>
                <c:pt idx="754">
                  <c:v>26267</c:v>
                </c:pt>
                <c:pt idx="755">
                  <c:v>26298</c:v>
                </c:pt>
                <c:pt idx="756">
                  <c:v>26329</c:v>
                </c:pt>
                <c:pt idx="757">
                  <c:v>26358</c:v>
                </c:pt>
                <c:pt idx="758">
                  <c:v>26389</c:v>
                </c:pt>
                <c:pt idx="759">
                  <c:v>26419</c:v>
                </c:pt>
                <c:pt idx="760">
                  <c:v>26450</c:v>
                </c:pt>
                <c:pt idx="761">
                  <c:v>26480</c:v>
                </c:pt>
                <c:pt idx="762">
                  <c:v>26511</c:v>
                </c:pt>
                <c:pt idx="763">
                  <c:v>26542</c:v>
                </c:pt>
                <c:pt idx="764">
                  <c:v>26572</c:v>
                </c:pt>
                <c:pt idx="765">
                  <c:v>26603</c:v>
                </c:pt>
                <c:pt idx="766">
                  <c:v>26633</c:v>
                </c:pt>
                <c:pt idx="767">
                  <c:v>26664</c:v>
                </c:pt>
                <c:pt idx="768">
                  <c:v>26695</c:v>
                </c:pt>
                <c:pt idx="769">
                  <c:v>26723</c:v>
                </c:pt>
                <c:pt idx="770">
                  <c:v>26754</c:v>
                </c:pt>
                <c:pt idx="771">
                  <c:v>26784</c:v>
                </c:pt>
                <c:pt idx="772">
                  <c:v>26815</c:v>
                </c:pt>
                <c:pt idx="773">
                  <c:v>26845</c:v>
                </c:pt>
                <c:pt idx="774">
                  <c:v>26876</c:v>
                </c:pt>
                <c:pt idx="775">
                  <c:v>26907</c:v>
                </c:pt>
                <c:pt idx="776">
                  <c:v>26937</c:v>
                </c:pt>
                <c:pt idx="777">
                  <c:v>26968</c:v>
                </c:pt>
                <c:pt idx="778">
                  <c:v>26998</c:v>
                </c:pt>
                <c:pt idx="779">
                  <c:v>27029</c:v>
                </c:pt>
                <c:pt idx="780">
                  <c:v>27060</c:v>
                </c:pt>
                <c:pt idx="781">
                  <c:v>27088</c:v>
                </c:pt>
                <c:pt idx="782">
                  <c:v>27119</c:v>
                </c:pt>
                <c:pt idx="783">
                  <c:v>27149</c:v>
                </c:pt>
                <c:pt idx="784">
                  <c:v>27180</c:v>
                </c:pt>
                <c:pt idx="785">
                  <c:v>27210</c:v>
                </c:pt>
                <c:pt idx="786">
                  <c:v>27241</c:v>
                </c:pt>
                <c:pt idx="787">
                  <c:v>27272</c:v>
                </c:pt>
                <c:pt idx="788">
                  <c:v>27302</c:v>
                </c:pt>
                <c:pt idx="789">
                  <c:v>27333</c:v>
                </c:pt>
                <c:pt idx="790">
                  <c:v>27363</c:v>
                </c:pt>
                <c:pt idx="791">
                  <c:v>27394</c:v>
                </c:pt>
                <c:pt idx="792">
                  <c:v>27425</c:v>
                </c:pt>
                <c:pt idx="793">
                  <c:v>27453</c:v>
                </c:pt>
                <c:pt idx="794">
                  <c:v>27484</c:v>
                </c:pt>
                <c:pt idx="795">
                  <c:v>27514</c:v>
                </c:pt>
                <c:pt idx="796">
                  <c:v>27545</c:v>
                </c:pt>
                <c:pt idx="797">
                  <c:v>27575</c:v>
                </c:pt>
                <c:pt idx="798">
                  <c:v>27606</c:v>
                </c:pt>
                <c:pt idx="799">
                  <c:v>27637</c:v>
                </c:pt>
                <c:pt idx="800">
                  <c:v>27667</c:v>
                </c:pt>
                <c:pt idx="801">
                  <c:v>27698</c:v>
                </c:pt>
                <c:pt idx="802">
                  <c:v>27728</c:v>
                </c:pt>
                <c:pt idx="803">
                  <c:v>27759</c:v>
                </c:pt>
                <c:pt idx="804">
                  <c:v>27790</c:v>
                </c:pt>
                <c:pt idx="805">
                  <c:v>27819</c:v>
                </c:pt>
                <c:pt idx="806">
                  <c:v>27850</c:v>
                </c:pt>
                <c:pt idx="807">
                  <c:v>27880</c:v>
                </c:pt>
                <c:pt idx="808">
                  <c:v>27911</c:v>
                </c:pt>
                <c:pt idx="809">
                  <c:v>27941</c:v>
                </c:pt>
                <c:pt idx="810">
                  <c:v>27972</c:v>
                </c:pt>
                <c:pt idx="811">
                  <c:v>28003</c:v>
                </c:pt>
                <c:pt idx="812">
                  <c:v>28033</c:v>
                </c:pt>
                <c:pt idx="813">
                  <c:v>28064</c:v>
                </c:pt>
                <c:pt idx="814">
                  <c:v>28094</c:v>
                </c:pt>
                <c:pt idx="815">
                  <c:v>28125</c:v>
                </c:pt>
                <c:pt idx="816">
                  <c:v>28156</c:v>
                </c:pt>
                <c:pt idx="817">
                  <c:v>28184</c:v>
                </c:pt>
                <c:pt idx="818">
                  <c:v>28215</c:v>
                </c:pt>
                <c:pt idx="819">
                  <c:v>28245</c:v>
                </c:pt>
                <c:pt idx="820">
                  <c:v>28276</c:v>
                </c:pt>
                <c:pt idx="821">
                  <c:v>28306</c:v>
                </c:pt>
                <c:pt idx="822">
                  <c:v>28337</c:v>
                </c:pt>
                <c:pt idx="823">
                  <c:v>28368</c:v>
                </c:pt>
                <c:pt idx="824">
                  <c:v>28398</c:v>
                </c:pt>
                <c:pt idx="825">
                  <c:v>28429</c:v>
                </c:pt>
                <c:pt idx="826">
                  <c:v>28459</c:v>
                </c:pt>
                <c:pt idx="827">
                  <c:v>28490</c:v>
                </c:pt>
                <c:pt idx="828">
                  <c:v>28521</c:v>
                </c:pt>
                <c:pt idx="829">
                  <c:v>28549</c:v>
                </c:pt>
                <c:pt idx="830">
                  <c:v>28580</c:v>
                </c:pt>
                <c:pt idx="831">
                  <c:v>28610</c:v>
                </c:pt>
                <c:pt idx="832">
                  <c:v>28641</c:v>
                </c:pt>
                <c:pt idx="833">
                  <c:v>28671</c:v>
                </c:pt>
                <c:pt idx="834">
                  <c:v>28702</c:v>
                </c:pt>
                <c:pt idx="835">
                  <c:v>28733</c:v>
                </c:pt>
                <c:pt idx="836">
                  <c:v>28763</c:v>
                </c:pt>
                <c:pt idx="837">
                  <c:v>28794</c:v>
                </c:pt>
                <c:pt idx="838">
                  <c:v>28824</c:v>
                </c:pt>
                <c:pt idx="839">
                  <c:v>28855</c:v>
                </c:pt>
                <c:pt idx="840">
                  <c:v>28886</c:v>
                </c:pt>
                <c:pt idx="841">
                  <c:v>28914</c:v>
                </c:pt>
                <c:pt idx="842">
                  <c:v>28945</c:v>
                </c:pt>
                <c:pt idx="843">
                  <c:v>28975</c:v>
                </c:pt>
                <c:pt idx="844">
                  <c:v>29006</c:v>
                </c:pt>
                <c:pt idx="845">
                  <c:v>29036</c:v>
                </c:pt>
                <c:pt idx="846">
                  <c:v>29067</c:v>
                </c:pt>
                <c:pt idx="847">
                  <c:v>29098</c:v>
                </c:pt>
                <c:pt idx="848">
                  <c:v>29128</c:v>
                </c:pt>
                <c:pt idx="849">
                  <c:v>29159</c:v>
                </c:pt>
                <c:pt idx="850">
                  <c:v>29189</c:v>
                </c:pt>
                <c:pt idx="851">
                  <c:v>29220</c:v>
                </c:pt>
                <c:pt idx="852">
                  <c:v>29251</c:v>
                </c:pt>
                <c:pt idx="853">
                  <c:v>29280</c:v>
                </c:pt>
                <c:pt idx="854">
                  <c:v>29311</c:v>
                </c:pt>
                <c:pt idx="855">
                  <c:v>29341</c:v>
                </c:pt>
                <c:pt idx="856">
                  <c:v>29372</c:v>
                </c:pt>
                <c:pt idx="857">
                  <c:v>29402</c:v>
                </c:pt>
                <c:pt idx="858">
                  <c:v>29433</c:v>
                </c:pt>
                <c:pt idx="859">
                  <c:v>29464</c:v>
                </c:pt>
                <c:pt idx="860">
                  <c:v>29494</c:v>
                </c:pt>
                <c:pt idx="861">
                  <c:v>29525</c:v>
                </c:pt>
                <c:pt idx="862">
                  <c:v>29555</c:v>
                </c:pt>
                <c:pt idx="863">
                  <c:v>29586</c:v>
                </c:pt>
                <c:pt idx="864">
                  <c:v>29617</c:v>
                </c:pt>
                <c:pt idx="865">
                  <c:v>29645</c:v>
                </c:pt>
                <c:pt idx="866">
                  <c:v>29676</c:v>
                </c:pt>
                <c:pt idx="867">
                  <c:v>29706</c:v>
                </c:pt>
                <c:pt idx="868">
                  <c:v>29737</c:v>
                </c:pt>
                <c:pt idx="869">
                  <c:v>29767</c:v>
                </c:pt>
                <c:pt idx="870">
                  <c:v>29798</c:v>
                </c:pt>
                <c:pt idx="871">
                  <c:v>29829</c:v>
                </c:pt>
                <c:pt idx="872">
                  <c:v>29859</c:v>
                </c:pt>
                <c:pt idx="873">
                  <c:v>29890</c:v>
                </c:pt>
                <c:pt idx="874">
                  <c:v>29920</c:v>
                </c:pt>
                <c:pt idx="875">
                  <c:v>29951</c:v>
                </c:pt>
                <c:pt idx="876">
                  <c:v>29982</c:v>
                </c:pt>
                <c:pt idx="877">
                  <c:v>30010</c:v>
                </c:pt>
                <c:pt idx="878">
                  <c:v>30041</c:v>
                </c:pt>
                <c:pt idx="879">
                  <c:v>30071</c:v>
                </c:pt>
                <c:pt idx="880">
                  <c:v>30102</c:v>
                </c:pt>
                <c:pt idx="881">
                  <c:v>30132</c:v>
                </c:pt>
                <c:pt idx="882">
                  <c:v>30163</c:v>
                </c:pt>
                <c:pt idx="883">
                  <c:v>30194</c:v>
                </c:pt>
                <c:pt idx="884">
                  <c:v>30224</c:v>
                </c:pt>
                <c:pt idx="885">
                  <c:v>30255</c:v>
                </c:pt>
                <c:pt idx="886">
                  <c:v>30285</c:v>
                </c:pt>
                <c:pt idx="887">
                  <c:v>30316</c:v>
                </c:pt>
                <c:pt idx="888">
                  <c:v>30347</c:v>
                </c:pt>
                <c:pt idx="889">
                  <c:v>30375</c:v>
                </c:pt>
                <c:pt idx="890">
                  <c:v>30406</c:v>
                </c:pt>
                <c:pt idx="891">
                  <c:v>30436</c:v>
                </c:pt>
                <c:pt idx="892">
                  <c:v>30467</c:v>
                </c:pt>
                <c:pt idx="893">
                  <c:v>30497</c:v>
                </c:pt>
                <c:pt idx="894">
                  <c:v>30528</c:v>
                </c:pt>
                <c:pt idx="895">
                  <c:v>30559</c:v>
                </c:pt>
                <c:pt idx="896">
                  <c:v>30589</c:v>
                </c:pt>
                <c:pt idx="897">
                  <c:v>30620</c:v>
                </c:pt>
                <c:pt idx="898">
                  <c:v>30650</c:v>
                </c:pt>
                <c:pt idx="899">
                  <c:v>30681</c:v>
                </c:pt>
                <c:pt idx="900">
                  <c:v>30712</c:v>
                </c:pt>
                <c:pt idx="901">
                  <c:v>30741</c:v>
                </c:pt>
                <c:pt idx="902">
                  <c:v>30772</c:v>
                </c:pt>
                <c:pt idx="903">
                  <c:v>30802</c:v>
                </c:pt>
                <c:pt idx="904">
                  <c:v>30833</c:v>
                </c:pt>
                <c:pt idx="905">
                  <c:v>30863</c:v>
                </c:pt>
                <c:pt idx="906">
                  <c:v>30894</c:v>
                </c:pt>
                <c:pt idx="907">
                  <c:v>30925</c:v>
                </c:pt>
                <c:pt idx="908">
                  <c:v>30955</c:v>
                </c:pt>
                <c:pt idx="909">
                  <c:v>30986</c:v>
                </c:pt>
                <c:pt idx="910">
                  <c:v>31016</c:v>
                </c:pt>
                <c:pt idx="911">
                  <c:v>31047</c:v>
                </c:pt>
                <c:pt idx="912">
                  <c:v>31078</c:v>
                </c:pt>
                <c:pt idx="913">
                  <c:v>31106</c:v>
                </c:pt>
                <c:pt idx="914">
                  <c:v>31137</c:v>
                </c:pt>
                <c:pt idx="915">
                  <c:v>31167</c:v>
                </c:pt>
                <c:pt idx="916">
                  <c:v>31198</c:v>
                </c:pt>
                <c:pt idx="917">
                  <c:v>31228</c:v>
                </c:pt>
                <c:pt idx="918">
                  <c:v>31259</c:v>
                </c:pt>
                <c:pt idx="919">
                  <c:v>31290</c:v>
                </c:pt>
                <c:pt idx="920">
                  <c:v>31320</c:v>
                </c:pt>
                <c:pt idx="921">
                  <c:v>31351</c:v>
                </c:pt>
                <c:pt idx="922">
                  <c:v>31381</c:v>
                </c:pt>
                <c:pt idx="923">
                  <c:v>31412</c:v>
                </c:pt>
                <c:pt idx="924">
                  <c:v>31443</c:v>
                </c:pt>
                <c:pt idx="925">
                  <c:v>31471</c:v>
                </c:pt>
                <c:pt idx="926">
                  <c:v>31502</c:v>
                </c:pt>
                <c:pt idx="927">
                  <c:v>31532</c:v>
                </c:pt>
                <c:pt idx="928">
                  <c:v>31563</c:v>
                </c:pt>
                <c:pt idx="929">
                  <c:v>31593</c:v>
                </c:pt>
                <c:pt idx="930">
                  <c:v>31624</c:v>
                </c:pt>
                <c:pt idx="931">
                  <c:v>31655</c:v>
                </c:pt>
                <c:pt idx="932">
                  <c:v>31685</c:v>
                </c:pt>
                <c:pt idx="933">
                  <c:v>31716</c:v>
                </c:pt>
                <c:pt idx="934">
                  <c:v>31746</c:v>
                </c:pt>
                <c:pt idx="935">
                  <c:v>31777</c:v>
                </c:pt>
                <c:pt idx="936">
                  <c:v>31808</c:v>
                </c:pt>
                <c:pt idx="937">
                  <c:v>31836</c:v>
                </c:pt>
                <c:pt idx="938">
                  <c:v>31867</c:v>
                </c:pt>
                <c:pt idx="939">
                  <c:v>31897</c:v>
                </c:pt>
                <c:pt idx="940">
                  <c:v>31928</c:v>
                </c:pt>
                <c:pt idx="941">
                  <c:v>31958</c:v>
                </c:pt>
                <c:pt idx="942">
                  <c:v>31989</c:v>
                </c:pt>
                <c:pt idx="943">
                  <c:v>32020</c:v>
                </c:pt>
                <c:pt idx="944">
                  <c:v>32050</c:v>
                </c:pt>
                <c:pt idx="945">
                  <c:v>32081</c:v>
                </c:pt>
                <c:pt idx="946">
                  <c:v>32111</c:v>
                </c:pt>
                <c:pt idx="947">
                  <c:v>32142</c:v>
                </c:pt>
                <c:pt idx="948">
                  <c:v>32173</c:v>
                </c:pt>
                <c:pt idx="949">
                  <c:v>32202</c:v>
                </c:pt>
                <c:pt idx="950">
                  <c:v>32233</c:v>
                </c:pt>
                <c:pt idx="951">
                  <c:v>32263</c:v>
                </c:pt>
                <c:pt idx="952">
                  <c:v>32294</c:v>
                </c:pt>
                <c:pt idx="953">
                  <c:v>32324</c:v>
                </c:pt>
                <c:pt idx="954">
                  <c:v>32355</c:v>
                </c:pt>
                <c:pt idx="955">
                  <c:v>32386</c:v>
                </c:pt>
                <c:pt idx="956">
                  <c:v>32416</c:v>
                </c:pt>
                <c:pt idx="957">
                  <c:v>32447</c:v>
                </c:pt>
                <c:pt idx="958">
                  <c:v>32477</c:v>
                </c:pt>
                <c:pt idx="959">
                  <c:v>32508</c:v>
                </c:pt>
                <c:pt idx="960">
                  <c:v>32539</c:v>
                </c:pt>
                <c:pt idx="961">
                  <c:v>32567</c:v>
                </c:pt>
                <c:pt idx="962">
                  <c:v>32598</c:v>
                </c:pt>
                <c:pt idx="963">
                  <c:v>32628</c:v>
                </c:pt>
                <c:pt idx="964">
                  <c:v>32659</c:v>
                </c:pt>
                <c:pt idx="965">
                  <c:v>32689</c:v>
                </c:pt>
                <c:pt idx="966">
                  <c:v>32720</c:v>
                </c:pt>
                <c:pt idx="967">
                  <c:v>32751</c:v>
                </c:pt>
                <c:pt idx="968">
                  <c:v>32781</c:v>
                </c:pt>
                <c:pt idx="969">
                  <c:v>32812</c:v>
                </c:pt>
                <c:pt idx="970">
                  <c:v>32842</c:v>
                </c:pt>
                <c:pt idx="971">
                  <c:v>32873</c:v>
                </c:pt>
                <c:pt idx="972">
                  <c:v>32904</c:v>
                </c:pt>
                <c:pt idx="973">
                  <c:v>32932</c:v>
                </c:pt>
                <c:pt idx="974">
                  <c:v>32963</c:v>
                </c:pt>
                <c:pt idx="975">
                  <c:v>32993</c:v>
                </c:pt>
                <c:pt idx="976">
                  <c:v>33024</c:v>
                </c:pt>
                <c:pt idx="977">
                  <c:v>33054</c:v>
                </c:pt>
                <c:pt idx="978">
                  <c:v>33085</c:v>
                </c:pt>
                <c:pt idx="979">
                  <c:v>33116</c:v>
                </c:pt>
                <c:pt idx="980">
                  <c:v>33146</c:v>
                </c:pt>
                <c:pt idx="981">
                  <c:v>33177</c:v>
                </c:pt>
                <c:pt idx="982">
                  <c:v>33207</c:v>
                </c:pt>
                <c:pt idx="983">
                  <c:v>33238</c:v>
                </c:pt>
                <c:pt idx="984">
                  <c:v>33269</c:v>
                </c:pt>
                <c:pt idx="985">
                  <c:v>33297</c:v>
                </c:pt>
                <c:pt idx="986">
                  <c:v>33328</c:v>
                </c:pt>
                <c:pt idx="987">
                  <c:v>33358</c:v>
                </c:pt>
                <c:pt idx="988">
                  <c:v>33389</c:v>
                </c:pt>
                <c:pt idx="989">
                  <c:v>33419</c:v>
                </c:pt>
                <c:pt idx="990">
                  <c:v>33450</c:v>
                </c:pt>
                <c:pt idx="991">
                  <c:v>33481</c:v>
                </c:pt>
                <c:pt idx="992">
                  <c:v>33511</c:v>
                </c:pt>
                <c:pt idx="993">
                  <c:v>33542</c:v>
                </c:pt>
                <c:pt idx="994">
                  <c:v>33572</c:v>
                </c:pt>
                <c:pt idx="995">
                  <c:v>33603</c:v>
                </c:pt>
                <c:pt idx="996">
                  <c:v>33634</c:v>
                </c:pt>
                <c:pt idx="997">
                  <c:v>33663</c:v>
                </c:pt>
                <c:pt idx="998">
                  <c:v>33694</c:v>
                </c:pt>
                <c:pt idx="999">
                  <c:v>33724</c:v>
                </c:pt>
                <c:pt idx="1000">
                  <c:v>33755</c:v>
                </c:pt>
                <c:pt idx="1001">
                  <c:v>33785</c:v>
                </c:pt>
                <c:pt idx="1002">
                  <c:v>33816</c:v>
                </c:pt>
                <c:pt idx="1003">
                  <c:v>33847</c:v>
                </c:pt>
                <c:pt idx="1004">
                  <c:v>33877</c:v>
                </c:pt>
                <c:pt idx="1005">
                  <c:v>33908</c:v>
                </c:pt>
                <c:pt idx="1006">
                  <c:v>33938</c:v>
                </c:pt>
                <c:pt idx="1007">
                  <c:v>33969</c:v>
                </c:pt>
                <c:pt idx="1008">
                  <c:v>34000</c:v>
                </c:pt>
                <c:pt idx="1009">
                  <c:v>34028</c:v>
                </c:pt>
                <c:pt idx="1010">
                  <c:v>34059</c:v>
                </c:pt>
                <c:pt idx="1011">
                  <c:v>34089</c:v>
                </c:pt>
                <c:pt idx="1012">
                  <c:v>34120</c:v>
                </c:pt>
                <c:pt idx="1013">
                  <c:v>34150</c:v>
                </c:pt>
                <c:pt idx="1014">
                  <c:v>34181</c:v>
                </c:pt>
                <c:pt idx="1015">
                  <c:v>34212</c:v>
                </c:pt>
                <c:pt idx="1016">
                  <c:v>34242</c:v>
                </c:pt>
                <c:pt idx="1017">
                  <c:v>34273</c:v>
                </c:pt>
                <c:pt idx="1018">
                  <c:v>34303</c:v>
                </c:pt>
                <c:pt idx="1019">
                  <c:v>34334</c:v>
                </c:pt>
                <c:pt idx="1020">
                  <c:v>34365</c:v>
                </c:pt>
                <c:pt idx="1021">
                  <c:v>34393</c:v>
                </c:pt>
                <c:pt idx="1022">
                  <c:v>34424</c:v>
                </c:pt>
                <c:pt idx="1023">
                  <c:v>34454</c:v>
                </c:pt>
                <c:pt idx="1024">
                  <c:v>34485</c:v>
                </c:pt>
                <c:pt idx="1025">
                  <c:v>34515</c:v>
                </c:pt>
                <c:pt idx="1026">
                  <c:v>34546</c:v>
                </c:pt>
                <c:pt idx="1027">
                  <c:v>34577</c:v>
                </c:pt>
                <c:pt idx="1028">
                  <c:v>34607</c:v>
                </c:pt>
                <c:pt idx="1029">
                  <c:v>34638</c:v>
                </c:pt>
                <c:pt idx="1030">
                  <c:v>34668</c:v>
                </c:pt>
                <c:pt idx="1031">
                  <c:v>34699</c:v>
                </c:pt>
                <c:pt idx="1032">
                  <c:v>34730</c:v>
                </c:pt>
                <c:pt idx="1033">
                  <c:v>34758</c:v>
                </c:pt>
                <c:pt idx="1034">
                  <c:v>34789</c:v>
                </c:pt>
                <c:pt idx="1035">
                  <c:v>34819</c:v>
                </c:pt>
                <c:pt idx="1036">
                  <c:v>34850</c:v>
                </c:pt>
                <c:pt idx="1037">
                  <c:v>34880</c:v>
                </c:pt>
                <c:pt idx="1038">
                  <c:v>34911</c:v>
                </c:pt>
                <c:pt idx="1039">
                  <c:v>34942</c:v>
                </c:pt>
                <c:pt idx="1040">
                  <c:v>34972</c:v>
                </c:pt>
                <c:pt idx="1041">
                  <c:v>35003</c:v>
                </c:pt>
                <c:pt idx="1042">
                  <c:v>35033</c:v>
                </c:pt>
                <c:pt idx="1043">
                  <c:v>35064</c:v>
                </c:pt>
                <c:pt idx="1044">
                  <c:v>35095</c:v>
                </c:pt>
                <c:pt idx="1045">
                  <c:v>35124</c:v>
                </c:pt>
                <c:pt idx="1046">
                  <c:v>35155</c:v>
                </c:pt>
                <c:pt idx="1047">
                  <c:v>35185</c:v>
                </c:pt>
                <c:pt idx="1048">
                  <c:v>35216</c:v>
                </c:pt>
                <c:pt idx="1049">
                  <c:v>35246</c:v>
                </c:pt>
                <c:pt idx="1050">
                  <c:v>35277</c:v>
                </c:pt>
                <c:pt idx="1051">
                  <c:v>35308</c:v>
                </c:pt>
                <c:pt idx="1052">
                  <c:v>35338</c:v>
                </c:pt>
                <c:pt idx="1053">
                  <c:v>35369</c:v>
                </c:pt>
                <c:pt idx="1054">
                  <c:v>35399</c:v>
                </c:pt>
                <c:pt idx="1055">
                  <c:v>35430</c:v>
                </c:pt>
                <c:pt idx="1056">
                  <c:v>35461</c:v>
                </c:pt>
                <c:pt idx="1057">
                  <c:v>35489</c:v>
                </c:pt>
                <c:pt idx="1058">
                  <c:v>35520</c:v>
                </c:pt>
                <c:pt idx="1059">
                  <c:v>35550</c:v>
                </c:pt>
                <c:pt idx="1060">
                  <c:v>35581</c:v>
                </c:pt>
                <c:pt idx="1061">
                  <c:v>35611</c:v>
                </c:pt>
                <c:pt idx="1062">
                  <c:v>35642</c:v>
                </c:pt>
                <c:pt idx="1063">
                  <c:v>35673</c:v>
                </c:pt>
                <c:pt idx="1064">
                  <c:v>35703</c:v>
                </c:pt>
                <c:pt idx="1065">
                  <c:v>35734</c:v>
                </c:pt>
                <c:pt idx="1066">
                  <c:v>35764</c:v>
                </c:pt>
                <c:pt idx="1067">
                  <c:v>35795</c:v>
                </c:pt>
                <c:pt idx="1068">
                  <c:v>35826</c:v>
                </c:pt>
                <c:pt idx="1069">
                  <c:v>35854</c:v>
                </c:pt>
                <c:pt idx="1070">
                  <c:v>35885</c:v>
                </c:pt>
                <c:pt idx="1071">
                  <c:v>35915</c:v>
                </c:pt>
                <c:pt idx="1072">
                  <c:v>35946</c:v>
                </c:pt>
                <c:pt idx="1073">
                  <c:v>35976</c:v>
                </c:pt>
                <c:pt idx="1074">
                  <c:v>36007</c:v>
                </c:pt>
                <c:pt idx="1075">
                  <c:v>36038</c:v>
                </c:pt>
                <c:pt idx="1076">
                  <c:v>36068</c:v>
                </c:pt>
                <c:pt idx="1077">
                  <c:v>36099</c:v>
                </c:pt>
                <c:pt idx="1078">
                  <c:v>36129</c:v>
                </c:pt>
                <c:pt idx="1079">
                  <c:v>36160</c:v>
                </c:pt>
                <c:pt idx="1080">
                  <c:v>36191</c:v>
                </c:pt>
                <c:pt idx="1081">
                  <c:v>36219</c:v>
                </c:pt>
                <c:pt idx="1082">
                  <c:v>36250</c:v>
                </c:pt>
                <c:pt idx="1083">
                  <c:v>36280</c:v>
                </c:pt>
                <c:pt idx="1084">
                  <c:v>36311</c:v>
                </c:pt>
                <c:pt idx="1085">
                  <c:v>36341</c:v>
                </c:pt>
                <c:pt idx="1086">
                  <c:v>36372</c:v>
                </c:pt>
                <c:pt idx="1087">
                  <c:v>36403</c:v>
                </c:pt>
                <c:pt idx="1088">
                  <c:v>36433</c:v>
                </c:pt>
                <c:pt idx="1089">
                  <c:v>36464</c:v>
                </c:pt>
                <c:pt idx="1090">
                  <c:v>36494</c:v>
                </c:pt>
                <c:pt idx="1091">
                  <c:v>36525</c:v>
                </c:pt>
                <c:pt idx="1092">
                  <c:v>36556</c:v>
                </c:pt>
                <c:pt idx="1093">
                  <c:v>36585</c:v>
                </c:pt>
                <c:pt idx="1094">
                  <c:v>36616</c:v>
                </c:pt>
                <c:pt idx="1095">
                  <c:v>36646</c:v>
                </c:pt>
                <c:pt idx="1096">
                  <c:v>36677</c:v>
                </c:pt>
                <c:pt idx="1097">
                  <c:v>36707</c:v>
                </c:pt>
                <c:pt idx="1098">
                  <c:v>36738</c:v>
                </c:pt>
                <c:pt idx="1099">
                  <c:v>36769</c:v>
                </c:pt>
                <c:pt idx="1100">
                  <c:v>36799</c:v>
                </c:pt>
                <c:pt idx="1101">
                  <c:v>36830</c:v>
                </c:pt>
                <c:pt idx="1102">
                  <c:v>36860</c:v>
                </c:pt>
                <c:pt idx="1103">
                  <c:v>36891</c:v>
                </c:pt>
                <c:pt idx="1104">
                  <c:v>36922</c:v>
                </c:pt>
                <c:pt idx="1105">
                  <c:v>36950</c:v>
                </c:pt>
                <c:pt idx="1106">
                  <c:v>36981</c:v>
                </c:pt>
                <c:pt idx="1107">
                  <c:v>37011</c:v>
                </c:pt>
                <c:pt idx="1108">
                  <c:v>37042</c:v>
                </c:pt>
                <c:pt idx="1109">
                  <c:v>37072</c:v>
                </c:pt>
                <c:pt idx="1110">
                  <c:v>37103</c:v>
                </c:pt>
                <c:pt idx="1111">
                  <c:v>37134</c:v>
                </c:pt>
                <c:pt idx="1112">
                  <c:v>37164</c:v>
                </c:pt>
                <c:pt idx="1113">
                  <c:v>37195</c:v>
                </c:pt>
                <c:pt idx="1114">
                  <c:v>37225</c:v>
                </c:pt>
                <c:pt idx="1115">
                  <c:v>37256</c:v>
                </c:pt>
                <c:pt idx="1116">
                  <c:v>37287</c:v>
                </c:pt>
                <c:pt idx="1117">
                  <c:v>37315</c:v>
                </c:pt>
                <c:pt idx="1118">
                  <c:v>37346</c:v>
                </c:pt>
                <c:pt idx="1119">
                  <c:v>37376</c:v>
                </c:pt>
                <c:pt idx="1120">
                  <c:v>37407</c:v>
                </c:pt>
                <c:pt idx="1121">
                  <c:v>37437</c:v>
                </c:pt>
                <c:pt idx="1122">
                  <c:v>37468</c:v>
                </c:pt>
                <c:pt idx="1123">
                  <c:v>37499</c:v>
                </c:pt>
                <c:pt idx="1124">
                  <c:v>37529</c:v>
                </c:pt>
                <c:pt idx="1125">
                  <c:v>37560</c:v>
                </c:pt>
                <c:pt idx="1126">
                  <c:v>37590</c:v>
                </c:pt>
                <c:pt idx="1127">
                  <c:v>37621</c:v>
                </c:pt>
                <c:pt idx="1128">
                  <c:v>37652</c:v>
                </c:pt>
                <c:pt idx="1129">
                  <c:v>37680</c:v>
                </c:pt>
                <c:pt idx="1130">
                  <c:v>37711</c:v>
                </c:pt>
                <c:pt idx="1131">
                  <c:v>37741</c:v>
                </c:pt>
                <c:pt idx="1132">
                  <c:v>37772</c:v>
                </c:pt>
                <c:pt idx="1133">
                  <c:v>37802</c:v>
                </c:pt>
                <c:pt idx="1134">
                  <c:v>37833</c:v>
                </c:pt>
                <c:pt idx="1135">
                  <c:v>37864</c:v>
                </c:pt>
                <c:pt idx="1136">
                  <c:v>37894</c:v>
                </c:pt>
                <c:pt idx="1137">
                  <c:v>37925</c:v>
                </c:pt>
                <c:pt idx="1138">
                  <c:v>37955</c:v>
                </c:pt>
                <c:pt idx="1139">
                  <c:v>37986</c:v>
                </c:pt>
                <c:pt idx="1140">
                  <c:v>38017</c:v>
                </c:pt>
                <c:pt idx="1141">
                  <c:v>38046</c:v>
                </c:pt>
                <c:pt idx="1142">
                  <c:v>38077</c:v>
                </c:pt>
                <c:pt idx="1143">
                  <c:v>38107</c:v>
                </c:pt>
                <c:pt idx="1144">
                  <c:v>38138</c:v>
                </c:pt>
                <c:pt idx="1145">
                  <c:v>38168</c:v>
                </c:pt>
                <c:pt idx="1146">
                  <c:v>38199</c:v>
                </c:pt>
                <c:pt idx="1147">
                  <c:v>38230</c:v>
                </c:pt>
                <c:pt idx="1148">
                  <c:v>38260</c:v>
                </c:pt>
                <c:pt idx="1149">
                  <c:v>38291</c:v>
                </c:pt>
                <c:pt idx="1150">
                  <c:v>38321</c:v>
                </c:pt>
                <c:pt idx="1151">
                  <c:v>38352</c:v>
                </c:pt>
                <c:pt idx="1152">
                  <c:v>38383</c:v>
                </c:pt>
                <c:pt idx="1153">
                  <c:v>38411</c:v>
                </c:pt>
                <c:pt idx="1154">
                  <c:v>38442</c:v>
                </c:pt>
                <c:pt idx="1155">
                  <c:v>38472</c:v>
                </c:pt>
                <c:pt idx="1156">
                  <c:v>38503</c:v>
                </c:pt>
                <c:pt idx="1157">
                  <c:v>38533</c:v>
                </c:pt>
                <c:pt idx="1158">
                  <c:v>38564</c:v>
                </c:pt>
                <c:pt idx="1159">
                  <c:v>38595</c:v>
                </c:pt>
                <c:pt idx="1160">
                  <c:v>38625</c:v>
                </c:pt>
                <c:pt idx="1161">
                  <c:v>38656</c:v>
                </c:pt>
                <c:pt idx="1162">
                  <c:v>38686</c:v>
                </c:pt>
                <c:pt idx="1163">
                  <c:v>38717</c:v>
                </c:pt>
                <c:pt idx="1164">
                  <c:v>38748</c:v>
                </c:pt>
                <c:pt idx="1165">
                  <c:v>38776</c:v>
                </c:pt>
                <c:pt idx="1166">
                  <c:v>38807</c:v>
                </c:pt>
                <c:pt idx="1167">
                  <c:v>38837</c:v>
                </c:pt>
                <c:pt idx="1168">
                  <c:v>38868</c:v>
                </c:pt>
                <c:pt idx="1169">
                  <c:v>38898</c:v>
                </c:pt>
                <c:pt idx="1170">
                  <c:v>38929</c:v>
                </c:pt>
                <c:pt idx="1171">
                  <c:v>38960</c:v>
                </c:pt>
                <c:pt idx="1172">
                  <c:v>38990</c:v>
                </c:pt>
                <c:pt idx="1173">
                  <c:v>39021</c:v>
                </c:pt>
                <c:pt idx="1174">
                  <c:v>39051</c:v>
                </c:pt>
                <c:pt idx="1175">
                  <c:v>39082</c:v>
                </c:pt>
                <c:pt idx="1176">
                  <c:v>39113</c:v>
                </c:pt>
                <c:pt idx="1177">
                  <c:v>39141</c:v>
                </c:pt>
                <c:pt idx="1178">
                  <c:v>39172</c:v>
                </c:pt>
                <c:pt idx="1179">
                  <c:v>39202</c:v>
                </c:pt>
                <c:pt idx="1180">
                  <c:v>39233</c:v>
                </c:pt>
                <c:pt idx="1181">
                  <c:v>39263</c:v>
                </c:pt>
                <c:pt idx="1182">
                  <c:v>39294</c:v>
                </c:pt>
                <c:pt idx="1183">
                  <c:v>39325</c:v>
                </c:pt>
                <c:pt idx="1184">
                  <c:v>39355</c:v>
                </c:pt>
                <c:pt idx="1185">
                  <c:v>39386</c:v>
                </c:pt>
                <c:pt idx="1186">
                  <c:v>39416</c:v>
                </c:pt>
                <c:pt idx="1187">
                  <c:v>39447</c:v>
                </c:pt>
                <c:pt idx="1188">
                  <c:v>39478</c:v>
                </c:pt>
                <c:pt idx="1189">
                  <c:v>39507</c:v>
                </c:pt>
                <c:pt idx="1190">
                  <c:v>39538</c:v>
                </c:pt>
                <c:pt idx="1191">
                  <c:v>39568</c:v>
                </c:pt>
                <c:pt idx="1192">
                  <c:v>39599</c:v>
                </c:pt>
                <c:pt idx="1193">
                  <c:v>39629</c:v>
                </c:pt>
                <c:pt idx="1194">
                  <c:v>39660</c:v>
                </c:pt>
                <c:pt idx="1195">
                  <c:v>39691</c:v>
                </c:pt>
                <c:pt idx="1196">
                  <c:v>39721</c:v>
                </c:pt>
                <c:pt idx="1197">
                  <c:v>39752</c:v>
                </c:pt>
                <c:pt idx="1198">
                  <c:v>39782</c:v>
                </c:pt>
                <c:pt idx="1199">
                  <c:v>39813</c:v>
                </c:pt>
                <c:pt idx="1200">
                  <c:v>39844</c:v>
                </c:pt>
                <c:pt idx="1201">
                  <c:v>39872</c:v>
                </c:pt>
                <c:pt idx="1202">
                  <c:v>39903</c:v>
                </c:pt>
                <c:pt idx="1203">
                  <c:v>39933</c:v>
                </c:pt>
                <c:pt idx="1204">
                  <c:v>39964</c:v>
                </c:pt>
                <c:pt idx="1205">
                  <c:v>39994</c:v>
                </c:pt>
                <c:pt idx="1206">
                  <c:v>40025</c:v>
                </c:pt>
                <c:pt idx="1207">
                  <c:v>40056</c:v>
                </c:pt>
                <c:pt idx="1208">
                  <c:v>40086</c:v>
                </c:pt>
                <c:pt idx="1209">
                  <c:v>40117</c:v>
                </c:pt>
                <c:pt idx="1210">
                  <c:v>40147</c:v>
                </c:pt>
                <c:pt idx="1211">
                  <c:v>40178</c:v>
                </c:pt>
                <c:pt idx="1212">
                  <c:v>40209</c:v>
                </c:pt>
                <c:pt idx="1213">
                  <c:v>40237</c:v>
                </c:pt>
                <c:pt idx="1214">
                  <c:v>40268</c:v>
                </c:pt>
                <c:pt idx="1215">
                  <c:v>40298</c:v>
                </c:pt>
                <c:pt idx="1216">
                  <c:v>40329</c:v>
                </c:pt>
                <c:pt idx="1217">
                  <c:v>40359</c:v>
                </c:pt>
                <c:pt idx="1218">
                  <c:v>40390</c:v>
                </c:pt>
                <c:pt idx="1219">
                  <c:v>40421</c:v>
                </c:pt>
                <c:pt idx="1220">
                  <c:v>40451</c:v>
                </c:pt>
                <c:pt idx="1221">
                  <c:v>40482</c:v>
                </c:pt>
                <c:pt idx="1222">
                  <c:v>40512</c:v>
                </c:pt>
                <c:pt idx="1223">
                  <c:v>40543</c:v>
                </c:pt>
                <c:pt idx="1224">
                  <c:v>40574</c:v>
                </c:pt>
                <c:pt idx="1225">
                  <c:v>40602</c:v>
                </c:pt>
                <c:pt idx="1226">
                  <c:v>40633</c:v>
                </c:pt>
                <c:pt idx="1227">
                  <c:v>40663</c:v>
                </c:pt>
                <c:pt idx="1228">
                  <c:v>40694</c:v>
                </c:pt>
                <c:pt idx="1229">
                  <c:v>40724</c:v>
                </c:pt>
                <c:pt idx="1230">
                  <c:v>40755</c:v>
                </c:pt>
                <c:pt idx="1231">
                  <c:v>40786</c:v>
                </c:pt>
                <c:pt idx="1232">
                  <c:v>40816</c:v>
                </c:pt>
                <c:pt idx="1233">
                  <c:v>40847</c:v>
                </c:pt>
                <c:pt idx="1234">
                  <c:v>40877</c:v>
                </c:pt>
                <c:pt idx="1235">
                  <c:v>40908</c:v>
                </c:pt>
                <c:pt idx="1236">
                  <c:v>40939</c:v>
                </c:pt>
                <c:pt idx="1237">
                  <c:v>40968</c:v>
                </c:pt>
                <c:pt idx="1238">
                  <c:v>40999</c:v>
                </c:pt>
                <c:pt idx="1239">
                  <c:v>41029</c:v>
                </c:pt>
                <c:pt idx="1240">
                  <c:v>41060</c:v>
                </c:pt>
                <c:pt idx="1241">
                  <c:v>41090</c:v>
                </c:pt>
                <c:pt idx="1242">
                  <c:v>41121</c:v>
                </c:pt>
                <c:pt idx="1243">
                  <c:v>41152</c:v>
                </c:pt>
                <c:pt idx="1244">
                  <c:v>41182</c:v>
                </c:pt>
                <c:pt idx="1245">
                  <c:v>41213</c:v>
                </c:pt>
                <c:pt idx="1246">
                  <c:v>41243</c:v>
                </c:pt>
                <c:pt idx="1247">
                  <c:v>41274</c:v>
                </c:pt>
                <c:pt idx="1248">
                  <c:v>41305</c:v>
                </c:pt>
                <c:pt idx="1249">
                  <c:v>41333</c:v>
                </c:pt>
                <c:pt idx="1250">
                  <c:v>41364</c:v>
                </c:pt>
                <c:pt idx="1251">
                  <c:v>41394</c:v>
                </c:pt>
                <c:pt idx="1252">
                  <c:v>41425</c:v>
                </c:pt>
                <c:pt idx="1253">
                  <c:v>41455</c:v>
                </c:pt>
                <c:pt idx="1254">
                  <c:v>41486</c:v>
                </c:pt>
                <c:pt idx="1255">
                  <c:v>41517</c:v>
                </c:pt>
                <c:pt idx="1256">
                  <c:v>41547</c:v>
                </c:pt>
                <c:pt idx="1257">
                  <c:v>41578</c:v>
                </c:pt>
                <c:pt idx="1258">
                  <c:v>41608</c:v>
                </c:pt>
                <c:pt idx="1259">
                  <c:v>41639</c:v>
                </c:pt>
                <c:pt idx="1260">
                  <c:v>41670</c:v>
                </c:pt>
                <c:pt idx="1261">
                  <c:v>41698</c:v>
                </c:pt>
                <c:pt idx="1262">
                  <c:v>41729</c:v>
                </c:pt>
                <c:pt idx="1263">
                  <c:v>41759</c:v>
                </c:pt>
                <c:pt idx="1264">
                  <c:v>41790</c:v>
                </c:pt>
                <c:pt idx="1265">
                  <c:v>41820</c:v>
                </c:pt>
                <c:pt idx="1266">
                  <c:v>41851</c:v>
                </c:pt>
                <c:pt idx="1267">
                  <c:v>41882</c:v>
                </c:pt>
                <c:pt idx="1268">
                  <c:v>41912</c:v>
                </c:pt>
                <c:pt idx="1269">
                  <c:v>41943</c:v>
                </c:pt>
                <c:pt idx="1270">
                  <c:v>41973</c:v>
                </c:pt>
                <c:pt idx="1271">
                  <c:v>42004</c:v>
                </c:pt>
                <c:pt idx="1272">
                  <c:v>42035</c:v>
                </c:pt>
                <c:pt idx="1273">
                  <c:v>42063</c:v>
                </c:pt>
                <c:pt idx="1274">
                  <c:v>42094</c:v>
                </c:pt>
                <c:pt idx="1275">
                  <c:v>42124</c:v>
                </c:pt>
                <c:pt idx="1276">
                  <c:v>42155</c:v>
                </c:pt>
                <c:pt idx="1277">
                  <c:v>42185</c:v>
                </c:pt>
                <c:pt idx="1278">
                  <c:v>42216</c:v>
                </c:pt>
                <c:pt idx="1279">
                  <c:v>42247</c:v>
                </c:pt>
                <c:pt idx="1280">
                  <c:v>42277</c:v>
                </c:pt>
                <c:pt idx="1281">
                  <c:v>42308</c:v>
                </c:pt>
                <c:pt idx="1282">
                  <c:v>42338</c:v>
                </c:pt>
                <c:pt idx="1283">
                  <c:v>42369</c:v>
                </c:pt>
                <c:pt idx="1284">
                  <c:v>42400</c:v>
                </c:pt>
                <c:pt idx="1285">
                  <c:v>42429</c:v>
                </c:pt>
                <c:pt idx="1286">
                  <c:v>42460</c:v>
                </c:pt>
                <c:pt idx="1287">
                  <c:v>42490</c:v>
                </c:pt>
                <c:pt idx="1288">
                  <c:v>42521</c:v>
                </c:pt>
                <c:pt idx="1289">
                  <c:v>42551</c:v>
                </c:pt>
                <c:pt idx="1290">
                  <c:v>42582</c:v>
                </c:pt>
                <c:pt idx="1291">
                  <c:v>42613</c:v>
                </c:pt>
                <c:pt idx="1292">
                  <c:v>42643</c:v>
                </c:pt>
                <c:pt idx="1293">
                  <c:v>42674</c:v>
                </c:pt>
                <c:pt idx="1294">
                  <c:v>42704</c:v>
                </c:pt>
                <c:pt idx="1295">
                  <c:v>42735</c:v>
                </c:pt>
                <c:pt idx="1296">
                  <c:v>42766</c:v>
                </c:pt>
                <c:pt idx="1297">
                  <c:v>42794</c:v>
                </c:pt>
                <c:pt idx="1298">
                  <c:v>42825</c:v>
                </c:pt>
                <c:pt idx="1299">
                  <c:v>42855</c:v>
                </c:pt>
                <c:pt idx="1300">
                  <c:v>42886</c:v>
                </c:pt>
                <c:pt idx="1301">
                  <c:v>42916</c:v>
                </c:pt>
                <c:pt idx="1302">
                  <c:v>42947</c:v>
                </c:pt>
                <c:pt idx="1303">
                  <c:v>42978</c:v>
                </c:pt>
                <c:pt idx="1304">
                  <c:v>43008</c:v>
                </c:pt>
                <c:pt idx="1305">
                  <c:v>43039</c:v>
                </c:pt>
                <c:pt idx="1306">
                  <c:v>43069</c:v>
                </c:pt>
                <c:pt idx="1307">
                  <c:v>43100</c:v>
                </c:pt>
                <c:pt idx="1308">
                  <c:v>43131</c:v>
                </c:pt>
                <c:pt idx="1309">
                  <c:v>43159</c:v>
                </c:pt>
                <c:pt idx="1310">
                  <c:v>43190</c:v>
                </c:pt>
                <c:pt idx="1311">
                  <c:v>43220</c:v>
                </c:pt>
                <c:pt idx="1312">
                  <c:v>43251</c:v>
                </c:pt>
                <c:pt idx="1313">
                  <c:v>43281</c:v>
                </c:pt>
                <c:pt idx="1314">
                  <c:v>43312</c:v>
                </c:pt>
                <c:pt idx="1315">
                  <c:v>43343</c:v>
                </c:pt>
                <c:pt idx="1316">
                  <c:v>43373</c:v>
                </c:pt>
                <c:pt idx="1317">
                  <c:v>43404</c:v>
                </c:pt>
                <c:pt idx="1318">
                  <c:v>43434</c:v>
                </c:pt>
                <c:pt idx="1319">
                  <c:v>43465</c:v>
                </c:pt>
                <c:pt idx="1320">
                  <c:v>43496</c:v>
                </c:pt>
                <c:pt idx="1321">
                  <c:v>43524</c:v>
                </c:pt>
                <c:pt idx="1322">
                  <c:v>43555</c:v>
                </c:pt>
                <c:pt idx="1323">
                  <c:v>43585</c:v>
                </c:pt>
                <c:pt idx="1324">
                  <c:v>43616</c:v>
                </c:pt>
                <c:pt idx="1325">
                  <c:v>43646</c:v>
                </c:pt>
                <c:pt idx="1326">
                  <c:v>43677</c:v>
                </c:pt>
                <c:pt idx="1327">
                  <c:v>43708</c:v>
                </c:pt>
                <c:pt idx="1328">
                  <c:v>43738</c:v>
                </c:pt>
                <c:pt idx="1329">
                  <c:v>43769</c:v>
                </c:pt>
                <c:pt idx="1330">
                  <c:v>43799</c:v>
                </c:pt>
                <c:pt idx="1331">
                  <c:v>43830</c:v>
                </c:pt>
                <c:pt idx="1332">
                  <c:v>43861</c:v>
                </c:pt>
                <c:pt idx="1333">
                  <c:v>43890</c:v>
                </c:pt>
                <c:pt idx="1334">
                  <c:v>43921</c:v>
                </c:pt>
                <c:pt idx="1335">
                  <c:v>43951</c:v>
                </c:pt>
                <c:pt idx="1336">
                  <c:v>43982</c:v>
                </c:pt>
                <c:pt idx="1337">
                  <c:v>44012</c:v>
                </c:pt>
                <c:pt idx="1338">
                  <c:v>44043</c:v>
                </c:pt>
                <c:pt idx="1339">
                  <c:v>44074</c:v>
                </c:pt>
                <c:pt idx="1340">
                  <c:v>44104</c:v>
                </c:pt>
                <c:pt idx="1341">
                  <c:v>44135</c:v>
                </c:pt>
                <c:pt idx="1342">
                  <c:v>44165</c:v>
                </c:pt>
                <c:pt idx="1343">
                  <c:v>44196</c:v>
                </c:pt>
                <c:pt idx="1344">
                  <c:v>44227</c:v>
                </c:pt>
                <c:pt idx="1345">
                  <c:v>44255</c:v>
                </c:pt>
                <c:pt idx="1346">
                  <c:v>44286</c:v>
                </c:pt>
                <c:pt idx="1347">
                  <c:v>44316</c:v>
                </c:pt>
                <c:pt idx="1348">
                  <c:v>44347</c:v>
                </c:pt>
                <c:pt idx="1349">
                  <c:v>44377</c:v>
                </c:pt>
                <c:pt idx="1350">
                  <c:v>44408</c:v>
                </c:pt>
                <c:pt idx="1351">
                  <c:v>44439</c:v>
                </c:pt>
                <c:pt idx="1352">
                  <c:v>44469</c:v>
                </c:pt>
                <c:pt idx="1353">
                  <c:v>44500</c:v>
                </c:pt>
                <c:pt idx="1354">
                  <c:v>44530</c:v>
                </c:pt>
                <c:pt idx="1355">
                  <c:v>44561</c:v>
                </c:pt>
                <c:pt idx="1356">
                  <c:v>44592</c:v>
                </c:pt>
                <c:pt idx="1357">
                  <c:v>44620</c:v>
                </c:pt>
                <c:pt idx="1358">
                  <c:v>44651</c:v>
                </c:pt>
                <c:pt idx="1359">
                  <c:v>44681</c:v>
                </c:pt>
                <c:pt idx="1360">
                  <c:v>44712</c:v>
                </c:pt>
                <c:pt idx="1361">
                  <c:v>44742</c:v>
                </c:pt>
                <c:pt idx="1362">
                  <c:v>44773</c:v>
                </c:pt>
                <c:pt idx="1363">
                  <c:v>44804</c:v>
                </c:pt>
                <c:pt idx="1364">
                  <c:v>44834</c:v>
                </c:pt>
                <c:pt idx="1365">
                  <c:v>44865</c:v>
                </c:pt>
                <c:pt idx="1366">
                  <c:v>44895</c:v>
                </c:pt>
                <c:pt idx="1367">
                  <c:v>44926</c:v>
                </c:pt>
                <c:pt idx="1368">
                  <c:v>44957</c:v>
                </c:pt>
                <c:pt idx="1369">
                  <c:v>44985</c:v>
                </c:pt>
                <c:pt idx="1370">
                  <c:v>45016</c:v>
                </c:pt>
                <c:pt idx="1371">
                  <c:v>45046</c:v>
                </c:pt>
                <c:pt idx="1372">
                  <c:v>45077</c:v>
                </c:pt>
                <c:pt idx="1373">
                  <c:v>45107</c:v>
                </c:pt>
                <c:pt idx="1374">
                  <c:v>45138</c:v>
                </c:pt>
                <c:pt idx="1375">
                  <c:v>45169</c:v>
                </c:pt>
                <c:pt idx="1376">
                  <c:v>45199</c:v>
                </c:pt>
                <c:pt idx="1377">
                  <c:v>45230</c:v>
                </c:pt>
                <c:pt idx="1378">
                  <c:v>45260</c:v>
                </c:pt>
                <c:pt idx="1379">
                  <c:v>45291</c:v>
                </c:pt>
                <c:pt idx="1380">
                  <c:v>45322</c:v>
                </c:pt>
                <c:pt idx="1381">
                  <c:v>45351</c:v>
                </c:pt>
                <c:pt idx="1382">
                  <c:v>45382</c:v>
                </c:pt>
                <c:pt idx="1383">
                  <c:v>45412</c:v>
                </c:pt>
                <c:pt idx="1384">
                  <c:v>45443</c:v>
                </c:pt>
                <c:pt idx="1385">
                  <c:v>45473</c:v>
                </c:pt>
              </c:numCache>
            </c:numRef>
          </c:cat>
          <c:val>
            <c:numRef>
              <c:f>Sheet1!$Q$4:$Q$1389</c:f>
              <c:numCache>
                <c:formatCode>0.00</c:formatCode>
                <c:ptCount val="1386"/>
                <c:pt idx="0">
                  <c:v>0</c:v>
                </c:pt>
                <c:pt idx="1">
                  <c:v>0</c:v>
                </c:pt>
                <c:pt idx="2">
                  <c:v>0</c:v>
                </c:pt>
                <c:pt idx="3">
                  <c:v>0</c:v>
                </c:pt>
                <c:pt idx="4">
                  <c:v>0</c:v>
                </c:pt>
                <c:pt idx="5">
                  <c:v>0</c:v>
                </c:pt>
                <c:pt idx="6">
                  <c:v>0</c:v>
                </c:pt>
                <c:pt idx="7">
                  <c:v>0</c:v>
                </c:pt>
                <c:pt idx="8">
                  <c:v>0</c:v>
                </c:pt>
                <c:pt idx="9">
                  <c:v>0</c:v>
                </c:pt>
                <c:pt idx="10">
                  <c:v>0</c:v>
                </c:pt>
                <c:pt idx="11">
                  <c:v>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0</c:v>
                </c:pt>
                <c:pt idx="37">
                  <c:v>0</c:v>
                </c:pt>
                <c:pt idx="38">
                  <c:v>0</c:v>
                </c:pt>
                <c:pt idx="39">
                  <c:v>0</c:v>
                </c:pt>
                <c:pt idx="40">
                  <c:v>0</c:v>
                </c:pt>
                <c:pt idx="41">
                  <c:v>0</c:v>
                </c:pt>
                <c:pt idx="42">
                  <c:v>0</c:v>
                </c:pt>
                <c:pt idx="43">
                  <c:v>0</c:v>
                </c:pt>
                <c:pt idx="44">
                  <c:v>0</c:v>
                </c:pt>
                <c:pt idx="45">
                  <c:v>0</c:v>
                </c:pt>
                <c:pt idx="46">
                  <c:v>0</c:v>
                </c:pt>
                <c:pt idx="47">
                  <c:v>0</c:v>
                </c:pt>
                <c:pt idx="48">
                  <c:v>100</c:v>
                </c:pt>
                <c:pt idx="49">
                  <c:v>100</c:v>
                </c:pt>
                <c:pt idx="50">
                  <c:v>100</c:v>
                </c:pt>
                <c:pt idx="51">
                  <c:v>100</c:v>
                </c:pt>
                <c:pt idx="52">
                  <c:v>100</c:v>
                </c:pt>
                <c:pt idx="53">
                  <c:v>100</c:v>
                </c:pt>
                <c:pt idx="54">
                  <c:v>100</c:v>
                </c:pt>
                <c:pt idx="55">
                  <c:v>100</c:v>
                </c:pt>
                <c:pt idx="56">
                  <c:v>100</c:v>
                </c:pt>
                <c:pt idx="57">
                  <c:v>100</c:v>
                </c:pt>
                <c:pt idx="58">
                  <c:v>100</c:v>
                </c:pt>
                <c:pt idx="59">
                  <c:v>100</c:v>
                </c:pt>
                <c:pt idx="60">
                  <c:v>100</c:v>
                </c:pt>
                <c:pt idx="61">
                  <c:v>100</c:v>
                </c:pt>
                <c:pt idx="62">
                  <c:v>100</c:v>
                </c:pt>
                <c:pt idx="63">
                  <c:v>100</c:v>
                </c:pt>
                <c:pt idx="64">
                  <c:v>100</c:v>
                </c:pt>
                <c:pt idx="65">
                  <c:v>100</c:v>
                </c:pt>
                <c:pt idx="66">
                  <c:v>100</c:v>
                </c:pt>
                <c:pt idx="67">
                  <c:v>100</c:v>
                </c:pt>
                <c:pt idx="68">
                  <c:v>100</c:v>
                </c:pt>
                <c:pt idx="69">
                  <c:v>100</c:v>
                </c:pt>
                <c:pt idx="70">
                  <c:v>10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100</c:v>
                </c:pt>
                <c:pt idx="116">
                  <c:v>100</c:v>
                </c:pt>
                <c:pt idx="117">
                  <c:v>100</c:v>
                </c:pt>
                <c:pt idx="118">
                  <c:v>100</c:v>
                </c:pt>
                <c:pt idx="119">
                  <c:v>100</c:v>
                </c:pt>
                <c:pt idx="120">
                  <c:v>100</c:v>
                </c:pt>
                <c:pt idx="121">
                  <c:v>100</c:v>
                </c:pt>
                <c:pt idx="122">
                  <c:v>0</c:v>
                </c:pt>
                <c:pt idx="123">
                  <c:v>0</c:v>
                </c:pt>
                <c:pt idx="124">
                  <c:v>0</c:v>
                </c:pt>
                <c:pt idx="125">
                  <c:v>0</c:v>
                </c:pt>
                <c:pt idx="126">
                  <c:v>0</c:v>
                </c:pt>
                <c:pt idx="127">
                  <c:v>0</c:v>
                </c:pt>
                <c:pt idx="128">
                  <c:v>0</c:v>
                </c:pt>
                <c:pt idx="129">
                  <c:v>0</c:v>
                </c:pt>
                <c:pt idx="130">
                  <c:v>0</c:v>
                </c:pt>
                <c:pt idx="131">
                  <c:v>0</c:v>
                </c:pt>
                <c:pt idx="132">
                  <c:v>100</c:v>
                </c:pt>
                <c:pt idx="133">
                  <c:v>100</c:v>
                </c:pt>
                <c:pt idx="134">
                  <c:v>100</c:v>
                </c:pt>
                <c:pt idx="135">
                  <c:v>100</c:v>
                </c:pt>
                <c:pt idx="136">
                  <c:v>100</c:v>
                </c:pt>
                <c:pt idx="137">
                  <c:v>100</c:v>
                </c:pt>
                <c:pt idx="138">
                  <c:v>100</c:v>
                </c:pt>
                <c:pt idx="139">
                  <c:v>100</c:v>
                </c:pt>
                <c:pt idx="140">
                  <c:v>100</c:v>
                </c:pt>
                <c:pt idx="141">
                  <c:v>100</c:v>
                </c:pt>
                <c:pt idx="142">
                  <c:v>100</c:v>
                </c:pt>
                <c:pt idx="143">
                  <c:v>100</c:v>
                </c:pt>
                <c:pt idx="144">
                  <c:v>100</c:v>
                </c:pt>
                <c:pt idx="145">
                  <c:v>100</c:v>
                </c:pt>
                <c:pt idx="146">
                  <c:v>100</c:v>
                </c:pt>
                <c:pt idx="147">
                  <c:v>100</c:v>
                </c:pt>
                <c:pt idx="148">
                  <c:v>100</c:v>
                </c:pt>
                <c:pt idx="149">
                  <c:v>10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100</c:v>
                </c:pt>
                <c:pt idx="173">
                  <c:v>100</c:v>
                </c:pt>
                <c:pt idx="174">
                  <c:v>100</c:v>
                </c:pt>
                <c:pt idx="175">
                  <c:v>100</c:v>
                </c:pt>
                <c:pt idx="176">
                  <c:v>100</c:v>
                </c:pt>
                <c:pt idx="177">
                  <c:v>100</c:v>
                </c:pt>
                <c:pt idx="178">
                  <c:v>100</c:v>
                </c:pt>
                <c:pt idx="179">
                  <c:v>100</c:v>
                </c:pt>
                <c:pt idx="180">
                  <c:v>100</c:v>
                </c:pt>
                <c:pt idx="181">
                  <c:v>100</c:v>
                </c:pt>
                <c:pt idx="182">
                  <c:v>100</c:v>
                </c:pt>
                <c:pt idx="183">
                  <c:v>100</c:v>
                </c:pt>
                <c:pt idx="184">
                  <c:v>100</c:v>
                </c:pt>
                <c:pt idx="185">
                  <c:v>10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100</c:v>
                </c:pt>
                <c:pt idx="214">
                  <c:v>100</c:v>
                </c:pt>
                <c:pt idx="215">
                  <c:v>100</c:v>
                </c:pt>
                <c:pt idx="216">
                  <c:v>100</c:v>
                </c:pt>
                <c:pt idx="217">
                  <c:v>100</c:v>
                </c:pt>
                <c:pt idx="218">
                  <c:v>100</c:v>
                </c:pt>
                <c:pt idx="219">
                  <c:v>100</c:v>
                </c:pt>
                <c:pt idx="220">
                  <c:v>100</c:v>
                </c:pt>
                <c:pt idx="221">
                  <c:v>100</c:v>
                </c:pt>
                <c:pt idx="222">
                  <c:v>100</c:v>
                </c:pt>
                <c:pt idx="223">
                  <c:v>100</c:v>
                </c:pt>
                <c:pt idx="224">
                  <c:v>100</c:v>
                </c:pt>
                <c:pt idx="225">
                  <c:v>10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100</c:v>
                </c:pt>
                <c:pt idx="248">
                  <c:v>100</c:v>
                </c:pt>
                <c:pt idx="249">
                  <c:v>100</c:v>
                </c:pt>
                <c:pt idx="250">
                  <c:v>100</c:v>
                </c:pt>
                <c:pt idx="251">
                  <c:v>100</c:v>
                </c:pt>
                <c:pt idx="252">
                  <c:v>100</c:v>
                </c:pt>
                <c:pt idx="253">
                  <c:v>100</c:v>
                </c:pt>
                <c:pt idx="254">
                  <c:v>100</c:v>
                </c:pt>
                <c:pt idx="255">
                  <c:v>100</c:v>
                </c:pt>
                <c:pt idx="256">
                  <c:v>100</c:v>
                </c:pt>
                <c:pt idx="257">
                  <c:v>100</c:v>
                </c:pt>
                <c:pt idx="258">
                  <c:v>100</c:v>
                </c:pt>
                <c:pt idx="259">
                  <c:v>100</c:v>
                </c:pt>
                <c:pt idx="260">
                  <c:v>100</c:v>
                </c:pt>
                <c:pt idx="261">
                  <c:v>100</c:v>
                </c:pt>
                <c:pt idx="262">
                  <c:v>100</c:v>
                </c:pt>
                <c:pt idx="263">
                  <c:v>100</c:v>
                </c:pt>
                <c:pt idx="264">
                  <c:v>100</c:v>
                </c:pt>
                <c:pt idx="265">
                  <c:v>100</c:v>
                </c:pt>
                <c:pt idx="266">
                  <c:v>100</c:v>
                </c:pt>
                <c:pt idx="267">
                  <c:v>100</c:v>
                </c:pt>
                <c:pt idx="268">
                  <c:v>100</c:v>
                </c:pt>
                <c:pt idx="269">
                  <c:v>100</c:v>
                </c:pt>
                <c:pt idx="270">
                  <c:v>100</c:v>
                </c:pt>
                <c:pt idx="271">
                  <c:v>100</c:v>
                </c:pt>
                <c:pt idx="272">
                  <c:v>100</c:v>
                </c:pt>
                <c:pt idx="273">
                  <c:v>100</c:v>
                </c:pt>
                <c:pt idx="274">
                  <c:v>100</c:v>
                </c:pt>
                <c:pt idx="275">
                  <c:v>100</c:v>
                </c:pt>
                <c:pt idx="276">
                  <c:v>100</c:v>
                </c:pt>
                <c:pt idx="277">
                  <c:v>100</c:v>
                </c:pt>
                <c:pt idx="278">
                  <c:v>100</c:v>
                </c:pt>
                <c:pt idx="279">
                  <c:v>100</c:v>
                </c:pt>
                <c:pt idx="280">
                  <c:v>100</c:v>
                </c:pt>
                <c:pt idx="281">
                  <c:v>100</c:v>
                </c:pt>
                <c:pt idx="282">
                  <c:v>100</c:v>
                </c:pt>
                <c:pt idx="283">
                  <c:v>100</c:v>
                </c:pt>
                <c:pt idx="284">
                  <c:v>100</c:v>
                </c:pt>
                <c:pt idx="285">
                  <c:v>100</c:v>
                </c:pt>
                <c:pt idx="286">
                  <c:v>100</c:v>
                </c:pt>
                <c:pt idx="287">
                  <c:v>100</c:v>
                </c:pt>
                <c:pt idx="288">
                  <c:v>100</c:v>
                </c:pt>
                <c:pt idx="289">
                  <c:v>10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100</c:v>
                </c:pt>
                <c:pt idx="341">
                  <c:v>100</c:v>
                </c:pt>
                <c:pt idx="342">
                  <c:v>100</c:v>
                </c:pt>
                <c:pt idx="343">
                  <c:v>100</c:v>
                </c:pt>
                <c:pt idx="344">
                  <c:v>100</c:v>
                </c:pt>
                <c:pt idx="345">
                  <c:v>100</c:v>
                </c:pt>
                <c:pt idx="346">
                  <c:v>100</c:v>
                </c:pt>
                <c:pt idx="347">
                  <c:v>100</c:v>
                </c:pt>
                <c:pt idx="348">
                  <c:v>100</c:v>
                </c:pt>
                <c:pt idx="349">
                  <c:v>100</c:v>
                </c:pt>
                <c:pt idx="350">
                  <c:v>100</c:v>
                </c:pt>
                <c:pt idx="351">
                  <c:v>100</c:v>
                </c:pt>
                <c:pt idx="352">
                  <c:v>10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100</c:v>
                </c:pt>
                <c:pt idx="434">
                  <c:v>100</c:v>
                </c:pt>
                <c:pt idx="435">
                  <c:v>100</c:v>
                </c:pt>
                <c:pt idx="436">
                  <c:v>100</c:v>
                </c:pt>
                <c:pt idx="437">
                  <c:v>100</c:v>
                </c:pt>
                <c:pt idx="438">
                  <c:v>100</c:v>
                </c:pt>
                <c:pt idx="439">
                  <c:v>100</c:v>
                </c:pt>
                <c:pt idx="440">
                  <c:v>10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100</c:v>
                </c:pt>
                <c:pt idx="479">
                  <c:v>100</c:v>
                </c:pt>
                <c:pt idx="480">
                  <c:v>100</c:v>
                </c:pt>
                <c:pt idx="481">
                  <c:v>100</c:v>
                </c:pt>
                <c:pt idx="482">
                  <c:v>100</c:v>
                </c:pt>
                <c:pt idx="483">
                  <c:v>100</c:v>
                </c:pt>
                <c:pt idx="484">
                  <c:v>100</c:v>
                </c:pt>
                <c:pt idx="485">
                  <c:v>100</c:v>
                </c:pt>
                <c:pt idx="486">
                  <c:v>100</c:v>
                </c:pt>
                <c:pt idx="487">
                  <c:v>100</c:v>
                </c:pt>
                <c:pt idx="488">
                  <c:v>10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100</c:v>
                </c:pt>
                <c:pt idx="535">
                  <c:v>100</c:v>
                </c:pt>
                <c:pt idx="536">
                  <c:v>100</c:v>
                </c:pt>
                <c:pt idx="537">
                  <c:v>100</c:v>
                </c:pt>
                <c:pt idx="538">
                  <c:v>100</c:v>
                </c:pt>
                <c:pt idx="539">
                  <c:v>100</c:v>
                </c:pt>
                <c:pt idx="540">
                  <c:v>100</c:v>
                </c:pt>
                <c:pt idx="541">
                  <c:v>100</c:v>
                </c:pt>
                <c:pt idx="542">
                  <c:v>100</c:v>
                </c:pt>
                <c:pt idx="543">
                  <c:v>10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100</c:v>
                </c:pt>
                <c:pt idx="584">
                  <c:v>100</c:v>
                </c:pt>
                <c:pt idx="585">
                  <c:v>100</c:v>
                </c:pt>
                <c:pt idx="586">
                  <c:v>100</c:v>
                </c:pt>
                <c:pt idx="587">
                  <c:v>100</c:v>
                </c:pt>
                <c:pt idx="588">
                  <c:v>100</c:v>
                </c:pt>
                <c:pt idx="589">
                  <c:v>100</c:v>
                </c:pt>
                <c:pt idx="590">
                  <c:v>10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100</c:v>
                </c:pt>
                <c:pt idx="616">
                  <c:v>100</c:v>
                </c:pt>
                <c:pt idx="617">
                  <c:v>100</c:v>
                </c:pt>
                <c:pt idx="618">
                  <c:v>100</c:v>
                </c:pt>
                <c:pt idx="619">
                  <c:v>100</c:v>
                </c:pt>
                <c:pt idx="620">
                  <c:v>100</c:v>
                </c:pt>
                <c:pt idx="621">
                  <c:v>100</c:v>
                </c:pt>
                <c:pt idx="622">
                  <c:v>100</c:v>
                </c:pt>
                <c:pt idx="623">
                  <c:v>100</c:v>
                </c:pt>
                <c:pt idx="624">
                  <c:v>10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100</c:v>
                </c:pt>
                <c:pt idx="732">
                  <c:v>100</c:v>
                </c:pt>
                <c:pt idx="733">
                  <c:v>100</c:v>
                </c:pt>
                <c:pt idx="734">
                  <c:v>100</c:v>
                </c:pt>
                <c:pt idx="735">
                  <c:v>100</c:v>
                </c:pt>
                <c:pt idx="736">
                  <c:v>100</c:v>
                </c:pt>
                <c:pt idx="737">
                  <c:v>100</c:v>
                </c:pt>
                <c:pt idx="738">
                  <c:v>100</c:v>
                </c:pt>
                <c:pt idx="739">
                  <c:v>100</c:v>
                </c:pt>
                <c:pt idx="740">
                  <c:v>100</c:v>
                </c:pt>
                <c:pt idx="741">
                  <c:v>10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100</c:v>
                </c:pt>
                <c:pt idx="779">
                  <c:v>100</c:v>
                </c:pt>
                <c:pt idx="780">
                  <c:v>100</c:v>
                </c:pt>
                <c:pt idx="781">
                  <c:v>100</c:v>
                </c:pt>
                <c:pt idx="782">
                  <c:v>100</c:v>
                </c:pt>
                <c:pt idx="783">
                  <c:v>100</c:v>
                </c:pt>
                <c:pt idx="784">
                  <c:v>100</c:v>
                </c:pt>
                <c:pt idx="785">
                  <c:v>100</c:v>
                </c:pt>
                <c:pt idx="786">
                  <c:v>100</c:v>
                </c:pt>
                <c:pt idx="787">
                  <c:v>100</c:v>
                </c:pt>
                <c:pt idx="788">
                  <c:v>100</c:v>
                </c:pt>
                <c:pt idx="789">
                  <c:v>100</c:v>
                </c:pt>
                <c:pt idx="790">
                  <c:v>100</c:v>
                </c:pt>
                <c:pt idx="791">
                  <c:v>100</c:v>
                </c:pt>
                <c:pt idx="792">
                  <c:v>100</c:v>
                </c:pt>
                <c:pt idx="793">
                  <c:v>10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100</c:v>
                </c:pt>
                <c:pt idx="853">
                  <c:v>100</c:v>
                </c:pt>
                <c:pt idx="854">
                  <c:v>100</c:v>
                </c:pt>
                <c:pt idx="855">
                  <c:v>100</c:v>
                </c:pt>
                <c:pt idx="856">
                  <c:v>100</c:v>
                </c:pt>
                <c:pt idx="857">
                  <c:v>100</c:v>
                </c:pt>
                <c:pt idx="858">
                  <c:v>0</c:v>
                </c:pt>
                <c:pt idx="859">
                  <c:v>0</c:v>
                </c:pt>
                <c:pt idx="860">
                  <c:v>0</c:v>
                </c:pt>
                <c:pt idx="861">
                  <c:v>0</c:v>
                </c:pt>
                <c:pt idx="862">
                  <c:v>0</c:v>
                </c:pt>
                <c:pt idx="863">
                  <c:v>0</c:v>
                </c:pt>
                <c:pt idx="864">
                  <c:v>0</c:v>
                </c:pt>
                <c:pt idx="865">
                  <c:v>0</c:v>
                </c:pt>
                <c:pt idx="866">
                  <c:v>0</c:v>
                </c:pt>
                <c:pt idx="867">
                  <c:v>0</c:v>
                </c:pt>
                <c:pt idx="868">
                  <c:v>0</c:v>
                </c:pt>
                <c:pt idx="869">
                  <c:v>0</c:v>
                </c:pt>
                <c:pt idx="870">
                  <c:v>100</c:v>
                </c:pt>
                <c:pt idx="871">
                  <c:v>100</c:v>
                </c:pt>
                <c:pt idx="872">
                  <c:v>100</c:v>
                </c:pt>
                <c:pt idx="873">
                  <c:v>100</c:v>
                </c:pt>
                <c:pt idx="874">
                  <c:v>100</c:v>
                </c:pt>
                <c:pt idx="875">
                  <c:v>100</c:v>
                </c:pt>
                <c:pt idx="876">
                  <c:v>100</c:v>
                </c:pt>
                <c:pt idx="877">
                  <c:v>100</c:v>
                </c:pt>
                <c:pt idx="878">
                  <c:v>100</c:v>
                </c:pt>
                <c:pt idx="879">
                  <c:v>100</c:v>
                </c:pt>
                <c:pt idx="880">
                  <c:v>100</c:v>
                </c:pt>
                <c:pt idx="881">
                  <c:v>100</c:v>
                </c:pt>
                <c:pt idx="882">
                  <c:v>100</c:v>
                </c:pt>
                <c:pt idx="883">
                  <c:v>100</c:v>
                </c:pt>
                <c:pt idx="884">
                  <c:v>100</c:v>
                </c:pt>
                <c:pt idx="885">
                  <c:v>10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100</c:v>
                </c:pt>
                <c:pt idx="979">
                  <c:v>100</c:v>
                </c:pt>
                <c:pt idx="980">
                  <c:v>100</c:v>
                </c:pt>
                <c:pt idx="981">
                  <c:v>100</c:v>
                </c:pt>
                <c:pt idx="982">
                  <c:v>100</c:v>
                </c:pt>
                <c:pt idx="983">
                  <c:v>100</c:v>
                </c:pt>
                <c:pt idx="984">
                  <c:v>100</c:v>
                </c:pt>
                <c:pt idx="985">
                  <c:v>10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100</c:v>
                </c:pt>
                <c:pt idx="1107">
                  <c:v>100</c:v>
                </c:pt>
                <c:pt idx="1108">
                  <c:v>100</c:v>
                </c:pt>
                <c:pt idx="1109">
                  <c:v>100</c:v>
                </c:pt>
                <c:pt idx="1110">
                  <c:v>100</c:v>
                </c:pt>
                <c:pt idx="1111">
                  <c:v>100</c:v>
                </c:pt>
                <c:pt idx="1112">
                  <c:v>100</c:v>
                </c:pt>
                <c:pt idx="1113">
                  <c:v>10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100</c:v>
                </c:pt>
                <c:pt idx="1188">
                  <c:v>100</c:v>
                </c:pt>
                <c:pt idx="1189">
                  <c:v>100</c:v>
                </c:pt>
                <c:pt idx="1190">
                  <c:v>100</c:v>
                </c:pt>
                <c:pt idx="1191">
                  <c:v>100</c:v>
                </c:pt>
                <c:pt idx="1192">
                  <c:v>100</c:v>
                </c:pt>
                <c:pt idx="1193">
                  <c:v>100</c:v>
                </c:pt>
                <c:pt idx="1194">
                  <c:v>100</c:v>
                </c:pt>
                <c:pt idx="1195">
                  <c:v>100</c:v>
                </c:pt>
                <c:pt idx="1196">
                  <c:v>100</c:v>
                </c:pt>
                <c:pt idx="1197">
                  <c:v>100</c:v>
                </c:pt>
                <c:pt idx="1198">
                  <c:v>100</c:v>
                </c:pt>
                <c:pt idx="1199">
                  <c:v>100</c:v>
                </c:pt>
                <c:pt idx="1200">
                  <c:v>100</c:v>
                </c:pt>
                <c:pt idx="1201">
                  <c:v>100</c:v>
                </c:pt>
                <c:pt idx="1202">
                  <c:v>100</c:v>
                </c:pt>
                <c:pt idx="1203">
                  <c:v>100</c:v>
                </c:pt>
                <c:pt idx="1204">
                  <c:v>10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100</c:v>
                </c:pt>
                <c:pt idx="1334">
                  <c:v>10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numCache>
            </c:numRef>
          </c:val>
          <c:extLst>
            <c:ext xmlns:c16="http://schemas.microsoft.com/office/drawing/2014/chart" uri="{C3380CC4-5D6E-409C-BE32-E72D297353CC}">
              <c16:uniqueId val="{00000000-4E59-4C2C-826E-B03C6093D23B}"/>
            </c:ext>
          </c:extLst>
        </c:ser>
        <c:dLbls>
          <c:showLegendKey val="0"/>
          <c:showVal val="0"/>
          <c:showCatName val="0"/>
          <c:showSerName val="0"/>
          <c:showPercent val="0"/>
          <c:showBubbleSize val="0"/>
        </c:dLbls>
        <c:gapWidth val="150"/>
        <c:axId val="927020303"/>
        <c:axId val="927021967"/>
      </c:barChart>
      <c:lineChart>
        <c:grouping val="standard"/>
        <c:varyColors val="0"/>
        <c:ser>
          <c:idx val="0"/>
          <c:order val="0"/>
          <c:tx>
            <c:strRef>
              <c:f>Sheet1!$R$2</c:f>
              <c:strCache>
                <c:ptCount val="1"/>
                <c:pt idx="0">
                  <c:v>Unternehmenssteuersatz</c:v>
                </c:pt>
              </c:strCache>
            </c:strRef>
          </c:tx>
          <c:spPr>
            <a:ln w="28575" cap="rnd">
              <a:solidFill>
                <a:schemeClr val="accent1"/>
              </a:solidFill>
              <a:round/>
            </a:ln>
            <a:effectLst/>
          </c:spPr>
          <c:marker>
            <c:symbol val="none"/>
          </c:marker>
          <c:cat>
            <c:numRef>
              <c:f>Sheet1!$P$4:$P$1389</c:f>
              <c:numCache>
                <c:formatCode>m/d/yyyy</c:formatCode>
                <c:ptCount val="1386"/>
                <c:pt idx="0">
                  <c:v>3319</c:v>
                </c:pt>
                <c:pt idx="1">
                  <c:v>3347</c:v>
                </c:pt>
                <c:pt idx="2">
                  <c:v>3378</c:v>
                </c:pt>
                <c:pt idx="3">
                  <c:v>3408</c:v>
                </c:pt>
                <c:pt idx="4">
                  <c:v>3439</c:v>
                </c:pt>
                <c:pt idx="5">
                  <c:v>3469</c:v>
                </c:pt>
                <c:pt idx="6">
                  <c:v>3500</c:v>
                </c:pt>
                <c:pt idx="7">
                  <c:v>3531</c:v>
                </c:pt>
                <c:pt idx="8">
                  <c:v>3561</c:v>
                </c:pt>
                <c:pt idx="9">
                  <c:v>3592</c:v>
                </c:pt>
                <c:pt idx="10">
                  <c:v>3622</c:v>
                </c:pt>
                <c:pt idx="11">
                  <c:v>3653</c:v>
                </c:pt>
                <c:pt idx="12">
                  <c:v>3684</c:v>
                </c:pt>
                <c:pt idx="13">
                  <c:v>3712</c:v>
                </c:pt>
                <c:pt idx="14">
                  <c:v>3743</c:v>
                </c:pt>
                <c:pt idx="15">
                  <c:v>3773</c:v>
                </c:pt>
                <c:pt idx="16">
                  <c:v>3804</c:v>
                </c:pt>
                <c:pt idx="17">
                  <c:v>3834</c:v>
                </c:pt>
                <c:pt idx="18">
                  <c:v>3865</c:v>
                </c:pt>
                <c:pt idx="19">
                  <c:v>3896</c:v>
                </c:pt>
                <c:pt idx="20">
                  <c:v>3926</c:v>
                </c:pt>
                <c:pt idx="21">
                  <c:v>3957</c:v>
                </c:pt>
                <c:pt idx="22">
                  <c:v>3987</c:v>
                </c:pt>
                <c:pt idx="23">
                  <c:v>4018</c:v>
                </c:pt>
                <c:pt idx="24">
                  <c:v>4049</c:v>
                </c:pt>
                <c:pt idx="25">
                  <c:v>4077</c:v>
                </c:pt>
                <c:pt idx="26">
                  <c:v>4108</c:v>
                </c:pt>
                <c:pt idx="27">
                  <c:v>4138</c:v>
                </c:pt>
                <c:pt idx="28">
                  <c:v>4169</c:v>
                </c:pt>
                <c:pt idx="29">
                  <c:v>4199</c:v>
                </c:pt>
                <c:pt idx="30">
                  <c:v>4230</c:v>
                </c:pt>
                <c:pt idx="31">
                  <c:v>4261</c:v>
                </c:pt>
                <c:pt idx="32">
                  <c:v>4291</c:v>
                </c:pt>
                <c:pt idx="33">
                  <c:v>4322</c:v>
                </c:pt>
                <c:pt idx="34">
                  <c:v>4352</c:v>
                </c:pt>
                <c:pt idx="35">
                  <c:v>4383</c:v>
                </c:pt>
                <c:pt idx="36">
                  <c:v>4414</c:v>
                </c:pt>
                <c:pt idx="37">
                  <c:v>4443</c:v>
                </c:pt>
                <c:pt idx="38">
                  <c:v>4474</c:v>
                </c:pt>
                <c:pt idx="39">
                  <c:v>4504</c:v>
                </c:pt>
                <c:pt idx="40">
                  <c:v>4535</c:v>
                </c:pt>
                <c:pt idx="41">
                  <c:v>4565</c:v>
                </c:pt>
                <c:pt idx="42">
                  <c:v>4596</c:v>
                </c:pt>
                <c:pt idx="43">
                  <c:v>4627</c:v>
                </c:pt>
                <c:pt idx="44">
                  <c:v>4657</c:v>
                </c:pt>
                <c:pt idx="45">
                  <c:v>4688</c:v>
                </c:pt>
                <c:pt idx="46">
                  <c:v>4718</c:v>
                </c:pt>
                <c:pt idx="47">
                  <c:v>4749</c:v>
                </c:pt>
                <c:pt idx="48">
                  <c:v>4780</c:v>
                </c:pt>
                <c:pt idx="49">
                  <c:v>4808</c:v>
                </c:pt>
                <c:pt idx="50">
                  <c:v>4839</c:v>
                </c:pt>
                <c:pt idx="51">
                  <c:v>4869</c:v>
                </c:pt>
                <c:pt idx="52">
                  <c:v>4900</c:v>
                </c:pt>
                <c:pt idx="53">
                  <c:v>4930</c:v>
                </c:pt>
                <c:pt idx="54">
                  <c:v>4961</c:v>
                </c:pt>
                <c:pt idx="55">
                  <c:v>4992</c:v>
                </c:pt>
                <c:pt idx="56">
                  <c:v>5022</c:v>
                </c:pt>
                <c:pt idx="57">
                  <c:v>5053</c:v>
                </c:pt>
                <c:pt idx="58">
                  <c:v>5083</c:v>
                </c:pt>
                <c:pt idx="59">
                  <c:v>5114</c:v>
                </c:pt>
                <c:pt idx="60">
                  <c:v>5145</c:v>
                </c:pt>
                <c:pt idx="61">
                  <c:v>5173</c:v>
                </c:pt>
                <c:pt idx="62">
                  <c:v>5204</c:v>
                </c:pt>
                <c:pt idx="63">
                  <c:v>5234</c:v>
                </c:pt>
                <c:pt idx="64">
                  <c:v>5265</c:v>
                </c:pt>
                <c:pt idx="65">
                  <c:v>5295</c:v>
                </c:pt>
                <c:pt idx="66">
                  <c:v>5326</c:v>
                </c:pt>
                <c:pt idx="67">
                  <c:v>5357</c:v>
                </c:pt>
                <c:pt idx="68">
                  <c:v>5387</c:v>
                </c:pt>
                <c:pt idx="69">
                  <c:v>5418</c:v>
                </c:pt>
                <c:pt idx="70">
                  <c:v>5448</c:v>
                </c:pt>
                <c:pt idx="71">
                  <c:v>5479</c:v>
                </c:pt>
                <c:pt idx="72">
                  <c:v>5510</c:v>
                </c:pt>
                <c:pt idx="73">
                  <c:v>5538</c:v>
                </c:pt>
                <c:pt idx="74">
                  <c:v>5569</c:v>
                </c:pt>
                <c:pt idx="75">
                  <c:v>5599</c:v>
                </c:pt>
                <c:pt idx="76">
                  <c:v>5630</c:v>
                </c:pt>
                <c:pt idx="77">
                  <c:v>5660</c:v>
                </c:pt>
                <c:pt idx="78">
                  <c:v>5691</c:v>
                </c:pt>
                <c:pt idx="79">
                  <c:v>5722</c:v>
                </c:pt>
                <c:pt idx="80">
                  <c:v>5752</c:v>
                </c:pt>
                <c:pt idx="81">
                  <c:v>5783</c:v>
                </c:pt>
                <c:pt idx="82">
                  <c:v>5813</c:v>
                </c:pt>
                <c:pt idx="83">
                  <c:v>5844</c:v>
                </c:pt>
                <c:pt idx="84">
                  <c:v>5875</c:v>
                </c:pt>
                <c:pt idx="85">
                  <c:v>5904</c:v>
                </c:pt>
                <c:pt idx="86">
                  <c:v>5935</c:v>
                </c:pt>
                <c:pt idx="87">
                  <c:v>5965</c:v>
                </c:pt>
                <c:pt idx="88">
                  <c:v>5996</c:v>
                </c:pt>
                <c:pt idx="89">
                  <c:v>6026</c:v>
                </c:pt>
                <c:pt idx="90">
                  <c:v>6057</c:v>
                </c:pt>
                <c:pt idx="91">
                  <c:v>6088</c:v>
                </c:pt>
                <c:pt idx="92">
                  <c:v>6118</c:v>
                </c:pt>
                <c:pt idx="93">
                  <c:v>6149</c:v>
                </c:pt>
                <c:pt idx="94">
                  <c:v>6179</c:v>
                </c:pt>
                <c:pt idx="95">
                  <c:v>6210</c:v>
                </c:pt>
                <c:pt idx="96">
                  <c:v>6241</c:v>
                </c:pt>
                <c:pt idx="97">
                  <c:v>6269</c:v>
                </c:pt>
                <c:pt idx="98">
                  <c:v>6300</c:v>
                </c:pt>
                <c:pt idx="99">
                  <c:v>6330</c:v>
                </c:pt>
                <c:pt idx="100">
                  <c:v>6361</c:v>
                </c:pt>
                <c:pt idx="101">
                  <c:v>6391</c:v>
                </c:pt>
                <c:pt idx="102">
                  <c:v>6422</c:v>
                </c:pt>
                <c:pt idx="103">
                  <c:v>6453</c:v>
                </c:pt>
                <c:pt idx="104">
                  <c:v>6483</c:v>
                </c:pt>
                <c:pt idx="105">
                  <c:v>6514</c:v>
                </c:pt>
                <c:pt idx="106">
                  <c:v>6544</c:v>
                </c:pt>
                <c:pt idx="107">
                  <c:v>6575</c:v>
                </c:pt>
                <c:pt idx="108">
                  <c:v>6606</c:v>
                </c:pt>
                <c:pt idx="109">
                  <c:v>6634</c:v>
                </c:pt>
                <c:pt idx="110">
                  <c:v>6665</c:v>
                </c:pt>
                <c:pt idx="111">
                  <c:v>6695</c:v>
                </c:pt>
                <c:pt idx="112">
                  <c:v>6726</c:v>
                </c:pt>
                <c:pt idx="113">
                  <c:v>6756</c:v>
                </c:pt>
                <c:pt idx="114">
                  <c:v>6787</c:v>
                </c:pt>
                <c:pt idx="115">
                  <c:v>6818</c:v>
                </c:pt>
                <c:pt idx="116">
                  <c:v>6848</c:v>
                </c:pt>
                <c:pt idx="117">
                  <c:v>6879</c:v>
                </c:pt>
                <c:pt idx="118">
                  <c:v>6909</c:v>
                </c:pt>
                <c:pt idx="119">
                  <c:v>6940</c:v>
                </c:pt>
                <c:pt idx="120">
                  <c:v>6971</c:v>
                </c:pt>
                <c:pt idx="121">
                  <c:v>6999</c:v>
                </c:pt>
                <c:pt idx="122">
                  <c:v>7030</c:v>
                </c:pt>
                <c:pt idx="123">
                  <c:v>7060</c:v>
                </c:pt>
                <c:pt idx="124">
                  <c:v>7091</c:v>
                </c:pt>
                <c:pt idx="125">
                  <c:v>7121</c:v>
                </c:pt>
                <c:pt idx="126">
                  <c:v>7152</c:v>
                </c:pt>
                <c:pt idx="127">
                  <c:v>7183</c:v>
                </c:pt>
                <c:pt idx="128">
                  <c:v>7213</c:v>
                </c:pt>
                <c:pt idx="129">
                  <c:v>7244</c:v>
                </c:pt>
                <c:pt idx="130">
                  <c:v>7274</c:v>
                </c:pt>
                <c:pt idx="131">
                  <c:v>7305</c:v>
                </c:pt>
                <c:pt idx="132">
                  <c:v>7336</c:v>
                </c:pt>
                <c:pt idx="133">
                  <c:v>7365</c:v>
                </c:pt>
                <c:pt idx="134">
                  <c:v>7396</c:v>
                </c:pt>
                <c:pt idx="135">
                  <c:v>7426</c:v>
                </c:pt>
                <c:pt idx="136">
                  <c:v>7457</c:v>
                </c:pt>
                <c:pt idx="137">
                  <c:v>7487</c:v>
                </c:pt>
                <c:pt idx="138">
                  <c:v>7518</c:v>
                </c:pt>
                <c:pt idx="139">
                  <c:v>7549</c:v>
                </c:pt>
                <c:pt idx="140">
                  <c:v>7579</c:v>
                </c:pt>
                <c:pt idx="141">
                  <c:v>7610</c:v>
                </c:pt>
                <c:pt idx="142">
                  <c:v>7640</c:v>
                </c:pt>
                <c:pt idx="143">
                  <c:v>7671</c:v>
                </c:pt>
                <c:pt idx="144">
                  <c:v>7702</c:v>
                </c:pt>
                <c:pt idx="145">
                  <c:v>7730</c:v>
                </c:pt>
                <c:pt idx="146">
                  <c:v>7761</c:v>
                </c:pt>
                <c:pt idx="147">
                  <c:v>7791</c:v>
                </c:pt>
                <c:pt idx="148">
                  <c:v>7822</c:v>
                </c:pt>
                <c:pt idx="149">
                  <c:v>7852</c:v>
                </c:pt>
                <c:pt idx="150">
                  <c:v>7883</c:v>
                </c:pt>
                <c:pt idx="151">
                  <c:v>7914</c:v>
                </c:pt>
                <c:pt idx="152">
                  <c:v>7944</c:v>
                </c:pt>
                <c:pt idx="153">
                  <c:v>7975</c:v>
                </c:pt>
                <c:pt idx="154">
                  <c:v>8005</c:v>
                </c:pt>
                <c:pt idx="155">
                  <c:v>8036</c:v>
                </c:pt>
                <c:pt idx="156">
                  <c:v>8067</c:v>
                </c:pt>
                <c:pt idx="157">
                  <c:v>8095</c:v>
                </c:pt>
                <c:pt idx="158">
                  <c:v>8126</c:v>
                </c:pt>
                <c:pt idx="159">
                  <c:v>8156</c:v>
                </c:pt>
                <c:pt idx="160">
                  <c:v>8187</c:v>
                </c:pt>
                <c:pt idx="161">
                  <c:v>8217</c:v>
                </c:pt>
                <c:pt idx="162">
                  <c:v>8248</c:v>
                </c:pt>
                <c:pt idx="163">
                  <c:v>8279</c:v>
                </c:pt>
                <c:pt idx="164">
                  <c:v>8309</c:v>
                </c:pt>
                <c:pt idx="165">
                  <c:v>8340</c:v>
                </c:pt>
                <c:pt idx="166">
                  <c:v>8370</c:v>
                </c:pt>
                <c:pt idx="167">
                  <c:v>8401</c:v>
                </c:pt>
                <c:pt idx="168">
                  <c:v>8432</c:v>
                </c:pt>
                <c:pt idx="169">
                  <c:v>8460</c:v>
                </c:pt>
                <c:pt idx="170">
                  <c:v>8491</c:v>
                </c:pt>
                <c:pt idx="171">
                  <c:v>8521</c:v>
                </c:pt>
                <c:pt idx="172">
                  <c:v>8552</c:v>
                </c:pt>
                <c:pt idx="173">
                  <c:v>8582</c:v>
                </c:pt>
                <c:pt idx="174">
                  <c:v>8613</c:v>
                </c:pt>
                <c:pt idx="175">
                  <c:v>8644</c:v>
                </c:pt>
                <c:pt idx="176">
                  <c:v>8674</c:v>
                </c:pt>
                <c:pt idx="177">
                  <c:v>8705</c:v>
                </c:pt>
                <c:pt idx="178">
                  <c:v>8735</c:v>
                </c:pt>
                <c:pt idx="179">
                  <c:v>8766</c:v>
                </c:pt>
                <c:pt idx="180">
                  <c:v>8797</c:v>
                </c:pt>
                <c:pt idx="181">
                  <c:v>8826</c:v>
                </c:pt>
                <c:pt idx="182">
                  <c:v>8857</c:v>
                </c:pt>
                <c:pt idx="183">
                  <c:v>8887</c:v>
                </c:pt>
                <c:pt idx="184">
                  <c:v>8918</c:v>
                </c:pt>
                <c:pt idx="185">
                  <c:v>8948</c:v>
                </c:pt>
                <c:pt idx="186">
                  <c:v>8979</c:v>
                </c:pt>
                <c:pt idx="187">
                  <c:v>9010</c:v>
                </c:pt>
                <c:pt idx="188">
                  <c:v>9040</c:v>
                </c:pt>
                <c:pt idx="189">
                  <c:v>9071</c:v>
                </c:pt>
                <c:pt idx="190">
                  <c:v>9101</c:v>
                </c:pt>
                <c:pt idx="191">
                  <c:v>9132</c:v>
                </c:pt>
                <c:pt idx="192">
                  <c:v>9163</c:v>
                </c:pt>
                <c:pt idx="193">
                  <c:v>9191</c:v>
                </c:pt>
                <c:pt idx="194">
                  <c:v>9222</c:v>
                </c:pt>
                <c:pt idx="195">
                  <c:v>9252</c:v>
                </c:pt>
                <c:pt idx="196">
                  <c:v>9283</c:v>
                </c:pt>
                <c:pt idx="197">
                  <c:v>9313</c:v>
                </c:pt>
                <c:pt idx="198">
                  <c:v>9344</c:v>
                </c:pt>
                <c:pt idx="199">
                  <c:v>9375</c:v>
                </c:pt>
                <c:pt idx="200">
                  <c:v>9405</c:v>
                </c:pt>
                <c:pt idx="201">
                  <c:v>9436</c:v>
                </c:pt>
                <c:pt idx="202">
                  <c:v>9466</c:v>
                </c:pt>
                <c:pt idx="203">
                  <c:v>9497</c:v>
                </c:pt>
                <c:pt idx="204">
                  <c:v>9528</c:v>
                </c:pt>
                <c:pt idx="205">
                  <c:v>9556</c:v>
                </c:pt>
                <c:pt idx="206">
                  <c:v>9587</c:v>
                </c:pt>
                <c:pt idx="207">
                  <c:v>9617</c:v>
                </c:pt>
                <c:pt idx="208">
                  <c:v>9648</c:v>
                </c:pt>
                <c:pt idx="209">
                  <c:v>9678</c:v>
                </c:pt>
                <c:pt idx="210">
                  <c:v>9709</c:v>
                </c:pt>
                <c:pt idx="211">
                  <c:v>9740</c:v>
                </c:pt>
                <c:pt idx="212">
                  <c:v>9770</c:v>
                </c:pt>
                <c:pt idx="213">
                  <c:v>9801</c:v>
                </c:pt>
                <c:pt idx="214">
                  <c:v>9831</c:v>
                </c:pt>
                <c:pt idx="215">
                  <c:v>9862</c:v>
                </c:pt>
                <c:pt idx="216">
                  <c:v>9893</c:v>
                </c:pt>
                <c:pt idx="217">
                  <c:v>9921</c:v>
                </c:pt>
                <c:pt idx="218">
                  <c:v>9952</c:v>
                </c:pt>
                <c:pt idx="219">
                  <c:v>9982</c:v>
                </c:pt>
                <c:pt idx="220">
                  <c:v>10013</c:v>
                </c:pt>
                <c:pt idx="221">
                  <c:v>10043</c:v>
                </c:pt>
                <c:pt idx="222">
                  <c:v>10074</c:v>
                </c:pt>
                <c:pt idx="223">
                  <c:v>10105</c:v>
                </c:pt>
                <c:pt idx="224">
                  <c:v>10135</c:v>
                </c:pt>
                <c:pt idx="225">
                  <c:v>10166</c:v>
                </c:pt>
                <c:pt idx="226">
                  <c:v>10196</c:v>
                </c:pt>
                <c:pt idx="227">
                  <c:v>10227</c:v>
                </c:pt>
                <c:pt idx="228">
                  <c:v>10258</c:v>
                </c:pt>
                <c:pt idx="229">
                  <c:v>10287</c:v>
                </c:pt>
                <c:pt idx="230">
                  <c:v>10318</c:v>
                </c:pt>
                <c:pt idx="231">
                  <c:v>10348</c:v>
                </c:pt>
                <c:pt idx="232">
                  <c:v>10379</c:v>
                </c:pt>
                <c:pt idx="233">
                  <c:v>10409</c:v>
                </c:pt>
                <c:pt idx="234">
                  <c:v>10440</c:v>
                </c:pt>
                <c:pt idx="235">
                  <c:v>10471</c:v>
                </c:pt>
                <c:pt idx="236">
                  <c:v>10501</c:v>
                </c:pt>
                <c:pt idx="237">
                  <c:v>10532</c:v>
                </c:pt>
                <c:pt idx="238">
                  <c:v>10562</c:v>
                </c:pt>
                <c:pt idx="239">
                  <c:v>10593</c:v>
                </c:pt>
                <c:pt idx="240">
                  <c:v>10624</c:v>
                </c:pt>
                <c:pt idx="241">
                  <c:v>10652</c:v>
                </c:pt>
                <c:pt idx="242">
                  <c:v>10683</c:v>
                </c:pt>
                <c:pt idx="243">
                  <c:v>10713</c:v>
                </c:pt>
                <c:pt idx="244">
                  <c:v>10744</c:v>
                </c:pt>
                <c:pt idx="245">
                  <c:v>10774</c:v>
                </c:pt>
                <c:pt idx="246">
                  <c:v>10805</c:v>
                </c:pt>
                <c:pt idx="247">
                  <c:v>10836</c:v>
                </c:pt>
                <c:pt idx="248">
                  <c:v>10866</c:v>
                </c:pt>
                <c:pt idx="249">
                  <c:v>10897</c:v>
                </c:pt>
                <c:pt idx="250">
                  <c:v>10927</c:v>
                </c:pt>
                <c:pt idx="251">
                  <c:v>10958</c:v>
                </c:pt>
                <c:pt idx="252">
                  <c:v>10989</c:v>
                </c:pt>
                <c:pt idx="253">
                  <c:v>11017</c:v>
                </c:pt>
                <c:pt idx="254">
                  <c:v>11048</c:v>
                </c:pt>
                <c:pt idx="255">
                  <c:v>11078</c:v>
                </c:pt>
                <c:pt idx="256">
                  <c:v>11109</c:v>
                </c:pt>
                <c:pt idx="257">
                  <c:v>11139</c:v>
                </c:pt>
                <c:pt idx="258">
                  <c:v>11170</c:v>
                </c:pt>
                <c:pt idx="259">
                  <c:v>11201</c:v>
                </c:pt>
                <c:pt idx="260">
                  <c:v>11231</c:v>
                </c:pt>
                <c:pt idx="261">
                  <c:v>11262</c:v>
                </c:pt>
                <c:pt idx="262">
                  <c:v>11292</c:v>
                </c:pt>
                <c:pt idx="263">
                  <c:v>11323</c:v>
                </c:pt>
                <c:pt idx="264">
                  <c:v>11354</c:v>
                </c:pt>
                <c:pt idx="265">
                  <c:v>11382</c:v>
                </c:pt>
                <c:pt idx="266">
                  <c:v>11413</c:v>
                </c:pt>
                <c:pt idx="267">
                  <c:v>11443</c:v>
                </c:pt>
                <c:pt idx="268">
                  <c:v>11474</c:v>
                </c:pt>
                <c:pt idx="269">
                  <c:v>11504</c:v>
                </c:pt>
                <c:pt idx="270">
                  <c:v>11535</c:v>
                </c:pt>
                <c:pt idx="271">
                  <c:v>11566</c:v>
                </c:pt>
                <c:pt idx="272">
                  <c:v>11596</c:v>
                </c:pt>
                <c:pt idx="273">
                  <c:v>11627</c:v>
                </c:pt>
                <c:pt idx="274">
                  <c:v>11657</c:v>
                </c:pt>
                <c:pt idx="275">
                  <c:v>11688</c:v>
                </c:pt>
                <c:pt idx="276">
                  <c:v>11719</c:v>
                </c:pt>
                <c:pt idx="277">
                  <c:v>11748</c:v>
                </c:pt>
                <c:pt idx="278">
                  <c:v>11779</c:v>
                </c:pt>
                <c:pt idx="279">
                  <c:v>11809</c:v>
                </c:pt>
                <c:pt idx="280">
                  <c:v>11840</c:v>
                </c:pt>
                <c:pt idx="281">
                  <c:v>11870</c:v>
                </c:pt>
                <c:pt idx="282">
                  <c:v>11901</c:v>
                </c:pt>
                <c:pt idx="283">
                  <c:v>11932</c:v>
                </c:pt>
                <c:pt idx="284">
                  <c:v>11962</c:v>
                </c:pt>
                <c:pt idx="285">
                  <c:v>11993</c:v>
                </c:pt>
                <c:pt idx="286">
                  <c:v>12023</c:v>
                </c:pt>
                <c:pt idx="287">
                  <c:v>12054</c:v>
                </c:pt>
                <c:pt idx="288">
                  <c:v>12085</c:v>
                </c:pt>
                <c:pt idx="289">
                  <c:v>12113</c:v>
                </c:pt>
                <c:pt idx="290">
                  <c:v>12144</c:v>
                </c:pt>
                <c:pt idx="291">
                  <c:v>12174</c:v>
                </c:pt>
                <c:pt idx="292">
                  <c:v>12205</c:v>
                </c:pt>
                <c:pt idx="293">
                  <c:v>12235</c:v>
                </c:pt>
                <c:pt idx="294">
                  <c:v>12266</c:v>
                </c:pt>
                <c:pt idx="295">
                  <c:v>12297</c:v>
                </c:pt>
                <c:pt idx="296">
                  <c:v>12327</c:v>
                </c:pt>
                <c:pt idx="297">
                  <c:v>12358</c:v>
                </c:pt>
                <c:pt idx="298">
                  <c:v>12388</c:v>
                </c:pt>
                <c:pt idx="299">
                  <c:v>12419</c:v>
                </c:pt>
                <c:pt idx="300">
                  <c:v>12450</c:v>
                </c:pt>
                <c:pt idx="301">
                  <c:v>12478</c:v>
                </c:pt>
                <c:pt idx="302">
                  <c:v>12509</c:v>
                </c:pt>
                <c:pt idx="303">
                  <c:v>12539</c:v>
                </c:pt>
                <c:pt idx="304">
                  <c:v>12570</c:v>
                </c:pt>
                <c:pt idx="305">
                  <c:v>12600</c:v>
                </c:pt>
                <c:pt idx="306">
                  <c:v>12631</c:v>
                </c:pt>
                <c:pt idx="307">
                  <c:v>12662</c:v>
                </c:pt>
                <c:pt idx="308">
                  <c:v>12692</c:v>
                </c:pt>
                <c:pt idx="309">
                  <c:v>12723</c:v>
                </c:pt>
                <c:pt idx="310">
                  <c:v>12753</c:v>
                </c:pt>
                <c:pt idx="311">
                  <c:v>12784</c:v>
                </c:pt>
                <c:pt idx="312">
                  <c:v>12815</c:v>
                </c:pt>
                <c:pt idx="313">
                  <c:v>12843</c:v>
                </c:pt>
                <c:pt idx="314">
                  <c:v>12874</c:v>
                </c:pt>
                <c:pt idx="315">
                  <c:v>12904</c:v>
                </c:pt>
                <c:pt idx="316">
                  <c:v>12935</c:v>
                </c:pt>
                <c:pt idx="317">
                  <c:v>12965</c:v>
                </c:pt>
                <c:pt idx="318">
                  <c:v>12996</c:v>
                </c:pt>
                <c:pt idx="319">
                  <c:v>13027</c:v>
                </c:pt>
                <c:pt idx="320">
                  <c:v>13057</c:v>
                </c:pt>
                <c:pt idx="321">
                  <c:v>13088</c:v>
                </c:pt>
                <c:pt idx="322">
                  <c:v>13118</c:v>
                </c:pt>
                <c:pt idx="323">
                  <c:v>13149</c:v>
                </c:pt>
                <c:pt idx="324">
                  <c:v>13180</c:v>
                </c:pt>
                <c:pt idx="325">
                  <c:v>13209</c:v>
                </c:pt>
                <c:pt idx="326">
                  <c:v>13240</c:v>
                </c:pt>
                <c:pt idx="327">
                  <c:v>13270</c:v>
                </c:pt>
                <c:pt idx="328">
                  <c:v>13301</c:v>
                </c:pt>
                <c:pt idx="329">
                  <c:v>13331</c:v>
                </c:pt>
                <c:pt idx="330">
                  <c:v>13362</c:v>
                </c:pt>
                <c:pt idx="331">
                  <c:v>13393</c:v>
                </c:pt>
                <c:pt idx="332">
                  <c:v>13423</c:v>
                </c:pt>
                <c:pt idx="333">
                  <c:v>13454</c:v>
                </c:pt>
                <c:pt idx="334">
                  <c:v>13484</c:v>
                </c:pt>
                <c:pt idx="335">
                  <c:v>13515</c:v>
                </c:pt>
                <c:pt idx="336">
                  <c:v>13546</c:v>
                </c:pt>
                <c:pt idx="337">
                  <c:v>13574</c:v>
                </c:pt>
                <c:pt idx="338">
                  <c:v>13605</c:v>
                </c:pt>
                <c:pt idx="339">
                  <c:v>13635</c:v>
                </c:pt>
                <c:pt idx="340">
                  <c:v>13666</c:v>
                </c:pt>
                <c:pt idx="341">
                  <c:v>13696</c:v>
                </c:pt>
                <c:pt idx="342">
                  <c:v>13727</c:v>
                </c:pt>
                <c:pt idx="343">
                  <c:v>13758</c:v>
                </c:pt>
                <c:pt idx="344">
                  <c:v>13788</c:v>
                </c:pt>
                <c:pt idx="345">
                  <c:v>13819</c:v>
                </c:pt>
                <c:pt idx="346">
                  <c:v>13849</c:v>
                </c:pt>
                <c:pt idx="347">
                  <c:v>13880</c:v>
                </c:pt>
                <c:pt idx="348">
                  <c:v>13911</c:v>
                </c:pt>
                <c:pt idx="349">
                  <c:v>13939</c:v>
                </c:pt>
                <c:pt idx="350">
                  <c:v>13970</c:v>
                </c:pt>
                <c:pt idx="351">
                  <c:v>14000</c:v>
                </c:pt>
                <c:pt idx="352">
                  <c:v>14031</c:v>
                </c:pt>
                <c:pt idx="353">
                  <c:v>14061</c:v>
                </c:pt>
                <c:pt idx="354">
                  <c:v>14092</c:v>
                </c:pt>
                <c:pt idx="355">
                  <c:v>14123</c:v>
                </c:pt>
                <c:pt idx="356">
                  <c:v>14153</c:v>
                </c:pt>
                <c:pt idx="357">
                  <c:v>14184</c:v>
                </c:pt>
                <c:pt idx="358">
                  <c:v>14214</c:v>
                </c:pt>
                <c:pt idx="359">
                  <c:v>14245</c:v>
                </c:pt>
                <c:pt idx="360">
                  <c:v>14276</c:v>
                </c:pt>
                <c:pt idx="361">
                  <c:v>14304</c:v>
                </c:pt>
                <c:pt idx="362">
                  <c:v>14335</c:v>
                </c:pt>
                <c:pt idx="363">
                  <c:v>14365</c:v>
                </c:pt>
                <c:pt idx="364">
                  <c:v>14396</c:v>
                </c:pt>
                <c:pt idx="365">
                  <c:v>14426</c:v>
                </c:pt>
                <c:pt idx="366">
                  <c:v>14457</c:v>
                </c:pt>
                <c:pt idx="367">
                  <c:v>14488</c:v>
                </c:pt>
                <c:pt idx="368">
                  <c:v>14518</c:v>
                </c:pt>
                <c:pt idx="369">
                  <c:v>14549</c:v>
                </c:pt>
                <c:pt idx="370">
                  <c:v>14579</c:v>
                </c:pt>
                <c:pt idx="371">
                  <c:v>14610</c:v>
                </c:pt>
                <c:pt idx="372">
                  <c:v>14641</c:v>
                </c:pt>
                <c:pt idx="373">
                  <c:v>14670</c:v>
                </c:pt>
                <c:pt idx="374">
                  <c:v>14701</c:v>
                </c:pt>
                <c:pt idx="375">
                  <c:v>14731</c:v>
                </c:pt>
                <c:pt idx="376">
                  <c:v>14762</c:v>
                </c:pt>
                <c:pt idx="377">
                  <c:v>14792</c:v>
                </c:pt>
                <c:pt idx="378">
                  <c:v>14823</c:v>
                </c:pt>
                <c:pt idx="379">
                  <c:v>14854</c:v>
                </c:pt>
                <c:pt idx="380">
                  <c:v>14884</c:v>
                </c:pt>
                <c:pt idx="381">
                  <c:v>14915</c:v>
                </c:pt>
                <c:pt idx="382">
                  <c:v>14945</c:v>
                </c:pt>
                <c:pt idx="383">
                  <c:v>14976</c:v>
                </c:pt>
                <c:pt idx="384">
                  <c:v>15007</c:v>
                </c:pt>
                <c:pt idx="385">
                  <c:v>15035</c:v>
                </c:pt>
                <c:pt idx="386">
                  <c:v>15066</c:v>
                </c:pt>
                <c:pt idx="387">
                  <c:v>15096</c:v>
                </c:pt>
                <c:pt idx="388">
                  <c:v>15127</c:v>
                </c:pt>
                <c:pt idx="389">
                  <c:v>15157</c:v>
                </c:pt>
                <c:pt idx="390">
                  <c:v>15188</c:v>
                </c:pt>
                <c:pt idx="391">
                  <c:v>15219</c:v>
                </c:pt>
                <c:pt idx="392">
                  <c:v>15249</c:v>
                </c:pt>
                <c:pt idx="393">
                  <c:v>15280</c:v>
                </c:pt>
                <c:pt idx="394">
                  <c:v>15310</c:v>
                </c:pt>
                <c:pt idx="395">
                  <c:v>15341</c:v>
                </c:pt>
                <c:pt idx="396">
                  <c:v>15372</c:v>
                </c:pt>
                <c:pt idx="397">
                  <c:v>15400</c:v>
                </c:pt>
                <c:pt idx="398">
                  <c:v>15431</c:v>
                </c:pt>
                <c:pt idx="399">
                  <c:v>15461</c:v>
                </c:pt>
                <c:pt idx="400">
                  <c:v>15492</c:v>
                </c:pt>
                <c:pt idx="401">
                  <c:v>15522</c:v>
                </c:pt>
                <c:pt idx="402">
                  <c:v>15553</c:v>
                </c:pt>
                <c:pt idx="403">
                  <c:v>15584</c:v>
                </c:pt>
                <c:pt idx="404">
                  <c:v>15614</c:v>
                </c:pt>
                <c:pt idx="405">
                  <c:v>15645</c:v>
                </c:pt>
                <c:pt idx="406">
                  <c:v>15675</c:v>
                </c:pt>
                <c:pt idx="407">
                  <c:v>15706</c:v>
                </c:pt>
                <c:pt idx="408">
                  <c:v>15737</c:v>
                </c:pt>
                <c:pt idx="409">
                  <c:v>15765</c:v>
                </c:pt>
                <c:pt idx="410">
                  <c:v>15796</c:v>
                </c:pt>
                <c:pt idx="411">
                  <c:v>15826</c:v>
                </c:pt>
                <c:pt idx="412">
                  <c:v>15857</c:v>
                </c:pt>
                <c:pt idx="413">
                  <c:v>15887</c:v>
                </c:pt>
                <c:pt idx="414">
                  <c:v>15918</c:v>
                </c:pt>
                <c:pt idx="415">
                  <c:v>15949</c:v>
                </c:pt>
                <c:pt idx="416">
                  <c:v>15979</c:v>
                </c:pt>
                <c:pt idx="417">
                  <c:v>16010</c:v>
                </c:pt>
                <c:pt idx="418">
                  <c:v>16040</c:v>
                </c:pt>
                <c:pt idx="419">
                  <c:v>16071</c:v>
                </c:pt>
                <c:pt idx="420">
                  <c:v>16102</c:v>
                </c:pt>
                <c:pt idx="421">
                  <c:v>16131</c:v>
                </c:pt>
                <c:pt idx="422">
                  <c:v>16162</c:v>
                </c:pt>
                <c:pt idx="423">
                  <c:v>16192</c:v>
                </c:pt>
                <c:pt idx="424">
                  <c:v>16223</c:v>
                </c:pt>
                <c:pt idx="425">
                  <c:v>16253</c:v>
                </c:pt>
                <c:pt idx="426">
                  <c:v>16284</c:v>
                </c:pt>
                <c:pt idx="427">
                  <c:v>16315</c:v>
                </c:pt>
                <c:pt idx="428">
                  <c:v>16345</c:v>
                </c:pt>
                <c:pt idx="429">
                  <c:v>16376</c:v>
                </c:pt>
                <c:pt idx="430">
                  <c:v>16406</c:v>
                </c:pt>
                <c:pt idx="431">
                  <c:v>16437</c:v>
                </c:pt>
                <c:pt idx="432">
                  <c:v>16468</c:v>
                </c:pt>
                <c:pt idx="433">
                  <c:v>16496</c:v>
                </c:pt>
                <c:pt idx="434">
                  <c:v>16527</c:v>
                </c:pt>
                <c:pt idx="435">
                  <c:v>16557</c:v>
                </c:pt>
                <c:pt idx="436">
                  <c:v>16588</c:v>
                </c:pt>
                <c:pt idx="437">
                  <c:v>16618</c:v>
                </c:pt>
                <c:pt idx="438">
                  <c:v>16649</c:v>
                </c:pt>
                <c:pt idx="439">
                  <c:v>16680</c:v>
                </c:pt>
                <c:pt idx="440">
                  <c:v>16710</c:v>
                </c:pt>
                <c:pt idx="441">
                  <c:v>16741</c:v>
                </c:pt>
                <c:pt idx="442">
                  <c:v>16771</c:v>
                </c:pt>
                <c:pt idx="443">
                  <c:v>16802</c:v>
                </c:pt>
                <c:pt idx="444">
                  <c:v>16833</c:v>
                </c:pt>
                <c:pt idx="445">
                  <c:v>16861</c:v>
                </c:pt>
                <c:pt idx="446">
                  <c:v>16892</c:v>
                </c:pt>
                <c:pt idx="447">
                  <c:v>16922</c:v>
                </c:pt>
                <c:pt idx="448">
                  <c:v>16953</c:v>
                </c:pt>
                <c:pt idx="449">
                  <c:v>16983</c:v>
                </c:pt>
                <c:pt idx="450">
                  <c:v>17014</c:v>
                </c:pt>
                <c:pt idx="451">
                  <c:v>17045</c:v>
                </c:pt>
                <c:pt idx="452">
                  <c:v>17075</c:v>
                </c:pt>
                <c:pt idx="453">
                  <c:v>17106</c:v>
                </c:pt>
                <c:pt idx="454">
                  <c:v>17136</c:v>
                </c:pt>
                <c:pt idx="455">
                  <c:v>17167</c:v>
                </c:pt>
                <c:pt idx="456">
                  <c:v>17198</c:v>
                </c:pt>
                <c:pt idx="457">
                  <c:v>17226</c:v>
                </c:pt>
                <c:pt idx="458">
                  <c:v>17257</c:v>
                </c:pt>
                <c:pt idx="459">
                  <c:v>17287</c:v>
                </c:pt>
                <c:pt idx="460">
                  <c:v>17318</c:v>
                </c:pt>
                <c:pt idx="461">
                  <c:v>17348</c:v>
                </c:pt>
                <c:pt idx="462">
                  <c:v>17379</c:v>
                </c:pt>
                <c:pt idx="463">
                  <c:v>17410</c:v>
                </c:pt>
                <c:pt idx="464">
                  <c:v>17440</c:v>
                </c:pt>
                <c:pt idx="465">
                  <c:v>17471</c:v>
                </c:pt>
                <c:pt idx="466">
                  <c:v>17501</c:v>
                </c:pt>
                <c:pt idx="467">
                  <c:v>17532</c:v>
                </c:pt>
                <c:pt idx="468">
                  <c:v>17563</c:v>
                </c:pt>
                <c:pt idx="469">
                  <c:v>17592</c:v>
                </c:pt>
                <c:pt idx="470">
                  <c:v>17623</c:v>
                </c:pt>
                <c:pt idx="471">
                  <c:v>17653</c:v>
                </c:pt>
                <c:pt idx="472">
                  <c:v>17684</c:v>
                </c:pt>
                <c:pt idx="473">
                  <c:v>17714</c:v>
                </c:pt>
                <c:pt idx="474">
                  <c:v>17745</c:v>
                </c:pt>
                <c:pt idx="475">
                  <c:v>17776</c:v>
                </c:pt>
                <c:pt idx="476">
                  <c:v>17806</c:v>
                </c:pt>
                <c:pt idx="477">
                  <c:v>17837</c:v>
                </c:pt>
                <c:pt idx="478">
                  <c:v>17867</c:v>
                </c:pt>
                <c:pt idx="479">
                  <c:v>17898</c:v>
                </c:pt>
                <c:pt idx="480">
                  <c:v>17929</c:v>
                </c:pt>
                <c:pt idx="481">
                  <c:v>17957</c:v>
                </c:pt>
                <c:pt idx="482">
                  <c:v>17988</c:v>
                </c:pt>
                <c:pt idx="483">
                  <c:v>18018</c:v>
                </c:pt>
                <c:pt idx="484">
                  <c:v>18049</c:v>
                </c:pt>
                <c:pt idx="485">
                  <c:v>18079</c:v>
                </c:pt>
                <c:pt idx="486">
                  <c:v>18110</c:v>
                </c:pt>
                <c:pt idx="487">
                  <c:v>18141</c:v>
                </c:pt>
                <c:pt idx="488">
                  <c:v>18171</c:v>
                </c:pt>
                <c:pt idx="489">
                  <c:v>18202</c:v>
                </c:pt>
                <c:pt idx="490">
                  <c:v>18232</c:v>
                </c:pt>
                <c:pt idx="491">
                  <c:v>18263</c:v>
                </c:pt>
                <c:pt idx="492">
                  <c:v>18294</c:v>
                </c:pt>
                <c:pt idx="493">
                  <c:v>18322</c:v>
                </c:pt>
                <c:pt idx="494">
                  <c:v>18353</c:v>
                </c:pt>
                <c:pt idx="495">
                  <c:v>18383</c:v>
                </c:pt>
                <c:pt idx="496">
                  <c:v>18414</c:v>
                </c:pt>
                <c:pt idx="497">
                  <c:v>18444</c:v>
                </c:pt>
                <c:pt idx="498">
                  <c:v>18475</c:v>
                </c:pt>
                <c:pt idx="499">
                  <c:v>18506</c:v>
                </c:pt>
                <c:pt idx="500">
                  <c:v>18536</c:v>
                </c:pt>
                <c:pt idx="501">
                  <c:v>18567</c:v>
                </c:pt>
                <c:pt idx="502">
                  <c:v>18597</c:v>
                </c:pt>
                <c:pt idx="503">
                  <c:v>18628</c:v>
                </c:pt>
                <c:pt idx="504">
                  <c:v>18659</c:v>
                </c:pt>
                <c:pt idx="505">
                  <c:v>18687</c:v>
                </c:pt>
                <c:pt idx="506">
                  <c:v>18718</c:v>
                </c:pt>
                <c:pt idx="507">
                  <c:v>18748</c:v>
                </c:pt>
                <c:pt idx="508">
                  <c:v>18779</c:v>
                </c:pt>
                <c:pt idx="509">
                  <c:v>18809</c:v>
                </c:pt>
                <c:pt idx="510">
                  <c:v>18840</c:v>
                </c:pt>
                <c:pt idx="511">
                  <c:v>18871</c:v>
                </c:pt>
                <c:pt idx="512">
                  <c:v>18901</c:v>
                </c:pt>
                <c:pt idx="513">
                  <c:v>18932</c:v>
                </c:pt>
                <c:pt idx="514">
                  <c:v>18962</c:v>
                </c:pt>
                <c:pt idx="515">
                  <c:v>18993</c:v>
                </c:pt>
                <c:pt idx="516">
                  <c:v>19024</c:v>
                </c:pt>
                <c:pt idx="517">
                  <c:v>19053</c:v>
                </c:pt>
                <c:pt idx="518">
                  <c:v>19084</c:v>
                </c:pt>
                <c:pt idx="519">
                  <c:v>19114</c:v>
                </c:pt>
                <c:pt idx="520">
                  <c:v>19145</c:v>
                </c:pt>
                <c:pt idx="521">
                  <c:v>19175</c:v>
                </c:pt>
                <c:pt idx="522">
                  <c:v>19206</c:v>
                </c:pt>
                <c:pt idx="523">
                  <c:v>19237</c:v>
                </c:pt>
                <c:pt idx="524">
                  <c:v>19267</c:v>
                </c:pt>
                <c:pt idx="525">
                  <c:v>19298</c:v>
                </c:pt>
                <c:pt idx="526">
                  <c:v>19328</c:v>
                </c:pt>
                <c:pt idx="527">
                  <c:v>19359</c:v>
                </c:pt>
                <c:pt idx="528">
                  <c:v>19390</c:v>
                </c:pt>
                <c:pt idx="529">
                  <c:v>19418</c:v>
                </c:pt>
                <c:pt idx="530">
                  <c:v>19449</c:v>
                </c:pt>
                <c:pt idx="531">
                  <c:v>19479</c:v>
                </c:pt>
                <c:pt idx="532">
                  <c:v>19510</c:v>
                </c:pt>
                <c:pt idx="533">
                  <c:v>19540</c:v>
                </c:pt>
                <c:pt idx="534">
                  <c:v>19571</c:v>
                </c:pt>
                <c:pt idx="535">
                  <c:v>19602</c:v>
                </c:pt>
                <c:pt idx="536">
                  <c:v>19632</c:v>
                </c:pt>
                <c:pt idx="537">
                  <c:v>19663</c:v>
                </c:pt>
                <c:pt idx="538">
                  <c:v>19693</c:v>
                </c:pt>
                <c:pt idx="539">
                  <c:v>19724</c:v>
                </c:pt>
                <c:pt idx="540">
                  <c:v>19755</c:v>
                </c:pt>
                <c:pt idx="541">
                  <c:v>19783</c:v>
                </c:pt>
                <c:pt idx="542">
                  <c:v>19814</c:v>
                </c:pt>
                <c:pt idx="543">
                  <c:v>19844</c:v>
                </c:pt>
                <c:pt idx="544">
                  <c:v>19875</c:v>
                </c:pt>
                <c:pt idx="545">
                  <c:v>19905</c:v>
                </c:pt>
                <c:pt idx="546">
                  <c:v>19936</c:v>
                </c:pt>
                <c:pt idx="547">
                  <c:v>19967</c:v>
                </c:pt>
                <c:pt idx="548">
                  <c:v>19997</c:v>
                </c:pt>
                <c:pt idx="549">
                  <c:v>20028</c:v>
                </c:pt>
                <c:pt idx="550">
                  <c:v>20058</c:v>
                </c:pt>
                <c:pt idx="551">
                  <c:v>20089</c:v>
                </c:pt>
                <c:pt idx="552">
                  <c:v>20120</c:v>
                </c:pt>
                <c:pt idx="553">
                  <c:v>20148</c:v>
                </c:pt>
                <c:pt idx="554">
                  <c:v>20179</c:v>
                </c:pt>
                <c:pt idx="555">
                  <c:v>20209</c:v>
                </c:pt>
                <c:pt idx="556">
                  <c:v>20240</c:v>
                </c:pt>
                <c:pt idx="557">
                  <c:v>20270</c:v>
                </c:pt>
                <c:pt idx="558">
                  <c:v>20301</c:v>
                </c:pt>
                <c:pt idx="559">
                  <c:v>20332</c:v>
                </c:pt>
                <c:pt idx="560">
                  <c:v>20362</c:v>
                </c:pt>
                <c:pt idx="561">
                  <c:v>20393</c:v>
                </c:pt>
                <c:pt idx="562">
                  <c:v>20423</c:v>
                </c:pt>
                <c:pt idx="563">
                  <c:v>20454</c:v>
                </c:pt>
                <c:pt idx="564">
                  <c:v>20485</c:v>
                </c:pt>
                <c:pt idx="565">
                  <c:v>20514</c:v>
                </c:pt>
                <c:pt idx="566">
                  <c:v>20545</c:v>
                </c:pt>
                <c:pt idx="567">
                  <c:v>20575</c:v>
                </c:pt>
                <c:pt idx="568">
                  <c:v>20606</c:v>
                </c:pt>
                <c:pt idx="569">
                  <c:v>20636</c:v>
                </c:pt>
                <c:pt idx="570">
                  <c:v>20667</c:v>
                </c:pt>
                <c:pt idx="571">
                  <c:v>20698</c:v>
                </c:pt>
                <c:pt idx="572">
                  <c:v>20728</c:v>
                </c:pt>
                <c:pt idx="573">
                  <c:v>20759</c:v>
                </c:pt>
                <c:pt idx="574">
                  <c:v>20789</c:v>
                </c:pt>
                <c:pt idx="575">
                  <c:v>20820</c:v>
                </c:pt>
                <c:pt idx="576">
                  <c:v>20851</c:v>
                </c:pt>
                <c:pt idx="577">
                  <c:v>20879</c:v>
                </c:pt>
                <c:pt idx="578">
                  <c:v>20910</c:v>
                </c:pt>
                <c:pt idx="579">
                  <c:v>20940</c:v>
                </c:pt>
                <c:pt idx="580">
                  <c:v>20971</c:v>
                </c:pt>
                <c:pt idx="581">
                  <c:v>21001</c:v>
                </c:pt>
                <c:pt idx="582">
                  <c:v>21032</c:v>
                </c:pt>
                <c:pt idx="583">
                  <c:v>21063</c:v>
                </c:pt>
                <c:pt idx="584">
                  <c:v>21093</c:v>
                </c:pt>
                <c:pt idx="585">
                  <c:v>21124</c:v>
                </c:pt>
                <c:pt idx="586">
                  <c:v>21154</c:v>
                </c:pt>
                <c:pt idx="587">
                  <c:v>21185</c:v>
                </c:pt>
                <c:pt idx="588">
                  <c:v>21216</c:v>
                </c:pt>
                <c:pt idx="589">
                  <c:v>21244</c:v>
                </c:pt>
                <c:pt idx="590">
                  <c:v>21275</c:v>
                </c:pt>
                <c:pt idx="591">
                  <c:v>21305</c:v>
                </c:pt>
                <c:pt idx="592">
                  <c:v>21336</c:v>
                </c:pt>
                <c:pt idx="593">
                  <c:v>21366</c:v>
                </c:pt>
                <c:pt idx="594">
                  <c:v>21397</c:v>
                </c:pt>
                <c:pt idx="595">
                  <c:v>21428</c:v>
                </c:pt>
                <c:pt idx="596">
                  <c:v>21458</c:v>
                </c:pt>
                <c:pt idx="597">
                  <c:v>21489</c:v>
                </c:pt>
                <c:pt idx="598">
                  <c:v>21519</c:v>
                </c:pt>
                <c:pt idx="599">
                  <c:v>21550</c:v>
                </c:pt>
                <c:pt idx="600">
                  <c:v>21581</c:v>
                </c:pt>
                <c:pt idx="601">
                  <c:v>21609</c:v>
                </c:pt>
                <c:pt idx="602">
                  <c:v>21640</c:v>
                </c:pt>
                <c:pt idx="603">
                  <c:v>21670</c:v>
                </c:pt>
                <c:pt idx="604">
                  <c:v>21701</c:v>
                </c:pt>
                <c:pt idx="605">
                  <c:v>21731</c:v>
                </c:pt>
                <c:pt idx="606">
                  <c:v>21762</c:v>
                </c:pt>
                <c:pt idx="607">
                  <c:v>21793</c:v>
                </c:pt>
                <c:pt idx="608">
                  <c:v>21823</c:v>
                </c:pt>
                <c:pt idx="609">
                  <c:v>21854</c:v>
                </c:pt>
                <c:pt idx="610">
                  <c:v>21884</c:v>
                </c:pt>
                <c:pt idx="611">
                  <c:v>21915</c:v>
                </c:pt>
                <c:pt idx="612">
                  <c:v>21946</c:v>
                </c:pt>
                <c:pt idx="613">
                  <c:v>21975</c:v>
                </c:pt>
                <c:pt idx="614">
                  <c:v>22006</c:v>
                </c:pt>
                <c:pt idx="615">
                  <c:v>22036</c:v>
                </c:pt>
                <c:pt idx="616">
                  <c:v>22067</c:v>
                </c:pt>
                <c:pt idx="617">
                  <c:v>22097</c:v>
                </c:pt>
                <c:pt idx="618">
                  <c:v>22128</c:v>
                </c:pt>
                <c:pt idx="619">
                  <c:v>22159</c:v>
                </c:pt>
                <c:pt idx="620">
                  <c:v>22189</c:v>
                </c:pt>
                <c:pt idx="621">
                  <c:v>22220</c:v>
                </c:pt>
                <c:pt idx="622">
                  <c:v>22250</c:v>
                </c:pt>
                <c:pt idx="623">
                  <c:v>22281</c:v>
                </c:pt>
                <c:pt idx="624">
                  <c:v>22312</c:v>
                </c:pt>
                <c:pt idx="625">
                  <c:v>22340</c:v>
                </c:pt>
                <c:pt idx="626">
                  <c:v>22371</c:v>
                </c:pt>
                <c:pt idx="627">
                  <c:v>22401</c:v>
                </c:pt>
                <c:pt idx="628">
                  <c:v>22432</c:v>
                </c:pt>
                <c:pt idx="629">
                  <c:v>22462</c:v>
                </c:pt>
                <c:pt idx="630">
                  <c:v>22493</c:v>
                </c:pt>
                <c:pt idx="631">
                  <c:v>22524</c:v>
                </c:pt>
                <c:pt idx="632">
                  <c:v>22554</c:v>
                </c:pt>
                <c:pt idx="633">
                  <c:v>22585</c:v>
                </c:pt>
                <c:pt idx="634">
                  <c:v>22615</c:v>
                </c:pt>
                <c:pt idx="635">
                  <c:v>22646</c:v>
                </c:pt>
                <c:pt idx="636">
                  <c:v>22677</c:v>
                </c:pt>
                <c:pt idx="637">
                  <c:v>22705</c:v>
                </c:pt>
                <c:pt idx="638">
                  <c:v>22736</c:v>
                </c:pt>
                <c:pt idx="639">
                  <c:v>22766</c:v>
                </c:pt>
                <c:pt idx="640">
                  <c:v>22797</c:v>
                </c:pt>
                <c:pt idx="641">
                  <c:v>22827</c:v>
                </c:pt>
                <c:pt idx="642">
                  <c:v>22858</c:v>
                </c:pt>
                <c:pt idx="643">
                  <c:v>22889</c:v>
                </c:pt>
                <c:pt idx="644">
                  <c:v>22919</c:v>
                </c:pt>
                <c:pt idx="645">
                  <c:v>22950</c:v>
                </c:pt>
                <c:pt idx="646">
                  <c:v>22980</c:v>
                </c:pt>
                <c:pt idx="647">
                  <c:v>23011</c:v>
                </c:pt>
                <c:pt idx="648">
                  <c:v>23042</c:v>
                </c:pt>
                <c:pt idx="649">
                  <c:v>23070</c:v>
                </c:pt>
                <c:pt idx="650">
                  <c:v>23101</c:v>
                </c:pt>
                <c:pt idx="651">
                  <c:v>23131</c:v>
                </c:pt>
                <c:pt idx="652">
                  <c:v>23162</c:v>
                </c:pt>
                <c:pt idx="653">
                  <c:v>23192</c:v>
                </c:pt>
                <c:pt idx="654">
                  <c:v>23223</c:v>
                </c:pt>
                <c:pt idx="655">
                  <c:v>23254</c:v>
                </c:pt>
                <c:pt idx="656">
                  <c:v>23284</c:v>
                </c:pt>
                <c:pt idx="657">
                  <c:v>23315</c:v>
                </c:pt>
                <c:pt idx="658">
                  <c:v>23345</c:v>
                </c:pt>
                <c:pt idx="659">
                  <c:v>23376</c:v>
                </c:pt>
                <c:pt idx="660">
                  <c:v>23407</c:v>
                </c:pt>
                <c:pt idx="661">
                  <c:v>23436</c:v>
                </c:pt>
                <c:pt idx="662">
                  <c:v>23467</c:v>
                </c:pt>
                <c:pt idx="663">
                  <c:v>23497</c:v>
                </c:pt>
                <c:pt idx="664">
                  <c:v>23528</c:v>
                </c:pt>
                <c:pt idx="665">
                  <c:v>23558</c:v>
                </c:pt>
                <c:pt idx="666">
                  <c:v>23589</c:v>
                </c:pt>
                <c:pt idx="667">
                  <c:v>23620</c:v>
                </c:pt>
                <c:pt idx="668">
                  <c:v>23650</c:v>
                </c:pt>
                <c:pt idx="669">
                  <c:v>23681</c:v>
                </c:pt>
                <c:pt idx="670">
                  <c:v>23711</c:v>
                </c:pt>
                <c:pt idx="671">
                  <c:v>23742</c:v>
                </c:pt>
                <c:pt idx="672">
                  <c:v>23773</c:v>
                </c:pt>
                <c:pt idx="673">
                  <c:v>23801</c:v>
                </c:pt>
                <c:pt idx="674">
                  <c:v>23832</c:v>
                </c:pt>
                <c:pt idx="675">
                  <c:v>23862</c:v>
                </c:pt>
                <c:pt idx="676">
                  <c:v>23893</c:v>
                </c:pt>
                <c:pt idx="677">
                  <c:v>23923</c:v>
                </c:pt>
                <c:pt idx="678">
                  <c:v>23954</c:v>
                </c:pt>
                <c:pt idx="679">
                  <c:v>23985</c:v>
                </c:pt>
                <c:pt idx="680">
                  <c:v>24015</c:v>
                </c:pt>
                <c:pt idx="681">
                  <c:v>24046</c:v>
                </c:pt>
                <c:pt idx="682">
                  <c:v>24076</c:v>
                </c:pt>
                <c:pt idx="683">
                  <c:v>24107</c:v>
                </c:pt>
                <c:pt idx="684">
                  <c:v>24138</c:v>
                </c:pt>
                <c:pt idx="685">
                  <c:v>24166</c:v>
                </c:pt>
                <c:pt idx="686">
                  <c:v>24197</c:v>
                </c:pt>
                <c:pt idx="687">
                  <c:v>24227</c:v>
                </c:pt>
                <c:pt idx="688">
                  <c:v>24258</c:v>
                </c:pt>
                <c:pt idx="689">
                  <c:v>24288</c:v>
                </c:pt>
                <c:pt idx="690">
                  <c:v>24319</c:v>
                </c:pt>
                <c:pt idx="691">
                  <c:v>24350</c:v>
                </c:pt>
                <c:pt idx="692">
                  <c:v>24380</c:v>
                </c:pt>
                <c:pt idx="693">
                  <c:v>24411</c:v>
                </c:pt>
                <c:pt idx="694">
                  <c:v>24441</c:v>
                </c:pt>
                <c:pt idx="695">
                  <c:v>24472</c:v>
                </c:pt>
                <c:pt idx="696">
                  <c:v>24503</c:v>
                </c:pt>
                <c:pt idx="697">
                  <c:v>24531</c:v>
                </c:pt>
                <c:pt idx="698">
                  <c:v>24562</c:v>
                </c:pt>
                <c:pt idx="699">
                  <c:v>24592</c:v>
                </c:pt>
                <c:pt idx="700">
                  <c:v>24623</c:v>
                </c:pt>
                <c:pt idx="701">
                  <c:v>24653</c:v>
                </c:pt>
                <c:pt idx="702">
                  <c:v>24684</c:v>
                </c:pt>
                <c:pt idx="703">
                  <c:v>24715</c:v>
                </c:pt>
                <c:pt idx="704">
                  <c:v>24745</c:v>
                </c:pt>
                <c:pt idx="705">
                  <c:v>24776</c:v>
                </c:pt>
                <c:pt idx="706">
                  <c:v>24806</c:v>
                </c:pt>
                <c:pt idx="707">
                  <c:v>24837</c:v>
                </c:pt>
                <c:pt idx="708">
                  <c:v>24868</c:v>
                </c:pt>
                <c:pt idx="709">
                  <c:v>24897</c:v>
                </c:pt>
                <c:pt idx="710">
                  <c:v>24928</c:v>
                </c:pt>
                <c:pt idx="711">
                  <c:v>24958</c:v>
                </c:pt>
                <c:pt idx="712">
                  <c:v>24989</c:v>
                </c:pt>
                <c:pt idx="713">
                  <c:v>25019</c:v>
                </c:pt>
                <c:pt idx="714">
                  <c:v>25050</c:v>
                </c:pt>
                <c:pt idx="715">
                  <c:v>25081</c:v>
                </c:pt>
                <c:pt idx="716">
                  <c:v>25111</c:v>
                </c:pt>
                <c:pt idx="717">
                  <c:v>25142</c:v>
                </c:pt>
                <c:pt idx="718">
                  <c:v>25172</c:v>
                </c:pt>
                <c:pt idx="719">
                  <c:v>25203</c:v>
                </c:pt>
                <c:pt idx="720">
                  <c:v>25234</c:v>
                </c:pt>
                <c:pt idx="721">
                  <c:v>25262</c:v>
                </c:pt>
                <c:pt idx="722">
                  <c:v>25293</c:v>
                </c:pt>
                <c:pt idx="723">
                  <c:v>25323</c:v>
                </c:pt>
                <c:pt idx="724">
                  <c:v>25354</c:v>
                </c:pt>
                <c:pt idx="725">
                  <c:v>25384</c:v>
                </c:pt>
                <c:pt idx="726">
                  <c:v>25415</c:v>
                </c:pt>
                <c:pt idx="727">
                  <c:v>25446</c:v>
                </c:pt>
                <c:pt idx="728">
                  <c:v>25476</c:v>
                </c:pt>
                <c:pt idx="729">
                  <c:v>25507</c:v>
                </c:pt>
                <c:pt idx="730">
                  <c:v>25537</c:v>
                </c:pt>
                <c:pt idx="731">
                  <c:v>25568</c:v>
                </c:pt>
                <c:pt idx="732">
                  <c:v>25599</c:v>
                </c:pt>
                <c:pt idx="733">
                  <c:v>25627</c:v>
                </c:pt>
                <c:pt idx="734">
                  <c:v>25658</c:v>
                </c:pt>
                <c:pt idx="735">
                  <c:v>25688</c:v>
                </c:pt>
                <c:pt idx="736">
                  <c:v>25719</c:v>
                </c:pt>
                <c:pt idx="737">
                  <c:v>25749</c:v>
                </c:pt>
                <c:pt idx="738">
                  <c:v>25780</c:v>
                </c:pt>
                <c:pt idx="739">
                  <c:v>25811</c:v>
                </c:pt>
                <c:pt idx="740">
                  <c:v>25841</c:v>
                </c:pt>
                <c:pt idx="741">
                  <c:v>25872</c:v>
                </c:pt>
                <c:pt idx="742">
                  <c:v>25902</c:v>
                </c:pt>
                <c:pt idx="743">
                  <c:v>25933</c:v>
                </c:pt>
                <c:pt idx="744">
                  <c:v>25964</c:v>
                </c:pt>
                <c:pt idx="745">
                  <c:v>25992</c:v>
                </c:pt>
                <c:pt idx="746">
                  <c:v>26023</c:v>
                </c:pt>
                <c:pt idx="747">
                  <c:v>26053</c:v>
                </c:pt>
                <c:pt idx="748">
                  <c:v>26084</c:v>
                </c:pt>
                <c:pt idx="749">
                  <c:v>26114</c:v>
                </c:pt>
                <c:pt idx="750">
                  <c:v>26145</c:v>
                </c:pt>
                <c:pt idx="751">
                  <c:v>26176</c:v>
                </c:pt>
                <c:pt idx="752">
                  <c:v>26206</c:v>
                </c:pt>
                <c:pt idx="753">
                  <c:v>26237</c:v>
                </c:pt>
                <c:pt idx="754">
                  <c:v>26267</c:v>
                </c:pt>
                <c:pt idx="755">
                  <c:v>26298</c:v>
                </c:pt>
                <c:pt idx="756">
                  <c:v>26329</c:v>
                </c:pt>
                <c:pt idx="757">
                  <c:v>26358</c:v>
                </c:pt>
                <c:pt idx="758">
                  <c:v>26389</c:v>
                </c:pt>
                <c:pt idx="759">
                  <c:v>26419</c:v>
                </c:pt>
                <c:pt idx="760">
                  <c:v>26450</c:v>
                </c:pt>
                <c:pt idx="761">
                  <c:v>26480</c:v>
                </c:pt>
                <c:pt idx="762">
                  <c:v>26511</c:v>
                </c:pt>
                <c:pt idx="763">
                  <c:v>26542</c:v>
                </c:pt>
                <c:pt idx="764">
                  <c:v>26572</c:v>
                </c:pt>
                <c:pt idx="765">
                  <c:v>26603</c:v>
                </c:pt>
                <c:pt idx="766">
                  <c:v>26633</c:v>
                </c:pt>
                <c:pt idx="767">
                  <c:v>26664</c:v>
                </c:pt>
                <c:pt idx="768">
                  <c:v>26695</c:v>
                </c:pt>
                <c:pt idx="769">
                  <c:v>26723</c:v>
                </c:pt>
                <c:pt idx="770">
                  <c:v>26754</c:v>
                </c:pt>
                <c:pt idx="771">
                  <c:v>26784</c:v>
                </c:pt>
                <c:pt idx="772">
                  <c:v>26815</c:v>
                </c:pt>
                <c:pt idx="773">
                  <c:v>26845</c:v>
                </c:pt>
                <c:pt idx="774">
                  <c:v>26876</c:v>
                </c:pt>
                <c:pt idx="775">
                  <c:v>26907</c:v>
                </c:pt>
                <c:pt idx="776">
                  <c:v>26937</c:v>
                </c:pt>
                <c:pt idx="777">
                  <c:v>26968</c:v>
                </c:pt>
                <c:pt idx="778">
                  <c:v>26998</c:v>
                </c:pt>
                <c:pt idx="779">
                  <c:v>27029</c:v>
                </c:pt>
                <c:pt idx="780">
                  <c:v>27060</c:v>
                </c:pt>
                <c:pt idx="781">
                  <c:v>27088</c:v>
                </c:pt>
                <c:pt idx="782">
                  <c:v>27119</c:v>
                </c:pt>
                <c:pt idx="783">
                  <c:v>27149</c:v>
                </c:pt>
                <c:pt idx="784">
                  <c:v>27180</c:v>
                </c:pt>
                <c:pt idx="785">
                  <c:v>27210</c:v>
                </c:pt>
                <c:pt idx="786">
                  <c:v>27241</c:v>
                </c:pt>
                <c:pt idx="787">
                  <c:v>27272</c:v>
                </c:pt>
                <c:pt idx="788">
                  <c:v>27302</c:v>
                </c:pt>
                <c:pt idx="789">
                  <c:v>27333</c:v>
                </c:pt>
                <c:pt idx="790">
                  <c:v>27363</c:v>
                </c:pt>
                <c:pt idx="791">
                  <c:v>27394</c:v>
                </c:pt>
                <c:pt idx="792">
                  <c:v>27425</c:v>
                </c:pt>
                <c:pt idx="793">
                  <c:v>27453</c:v>
                </c:pt>
                <c:pt idx="794">
                  <c:v>27484</c:v>
                </c:pt>
                <c:pt idx="795">
                  <c:v>27514</c:v>
                </c:pt>
                <c:pt idx="796">
                  <c:v>27545</c:v>
                </c:pt>
                <c:pt idx="797">
                  <c:v>27575</c:v>
                </c:pt>
                <c:pt idx="798">
                  <c:v>27606</c:v>
                </c:pt>
                <c:pt idx="799">
                  <c:v>27637</c:v>
                </c:pt>
                <c:pt idx="800">
                  <c:v>27667</c:v>
                </c:pt>
                <c:pt idx="801">
                  <c:v>27698</c:v>
                </c:pt>
                <c:pt idx="802">
                  <c:v>27728</c:v>
                </c:pt>
                <c:pt idx="803">
                  <c:v>27759</c:v>
                </c:pt>
                <c:pt idx="804">
                  <c:v>27790</c:v>
                </c:pt>
                <c:pt idx="805">
                  <c:v>27819</c:v>
                </c:pt>
                <c:pt idx="806">
                  <c:v>27850</c:v>
                </c:pt>
                <c:pt idx="807">
                  <c:v>27880</c:v>
                </c:pt>
                <c:pt idx="808">
                  <c:v>27911</c:v>
                </c:pt>
                <c:pt idx="809">
                  <c:v>27941</c:v>
                </c:pt>
                <c:pt idx="810">
                  <c:v>27972</c:v>
                </c:pt>
                <c:pt idx="811">
                  <c:v>28003</c:v>
                </c:pt>
                <c:pt idx="812">
                  <c:v>28033</c:v>
                </c:pt>
                <c:pt idx="813">
                  <c:v>28064</c:v>
                </c:pt>
                <c:pt idx="814">
                  <c:v>28094</c:v>
                </c:pt>
                <c:pt idx="815">
                  <c:v>28125</c:v>
                </c:pt>
                <c:pt idx="816">
                  <c:v>28156</c:v>
                </c:pt>
                <c:pt idx="817">
                  <c:v>28184</c:v>
                </c:pt>
                <c:pt idx="818">
                  <c:v>28215</c:v>
                </c:pt>
                <c:pt idx="819">
                  <c:v>28245</c:v>
                </c:pt>
                <c:pt idx="820">
                  <c:v>28276</c:v>
                </c:pt>
                <c:pt idx="821">
                  <c:v>28306</c:v>
                </c:pt>
                <c:pt idx="822">
                  <c:v>28337</c:v>
                </c:pt>
                <c:pt idx="823">
                  <c:v>28368</c:v>
                </c:pt>
                <c:pt idx="824">
                  <c:v>28398</c:v>
                </c:pt>
                <c:pt idx="825">
                  <c:v>28429</c:v>
                </c:pt>
                <c:pt idx="826">
                  <c:v>28459</c:v>
                </c:pt>
                <c:pt idx="827">
                  <c:v>28490</c:v>
                </c:pt>
                <c:pt idx="828">
                  <c:v>28521</c:v>
                </c:pt>
                <c:pt idx="829">
                  <c:v>28549</c:v>
                </c:pt>
                <c:pt idx="830">
                  <c:v>28580</c:v>
                </c:pt>
                <c:pt idx="831">
                  <c:v>28610</c:v>
                </c:pt>
                <c:pt idx="832">
                  <c:v>28641</c:v>
                </c:pt>
                <c:pt idx="833">
                  <c:v>28671</c:v>
                </c:pt>
                <c:pt idx="834">
                  <c:v>28702</c:v>
                </c:pt>
                <c:pt idx="835">
                  <c:v>28733</c:v>
                </c:pt>
                <c:pt idx="836">
                  <c:v>28763</c:v>
                </c:pt>
                <c:pt idx="837">
                  <c:v>28794</c:v>
                </c:pt>
                <c:pt idx="838">
                  <c:v>28824</c:v>
                </c:pt>
                <c:pt idx="839">
                  <c:v>28855</c:v>
                </c:pt>
                <c:pt idx="840">
                  <c:v>28886</c:v>
                </c:pt>
                <c:pt idx="841">
                  <c:v>28914</c:v>
                </c:pt>
                <c:pt idx="842">
                  <c:v>28945</c:v>
                </c:pt>
                <c:pt idx="843">
                  <c:v>28975</c:v>
                </c:pt>
                <c:pt idx="844">
                  <c:v>29006</c:v>
                </c:pt>
                <c:pt idx="845">
                  <c:v>29036</c:v>
                </c:pt>
                <c:pt idx="846">
                  <c:v>29067</c:v>
                </c:pt>
                <c:pt idx="847">
                  <c:v>29098</c:v>
                </c:pt>
                <c:pt idx="848">
                  <c:v>29128</c:v>
                </c:pt>
                <c:pt idx="849">
                  <c:v>29159</c:v>
                </c:pt>
                <c:pt idx="850">
                  <c:v>29189</c:v>
                </c:pt>
                <c:pt idx="851">
                  <c:v>29220</c:v>
                </c:pt>
                <c:pt idx="852">
                  <c:v>29251</c:v>
                </c:pt>
                <c:pt idx="853">
                  <c:v>29280</c:v>
                </c:pt>
                <c:pt idx="854">
                  <c:v>29311</c:v>
                </c:pt>
                <c:pt idx="855">
                  <c:v>29341</c:v>
                </c:pt>
                <c:pt idx="856">
                  <c:v>29372</c:v>
                </c:pt>
                <c:pt idx="857">
                  <c:v>29402</c:v>
                </c:pt>
                <c:pt idx="858">
                  <c:v>29433</c:v>
                </c:pt>
                <c:pt idx="859">
                  <c:v>29464</c:v>
                </c:pt>
                <c:pt idx="860">
                  <c:v>29494</c:v>
                </c:pt>
                <c:pt idx="861">
                  <c:v>29525</c:v>
                </c:pt>
                <c:pt idx="862">
                  <c:v>29555</c:v>
                </c:pt>
                <c:pt idx="863">
                  <c:v>29586</c:v>
                </c:pt>
                <c:pt idx="864">
                  <c:v>29617</c:v>
                </c:pt>
                <c:pt idx="865">
                  <c:v>29645</c:v>
                </c:pt>
                <c:pt idx="866">
                  <c:v>29676</c:v>
                </c:pt>
                <c:pt idx="867">
                  <c:v>29706</c:v>
                </c:pt>
                <c:pt idx="868">
                  <c:v>29737</c:v>
                </c:pt>
                <c:pt idx="869">
                  <c:v>29767</c:v>
                </c:pt>
                <c:pt idx="870">
                  <c:v>29798</c:v>
                </c:pt>
                <c:pt idx="871">
                  <c:v>29829</c:v>
                </c:pt>
                <c:pt idx="872">
                  <c:v>29859</c:v>
                </c:pt>
                <c:pt idx="873">
                  <c:v>29890</c:v>
                </c:pt>
                <c:pt idx="874">
                  <c:v>29920</c:v>
                </c:pt>
                <c:pt idx="875">
                  <c:v>29951</c:v>
                </c:pt>
                <c:pt idx="876">
                  <c:v>29982</c:v>
                </c:pt>
                <c:pt idx="877">
                  <c:v>30010</c:v>
                </c:pt>
                <c:pt idx="878">
                  <c:v>30041</c:v>
                </c:pt>
                <c:pt idx="879">
                  <c:v>30071</c:v>
                </c:pt>
                <c:pt idx="880">
                  <c:v>30102</c:v>
                </c:pt>
                <c:pt idx="881">
                  <c:v>30132</c:v>
                </c:pt>
                <c:pt idx="882">
                  <c:v>30163</c:v>
                </c:pt>
                <c:pt idx="883">
                  <c:v>30194</c:v>
                </c:pt>
                <c:pt idx="884">
                  <c:v>30224</c:v>
                </c:pt>
                <c:pt idx="885">
                  <c:v>30255</c:v>
                </c:pt>
                <c:pt idx="886">
                  <c:v>30285</c:v>
                </c:pt>
                <c:pt idx="887">
                  <c:v>30316</c:v>
                </c:pt>
                <c:pt idx="888">
                  <c:v>30347</c:v>
                </c:pt>
                <c:pt idx="889">
                  <c:v>30375</c:v>
                </c:pt>
                <c:pt idx="890">
                  <c:v>30406</c:v>
                </c:pt>
                <c:pt idx="891">
                  <c:v>30436</c:v>
                </c:pt>
                <c:pt idx="892">
                  <c:v>30467</c:v>
                </c:pt>
                <c:pt idx="893">
                  <c:v>30497</c:v>
                </c:pt>
                <c:pt idx="894">
                  <c:v>30528</c:v>
                </c:pt>
                <c:pt idx="895">
                  <c:v>30559</c:v>
                </c:pt>
                <c:pt idx="896">
                  <c:v>30589</c:v>
                </c:pt>
                <c:pt idx="897">
                  <c:v>30620</c:v>
                </c:pt>
                <c:pt idx="898">
                  <c:v>30650</c:v>
                </c:pt>
                <c:pt idx="899">
                  <c:v>30681</c:v>
                </c:pt>
                <c:pt idx="900">
                  <c:v>30712</c:v>
                </c:pt>
                <c:pt idx="901">
                  <c:v>30741</c:v>
                </c:pt>
                <c:pt idx="902">
                  <c:v>30772</c:v>
                </c:pt>
                <c:pt idx="903">
                  <c:v>30802</c:v>
                </c:pt>
                <c:pt idx="904">
                  <c:v>30833</c:v>
                </c:pt>
                <c:pt idx="905">
                  <c:v>30863</c:v>
                </c:pt>
                <c:pt idx="906">
                  <c:v>30894</c:v>
                </c:pt>
                <c:pt idx="907">
                  <c:v>30925</c:v>
                </c:pt>
                <c:pt idx="908">
                  <c:v>30955</c:v>
                </c:pt>
                <c:pt idx="909">
                  <c:v>30986</c:v>
                </c:pt>
                <c:pt idx="910">
                  <c:v>31016</c:v>
                </c:pt>
                <c:pt idx="911">
                  <c:v>31047</c:v>
                </c:pt>
                <c:pt idx="912">
                  <c:v>31078</c:v>
                </c:pt>
                <c:pt idx="913">
                  <c:v>31106</c:v>
                </c:pt>
                <c:pt idx="914">
                  <c:v>31137</c:v>
                </c:pt>
                <c:pt idx="915">
                  <c:v>31167</c:v>
                </c:pt>
                <c:pt idx="916">
                  <c:v>31198</c:v>
                </c:pt>
                <c:pt idx="917">
                  <c:v>31228</c:v>
                </c:pt>
                <c:pt idx="918">
                  <c:v>31259</c:v>
                </c:pt>
                <c:pt idx="919">
                  <c:v>31290</c:v>
                </c:pt>
                <c:pt idx="920">
                  <c:v>31320</c:v>
                </c:pt>
                <c:pt idx="921">
                  <c:v>31351</c:v>
                </c:pt>
                <c:pt idx="922">
                  <c:v>31381</c:v>
                </c:pt>
                <c:pt idx="923">
                  <c:v>31412</c:v>
                </c:pt>
                <c:pt idx="924">
                  <c:v>31443</c:v>
                </c:pt>
                <c:pt idx="925">
                  <c:v>31471</c:v>
                </c:pt>
                <c:pt idx="926">
                  <c:v>31502</c:v>
                </c:pt>
                <c:pt idx="927">
                  <c:v>31532</c:v>
                </c:pt>
                <c:pt idx="928">
                  <c:v>31563</c:v>
                </c:pt>
                <c:pt idx="929">
                  <c:v>31593</c:v>
                </c:pt>
                <c:pt idx="930">
                  <c:v>31624</c:v>
                </c:pt>
                <c:pt idx="931">
                  <c:v>31655</c:v>
                </c:pt>
                <c:pt idx="932">
                  <c:v>31685</c:v>
                </c:pt>
                <c:pt idx="933">
                  <c:v>31716</c:v>
                </c:pt>
                <c:pt idx="934">
                  <c:v>31746</c:v>
                </c:pt>
                <c:pt idx="935">
                  <c:v>31777</c:v>
                </c:pt>
                <c:pt idx="936">
                  <c:v>31808</c:v>
                </c:pt>
                <c:pt idx="937">
                  <c:v>31836</c:v>
                </c:pt>
                <c:pt idx="938">
                  <c:v>31867</c:v>
                </c:pt>
                <c:pt idx="939">
                  <c:v>31897</c:v>
                </c:pt>
                <c:pt idx="940">
                  <c:v>31928</c:v>
                </c:pt>
                <c:pt idx="941">
                  <c:v>31958</c:v>
                </c:pt>
                <c:pt idx="942">
                  <c:v>31989</c:v>
                </c:pt>
                <c:pt idx="943">
                  <c:v>32020</c:v>
                </c:pt>
                <c:pt idx="944">
                  <c:v>32050</c:v>
                </c:pt>
                <c:pt idx="945">
                  <c:v>32081</c:v>
                </c:pt>
                <c:pt idx="946">
                  <c:v>32111</c:v>
                </c:pt>
                <c:pt idx="947">
                  <c:v>32142</c:v>
                </c:pt>
                <c:pt idx="948">
                  <c:v>32173</c:v>
                </c:pt>
                <c:pt idx="949">
                  <c:v>32202</c:v>
                </c:pt>
                <c:pt idx="950">
                  <c:v>32233</c:v>
                </c:pt>
                <c:pt idx="951">
                  <c:v>32263</c:v>
                </c:pt>
                <c:pt idx="952">
                  <c:v>32294</c:v>
                </c:pt>
                <c:pt idx="953">
                  <c:v>32324</c:v>
                </c:pt>
                <c:pt idx="954">
                  <c:v>32355</c:v>
                </c:pt>
                <c:pt idx="955">
                  <c:v>32386</c:v>
                </c:pt>
                <c:pt idx="956">
                  <c:v>32416</c:v>
                </c:pt>
                <c:pt idx="957">
                  <c:v>32447</c:v>
                </c:pt>
                <c:pt idx="958">
                  <c:v>32477</c:v>
                </c:pt>
                <c:pt idx="959">
                  <c:v>32508</c:v>
                </c:pt>
                <c:pt idx="960">
                  <c:v>32539</c:v>
                </c:pt>
                <c:pt idx="961">
                  <c:v>32567</c:v>
                </c:pt>
                <c:pt idx="962">
                  <c:v>32598</c:v>
                </c:pt>
                <c:pt idx="963">
                  <c:v>32628</c:v>
                </c:pt>
                <c:pt idx="964">
                  <c:v>32659</c:v>
                </c:pt>
                <c:pt idx="965">
                  <c:v>32689</c:v>
                </c:pt>
                <c:pt idx="966">
                  <c:v>32720</c:v>
                </c:pt>
                <c:pt idx="967">
                  <c:v>32751</c:v>
                </c:pt>
                <c:pt idx="968">
                  <c:v>32781</c:v>
                </c:pt>
                <c:pt idx="969">
                  <c:v>32812</c:v>
                </c:pt>
                <c:pt idx="970">
                  <c:v>32842</c:v>
                </c:pt>
                <c:pt idx="971">
                  <c:v>32873</c:v>
                </c:pt>
                <c:pt idx="972">
                  <c:v>32904</c:v>
                </c:pt>
                <c:pt idx="973">
                  <c:v>32932</c:v>
                </c:pt>
                <c:pt idx="974">
                  <c:v>32963</c:v>
                </c:pt>
                <c:pt idx="975">
                  <c:v>32993</c:v>
                </c:pt>
                <c:pt idx="976">
                  <c:v>33024</c:v>
                </c:pt>
                <c:pt idx="977">
                  <c:v>33054</c:v>
                </c:pt>
                <c:pt idx="978">
                  <c:v>33085</c:v>
                </c:pt>
                <c:pt idx="979">
                  <c:v>33116</c:v>
                </c:pt>
                <c:pt idx="980">
                  <c:v>33146</c:v>
                </c:pt>
                <c:pt idx="981">
                  <c:v>33177</c:v>
                </c:pt>
                <c:pt idx="982">
                  <c:v>33207</c:v>
                </c:pt>
                <c:pt idx="983">
                  <c:v>33238</c:v>
                </c:pt>
                <c:pt idx="984">
                  <c:v>33269</c:v>
                </c:pt>
                <c:pt idx="985">
                  <c:v>33297</c:v>
                </c:pt>
                <c:pt idx="986">
                  <c:v>33328</c:v>
                </c:pt>
                <c:pt idx="987">
                  <c:v>33358</c:v>
                </c:pt>
                <c:pt idx="988">
                  <c:v>33389</c:v>
                </c:pt>
                <c:pt idx="989">
                  <c:v>33419</c:v>
                </c:pt>
                <c:pt idx="990">
                  <c:v>33450</c:v>
                </c:pt>
                <c:pt idx="991">
                  <c:v>33481</c:v>
                </c:pt>
                <c:pt idx="992">
                  <c:v>33511</c:v>
                </c:pt>
                <c:pt idx="993">
                  <c:v>33542</c:v>
                </c:pt>
                <c:pt idx="994">
                  <c:v>33572</c:v>
                </c:pt>
                <c:pt idx="995">
                  <c:v>33603</c:v>
                </c:pt>
                <c:pt idx="996">
                  <c:v>33634</c:v>
                </c:pt>
                <c:pt idx="997">
                  <c:v>33663</c:v>
                </c:pt>
                <c:pt idx="998">
                  <c:v>33694</c:v>
                </c:pt>
                <c:pt idx="999">
                  <c:v>33724</c:v>
                </c:pt>
                <c:pt idx="1000">
                  <c:v>33755</c:v>
                </c:pt>
                <c:pt idx="1001">
                  <c:v>33785</c:v>
                </c:pt>
                <c:pt idx="1002">
                  <c:v>33816</c:v>
                </c:pt>
                <c:pt idx="1003">
                  <c:v>33847</c:v>
                </c:pt>
                <c:pt idx="1004">
                  <c:v>33877</c:v>
                </c:pt>
                <c:pt idx="1005">
                  <c:v>33908</c:v>
                </c:pt>
                <c:pt idx="1006">
                  <c:v>33938</c:v>
                </c:pt>
                <c:pt idx="1007">
                  <c:v>33969</c:v>
                </c:pt>
                <c:pt idx="1008">
                  <c:v>34000</c:v>
                </c:pt>
                <c:pt idx="1009">
                  <c:v>34028</c:v>
                </c:pt>
                <c:pt idx="1010">
                  <c:v>34059</c:v>
                </c:pt>
                <c:pt idx="1011">
                  <c:v>34089</c:v>
                </c:pt>
                <c:pt idx="1012">
                  <c:v>34120</c:v>
                </c:pt>
                <c:pt idx="1013">
                  <c:v>34150</c:v>
                </c:pt>
                <c:pt idx="1014">
                  <c:v>34181</c:v>
                </c:pt>
                <c:pt idx="1015">
                  <c:v>34212</c:v>
                </c:pt>
                <c:pt idx="1016">
                  <c:v>34242</c:v>
                </c:pt>
                <c:pt idx="1017">
                  <c:v>34273</c:v>
                </c:pt>
                <c:pt idx="1018">
                  <c:v>34303</c:v>
                </c:pt>
                <c:pt idx="1019">
                  <c:v>34334</c:v>
                </c:pt>
                <c:pt idx="1020">
                  <c:v>34365</c:v>
                </c:pt>
                <c:pt idx="1021">
                  <c:v>34393</c:v>
                </c:pt>
                <c:pt idx="1022">
                  <c:v>34424</c:v>
                </c:pt>
                <c:pt idx="1023">
                  <c:v>34454</c:v>
                </c:pt>
                <c:pt idx="1024">
                  <c:v>34485</c:v>
                </c:pt>
                <c:pt idx="1025">
                  <c:v>34515</c:v>
                </c:pt>
                <c:pt idx="1026">
                  <c:v>34546</c:v>
                </c:pt>
                <c:pt idx="1027">
                  <c:v>34577</c:v>
                </c:pt>
                <c:pt idx="1028">
                  <c:v>34607</c:v>
                </c:pt>
                <c:pt idx="1029">
                  <c:v>34638</c:v>
                </c:pt>
                <c:pt idx="1030">
                  <c:v>34668</c:v>
                </c:pt>
                <c:pt idx="1031">
                  <c:v>34699</c:v>
                </c:pt>
                <c:pt idx="1032">
                  <c:v>34730</c:v>
                </c:pt>
                <c:pt idx="1033">
                  <c:v>34758</c:v>
                </c:pt>
                <c:pt idx="1034">
                  <c:v>34789</c:v>
                </c:pt>
                <c:pt idx="1035">
                  <c:v>34819</c:v>
                </c:pt>
                <c:pt idx="1036">
                  <c:v>34850</c:v>
                </c:pt>
                <c:pt idx="1037">
                  <c:v>34880</c:v>
                </c:pt>
                <c:pt idx="1038">
                  <c:v>34911</c:v>
                </c:pt>
                <c:pt idx="1039">
                  <c:v>34942</c:v>
                </c:pt>
                <c:pt idx="1040">
                  <c:v>34972</c:v>
                </c:pt>
                <c:pt idx="1041">
                  <c:v>35003</c:v>
                </c:pt>
                <c:pt idx="1042">
                  <c:v>35033</c:v>
                </c:pt>
                <c:pt idx="1043">
                  <c:v>35064</c:v>
                </c:pt>
                <c:pt idx="1044">
                  <c:v>35095</c:v>
                </c:pt>
                <c:pt idx="1045">
                  <c:v>35124</c:v>
                </c:pt>
                <c:pt idx="1046">
                  <c:v>35155</c:v>
                </c:pt>
                <c:pt idx="1047">
                  <c:v>35185</c:v>
                </c:pt>
                <c:pt idx="1048">
                  <c:v>35216</c:v>
                </c:pt>
                <c:pt idx="1049">
                  <c:v>35246</c:v>
                </c:pt>
                <c:pt idx="1050">
                  <c:v>35277</c:v>
                </c:pt>
                <c:pt idx="1051">
                  <c:v>35308</c:v>
                </c:pt>
                <c:pt idx="1052">
                  <c:v>35338</c:v>
                </c:pt>
                <c:pt idx="1053">
                  <c:v>35369</c:v>
                </c:pt>
                <c:pt idx="1054">
                  <c:v>35399</c:v>
                </c:pt>
                <c:pt idx="1055">
                  <c:v>35430</c:v>
                </c:pt>
                <c:pt idx="1056">
                  <c:v>35461</c:v>
                </c:pt>
                <c:pt idx="1057">
                  <c:v>35489</c:v>
                </c:pt>
                <c:pt idx="1058">
                  <c:v>35520</c:v>
                </c:pt>
                <c:pt idx="1059">
                  <c:v>35550</c:v>
                </c:pt>
                <c:pt idx="1060">
                  <c:v>35581</c:v>
                </c:pt>
                <c:pt idx="1061">
                  <c:v>35611</c:v>
                </c:pt>
                <c:pt idx="1062">
                  <c:v>35642</c:v>
                </c:pt>
                <c:pt idx="1063">
                  <c:v>35673</c:v>
                </c:pt>
                <c:pt idx="1064">
                  <c:v>35703</c:v>
                </c:pt>
                <c:pt idx="1065">
                  <c:v>35734</c:v>
                </c:pt>
                <c:pt idx="1066">
                  <c:v>35764</c:v>
                </c:pt>
                <c:pt idx="1067">
                  <c:v>35795</c:v>
                </c:pt>
                <c:pt idx="1068">
                  <c:v>35826</c:v>
                </c:pt>
                <c:pt idx="1069">
                  <c:v>35854</c:v>
                </c:pt>
                <c:pt idx="1070">
                  <c:v>35885</c:v>
                </c:pt>
                <c:pt idx="1071">
                  <c:v>35915</c:v>
                </c:pt>
                <c:pt idx="1072">
                  <c:v>35946</c:v>
                </c:pt>
                <c:pt idx="1073">
                  <c:v>35976</c:v>
                </c:pt>
                <c:pt idx="1074">
                  <c:v>36007</c:v>
                </c:pt>
                <c:pt idx="1075">
                  <c:v>36038</c:v>
                </c:pt>
                <c:pt idx="1076">
                  <c:v>36068</c:v>
                </c:pt>
                <c:pt idx="1077">
                  <c:v>36099</c:v>
                </c:pt>
                <c:pt idx="1078">
                  <c:v>36129</c:v>
                </c:pt>
                <c:pt idx="1079">
                  <c:v>36160</c:v>
                </c:pt>
                <c:pt idx="1080">
                  <c:v>36191</c:v>
                </c:pt>
                <c:pt idx="1081">
                  <c:v>36219</c:v>
                </c:pt>
                <c:pt idx="1082">
                  <c:v>36250</c:v>
                </c:pt>
                <c:pt idx="1083">
                  <c:v>36280</c:v>
                </c:pt>
                <c:pt idx="1084">
                  <c:v>36311</c:v>
                </c:pt>
                <c:pt idx="1085">
                  <c:v>36341</c:v>
                </c:pt>
                <c:pt idx="1086">
                  <c:v>36372</c:v>
                </c:pt>
                <c:pt idx="1087">
                  <c:v>36403</c:v>
                </c:pt>
                <c:pt idx="1088">
                  <c:v>36433</c:v>
                </c:pt>
                <c:pt idx="1089">
                  <c:v>36464</c:v>
                </c:pt>
                <c:pt idx="1090">
                  <c:v>36494</c:v>
                </c:pt>
                <c:pt idx="1091">
                  <c:v>36525</c:v>
                </c:pt>
                <c:pt idx="1092">
                  <c:v>36556</c:v>
                </c:pt>
                <c:pt idx="1093">
                  <c:v>36585</c:v>
                </c:pt>
                <c:pt idx="1094">
                  <c:v>36616</c:v>
                </c:pt>
                <c:pt idx="1095">
                  <c:v>36646</c:v>
                </c:pt>
                <c:pt idx="1096">
                  <c:v>36677</c:v>
                </c:pt>
                <c:pt idx="1097">
                  <c:v>36707</c:v>
                </c:pt>
                <c:pt idx="1098">
                  <c:v>36738</c:v>
                </c:pt>
                <c:pt idx="1099">
                  <c:v>36769</c:v>
                </c:pt>
                <c:pt idx="1100">
                  <c:v>36799</c:v>
                </c:pt>
                <c:pt idx="1101">
                  <c:v>36830</c:v>
                </c:pt>
                <c:pt idx="1102">
                  <c:v>36860</c:v>
                </c:pt>
                <c:pt idx="1103">
                  <c:v>36891</c:v>
                </c:pt>
                <c:pt idx="1104">
                  <c:v>36922</c:v>
                </c:pt>
                <c:pt idx="1105">
                  <c:v>36950</c:v>
                </c:pt>
                <c:pt idx="1106">
                  <c:v>36981</c:v>
                </c:pt>
                <c:pt idx="1107">
                  <c:v>37011</c:v>
                </c:pt>
                <c:pt idx="1108">
                  <c:v>37042</c:v>
                </c:pt>
                <c:pt idx="1109">
                  <c:v>37072</c:v>
                </c:pt>
                <c:pt idx="1110">
                  <c:v>37103</c:v>
                </c:pt>
                <c:pt idx="1111">
                  <c:v>37134</c:v>
                </c:pt>
                <c:pt idx="1112">
                  <c:v>37164</c:v>
                </c:pt>
                <c:pt idx="1113">
                  <c:v>37195</c:v>
                </c:pt>
                <c:pt idx="1114">
                  <c:v>37225</c:v>
                </c:pt>
                <c:pt idx="1115">
                  <c:v>37256</c:v>
                </c:pt>
                <c:pt idx="1116">
                  <c:v>37287</c:v>
                </c:pt>
                <c:pt idx="1117">
                  <c:v>37315</c:v>
                </c:pt>
                <c:pt idx="1118">
                  <c:v>37346</c:v>
                </c:pt>
                <c:pt idx="1119">
                  <c:v>37376</c:v>
                </c:pt>
                <c:pt idx="1120">
                  <c:v>37407</c:v>
                </c:pt>
                <c:pt idx="1121">
                  <c:v>37437</c:v>
                </c:pt>
                <c:pt idx="1122">
                  <c:v>37468</c:v>
                </c:pt>
                <c:pt idx="1123">
                  <c:v>37499</c:v>
                </c:pt>
                <c:pt idx="1124">
                  <c:v>37529</c:v>
                </c:pt>
                <c:pt idx="1125">
                  <c:v>37560</c:v>
                </c:pt>
                <c:pt idx="1126">
                  <c:v>37590</c:v>
                </c:pt>
                <c:pt idx="1127">
                  <c:v>37621</c:v>
                </c:pt>
                <c:pt idx="1128">
                  <c:v>37652</c:v>
                </c:pt>
                <c:pt idx="1129">
                  <c:v>37680</c:v>
                </c:pt>
                <c:pt idx="1130">
                  <c:v>37711</c:v>
                </c:pt>
                <c:pt idx="1131">
                  <c:v>37741</c:v>
                </c:pt>
                <c:pt idx="1132">
                  <c:v>37772</c:v>
                </c:pt>
                <c:pt idx="1133">
                  <c:v>37802</c:v>
                </c:pt>
                <c:pt idx="1134">
                  <c:v>37833</c:v>
                </c:pt>
                <c:pt idx="1135">
                  <c:v>37864</c:v>
                </c:pt>
                <c:pt idx="1136">
                  <c:v>37894</c:v>
                </c:pt>
                <c:pt idx="1137">
                  <c:v>37925</c:v>
                </c:pt>
                <c:pt idx="1138">
                  <c:v>37955</c:v>
                </c:pt>
                <c:pt idx="1139">
                  <c:v>37986</c:v>
                </c:pt>
                <c:pt idx="1140">
                  <c:v>38017</c:v>
                </c:pt>
                <c:pt idx="1141">
                  <c:v>38046</c:v>
                </c:pt>
                <c:pt idx="1142">
                  <c:v>38077</c:v>
                </c:pt>
                <c:pt idx="1143">
                  <c:v>38107</c:v>
                </c:pt>
                <c:pt idx="1144">
                  <c:v>38138</c:v>
                </c:pt>
                <c:pt idx="1145">
                  <c:v>38168</c:v>
                </c:pt>
                <c:pt idx="1146">
                  <c:v>38199</c:v>
                </c:pt>
                <c:pt idx="1147">
                  <c:v>38230</c:v>
                </c:pt>
                <c:pt idx="1148">
                  <c:v>38260</c:v>
                </c:pt>
                <c:pt idx="1149">
                  <c:v>38291</c:v>
                </c:pt>
                <c:pt idx="1150">
                  <c:v>38321</c:v>
                </c:pt>
                <c:pt idx="1151">
                  <c:v>38352</c:v>
                </c:pt>
                <c:pt idx="1152">
                  <c:v>38383</c:v>
                </c:pt>
                <c:pt idx="1153">
                  <c:v>38411</c:v>
                </c:pt>
                <c:pt idx="1154">
                  <c:v>38442</c:v>
                </c:pt>
                <c:pt idx="1155">
                  <c:v>38472</c:v>
                </c:pt>
                <c:pt idx="1156">
                  <c:v>38503</c:v>
                </c:pt>
                <c:pt idx="1157">
                  <c:v>38533</c:v>
                </c:pt>
                <c:pt idx="1158">
                  <c:v>38564</c:v>
                </c:pt>
                <c:pt idx="1159">
                  <c:v>38595</c:v>
                </c:pt>
                <c:pt idx="1160">
                  <c:v>38625</c:v>
                </c:pt>
                <c:pt idx="1161">
                  <c:v>38656</c:v>
                </c:pt>
                <c:pt idx="1162">
                  <c:v>38686</c:v>
                </c:pt>
                <c:pt idx="1163">
                  <c:v>38717</c:v>
                </c:pt>
                <c:pt idx="1164">
                  <c:v>38748</c:v>
                </c:pt>
                <c:pt idx="1165">
                  <c:v>38776</c:v>
                </c:pt>
                <c:pt idx="1166">
                  <c:v>38807</c:v>
                </c:pt>
                <c:pt idx="1167">
                  <c:v>38837</c:v>
                </c:pt>
                <c:pt idx="1168">
                  <c:v>38868</c:v>
                </c:pt>
                <c:pt idx="1169">
                  <c:v>38898</c:v>
                </c:pt>
                <c:pt idx="1170">
                  <c:v>38929</c:v>
                </c:pt>
                <c:pt idx="1171">
                  <c:v>38960</c:v>
                </c:pt>
                <c:pt idx="1172">
                  <c:v>38990</c:v>
                </c:pt>
                <c:pt idx="1173">
                  <c:v>39021</c:v>
                </c:pt>
                <c:pt idx="1174">
                  <c:v>39051</c:v>
                </c:pt>
                <c:pt idx="1175">
                  <c:v>39082</c:v>
                </c:pt>
                <c:pt idx="1176">
                  <c:v>39113</c:v>
                </c:pt>
                <c:pt idx="1177">
                  <c:v>39141</c:v>
                </c:pt>
                <c:pt idx="1178">
                  <c:v>39172</c:v>
                </c:pt>
                <c:pt idx="1179">
                  <c:v>39202</c:v>
                </c:pt>
                <c:pt idx="1180">
                  <c:v>39233</c:v>
                </c:pt>
                <c:pt idx="1181">
                  <c:v>39263</c:v>
                </c:pt>
                <c:pt idx="1182">
                  <c:v>39294</c:v>
                </c:pt>
                <c:pt idx="1183">
                  <c:v>39325</c:v>
                </c:pt>
                <c:pt idx="1184">
                  <c:v>39355</c:v>
                </c:pt>
                <c:pt idx="1185">
                  <c:v>39386</c:v>
                </c:pt>
                <c:pt idx="1186">
                  <c:v>39416</c:v>
                </c:pt>
                <c:pt idx="1187">
                  <c:v>39447</c:v>
                </c:pt>
                <c:pt idx="1188">
                  <c:v>39478</c:v>
                </c:pt>
                <c:pt idx="1189">
                  <c:v>39507</c:v>
                </c:pt>
                <c:pt idx="1190">
                  <c:v>39538</c:v>
                </c:pt>
                <c:pt idx="1191">
                  <c:v>39568</c:v>
                </c:pt>
                <c:pt idx="1192">
                  <c:v>39599</c:v>
                </c:pt>
                <c:pt idx="1193">
                  <c:v>39629</c:v>
                </c:pt>
                <c:pt idx="1194">
                  <c:v>39660</c:v>
                </c:pt>
                <c:pt idx="1195">
                  <c:v>39691</c:v>
                </c:pt>
                <c:pt idx="1196">
                  <c:v>39721</c:v>
                </c:pt>
                <c:pt idx="1197">
                  <c:v>39752</c:v>
                </c:pt>
                <c:pt idx="1198">
                  <c:v>39782</c:v>
                </c:pt>
                <c:pt idx="1199">
                  <c:v>39813</c:v>
                </c:pt>
                <c:pt idx="1200">
                  <c:v>39844</c:v>
                </c:pt>
                <c:pt idx="1201">
                  <c:v>39872</c:v>
                </c:pt>
                <c:pt idx="1202">
                  <c:v>39903</c:v>
                </c:pt>
                <c:pt idx="1203">
                  <c:v>39933</c:v>
                </c:pt>
                <c:pt idx="1204">
                  <c:v>39964</c:v>
                </c:pt>
                <c:pt idx="1205">
                  <c:v>39994</c:v>
                </c:pt>
                <c:pt idx="1206">
                  <c:v>40025</c:v>
                </c:pt>
                <c:pt idx="1207">
                  <c:v>40056</c:v>
                </c:pt>
                <c:pt idx="1208">
                  <c:v>40086</c:v>
                </c:pt>
                <c:pt idx="1209">
                  <c:v>40117</c:v>
                </c:pt>
                <c:pt idx="1210">
                  <c:v>40147</c:v>
                </c:pt>
                <c:pt idx="1211">
                  <c:v>40178</c:v>
                </c:pt>
                <c:pt idx="1212">
                  <c:v>40209</c:v>
                </c:pt>
                <c:pt idx="1213">
                  <c:v>40237</c:v>
                </c:pt>
                <c:pt idx="1214">
                  <c:v>40268</c:v>
                </c:pt>
                <c:pt idx="1215">
                  <c:v>40298</c:v>
                </c:pt>
                <c:pt idx="1216">
                  <c:v>40329</c:v>
                </c:pt>
                <c:pt idx="1217">
                  <c:v>40359</c:v>
                </c:pt>
                <c:pt idx="1218">
                  <c:v>40390</c:v>
                </c:pt>
                <c:pt idx="1219">
                  <c:v>40421</c:v>
                </c:pt>
                <c:pt idx="1220">
                  <c:v>40451</c:v>
                </c:pt>
                <c:pt idx="1221">
                  <c:v>40482</c:v>
                </c:pt>
                <c:pt idx="1222">
                  <c:v>40512</c:v>
                </c:pt>
                <c:pt idx="1223">
                  <c:v>40543</c:v>
                </c:pt>
                <c:pt idx="1224">
                  <c:v>40574</c:v>
                </c:pt>
                <c:pt idx="1225">
                  <c:v>40602</c:v>
                </c:pt>
                <c:pt idx="1226">
                  <c:v>40633</c:v>
                </c:pt>
                <c:pt idx="1227">
                  <c:v>40663</c:v>
                </c:pt>
                <c:pt idx="1228">
                  <c:v>40694</c:v>
                </c:pt>
                <c:pt idx="1229">
                  <c:v>40724</c:v>
                </c:pt>
                <c:pt idx="1230">
                  <c:v>40755</c:v>
                </c:pt>
                <c:pt idx="1231">
                  <c:v>40786</c:v>
                </c:pt>
                <c:pt idx="1232">
                  <c:v>40816</c:v>
                </c:pt>
                <c:pt idx="1233">
                  <c:v>40847</c:v>
                </c:pt>
                <c:pt idx="1234">
                  <c:v>40877</c:v>
                </c:pt>
                <c:pt idx="1235">
                  <c:v>40908</c:v>
                </c:pt>
                <c:pt idx="1236">
                  <c:v>40939</c:v>
                </c:pt>
                <c:pt idx="1237">
                  <c:v>40968</c:v>
                </c:pt>
                <c:pt idx="1238">
                  <c:v>40999</c:v>
                </c:pt>
                <c:pt idx="1239">
                  <c:v>41029</c:v>
                </c:pt>
                <c:pt idx="1240">
                  <c:v>41060</c:v>
                </c:pt>
                <c:pt idx="1241">
                  <c:v>41090</c:v>
                </c:pt>
                <c:pt idx="1242">
                  <c:v>41121</c:v>
                </c:pt>
                <c:pt idx="1243">
                  <c:v>41152</c:v>
                </c:pt>
                <c:pt idx="1244">
                  <c:v>41182</c:v>
                </c:pt>
                <c:pt idx="1245">
                  <c:v>41213</c:v>
                </c:pt>
                <c:pt idx="1246">
                  <c:v>41243</c:v>
                </c:pt>
                <c:pt idx="1247">
                  <c:v>41274</c:v>
                </c:pt>
                <c:pt idx="1248">
                  <c:v>41305</c:v>
                </c:pt>
                <c:pt idx="1249">
                  <c:v>41333</c:v>
                </c:pt>
                <c:pt idx="1250">
                  <c:v>41364</c:v>
                </c:pt>
                <c:pt idx="1251">
                  <c:v>41394</c:v>
                </c:pt>
                <c:pt idx="1252">
                  <c:v>41425</c:v>
                </c:pt>
                <c:pt idx="1253">
                  <c:v>41455</c:v>
                </c:pt>
                <c:pt idx="1254">
                  <c:v>41486</c:v>
                </c:pt>
                <c:pt idx="1255">
                  <c:v>41517</c:v>
                </c:pt>
                <c:pt idx="1256">
                  <c:v>41547</c:v>
                </c:pt>
                <c:pt idx="1257">
                  <c:v>41578</c:v>
                </c:pt>
                <c:pt idx="1258">
                  <c:v>41608</c:v>
                </c:pt>
                <c:pt idx="1259">
                  <c:v>41639</c:v>
                </c:pt>
                <c:pt idx="1260">
                  <c:v>41670</c:v>
                </c:pt>
                <c:pt idx="1261">
                  <c:v>41698</c:v>
                </c:pt>
                <c:pt idx="1262">
                  <c:v>41729</c:v>
                </c:pt>
                <c:pt idx="1263">
                  <c:v>41759</c:v>
                </c:pt>
                <c:pt idx="1264">
                  <c:v>41790</c:v>
                </c:pt>
                <c:pt idx="1265">
                  <c:v>41820</c:v>
                </c:pt>
                <c:pt idx="1266">
                  <c:v>41851</c:v>
                </c:pt>
                <c:pt idx="1267">
                  <c:v>41882</c:v>
                </c:pt>
                <c:pt idx="1268">
                  <c:v>41912</c:v>
                </c:pt>
                <c:pt idx="1269">
                  <c:v>41943</c:v>
                </c:pt>
                <c:pt idx="1270">
                  <c:v>41973</c:v>
                </c:pt>
                <c:pt idx="1271">
                  <c:v>42004</c:v>
                </c:pt>
                <c:pt idx="1272">
                  <c:v>42035</c:v>
                </c:pt>
                <c:pt idx="1273">
                  <c:v>42063</c:v>
                </c:pt>
                <c:pt idx="1274">
                  <c:v>42094</c:v>
                </c:pt>
                <c:pt idx="1275">
                  <c:v>42124</c:v>
                </c:pt>
                <c:pt idx="1276">
                  <c:v>42155</c:v>
                </c:pt>
                <c:pt idx="1277">
                  <c:v>42185</c:v>
                </c:pt>
                <c:pt idx="1278">
                  <c:v>42216</c:v>
                </c:pt>
                <c:pt idx="1279">
                  <c:v>42247</c:v>
                </c:pt>
                <c:pt idx="1280">
                  <c:v>42277</c:v>
                </c:pt>
                <c:pt idx="1281">
                  <c:v>42308</c:v>
                </c:pt>
                <c:pt idx="1282">
                  <c:v>42338</c:v>
                </c:pt>
                <c:pt idx="1283">
                  <c:v>42369</c:v>
                </c:pt>
                <c:pt idx="1284">
                  <c:v>42400</c:v>
                </c:pt>
                <c:pt idx="1285">
                  <c:v>42429</c:v>
                </c:pt>
                <c:pt idx="1286">
                  <c:v>42460</c:v>
                </c:pt>
                <c:pt idx="1287">
                  <c:v>42490</c:v>
                </c:pt>
                <c:pt idx="1288">
                  <c:v>42521</c:v>
                </c:pt>
                <c:pt idx="1289">
                  <c:v>42551</c:v>
                </c:pt>
                <c:pt idx="1290">
                  <c:v>42582</c:v>
                </c:pt>
                <c:pt idx="1291">
                  <c:v>42613</c:v>
                </c:pt>
                <c:pt idx="1292">
                  <c:v>42643</c:v>
                </c:pt>
                <c:pt idx="1293">
                  <c:v>42674</c:v>
                </c:pt>
                <c:pt idx="1294">
                  <c:v>42704</c:v>
                </c:pt>
                <c:pt idx="1295">
                  <c:v>42735</c:v>
                </c:pt>
                <c:pt idx="1296">
                  <c:v>42766</c:v>
                </c:pt>
                <c:pt idx="1297">
                  <c:v>42794</c:v>
                </c:pt>
                <c:pt idx="1298">
                  <c:v>42825</c:v>
                </c:pt>
                <c:pt idx="1299">
                  <c:v>42855</c:v>
                </c:pt>
                <c:pt idx="1300">
                  <c:v>42886</c:v>
                </c:pt>
                <c:pt idx="1301">
                  <c:v>42916</c:v>
                </c:pt>
                <c:pt idx="1302">
                  <c:v>42947</c:v>
                </c:pt>
                <c:pt idx="1303">
                  <c:v>42978</c:v>
                </c:pt>
                <c:pt idx="1304">
                  <c:v>43008</c:v>
                </c:pt>
                <c:pt idx="1305">
                  <c:v>43039</c:v>
                </c:pt>
                <c:pt idx="1306">
                  <c:v>43069</c:v>
                </c:pt>
                <c:pt idx="1307">
                  <c:v>43100</c:v>
                </c:pt>
                <c:pt idx="1308">
                  <c:v>43131</c:v>
                </c:pt>
                <c:pt idx="1309">
                  <c:v>43159</c:v>
                </c:pt>
                <c:pt idx="1310">
                  <c:v>43190</c:v>
                </c:pt>
                <c:pt idx="1311">
                  <c:v>43220</c:v>
                </c:pt>
                <c:pt idx="1312">
                  <c:v>43251</c:v>
                </c:pt>
                <c:pt idx="1313">
                  <c:v>43281</c:v>
                </c:pt>
                <c:pt idx="1314">
                  <c:v>43312</c:v>
                </c:pt>
                <c:pt idx="1315">
                  <c:v>43343</c:v>
                </c:pt>
                <c:pt idx="1316">
                  <c:v>43373</c:v>
                </c:pt>
                <c:pt idx="1317">
                  <c:v>43404</c:v>
                </c:pt>
                <c:pt idx="1318">
                  <c:v>43434</c:v>
                </c:pt>
                <c:pt idx="1319">
                  <c:v>43465</c:v>
                </c:pt>
                <c:pt idx="1320">
                  <c:v>43496</c:v>
                </c:pt>
                <c:pt idx="1321">
                  <c:v>43524</c:v>
                </c:pt>
                <c:pt idx="1322">
                  <c:v>43555</c:v>
                </c:pt>
                <c:pt idx="1323">
                  <c:v>43585</c:v>
                </c:pt>
                <c:pt idx="1324">
                  <c:v>43616</c:v>
                </c:pt>
                <c:pt idx="1325">
                  <c:v>43646</c:v>
                </c:pt>
                <c:pt idx="1326">
                  <c:v>43677</c:v>
                </c:pt>
                <c:pt idx="1327">
                  <c:v>43708</c:v>
                </c:pt>
                <c:pt idx="1328">
                  <c:v>43738</c:v>
                </c:pt>
                <c:pt idx="1329">
                  <c:v>43769</c:v>
                </c:pt>
                <c:pt idx="1330">
                  <c:v>43799</c:v>
                </c:pt>
                <c:pt idx="1331">
                  <c:v>43830</c:v>
                </c:pt>
                <c:pt idx="1332">
                  <c:v>43861</c:v>
                </c:pt>
                <c:pt idx="1333">
                  <c:v>43890</c:v>
                </c:pt>
                <c:pt idx="1334">
                  <c:v>43921</c:v>
                </c:pt>
                <c:pt idx="1335">
                  <c:v>43951</c:v>
                </c:pt>
                <c:pt idx="1336">
                  <c:v>43982</c:v>
                </c:pt>
                <c:pt idx="1337">
                  <c:v>44012</c:v>
                </c:pt>
                <c:pt idx="1338">
                  <c:v>44043</c:v>
                </c:pt>
                <c:pt idx="1339">
                  <c:v>44074</c:v>
                </c:pt>
                <c:pt idx="1340">
                  <c:v>44104</c:v>
                </c:pt>
                <c:pt idx="1341">
                  <c:v>44135</c:v>
                </c:pt>
                <c:pt idx="1342">
                  <c:v>44165</c:v>
                </c:pt>
                <c:pt idx="1343">
                  <c:v>44196</c:v>
                </c:pt>
                <c:pt idx="1344">
                  <c:v>44227</c:v>
                </c:pt>
                <c:pt idx="1345">
                  <c:v>44255</c:v>
                </c:pt>
                <c:pt idx="1346">
                  <c:v>44286</c:v>
                </c:pt>
                <c:pt idx="1347">
                  <c:v>44316</c:v>
                </c:pt>
                <c:pt idx="1348">
                  <c:v>44347</c:v>
                </c:pt>
                <c:pt idx="1349">
                  <c:v>44377</c:v>
                </c:pt>
                <c:pt idx="1350">
                  <c:v>44408</c:v>
                </c:pt>
                <c:pt idx="1351">
                  <c:v>44439</c:v>
                </c:pt>
                <c:pt idx="1352">
                  <c:v>44469</c:v>
                </c:pt>
                <c:pt idx="1353">
                  <c:v>44500</c:v>
                </c:pt>
                <c:pt idx="1354">
                  <c:v>44530</c:v>
                </c:pt>
                <c:pt idx="1355">
                  <c:v>44561</c:v>
                </c:pt>
                <c:pt idx="1356">
                  <c:v>44592</c:v>
                </c:pt>
                <c:pt idx="1357">
                  <c:v>44620</c:v>
                </c:pt>
                <c:pt idx="1358">
                  <c:v>44651</c:v>
                </c:pt>
                <c:pt idx="1359">
                  <c:v>44681</c:v>
                </c:pt>
                <c:pt idx="1360">
                  <c:v>44712</c:v>
                </c:pt>
                <c:pt idx="1361">
                  <c:v>44742</c:v>
                </c:pt>
                <c:pt idx="1362">
                  <c:v>44773</c:v>
                </c:pt>
                <c:pt idx="1363">
                  <c:v>44804</c:v>
                </c:pt>
                <c:pt idx="1364">
                  <c:v>44834</c:v>
                </c:pt>
                <c:pt idx="1365">
                  <c:v>44865</c:v>
                </c:pt>
                <c:pt idx="1366">
                  <c:v>44895</c:v>
                </c:pt>
                <c:pt idx="1367">
                  <c:v>44926</c:v>
                </c:pt>
                <c:pt idx="1368">
                  <c:v>44957</c:v>
                </c:pt>
                <c:pt idx="1369">
                  <c:v>44985</c:v>
                </c:pt>
                <c:pt idx="1370">
                  <c:v>45016</c:v>
                </c:pt>
                <c:pt idx="1371">
                  <c:v>45046</c:v>
                </c:pt>
                <c:pt idx="1372">
                  <c:v>45077</c:v>
                </c:pt>
                <c:pt idx="1373">
                  <c:v>45107</c:v>
                </c:pt>
                <c:pt idx="1374">
                  <c:v>45138</c:v>
                </c:pt>
                <c:pt idx="1375">
                  <c:v>45169</c:v>
                </c:pt>
                <c:pt idx="1376">
                  <c:v>45199</c:v>
                </c:pt>
                <c:pt idx="1377">
                  <c:v>45230</c:v>
                </c:pt>
                <c:pt idx="1378">
                  <c:v>45260</c:v>
                </c:pt>
                <c:pt idx="1379">
                  <c:v>45291</c:v>
                </c:pt>
                <c:pt idx="1380">
                  <c:v>45322</c:v>
                </c:pt>
                <c:pt idx="1381">
                  <c:v>45351</c:v>
                </c:pt>
                <c:pt idx="1382">
                  <c:v>45382</c:v>
                </c:pt>
                <c:pt idx="1383">
                  <c:v>45412</c:v>
                </c:pt>
                <c:pt idx="1384">
                  <c:v>45443</c:v>
                </c:pt>
                <c:pt idx="1385">
                  <c:v>45473</c:v>
                </c:pt>
              </c:numCache>
            </c:numRef>
          </c:cat>
          <c:val>
            <c:numRef>
              <c:f>Sheet1!$R$4:$R$1389</c:f>
              <c:numCache>
                <c:formatCode>0.00</c:formatCode>
                <c:ptCount val="1386"/>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pt idx="48">
                  <c:v>1</c:v>
                </c:pt>
                <c:pt idx="49">
                  <c:v>1</c:v>
                </c:pt>
                <c:pt idx="50">
                  <c:v>1</c:v>
                </c:pt>
                <c:pt idx="51">
                  <c:v>1</c:v>
                </c:pt>
                <c:pt idx="52">
                  <c:v>1</c:v>
                </c:pt>
                <c:pt idx="53">
                  <c:v>1</c:v>
                </c:pt>
                <c:pt idx="54">
                  <c:v>1</c:v>
                </c:pt>
                <c:pt idx="55">
                  <c:v>1</c:v>
                </c:pt>
                <c:pt idx="56">
                  <c:v>1</c:v>
                </c:pt>
                <c:pt idx="57">
                  <c:v>1</c:v>
                </c:pt>
                <c:pt idx="58">
                  <c:v>1</c:v>
                </c:pt>
                <c:pt idx="59">
                  <c:v>1</c:v>
                </c:pt>
                <c:pt idx="60">
                  <c:v>1</c:v>
                </c:pt>
                <c:pt idx="61">
                  <c:v>1</c:v>
                </c:pt>
                <c:pt idx="62">
                  <c:v>1</c:v>
                </c:pt>
                <c:pt idx="63">
                  <c:v>1</c:v>
                </c:pt>
                <c:pt idx="64">
                  <c:v>1</c:v>
                </c:pt>
                <c:pt idx="65">
                  <c:v>1</c:v>
                </c:pt>
                <c:pt idx="66">
                  <c:v>1</c:v>
                </c:pt>
                <c:pt idx="67">
                  <c:v>1</c:v>
                </c:pt>
                <c:pt idx="68">
                  <c:v>1</c:v>
                </c:pt>
                <c:pt idx="69">
                  <c:v>1</c:v>
                </c:pt>
                <c:pt idx="70">
                  <c:v>1</c:v>
                </c:pt>
                <c:pt idx="71">
                  <c:v>1</c:v>
                </c:pt>
                <c:pt idx="72">
                  <c:v>1</c:v>
                </c:pt>
                <c:pt idx="73">
                  <c:v>1</c:v>
                </c:pt>
                <c:pt idx="74">
                  <c:v>1</c:v>
                </c:pt>
                <c:pt idx="75">
                  <c:v>1</c:v>
                </c:pt>
                <c:pt idx="76">
                  <c:v>1</c:v>
                </c:pt>
                <c:pt idx="77">
                  <c:v>1</c:v>
                </c:pt>
                <c:pt idx="78">
                  <c:v>1</c:v>
                </c:pt>
                <c:pt idx="79">
                  <c:v>1</c:v>
                </c:pt>
                <c:pt idx="80">
                  <c:v>1</c:v>
                </c:pt>
                <c:pt idx="81">
                  <c:v>1</c:v>
                </c:pt>
                <c:pt idx="82">
                  <c:v>1</c:v>
                </c:pt>
                <c:pt idx="83">
                  <c:v>1</c:v>
                </c:pt>
                <c:pt idx="84">
                  <c:v>2</c:v>
                </c:pt>
                <c:pt idx="85">
                  <c:v>2</c:v>
                </c:pt>
                <c:pt idx="86">
                  <c:v>2</c:v>
                </c:pt>
                <c:pt idx="87">
                  <c:v>2</c:v>
                </c:pt>
                <c:pt idx="88">
                  <c:v>2</c:v>
                </c:pt>
                <c:pt idx="89">
                  <c:v>2</c:v>
                </c:pt>
                <c:pt idx="90">
                  <c:v>2</c:v>
                </c:pt>
                <c:pt idx="91">
                  <c:v>2</c:v>
                </c:pt>
                <c:pt idx="92">
                  <c:v>2</c:v>
                </c:pt>
                <c:pt idx="93">
                  <c:v>2</c:v>
                </c:pt>
                <c:pt idx="94">
                  <c:v>2</c:v>
                </c:pt>
                <c:pt idx="95">
                  <c:v>2</c:v>
                </c:pt>
                <c:pt idx="96">
                  <c:v>6</c:v>
                </c:pt>
                <c:pt idx="97">
                  <c:v>6</c:v>
                </c:pt>
                <c:pt idx="98">
                  <c:v>6</c:v>
                </c:pt>
                <c:pt idx="99">
                  <c:v>6</c:v>
                </c:pt>
                <c:pt idx="100">
                  <c:v>6</c:v>
                </c:pt>
                <c:pt idx="101">
                  <c:v>6</c:v>
                </c:pt>
                <c:pt idx="102">
                  <c:v>6</c:v>
                </c:pt>
                <c:pt idx="103">
                  <c:v>6</c:v>
                </c:pt>
                <c:pt idx="104">
                  <c:v>6</c:v>
                </c:pt>
                <c:pt idx="105">
                  <c:v>6</c:v>
                </c:pt>
                <c:pt idx="106">
                  <c:v>6</c:v>
                </c:pt>
                <c:pt idx="107">
                  <c:v>6</c:v>
                </c:pt>
                <c:pt idx="108">
                  <c:v>12</c:v>
                </c:pt>
                <c:pt idx="109">
                  <c:v>12</c:v>
                </c:pt>
                <c:pt idx="110">
                  <c:v>12</c:v>
                </c:pt>
                <c:pt idx="111">
                  <c:v>12</c:v>
                </c:pt>
                <c:pt idx="112">
                  <c:v>12</c:v>
                </c:pt>
                <c:pt idx="113">
                  <c:v>12</c:v>
                </c:pt>
                <c:pt idx="114">
                  <c:v>12</c:v>
                </c:pt>
                <c:pt idx="115">
                  <c:v>12</c:v>
                </c:pt>
                <c:pt idx="116">
                  <c:v>12</c:v>
                </c:pt>
                <c:pt idx="117">
                  <c:v>12</c:v>
                </c:pt>
                <c:pt idx="118">
                  <c:v>12</c:v>
                </c:pt>
                <c:pt idx="119">
                  <c:v>12</c:v>
                </c:pt>
                <c:pt idx="120">
                  <c:v>10</c:v>
                </c:pt>
                <c:pt idx="121">
                  <c:v>10</c:v>
                </c:pt>
                <c:pt idx="122">
                  <c:v>10</c:v>
                </c:pt>
                <c:pt idx="123">
                  <c:v>10</c:v>
                </c:pt>
                <c:pt idx="124">
                  <c:v>10</c:v>
                </c:pt>
                <c:pt idx="125">
                  <c:v>10</c:v>
                </c:pt>
                <c:pt idx="126">
                  <c:v>10</c:v>
                </c:pt>
                <c:pt idx="127">
                  <c:v>10</c:v>
                </c:pt>
                <c:pt idx="128">
                  <c:v>10</c:v>
                </c:pt>
                <c:pt idx="129">
                  <c:v>10</c:v>
                </c:pt>
                <c:pt idx="130">
                  <c:v>10</c:v>
                </c:pt>
                <c:pt idx="131">
                  <c:v>10</c:v>
                </c:pt>
                <c:pt idx="132">
                  <c:v>10</c:v>
                </c:pt>
                <c:pt idx="133">
                  <c:v>10</c:v>
                </c:pt>
                <c:pt idx="134">
                  <c:v>10</c:v>
                </c:pt>
                <c:pt idx="135">
                  <c:v>10</c:v>
                </c:pt>
                <c:pt idx="136">
                  <c:v>10</c:v>
                </c:pt>
                <c:pt idx="137">
                  <c:v>10</c:v>
                </c:pt>
                <c:pt idx="138">
                  <c:v>10</c:v>
                </c:pt>
                <c:pt idx="139">
                  <c:v>10</c:v>
                </c:pt>
                <c:pt idx="140">
                  <c:v>10</c:v>
                </c:pt>
                <c:pt idx="141">
                  <c:v>10</c:v>
                </c:pt>
                <c:pt idx="142">
                  <c:v>10</c:v>
                </c:pt>
                <c:pt idx="143">
                  <c:v>10</c:v>
                </c:pt>
                <c:pt idx="144">
                  <c:v>10</c:v>
                </c:pt>
                <c:pt idx="145">
                  <c:v>10</c:v>
                </c:pt>
                <c:pt idx="146">
                  <c:v>10</c:v>
                </c:pt>
                <c:pt idx="147">
                  <c:v>10</c:v>
                </c:pt>
                <c:pt idx="148">
                  <c:v>10</c:v>
                </c:pt>
                <c:pt idx="149">
                  <c:v>10</c:v>
                </c:pt>
                <c:pt idx="150">
                  <c:v>10</c:v>
                </c:pt>
                <c:pt idx="151">
                  <c:v>10</c:v>
                </c:pt>
                <c:pt idx="152">
                  <c:v>10</c:v>
                </c:pt>
                <c:pt idx="153">
                  <c:v>10</c:v>
                </c:pt>
                <c:pt idx="154">
                  <c:v>10</c:v>
                </c:pt>
                <c:pt idx="155">
                  <c:v>10</c:v>
                </c:pt>
                <c:pt idx="156">
                  <c:v>12.5</c:v>
                </c:pt>
                <c:pt idx="157">
                  <c:v>12.5</c:v>
                </c:pt>
                <c:pt idx="158">
                  <c:v>12.5</c:v>
                </c:pt>
                <c:pt idx="159">
                  <c:v>12.5</c:v>
                </c:pt>
                <c:pt idx="160">
                  <c:v>12.5</c:v>
                </c:pt>
                <c:pt idx="161">
                  <c:v>12.5</c:v>
                </c:pt>
                <c:pt idx="162">
                  <c:v>12.5</c:v>
                </c:pt>
                <c:pt idx="163">
                  <c:v>12.5</c:v>
                </c:pt>
                <c:pt idx="164">
                  <c:v>12.5</c:v>
                </c:pt>
                <c:pt idx="165">
                  <c:v>12.5</c:v>
                </c:pt>
                <c:pt idx="166">
                  <c:v>12.5</c:v>
                </c:pt>
                <c:pt idx="167">
                  <c:v>12.5</c:v>
                </c:pt>
                <c:pt idx="168">
                  <c:v>12.5</c:v>
                </c:pt>
                <c:pt idx="169">
                  <c:v>12.5</c:v>
                </c:pt>
                <c:pt idx="170">
                  <c:v>12.5</c:v>
                </c:pt>
                <c:pt idx="171">
                  <c:v>12.5</c:v>
                </c:pt>
                <c:pt idx="172">
                  <c:v>12.5</c:v>
                </c:pt>
                <c:pt idx="173">
                  <c:v>12.5</c:v>
                </c:pt>
                <c:pt idx="174">
                  <c:v>12.5</c:v>
                </c:pt>
                <c:pt idx="175">
                  <c:v>12.5</c:v>
                </c:pt>
                <c:pt idx="176">
                  <c:v>12.5</c:v>
                </c:pt>
                <c:pt idx="177">
                  <c:v>12.5</c:v>
                </c:pt>
                <c:pt idx="178">
                  <c:v>12.5</c:v>
                </c:pt>
                <c:pt idx="179">
                  <c:v>12.5</c:v>
                </c:pt>
                <c:pt idx="180">
                  <c:v>12.5</c:v>
                </c:pt>
                <c:pt idx="181">
                  <c:v>12.5</c:v>
                </c:pt>
                <c:pt idx="182">
                  <c:v>12.5</c:v>
                </c:pt>
                <c:pt idx="183">
                  <c:v>12.5</c:v>
                </c:pt>
                <c:pt idx="184">
                  <c:v>12.5</c:v>
                </c:pt>
                <c:pt idx="185">
                  <c:v>12.5</c:v>
                </c:pt>
                <c:pt idx="186">
                  <c:v>12.5</c:v>
                </c:pt>
                <c:pt idx="187">
                  <c:v>12.5</c:v>
                </c:pt>
                <c:pt idx="188">
                  <c:v>12.5</c:v>
                </c:pt>
                <c:pt idx="189">
                  <c:v>12.5</c:v>
                </c:pt>
                <c:pt idx="190">
                  <c:v>12.5</c:v>
                </c:pt>
                <c:pt idx="191">
                  <c:v>12.5</c:v>
                </c:pt>
                <c:pt idx="192">
                  <c:v>13</c:v>
                </c:pt>
                <c:pt idx="193">
                  <c:v>13</c:v>
                </c:pt>
                <c:pt idx="194">
                  <c:v>13</c:v>
                </c:pt>
                <c:pt idx="195">
                  <c:v>13</c:v>
                </c:pt>
                <c:pt idx="196">
                  <c:v>13</c:v>
                </c:pt>
                <c:pt idx="197">
                  <c:v>13</c:v>
                </c:pt>
                <c:pt idx="198">
                  <c:v>13</c:v>
                </c:pt>
                <c:pt idx="199">
                  <c:v>13</c:v>
                </c:pt>
                <c:pt idx="200">
                  <c:v>13</c:v>
                </c:pt>
                <c:pt idx="201">
                  <c:v>13</c:v>
                </c:pt>
                <c:pt idx="202">
                  <c:v>13</c:v>
                </c:pt>
                <c:pt idx="203">
                  <c:v>13</c:v>
                </c:pt>
                <c:pt idx="204">
                  <c:v>13.5</c:v>
                </c:pt>
                <c:pt idx="205">
                  <c:v>13.5</c:v>
                </c:pt>
                <c:pt idx="206">
                  <c:v>13.5</c:v>
                </c:pt>
                <c:pt idx="207">
                  <c:v>13.5</c:v>
                </c:pt>
                <c:pt idx="208">
                  <c:v>13.5</c:v>
                </c:pt>
                <c:pt idx="209">
                  <c:v>13.5</c:v>
                </c:pt>
                <c:pt idx="210">
                  <c:v>13.5</c:v>
                </c:pt>
                <c:pt idx="211">
                  <c:v>13.5</c:v>
                </c:pt>
                <c:pt idx="212">
                  <c:v>13.5</c:v>
                </c:pt>
                <c:pt idx="213">
                  <c:v>13.5</c:v>
                </c:pt>
                <c:pt idx="214">
                  <c:v>13.5</c:v>
                </c:pt>
                <c:pt idx="215">
                  <c:v>13.5</c:v>
                </c:pt>
                <c:pt idx="216">
                  <c:v>13.5</c:v>
                </c:pt>
                <c:pt idx="217">
                  <c:v>13.5</c:v>
                </c:pt>
                <c:pt idx="218">
                  <c:v>13.5</c:v>
                </c:pt>
                <c:pt idx="219">
                  <c:v>13.5</c:v>
                </c:pt>
                <c:pt idx="220">
                  <c:v>13.5</c:v>
                </c:pt>
                <c:pt idx="221">
                  <c:v>13.5</c:v>
                </c:pt>
                <c:pt idx="222">
                  <c:v>13.5</c:v>
                </c:pt>
                <c:pt idx="223">
                  <c:v>13.5</c:v>
                </c:pt>
                <c:pt idx="224">
                  <c:v>13.5</c:v>
                </c:pt>
                <c:pt idx="225">
                  <c:v>13.5</c:v>
                </c:pt>
                <c:pt idx="226">
                  <c:v>13.5</c:v>
                </c:pt>
                <c:pt idx="227">
                  <c:v>13.5</c:v>
                </c:pt>
                <c:pt idx="228">
                  <c:v>12</c:v>
                </c:pt>
                <c:pt idx="229">
                  <c:v>12</c:v>
                </c:pt>
                <c:pt idx="230">
                  <c:v>12</c:v>
                </c:pt>
                <c:pt idx="231">
                  <c:v>12</c:v>
                </c:pt>
                <c:pt idx="232">
                  <c:v>12</c:v>
                </c:pt>
                <c:pt idx="233">
                  <c:v>12</c:v>
                </c:pt>
                <c:pt idx="234">
                  <c:v>12</c:v>
                </c:pt>
                <c:pt idx="235">
                  <c:v>12</c:v>
                </c:pt>
                <c:pt idx="236">
                  <c:v>12</c:v>
                </c:pt>
                <c:pt idx="237">
                  <c:v>12</c:v>
                </c:pt>
                <c:pt idx="238">
                  <c:v>12</c:v>
                </c:pt>
                <c:pt idx="239">
                  <c:v>12</c:v>
                </c:pt>
                <c:pt idx="240">
                  <c:v>11</c:v>
                </c:pt>
                <c:pt idx="241">
                  <c:v>11</c:v>
                </c:pt>
                <c:pt idx="242">
                  <c:v>11</c:v>
                </c:pt>
                <c:pt idx="243">
                  <c:v>11</c:v>
                </c:pt>
                <c:pt idx="244">
                  <c:v>11</c:v>
                </c:pt>
                <c:pt idx="245">
                  <c:v>11</c:v>
                </c:pt>
                <c:pt idx="246">
                  <c:v>11</c:v>
                </c:pt>
                <c:pt idx="247">
                  <c:v>11</c:v>
                </c:pt>
                <c:pt idx="248">
                  <c:v>11</c:v>
                </c:pt>
                <c:pt idx="249">
                  <c:v>11</c:v>
                </c:pt>
                <c:pt idx="250">
                  <c:v>11</c:v>
                </c:pt>
                <c:pt idx="251">
                  <c:v>11</c:v>
                </c:pt>
                <c:pt idx="252">
                  <c:v>12</c:v>
                </c:pt>
                <c:pt idx="253">
                  <c:v>12</c:v>
                </c:pt>
                <c:pt idx="254">
                  <c:v>12</c:v>
                </c:pt>
                <c:pt idx="255">
                  <c:v>12</c:v>
                </c:pt>
                <c:pt idx="256">
                  <c:v>12</c:v>
                </c:pt>
                <c:pt idx="257">
                  <c:v>12</c:v>
                </c:pt>
                <c:pt idx="258">
                  <c:v>12</c:v>
                </c:pt>
                <c:pt idx="259">
                  <c:v>12</c:v>
                </c:pt>
                <c:pt idx="260">
                  <c:v>12</c:v>
                </c:pt>
                <c:pt idx="261">
                  <c:v>12</c:v>
                </c:pt>
                <c:pt idx="262">
                  <c:v>12</c:v>
                </c:pt>
                <c:pt idx="263">
                  <c:v>12</c:v>
                </c:pt>
                <c:pt idx="264">
                  <c:v>12</c:v>
                </c:pt>
                <c:pt idx="265">
                  <c:v>12</c:v>
                </c:pt>
                <c:pt idx="266">
                  <c:v>12</c:v>
                </c:pt>
                <c:pt idx="267">
                  <c:v>12</c:v>
                </c:pt>
                <c:pt idx="268">
                  <c:v>12</c:v>
                </c:pt>
                <c:pt idx="269">
                  <c:v>12</c:v>
                </c:pt>
                <c:pt idx="270">
                  <c:v>12</c:v>
                </c:pt>
                <c:pt idx="271">
                  <c:v>12</c:v>
                </c:pt>
                <c:pt idx="272">
                  <c:v>12</c:v>
                </c:pt>
                <c:pt idx="273">
                  <c:v>12</c:v>
                </c:pt>
                <c:pt idx="274">
                  <c:v>12</c:v>
                </c:pt>
                <c:pt idx="275">
                  <c:v>12</c:v>
                </c:pt>
                <c:pt idx="276">
                  <c:v>13.750000000000002</c:v>
                </c:pt>
                <c:pt idx="277">
                  <c:v>13.750000000000002</c:v>
                </c:pt>
                <c:pt idx="278">
                  <c:v>13.750000000000002</c:v>
                </c:pt>
                <c:pt idx="279">
                  <c:v>13.750000000000002</c:v>
                </c:pt>
                <c:pt idx="280">
                  <c:v>13.750000000000002</c:v>
                </c:pt>
                <c:pt idx="281">
                  <c:v>13.750000000000002</c:v>
                </c:pt>
                <c:pt idx="282">
                  <c:v>13.750000000000002</c:v>
                </c:pt>
                <c:pt idx="283">
                  <c:v>13.750000000000002</c:v>
                </c:pt>
                <c:pt idx="284">
                  <c:v>13.750000000000002</c:v>
                </c:pt>
                <c:pt idx="285">
                  <c:v>13.750000000000002</c:v>
                </c:pt>
                <c:pt idx="286">
                  <c:v>13.750000000000002</c:v>
                </c:pt>
                <c:pt idx="287">
                  <c:v>13.750000000000002</c:v>
                </c:pt>
                <c:pt idx="288">
                  <c:v>13.750000000000002</c:v>
                </c:pt>
                <c:pt idx="289">
                  <c:v>13.750000000000002</c:v>
                </c:pt>
                <c:pt idx="290">
                  <c:v>13.750000000000002</c:v>
                </c:pt>
                <c:pt idx="291">
                  <c:v>13.750000000000002</c:v>
                </c:pt>
                <c:pt idx="292">
                  <c:v>13.750000000000002</c:v>
                </c:pt>
                <c:pt idx="293">
                  <c:v>13.750000000000002</c:v>
                </c:pt>
                <c:pt idx="294">
                  <c:v>13.750000000000002</c:v>
                </c:pt>
                <c:pt idx="295">
                  <c:v>13.750000000000002</c:v>
                </c:pt>
                <c:pt idx="296">
                  <c:v>13.750000000000002</c:v>
                </c:pt>
                <c:pt idx="297">
                  <c:v>13.750000000000002</c:v>
                </c:pt>
                <c:pt idx="298">
                  <c:v>13.750000000000002</c:v>
                </c:pt>
                <c:pt idx="299">
                  <c:v>13.750000000000002</c:v>
                </c:pt>
                <c:pt idx="300">
                  <c:v>13.750000000000002</c:v>
                </c:pt>
                <c:pt idx="301">
                  <c:v>13.750000000000002</c:v>
                </c:pt>
                <c:pt idx="302">
                  <c:v>13.750000000000002</c:v>
                </c:pt>
                <c:pt idx="303">
                  <c:v>13.750000000000002</c:v>
                </c:pt>
                <c:pt idx="304">
                  <c:v>13.750000000000002</c:v>
                </c:pt>
                <c:pt idx="305">
                  <c:v>13.750000000000002</c:v>
                </c:pt>
                <c:pt idx="306">
                  <c:v>13.750000000000002</c:v>
                </c:pt>
                <c:pt idx="307">
                  <c:v>13.750000000000002</c:v>
                </c:pt>
                <c:pt idx="308">
                  <c:v>13.750000000000002</c:v>
                </c:pt>
                <c:pt idx="309">
                  <c:v>13.750000000000002</c:v>
                </c:pt>
                <c:pt idx="310">
                  <c:v>13.750000000000002</c:v>
                </c:pt>
                <c:pt idx="311">
                  <c:v>13.750000000000002</c:v>
                </c:pt>
                <c:pt idx="312">
                  <c:v>13.750000000000002</c:v>
                </c:pt>
                <c:pt idx="313">
                  <c:v>13.750000000000002</c:v>
                </c:pt>
                <c:pt idx="314">
                  <c:v>13.750000000000002</c:v>
                </c:pt>
                <c:pt idx="315">
                  <c:v>13.750000000000002</c:v>
                </c:pt>
                <c:pt idx="316">
                  <c:v>13.750000000000002</c:v>
                </c:pt>
                <c:pt idx="317">
                  <c:v>13.750000000000002</c:v>
                </c:pt>
                <c:pt idx="318">
                  <c:v>13.750000000000002</c:v>
                </c:pt>
                <c:pt idx="319">
                  <c:v>13.750000000000002</c:v>
                </c:pt>
                <c:pt idx="320">
                  <c:v>13.750000000000002</c:v>
                </c:pt>
                <c:pt idx="321">
                  <c:v>13.750000000000002</c:v>
                </c:pt>
                <c:pt idx="322">
                  <c:v>13.750000000000002</c:v>
                </c:pt>
                <c:pt idx="323">
                  <c:v>13.750000000000002</c:v>
                </c:pt>
                <c:pt idx="324">
                  <c:v>15</c:v>
                </c:pt>
                <c:pt idx="325">
                  <c:v>15</c:v>
                </c:pt>
                <c:pt idx="326">
                  <c:v>15</c:v>
                </c:pt>
                <c:pt idx="327">
                  <c:v>15</c:v>
                </c:pt>
                <c:pt idx="328">
                  <c:v>15</c:v>
                </c:pt>
                <c:pt idx="329">
                  <c:v>15</c:v>
                </c:pt>
                <c:pt idx="330">
                  <c:v>15</c:v>
                </c:pt>
                <c:pt idx="331">
                  <c:v>15</c:v>
                </c:pt>
                <c:pt idx="332">
                  <c:v>15</c:v>
                </c:pt>
                <c:pt idx="333">
                  <c:v>15</c:v>
                </c:pt>
                <c:pt idx="334">
                  <c:v>15</c:v>
                </c:pt>
                <c:pt idx="335">
                  <c:v>15</c:v>
                </c:pt>
                <c:pt idx="336">
                  <c:v>15</c:v>
                </c:pt>
                <c:pt idx="337">
                  <c:v>15</c:v>
                </c:pt>
                <c:pt idx="338">
                  <c:v>15</c:v>
                </c:pt>
                <c:pt idx="339">
                  <c:v>15</c:v>
                </c:pt>
                <c:pt idx="340">
                  <c:v>15</c:v>
                </c:pt>
                <c:pt idx="341">
                  <c:v>15</c:v>
                </c:pt>
                <c:pt idx="342">
                  <c:v>15</c:v>
                </c:pt>
                <c:pt idx="343">
                  <c:v>15</c:v>
                </c:pt>
                <c:pt idx="344">
                  <c:v>15</c:v>
                </c:pt>
                <c:pt idx="345">
                  <c:v>15</c:v>
                </c:pt>
                <c:pt idx="346">
                  <c:v>15</c:v>
                </c:pt>
                <c:pt idx="347">
                  <c:v>15</c:v>
                </c:pt>
                <c:pt idx="348">
                  <c:v>19</c:v>
                </c:pt>
                <c:pt idx="349">
                  <c:v>19</c:v>
                </c:pt>
                <c:pt idx="350">
                  <c:v>19</c:v>
                </c:pt>
                <c:pt idx="351">
                  <c:v>19</c:v>
                </c:pt>
                <c:pt idx="352">
                  <c:v>19</c:v>
                </c:pt>
                <c:pt idx="353">
                  <c:v>19</c:v>
                </c:pt>
                <c:pt idx="354">
                  <c:v>19</c:v>
                </c:pt>
                <c:pt idx="355">
                  <c:v>19</c:v>
                </c:pt>
                <c:pt idx="356">
                  <c:v>19</c:v>
                </c:pt>
                <c:pt idx="357">
                  <c:v>19</c:v>
                </c:pt>
                <c:pt idx="358">
                  <c:v>19</c:v>
                </c:pt>
                <c:pt idx="359">
                  <c:v>19</c:v>
                </c:pt>
                <c:pt idx="360">
                  <c:v>19</c:v>
                </c:pt>
                <c:pt idx="361">
                  <c:v>19</c:v>
                </c:pt>
                <c:pt idx="362">
                  <c:v>19</c:v>
                </c:pt>
                <c:pt idx="363">
                  <c:v>19</c:v>
                </c:pt>
                <c:pt idx="364">
                  <c:v>19</c:v>
                </c:pt>
                <c:pt idx="365">
                  <c:v>19</c:v>
                </c:pt>
                <c:pt idx="366">
                  <c:v>19</c:v>
                </c:pt>
                <c:pt idx="367">
                  <c:v>19</c:v>
                </c:pt>
                <c:pt idx="368">
                  <c:v>19</c:v>
                </c:pt>
                <c:pt idx="369">
                  <c:v>19</c:v>
                </c:pt>
                <c:pt idx="370">
                  <c:v>19</c:v>
                </c:pt>
                <c:pt idx="371">
                  <c:v>19</c:v>
                </c:pt>
                <c:pt idx="372">
                  <c:v>24</c:v>
                </c:pt>
                <c:pt idx="373">
                  <c:v>24</c:v>
                </c:pt>
                <c:pt idx="374">
                  <c:v>24</c:v>
                </c:pt>
                <c:pt idx="375">
                  <c:v>24</c:v>
                </c:pt>
                <c:pt idx="376">
                  <c:v>24</c:v>
                </c:pt>
                <c:pt idx="377">
                  <c:v>24</c:v>
                </c:pt>
                <c:pt idx="378">
                  <c:v>24</c:v>
                </c:pt>
                <c:pt idx="379">
                  <c:v>24</c:v>
                </c:pt>
                <c:pt idx="380">
                  <c:v>24</c:v>
                </c:pt>
                <c:pt idx="381">
                  <c:v>24</c:v>
                </c:pt>
                <c:pt idx="382">
                  <c:v>24</c:v>
                </c:pt>
                <c:pt idx="383">
                  <c:v>24</c:v>
                </c:pt>
                <c:pt idx="384">
                  <c:v>31</c:v>
                </c:pt>
                <c:pt idx="385">
                  <c:v>31</c:v>
                </c:pt>
                <c:pt idx="386">
                  <c:v>31</c:v>
                </c:pt>
                <c:pt idx="387">
                  <c:v>31</c:v>
                </c:pt>
                <c:pt idx="388">
                  <c:v>31</c:v>
                </c:pt>
                <c:pt idx="389">
                  <c:v>31</c:v>
                </c:pt>
                <c:pt idx="390">
                  <c:v>31</c:v>
                </c:pt>
                <c:pt idx="391">
                  <c:v>31</c:v>
                </c:pt>
                <c:pt idx="392">
                  <c:v>31</c:v>
                </c:pt>
                <c:pt idx="393">
                  <c:v>31</c:v>
                </c:pt>
                <c:pt idx="394">
                  <c:v>31</c:v>
                </c:pt>
                <c:pt idx="395">
                  <c:v>31</c:v>
                </c:pt>
                <c:pt idx="396">
                  <c:v>40</c:v>
                </c:pt>
                <c:pt idx="397">
                  <c:v>40</c:v>
                </c:pt>
                <c:pt idx="398">
                  <c:v>40</c:v>
                </c:pt>
                <c:pt idx="399">
                  <c:v>40</c:v>
                </c:pt>
                <c:pt idx="400">
                  <c:v>40</c:v>
                </c:pt>
                <c:pt idx="401">
                  <c:v>40</c:v>
                </c:pt>
                <c:pt idx="402">
                  <c:v>40</c:v>
                </c:pt>
                <c:pt idx="403">
                  <c:v>40</c:v>
                </c:pt>
                <c:pt idx="404">
                  <c:v>40</c:v>
                </c:pt>
                <c:pt idx="405">
                  <c:v>40</c:v>
                </c:pt>
                <c:pt idx="406">
                  <c:v>40</c:v>
                </c:pt>
                <c:pt idx="407">
                  <c:v>40</c:v>
                </c:pt>
                <c:pt idx="408">
                  <c:v>40</c:v>
                </c:pt>
                <c:pt idx="409">
                  <c:v>40</c:v>
                </c:pt>
                <c:pt idx="410">
                  <c:v>40</c:v>
                </c:pt>
                <c:pt idx="411">
                  <c:v>40</c:v>
                </c:pt>
                <c:pt idx="412">
                  <c:v>40</c:v>
                </c:pt>
                <c:pt idx="413">
                  <c:v>40</c:v>
                </c:pt>
                <c:pt idx="414">
                  <c:v>40</c:v>
                </c:pt>
                <c:pt idx="415">
                  <c:v>40</c:v>
                </c:pt>
                <c:pt idx="416">
                  <c:v>40</c:v>
                </c:pt>
                <c:pt idx="417">
                  <c:v>40</c:v>
                </c:pt>
                <c:pt idx="418">
                  <c:v>40</c:v>
                </c:pt>
                <c:pt idx="419">
                  <c:v>40</c:v>
                </c:pt>
                <c:pt idx="420">
                  <c:v>40</c:v>
                </c:pt>
                <c:pt idx="421">
                  <c:v>40</c:v>
                </c:pt>
                <c:pt idx="422">
                  <c:v>40</c:v>
                </c:pt>
                <c:pt idx="423">
                  <c:v>40</c:v>
                </c:pt>
                <c:pt idx="424">
                  <c:v>40</c:v>
                </c:pt>
                <c:pt idx="425">
                  <c:v>40</c:v>
                </c:pt>
                <c:pt idx="426">
                  <c:v>40</c:v>
                </c:pt>
                <c:pt idx="427">
                  <c:v>40</c:v>
                </c:pt>
                <c:pt idx="428">
                  <c:v>40</c:v>
                </c:pt>
                <c:pt idx="429">
                  <c:v>40</c:v>
                </c:pt>
                <c:pt idx="430">
                  <c:v>40</c:v>
                </c:pt>
                <c:pt idx="431">
                  <c:v>40</c:v>
                </c:pt>
                <c:pt idx="432">
                  <c:v>40</c:v>
                </c:pt>
                <c:pt idx="433">
                  <c:v>40</c:v>
                </c:pt>
                <c:pt idx="434">
                  <c:v>40</c:v>
                </c:pt>
                <c:pt idx="435">
                  <c:v>40</c:v>
                </c:pt>
                <c:pt idx="436">
                  <c:v>40</c:v>
                </c:pt>
                <c:pt idx="437">
                  <c:v>40</c:v>
                </c:pt>
                <c:pt idx="438">
                  <c:v>40</c:v>
                </c:pt>
                <c:pt idx="439">
                  <c:v>40</c:v>
                </c:pt>
                <c:pt idx="440">
                  <c:v>40</c:v>
                </c:pt>
                <c:pt idx="441">
                  <c:v>40</c:v>
                </c:pt>
                <c:pt idx="442">
                  <c:v>40</c:v>
                </c:pt>
                <c:pt idx="443">
                  <c:v>40</c:v>
                </c:pt>
                <c:pt idx="444">
                  <c:v>38</c:v>
                </c:pt>
                <c:pt idx="445">
                  <c:v>38</c:v>
                </c:pt>
                <c:pt idx="446">
                  <c:v>38</c:v>
                </c:pt>
                <c:pt idx="447">
                  <c:v>38</c:v>
                </c:pt>
                <c:pt idx="448">
                  <c:v>38</c:v>
                </c:pt>
                <c:pt idx="449">
                  <c:v>38</c:v>
                </c:pt>
                <c:pt idx="450">
                  <c:v>38</c:v>
                </c:pt>
                <c:pt idx="451">
                  <c:v>38</c:v>
                </c:pt>
                <c:pt idx="452">
                  <c:v>38</c:v>
                </c:pt>
                <c:pt idx="453">
                  <c:v>38</c:v>
                </c:pt>
                <c:pt idx="454">
                  <c:v>38</c:v>
                </c:pt>
                <c:pt idx="455">
                  <c:v>38</c:v>
                </c:pt>
                <c:pt idx="456">
                  <c:v>38</c:v>
                </c:pt>
                <c:pt idx="457">
                  <c:v>38</c:v>
                </c:pt>
                <c:pt idx="458">
                  <c:v>38</c:v>
                </c:pt>
                <c:pt idx="459">
                  <c:v>38</c:v>
                </c:pt>
                <c:pt idx="460">
                  <c:v>38</c:v>
                </c:pt>
                <c:pt idx="461">
                  <c:v>38</c:v>
                </c:pt>
                <c:pt idx="462">
                  <c:v>38</c:v>
                </c:pt>
                <c:pt idx="463">
                  <c:v>38</c:v>
                </c:pt>
                <c:pt idx="464">
                  <c:v>38</c:v>
                </c:pt>
                <c:pt idx="465">
                  <c:v>38</c:v>
                </c:pt>
                <c:pt idx="466">
                  <c:v>38</c:v>
                </c:pt>
                <c:pt idx="467">
                  <c:v>38</c:v>
                </c:pt>
                <c:pt idx="468">
                  <c:v>38</c:v>
                </c:pt>
                <c:pt idx="469">
                  <c:v>38</c:v>
                </c:pt>
                <c:pt idx="470">
                  <c:v>38</c:v>
                </c:pt>
                <c:pt idx="471">
                  <c:v>38</c:v>
                </c:pt>
                <c:pt idx="472">
                  <c:v>38</c:v>
                </c:pt>
                <c:pt idx="473">
                  <c:v>38</c:v>
                </c:pt>
                <c:pt idx="474">
                  <c:v>38</c:v>
                </c:pt>
                <c:pt idx="475">
                  <c:v>38</c:v>
                </c:pt>
                <c:pt idx="476">
                  <c:v>38</c:v>
                </c:pt>
                <c:pt idx="477">
                  <c:v>38</c:v>
                </c:pt>
                <c:pt idx="478">
                  <c:v>38</c:v>
                </c:pt>
                <c:pt idx="479">
                  <c:v>38</c:v>
                </c:pt>
                <c:pt idx="480">
                  <c:v>38</c:v>
                </c:pt>
                <c:pt idx="481">
                  <c:v>38</c:v>
                </c:pt>
                <c:pt idx="482">
                  <c:v>38</c:v>
                </c:pt>
                <c:pt idx="483">
                  <c:v>38</c:v>
                </c:pt>
                <c:pt idx="484">
                  <c:v>38</c:v>
                </c:pt>
                <c:pt idx="485">
                  <c:v>38</c:v>
                </c:pt>
                <c:pt idx="486">
                  <c:v>38</c:v>
                </c:pt>
                <c:pt idx="487">
                  <c:v>38</c:v>
                </c:pt>
                <c:pt idx="488">
                  <c:v>38</c:v>
                </c:pt>
                <c:pt idx="489">
                  <c:v>38</c:v>
                </c:pt>
                <c:pt idx="490">
                  <c:v>38</c:v>
                </c:pt>
                <c:pt idx="491">
                  <c:v>38</c:v>
                </c:pt>
                <c:pt idx="492">
                  <c:v>42</c:v>
                </c:pt>
                <c:pt idx="493">
                  <c:v>42</c:v>
                </c:pt>
                <c:pt idx="494">
                  <c:v>42</c:v>
                </c:pt>
                <c:pt idx="495">
                  <c:v>42</c:v>
                </c:pt>
                <c:pt idx="496">
                  <c:v>42</c:v>
                </c:pt>
                <c:pt idx="497">
                  <c:v>42</c:v>
                </c:pt>
                <c:pt idx="498">
                  <c:v>42</c:v>
                </c:pt>
                <c:pt idx="499">
                  <c:v>42</c:v>
                </c:pt>
                <c:pt idx="500">
                  <c:v>42</c:v>
                </c:pt>
                <c:pt idx="501">
                  <c:v>42</c:v>
                </c:pt>
                <c:pt idx="502">
                  <c:v>42</c:v>
                </c:pt>
                <c:pt idx="503">
                  <c:v>42</c:v>
                </c:pt>
                <c:pt idx="504">
                  <c:v>50.749999999999993</c:v>
                </c:pt>
                <c:pt idx="505">
                  <c:v>50.749999999999993</c:v>
                </c:pt>
                <c:pt idx="506">
                  <c:v>50.749999999999993</c:v>
                </c:pt>
                <c:pt idx="507">
                  <c:v>50.749999999999993</c:v>
                </c:pt>
                <c:pt idx="508">
                  <c:v>50.749999999999993</c:v>
                </c:pt>
                <c:pt idx="509">
                  <c:v>50.749999999999993</c:v>
                </c:pt>
                <c:pt idx="510">
                  <c:v>50.749999999999993</c:v>
                </c:pt>
                <c:pt idx="511">
                  <c:v>50.749999999999993</c:v>
                </c:pt>
                <c:pt idx="512">
                  <c:v>50.749999999999993</c:v>
                </c:pt>
                <c:pt idx="513">
                  <c:v>50.749999999999993</c:v>
                </c:pt>
                <c:pt idx="514">
                  <c:v>50.749999999999993</c:v>
                </c:pt>
                <c:pt idx="515">
                  <c:v>50.749999999999993</c:v>
                </c:pt>
                <c:pt idx="516">
                  <c:v>52</c:v>
                </c:pt>
                <c:pt idx="517">
                  <c:v>52</c:v>
                </c:pt>
                <c:pt idx="518">
                  <c:v>52</c:v>
                </c:pt>
                <c:pt idx="519">
                  <c:v>52</c:v>
                </c:pt>
                <c:pt idx="520">
                  <c:v>52</c:v>
                </c:pt>
                <c:pt idx="521">
                  <c:v>52</c:v>
                </c:pt>
                <c:pt idx="522">
                  <c:v>52</c:v>
                </c:pt>
                <c:pt idx="523">
                  <c:v>52</c:v>
                </c:pt>
                <c:pt idx="524">
                  <c:v>52</c:v>
                </c:pt>
                <c:pt idx="525">
                  <c:v>52</c:v>
                </c:pt>
                <c:pt idx="526">
                  <c:v>52</c:v>
                </c:pt>
                <c:pt idx="527">
                  <c:v>52</c:v>
                </c:pt>
                <c:pt idx="528">
                  <c:v>52</c:v>
                </c:pt>
                <c:pt idx="529">
                  <c:v>52</c:v>
                </c:pt>
                <c:pt idx="530">
                  <c:v>52</c:v>
                </c:pt>
                <c:pt idx="531">
                  <c:v>52</c:v>
                </c:pt>
                <c:pt idx="532">
                  <c:v>52</c:v>
                </c:pt>
                <c:pt idx="533">
                  <c:v>52</c:v>
                </c:pt>
                <c:pt idx="534">
                  <c:v>52</c:v>
                </c:pt>
                <c:pt idx="535">
                  <c:v>52</c:v>
                </c:pt>
                <c:pt idx="536">
                  <c:v>52</c:v>
                </c:pt>
                <c:pt idx="537">
                  <c:v>52</c:v>
                </c:pt>
                <c:pt idx="538">
                  <c:v>52</c:v>
                </c:pt>
                <c:pt idx="539">
                  <c:v>52</c:v>
                </c:pt>
                <c:pt idx="540">
                  <c:v>52</c:v>
                </c:pt>
                <c:pt idx="541">
                  <c:v>52</c:v>
                </c:pt>
                <c:pt idx="542">
                  <c:v>52</c:v>
                </c:pt>
                <c:pt idx="543">
                  <c:v>52</c:v>
                </c:pt>
                <c:pt idx="544">
                  <c:v>52</c:v>
                </c:pt>
                <c:pt idx="545">
                  <c:v>52</c:v>
                </c:pt>
                <c:pt idx="546">
                  <c:v>52</c:v>
                </c:pt>
                <c:pt idx="547">
                  <c:v>52</c:v>
                </c:pt>
                <c:pt idx="548">
                  <c:v>52</c:v>
                </c:pt>
                <c:pt idx="549">
                  <c:v>52</c:v>
                </c:pt>
                <c:pt idx="550">
                  <c:v>52</c:v>
                </c:pt>
                <c:pt idx="551">
                  <c:v>52</c:v>
                </c:pt>
                <c:pt idx="552">
                  <c:v>52</c:v>
                </c:pt>
                <c:pt idx="553">
                  <c:v>52</c:v>
                </c:pt>
                <c:pt idx="554">
                  <c:v>52</c:v>
                </c:pt>
                <c:pt idx="555">
                  <c:v>52</c:v>
                </c:pt>
                <c:pt idx="556">
                  <c:v>52</c:v>
                </c:pt>
                <c:pt idx="557">
                  <c:v>52</c:v>
                </c:pt>
                <c:pt idx="558">
                  <c:v>52</c:v>
                </c:pt>
                <c:pt idx="559">
                  <c:v>52</c:v>
                </c:pt>
                <c:pt idx="560">
                  <c:v>52</c:v>
                </c:pt>
                <c:pt idx="561">
                  <c:v>52</c:v>
                </c:pt>
                <c:pt idx="562">
                  <c:v>52</c:v>
                </c:pt>
                <c:pt idx="563">
                  <c:v>52</c:v>
                </c:pt>
                <c:pt idx="564">
                  <c:v>52</c:v>
                </c:pt>
                <c:pt idx="565">
                  <c:v>52</c:v>
                </c:pt>
                <c:pt idx="566">
                  <c:v>52</c:v>
                </c:pt>
                <c:pt idx="567">
                  <c:v>52</c:v>
                </c:pt>
                <c:pt idx="568">
                  <c:v>52</c:v>
                </c:pt>
                <c:pt idx="569">
                  <c:v>52</c:v>
                </c:pt>
                <c:pt idx="570">
                  <c:v>52</c:v>
                </c:pt>
                <c:pt idx="571">
                  <c:v>52</c:v>
                </c:pt>
                <c:pt idx="572">
                  <c:v>52</c:v>
                </c:pt>
                <c:pt idx="573">
                  <c:v>52</c:v>
                </c:pt>
                <c:pt idx="574">
                  <c:v>52</c:v>
                </c:pt>
                <c:pt idx="575">
                  <c:v>52</c:v>
                </c:pt>
                <c:pt idx="576">
                  <c:v>52</c:v>
                </c:pt>
                <c:pt idx="577">
                  <c:v>52</c:v>
                </c:pt>
                <c:pt idx="578">
                  <c:v>52</c:v>
                </c:pt>
                <c:pt idx="579">
                  <c:v>52</c:v>
                </c:pt>
                <c:pt idx="580">
                  <c:v>52</c:v>
                </c:pt>
                <c:pt idx="581">
                  <c:v>52</c:v>
                </c:pt>
                <c:pt idx="582">
                  <c:v>52</c:v>
                </c:pt>
                <c:pt idx="583">
                  <c:v>52</c:v>
                </c:pt>
                <c:pt idx="584">
                  <c:v>52</c:v>
                </c:pt>
                <c:pt idx="585">
                  <c:v>52</c:v>
                </c:pt>
                <c:pt idx="586">
                  <c:v>52</c:v>
                </c:pt>
                <c:pt idx="587">
                  <c:v>52</c:v>
                </c:pt>
                <c:pt idx="588">
                  <c:v>52</c:v>
                </c:pt>
                <c:pt idx="589">
                  <c:v>52</c:v>
                </c:pt>
                <c:pt idx="590">
                  <c:v>52</c:v>
                </c:pt>
                <c:pt idx="591">
                  <c:v>52</c:v>
                </c:pt>
                <c:pt idx="592">
                  <c:v>52</c:v>
                </c:pt>
                <c:pt idx="593">
                  <c:v>52</c:v>
                </c:pt>
                <c:pt idx="594">
                  <c:v>52</c:v>
                </c:pt>
                <c:pt idx="595">
                  <c:v>52</c:v>
                </c:pt>
                <c:pt idx="596">
                  <c:v>52</c:v>
                </c:pt>
                <c:pt idx="597">
                  <c:v>52</c:v>
                </c:pt>
                <c:pt idx="598">
                  <c:v>52</c:v>
                </c:pt>
                <c:pt idx="599">
                  <c:v>52</c:v>
                </c:pt>
                <c:pt idx="600">
                  <c:v>52</c:v>
                </c:pt>
                <c:pt idx="601">
                  <c:v>52</c:v>
                </c:pt>
                <c:pt idx="602">
                  <c:v>52</c:v>
                </c:pt>
                <c:pt idx="603">
                  <c:v>52</c:v>
                </c:pt>
                <c:pt idx="604">
                  <c:v>52</c:v>
                </c:pt>
                <c:pt idx="605">
                  <c:v>52</c:v>
                </c:pt>
                <c:pt idx="606">
                  <c:v>52</c:v>
                </c:pt>
                <c:pt idx="607">
                  <c:v>52</c:v>
                </c:pt>
                <c:pt idx="608">
                  <c:v>52</c:v>
                </c:pt>
                <c:pt idx="609">
                  <c:v>52</c:v>
                </c:pt>
                <c:pt idx="610">
                  <c:v>52</c:v>
                </c:pt>
                <c:pt idx="611">
                  <c:v>52</c:v>
                </c:pt>
                <c:pt idx="612">
                  <c:v>52</c:v>
                </c:pt>
                <c:pt idx="613">
                  <c:v>52</c:v>
                </c:pt>
                <c:pt idx="614">
                  <c:v>52</c:v>
                </c:pt>
                <c:pt idx="615">
                  <c:v>52</c:v>
                </c:pt>
                <c:pt idx="616">
                  <c:v>52</c:v>
                </c:pt>
                <c:pt idx="617">
                  <c:v>52</c:v>
                </c:pt>
                <c:pt idx="618">
                  <c:v>52</c:v>
                </c:pt>
                <c:pt idx="619">
                  <c:v>52</c:v>
                </c:pt>
                <c:pt idx="620">
                  <c:v>52</c:v>
                </c:pt>
                <c:pt idx="621">
                  <c:v>52</c:v>
                </c:pt>
                <c:pt idx="622">
                  <c:v>52</c:v>
                </c:pt>
                <c:pt idx="623">
                  <c:v>52</c:v>
                </c:pt>
                <c:pt idx="624">
                  <c:v>52</c:v>
                </c:pt>
                <c:pt idx="625">
                  <c:v>52</c:v>
                </c:pt>
                <c:pt idx="626">
                  <c:v>52</c:v>
                </c:pt>
                <c:pt idx="627">
                  <c:v>52</c:v>
                </c:pt>
                <c:pt idx="628">
                  <c:v>52</c:v>
                </c:pt>
                <c:pt idx="629">
                  <c:v>52</c:v>
                </c:pt>
                <c:pt idx="630">
                  <c:v>52</c:v>
                </c:pt>
                <c:pt idx="631">
                  <c:v>52</c:v>
                </c:pt>
                <c:pt idx="632">
                  <c:v>52</c:v>
                </c:pt>
                <c:pt idx="633">
                  <c:v>52</c:v>
                </c:pt>
                <c:pt idx="634">
                  <c:v>52</c:v>
                </c:pt>
                <c:pt idx="635">
                  <c:v>52</c:v>
                </c:pt>
                <c:pt idx="636">
                  <c:v>52</c:v>
                </c:pt>
                <c:pt idx="637">
                  <c:v>52</c:v>
                </c:pt>
                <c:pt idx="638">
                  <c:v>52</c:v>
                </c:pt>
                <c:pt idx="639">
                  <c:v>52</c:v>
                </c:pt>
                <c:pt idx="640">
                  <c:v>52</c:v>
                </c:pt>
                <c:pt idx="641">
                  <c:v>52</c:v>
                </c:pt>
                <c:pt idx="642">
                  <c:v>52</c:v>
                </c:pt>
                <c:pt idx="643">
                  <c:v>52</c:v>
                </c:pt>
                <c:pt idx="644">
                  <c:v>52</c:v>
                </c:pt>
                <c:pt idx="645">
                  <c:v>52</c:v>
                </c:pt>
                <c:pt idx="646">
                  <c:v>52</c:v>
                </c:pt>
                <c:pt idx="647">
                  <c:v>52</c:v>
                </c:pt>
                <c:pt idx="648">
                  <c:v>52</c:v>
                </c:pt>
                <c:pt idx="649">
                  <c:v>52</c:v>
                </c:pt>
                <c:pt idx="650">
                  <c:v>52</c:v>
                </c:pt>
                <c:pt idx="651">
                  <c:v>52</c:v>
                </c:pt>
                <c:pt idx="652">
                  <c:v>52</c:v>
                </c:pt>
                <c:pt idx="653">
                  <c:v>52</c:v>
                </c:pt>
                <c:pt idx="654">
                  <c:v>52</c:v>
                </c:pt>
                <c:pt idx="655">
                  <c:v>52</c:v>
                </c:pt>
                <c:pt idx="656">
                  <c:v>52</c:v>
                </c:pt>
                <c:pt idx="657">
                  <c:v>52</c:v>
                </c:pt>
                <c:pt idx="658">
                  <c:v>52</c:v>
                </c:pt>
                <c:pt idx="659">
                  <c:v>52</c:v>
                </c:pt>
                <c:pt idx="660">
                  <c:v>50</c:v>
                </c:pt>
                <c:pt idx="661">
                  <c:v>50</c:v>
                </c:pt>
                <c:pt idx="662">
                  <c:v>50</c:v>
                </c:pt>
                <c:pt idx="663">
                  <c:v>50</c:v>
                </c:pt>
                <c:pt idx="664">
                  <c:v>50</c:v>
                </c:pt>
                <c:pt idx="665">
                  <c:v>50</c:v>
                </c:pt>
                <c:pt idx="666">
                  <c:v>50</c:v>
                </c:pt>
                <c:pt idx="667">
                  <c:v>50</c:v>
                </c:pt>
                <c:pt idx="668">
                  <c:v>50</c:v>
                </c:pt>
                <c:pt idx="669">
                  <c:v>50</c:v>
                </c:pt>
                <c:pt idx="670">
                  <c:v>50</c:v>
                </c:pt>
                <c:pt idx="671">
                  <c:v>50</c:v>
                </c:pt>
                <c:pt idx="672">
                  <c:v>48</c:v>
                </c:pt>
                <c:pt idx="673">
                  <c:v>48</c:v>
                </c:pt>
                <c:pt idx="674">
                  <c:v>48</c:v>
                </c:pt>
                <c:pt idx="675">
                  <c:v>48</c:v>
                </c:pt>
                <c:pt idx="676">
                  <c:v>48</c:v>
                </c:pt>
                <c:pt idx="677">
                  <c:v>48</c:v>
                </c:pt>
                <c:pt idx="678">
                  <c:v>48</c:v>
                </c:pt>
                <c:pt idx="679">
                  <c:v>48</c:v>
                </c:pt>
                <c:pt idx="680">
                  <c:v>48</c:v>
                </c:pt>
                <c:pt idx="681">
                  <c:v>48</c:v>
                </c:pt>
                <c:pt idx="682">
                  <c:v>48</c:v>
                </c:pt>
                <c:pt idx="683">
                  <c:v>48</c:v>
                </c:pt>
                <c:pt idx="684">
                  <c:v>48</c:v>
                </c:pt>
                <c:pt idx="685">
                  <c:v>48</c:v>
                </c:pt>
                <c:pt idx="686">
                  <c:v>48</c:v>
                </c:pt>
                <c:pt idx="687">
                  <c:v>48</c:v>
                </c:pt>
                <c:pt idx="688">
                  <c:v>48</c:v>
                </c:pt>
                <c:pt idx="689">
                  <c:v>48</c:v>
                </c:pt>
                <c:pt idx="690">
                  <c:v>48</c:v>
                </c:pt>
                <c:pt idx="691">
                  <c:v>48</c:v>
                </c:pt>
                <c:pt idx="692">
                  <c:v>48</c:v>
                </c:pt>
                <c:pt idx="693">
                  <c:v>48</c:v>
                </c:pt>
                <c:pt idx="694">
                  <c:v>48</c:v>
                </c:pt>
                <c:pt idx="695">
                  <c:v>48</c:v>
                </c:pt>
                <c:pt idx="696">
                  <c:v>48</c:v>
                </c:pt>
                <c:pt idx="697">
                  <c:v>48</c:v>
                </c:pt>
                <c:pt idx="698">
                  <c:v>48</c:v>
                </c:pt>
                <c:pt idx="699">
                  <c:v>48</c:v>
                </c:pt>
                <c:pt idx="700">
                  <c:v>48</c:v>
                </c:pt>
                <c:pt idx="701">
                  <c:v>48</c:v>
                </c:pt>
                <c:pt idx="702">
                  <c:v>48</c:v>
                </c:pt>
                <c:pt idx="703">
                  <c:v>48</c:v>
                </c:pt>
                <c:pt idx="704">
                  <c:v>48</c:v>
                </c:pt>
                <c:pt idx="705">
                  <c:v>48</c:v>
                </c:pt>
                <c:pt idx="706">
                  <c:v>48</c:v>
                </c:pt>
                <c:pt idx="707">
                  <c:v>48</c:v>
                </c:pt>
                <c:pt idx="708">
                  <c:v>52.800000000000004</c:v>
                </c:pt>
                <c:pt idx="709">
                  <c:v>52.800000000000004</c:v>
                </c:pt>
                <c:pt idx="710">
                  <c:v>52.800000000000004</c:v>
                </c:pt>
                <c:pt idx="711">
                  <c:v>52.800000000000004</c:v>
                </c:pt>
                <c:pt idx="712">
                  <c:v>52.800000000000004</c:v>
                </c:pt>
                <c:pt idx="713">
                  <c:v>52.800000000000004</c:v>
                </c:pt>
                <c:pt idx="714">
                  <c:v>52.800000000000004</c:v>
                </c:pt>
                <c:pt idx="715">
                  <c:v>52.800000000000004</c:v>
                </c:pt>
                <c:pt idx="716">
                  <c:v>52.800000000000004</c:v>
                </c:pt>
                <c:pt idx="717">
                  <c:v>52.800000000000004</c:v>
                </c:pt>
                <c:pt idx="718">
                  <c:v>52.800000000000004</c:v>
                </c:pt>
                <c:pt idx="719">
                  <c:v>52.800000000000004</c:v>
                </c:pt>
                <c:pt idx="720">
                  <c:v>52.800000000000004</c:v>
                </c:pt>
                <c:pt idx="721">
                  <c:v>52.800000000000004</c:v>
                </c:pt>
                <c:pt idx="722">
                  <c:v>52.800000000000004</c:v>
                </c:pt>
                <c:pt idx="723">
                  <c:v>52.800000000000004</c:v>
                </c:pt>
                <c:pt idx="724">
                  <c:v>52.800000000000004</c:v>
                </c:pt>
                <c:pt idx="725">
                  <c:v>52.800000000000004</c:v>
                </c:pt>
                <c:pt idx="726">
                  <c:v>52.800000000000004</c:v>
                </c:pt>
                <c:pt idx="727">
                  <c:v>52.800000000000004</c:v>
                </c:pt>
                <c:pt idx="728">
                  <c:v>52.800000000000004</c:v>
                </c:pt>
                <c:pt idx="729">
                  <c:v>52.800000000000004</c:v>
                </c:pt>
                <c:pt idx="730">
                  <c:v>52.800000000000004</c:v>
                </c:pt>
                <c:pt idx="731">
                  <c:v>52.800000000000004</c:v>
                </c:pt>
                <c:pt idx="732">
                  <c:v>49.2</c:v>
                </c:pt>
                <c:pt idx="733">
                  <c:v>49.2</c:v>
                </c:pt>
                <c:pt idx="734">
                  <c:v>49.2</c:v>
                </c:pt>
                <c:pt idx="735">
                  <c:v>49.2</c:v>
                </c:pt>
                <c:pt idx="736">
                  <c:v>49.2</c:v>
                </c:pt>
                <c:pt idx="737">
                  <c:v>49.2</c:v>
                </c:pt>
                <c:pt idx="738">
                  <c:v>49.2</c:v>
                </c:pt>
                <c:pt idx="739">
                  <c:v>49.2</c:v>
                </c:pt>
                <c:pt idx="740">
                  <c:v>49.2</c:v>
                </c:pt>
                <c:pt idx="741">
                  <c:v>49.2</c:v>
                </c:pt>
                <c:pt idx="742">
                  <c:v>49.2</c:v>
                </c:pt>
                <c:pt idx="743">
                  <c:v>49.2</c:v>
                </c:pt>
                <c:pt idx="744">
                  <c:v>48</c:v>
                </c:pt>
                <c:pt idx="745">
                  <c:v>48</c:v>
                </c:pt>
                <c:pt idx="746">
                  <c:v>48</c:v>
                </c:pt>
                <c:pt idx="747">
                  <c:v>48</c:v>
                </c:pt>
                <c:pt idx="748">
                  <c:v>48</c:v>
                </c:pt>
                <c:pt idx="749">
                  <c:v>48</c:v>
                </c:pt>
                <c:pt idx="750">
                  <c:v>48</c:v>
                </c:pt>
                <c:pt idx="751">
                  <c:v>48</c:v>
                </c:pt>
                <c:pt idx="752">
                  <c:v>48</c:v>
                </c:pt>
                <c:pt idx="753">
                  <c:v>48</c:v>
                </c:pt>
                <c:pt idx="754">
                  <c:v>48</c:v>
                </c:pt>
                <c:pt idx="755">
                  <c:v>48</c:v>
                </c:pt>
                <c:pt idx="756">
                  <c:v>48</c:v>
                </c:pt>
                <c:pt idx="757">
                  <c:v>48</c:v>
                </c:pt>
                <c:pt idx="758">
                  <c:v>48</c:v>
                </c:pt>
                <c:pt idx="759">
                  <c:v>48</c:v>
                </c:pt>
                <c:pt idx="760">
                  <c:v>48</c:v>
                </c:pt>
                <c:pt idx="761">
                  <c:v>48</c:v>
                </c:pt>
                <c:pt idx="762">
                  <c:v>48</c:v>
                </c:pt>
                <c:pt idx="763">
                  <c:v>48</c:v>
                </c:pt>
                <c:pt idx="764">
                  <c:v>48</c:v>
                </c:pt>
                <c:pt idx="765">
                  <c:v>48</c:v>
                </c:pt>
                <c:pt idx="766">
                  <c:v>48</c:v>
                </c:pt>
                <c:pt idx="767">
                  <c:v>48</c:v>
                </c:pt>
                <c:pt idx="768">
                  <c:v>48</c:v>
                </c:pt>
                <c:pt idx="769">
                  <c:v>48</c:v>
                </c:pt>
                <c:pt idx="770">
                  <c:v>48</c:v>
                </c:pt>
                <c:pt idx="771">
                  <c:v>48</c:v>
                </c:pt>
                <c:pt idx="772">
                  <c:v>48</c:v>
                </c:pt>
                <c:pt idx="773">
                  <c:v>48</c:v>
                </c:pt>
                <c:pt idx="774">
                  <c:v>48</c:v>
                </c:pt>
                <c:pt idx="775">
                  <c:v>48</c:v>
                </c:pt>
                <c:pt idx="776">
                  <c:v>48</c:v>
                </c:pt>
                <c:pt idx="777">
                  <c:v>48</c:v>
                </c:pt>
                <c:pt idx="778">
                  <c:v>48</c:v>
                </c:pt>
                <c:pt idx="779">
                  <c:v>48</c:v>
                </c:pt>
                <c:pt idx="780">
                  <c:v>48</c:v>
                </c:pt>
                <c:pt idx="781">
                  <c:v>48</c:v>
                </c:pt>
                <c:pt idx="782">
                  <c:v>48</c:v>
                </c:pt>
                <c:pt idx="783">
                  <c:v>48</c:v>
                </c:pt>
                <c:pt idx="784">
                  <c:v>48</c:v>
                </c:pt>
                <c:pt idx="785">
                  <c:v>48</c:v>
                </c:pt>
                <c:pt idx="786">
                  <c:v>48</c:v>
                </c:pt>
                <c:pt idx="787">
                  <c:v>48</c:v>
                </c:pt>
                <c:pt idx="788">
                  <c:v>48</c:v>
                </c:pt>
                <c:pt idx="789">
                  <c:v>48</c:v>
                </c:pt>
                <c:pt idx="790">
                  <c:v>48</c:v>
                </c:pt>
                <c:pt idx="791">
                  <c:v>48</c:v>
                </c:pt>
                <c:pt idx="792">
                  <c:v>48</c:v>
                </c:pt>
                <c:pt idx="793">
                  <c:v>48</c:v>
                </c:pt>
                <c:pt idx="794">
                  <c:v>48</c:v>
                </c:pt>
                <c:pt idx="795">
                  <c:v>48</c:v>
                </c:pt>
                <c:pt idx="796">
                  <c:v>48</c:v>
                </c:pt>
                <c:pt idx="797">
                  <c:v>48</c:v>
                </c:pt>
                <c:pt idx="798">
                  <c:v>48</c:v>
                </c:pt>
                <c:pt idx="799">
                  <c:v>48</c:v>
                </c:pt>
                <c:pt idx="800">
                  <c:v>48</c:v>
                </c:pt>
                <c:pt idx="801">
                  <c:v>48</c:v>
                </c:pt>
                <c:pt idx="802">
                  <c:v>48</c:v>
                </c:pt>
                <c:pt idx="803">
                  <c:v>48</c:v>
                </c:pt>
                <c:pt idx="804">
                  <c:v>48</c:v>
                </c:pt>
                <c:pt idx="805">
                  <c:v>48</c:v>
                </c:pt>
                <c:pt idx="806">
                  <c:v>48</c:v>
                </c:pt>
                <c:pt idx="807">
                  <c:v>48</c:v>
                </c:pt>
                <c:pt idx="808">
                  <c:v>48</c:v>
                </c:pt>
                <c:pt idx="809">
                  <c:v>48</c:v>
                </c:pt>
                <c:pt idx="810">
                  <c:v>48</c:v>
                </c:pt>
                <c:pt idx="811">
                  <c:v>48</c:v>
                </c:pt>
                <c:pt idx="812">
                  <c:v>48</c:v>
                </c:pt>
                <c:pt idx="813">
                  <c:v>48</c:v>
                </c:pt>
                <c:pt idx="814">
                  <c:v>48</c:v>
                </c:pt>
                <c:pt idx="815">
                  <c:v>48</c:v>
                </c:pt>
                <c:pt idx="816">
                  <c:v>48</c:v>
                </c:pt>
                <c:pt idx="817">
                  <c:v>48</c:v>
                </c:pt>
                <c:pt idx="818">
                  <c:v>48</c:v>
                </c:pt>
                <c:pt idx="819">
                  <c:v>48</c:v>
                </c:pt>
                <c:pt idx="820">
                  <c:v>48</c:v>
                </c:pt>
                <c:pt idx="821">
                  <c:v>48</c:v>
                </c:pt>
                <c:pt idx="822">
                  <c:v>48</c:v>
                </c:pt>
                <c:pt idx="823">
                  <c:v>48</c:v>
                </c:pt>
                <c:pt idx="824">
                  <c:v>48</c:v>
                </c:pt>
                <c:pt idx="825">
                  <c:v>48</c:v>
                </c:pt>
                <c:pt idx="826">
                  <c:v>48</c:v>
                </c:pt>
                <c:pt idx="827">
                  <c:v>48</c:v>
                </c:pt>
                <c:pt idx="828">
                  <c:v>48</c:v>
                </c:pt>
                <c:pt idx="829">
                  <c:v>48</c:v>
                </c:pt>
                <c:pt idx="830">
                  <c:v>48</c:v>
                </c:pt>
                <c:pt idx="831">
                  <c:v>48</c:v>
                </c:pt>
                <c:pt idx="832">
                  <c:v>48</c:v>
                </c:pt>
                <c:pt idx="833">
                  <c:v>48</c:v>
                </c:pt>
                <c:pt idx="834">
                  <c:v>48</c:v>
                </c:pt>
                <c:pt idx="835">
                  <c:v>48</c:v>
                </c:pt>
                <c:pt idx="836">
                  <c:v>48</c:v>
                </c:pt>
                <c:pt idx="837">
                  <c:v>48</c:v>
                </c:pt>
                <c:pt idx="838">
                  <c:v>48</c:v>
                </c:pt>
                <c:pt idx="839">
                  <c:v>48</c:v>
                </c:pt>
                <c:pt idx="840">
                  <c:v>46</c:v>
                </c:pt>
                <c:pt idx="841">
                  <c:v>46</c:v>
                </c:pt>
                <c:pt idx="842">
                  <c:v>46</c:v>
                </c:pt>
                <c:pt idx="843">
                  <c:v>46</c:v>
                </c:pt>
                <c:pt idx="844">
                  <c:v>46</c:v>
                </c:pt>
                <c:pt idx="845">
                  <c:v>46</c:v>
                </c:pt>
                <c:pt idx="846">
                  <c:v>46</c:v>
                </c:pt>
                <c:pt idx="847">
                  <c:v>46</c:v>
                </c:pt>
                <c:pt idx="848">
                  <c:v>46</c:v>
                </c:pt>
                <c:pt idx="849">
                  <c:v>46</c:v>
                </c:pt>
                <c:pt idx="850">
                  <c:v>46</c:v>
                </c:pt>
                <c:pt idx="851">
                  <c:v>46</c:v>
                </c:pt>
                <c:pt idx="852">
                  <c:v>46</c:v>
                </c:pt>
                <c:pt idx="853">
                  <c:v>46</c:v>
                </c:pt>
                <c:pt idx="854">
                  <c:v>46</c:v>
                </c:pt>
                <c:pt idx="855">
                  <c:v>46</c:v>
                </c:pt>
                <c:pt idx="856">
                  <c:v>46</c:v>
                </c:pt>
                <c:pt idx="857">
                  <c:v>46</c:v>
                </c:pt>
                <c:pt idx="858">
                  <c:v>46</c:v>
                </c:pt>
                <c:pt idx="859">
                  <c:v>46</c:v>
                </c:pt>
                <c:pt idx="860">
                  <c:v>46</c:v>
                </c:pt>
                <c:pt idx="861">
                  <c:v>46</c:v>
                </c:pt>
                <c:pt idx="862">
                  <c:v>46</c:v>
                </c:pt>
                <c:pt idx="863">
                  <c:v>46</c:v>
                </c:pt>
                <c:pt idx="864">
                  <c:v>46</c:v>
                </c:pt>
                <c:pt idx="865">
                  <c:v>46</c:v>
                </c:pt>
                <c:pt idx="866">
                  <c:v>46</c:v>
                </c:pt>
                <c:pt idx="867">
                  <c:v>46</c:v>
                </c:pt>
                <c:pt idx="868">
                  <c:v>46</c:v>
                </c:pt>
                <c:pt idx="869">
                  <c:v>46</c:v>
                </c:pt>
                <c:pt idx="870">
                  <c:v>46</c:v>
                </c:pt>
                <c:pt idx="871">
                  <c:v>46</c:v>
                </c:pt>
                <c:pt idx="872">
                  <c:v>46</c:v>
                </c:pt>
                <c:pt idx="873">
                  <c:v>46</c:v>
                </c:pt>
                <c:pt idx="874">
                  <c:v>46</c:v>
                </c:pt>
                <c:pt idx="875">
                  <c:v>46</c:v>
                </c:pt>
                <c:pt idx="876">
                  <c:v>46</c:v>
                </c:pt>
                <c:pt idx="877">
                  <c:v>46</c:v>
                </c:pt>
                <c:pt idx="878">
                  <c:v>46</c:v>
                </c:pt>
                <c:pt idx="879">
                  <c:v>46</c:v>
                </c:pt>
                <c:pt idx="880">
                  <c:v>46</c:v>
                </c:pt>
                <c:pt idx="881">
                  <c:v>46</c:v>
                </c:pt>
                <c:pt idx="882">
                  <c:v>46</c:v>
                </c:pt>
                <c:pt idx="883">
                  <c:v>46</c:v>
                </c:pt>
                <c:pt idx="884">
                  <c:v>46</c:v>
                </c:pt>
                <c:pt idx="885">
                  <c:v>46</c:v>
                </c:pt>
                <c:pt idx="886">
                  <c:v>46</c:v>
                </c:pt>
                <c:pt idx="887">
                  <c:v>46</c:v>
                </c:pt>
                <c:pt idx="888">
                  <c:v>46</c:v>
                </c:pt>
                <c:pt idx="889">
                  <c:v>46</c:v>
                </c:pt>
                <c:pt idx="890">
                  <c:v>46</c:v>
                </c:pt>
                <c:pt idx="891">
                  <c:v>46</c:v>
                </c:pt>
                <c:pt idx="892">
                  <c:v>46</c:v>
                </c:pt>
                <c:pt idx="893">
                  <c:v>46</c:v>
                </c:pt>
                <c:pt idx="894">
                  <c:v>46</c:v>
                </c:pt>
                <c:pt idx="895">
                  <c:v>46</c:v>
                </c:pt>
                <c:pt idx="896">
                  <c:v>46</c:v>
                </c:pt>
                <c:pt idx="897">
                  <c:v>46</c:v>
                </c:pt>
                <c:pt idx="898">
                  <c:v>46</c:v>
                </c:pt>
                <c:pt idx="899">
                  <c:v>46</c:v>
                </c:pt>
                <c:pt idx="900">
                  <c:v>46</c:v>
                </c:pt>
                <c:pt idx="901">
                  <c:v>46</c:v>
                </c:pt>
                <c:pt idx="902">
                  <c:v>46</c:v>
                </c:pt>
                <c:pt idx="903">
                  <c:v>46</c:v>
                </c:pt>
                <c:pt idx="904">
                  <c:v>46</c:v>
                </c:pt>
                <c:pt idx="905">
                  <c:v>46</c:v>
                </c:pt>
                <c:pt idx="906">
                  <c:v>46</c:v>
                </c:pt>
                <c:pt idx="907">
                  <c:v>46</c:v>
                </c:pt>
                <c:pt idx="908">
                  <c:v>46</c:v>
                </c:pt>
                <c:pt idx="909">
                  <c:v>46</c:v>
                </c:pt>
                <c:pt idx="910">
                  <c:v>46</c:v>
                </c:pt>
                <c:pt idx="911">
                  <c:v>46</c:v>
                </c:pt>
                <c:pt idx="912">
                  <c:v>46</c:v>
                </c:pt>
                <c:pt idx="913">
                  <c:v>46</c:v>
                </c:pt>
                <c:pt idx="914">
                  <c:v>46</c:v>
                </c:pt>
                <c:pt idx="915">
                  <c:v>46</c:v>
                </c:pt>
                <c:pt idx="916">
                  <c:v>46</c:v>
                </c:pt>
                <c:pt idx="917">
                  <c:v>46</c:v>
                </c:pt>
                <c:pt idx="918">
                  <c:v>46</c:v>
                </c:pt>
                <c:pt idx="919">
                  <c:v>46</c:v>
                </c:pt>
                <c:pt idx="920">
                  <c:v>46</c:v>
                </c:pt>
                <c:pt idx="921">
                  <c:v>46</c:v>
                </c:pt>
                <c:pt idx="922">
                  <c:v>46</c:v>
                </c:pt>
                <c:pt idx="923">
                  <c:v>46</c:v>
                </c:pt>
                <c:pt idx="924">
                  <c:v>46</c:v>
                </c:pt>
                <c:pt idx="925">
                  <c:v>46</c:v>
                </c:pt>
                <c:pt idx="926">
                  <c:v>46</c:v>
                </c:pt>
                <c:pt idx="927">
                  <c:v>46</c:v>
                </c:pt>
                <c:pt idx="928">
                  <c:v>46</c:v>
                </c:pt>
                <c:pt idx="929">
                  <c:v>46</c:v>
                </c:pt>
                <c:pt idx="930">
                  <c:v>46</c:v>
                </c:pt>
                <c:pt idx="931">
                  <c:v>46</c:v>
                </c:pt>
                <c:pt idx="932">
                  <c:v>46</c:v>
                </c:pt>
                <c:pt idx="933">
                  <c:v>46</c:v>
                </c:pt>
                <c:pt idx="934">
                  <c:v>46</c:v>
                </c:pt>
                <c:pt idx="935">
                  <c:v>46</c:v>
                </c:pt>
                <c:pt idx="936">
                  <c:v>40</c:v>
                </c:pt>
                <c:pt idx="937">
                  <c:v>40</c:v>
                </c:pt>
                <c:pt idx="938">
                  <c:v>40</c:v>
                </c:pt>
                <c:pt idx="939">
                  <c:v>40</c:v>
                </c:pt>
                <c:pt idx="940">
                  <c:v>40</c:v>
                </c:pt>
                <c:pt idx="941">
                  <c:v>40</c:v>
                </c:pt>
                <c:pt idx="942">
                  <c:v>40</c:v>
                </c:pt>
                <c:pt idx="943">
                  <c:v>40</c:v>
                </c:pt>
                <c:pt idx="944">
                  <c:v>40</c:v>
                </c:pt>
                <c:pt idx="945">
                  <c:v>40</c:v>
                </c:pt>
                <c:pt idx="946">
                  <c:v>40</c:v>
                </c:pt>
                <c:pt idx="947">
                  <c:v>40</c:v>
                </c:pt>
                <c:pt idx="948">
                  <c:v>34</c:v>
                </c:pt>
                <c:pt idx="949">
                  <c:v>34</c:v>
                </c:pt>
                <c:pt idx="950">
                  <c:v>34</c:v>
                </c:pt>
                <c:pt idx="951">
                  <c:v>34</c:v>
                </c:pt>
                <c:pt idx="952">
                  <c:v>34</c:v>
                </c:pt>
                <c:pt idx="953">
                  <c:v>34</c:v>
                </c:pt>
                <c:pt idx="954">
                  <c:v>34</c:v>
                </c:pt>
                <c:pt idx="955">
                  <c:v>34</c:v>
                </c:pt>
                <c:pt idx="956">
                  <c:v>34</c:v>
                </c:pt>
                <c:pt idx="957">
                  <c:v>34</c:v>
                </c:pt>
                <c:pt idx="958">
                  <c:v>34</c:v>
                </c:pt>
                <c:pt idx="959">
                  <c:v>34</c:v>
                </c:pt>
                <c:pt idx="960">
                  <c:v>34</c:v>
                </c:pt>
                <c:pt idx="961">
                  <c:v>34</c:v>
                </c:pt>
                <c:pt idx="962">
                  <c:v>34</c:v>
                </c:pt>
                <c:pt idx="963">
                  <c:v>34</c:v>
                </c:pt>
                <c:pt idx="964">
                  <c:v>34</c:v>
                </c:pt>
                <c:pt idx="965">
                  <c:v>34</c:v>
                </c:pt>
                <c:pt idx="966">
                  <c:v>34</c:v>
                </c:pt>
                <c:pt idx="967">
                  <c:v>34</c:v>
                </c:pt>
                <c:pt idx="968">
                  <c:v>34</c:v>
                </c:pt>
                <c:pt idx="969">
                  <c:v>34</c:v>
                </c:pt>
                <c:pt idx="970">
                  <c:v>34</c:v>
                </c:pt>
                <c:pt idx="971">
                  <c:v>34</c:v>
                </c:pt>
                <c:pt idx="972">
                  <c:v>34</c:v>
                </c:pt>
                <c:pt idx="973">
                  <c:v>34</c:v>
                </c:pt>
                <c:pt idx="974">
                  <c:v>34</c:v>
                </c:pt>
                <c:pt idx="975">
                  <c:v>34</c:v>
                </c:pt>
                <c:pt idx="976">
                  <c:v>34</c:v>
                </c:pt>
                <c:pt idx="977">
                  <c:v>34</c:v>
                </c:pt>
                <c:pt idx="978">
                  <c:v>34</c:v>
                </c:pt>
                <c:pt idx="979">
                  <c:v>34</c:v>
                </c:pt>
                <c:pt idx="980">
                  <c:v>34</c:v>
                </c:pt>
                <c:pt idx="981">
                  <c:v>34</c:v>
                </c:pt>
                <c:pt idx="982">
                  <c:v>34</c:v>
                </c:pt>
                <c:pt idx="983">
                  <c:v>34</c:v>
                </c:pt>
                <c:pt idx="984">
                  <c:v>34</c:v>
                </c:pt>
                <c:pt idx="985">
                  <c:v>34</c:v>
                </c:pt>
                <c:pt idx="986">
                  <c:v>34</c:v>
                </c:pt>
                <c:pt idx="987">
                  <c:v>34</c:v>
                </c:pt>
                <c:pt idx="988">
                  <c:v>34</c:v>
                </c:pt>
                <c:pt idx="989">
                  <c:v>34</c:v>
                </c:pt>
                <c:pt idx="990">
                  <c:v>34</c:v>
                </c:pt>
                <c:pt idx="991">
                  <c:v>34</c:v>
                </c:pt>
                <c:pt idx="992">
                  <c:v>34</c:v>
                </c:pt>
                <c:pt idx="993">
                  <c:v>34</c:v>
                </c:pt>
                <c:pt idx="994">
                  <c:v>34</c:v>
                </c:pt>
                <c:pt idx="995">
                  <c:v>34</c:v>
                </c:pt>
                <c:pt idx="996">
                  <c:v>34</c:v>
                </c:pt>
                <c:pt idx="997">
                  <c:v>34</c:v>
                </c:pt>
                <c:pt idx="998">
                  <c:v>34</c:v>
                </c:pt>
                <c:pt idx="999">
                  <c:v>34</c:v>
                </c:pt>
                <c:pt idx="1000">
                  <c:v>34</c:v>
                </c:pt>
                <c:pt idx="1001">
                  <c:v>34</c:v>
                </c:pt>
                <c:pt idx="1002">
                  <c:v>34</c:v>
                </c:pt>
                <c:pt idx="1003">
                  <c:v>34</c:v>
                </c:pt>
                <c:pt idx="1004">
                  <c:v>34</c:v>
                </c:pt>
                <c:pt idx="1005">
                  <c:v>34</c:v>
                </c:pt>
                <c:pt idx="1006">
                  <c:v>34</c:v>
                </c:pt>
                <c:pt idx="1007">
                  <c:v>34</c:v>
                </c:pt>
                <c:pt idx="1008">
                  <c:v>35</c:v>
                </c:pt>
                <c:pt idx="1009">
                  <c:v>35</c:v>
                </c:pt>
                <c:pt idx="1010">
                  <c:v>35</c:v>
                </c:pt>
                <c:pt idx="1011">
                  <c:v>35</c:v>
                </c:pt>
                <c:pt idx="1012">
                  <c:v>35</c:v>
                </c:pt>
                <c:pt idx="1013">
                  <c:v>35</c:v>
                </c:pt>
                <c:pt idx="1014">
                  <c:v>35</c:v>
                </c:pt>
                <c:pt idx="1015">
                  <c:v>35</c:v>
                </c:pt>
                <c:pt idx="1016">
                  <c:v>35</c:v>
                </c:pt>
                <c:pt idx="1017">
                  <c:v>35</c:v>
                </c:pt>
                <c:pt idx="1018">
                  <c:v>35</c:v>
                </c:pt>
                <c:pt idx="1019">
                  <c:v>35</c:v>
                </c:pt>
                <c:pt idx="1020">
                  <c:v>35</c:v>
                </c:pt>
                <c:pt idx="1021">
                  <c:v>35</c:v>
                </c:pt>
                <c:pt idx="1022">
                  <c:v>35</c:v>
                </c:pt>
                <c:pt idx="1023">
                  <c:v>35</c:v>
                </c:pt>
                <c:pt idx="1024">
                  <c:v>35</c:v>
                </c:pt>
                <c:pt idx="1025">
                  <c:v>35</c:v>
                </c:pt>
                <c:pt idx="1026">
                  <c:v>35</c:v>
                </c:pt>
                <c:pt idx="1027">
                  <c:v>35</c:v>
                </c:pt>
                <c:pt idx="1028">
                  <c:v>35</c:v>
                </c:pt>
                <c:pt idx="1029">
                  <c:v>35</c:v>
                </c:pt>
                <c:pt idx="1030">
                  <c:v>35</c:v>
                </c:pt>
                <c:pt idx="1031">
                  <c:v>35</c:v>
                </c:pt>
                <c:pt idx="1032">
                  <c:v>35</c:v>
                </c:pt>
                <c:pt idx="1033">
                  <c:v>35</c:v>
                </c:pt>
                <c:pt idx="1034">
                  <c:v>35</c:v>
                </c:pt>
                <c:pt idx="1035">
                  <c:v>35</c:v>
                </c:pt>
                <c:pt idx="1036">
                  <c:v>35</c:v>
                </c:pt>
                <c:pt idx="1037">
                  <c:v>35</c:v>
                </c:pt>
                <c:pt idx="1038">
                  <c:v>35</c:v>
                </c:pt>
                <c:pt idx="1039">
                  <c:v>35</c:v>
                </c:pt>
                <c:pt idx="1040">
                  <c:v>35</c:v>
                </c:pt>
                <c:pt idx="1041">
                  <c:v>35</c:v>
                </c:pt>
                <c:pt idx="1042">
                  <c:v>35</c:v>
                </c:pt>
                <c:pt idx="1043">
                  <c:v>35</c:v>
                </c:pt>
                <c:pt idx="1044">
                  <c:v>35</c:v>
                </c:pt>
                <c:pt idx="1045">
                  <c:v>35</c:v>
                </c:pt>
                <c:pt idx="1046">
                  <c:v>35</c:v>
                </c:pt>
                <c:pt idx="1047">
                  <c:v>35</c:v>
                </c:pt>
                <c:pt idx="1048">
                  <c:v>35</c:v>
                </c:pt>
                <c:pt idx="1049">
                  <c:v>35</c:v>
                </c:pt>
                <c:pt idx="1050">
                  <c:v>35</c:v>
                </c:pt>
                <c:pt idx="1051">
                  <c:v>35</c:v>
                </c:pt>
                <c:pt idx="1052">
                  <c:v>35</c:v>
                </c:pt>
                <c:pt idx="1053">
                  <c:v>35</c:v>
                </c:pt>
                <c:pt idx="1054">
                  <c:v>35</c:v>
                </c:pt>
                <c:pt idx="1055">
                  <c:v>35</c:v>
                </c:pt>
                <c:pt idx="1056">
                  <c:v>35</c:v>
                </c:pt>
                <c:pt idx="1057">
                  <c:v>35</c:v>
                </c:pt>
                <c:pt idx="1058">
                  <c:v>35</c:v>
                </c:pt>
                <c:pt idx="1059">
                  <c:v>35</c:v>
                </c:pt>
                <c:pt idx="1060">
                  <c:v>35</c:v>
                </c:pt>
                <c:pt idx="1061">
                  <c:v>35</c:v>
                </c:pt>
                <c:pt idx="1062">
                  <c:v>35</c:v>
                </c:pt>
                <c:pt idx="1063">
                  <c:v>35</c:v>
                </c:pt>
                <c:pt idx="1064">
                  <c:v>35</c:v>
                </c:pt>
                <c:pt idx="1065">
                  <c:v>35</c:v>
                </c:pt>
                <c:pt idx="1066">
                  <c:v>35</c:v>
                </c:pt>
                <c:pt idx="1067">
                  <c:v>35</c:v>
                </c:pt>
                <c:pt idx="1068">
                  <c:v>35</c:v>
                </c:pt>
                <c:pt idx="1069">
                  <c:v>35</c:v>
                </c:pt>
                <c:pt idx="1070">
                  <c:v>35</c:v>
                </c:pt>
                <c:pt idx="1071">
                  <c:v>35</c:v>
                </c:pt>
                <c:pt idx="1072">
                  <c:v>35</c:v>
                </c:pt>
                <c:pt idx="1073">
                  <c:v>35</c:v>
                </c:pt>
                <c:pt idx="1074">
                  <c:v>35</c:v>
                </c:pt>
                <c:pt idx="1075">
                  <c:v>35</c:v>
                </c:pt>
                <c:pt idx="1076">
                  <c:v>35</c:v>
                </c:pt>
                <c:pt idx="1077">
                  <c:v>35</c:v>
                </c:pt>
                <c:pt idx="1078">
                  <c:v>35</c:v>
                </c:pt>
                <c:pt idx="1079">
                  <c:v>35</c:v>
                </c:pt>
                <c:pt idx="1080">
                  <c:v>35</c:v>
                </c:pt>
                <c:pt idx="1081">
                  <c:v>35</c:v>
                </c:pt>
                <c:pt idx="1082">
                  <c:v>35</c:v>
                </c:pt>
                <c:pt idx="1083">
                  <c:v>35</c:v>
                </c:pt>
                <c:pt idx="1084">
                  <c:v>35</c:v>
                </c:pt>
                <c:pt idx="1085">
                  <c:v>35</c:v>
                </c:pt>
                <c:pt idx="1086">
                  <c:v>35</c:v>
                </c:pt>
                <c:pt idx="1087">
                  <c:v>35</c:v>
                </c:pt>
                <c:pt idx="1088">
                  <c:v>35</c:v>
                </c:pt>
                <c:pt idx="1089">
                  <c:v>35</c:v>
                </c:pt>
                <c:pt idx="1090">
                  <c:v>35</c:v>
                </c:pt>
                <c:pt idx="1091">
                  <c:v>35</c:v>
                </c:pt>
                <c:pt idx="1092">
                  <c:v>35</c:v>
                </c:pt>
                <c:pt idx="1093">
                  <c:v>35</c:v>
                </c:pt>
                <c:pt idx="1094">
                  <c:v>35</c:v>
                </c:pt>
                <c:pt idx="1095">
                  <c:v>35</c:v>
                </c:pt>
                <c:pt idx="1096">
                  <c:v>35</c:v>
                </c:pt>
                <c:pt idx="1097">
                  <c:v>35</c:v>
                </c:pt>
                <c:pt idx="1098">
                  <c:v>35</c:v>
                </c:pt>
                <c:pt idx="1099">
                  <c:v>35</c:v>
                </c:pt>
                <c:pt idx="1100">
                  <c:v>35</c:v>
                </c:pt>
                <c:pt idx="1101">
                  <c:v>35</c:v>
                </c:pt>
                <c:pt idx="1102">
                  <c:v>35</c:v>
                </c:pt>
                <c:pt idx="1103">
                  <c:v>35</c:v>
                </c:pt>
                <c:pt idx="1104">
                  <c:v>35</c:v>
                </c:pt>
                <c:pt idx="1105">
                  <c:v>35</c:v>
                </c:pt>
                <c:pt idx="1106">
                  <c:v>35</c:v>
                </c:pt>
                <c:pt idx="1107">
                  <c:v>35</c:v>
                </c:pt>
                <c:pt idx="1108">
                  <c:v>35</c:v>
                </c:pt>
                <c:pt idx="1109">
                  <c:v>35</c:v>
                </c:pt>
                <c:pt idx="1110">
                  <c:v>35</c:v>
                </c:pt>
                <c:pt idx="1111">
                  <c:v>35</c:v>
                </c:pt>
                <c:pt idx="1112">
                  <c:v>35</c:v>
                </c:pt>
                <c:pt idx="1113">
                  <c:v>35</c:v>
                </c:pt>
                <c:pt idx="1114">
                  <c:v>35</c:v>
                </c:pt>
                <c:pt idx="1115">
                  <c:v>35</c:v>
                </c:pt>
                <c:pt idx="1116">
                  <c:v>35</c:v>
                </c:pt>
                <c:pt idx="1117">
                  <c:v>35</c:v>
                </c:pt>
                <c:pt idx="1118">
                  <c:v>35</c:v>
                </c:pt>
                <c:pt idx="1119">
                  <c:v>35</c:v>
                </c:pt>
                <c:pt idx="1120">
                  <c:v>35</c:v>
                </c:pt>
                <c:pt idx="1121">
                  <c:v>35</c:v>
                </c:pt>
                <c:pt idx="1122">
                  <c:v>35</c:v>
                </c:pt>
                <c:pt idx="1123">
                  <c:v>35</c:v>
                </c:pt>
                <c:pt idx="1124">
                  <c:v>35</c:v>
                </c:pt>
                <c:pt idx="1125">
                  <c:v>35</c:v>
                </c:pt>
                <c:pt idx="1126">
                  <c:v>35</c:v>
                </c:pt>
                <c:pt idx="1127">
                  <c:v>35</c:v>
                </c:pt>
                <c:pt idx="1128">
                  <c:v>35</c:v>
                </c:pt>
                <c:pt idx="1129">
                  <c:v>35</c:v>
                </c:pt>
                <c:pt idx="1130">
                  <c:v>35</c:v>
                </c:pt>
                <c:pt idx="1131">
                  <c:v>35</c:v>
                </c:pt>
                <c:pt idx="1132">
                  <c:v>35</c:v>
                </c:pt>
                <c:pt idx="1133">
                  <c:v>35</c:v>
                </c:pt>
                <c:pt idx="1134">
                  <c:v>35</c:v>
                </c:pt>
                <c:pt idx="1135">
                  <c:v>35</c:v>
                </c:pt>
                <c:pt idx="1136">
                  <c:v>35</c:v>
                </c:pt>
                <c:pt idx="1137">
                  <c:v>35</c:v>
                </c:pt>
                <c:pt idx="1138">
                  <c:v>35</c:v>
                </c:pt>
                <c:pt idx="1139">
                  <c:v>35</c:v>
                </c:pt>
                <c:pt idx="1140">
                  <c:v>35</c:v>
                </c:pt>
                <c:pt idx="1141">
                  <c:v>35</c:v>
                </c:pt>
                <c:pt idx="1142">
                  <c:v>35</c:v>
                </c:pt>
                <c:pt idx="1143">
                  <c:v>35</c:v>
                </c:pt>
                <c:pt idx="1144">
                  <c:v>35</c:v>
                </c:pt>
                <c:pt idx="1145">
                  <c:v>35</c:v>
                </c:pt>
                <c:pt idx="1146">
                  <c:v>35</c:v>
                </c:pt>
                <c:pt idx="1147">
                  <c:v>35</c:v>
                </c:pt>
                <c:pt idx="1148">
                  <c:v>35</c:v>
                </c:pt>
                <c:pt idx="1149">
                  <c:v>35</c:v>
                </c:pt>
                <c:pt idx="1150">
                  <c:v>35</c:v>
                </c:pt>
                <c:pt idx="1151">
                  <c:v>35</c:v>
                </c:pt>
                <c:pt idx="1152">
                  <c:v>35</c:v>
                </c:pt>
                <c:pt idx="1153">
                  <c:v>35</c:v>
                </c:pt>
                <c:pt idx="1154">
                  <c:v>35</c:v>
                </c:pt>
                <c:pt idx="1155">
                  <c:v>35</c:v>
                </c:pt>
                <c:pt idx="1156">
                  <c:v>35</c:v>
                </c:pt>
                <c:pt idx="1157">
                  <c:v>35</c:v>
                </c:pt>
                <c:pt idx="1158">
                  <c:v>35</c:v>
                </c:pt>
                <c:pt idx="1159">
                  <c:v>35</c:v>
                </c:pt>
                <c:pt idx="1160">
                  <c:v>35</c:v>
                </c:pt>
                <c:pt idx="1161">
                  <c:v>35</c:v>
                </c:pt>
                <c:pt idx="1162">
                  <c:v>35</c:v>
                </c:pt>
                <c:pt idx="1163">
                  <c:v>35</c:v>
                </c:pt>
                <c:pt idx="1164">
                  <c:v>35</c:v>
                </c:pt>
                <c:pt idx="1165">
                  <c:v>35</c:v>
                </c:pt>
                <c:pt idx="1166">
                  <c:v>35</c:v>
                </c:pt>
                <c:pt idx="1167">
                  <c:v>35</c:v>
                </c:pt>
                <c:pt idx="1168">
                  <c:v>35</c:v>
                </c:pt>
                <c:pt idx="1169">
                  <c:v>35</c:v>
                </c:pt>
                <c:pt idx="1170">
                  <c:v>35</c:v>
                </c:pt>
                <c:pt idx="1171">
                  <c:v>35</c:v>
                </c:pt>
                <c:pt idx="1172">
                  <c:v>35</c:v>
                </c:pt>
                <c:pt idx="1173">
                  <c:v>35</c:v>
                </c:pt>
                <c:pt idx="1174">
                  <c:v>35</c:v>
                </c:pt>
                <c:pt idx="1175">
                  <c:v>35</c:v>
                </c:pt>
                <c:pt idx="1176">
                  <c:v>35</c:v>
                </c:pt>
                <c:pt idx="1177">
                  <c:v>35</c:v>
                </c:pt>
                <c:pt idx="1178">
                  <c:v>35</c:v>
                </c:pt>
                <c:pt idx="1179">
                  <c:v>35</c:v>
                </c:pt>
                <c:pt idx="1180">
                  <c:v>35</c:v>
                </c:pt>
                <c:pt idx="1181">
                  <c:v>35</c:v>
                </c:pt>
                <c:pt idx="1182">
                  <c:v>35</c:v>
                </c:pt>
                <c:pt idx="1183">
                  <c:v>35</c:v>
                </c:pt>
                <c:pt idx="1184">
                  <c:v>35</c:v>
                </c:pt>
                <c:pt idx="1185">
                  <c:v>35</c:v>
                </c:pt>
                <c:pt idx="1186">
                  <c:v>35</c:v>
                </c:pt>
                <c:pt idx="1187">
                  <c:v>35</c:v>
                </c:pt>
                <c:pt idx="1188">
                  <c:v>35</c:v>
                </c:pt>
                <c:pt idx="1189">
                  <c:v>35</c:v>
                </c:pt>
                <c:pt idx="1190">
                  <c:v>35</c:v>
                </c:pt>
                <c:pt idx="1191">
                  <c:v>35</c:v>
                </c:pt>
                <c:pt idx="1192">
                  <c:v>35</c:v>
                </c:pt>
                <c:pt idx="1193">
                  <c:v>35</c:v>
                </c:pt>
                <c:pt idx="1194">
                  <c:v>35</c:v>
                </c:pt>
                <c:pt idx="1195">
                  <c:v>35</c:v>
                </c:pt>
                <c:pt idx="1196">
                  <c:v>35</c:v>
                </c:pt>
                <c:pt idx="1197">
                  <c:v>35</c:v>
                </c:pt>
                <c:pt idx="1198">
                  <c:v>35</c:v>
                </c:pt>
                <c:pt idx="1199">
                  <c:v>35</c:v>
                </c:pt>
                <c:pt idx="1200">
                  <c:v>35</c:v>
                </c:pt>
                <c:pt idx="1201">
                  <c:v>35</c:v>
                </c:pt>
                <c:pt idx="1202">
                  <c:v>35</c:v>
                </c:pt>
                <c:pt idx="1203">
                  <c:v>35</c:v>
                </c:pt>
                <c:pt idx="1204">
                  <c:v>35</c:v>
                </c:pt>
                <c:pt idx="1205">
                  <c:v>35</c:v>
                </c:pt>
                <c:pt idx="1206">
                  <c:v>35</c:v>
                </c:pt>
                <c:pt idx="1207">
                  <c:v>35</c:v>
                </c:pt>
                <c:pt idx="1208">
                  <c:v>35</c:v>
                </c:pt>
                <c:pt idx="1209">
                  <c:v>35</c:v>
                </c:pt>
                <c:pt idx="1210">
                  <c:v>35</c:v>
                </c:pt>
                <c:pt idx="1211">
                  <c:v>35</c:v>
                </c:pt>
                <c:pt idx="1212">
                  <c:v>35</c:v>
                </c:pt>
                <c:pt idx="1213">
                  <c:v>35</c:v>
                </c:pt>
                <c:pt idx="1214">
                  <c:v>35</c:v>
                </c:pt>
                <c:pt idx="1215">
                  <c:v>35</c:v>
                </c:pt>
                <c:pt idx="1216">
                  <c:v>35</c:v>
                </c:pt>
                <c:pt idx="1217">
                  <c:v>35</c:v>
                </c:pt>
                <c:pt idx="1218">
                  <c:v>35</c:v>
                </c:pt>
                <c:pt idx="1219">
                  <c:v>35</c:v>
                </c:pt>
                <c:pt idx="1220">
                  <c:v>35</c:v>
                </c:pt>
                <c:pt idx="1221">
                  <c:v>35</c:v>
                </c:pt>
                <c:pt idx="1222">
                  <c:v>35</c:v>
                </c:pt>
                <c:pt idx="1223">
                  <c:v>35</c:v>
                </c:pt>
                <c:pt idx="1224">
                  <c:v>35</c:v>
                </c:pt>
                <c:pt idx="1225">
                  <c:v>35</c:v>
                </c:pt>
                <c:pt idx="1226">
                  <c:v>35</c:v>
                </c:pt>
                <c:pt idx="1227">
                  <c:v>35</c:v>
                </c:pt>
                <c:pt idx="1228">
                  <c:v>35</c:v>
                </c:pt>
                <c:pt idx="1229">
                  <c:v>35</c:v>
                </c:pt>
                <c:pt idx="1230">
                  <c:v>35</c:v>
                </c:pt>
                <c:pt idx="1231">
                  <c:v>35</c:v>
                </c:pt>
                <c:pt idx="1232">
                  <c:v>35</c:v>
                </c:pt>
                <c:pt idx="1233">
                  <c:v>35</c:v>
                </c:pt>
                <c:pt idx="1234">
                  <c:v>35</c:v>
                </c:pt>
                <c:pt idx="1235">
                  <c:v>35</c:v>
                </c:pt>
                <c:pt idx="1236">
                  <c:v>35</c:v>
                </c:pt>
                <c:pt idx="1237">
                  <c:v>35</c:v>
                </c:pt>
                <c:pt idx="1238">
                  <c:v>35</c:v>
                </c:pt>
                <c:pt idx="1239">
                  <c:v>35</c:v>
                </c:pt>
                <c:pt idx="1240">
                  <c:v>35</c:v>
                </c:pt>
                <c:pt idx="1241">
                  <c:v>35</c:v>
                </c:pt>
                <c:pt idx="1242">
                  <c:v>35</c:v>
                </c:pt>
                <c:pt idx="1243">
                  <c:v>35</c:v>
                </c:pt>
                <c:pt idx="1244">
                  <c:v>35</c:v>
                </c:pt>
                <c:pt idx="1245">
                  <c:v>35</c:v>
                </c:pt>
                <c:pt idx="1246">
                  <c:v>35</c:v>
                </c:pt>
                <c:pt idx="1247">
                  <c:v>35</c:v>
                </c:pt>
                <c:pt idx="1248">
                  <c:v>35</c:v>
                </c:pt>
                <c:pt idx="1249">
                  <c:v>35</c:v>
                </c:pt>
                <c:pt idx="1250">
                  <c:v>35</c:v>
                </c:pt>
                <c:pt idx="1251">
                  <c:v>35</c:v>
                </c:pt>
                <c:pt idx="1252">
                  <c:v>35</c:v>
                </c:pt>
                <c:pt idx="1253">
                  <c:v>35</c:v>
                </c:pt>
                <c:pt idx="1254">
                  <c:v>35</c:v>
                </c:pt>
                <c:pt idx="1255">
                  <c:v>35</c:v>
                </c:pt>
                <c:pt idx="1256">
                  <c:v>35</c:v>
                </c:pt>
                <c:pt idx="1257">
                  <c:v>35</c:v>
                </c:pt>
                <c:pt idx="1258">
                  <c:v>35</c:v>
                </c:pt>
                <c:pt idx="1259">
                  <c:v>35</c:v>
                </c:pt>
                <c:pt idx="1260">
                  <c:v>35</c:v>
                </c:pt>
                <c:pt idx="1261">
                  <c:v>35</c:v>
                </c:pt>
                <c:pt idx="1262">
                  <c:v>35</c:v>
                </c:pt>
                <c:pt idx="1263">
                  <c:v>35</c:v>
                </c:pt>
                <c:pt idx="1264">
                  <c:v>35</c:v>
                </c:pt>
                <c:pt idx="1265">
                  <c:v>35</c:v>
                </c:pt>
                <c:pt idx="1266">
                  <c:v>35</c:v>
                </c:pt>
                <c:pt idx="1267">
                  <c:v>35</c:v>
                </c:pt>
                <c:pt idx="1268">
                  <c:v>35</c:v>
                </c:pt>
                <c:pt idx="1269">
                  <c:v>35</c:v>
                </c:pt>
                <c:pt idx="1270">
                  <c:v>35</c:v>
                </c:pt>
                <c:pt idx="1271">
                  <c:v>35</c:v>
                </c:pt>
                <c:pt idx="1272">
                  <c:v>35</c:v>
                </c:pt>
                <c:pt idx="1273">
                  <c:v>35</c:v>
                </c:pt>
                <c:pt idx="1274">
                  <c:v>35</c:v>
                </c:pt>
                <c:pt idx="1275">
                  <c:v>35</c:v>
                </c:pt>
                <c:pt idx="1276">
                  <c:v>35</c:v>
                </c:pt>
                <c:pt idx="1277">
                  <c:v>35</c:v>
                </c:pt>
                <c:pt idx="1278">
                  <c:v>35</c:v>
                </c:pt>
                <c:pt idx="1279">
                  <c:v>35</c:v>
                </c:pt>
                <c:pt idx="1280">
                  <c:v>35</c:v>
                </c:pt>
                <c:pt idx="1281">
                  <c:v>35</c:v>
                </c:pt>
                <c:pt idx="1282">
                  <c:v>35</c:v>
                </c:pt>
                <c:pt idx="1283">
                  <c:v>35</c:v>
                </c:pt>
                <c:pt idx="1284">
                  <c:v>35</c:v>
                </c:pt>
                <c:pt idx="1285">
                  <c:v>35</c:v>
                </c:pt>
                <c:pt idx="1286">
                  <c:v>35</c:v>
                </c:pt>
                <c:pt idx="1287">
                  <c:v>35</c:v>
                </c:pt>
                <c:pt idx="1288">
                  <c:v>35</c:v>
                </c:pt>
                <c:pt idx="1289">
                  <c:v>35</c:v>
                </c:pt>
                <c:pt idx="1290">
                  <c:v>35</c:v>
                </c:pt>
                <c:pt idx="1291">
                  <c:v>35</c:v>
                </c:pt>
                <c:pt idx="1292">
                  <c:v>35</c:v>
                </c:pt>
                <c:pt idx="1293">
                  <c:v>35</c:v>
                </c:pt>
                <c:pt idx="1294">
                  <c:v>35</c:v>
                </c:pt>
                <c:pt idx="1295">
                  <c:v>35</c:v>
                </c:pt>
                <c:pt idx="1296">
                  <c:v>35</c:v>
                </c:pt>
                <c:pt idx="1297">
                  <c:v>35</c:v>
                </c:pt>
                <c:pt idx="1298">
                  <c:v>35</c:v>
                </c:pt>
                <c:pt idx="1299">
                  <c:v>35</c:v>
                </c:pt>
                <c:pt idx="1300">
                  <c:v>35</c:v>
                </c:pt>
                <c:pt idx="1301">
                  <c:v>35</c:v>
                </c:pt>
                <c:pt idx="1302">
                  <c:v>35</c:v>
                </c:pt>
                <c:pt idx="1303">
                  <c:v>35</c:v>
                </c:pt>
                <c:pt idx="1304">
                  <c:v>35</c:v>
                </c:pt>
                <c:pt idx="1305">
                  <c:v>35</c:v>
                </c:pt>
                <c:pt idx="1306">
                  <c:v>35</c:v>
                </c:pt>
                <c:pt idx="1307">
                  <c:v>35</c:v>
                </c:pt>
                <c:pt idx="1308">
                  <c:v>21</c:v>
                </c:pt>
                <c:pt idx="1309">
                  <c:v>21</c:v>
                </c:pt>
                <c:pt idx="1310">
                  <c:v>21</c:v>
                </c:pt>
                <c:pt idx="1311">
                  <c:v>21</c:v>
                </c:pt>
                <c:pt idx="1312">
                  <c:v>21</c:v>
                </c:pt>
                <c:pt idx="1313">
                  <c:v>21</c:v>
                </c:pt>
                <c:pt idx="1314">
                  <c:v>21</c:v>
                </c:pt>
                <c:pt idx="1315">
                  <c:v>21</c:v>
                </c:pt>
                <c:pt idx="1316">
                  <c:v>21</c:v>
                </c:pt>
                <c:pt idx="1317">
                  <c:v>21</c:v>
                </c:pt>
                <c:pt idx="1318">
                  <c:v>21</c:v>
                </c:pt>
                <c:pt idx="1319">
                  <c:v>21</c:v>
                </c:pt>
                <c:pt idx="1320">
                  <c:v>21</c:v>
                </c:pt>
                <c:pt idx="1321">
                  <c:v>21</c:v>
                </c:pt>
                <c:pt idx="1322">
                  <c:v>21</c:v>
                </c:pt>
                <c:pt idx="1323">
                  <c:v>21</c:v>
                </c:pt>
                <c:pt idx="1324">
                  <c:v>21</c:v>
                </c:pt>
                <c:pt idx="1325">
                  <c:v>21</c:v>
                </c:pt>
                <c:pt idx="1326">
                  <c:v>21</c:v>
                </c:pt>
                <c:pt idx="1327">
                  <c:v>21</c:v>
                </c:pt>
                <c:pt idx="1328">
                  <c:v>21</c:v>
                </c:pt>
                <c:pt idx="1329">
                  <c:v>21</c:v>
                </c:pt>
                <c:pt idx="1330">
                  <c:v>21</c:v>
                </c:pt>
                <c:pt idx="1331">
                  <c:v>21</c:v>
                </c:pt>
                <c:pt idx="1332">
                  <c:v>21</c:v>
                </c:pt>
                <c:pt idx="1333">
                  <c:v>21</c:v>
                </c:pt>
                <c:pt idx="1334">
                  <c:v>21</c:v>
                </c:pt>
                <c:pt idx="1335">
                  <c:v>21</c:v>
                </c:pt>
                <c:pt idx="1336">
                  <c:v>21</c:v>
                </c:pt>
                <c:pt idx="1337">
                  <c:v>21</c:v>
                </c:pt>
                <c:pt idx="1338">
                  <c:v>21</c:v>
                </c:pt>
                <c:pt idx="1339">
                  <c:v>21</c:v>
                </c:pt>
                <c:pt idx="1340">
                  <c:v>21</c:v>
                </c:pt>
                <c:pt idx="1341">
                  <c:v>21</c:v>
                </c:pt>
                <c:pt idx="1342">
                  <c:v>21</c:v>
                </c:pt>
                <c:pt idx="1343">
                  <c:v>21</c:v>
                </c:pt>
                <c:pt idx="1344">
                  <c:v>21</c:v>
                </c:pt>
                <c:pt idx="1345">
                  <c:v>21</c:v>
                </c:pt>
                <c:pt idx="1346">
                  <c:v>21</c:v>
                </c:pt>
                <c:pt idx="1347">
                  <c:v>21</c:v>
                </c:pt>
                <c:pt idx="1348">
                  <c:v>21</c:v>
                </c:pt>
                <c:pt idx="1349">
                  <c:v>21</c:v>
                </c:pt>
                <c:pt idx="1350">
                  <c:v>21</c:v>
                </c:pt>
                <c:pt idx="1351">
                  <c:v>21</c:v>
                </c:pt>
                <c:pt idx="1352">
                  <c:v>21</c:v>
                </c:pt>
                <c:pt idx="1353">
                  <c:v>21</c:v>
                </c:pt>
                <c:pt idx="1354">
                  <c:v>21</c:v>
                </c:pt>
                <c:pt idx="1355">
                  <c:v>21</c:v>
                </c:pt>
                <c:pt idx="1356">
                  <c:v>21</c:v>
                </c:pt>
                <c:pt idx="1357">
                  <c:v>21</c:v>
                </c:pt>
                <c:pt idx="1358">
                  <c:v>21</c:v>
                </c:pt>
                <c:pt idx="1359">
                  <c:v>21</c:v>
                </c:pt>
                <c:pt idx="1360">
                  <c:v>21</c:v>
                </c:pt>
                <c:pt idx="1361">
                  <c:v>21</c:v>
                </c:pt>
                <c:pt idx="1362">
                  <c:v>21</c:v>
                </c:pt>
                <c:pt idx="1363">
                  <c:v>21</c:v>
                </c:pt>
                <c:pt idx="1364">
                  <c:v>21</c:v>
                </c:pt>
                <c:pt idx="1365">
                  <c:v>21</c:v>
                </c:pt>
                <c:pt idx="1366">
                  <c:v>21</c:v>
                </c:pt>
                <c:pt idx="1367">
                  <c:v>21</c:v>
                </c:pt>
                <c:pt idx="1368">
                  <c:v>21</c:v>
                </c:pt>
                <c:pt idx="1369">
                  <c:v>21</c:v>
                </c:pt>
                <c:pt idx="1370">
                  <c:v>21</c:v>
                </c:pt>
                <c:pt idx="1371">
                  <c:v>21</c:v>
                </c:pt>
                <c:pt idx="1372">
                  <c:v>21</c:v>
                </c:pt>
                <c:pt idx="1373">
                  <c:v>21</c:v>
                </c:pt>
                <c:pt idx="1374">
                  <c:v>21</c:v>
                </c:pt>
                <c:pt idx="1375">
                  <c:v>21</c:v>
                </c:pt>
                <c:pt idx="1376">
                  <c:v>21</c:v>
                </c:pt>
                <c:pt idx="1377">
                  <c:v>21</c:v>
                </c:pt>
                <c:pt idx="1378">
                  <c:v>21</c:v>
                </c:pt>
                <c:pt idx="1379">
                  <c:v>21</c:v>
                </c:pt>
                <c:pt idx="1380">
                  <c:v>21</c:v>
                </c:pt>
                <c:pt idx="1381">
                  <c:v>21</c:v>
                </c:pt>
                <c:pt idx="1382">
                  <c:v>21</c:v>
                </c:pt>
                <c:pt idx="1383">
                  <c:v>21</c:v>
                </c:pt>
                <c:pt idx="1384">
                  <c:v>21</c:v>
                </c:pt>
                <c:pt idx="1385">
                  <c:v>21</c:v>
                </c:pt>
              </c:numCache>
            </c:numRef>
          </c:val>
          <c:smooth val="0"/>
          <c:extLst>
            <c:ext xmlns:c16="http://schemas.microsoft.com/office/drawing/2014/chart" uri="{C3380CC4-5D6E-409C-BE32-E72D297353CC}">
              <c16:uniqueId val="{00000001-4E59-4C2C-826E-B03C6093D23B}"/>
            </c:ext>
          </c:extLst>
        </c:ser>
        <c:dLbls>
          <c:showLegendKey val="0"/>
          <c:showVal val="0"/>
          <c:showCatName val="0"/>
          <c:showSerName val="0"/>
          <c:showPercent val="0"/>
          <c:showBubbleSize val="0"/>
        </c:dLbls>
        <c:marker val="1"/>
        <c:smooth val="0"/>
        <c:axId val="927020303"/>
        <c:axId val="927021967"/>
      </c:lineChart>
      <c:lineChart>
        <c:grouping val="standard"/>
        <c:varyColors val="0"/>
        <c:ser>
          <c:idx val="1"/>
          <c:order val="1"/>
          <c:tx>
            <c:strRef>
              <c:f>Sheet1!$T$2</c:f>
              <c:strCache>
                <c:ptCount val="1"/>
                <c:pt idx="0">
                  <c:v>Log S&amp;P 500-Gewinne</c:v>
                </c:pt>
              </c:strCache>
            </c:strRef>
          </c:tx>
          <c:spPr>
            <a:ln w="28575" cap="rnd">
              <a:solidFill>
                <a:schemeClr val="accent2"/>
              </a:solidFill>
              <a:round/>
            </a:ln>
            <a:effectLst/>
          </c:spPr>
          <c:marker>
            <c:symbol val="none"/>
          </c:marker>
          <c:cat>
            <c:numRef>
              <c:f>Sheet1!$P$4:$P$1389</c:f>
              <c:numCache>
                <c:formatCode>m/d/yyyy</c:formatCode>
                <c:ptCount val="1386"/>
                <c:pt idx="0">
                  <c:v>3319</c:v>
                </c:pt>
                <c:pt idx="1">
                  <c:v>3347</c:v>
                </c:pt>
                <c:pt idx="2">
                  <c:v>3378</c:v>
                </c:pt>
                <c:pt idx="3">
                  <c:v>3408</c:v>
                </c:pt>
                <c:pt idx="4">
                  <c:v>3439</c:v>
                </c:pt>
                <c:pt idx="5">
                  <c:v>3469</c:v>
                </c:pt>
                <c:pt idx="6">
                  <c:v>3500</c:v>
                </c:pt>
                <c:pt idx="7">
                  <c:v>3531</c:v>
                </c:pt>
                <c:pt idx="8">
                  <c:v>3561</c:v>
                </c:pt>
                <c:pt idx="9">
                  <c:v>3592</c:v>
                </c:pt>
                <c:pt idx="10">
                  <c:v>3622</c:v>
                </c:pt>
                <c:pt idx="11">
                  <c:v>3653</c:v>
                </c:pt>
                <c:pt idx="12">
                  <c:v>3684</c:v>
                </c:pt>
                <c:pt idx="13">
                  <c:v>3712</c:v>
                </c:pt>
                <c:pt idx="14">
                  <c:v>3743</c:v>
                </c:pt>
                <c:pt idx="15">
                  <c:v>3773</c:v>
                </c:pt>
                <c:pt idx="16">
                  <c:v>3804</c:v>
                </c:pt>
                <c:pt idx="17">
                  <c:v>3834</c:v>
                </c:pt>
                <c:pt idx="18">
                  <c:v>3865</c:v>
                </c:pt>
                <c:pt idx="19">
                  <c:v>3896</c:v>
                </c:pt>
                <c:pt idx="20">
                  <c:v>3926</c:v>
                </c:pt>
                <c:pt idx="21">
                  <c:v>3957</c:v>
                </c:pt>
                <c:pt idx="22">
                  <c:v>3987</c:v>
                </c:pt>
                <c:pt idx="23">
                  <c:v>4018</c:v>
                </c:pt>
                <c:pt idx="24">
                  <c:v>4049</c:v>
                </c:pt>
                <c:pt idx="25">
                  <c:v>4077</c:v>
                </c:pt>
                <c:pt idx="26">
                  <c:v>4108</c:v>
                </c:pt>
                <c:pt idx="27">
                  <c:v>4138</c:v>
                </c:pt>
                <c:pt idx="28">
                  <c:v>4169</c:v>
                </c:pt>
                <c:pt idx="29">
                  <c:v>4199</c:v>
                </c:pt>
                <c:pt idx="30">
                  <c:v>4230</c:v>
                </c:pt>
                <c:pt idx="31">
                  <c:v>4261</c:v>
                </c:pt>
                <c:pt idx="32">
                  <c:v>4291</c:v>
                </c:pt>
                <c:pt idx="33">
                  <c:v>4322</c:v>
                </c:pt>
                <c:pt idx="34">
                  <c:v>4352</c:v>
                </c:pt>
                <c:pt idx="35">
                  <c:v>4383</c:v>
                </c:pt>
                <c:pt idx="36">
                  <c:v>4414</c:v>
                </c:pt>
                <c:pt idx="37">
                  <c:v>4443</c:v>
                </c:pt>
                <c:pt idx="38">
                  <c:v>4474</c:v>
                </c:pt>
                <c:pt idx="39">
                  <c:v>4504</c:v>
                </c:pt>
                <c:pt idx="40">
                  <c:v>4535</c:v>
                </c:pt>
                <c:pt idx="41">
                  <c:v>4565</c:v>
                </c:pt>
                <c:pt idx="42">
                  <c:v>4596</c:v>
                </c:pt>
                <c:pt idx="43">
                  <c:v>4627</c:v>
                </c:pt>
                <c:pt idx="44">
                  <c:v>4657</c:v>
                </c:pt>
                <c:pt idx="45">
                  <c:v>4688</c:v>
                </c:pt>
                <c:pt idx="46">
                  <c:v>4718</c:v>
                </c:pt>
                <c:pt idx="47">
                  <c:v>4749</c:v>
                </c:pt>
                <c:pt idx="48">
                  <c:v>4780</c:v>
                </c:pt>
                <c:pt idx="49">
                  <c:v>4808</c:v>
                </c:pt>
                <c:pt idx="50">
                  <c:v>4839</c:v>
                </c:pt>
                <c:pt idx="51">
                  <c:v>4869</c:v>
                </c:pt>
                <c:pt idx="52">
                  <c:v>4900</c:v>
                </c:pt>
                <c:pt idx="53">
                  <c:v>4930</c:v>
                </c:pt>
                <c:pt idx="54">
                  <c:v>4961</c:v>
                </c:pt>
                <c:pt idx="55">
                  <c:v>4992</c:v>
                </c:pt>
                <c:pt idx="56">
                  <c:v>5022</c:v>
                </c:pt>
                <c:pt idx="57">
                  <c:v>5053</c:v>
                </c:pt>
                <c:pt idx="58">
                  <c:v>5083</c:v>
                </c:pt>
                <c:pt idx="59">
                  <c:v>5114</c:v>
                </c:pt>
                <c:pt idx="60">
                  <c:v>5145</c:v>
                </c:pt>
                <c:pt idx="61">
                  <c:v>5173</c:v>
                </c:pt>
                <c:pt idx="62">
                  <c:v>5204</c:v>
                </c:pt>
                <c:pt idx="63">
                  <c:v>5234</c:v>
                </c:pt>
                <c:pt idx="64">
                  <c:v>5265</c:v>
                </c:pt>
                <c:pt idx="65">
                  <c:v>5295</c:v>
                </c:pt>
                <c:pt idx="66">
                  <c:v>5326</c:v>
                </c:pt>
                <c:pt idx="67">
                  <c:v>5357</c:v>
                </c:pt>
                <c:pt idx="68">
                  <c:v>5387</c:v>
                </c:pt>
                <c:pt idx="69">
                  <c:v>5418</c:v>
                </c:pt>
                <c:pt idx="70">
                  <c:v>5448</c:v>
                </c:pt>
                <c:pt idx="71">
                  <c:v>5479</c:v>
                </c:pt>
                <c:pt idx="72">
                  <c:v>5510</c:v>
                </c:pt>
                <c:pt idx="73">
                  <c:v>5538</c:v>
                </c:pt>
                <c:pt idx="74">
                  <c:v>5569</c:v>
                </c:pt>
                <c:pt idx="75">
                  <c:v>5599</c:v>
                </c:pt>
                <c:pt idx="76">
                  <c:v>5630</c:v>
                </c:pt>
                <c:pt idx="77">
                  <c:v>5660</c:v>
                </c:pt>
                <c:pt idx="78">
                  <c:v>5691</c:v>
                </c:pt>
                <c:pt idx="79">
                  <c:v>5722</c:v>
                </c:pt>
                <c:pt idx="80">
                  <c:v>5752</c:v>
                </c:pt>
                <c:pt idx="81">
                  <c:v>5783</c:v>
                </c:pt>
                <c:pt idx="82">
                  <c:v>5813</c:v>
                </c:pt>
                <c:pt idx="83">
                  <c:v>5844</c:v>
                </c:pt>
                <c:pt idx="84">
                  <c:v>5875</c:v>
                </c:pt>
                <c:pt idx="85">
                  <c:v>5904</c:v>
                </c:pt>
                <c:pt idx="86">
                  <c:v>5935</c:v>
                </c:pt>
                <c:pt idx="87">
                  <c:v>5965</c:v>
                </c:pt>
                <c:pt idx="88">
                  <c:v>5996</c:v>
                </c:pt>
                <c:pt idx="89">
                  <c:v>6026</c:v>
                </c:pt>
                <c:pt idx="90">
                  <c:v>6057</c:v>
                </c:pt>
                <c:pt idx="91">
                  <c:v>6088</c:v>
                </c:pt>
                <c:pt idx="92">
                  <c:v>6118</c:v>
                </c:pt>
                <c:pt idx="93">
                  <c:v>6149</c:v>
                </c:pt>
                <c:pt idx="94">
                  <c:v>6179</c:v>
                </c:pt>
                <c:pt idx="95">
                  <c:v>6210</c:v>
                </c:pt>
                <c:pt idx="96">
                  <c:v>6241</c:v>
                </c:pt>
                <c:pt idx="97">
                  <c:v>6269</c:v>
                </c:pt>
                <c:pt idx="98">
                  <c:v>6300</c:v>
                </c:pt>
                <c:pt idx="99">
                  <c:v>6330</c:v>
                </c:pt>
                <c:pt idx="100">
                  <c:v>6361</c:v>
                </c:pt>
                <c:pt idx="101">
                  <c:v>6391</c:v>
                </c:pt>
                <c:pt idx="102">
                  <c:v>6422</c:v>
                </c:pt>
                <c:pt idx="103">
                  <c:v>6453</c:v>
                </c:pt>
                <c:pt idx="104">
                  <c:v>6483</c:v>
                </c:pt>
                <c:pt idx="105">
                  <c:v>6514</c:v>
                </c:pt>
                <c:pt idx="106">
                  <c:v>6544</c:v>
                </c:pt>
                <c:pt idx="107">
                  <c:v>6575</c:v>
                </c:pt>
                <c:pt idx="108">
                  <c:v>6606</c:v>
                </c:pt>
                <c:pt idx="109">
                  <c:v>6634</c:v>
                </c:pt>
                <c:pt idx="110">
                  <c:v>6665</c:v>
                </c:pt>
                <c:pt idx="111">
                  <c:v>6695</c:v>
                </c:pt>
                <c:pt idx="112">
                  <c:v>6726</c:v>
                </c:pt>
                <c:pt idx="113">
                  <c:v>6756</c:v>
                </c:pt>
                <c:pt idx="114">
                  <c:v>6787</c:v>
                </c:pt>
                <c:pt idx="115">
                  <c:v>6818</c:v>
                </c:pt>
                <c:pt idx="116">
                  <c:v>6848</c:v>
                </c:pt>
                <c:pt idx="117">
                  <c:v>6879</c:v>
                </c:pt>
                <c:pt idx="118">
                  <c:v>6909</c:v>
                </c:pt>
                <c:pt idx="119">
                  <c:v>6940</c:v>
                </c:pt>
                <c:pt idx="120">
                  <c:v>6971</c:v>
                </c:pt>
                <c:pt idx="121">
                  <c:v>6999</c:v>
                </c:pt>
                <c:pt idx="122">
                  <c:v>7030</c:v>
                </c:pt>
                <c:pt idx="123">
                  <c:v>7060</c:v>
                </c:pt>
                <c:pt idx="124">
                  <c:v>7091</c:v>
                </c:pt>
                <c:pt idx="125">
                  <c:v>7121</c:v>
                </c:pt>
                <c:pt idx="126">
                  <c:v>7152</c:v>
                </c:pt>
                <c:pt idx="127">
                  <c:v>7183</c:v>
                </c:pt>
                <c:pt idx="128">
                  <c:v>7213</c:v>
                </c:pt>
                <c:pt idx="129">
                  <c:v>7244</c:v>
                </c:pt>
                <c:pt idx="130">
                  <c:v>7274</c:v>
                </c:pt>
                <c:pt idx="131">
                  <c:v>7305</c:v>
                </c:pt>
                <c:pt idx="132">
                  <c:v>7336</c:v>
                </c:pt>
                <c:pt idx="133">
                  <c:v>7365</c:v>
                </c:pt>
                <c:pt idx="134">
                  <c:v>7396</c:v>
                </c:pt>
                <c:pt idx="135">
                  <c:v>7426</c:v>
                </c:pt>
                <c:pt idx="136">
                  <c:v>7457</c:v>
                </c:pt>
                <c:pt idx="137">
                  <c:v>7487</c:v>
                </c:pt>
                <c:pt idx="138">
                  <c:v>7518</c:v>
                </c:pt>
                <c:pt idx="139">
                  <c:v>7549</c:v>
                </c:pt>
                <c:pt idx="140">
                  <c:v>7579</c:v>
                </c:pt>
                <c:pt idx="141">
                  <c:v>7610</c:v>
                </c:pt>
                <c:pt idx="142">
                  <c:v>7640</c:v>
                </c:pt>
                <c:pt idx="143">
                  <c:v>7671</c:v>
                </c:pt>
                <c:pt idx="144">
                  <c:v>7702</c:v>
                </c:pt>
                <c:pt idx="145">
                  <c:v>7730</c:v>
                </c:pt>
                <c:pt idx="146">
                  <c:v>7761</c:v>
                </c:pt>
                <c:pt idx="147">
                  <c:v>7791</c:v>
                </c:pt>
                <c:pt idx="148">
                  <c:v>7822</c:v>
                </c:pt>
                <c:pt idx="149">
                  <c:v>7852</c:v>
                </c:pt>
                <c:pt idx="150">
                  <c:v>7883</c:v>
                </c:pt>
                <c:pt idx="151">
                  <c:v>7914</c:v>
                </c:pt>
                <c:pt idx="152">
                  <c:v>7944</c:v>
                </c:pt>
                <c:pt idx="153">
                  <c:v>7975</c:v>
                </c:pt>
                <c:pt idx="154">
                  <c:v>8005</c:v>
                </c:pt>
                <c:pt idx="155">
                  <c:v>8036</c:v>
                </c:pt>
                <c:pt idx="156">
                  <c:v>8067</c:v>
                </c:pt>
                <c:pt idx="157">
                  <c:v>8095</c:v>
                </c:pt>
                <c:pt idx="158">
                  <c:v>8126</c:v>
                </c:pt>
                <c:pt idx="159">
                  <c:v>8156</c:v>
                </c:pt>
                <c:pt idx="160">
                  <c:v>8187</c:v>
                </c:pt>
                <c:pt idx="161">
                  <c:v>8217</c:v>
                </c:pt>
                <c:pt idx="162">
                  <c:v>8248</c:v>
                </c:pt>
                <c:pt idx="163">
                  <c:v>8279</c:v>
                </c:pt>
                <c:pt idx="164">
                  <c:v>8309</c:v>
                </c:pt>
                <c:pt idx="165">
                  <c:v>8340</c:v>
                </c:pt>
                <c:pt idx="166">
                  <c:v>8370</c:v>
                </c:pt>
                <c:pt idx="167">
                  <c:v>8401</c:v>
                </c:pt>
                <c:pt idx="168">
                  <c:v>8432</c:v>
                </c:pt>
                <c:pt idx="169">
                  <c:v>8460</c:v>
                </c:pt>
                <c:pt idx="170">
                  <c:v>8491</c:v>
                </c:pt>
                <c:pt idx="171">
                  <c:v>8521</c:v>
                </c:pt>
                <c:pt idx="172">
                  <c:v>8552</c:v>
                </c:pt>
                <c:pt idx="173">
                  <c:v>8582</c:v>
                </c:pt>
                <c:pt idx="174">
                  <c:v>8613</c:v>
                </c:pt>
                <c:pt idx="175">
                  <c:v>8644</c:v>
                </c:pt>
                <c:pt idx="176">
                  <c:v>8674</c:v>
                </c:pt>
                <c:pt idx="177">
                  <c:v>8705</c:v>
                </c:pt>
                <c:pt idx="178">
                  <c:v>8735</c:v>
                </c:pt>
                <c:pt idx="179">
                  <c:v>8766</c:v>
                </c:pt>
                <c:pt idx="180">
                  <c:v>8797</c:v>
                </c:pt>
                <c:pt idx="181">
                  <c:v>8826</c:v>
                </c:pt>
                <c:pt idx="182">
                  <c:v>8857</c:v>
                </c:pt>
                <c:pt idx="183">
                  <c:v>8887</c:v>
                </c:pt>
                <c:pt idx="184">
                  <c:v>8918</c:v>
                </c:pt>
                <c:pt idx="185">
                  <c:v>8948</c:v>
                </c:pt>
                <c:pt idx="186">
                  <c:v>8979</c:v>
                </c:pt>
                <c:pt idx="187">
                  <c:v>9010</c:v>
                </c:pt>
                <c:pt idx="188">
                  <c:v>9040</c:v>
                </c:pt>
                <c:pt idx="189">
                  <c:v>9071</c:v>
                </c:pt>
                <c:pt idx="190">
                  <c:v>9101</c:v>
                </c:pt>
                <c:pt idx="191">
                  <c:v>9132</c:v>
                </c:pt>
                <c:pt idx="192">
                  <c:v>9163</c:v>
                </c:pt>
                <c:pt idx="193">
                  <c:v>9191</c:v>
                </c:pt>
                <c:pt idx="194">
                  <c:v>9222</c:v>
                </c:pt>
                <c:pt idx="195">
                  <c:v>9252</c:v>
                </c:pt>
                <c:pt idx="196">
                  <c:v>9283</c:v>
                </c:pt>
                <c:pt idx="197">
                  <c:v>9313</c:v>
                </c:pt>
                <c:pt idx="198">
                  <c:v>9344</c:v>
                </c:pt>
                <c:pt idx="199">
                  <c:v>9375</c:v>
                </c:pt>
                <c:pt idx="200">
                  <c:v>9405</c:v>
                </c:pt>
                <c:pt idx="201">
                  <c:v>9436</c:v>
                </c:pt>
                <c:pt idx="202">
                  <c:v>9466</c:v>
                </c:pt>
                <c:pt idx="203">
                  <c:v>9497</c:v>
                </c:pt>
                <c:pt idx="204">
                  <c:v>9528</c:v>
                </c:pt>
                <c:pt idx="205">
                  <c:v>9556</c:v>
                </c:pt>
                <c:pt idx="206">
                  <c:v>9587</c:v>
                </c:pt>
                <c:pt idx="207">
                  <c:v>9617</c:v>
                </c:pt>
                <c:pt idx="208">
                  <c:v>9648</c:v>
                </c:pt>
                <c:pt idx="209">
                  <c:v>9678</c:v>
                </c:pt>
                <c:pt idx="210">
                  <c:v>9709</c:v>
                </c:pt>
                <c:pt idx="211">
                  <c:v>9740</c:v>
                </c:pt>
                <c:pt idx="212">
                  <c:v>9770</c:v>
                </c:pt>
                <c:pt idx="213">
                  <c:v>9801</c:v>
                </c:pt>
                <c:pt idx="214">
                  <c:v>9831</c:v>
                </c:pt>
                <c:pt idx="215">
                  <c:v>9862</c:v>
                </c:pt>
                <c:pt idx="216">
                  <c:v>9893</c:v>
                </c:pt>
                <c:pt idx="217">
                  <c:v>9921</c:v>
                </c:pt>
                <c:pt idx="218">
                  <c:v>9952</c:v>
                </c:pt>
                <c:pt idx="219">
                  <c:v>9982</c:v>
                </c:pt>
                <c:pt idx="220">
                  <c:v>10013</c:v>
                </c:pt>
                <c:pt idx="221">
                  <c:v>10043</c:v>
                </c:pt>
                <c:pt idx="222">
                  <c:v>10074</c:v>
                </c:pt>
                <c:pt idx="223">
                  <c:v>10105</c:v>
                </c:pt>
                <c:pt idx="224">
                  <c:v>10135</c:v>
                </c:pt>
                <c:pt idx="225">
                  <c:v>10166</c:v>
                </c:pt>
                <c:pt idx="226">
                  <c:v>10196</c:v>
                </c:pt>
                <c:pt idx="227">
                  <c:v>10227</c:v>
                </c:pt>
                <c:pt idx="228">
                  <c:v>10258</c:v>
                </c:pt>
                <c:pt idx="229">
                  <c:v>10287</c:v>
                </c:pt>
                <c:pt idx="230">
                  <c:v>10318</c:v>
                </c:pt>
                <c:pt idx="231">
                  <c:v>10348</c:v>
                </c:pt>
                <c:pt idx="232">
                  <c:v>10379</c:v>
                </c:pt>
                <c:pt idx="233">
                  <c:v>10409</c:v>
                </c:pt>
                <c:pt idx="234">
                  <c:v>10440</c:v>
                </c:pt>
                <c:pt idx="235">
                  <c:v>10471</c:v>
                </c:pt>
                <c:pt idx="236">
                  <c:v>10501</c:v>
                </c:pt>
                <c:pt idx="237">
                  <c:v>10532</c:v>
                </c:pt>
                <c:pt idx="238">
                  <c:v>10562</c:v>
                </c:pt>
                <c:pt idx="239">
                  <c:v>10593</c:v>
                </c:pt>
                <c:pt idx="240">
                  <c:v>10624</c:v>
                </c:pt>
                <c:pt idx="241">
                  <c:v>10652</c:v>
                </c:pt>
                <c:pt idx="242">
                  <c:v>10683</c:v>
                </c:pt>
                <c:pt idx="243">
                  <c:v>10713</c:v>
                </c:pt>
                <c:pt idx="244">
                  <c:v>10744</c:v>
                </c:pt>
                <c:pt idx="245">
                  <c:v>10774</c:v>
                </c:pt>
                <c:pt idx="246">
                  <c:v>10805</c:v>
                </c:pt>
                <c:pt idx="247">
                  <c:v>10836</c:v>
                </c:pt>
                <c:pt idx="248">
                  <c:v>10866</c:v>
                </c:pt>
                <c:pt idx="249">
                  <c:v>10897</c:v>
                </c:pt>
                <c:pt idx="250">
                  <c:v>10927</c:v>
                </c:pt>
                <c:pt idx="251">
                  <c:v>10958</c:v>
                </c:pt>
                <c:pt idx="252">
                  <c:v>10989</c:v>
                </c:pt>
                <c:pt idx="253">
                  <c:v>11017</c:v>
                </c:pt>
                <c:pt idx="254">
                  <c:v>11048</c:v>
                </c:pt>
                <c:pt idx="255">
                  <c:v>11078</c:v>
                </c:pt>
                <c:pt idx="256">
                  <c:v>11109</c:v>
                </c:pt>
                <c:pt idx="257">
                  <c:v>11139</c:v>
                </c:pt>
                <c:pt idx="258">
                  <c:v>11170</c:v>
                </c:pt>
                <c:pt idx="259">
                  <c:v>11201</c:v>
                </c:pt>
                <c:pt idx="260">
                  <c:v>11231</c:v>
                </c:pt>
                <c:pt idx="261">
                  <c:v>11262</c:v>
                </c:pt>
                <c:pt idx="262">
                  <c:v>11292</c:v>
                </c:pt>
                <c:pt idx="263">
                  <c:v>11323</c:v>
                </c:pt>
                <c:pt idx="264">
                  <c:v>11354</c:v>
                </c:pt>
                <c:pt idx="265">
                  <c:v>11382</c:v>
                </c:pt>
                <c:pt idx="266">
                  <c:v>11413</c:v>
                </c:pt>
                <c:pt idx="267">
                  <c:v>11443</c:v>
                </c:pt>
                <c:pt idx="268">
                  <c:v>11474</c:v>
                </c:pt>
                <c:pt idx="269">
                  <c:v>11504</c:v>
                </c:pt>
                <c:pt idx="270">
                  <c:v>11535</c:v>
                </c:pt>
                <c:pt idx="271">
                  <c:v>11566</c:v>
                </c:pt>
                <c:pt idx="272">
                  <c:v>11596</c:v>
                </c:pt>
                <c:pt idx="273">
                  <c:v>11627</c:v>
                </c:pt>
                <c:pt idx="274">
                  <c:v>11657</c:v>
                </c:pt>
                <c:pt idx="275">
                  <c:v>11688</c:v>
                </c:pt>
                <c:pt idx="276">
                  <c:v>11719</c:v>
                </c:pt>
                <c:pt idx="277">
                  <c:v>11748</c:v>
                </c:pt>
                <c:pt idx="278">
                  <c:v>11779</c:v>
                </c:pt>
                <c:pt idx="279">
                  <c:v>11809</c:v>
                </c:pt>
                <c:pt idx="280">
                  <c:v>11840</c:v>
                </c:pt>
                <c:pt idx="281">
                  <c:v>11870</c:v>
                </c:pt>
                <c:pt idx="282">
                  <c:v>11901</c:v>
                </c:pt>
                <c:pt idx="283">
                  <c:v>11932</c:v>
                </c:pt>
                <c:pt idx="284">
                  <c:v>11962</c:v>
                </c:pt>
                <c:pt idx="285">
                  <c:v>11993</c:v>
                </c:pt>
                <c:pt idx="286">
                  <c:v>12023</c:v>
                </c:pt>
                <c:pt idx="287">
                  <c:v>12054</c:v>
                </c:pt>
                <c:pt idx="288">
                  <c:v>12085</c:v>
                </c:pt>
                <c:pt idx="289">
                  <c:v>12113</c:v>
                </c:pt>
                <c:pt idx="290">
                  <c:v>12144</c:v>
                </c:pt>
                <c:pt idx="291">
                  <c:v>12174</c:v>
                </c:pt>
                <c:pt idx="292">
                  <c:v>12205</c:v>
                </c:pt>
                <c:pt idx="293">
                  <c:v>12235</c:v>
                </c:pt>
                <c:pt idx="294">
                  <c:v>12266</c:v>
                </c:pt>
                <c:pt idx="295">
                  <c:v>12297</c:v>
                </c:pt>
                <c:pt idx="296">
                  <c:v>12327</c:v>
                </c:pt>
                <c:pt idx="297">
                  <c:v>12358</c:v>
                </c:pt>
                <c:pt idx="298">
                  <c:v>12388</c:v>
                </c:pt>
                <c:pt idx="299">
                  <c:v>12419</c:v>
                </c:pt>
                <c:pt idx="300">
                  <c:v>12450</c:v>
                </c:pt>
                <c:pt idx="301">
                  <c:v>12478</c:v>
                </c:pt>
                <c:pt idx="302">
                  <c:v>12509</c:v>
                </c:pt>
                <c:pt idx="303">
                  <c:v>12539</c:v>
                </c:pt>
                <c:pt idx="304">
                  <c:v>12570</c:v>
                </c:pt>
                <c:pt idx="305">
                  <c:v>12600</c:v>
                </c:pt>
                <c:pt idx="306">
                  <c:v>12631</c:v>
                </c:pt>
                <c:pt idx="307">
                  <c:v>12662</c:v>
                </c:pt>
                <c:pt idx="308">
                  <c:v>12692</c:v>
                </c:pt>
                <c:pt idx="309">
                  <c:v>12723</c:v>
                </c:pt>
                <c:pt idx="310">
                  <c:v>12753</c:v>
                </c:pt>
                <c:pt idx="311">
                  <c:v>12784</c:v>
                </c:pt>
                <c:pt idx="312">
                  <c:v>12815</c:v>
                </c:pt>
                <c:pt idx="313">
                  <c:v>12843</c:v>
                </c:pt>
                <c:pt idx="314">
                  <c:v>12874</c:v>
                </c:pt>
                <c:pt idx="315">
                  <c:v>12904</c:v>
                </c:pt>
                <c:pt idx="316">
                  <c:v>12935</c:v>
                </c:pt>
                <c:pt idx="317">
                  <c:v>12965</c:v>
                </c:pt>
                <c:pt idx="318">
                  <c:v>12996</c:v>
                </c:pt>
                <c:pt idx="319">
                  <c:v>13027</c:v>
                </c:pt>
                <c:pt idx="320">
                  <c:v>13057</c:v>
                </c:pt>
                <c:pt idx="321">
                  <c:v>13088</c:v>
                </c:pt>
                <c:pt idx="322">
                  <c:v>13118</c:v>
                </c:pt>
                <c:pt idx="323">
                  <c:v>13149</c:v>
                </c:pt>
                <c:pt idx="324">
                  <c:v>13180</c:v>
                </c:pt>
                <c:pt idx="325">
                  <c:v>13209</c:v>
                </c:pt>
                <c:pt idx="326">
                  <c:v>13240</c:v>
                </c:pt>
                <c:pt idx="327">
                  <c:v>13270</c:v>
                </c:pt>
                <c:pt idx="328">
                  <c:v>13301</c:v>
                </c:pt>
                <c:pt idx="329">
                  <c:v>13331</c:v>
                </c:pt>
                <c:pt idx="330">
                  <c:v>13362</c:v>
                </c:pt>
                <c:pt idx="331">
                  <c:v>13393</c:v>
                </c:pt>
                <c:pt idx="332">
                  <c:v>13423</c:v>
                </c:pt>
                <c:pt idx="333">
                  <c:v>13454</c:v>
                </c:pt>
                <c:pt idx="334">
                  <c:v>13484</c:v>
                </c:pt>
                <c:pt idx="335">
                  <c:v>13515</c:v>
                </c:pt>
                <c:pt idx="336">
                  <c:v>13546</c:v>
                </c:pt>
                <c:pt idx="337">
                  <c:v>13574</c:v>
                </c:pt>
                <c:pt idx="338">
                  <c:v>13605</c:v>
                </c:pt>
                <c:pt idx="339">
                  <c:v>13635</c:v>
                </c:pt>
                <c:pt idx="340">
                  <c:v>13666</c:v>
                </c:pt>
                <c:pt idx="341">
                  <c:v>13696</c:v>
                </c:pt>
                <c:pt idx="342">
                  <c:v>13727</c:v>
                </c:pt>
                <c:pt idx="343">
                  <c:v>13758</c:v>
                </c:pt>
                <c:pt idx="344">
                  <c:v>13788</c:v>
                </c:pt>
                <c:pt idx="345">
                  <c:v>13819</c:v>
                </c:pt>
                <c:pt idx="346">
                  <c:v>13849</c:v>
                </c:pt>
                <c:pt idx="347">
                  <c:v>13880</c:v>
                </c:pt>
                <c:pt idx="348">
                  <c:v>13911</c:v>
                </c:pt>
                <c:pt idx="349">
                  <c:v>13939</c:v>
                </c:pt>
                <c:pt idx="350">
                  <c:v>13970</c:v>
                </c:pt>
                <c:pt idx="351">
                  <c:v>14000</c:v>
                </c:pt>
                <c:pt idx="352">
                  <c:v>14031</c:v>
                </c:pt>
                <c:pt idx="353">
                  <c:v>14061</c:v>
                </c:pt>
                <c:pt idx="354">
                  <c:v>14092</c:v>
                </c:pt>
                <c:pt idx="355">
                  <c:v>14123</c:v>
                </c:pt>
                <c:pt idx="356">
                  <c:v>14153</c:v>
                </c:pt>
                <c:pt idx="357">
                  <c:v>14184</c:v>
                </c:pt>
                <c:pt idx="358">
                  <c:v>14214</c:v>
                </c:pt>
                <c:pt idx="359">
                  <c:v>14245</c:v>
                </c:pt>
                <c:pt idx="360">
                  <c:v>14276</c:v>
                </c:pt>
                <c:pt idx="361">
                  <c:v>14304</c:v>
                </c:pt>
                <c:pt idx="362">
                  <c:v>14335</c:v>
                </c:pt>
                <c:pt idx="363">
                  <c:v>14365</c:v>
                </c:pt>
                <c:pt idx="364">
                  <c:v>14396</c:v>
                </c:pt>
                <c:pt idx="365">
                  <c:v>14426</c:v>
                </c:pt>
                <c:pt idx="366">
                  <c:v>14457</c:v>
                </c:pt>
                <c:pt idx="367">
                  <c:v>14488</c:v>
                </c:pt>
                <c:pt idx="368">
                  <c:v>14518</c:v>
                </c:pt>
                <c:pt idx="369">
                  <c:v>14549</c:v>
                </c:pt>
                <c:pt idx="370">
                  <c:v>14579</c:v>
                </c:pt>
                <c:pt idx="371">
                  <c:v>14610</c:v>
                </c:pt>
                <c:pt idx="372">
                  <c:v>14641</c:v>
                </c:pt>
                <c:pt idx="373">
                  <c:v>14670</c:v>
                </c:pt>
                <c:pt idx="374">
                  <c:v>14701</c:v>
                </c:pt>
                <c:pt idx="375">
                  <c:v>14731</c:v>
                </c:pt>
                <c:pt idx="376">
                  <c:v>14762</c:v>
                </c:pt>
                <c:pt idx="377">
                  <c:v>14792</c:v>
                </c:pt>
                <c:pt idx="378">
                  <c:v>14823</c:v>
                </c:pt>
                <c:pt idx="379">
                  <c:v>14854</c:v>
                </c:pt>
                <c:pt idx="380">
                  <c:v>14884</c:v>
                </c:pt>
                <c:pt idx="381">
                  <c:v>14915</c:v>
                </c:pt>
                <c:pt idx="382">
                  <c:v>14945</c:v>
                </c:pt>
                <c:pt idx="383">
                  <c:v>14976</c:v>
                </c:pt>
                <c:pt idx="384">
                  <c:v>15007</c:v>
                </c:pt>
                <c:pt idx="385">
                  <c:v>15035</c:v>
                </c:pt>
                <c:pt idx="386">
                  <c:v>15066</c:v>
                </c:pt>
                <c:pt idx="387">
                  <c:v>15096</c:v>
                </c:pt>
                <c:pt idx="388">
                  <c:v>15127</c:v>
                </c:pt>
                <c:pt idx="389">
                  <c:v>15157</c:v>
                </c:pt>
                <c:pt idx="390">
                  <c:v>15188</c:v>
                </c:pt>
                <c:pt idx="391">
                  <c:v>15219</c:v>
                </c:pt>
                <c:pt idx="392">
                  <c:v>15249</c:v>
                </c:pt>
                <c:pt idx="393">
                  <c:v>15280</c:v>
                </c:pt>
                <c:pt idx="394">
                  <c:v>15310</c:v>
                </c:pt>
                <c:pt idx="395">
                  <c:v>15341</c:v>
                </c:pt>
                <c:pt idx="396">
                  <c:v>15372</c:v>
                </c:pt>
                <c:pt idx="397">
                  <c:v>15400</c:v>
                </c:pt>
                <c:pt idx="398">
                  <c:v>15431</c:v>
                </c:pt>
                <c:pt idx="399">
                  <c:v>15461</c:v>
                </c:pt>
                <c:pt idx="400">
                  <c:v>15492</c:v>
                </c:pt>
                <c:pt idx="401">
                  <c:v>15522</c:v>
                </c:pt>
                <c:pt idx="402">
                  <c:v>15553</c:v>
                </c:pt>
                <c:pt idx="403">
                  <c:v>15584</c:v>
                </c:pt>
                <c:pt idx="404">
                  <c:v>15614</c:v>
                </c:pt>
                <c:pt idx="405">
                  <c:v>15645</c:v>
                </c:pt>
                <c:pt idx="406">
                  <c:v>15675</c:v>
                </c:pt>
                <c:pt idx="407">
                  <c:v>15706</c:v>
                </c:pt>
                <c:pt idx="408">
                  <c:v>15737</c:v>
                </c:pt>
                <c:pt idx="409">
                  <c:v>15765</c:v>
                </c:pt>
                <c:pt idx="410">
                  <c:v>15796</c:v>
                </c:pt>
                <c:pt idx="411">
                  <c:v>15826</c:v>
                </c:pt>
                <c:pt idx="412">
                  <c:v>15857</c:v>
                </c:pt>
                <c:pt idx="413">
                  <c:v>15887</c:v>
                </c:pt>
                <c:pt idx="414">
                  <c:v>15918</c:v>
                </c:pt>
                <c:pt idx="415">
                  <c:v>15949</c:v>
                </c:pt>
                <c:pt idx="416">
                  <c:v>15979</c:v>
                </c:pt>
                <c:pt idx="417">
                  <c:v>16010</c:v>
                </c:pt>
                <c:pt idx="418">
                  <c:v>16040</c:v>
                </c:pt>
                <c:pt idx="419">
                  <c:v>16071</c:v>
                </c:pt>
                <c:pt idx="420">
                  <c:v>16102</c:v>
                </c:pt>
                <c:pt idx="421">
                  <c:v>16131</c:v>
                </c:pt>
                <c:pt idx="422">
                  <c:v>16162</c:v>
                </c:pt>
                <c:pt idx="423">
                  <c:v>16192</c:v>
                </c:pt>
                <c:pt idx="424">
                  <c:v>16223</c:v>
                </c:pt>
                <c:pt idx="425">
                  <c:v>16253</c:v>
                </c:pt>
                <c:pt idx="426">
                  <c:v>16284</c:v>
                </c:pt>
                <c:pt idx="427">
                  <c:v>16315</c:v>
                </c:pt>
                <c:pt idx="428">
                  <c:v>16345</c:v>
                </c:pt>
                <c:pt idx="429">
                  <c:v>16376</c:v>
                </c:pt>
                <c:pt idx="430">
                  <c:v>16406</c:v>
                </c:pt>
                <c:pt idx="431">
                  <c:v>16437</c:v>
                </c:pt>
                <c:pt idx="432">
                  <c:v>16468</c:v>
                </c:pt>
                <c:pt idx="433">
                  <c:v>16496</c:v>
                </c:pt>
                <c:pt idx="434">
                  <c:v>16527</c:v>
                </c:pt>
                <c:pt idx="435">
                  <c:v>16557</c:v>
                </c:pt>
                <c:pt idx="436">
                  <c:v>16588</c:v>
                </c:pt>
                <c:pt idx="437">
                  <c:v>16618</c:v>
                </c:pt>
                <c:pt idx="438">
                  <c:v>16649</c:v>
                </c:pt>
                <c:pt idx="439">
                  <c:v>16680</c:v>
                </c:pt>
                <c:pt idx="440">
                  <c:v>16710</c:v>
                </c:pt>
                <c:pt idx="441">
                  <c:v>16741</c:v>
                </c:pt>
                <c:pt idx="442">
                  <c:v>16771</c:v>
                </c:pt>
                <c:pt idx="443">
                  <c:v>16802</c:v>
                </c:pt>
                <c:pt idx="444">
                  <c:v>16833</c:v>
                </c:pt>
                <c:pt idx="445">
                  <c:v>16861</c:v>
                </c:pt>
                <c:pt idx="446">
                  <c:v>16892</c:v>
                </c:pt>
                <c:pt idx="447">
                  <c:v>16922</c:v>
                </c:pt>
                <c:pt idx="448">
                  <c:v>16953</c:v>
                </c:pt>
                <c:pt idx="449">
                  <c:v>16983</c:v>
                </c:pt>
                <c:pt idx="450">
                  <c:v>17014</c:v>
                </c:pt>
                <c:pt idx="451">
                  <c:v>17045</c:v>
                </c:pt>
                <c:pt idx="452">
                  <c:v>17075</c:v>
                </c:pt>
                <c:pt idx="453">
                  <c:v>17106</c:v>
                </c:pt>
                <c:pt idx="454">
                  <c:v>17136</c:v>
                </c:pt>
                <c:pt idx="455">
                  <c:v>17167</c:v>
                </c:pt>
                <c:pt idx="456">
                  <c:v>17198</c:v>
                </c:pt>
                <c:pt idx="457">
                  <c:v>17226</c:v>
                </c:pt>
                <c:pt idx="458">
                  <c:v>17257</c:v>
                </c:pt>
                <c:pt idx="459">
                  <c:v>17287</c:v>
                </c:pt>
                <c:pt idx="460">
                  <c:v>17318</c:v>
                </c:pt>
                <c:pt idx="461">
                  <c:v>17348</c:v>
                </c:pt>
                <c:pt idx="462">
                  <c:v>17379</c:v>
                </c:pt>
                <c:pt idx="463">
                  <c:v>17410</c:v>
                </c:pt>
                <c:pt idx="464">
                  <c:v>17440</c:v>
                </c:pt>
                <c:pt idx="465">
                  <c:v>17471</c:v>
                </c:pt>
                <c:pt idx="466">
                  <c:v>17501</c:v>
                </c:pt>
                <c:pt idx="467">
                  <c:v>17532</c:v>
                </c:pt>
                <c:pt idx="468">
                  <c:v>17563</c:v>
                </c:pt>
                <c:pt idx="469">
                  <c:v>17592</c:v>
                </c:pt>
                <c:pt idx="470">
                  <c:v>17623</c:v>
                </c:pt>
                <c:pt idx="471">
                  <c:v>17653</c:v>
                </c:pt>
                <c:pt idx="472">
                  <c:v>17684</c:v>
                </c:pt>
                <c:pt idx="473">
                  <c:v>17714</c:v>
                </c:pt>
                <c:pt idx="474">
                  <c:v>17745</c:v>
                </c:pt>
                <c:pt idx="475">
                  <c:v>17776</c:v>
                </c:pt>
                <c:pt idx="476">
                  <c:v>17806</c:v>
                </c:pt>
                <c:pt idx="477">
                  <c:v>17837</c:v>
                </c:pt>
                <c:pt idx="478">
                  <c:v>17867</c:v>
                </c:pt>
                <c:pt idx="479">
                  <c:v>17898</c:v>
                </c:pt>
                <c:pt idx="480">
                  <c:v>17929</c:v>
                </c:pt>
                <c:pt idx="481">
                  <c:v>17957</c:v>
                </c:pt>
                <c:pt idx="482">
                  <c:v>17988</c:v>
                </c:pt>
                <c:pt idx="483">
                  <c:v>18018</c:v>
                </c:pt>
                <c:pt idx="484">
                  <c:v>18049</c:v>
                </c:pt>
                <c:pt idx="485">
                  <c:v>18079</c:v>
                </c:pt>
                <c:pt idx="486">
                  <c:v>18110</c:v>
                </c:pt>
                <c:pt idx="487">
                  <c:v>18141</c:v>
                </c:pt>
                <c:pt idx="488">
                  <c:v>18171</c:v>
                </c:pt>
                <c:pt idx="489">
                  <c:v>18202</c:v>
                </c:pt>
                <c:pt idx="490">
                  <c:v>18232</c:v>
                </c:pt>
                <c:pt idx="491">
                  <c:v>18263</c:v>
                </c:pt>
                <c:pt idx="492">
                  <c:v>18294</c:v>
                </c:pt>
                <c:pt idx="493">
                  <c:v>18322</c:v>
                </c:pt>
                <c:pt idx="494">
                  <c:v>18353</c:v>
                </c:pt>
                <c:pt idx="495">
                  <c:v>18383</c:v>
                </c:pt>
                <c:pt idx="496">
                  <c:v>18414</c:v>
                </c:pt>
                <c:pt idx="497">
                  <c:v>18444</c:v>
                </c:pt>
                <c:pt idx="498">
                  <c:v>18475</c:v>
                </c:pt>
                <c:pt idx="499">
                  <c:v>18506</c:v>
                </c:pt>
                <c:pt idx="500">
                  <c:v>18536</c:v>
                </c:pt>
                <c:pt idx="501">
                  <c:v>18567</c:v>
                </c:pt>
                <c:pt idx="502">
                  <c:v>18597</c:v>
                </c:pt>
                <c:pt idx="503">
                  <c:v>18628</c:v>
                </c:pt>
                <c:pt idx="504">
                  <c:v>18659</c:v>
                </c:pt>
                <c:pt idx="505">
                  <c:v>18687</c:v>
                </c:pt>
                <c:pt idx="506">
                  <c:v>18718</c:v>
                </c:pt>
                <c:pt idx="507">
                  <c:v>18748</c:v>
                </c:pt>
                <c:pt idx="508">
                  <c:v>18779</c:v>
                </c:pt>
                <c:pt idx="509">
                  <c:v>18809</c:v>
                </c:pt>
                <c:pt idx="510">
                  <c:v>18840</c:v>
                </c:pt>
                <c:pt idx="511">
                  <c:v>18871</c:v>
                </c:pt>
                <c:pt idx="512">
                  <c:v>18901</c:v>
                </c:pt>
                <c:pt idx="513">
                  <c:v>18932</c:v>
                </c:pt>
                <c:pt idx="514">
                  <c:v>18962</c:v>
                </c:pt>
                <c:pt idx="515">
                  <c:v>18993</c:v>
                </c:pt>
                <c:pt idx="516">
                  <c:v>19024</c:v>
                </c:pt>
                <c:pt idx="517">
                  <c:v>19053</c:v>
                </c:pt>
                <c:pt idx="518">
                  <c:v>19084</c:v>
                </c:pt>
                <c:pt idx="519">
                  <c:v>19114</c:v>
                </c:pt>
                <c:pt idx="520">
                  <c:v>19145</c:v>
                </c:pt>
                <c:pt idx="521">
                  <c:v>19175</c:v>
                </c:pt>
                <c:pt idx="522">
                  <c:v>19206</c:v>
                </c:pt>
                <c:pt idx="523">
                  <c:v>19237</c:v>
                </c:pt>
                <c:pt idx="524">
                  <c:v>19267</c:v>
                </c:pt>
                <c:pt idx="525">
                  <c:v>19298</c:v>
                </c:pt>
                <c:pt idx="526">
                  <c:v>19328</c:v>
                </c:pt>
                <c:pt idx="527">
                  <c:v>19359</c:v>
                </c:pt>
                <c:pt idx="528">
                  <c:v>19390</c:v>
                </c:pt>
                <c:pt idx="529">
                  <c:v>19418</c:v>
                </c:pt>
                <c:pt idx="530">
                  <c:v>19449</c:v>
                </c:pt>
                <c:pt idx="531">
                  <c:v>19479</c:v>
                </c:pt>
                <c:pt idx="532">
                  <c:v>19510</c:v>
                </c:pt>
                <c:pt idx="533">
                  <c:v>19540</c:v>
                </c:pt>
                <c:pt idx="534">
                  <c:v>19571</c:v>
                </c:pt>
                <c:pt idx="535">
                  <c:v>19602</c:v>
                </c:pt>
                <c:pt idx="536">
                  <c:v>19632</c:v>
                </c:pt>
                <c:pt idx="537">
                  <c:v>19663</c:v>
                </c:pt>
                <c:pt idx="538">
                  <c:v>19693</c:v>
                </c:pt>
                <c:pt idx="539">
                  <c:v>19724</c:v>
                </c:pt>
                <c:pt idx="540">
                  <c:v>19755</c:v>
                </c:pt>
                <c:pt idx="541">
                  <c:v>19783</c:v>
                </c:pt>
                <c:pt idx="542">
                  <c:v>19814</c:v>
                </c:pt>
                <c:pt idx="543">
                  <c:v>19844</c:v>
                </c:pt>
                <c:pt idx="544">
                  <c:v>19875</c:v>
                </c:pt>
                <c:pt idx="545">
                  <c:v>19905</c:v>
                </c:pt>
                <c:pt idx="546">
                  <c:v>19936</c:v>
                </c:pt>
                <c:pt idx="547">
                  <c:v>19967</c:v>
                </c:pt>
                <c:pt idx="548">
                  <c:v>19997</c:v>
                </c:pt>
                <c:pt idx="549">
                  <c:v>20028</c:v>
                </c:pt>
                <c:pt idx="550">
                  <c:v>20058</c:v>
                </c:pt>
                <c:pt idx="551">
                  <c:v>20089</c:v>
                </c:pt>
                <c:pt idx="552">
                  <c:v>20120</c:v>
                </c:pt>
                <c:pt idx="553">
                  <c:v>20148</c:v>
                </c:pt>
                <c:pt idx="554">
                  <c:v>20179</c:v>
                </c:pt>
                <c:pt idx="555">
                  <c:v>20209</c:v>
                </c:pt>
                <c:pt idx="556">
                  <c:v>20240</c:v>
                </c:pt>
                <c:pt idx="557">
                  <c:v>20270</c:v>
                </c:pt>
                <c:pt idx="558">
                  <c:v>20301</c:v>
                </c:pt>
                <c:pt idx="559">
                  <c:v>20332</c:v>
                </c:pt>
                <c:pt idx="560">
                  <c:v>20362</c:v>
                </c:pt>
                <c:pt idx="561">
                  <c:v>20393</c:v>
                </c:pt>
                <c:pt idx="562">
                  <c:v>20423</c:v>
                </c:pt>
                <c:pt idx="563">
                  <c:v>20454</c:v>
                </c:pt>
                <c:pt idx="564">
                  <c:v>20485</c:v>
                </c:pt>
                <c:pt idx="565">
                  <c:v>20514</c:v>
                </c:pt>
                <c:pt idx="566">
                  <c:v>20545</c:v>
                </c:pt>
                <c:pt idx="567">
                  <c:v>20575</c:v>
                </c:pt>
                <c:pt idx="568">
                  <c:v>20606</c:v>
                </c:pt>
                <c:pt idx="569">
                  <c:v>20636</c:v>
                </c:pt>
                <c:pt idx="570">
                  <c:v>20667</c:v>
                </c:pt>
                <c:pt idx="571">
                  <c:v>20698</c:v>
                </c:pt>
                <c:pt idx="572">
                  <c:v>20728</c:v>
                </c:pt>
                <c:pt idx="573">
                  <c:v>20759</c:v>
                </c:pt>
                <c:pt idx="574">
                  <c:v>20789</c:v>
                </c:pt>
                <c:pt idx="575">
                  <c:v>20820</c:v>
                </c:pt>
                <c:pt idx="576">
                  <c:v>20851</c:v>
                </c:pt>
                <c:pt idx="577">
                  <c:v>20879</c:v>
                </c:pt>
                <c:pt idx="578">
                  <c:v>20910</c:v>
                </c:pt>
                <c:pt idx="579">
                  <c:v>20940</c:v>
                </c:pt>
                <c:pt idx="580">
                  <c:v>20971</c:v>
                </c:pt>
                <c:pt idx="581">
                  <c:v>21001</c:v>
                </c:pt>
                <c:pt idx="582">
                  <c:v>21032</c:v>
                </c:pt>
                <c:pt idx="583">
                  <c:v>21063</c:v>
                </c:pt>
                <c:pt idx="584">
                  <c:v>21093</c:v>
                </c:pt>
                <c:pt idx="585">
                  <c:v>21124</c:v>
                </c:pt>
                <c:pt idx="586">
                  <c:v>21154</c:v>
                </c:pt>
                <c:pt idx="587">
                  <c:v>21185</c:v>
                </c:pt>
                <c:pt idx="588">
                  <c:v>21216</c:v>
                </c:pt>
                <c:pt idx="589">
                  <c:v>21244</c:v>
                </c:pt>
                <c:pt idx="590">
                  <c:v>21275</c:v>
                </c:pt>
                <c:pt idx="591">
                  <c:v>21305</c:v>
                </c:pt>
                <c:pt idx="592">
                  <c:v>21336</c:v>
                </c:pt>
                <c:pt idx="593">
                  <c:v>21366</c:v>
                </c:pt>
                <c:pt idx="594">
                  <c:v>21397</c:v>
                </c:pt>
                <c:pt idx="595">
                  <c:v>21428</c:v>
                </c:pt>
                <c:pt idx="596">
                  <c:v>21458</c:v>
                </c:pt>
                <c:pt idx="597">
                  <c:v>21489</c:v>
                </c:pt>
                <c:pt idx="598">
                  <c:v>21519</c:v>
                </c:pt>
                <c:pt idx="599">
                  <c:v>21550</c:v>
                </c:pt>
                <c:pt idx="600">
                  <c:v>21581</c:v>
                </c:pt>
                <c:pt idx="601">
                  <c:v>21609</c:v>
                </c:pt>
                <c:pt idx="602">
                  <c:v>21640</c:v>
                </c:pt>
                <c:pt idx="603">
                  <c:v>21670</c:v>
                </c:pt>
                <c:pt idx="604">
                  <c:v>21701</c:v>
                </c:pt>
                <c:pt idx="605">
                  <c:v>21731</c:v>
                </c:pt>
                <c:pt idx="606">
                  <c:v>21762</c:v>
                </c:pt>
                <c:pt idx="607">
                  <c:v>21793</c:v>
                </c:pt>
                <c:pt idx="608">
                  <c:v>21823</c:v>
                </c:pt>
                <c:pt idx="609">
                  <c:v>21854</c:v>
                </c:pt>
                <c:pt idx="610">
                  <c:v>21884</c:v>
                </c:pt>
                <c:pt idx="611">
                  <c:v>21915</c:v>
                </c:pt>
                <c:pt idx="612">
                  <c:v>21946</c:v>
                </c:pt>
                <c:pt idx="613">
                  <c:v>21975</c:v>
                </c:pt>
                <c:pt idx="614">
                  <c:v>22006</c:v>
                </c:pt>
                <c:pt idx="615">
                  <c:v>22036</c:v>
                </c:pt>
                <c:pt idx="616">
                  <c:v>22067</c:v>
                </c:pt>
                <c:pt idx="617">
                  <c:v>22097</c:v>
                </c:pt>
                <c:pt idx="618">
                  <c:v>22128</c:v>
                </c:pt>
                <c:pt idx="619">
                  <c:v>22159</c:v>
                </c:pt>
                <c:pt idx="620">
                  <c:v>22189</c:v>
                </c:pt>
                <c:pt idx="621">
                  <c:v>22220</c:v>
                </c:pt>
                <c:pt idx="622">
                  <c:v>22250</c:v>
                </c:pt>
                <c:pt idx="623">
                  <c:v>22281</c:v>
                </c:pt>
                <c:pt idx="624">
                  <c:v>22312</c:v>
                </c:pt>
                <c:pt idx="625">
                  <c:v>22340</c:v>
                </c:pt>
                <c:pt idx="626">
                  <c:v>22371</c:v>
                </c:pt>
                <c:pt idx="627">
                  <c:v>22401</c:v>
                </c:pt>
                <c:pt idx="628">
                  <c:v>22432</c:v>
                </c:pt>
                <c:pt idx="629">
                  <c:v>22462</c:v>
                </c:pt>
                <c:pt idx="630">
                  <c:v>22493</c:v>
                </c:pt>
                <c:pt idx="631">
                  <c:v>22524</c:v>
                </c:pt>
                <c:pt idx="632">
                  <c:v>22554</c:v>
                </c:pt>
                <c:pt idx="633">
                  <c:v>22585</c:v>
                </c:pt>
                <c:pt idx="634">
                  <c:v>22615</c:v>
                </c:pt>
                <c:pt idx="635">
                  <c:v>22646</c:v>
                </c:pt>
                <c:pt idx="636">
                  <c:v>22677</c:v>
                </c:pt>
                <c:pt idx="637">
                  <c:v>22705</c:v>
                </c:pt>
                <c:pt idx="638">
                  <c:v>22736</c:v>
                </c:pt>
                <c:pt idx="639">
                  <c:v>22766</c:v>
                </c:pt>
                <c:pt idx="640">
                  <c:v>22797</c:v>
                </c:pt>
                <c:pt idx="641">
                  <c:v>22827</c:v>
                </c:pt>
                <c:pt idx="642">
                  <c:v>22858</c:v>
                </c:pt>
                <c:pt idx="643">
                  <c:v>22889</c:v>
                </c:pt>
                <c:pt idx="644">
                  <c:v>22919</c:v>
                </c:pt>
                <c:pt idx="645">
                  <c:v>22950</c:v>
                </c:pt>
                <c:pt idx="646">
                  <c:v>22980</c:v>
                </c:pt>
                <c:pt idx="647">
                  <c:v>23011</c:v>
                </c:pt>
                <c:pt idx="648">
                  <c:v>23042</c:v>
                </c:pt>
                <c:pt idx="649">
                  <c:v>23070</c:v>
                </c:pt>
                <c:pt idx="650">
                  <c:v>23101</c:v>
                </c:pt>
                <c:pt idx="651">
                  <c:v>23131</c:v>
                </c:pt>
                <c:pt idx="652">
                  <c:v>23162</c:v>
                </c:pt>
                <c:pt idx="653">
                  <c:v>23192</c:v>
                </c:pt>
                <c:pt idx="654">
                  <c:v>23223</c:v>
                </c:pt>
                <c:pt idx="655">
                  <c:v>23254</c:v>
                </c:pt>
                <c:pt idx="656">
                  <c:v>23284</c:v>
                </c:pt>
                <c:pt idx="657">
                  <c:v>23315</c:v>
                </c:pt>
                <c:pt idx="658">
                  <c:v>23345</c:v>
                </c:pt>
                <c:pt idx="659">
                  <c:v>23376</c:v>
                </c:pt>
                <c:pt idx="660">
                  <c:v>23407</c:v>
                </c:pt>
                <c:pt idx="661">
                  <c:v>23436</c:v>
                </c:pt>
                <c:pt idx="662">
                  <c:v>23467</c:v>
                </c:pt>
                <c:pt idx="663">
                  <c:v>23497</c:v>
                </c:pt>
                <c:pt idx="664">
                  <c:v>23528</c:v>
                </c:pt>
                <c:pt idx="665">
                  <c:v>23558</c:v>
                </c:pt>
                <c:pt idx="666">
                  <c:v>23589</c:v>
                </c:pt>
                <c:pt idx="667">
                  <c:v>23620</c:v>
                </c:pt>
                <c:pt idx="668">
                  <c:v>23650</c:v>
                </c:pt>
                <c:pt idx="669">
                  <c:v>23681</c:v>
                </c:pt>
                <c:pt idx="670">
                  <c:v>23711</c:v>
                </c:pt>
                <c:pt idx="671">
                  <c:v>23742</c:v>
                </c:pt>
                <c:pt idx="672">
                  <c:v>23773</c:v>
                </c:pt>
                <c:pt idx="673">
                  <c:v>23801</c:v>
                </c:pt>
                <c:pt idx="674">
                  <c:v>23832</c:v>
                </c:pt>
                <c:pt idx="675">
                  <c:v>23862</c:v>
                </c:pt>
                <c:pt idx="676">
                  <c:v>23893</c:v>
                </c:pt>
                <c:pt idx="677">
                  <c:v>23923</c:v>
                </c:pt>
                <c:pt idx="678">
                  <c:v>23954</c:v>
                </c:pt>
                <c:pt idx="679">
                  <c:v>23985</c:v>
                </c:pt>
                <c:pt idx="680">
                  <c:v>24015</c:v>
                </c:pt>
                <c:pt idx="681">
                  <c:v>24046</c:v>
                </c:pt>
                <c:pt idx="682">
                  <c:v>24076</c:v>
                </c:pt>
                <c:pt idx="683">
                  <c:v>24107</c:v>
                </c:pt>
                <c:pt idx="684">
                  <c:v>24138</c:v>
                </c:pt>
                <c:pt idx="685">
                  <c:v>24166</c:v>
                </c:pt>
                <c:pt idx="686">
                  <c:v>24197</c:v>
                </c:pt>
                <c:pt idx="687">
                  <c:v>24227</c:v>
                </c:pt>
                <c:pt idx="688">
                  <c:v>24258</c:v>
                </c:pt>
                <c:pt idx="689">
                  <c:v>24288</c:v>
                </c:pt>
                <c:pt idx="690">
                  <c:v>24319</c:v>
                </c:pt>
                <c:pt idx="691">
                  <c:v>24350</c:v>
                </c:pt>
                <c:pt idx="692">
                  <c:v>24380</c:v>
                </c:pt>
                <c:pt idx="693">
                  <c:v>24411</c:v>
                </c:pt>
                <c:pt idx="694">
                  <c:v>24441</c:v>
                </c:pt>
                <c:pt idx="695">
                  <c:v>24472</c:v>
                </c:pt>
                <c:pt idx="696">
                  <c:v>24503</c:v>
                </c:pt>
                <c:pt idx="697">
                  <c:v>24531</c:v>
                </c:pt>
                <c:pt idx="698">
                  <c:v>24562</c:v>
                </c:pt>
                <c:pt idx="699">
                  <c:v>24592</c:v>
                </c:pt>
                <c:pt idx="700">
                  <c:v>24623</c:v>
                </c:pt>
                <c:pt idx="701">
                  <c:v>24653</c:v>
                </c:pt>
                <c:pt idx="702">
                  <c:v>24684</c:v>
                </c:pt>
                <c:pt idx="703">
                  <c:v>24715</c:v>
                </c:pt>
                <c:pt idx="704">
                  <c:v>24745</c:v>
                </c:pt>
                <c:pt idx="705">
                  <c:v>24776</c:v>
                </c:pt>
                <c:pt idx="706">
                  <c:v>24806</c:v>
                </c:pt>
                <c:pt idx="707">
                  <c:v>24837</c:v>
                </c:pt>
                <c:pt idx="708">
                  <c:v>24868</c:v>
                </c:pt>
                <c:pt idx="709">
                  <c:v>24897</c:v>
                </c:pt>
                <c:pt idx="710">
                  <c:v>24928</c:v>
                </c:pt>
                <c:pt idx="711">
                  <c:v>24958</c:v>
                </c:pt>
                <c:pt idx="712">
                  <c:v>24989</c:v>
                </c:pt>
                <c:pt idx="713">
                  <c:v>25019</c:v>
                </c:pt>
                <c:pt idx="714">
                  <c:v>25050</c:v>
                </c:pt>
                <c:pt idx="715">
                  <c:v>25081</c:v>
                </c:pt>
                <c:pt idx="716">
                  <c:v>25111</c:v>
                </c:pt>
                <c:pt idx="717">
                  <c:v>25142</c:v>
                </c:pt>
                <c:pt idx="718">
                  <c:v>25172</c:v>
                </c:pt>
                <c:pt idx="719">
                  <c:v>25203</c:v>
                </c:pt>
                <c:pt idx="720">
                  <c:v>25234</c:v>
                </c:pt>
                <c:pt idx="721">
                  <c:v>25262</c:v>
                </c:pt>
                <c:pt idx="722">
                  <c:v>25293</c:v>
                </c:pt>
                <c:pt idx="723">
                  <c:v>25323</c:v>
                </c:pt>
                <c:pt idx="724">
                  <c:v>25354</c:v>
                </c:pt>
                <c:pt idx="725">
                  <c:v>25384</c:v>
                </c:pt>
                <c:pt idx="726">
                  <c:v>25415</c:v>
                </c:pt>
                <c:pt idx="727">
                  <c:v>25446</c:v>
                </c:pt>
                <c:pt idx="728">
                  <c:v>25476</c:v>
                </c:pt>
                <c:pt idx="729">
                  <c:v>25507</c:v>
                </c:pt>
                <c:pt idx="730">
                  <c:v>25537</c:v>
                </c:pt>
                <c:pt idx="731">
                  <c:v>25568</c:v>
                </c:pt>
                <c:pt idx="732">
                  <c:v>25599</c:v>
                </c:pt>
                <c:pt idx="733">
                  <c:v>25627</c:v>
                </c:pt>
                <c:pt idx="734">
                  <c:v>25658</c:v>
                </c:pt>
                <c:pt idx="735">
                  <c:v>25688</c:v>
                </c:pt>
                <c:pt idx="736">
                  <c:v>25719</c:v>
                </c:pt>
                <c:pt idx="737">
                  <c:v>25749</c:v>
                </c:pt>
                <c:pt idx="738">
                  <c:v>25780</c:v>
                </c:pt>
                <c:pt idx="739">
                  <c:v>25811</c:v>
                </c:pt>
                <c:pt idx="740">
                  <c:v>25841</c:v>
                </c:pt>
                <c:pt idx="741">
                  <c:v>25872</c:v>
                </c:pt>
                <c:pt idx="742">
                  <c:v>25902</c:v>
                </c:pt>
                <c:pt idx="743">
                  <c:v>25933</c:v>
                </c:pt>
                <c:pt idx="744">
                  <c:v>25964</c:v>
                </c:pt>
                <c:pt idx="745">
                  <c:v>25992</c:v>
                </c:pt>
                <c:pt idx="746">
                  <c:v>26023</c:v>
                </c:pt>
                <c:pt idx="747">
                  <c:v>26053</c:v>
                </c:pt>
                <c:pt idx="748">
                  <c:v>26084</c:v>
                </c:pt>
                <c:pt idx="749">
                  <c:v>26114</c:v>
                </c:pt>
                <c:pt idx="750">
                  <c:v>26145</c:v>
                </c:pt>
                <c:pt idx="751">
                  <c:v>26176</c:v>
                </c:pt>
                <c:pt idx="752">
                  <c:v>26206</c:v>
                </c:pt>
                <c:pt idx="753">
                  <c:v>26237</c:v>
                </c:pt>
                <c:pt idx="754">
                  <c:v>26267</c:v>
                </c:pt>
                <c:pt idx="755">
                  <c:v>26298</c:v>
                </c:pt>
                <c:pt idx="756">
                  <c:v>26329</c:v>
                </c:pt>
                <c:pt idx="757">
                  <c:v>26358</c:v>
                </c:pt>
                <c:pt idx="758">
                  <c:v>26389</c:v>
                </c:pt>
                <c:pt idx="759">
                  <c:v>26419</c:v>
                </c:pt>
                <c:pt idx="760">
                  <c:v>26450</c:v>
                </c:pt>
                <c:pt idx="761">
                  <c:v>26480</c:v>
                </c:pt>
                <c:pt idx="762">
                  <c:v>26511</c:v>
                </c:pt>
                <c:pt idx="763">
                  <c:v>26542</c:v>
                </c:pt>
                <c:pt idx="764">
                  <c:v>26572</c:v>
                </c:pt>
                <c:pt idx="765">
                  <c:v>26603</c:v>
                </c:pt>
                <c:pt idx="766">
                  <c:v>26633</c:v>
                </c:pt>
                <c:pt idx="767">
                  <c:v>26664</c:v>
                </c:pt>
                <c:pt idx="768">
                  <c:v>26695</c:v>
                </c:pt>
                <c:pt idx="769">
                  <c:v>26723</c:v>
                </c:pt>
                <c:pt idx="770">
                  <c:v>26754</c:v>
                </c:pt>
                <c:pt idx="771">
                  <c:v>26784</c:v>
                </c:pt>
                <c:pt idx="772">
                  <c:v>26815</c:v>
                </c:pt>
                <c:pt idx="773">
                  <c:v>26845</c:v>
                </c:pt>
                <c:pt idx="774">
                  <c:v>26876</c:v>
                </c:pt>
                <c:pt idx="775">
                  <c:v>26907</c:v>
                </c:pt>
                <c:pt idx="776">
                  <c:v>26937</c:v>
                </c:pt>
                <c:pt idx="777">
                  <c:v>26968</c:v>
                </c:pt>
                <c:pt idx="778">
                  <c:v>26998</c:v>
                </c:pt>
                <c:pt idx="779">
                  <c:v>27029</c:v>
                </c:pt>
                <c:pt idx="780">
                  <c:v>27060</c:v>
                </c:pt>
                <c:pt idx="781">
                  <c:v>27088</c:v>
                </c:pt>
                <c:pt idx="782">
                  <c:v>27119</c:v>
                </c:pt>
                <c:pt idx="783">
                  <c:v>27149</c:v>
                </c:pt>
                <c:pt idx="784">
                  <c:v>27180</c:v>
                </c:pt>
                <c:pt idx="785">
                  <c:v>27210</c:v>
                </c:pt>
                <c:pt idx="786">
                  <c:v>27241</c:v>
                </c:pt>
                <c:pt idx="787">
                  <c:v>27272</c:v>
                </c:pt>
                <c:pt idx="788">
                  <c:v>27302</c:v>
                </c:pt>
                <c:pt idx="789">
                  <c:v>27333</c:v>
                </c:pt>
                <c:pt idx="790">
                  <c:v>27363</c:v>
                </c:pt>
                <c:pt idx="791">
                  <c:v>27394</c:v>
                </c:pt>
                <c:pt idx="792">
                  <c:v>27425</c:v>
                </c:pt>
                <c:pt idx="793">
                  <c:v>27453</c:v>
                </c:pt>
                <c:pt idx="794">
                  <c:v>27484</c:v>
                </c:pt>
                <c:pt idx="795">
                  <c:v>27514</c:v>
                </c:pt>
                <c:pt idx="796">
                  <c:v>27545</c:v>
                </c:pt>
                <c:pt idx="797">
                  <c:v>27575</c:v>
                </c:pt>
                <c:pt idx="798">
                  <c:v>27606</c:v>
                </c:pt>
                <c:pt idx="799">
                  <c:v>27637</c:v>
                </c:pt>
                <c:pt idx="800">
                  <c:v>27667</c:v>
                </c:pt>
                <c:pt idx="801">
                  <c:v>27698</c:v>
                </c:pt>
                <c:pt idx="802">
                  <c:v>27728</c:v>
                </c:pt>
                <c:pt idx="803">
                  <c:v>27759</c:v>
                </c:pt>
                <c:pt idx="804">
                  <c:v>27790</c:v>
                </c:pt>
                <c:pt idx="805">
                  <c:v>27819</c:v>
                </c:pt>
                <c:pt idx="806">
                  <c:v>27850</c:v>
                </c:pt>
                <c:pt idx="807">
                  <c:v>27880</c:v>
                </c:pt>
                <c:pt idx="808">
                  <c:v>27911</c:v>
                </c:pt>
                <c:pt idx="809">
                  <c:v>27941</c:v>
                </c:pt>
                <c:pt idx="810">
                  <c:v>27972</c:v>
                </c:pt>
                <c:pt idx="811">
                  <c:v>28003</c:v>
                </c:pt>
                <c:pt idx="812">
                  <c:v>28033</c:v>
                </c:pt>
                <c:pt idx="813">
                  <c:v>28064</c:v>
                </c:pt>
                <c:pt idx="814">
                  <c:v>28094</c:v>
                </c:pt>
                <c:pt idx="815">
                  <c:v>28125</c:v>
                </c:pt>
                <c:pt idx="816">
                  <c:v>28156</c:v>
                </c:pt>
                <c:pt idx="817">
                  <c:v>28184</c:v>
                </c:pt>
                <c:pt idx="818">
                  <c:v>28215</c:v>
                </c:pt>
                <c:pt idx="819">
                  <c:v>28245</c:v>
                </c:pt>
                <c:pt idx="820">
                  <c:v>28276</c:v>
                </c:pt>
                <c:pt idx="821">
                  <c:v>28306</c:v>
                </c:pt>
                <c:pt idx="822">
                  <c:v>28337</c:v>
                </c:pt>
                <c:pt idx="823">
                  <c:v>28368</c:v>
                </c:pt>
                <c:pt idx="824">
                  <c:v>28398</c:v>
                </c:pt>
                <c:pt idx="825">
                  <c:v>28429</c:v>
                </c:pt>
                <c:pt idx="826">
                  <c:v>28459</c:v>
                </c:pt>
                <c:pt idx="827">
                  <c:v>28490</c:v>
                </c:pt>
                <c:pt idx="828">
                  <c:v>28521</c:v>
                </c:pt>
                <c:pt idx="829">
                  <c:v>28549</c:v>
                </c:pt>
                <c:pt idx="830">
                  <c:v>28580</c:v>
                </c:pt>
                <c:pt idx="831">
                  <c:v>28610</c:v>
                </c:pt>
                <c:pt idx="832">
                  <c:v>28641</c:v>
                </c:pt>
                <c:pt idx="833">
                  <c:v>28671</c:v>
                </c:pt>
                <c:pt idx="834">
                  <c:v>28702</c:v>
                </c:pt>
                <c:pt idx="835">
                  <c:v>28733</c:v>
                </c:pt>
                <c:pt idx="836">
                  <c:v>28763</c:v>
                </c:pt>
                <c:pt idx="837">
                  <c:v>28794</c:v>
                </c:pt>
                <c:pt idx="838">
                  <c:v>28824</c:v>
                </c:pt>
                <c:pt idx="839">
                  <c:v>28855</c:v>
                </c:pt>
                <c:pt idx="840">
                  <c:v>28886</c:v>
                </c:pt>
                <c:pt idx="841">
                  <c:v>28914</c:v>
                </c:pt>
                <c:pt idx="842">
                  <c:v>28945</c:v>
                </c:pt>
                <c:pt idx="843">
                  <c:v>28975</c:v>
                </c:pt>
                <c:pt idx="844">
                  <c:v>29006</c:v>
                </c:pt>
                <c:pt idx="845">
                  <c:v>29036</c:v>
                </c:pt>
                <c:pt idx="846">
                  <c:v>29067</c:v>
                </c:pt>
                <c:pt idx="847">
                  <c:v>29098</c:v>
                </c:pt>
                <c:pt idx="848">
                  <c:v>29128</c:v>
                </c:pt>
                <c:pt idx="849">
                  <c:v>29159</c:v>
                </c:pt>
                <c:pt idx="850">
                  <c:v>29189</c:v>
                </c:pt>
                <c:pt idx="851">
                  <c:v>29220</c:v>
                </c:pt>
                <c:pt idx="852">
                  <c:v>29251</c:v>
                </c:pt>
                <c:pt idx="853">
                  <c:v>29280</c:v>
                </c:pt>
                <c:pt idx="854">
                  <c:v>29311</c:v>
                </c:pt>
                <c:pt idx="855">
                  <c:v>29341</c:v>
                </c:pt>
                <c:pt idx="856">
                  <c:v>29372</c:v>
                </c:pt>
                <c:pt idx="857">
                  <c:v>29402</c:v>
                </c:pt>
                <c:pt idx="858">
                  <c:v>29433</c:v>
                </c:pt>
                <c:pt idx="859">
                  <c:v>29464</c:v>
                </c:pt>
                <c:pt idx="860">
                  <c:v>29494</c:v>
                </c:pt>
                <c:pt idx="861">
                  <c:v>29525</c:v>
                </c:pt>
                <c:pt idx="862">
                  <c:v>29555</c:v>
                </c:pt>
                <c:pt idx="863">
                  <c:v>29586</c:v>
                </c:pt>
                <c:pt idx="864">
                  <c:v>29617</c:v>
                </c:pt>
                <c:pt idx="865">
                  <c:v>29645</c:v>
                </c:pt>
                <c:pt idx="866">
                  <c:v>29676</c:v>
                </c:pt>
                <c:pt idx="867">
                  <c:v>29706</c:v>
                </c:pt>
                <c:pt idx="868">
                  <c:v>29737</c:v>
                </c:pt>
                <c:pt idx="869">
                  <c:v>29767</c:v>
                </c:pt>
                <c:pt idx="870">
                  <c:v>29798</c:v>
                </c:pt>
                <c:pt idx="871">
                  <c:v>29829</c:v>
                </c:pt>
                <c:pt idx="872">
                  <c:v>29859</c:v>
                </c:pt>
                <c:pt idx="873">
                  <c:v>29890</c:v>
                </c:pt>
                <c:pt idx="874">
                  <c:v>29920</c:v>
                </c:pt>
                <c:pt idx="875">
                  <c:v>29951</c:v>
                </c:pt>
                <c:pt idx="876">
                  <c:v>29982</c:v>
                </c:pt>
                <c:pt idx="877">
                  <c:v>30010</c:v>
                </c:pt>
                <c:pt idx="878">
                  <c:v>30041</c:v>
                </c:pt>
                <c:pt idx="879">
                  <c:v>30071</c:v>
                </c:pt>
                <c:pt idx="880">
                  <c:v>30102</c:v>
                </c:pt>
                <c:pt idx="881">
                  <c:v>30132</c:v>
                </c:pt>
                <c:pt idx="882">
                  <c:v>30163</c:v>
                </c:pt>
                <c:pt idx="883">
                  <c:v>30194</c:v>
                </c:pt>
                <c:pt idx="884">
                  <c:v>30224</c:v>
                </c:pt>
                <c:pt idx="885">
                  <c:v>30255</c:v>
                </c:pt>
                <c:pt idx="886">
                  <c:v>30285</c:v>
                </c:pt>
                <c:pt idx="887">
                  <c:v>30316</c:v>
                </c:pt>
                <c:pt idx="888">
                  <c:v>30347</c:v>
                </c:pt>
                <c:pt idx="889">
                  <c:v>30375</c:v>
                </c:pt>
                <c:pt idx="890">
                  <c:v>30406</c:v>
                </c:pt>
                <c:pt idx="891">
                  <c:v>30436</c:v>
                </c:pt>
                <c:pt idx="892">
                  <c:v>30467</c:v>
                </c:pt>
                <c:pt idx="893">
                  <c:v>30497</c:v>
                </c:pt>
                <c:pt idx="894">
                  <c:v>30528</c:v>
                </c:pt>
                <c:pt idx="895">
                  <c:v>30559</c:v>
                </c:pt>
                <c:pt idx="896">
                  <c:v>30589</c:v>
                </c:pt>
                <c:pt idx="897">
                  <c:v>30620</c:v>
                </c:pt>
                <c:pt idx="898">
                  <c:v>30650</c:v>
                </c:pt>
                <c:pt idx="899">
                  <c:v>30681</c:v>
                </c:pt>
                <c:pt idx="900">
                  <c:v>30712</c:v>
                </c:pt>
                <c:pt idx="901">
                  <c:v>30741</c:v>
                </c:pt>
                <c:pt idx="902">
                  <c:v>30772</c:v>
                </c:pt>
                <c:pt idx="903">
                  <c:v>30802</c:v>
                </c:pt>
                <c:pt idx="904">
                  <c:v>30833</c:v>
                </c:pt>
                <c:pt idx="905">
                  <c:v>30863</c:v>
                </c:pt>
                <c:pt idx="906">
                  <c:v>30894</c:v>
                </c:pt>
                <c:pt idx="907">
                  <c:v>30925</c:v>
                </c:pt>
                <c:pt idx="908">
                  <c:v>30955</c:v>
                </c:pt>
                <c:pt idx="909">
                  <c:v>30986</c:v>
                </c:pt>
                <c:pt idx="910">
                  <c:v>31016</c:v>
                </c:pt>
                <c:pt idx="911">
                  <c:v>31047</c:v>
                </c:pt>
                <c:pt idx="912">
                  <c:v>31078</c:v>
                </c:pt>
                <c:pt idx="913">
                  <c:v>31106</c:v>
                </c:pt>
                <c:pt idx="914">
                  <c:v>31137</c:v>
                </c:pt>
                <c:pt idx="915">
                  <c:v>31167</c:v>
                </c:pt>
                <c:pt idx="916">
                  <c:v>31198</c:v>
                </c:pt>
                <c:pt idx="917">
                  <c:v>31228</c:v>
                </c:pt>
                <c:pt idx="918">
                  <c:v>31259</c:v>
                </c:pt>
                <c:pt idx="919">
                  <c:v>31290</c:v>
                </c:pt>
                <c:pt idx="920">
                  <c:v>31320</c:v>
                </c:pt>
                <c:pt idx="921">
                  <c:v>31351</c:v>
                </c:pt>
                <c:pt idx="922">
                  <c:v>31381</c:v>
                </c:pt>
                <c:pt idx="923">
                  <c:v>31412</c:v>
                </c:pt>
                <c:pt idx="924">
                  <c:v>31443</c:v>
                </c:pt>
                <c:pt idx="925">
                  <c:v>31471</c:v>
                </c:pt>
                <c:pt idx="926">
                  <c:v>31502</c:v>
                </c:pt>
                <c:pt idx="927">
                  <c:v>31532</c:v>
                </c:pt>
                <c:pt idx="928">
                  <c:v>31563</c:v>
                </c:pt>
                <c:pt idx="929">
                  <c:v>31593</c:v>
                </c:pt>
                <c:pt idx="930">
                  <c:v>31624</c:v>
                </c:pt>
                <c:pt idx="931">
                  <c:v>31655</c:v>
                </c:pt>
                <c:pt idx="932">
                  <c:v>31685</c:v>
                </c:pt>
                <c:pt idx="933">
                  <c:v>31716</c:v>
                </c:pt>
                <c:pt idx="934">
                  <c:v>31746</c:v>
                </c:pt>
                <c:pt idx="935">
                  <c:v>31777</c:v>
                </c:pt>
                <c:pt idx="936">
                  <c:v>31808</c:v>
                </c:pt>
                <c:pt idx="937">
                  <c:v>31836</c:v>
                </c:pt>
                <c:pt idx="938">
                  <c:v>31867</c:v>
                </c:pt>
                <c:pt idx="939">
                  <c:v>31897</c:v>
                </c:pt>
                <c:pt idx="940">
                  <c:v>31928</c:v>
                </c:pt>
                <c:pt idx="941">
                  <c:v>31958</c:v>
                </c:pt>
                <c:pt idx="942">
                  <c:v>31989</c:v>
                </c:pt>
                <c:pt idx="943">
                  <c:v>32020</c:v>
                </c:pt>
                <c:pt idx="944">
                  <c:v>32050</c:v>
                </c:pt>
                <c:pt idx="945">
                  <c:v>32081</c:v>
                </c:pt>
                <c:pt idx="946">
                  <c:v>32111</c:v>
                </c:pt>
                <c:pt idx="947">
                  <c:v>32142</c:v>
                </c:pt>
                <c:pt idx="948">
                  <c:v>32173</c:v>
                </c:pt>
                <c:pt idx="949">
                  <c:v>32202</c:v>
                </c:pt>
                <c:pt idx="950">
                  <c:v>32233</c:v>
                </c:pt>
                <c:pt idx="951">
                  <c:v>32263</c:v>
                </c:pt>
                <c:pt idx="952">
                  <c:v>32294</c:v>
                </c:pt>
                <c:pt idx="953">
                  <c:v>32324</c:v>
                </c:pt>
                <c:pt idx="954">
                  <c:v>32355</c:v>
                </c:pt>
                <c:pt idx="955">
                  <c:v>32386</c:v>
                </c:pt>
                <c:pt idx="956">
                  <c:v>32416</c:v>
                </c:pt>
                <c:pt idx="957">
                  <c:v>32447</c:v>
                </c:pt>
                <c:pt idx="958">
                  <c:v>32477</c:v>
                </c:pt>
                <c:pt idx="959">
                  <c:v>32508</c:v>
                </c:pt>
                <c:pt idx="960">
                  <c:v>32539</c:v>
                </c:pt>
                <c:pt idx="961">
                  <c:v>32567</c:v>
                </c:pt>
                <c:pt idx="962">
                  <c:v>32598</c:v>
                </c:pt>
                <c:pt idx="963">
                  <c:v>32628</c:v>
                </c:pt>
                <c:pt idx="964">
                  <c:v>32659</c:v>
                </c:pt>
                <c:pt idx="965">
                  <c:v>32689</c:v>
                </c:pt>
                <c:pt idx="966">
                  <c:v>32720</c:v>
                </c:pt>
                <c:pt idx="967">
                  <c:v>32751</c:v>
                </c:pt>
                <c:pt idx="968">
                  <c:v>32781</c:v>
                </c:pt>
                <c:pt idx="969">
                  <c:v>32812</c:v>
                </c:pt>
                <c:pt idx="970">
                  <c:v>32842</c:v>
                </c:pt>
                <c:pt idx="971">
                  <c:v>32873</c:v>
                </c:pt>
                <c:pt idx="972">
                  <c:v>32904</c:v>
                </c:pt>
                <c:pt idx="973">
                  <c:v>32932</c:v>
                </c:pt>
                <c:pt idx="974">
                  <c:v>32963</c:v>
                </c:pt>
                <c:pt idx="975">
                  <c:v>32993</c:v>
                </c:pt>
                <c:pt idx="976">
                  <c:v>33024</c:v>
                </c:pt>
                <c:pt idx="977">
                  <c:v>33054</c:v>
                </c:pt>
                <c:pt idx="978">
                  <c:v>33085</c:v>
                </c:pt>
                <c:pt idx="979">
                  <c:v>33116</c:v>
                </c:pt>
                <c:pt idx="980">
                  <c:v>33146</c:v>
                </c:pt>
                <c:pt idx="981">
                  <c:v>33177</c:v>
                </c:pt>
                <c:pt idx="982">
                  <c:v>33207</c:v>
                </c:pt>
                <c:pt idx="983">
                  <c:v>33238</c:v>
                </c:pt>
                <c:pt idx="984">
                  <c:v>33269</c:v>
                </c:pt>
                <c:pt idx="985">
                  <c:v>33297</c:v>
                </c:pt>
                <c:pt idx="986">
                  <c:v>33328</c:v>
                </c:pt>
                <c:pt idx="987">
                  <c:v>33358</c:v>
                </c:pt>
                <c:pt idx="988">
                  <c:v>33389</c:v>
                </c:pt>
                <c:pt idx="989">
                  <c:v>33419</c:v>
                </c:pt>
                <c:pt idx="990">
                  <c:v>33450</c:v>
                </c:pt>
                <c:pt idx="991">
                  <c:v>33481</c:v>
                </c:pt>
                <c:pt idx="992">
                  <c:v>33511</c:v>
                </c:pt>
                <c:pt idx="993">
                  <c:v>33542</c:v>
                </c:pt>
                <c:pt idx="994">
                  <c:v>33572</c:v>
                </c:pt>
                <c:pt idx="995">
                  <c:v>33603</c:v>
                </c:pt>
                <c:pt idx="996">
                  <c:v>33634</c:v>
                </c:pt>
                <c:pt idx="997">
                  <c:v>33663</c:v>
                </c:pt>
                <c:pt idx="998">
                  <c:v>33694</c:v>
                </c:pt>
                <c:pt idx="999">
                  <c:v>33724</c:v>
                </c:pt>
                <c:pt idx="1000">
                  <c:v>33755</c:v>
                </c:pt>
                <c:pt idx="1001">
                  <c:v>33785</c:v>
                </c:pt>
                <c:pt idx="1002">
                  <c:v>33816</c:v>
                </c:pt>
                <c:pt idx="1003">
                  <c:v>33847</c:v>
                </c:pt>
                <c:pt idx="1004">
                  <c:v>33877</c:v>
                </c:pt>
                <c:pt idx="1005">
                  <c:v>33908</c:v>
                </c:pt>
                <c:pt idx="1006">
                  <c:v>33938</c:v>
                </c:pt>
                <c:pt idx="1007">
                  <c:v>33969</c:v>
                </c:pt>
                <c:pt idx="1008">
                  <c:v>34000</c:v>
                </c:pt>
                <c:pt idx="1009">
                  <c:v>34028</c:v>
                </c:pt>
                <c:pt idx="1010">
                  <c:v>34059</c:v>
                </c:pt>
                <c:pt idx="1011">
                  <c:v>34089</c:v>
                </c:pt>
                <c:pt idx="1012">
                  <c:v>34120</c:v>
                </c:pt>
                <c:pt idx="1013">
                  <c:v>34150</c:v>
                </c:pt>
                <c:pt idx="1014">
                  <c:v>34181</c:v>
                </c:pt>
                <c:pt idx="1015">
                  <c:v>34212</c:v>
                </c:pt>
                <c:pt idx="1016">
                  <c:v>34242</c:v>
                </c:pt>
                <c:pt idx="1017">
                  <c:v>34273</c:v>
                </c:pt>
                <c:pt idx="1018">
                  <c:v>34303</c:v>
                </c:pt>
                <c:pt idx="1019">
                  <c:v>34334</c:v>
                </c:pt>
                <c:pt idx="1020">
                  <c:v>34365</c:v>
                </c:pt>
                <c:pt idx="1021">
                  <c:v>34393</c:v>
                </c:pt>
                <c:pt idx="1022">
                  <c:v>34424</c:v>
                </c:pt>
                <c:pt idx="1023">
                  <c:v>34454</c:v>
                </c:pt>
                <c:pt idx="1024">
                  <c:v>34485</c:v>
                </c:pt>
                <c:pt idx="1025">
                  <c:v>34515</c:v>
                </c:pt>
                <c:pt idx="1026">
                  <c:v>34546</c:v>
                </c:pt>
                <c:pt idx="1027">
                  <c:v>34577</c:v>
                </c:pt>
                <c:pt idx="1028">
                  <c:v>34607</c:v>
                </c:pt>
                <c:pt idx="1029">
                  <c:v>34638</c:v>
                </c:pt>
                <c:pt idx="1030">
                  <c:v>34668</c:v>
                </c:pt>
                <c:pt idx="1031">
                  <c:v>34699</c:v>
                </c:pt>
                <c:pt idx="1032">
                  <c:v>34730</c:v>
                </c:pt>
                <c:pt idx="1033">
                  <c:v>34758</c:v>
                </c:pt>
                <c:pt idx="1034">
                  <c:v>34789</c:v>
                </c:pt>
                <c:pt idx="1035">
                  <c:v>34819</c:v>
                </c:pt>
                <c:pt idx="1036">
                  <c:v>34850</c:v>
                </c:pt>
                <c:pt idx="1037">
                  <c:v>34880</c:v>
                </c:pt>
                <c:pt idx="1038">
                  <c:v>34911</c:v>
                </c:pt>
                <c:pt idx="1039">
                  <c:v>34942</c:v>
                </c:pt>
                <c:pt idx="1040">
                  <c:v>34972</c:v>
                </c:pt>
                <c:pt idx="1041">
                  <c:v>35003</c:v>
                </c:pt>
                <c:pt idx="1042">
                  <c:v>35033</c:v>
                </c:pt>
                <c:pt idx="1043">
                  <c:v>35064</c:v>
                </c:pt>
                <c:pt idx="1044">
                  <c:v>35095</c:v>
                </c:pt>
                <c:pt idx="1045">
                  <c:v>35124</c:v>
                </c:pt>
                <c:pt idx="1046">
                  <c:v>35155</c:v>
                </c:pt>
                <c:pt idx="1047">
                  <c:v>35185</c:v>
                </c:pt>
                <c:pt idx="1048">
                  <c:v>35216</c:v>
                </c:pt>
                <c:pt idx="1049">
                  <c:v>35246</c:v>
                </c:pt>
                <c:pt idx="1050">
                  <c:v>35277</c:v>
                </c:pt>
                <c:pt idx="1051">
                  <c:v>35308</c:v>
                </c:pt>
                <c:pt idx="1052">
                  <c:v>35338</c:v>
                </c:pt>
                <c:pt idx="1053">
                  <c:v>35369</c:v>
                </c:pt>
                <c:pt idx="1054">
                  <c:v>35399</c:v>
                </c:pt>
                <c:pt idx="1055">
                  <c:v>35430</c:v>
                </c:pt>
                <c:pt idx="1056">
                  <c:v>35461</c:v>
                </c:pt>
                <c:pt idx="1057">
                  <c:v>35489</c:v>
                </c:pt>
                <c:pt idx="1058">
                  <c:v>35520</c:v>
                </c:pt>
                <c:pt idx="1059">
                  <c:v>35550</c:v>
                </c:pt>
                <c:pt idx="1060">
                  <c:v>35581</c:v>
                </c:pt>
                <c:pt idx="1061">
                  <c:v>35611</c:v>
                </c:pt>
                <c:pt idx="1062">
                  <c:v>35642</c:v>
                </c:pt>
                <c:pt idx="1063">
                  <c:v>35673</c:v>
                </c:pt>
                <c:pt idx="1064">
                  <c:v>35703</c:v>
                </c:pt>
                <c:pt idx="1065">
                  <c:v>35734</c:v>
                </c:pt>
                <c:pt idx="1066">
                  <c:v>35764</c:v>
                </c:pt>
                <c:pt idx="1067">
                  <c:v>35795</c:v>
                </c:pt>
                <c:pt idx="1068">
                  <c:v>35826</c:v>
                </c:pt>
                <c:pt idx="1069">
                  <c:v>35854</c:v>
                </c:pt>
                <c:pt idx="1070">
                  <c:v>35885</c:v>
                </c:pt>
                <c:pt idx="1071">
                  <c:v>35915</c:v>
                </c:pt>
                <c:pt idx="1072">
                  <c:v>35946</c:v>
                </c:pt>
                <c:pt idx="1073">
                  <c:v>35976</c:v>
                </c:pt>
                <c:pt idx="1074">
                  <c:v>36007</c:v>
                </c:pt>
                <c:pt idx="1075">
                  <c:v>36038</c:v>
                </c:pt>
                <c:pt idx="1076">
                  <c:v>36068</c:v>
                </c:pt>
                <c:pt idx="1077">
                  <c:v>36099</c:v>
                </c:pt>
                <c:pt idx="1078">
                  <c:v>36129</c:v>
                </c:pt>
                <c:pt idx="1079">
                  <c:v>36160</c:v>
                </c:pt>
                <c:pt idx="1080">
                  <c:v>36191</c:v>
                </c:pt>
                <c:pt idx="1081">
                  <c:v>36219</c:v>
                </c:pt>
                <c:pt idx="1082">
                  <c:v>36250</c:v>
                </c:pt>
                <c:pt idx="1083">
                  <c:v>36280</c:v>
                </c:pt>
                <c:pt idx="1084">
                  <c:v>36311</c:v>
                </c:pt>
                <c:pt idx="1085">
                  <c:v>36341</c:v>
                </c:pt>
                <c:pt idx="1086">
                  <c:v>36372</c:v>
                </c:pt>
                <c:pt idx="1087">
                  <c:v>36403</c:v>
                </c:pt>
                <c:pt idx="1088">
                  <c:v>36433</c:v>
                </c:pt>
                <c:pt idx="1089">
                  <c:v>36464</c:v>
                </c:pt>
                <c:pt idx="1090">
                  <c:v>36494</c:v>
                </c:pt>
                <c:pt idx="1091">
                  <c:v>36525</c:v>
                </c:pt>
                <c:pt idx="1092">
                  <c:v>36556</c:v>
                </c:pt>
                <c:pt idx="1093">
                  <c:v>36585</c:v>
                </c:pt>
                <c:pt idx="1094">
                  <c:v>36616</c:v>
                </c:pt>
                <c:pt idx="1095">
                  <c:v>36646</c:v>
                </c:pt>
                <c:pt idx="1096">
                  <c:v>36677</c:v>
                </c:pt>
                <c:pt idx="1097">
                  <c:v>36707</c:v>
                </c:pt>
                <c:pt idx="1098">
                  <c:v>36738</c:v>
                </c:pt>
                <c:pt idx="1099">
                  <c:v>36769</c:v>
                </c:pt>
                <c:pt idx="1100">
                  <c:v>36799</c:v>
                </c:pt>
                <c:pt idx="1101">
                  <c:v>36830</c:v>
                </c:pt>
                <c:pt idx="1102">
                  <c:v>36860</c:v>
                </c:pt>
                <c:pt idx="1103">
                  <c:v>36891</c:v>
                </c:pt>
                <c:pt idx="1104">
                  <c:v>36922</c:v>
                </c:pt>
                <c:pt idx="1105">
                  <c:v>36950</c:v>
                </c:pt>
                <c:pt idx="1106">
                  <c:v>36981</c:v>
                </c:pt>
                <c:pt idx="1107">
                  <c:v>37011</c:v>
                </c:pt>
                <c:pt idx="1108">
                  <c:v>37042</c:v>
                </c:pt>
                <c:pt idx="1109">
                  <c:v>37072</c:v>
                </c:pt>
                <c:pt idx="1110">
                  <c:v>37103</c:v>
                </c:pt>
                <c:pt idx="1111">
                  <c:v>37134</c:v>
                </c:pt>
                <c:pt idx="1112">
                  <c:v>37164</c:v>
                </c:pt>
                <c:pt idx="1113">
                  <c:v>37195</c:v>
                </c:pt>
                <c:pt idx="1114">
                  <c:v>37225</c:v>
                </c:pt>
                <c:pt idx="1115">
                  <c:v>37256</c:v>
                </c:pt>
                <c:pt idx="1116">
                  <c:v>37287</c:v>
                </c:pt>
                <c:pt idx="1117">
                  <c:v>37315</c:v>
                </c:pt>
                <c:pt idx="1118">
                  <c:v>37346</c:v>
                </c:pt>
                <c:pt idx="1119">
                  <c:v>37376</c:v>
                </c:pt>
                <c:pt idx="1120">
                  <c:v>37407</c:v>
                </c:pt>
                <c:pt idx="1121">
                  <c:v>37437</c:v>
                </c:pt>
                <c:pt idx="1122">
                  <c:v>37468</c:v>
                </c:pt>
                <c:pt idx="1123">
                  <c:v>37499</c:v>
                </c:pt>
                <c:pt idx="1124">
                  <c:v>37529</c:v>
                </c:pt>
                <c:pt idx="1125">
                  <c:v>37560</c:v>
                </c:pt>
                <c:pt idx="1126">
                  <c:v>37590</c:v>
                </c:pt>
                <c:pt idx="1127">
                  <c:v>37621</c:v>
                </c:pt>
                <c:pt idx="1128">
                  <c:v>37652</c:v>
                </c:pt>
                <c:pt idx="1129">
                  <c:v>37680</c:v>
                </c:pt>
                <c:pt idx="1130">
                  <c:v>37711</c:v>
                </c:pt>
                <c:pt idx="1131">
                  <c:v>37741</c:v>
                </c:pt>
                <c:pt idx="1132">
                  <c:v>37772</c:v>
                </c:pt>
                <c:pt idx="1133">
                  <c:v>37802</c:v>
                </c:pt>
                <c:pt idx="1134">
                  <c:v>37833</c:v>
                </c:pt>
                <c:pt idx="1135">
                  <c:v>37864</c:v>
                </c:pt>
                <c:pt idx="1136">
                  <c:v>37894</c:v>
                </c:pt>
                <c:pt idx="1137">
                  <c:v>37925</c:v>
                </c:pt>
                <c:pt idx="1138">
                  <c:v>37955</c:v>
                </c:pt>
                <c:pt idx="1139">
                  <c:v>37986</c:v>
                </c:pt>
                <c:pt idx="1140">
                  <c:v>38017</c:v>
                </c:pt>
                <c:pt idx="1141">
                  <c:v>38046</c:v>
                </c:pt>
                <c:pt idx="1142">
                  <c:v>38077</c:v>
                </c:pt>
                <c:pt idx="1143">
                  <c:v>38107</c:v>
                </c:pt>
                <c:pt idx="1144">
                  <c:v>38138</c:v>
                </c:pt>
                <c:pt idx="1145">
                  <c:v>38168</c:v>
                </c:pt>
                <c:pt idx="1146">
                  <c:v>38199</c:v>
                </c:pt>
                <c:pt idx="1147">
                  <c:v>38230</c:v>
                </c:pt>
                <c:pt idx="1148">
                  <c:v>38260</c:v>
                </c:pt>
                <c:pt idx="1149">
                  <c:v>38291</c:v>
                </c:pt>
                <c:pt idx="1150">
                  <c:v>38321</c:v>
                </c:pt>
                <c:pt idx="1151">
                  <c:v>38352</c:v>
                </c:pt>
                <c:pt idx="1152">
                  <c:v>38383</c:v>
                </c:pt>
                <c:pt idx="1153">
                  <c:v>38411</c:v>
                </c:pt>
                <c:pt idx="1154">
                  <c:v>38442</c:v>
                </c:pt>
                <c:pt idx="1155">
                  <c:v>38472</c:v>
                </c:pt>
                <c:pt idx="1156">
                  <c:v>38503</c:v>
                </c:pt>
                <c:pt idx="1157">
                  <c:v>38533</c:v>
                </c:pt>
                <c:pt idx="1158">
                  <c:v>38564</c:v>
                </c:pt>
                <c:pt idx="1159">
                  <c:v>38595</c:v>
                </c:pt>
                <c:pt idx="1160">
                  <c:v>38625</c:v>
                </c:pt>
                <c:pt idx="1161">
                  <c:v>38656</c:v>
                </c:pt>
                <c:pt idx="1162">
                  <c:v>38686</c:v>
                </c:pt>
                <c:pt idx="1163">
                  <c:v>38717</c:v>
                </c:pt>
                <c:pt idx="1164">
                  <c:v>38748</c:v>
                </c:pt>
                <c:pt idx="1165">
                  <c:v>38776</c:v>
                </c:pt>
                <c:pt idx="1166">
                  <c:v>38807</c:v>
                </c:pt>
                <c:pt idx="1167">
                  <c:v>38837</c:v>
                </c:pt>
                <c:pt idx="1168">
                  <c:v>38868</c:v>
                </c:pt>
                <c:pt idx="1169">
                  <c:v>38898</c:v>
                </c:pt>
                <c:pt idx="1170">
                  <c:v>38929</c:v>
                </c:pt>
                <c:pt idx="1171">
                  <c:v>38960</c:v>
                </c:pt>
                <c:pt idx="1172">
                  <c:v>38990</c:v>
                </c:pt>
                <c:pt idx="1173">
                  <c:v>39021</c:v>
                </c:pt>
                <c:pt idx="1174">
                  <c:v>39051</c:v>
                </c:pt>
                <c:pt idx="1175">
                  <c:v>39082</c:v>
                </c:pt>
                <c:pt idx="1176">
                  <c:v>39113</c:v>
                </c:pt>
                <c:pt idx="1177">
                  <c:v>39141</c:v>
                </c:pt>
                <c:pt idx="1178">
                  <c:v>39172</c:v>
                </c:pt>
                <c:pt idx="1179">
                  <c:v>39202</c:v>
                </c:pt>
                <c:pt idx="1180">
                  <c:v>39233</c:v>
                </c:pt>
                <c:pt idx="1181">
                  <c:v>39263</c:v>
                </c:pt>
                <c:pt idx="1182">
                  <c:v>39294</c:v>
                </c:pt>
                <c:pt idx="1183">
                  <c:v>39325</c:v>
                </c:pt>
                <c:pt idx="1184">
                  <c:v>39355</c:v>
                </c:pt>
                <c:pt idx="1185">
                  <c:v>39386</c:v>
                </c:pt>
                <c:pt idx="1186">
                  <c:v>39416</c:v>
                </c:pt>
                <c:pt idx="1187">
                  <c:v>39447</c:v>
                </c:pt>
                <c:pt idx="1188">
                  <c:v>39478</c:v>
                </c:pt>
                <c:pt idx="1189">
                  <c:v>39507</c:v>
                </c:pt>
                <c:pt idx="1190">
                  <c:v>39538</c:v>
                </c:pt>
                <c:pt idx="1191">
                  <c:v>39568</c:v>
                </c:pt>
                <c:pt idx="1192">
                  <c:v>39599</c:v>
                </c:pt>
                <c:pt idx="1193">
                  <c:v>39629</c:v>
                </c:pt>
                <c:pt idx="1194">
                  <c:v>39660</c:v>
                </c:pt>
                <c:pt idx="1195">
                  <c:v>39691</c:v>
                </c:pt>
                <c:pt idx="1196">
                  <c:v>39721</c:v>
                </c:pt>
                <c:pt idx="1197">
                  <c:v>39752</c:v>
                </c:pt>
                <c:pt idx="1198">
                  <c:v>39782</c:v>
                </c:pt>
                <c:pt idx="1199">
                  <c:v>39813</c:v>
                </c:pt>
                <c:pt idx="1200">
                  <c:v>39844</c:v>
                </c:pt>
                <c:pt idx="1201">
                  <c:v>39872</c:v>
                </c:pt>
                <c:pt idx="1202">
                  <c:v>39903</c:v>
                </c:pt>
                <c:pt idx="1203">
                  <c:v>39933</c:v>
                </c:pt>
                <c:pt idx="1204">
                  <c:v>39964</c:v>
                </c:pt>
                <c:pt idx="1205">
                  <c:v>39994</c:v>
                </c:pt>
                <c:pt idx="1206">
                  <c:v>40025</c:v>
                </c:pt>
                <c:pt idx="1207">
                  <c:v>40056</c:v>
                </c:pt>
                <c:pt idx="1208">
                  <c:v>40086</c:v>
                </c:pt>
                <c:pt idx="1209">
                  <c:v>40117</c:v>
                </c:pt>
                <c:pt idx="1210">
                  <c:v>40147</c:v>
                </c:pt>
                <c:pt idx="1211">
                  <c:v>40178</c:v>
                </c:pt>
                <c:pt idx="1212">
                  <c:v>40209</c:v>
                </c:pt>
                <c:pt idx="1213">
                  <c:v>40237</c:v>
                </c:pt>
                <c:pt idx="1214">
                  <c:v>40268</c:v>
                </c:pt>
                <c:pt idx="1215">
                  <c:v>40298</c:v>
                </c:pt>
                <c:pt idx="1216">
                  <c:v>40329</c:v>
                </c:pt>
                <c:pt idx="1217">
                  <c:v>40359</c:v>
                </c:pt>
                <c:pt idx="1218">
                  <c:v>40390</c:v>
                </c:pt>
                <c:pt idx="1219">
                  <c:v>40421</c:v>
                </c:pt>
                <c:pt idx="1220">
                  <c:v>40451</c:v>
                </c:pt>
                <c:pt idx="1221">
                  <c:v>40482</c:v>
                </c:pt>
                <c:pt idx="1222">
                  <c:v>40512</c:v>
                </c:pt>
                <c:pt idx="1223">
                  <c:v>40543</c:v>
                </c:pt>
                <c:pt idx="1224">
                  <c:v>40574</c:v>
                </c:pt>
                <c:pt idx="1225">
                  <c:v>40602</c:v>
                </c:pt>
                <c:pt idx="1226">
                  <c:v>40633</c:v>
                </c:pt>
                <c:pt idx="1227">
                  <c:v>40663</c:v>
                </c:pt>
                <c:pt idx="1228">
                  <c:v>40694</c:v>
                </c:pt>
                <c:pt idx="1229">
                  <c:v>40724</c:v>
                </c:pt>
                <c:pt idx="1230">
                  <c:v>40755</c:v>
                </c:pt>
                <c:pt idx="1231">
                  <c:v>40786</c:v>
                </c:pt>
                <c:pt idx="1232">
                  <c:v>40816</c:v>
                </c:pt>
                <c:pt idx="1233">
                  <c:v>40847</c:v>
                </c:pt>
                <c:pt idx="1234">
                  <c:v>40877</c:v>
                </c:pt>
                <c:pt idx="1235">
                  <c:v>40908</c:v>
                </c:pt>
                <c:pt idx="1236">
                  <c:v>40939</c:v>
                </c:pt>
                <c:pt idx="1237">
                  <c:v>40968</c:v>
                </c:pt>
                <c:pt idx="1238">
                  <c:v>40999</c:v>
                </c:pt>
                <c:pt idx="1239">
                  <c:v>41029</c:v>
                </c:pt>
                <c:pt idx="1240">
                  <c:v>41060</c:v>
                </c:pt>
                <c:pt idx="1241">
                  <c:v>41090</c:v>
                </c:pt>
                <c:pt idx="1242">
                  <c:v>41121</c:v>
                </c:pt>
                <c:pt idx="1243">
                  <c:v>41152</c:v>
                </c:pt>
                <c:pt idx="1244">
                  <c:v>41182</c:v>
                </c:pt>
                <c:pt idx="1245">
                  <c:v>41213</c:v>
                </c:pt>
                <c:pt idx="1246">
                  <c:v>41243</c:v>
                </c:pt>
                <c:pt idx="1247">
                  <c:v>41274</c:v>
                </c:pt>
                <c:pt idx="1248">
                  <c:v>41305</c:v>
                </c:pt>
                <c:pt idx="1249">
                  <c:v>41333</c:v>
                </c:pt>
                <c:pt idx="1250">
                  <c:v>41364</c:v>
                </c:pt>
                <c:pt idx="1251">
                  <c:v>41394</c:v>
                </c:pt>
                <c:pt idx="1252">
                  <c:v>41425</c:v>
                </c:pt>
                <c:pt idx="1253">
                  <c:v>41455</c:v>
                </c:pt>
                <c:pt idx="1254">
                  <c:v>41486</c:v>
                </c:pt>
                <c:pt idx="1255">
                  <c:v>41517</c:v>
                </c:pt>
                <c:pt idx="1256">
                  <c:v>41547</c:v>
                </c:pt>
                <c:pt idx="1257">
                  <c:v>41578</c:v>
                </c:pt>
                <c:pt idx="1258">
                  <c:v>41608</c:v>
                </c:pt>
                <c:pt idx="1259">
                  <c:v>41639</c:v>
                </c:pt>
                <c:pt idx="1260">
                  <c:v>41670</c:v>
                </c:pt>
                <c:pt idx="1261">
                  <c:v>41698</c:v>
                </c:pt>
                <c:pt idx="1262">
                  <c:v>41729</c:v>
                </c:pt>
                <c:pt idx="1263">
                  <c:v>41759</c:v>
                </c:pt>
                <c:pt idx="1264">
                  <c:v>41790</c:v>
                </c:pt>
                <c:pt idx="1265">
                  <c:v>41820</c:v>
                </c:pt>
                <c:pt idx="1266">
                  <c:v>41851</c:v>
                </c:pt>
                <c:pt idx="1267">
                  <c:v>41882</c:v>
                </c:pt>
                <c:pt idx="1268">
                  <c:v>41912</c:v>
                </c:pt>
                <c:pt idx="1269">
                  <c:v>41943</c:v>
                </c:pt>
                <c:pt idx="1270">
                  <c:v>41973</c:v>
                </c:pt>
                <c:pt idx="1271">
                  <c:v>42004</c:v>
                </c:pt>
                <c:pt idx="1272">
                  <c:v>42035</c:v>
                </c:pt>
                <c:pt idx="1273">
                  <c:v>42063</c:v>
                </c:pt>
                <c:pt idx="1274">
                  <c:v>42094</c:v>
                </c:pt>
                <c:pt idx="1275">
                  <c:v>42124</c:v>
                </c:pt>
                <c:pt idx="1276">
                  <c:v>42155</c:v>
                </c:pt>
                <c:pt idx="1277">
                  <c:v>42185</c:v>
                </c:pt>
                <c:pt idx="1278">
                  <c:v>42216</c:v>
                </c:pt>
                <c:pt idx="1279">
                  <c:v>42247</c:v>
                </c:pt>
                <c:pt idx="1280">
                  <c:v>42277</c:v>
                </c:pt>
                <c:pt idx="1281">
                  <c:v>42308</c:v>
                </c:pt>
                <c:pt idx="1282">
                  <c:v>42338</c:v>
                </c:pt>
                <c:pt idx="1283">
                  <c:v>42369</c:v>
                </c:pt>
                <c:pt idx="1284">
                  <c:v>42400</c:v>
                </c:pt>
                <c:pt idx="1285">
                  <c:v>42429</c:v>
                </c:pt>
                <c:pt idx="1286">
                  <c:v>42460</c:v>
                </c:pt>
                <c:pt idx="1287">
                  <c:v>42490</c:v>
                </c:pt>
                <c:pt idx="1288">
                  <c:v>42521</c:v>
                </c:pt>
                <c:pt idx="1289">
                  <c:v>42551</c:v>
                </c:pt>
                <c:pt idx="1290">
                  <c:v>42582</c:v>
                </c:pt>
                <c:pt idx="1291">
                  <c:v>42613</c:v>
                </c:pt>
                <c:pt idx="1292">
                  <c:v>42643</c:v>
                </c:pt>
                <c:pt idx="1293">
                  <c:v>42674</c:v>
                </c:pt>
                <c:pt idx="1294">
                  <c:v>42704</c:v>
                </c:pt>
                <c:pt idx="1295">
                  <c:v>42735</c:v>
                </c:pt>
                <c:pt idx="1296">
                  <c:v>42766</c:v>
                </c:pt>
                <c:pt idx="1297">
                  <c:v>42794</c:v>
                </c:pt>
                <c:pt idx="1298">
                  <c:v>42825</c:v>
                </c:pt>
                <c:pt idx="1299">
                  <c:v>42855</c:v>
                </c:pt>
                <c:pt idx="1300">
                  <c:v>42886</c:v>
                </c:pt>
                <c:pt idx="1301">
                  <c:v>42916</c:v>
                </c:pt>
                <c:pt idx="1302">
                  <c:v>42947</c:v>
                </c:pt>
                <c:pt idx="1303">
                  <c:v>42978</c:v>
                </c:pt>
                <c:pt idx="1304">
                  <c:v>43008</c:v>
                </c:pt>
                <c:pt idx="1305">
                  <c:v>43039</c:v>
                </c:pt>
                <c:pt idx="1306">
                  <c:v>43069</c:v>
                </c:pt>
                <c:pt idx="1307">
                  <c:v>43100</c:v>
                </c:pt>
                <c:pt idx="1308">
                  <c:v>43131</c:v>
                </c:pt>
                <c:pt idx="1309">
                  <c:v>43159</c:v>
                </c:pt>
                <c:pt idx="1310">
                  <c:v>43190</c:v>
                </c:pt>
                <c:pt idx="1311">
                  <c:v>43220</c:v>
                </c:pt>
                <c:pt idx="1312">
                  <c:v>43251</c:v>
                </c:pt>
                <c:pt idx="1313">
                  <c:v>43281</c:v>
                </c:pt>
                <c:pt idx="1314">
                  <c:v>43312</c:v>
                </c:pt>
                <c:pt idx="1315">
                  <c:v>43343</c:v>
                </c:pt>
                <c:pt idx="1316">
                  <c:v>43373</c:v>
                </c:pt>
                <c:pt idx="1317">
                  <c:v>43404</c:v>
                </c:pt>
                <c:pt idx="1318">
                  <c:v>43434</c:v>
                </c:pt>
                <c:pt idx="1319">
                  <c:v>43465</c:v>
                </c:pt>
                <c:pt idx="1320">
                  <c:v>43496</c:v>
                </c:pt>
                <c:pt idx="1321">
                  <c:v>43524</c:v>
                </c:pt>
                <c:pt idx="1322">
                  <c:v>43555</c:v>
                </c:pt>
                <c:pt idx="1323">
                  <c:v>43585</c:v>
                </c:pt>
                <c:pt idx="1324">
                  <c:v>43616</c:v>
                </c:pt>
                <c:pt idx="1325">
                  <c:v>43646</c:v>
                </c:pt>
                <c:pt idx="1326">
                  <c:v>43677</c:v>
                </c:pt>
                <c:pt idx="1327">
                  <c:v>43708</c:v>
                </c:pt>
                <c:pt idx="1328">
                  <c:v>43738</c:v>
                </c:pt>
                <c:pt idx="1329">
                  <c:v>43769</c:v>
                </c:pt>
                <c:pt idx="1330">
                  <c:v>43799</c:v>
                </c:pt>
                <c:pt idx="1331">
                  <c:v>43830</c:v>
                </c:pt>
                <c:pt idx="1332">
                  <c:v>43861</c:v>
                </c:pt>
                <c:pt idx="1333">
                  <c:v>43890</c:v>
                </c:pt>
                <c:pt idx="1334">
                  <c:v>43921</c:v>
                </c:pt>
                <c:pt idx="1335">
                  <c:v>43951</c:v>
                </c:pt>
                <c:pt idx="1336">
                  <c:v>43982</c:v>
                </c:pt>
                <c:pt idx="1337">
                  <c:v>44012</c:v>
                </c:pt>
                <c:pt idx="1338">
                  <c:v>44043</c:v>
                </c:pt>
                <c:pt idx="1339">
                  <c:v>44074</c:v>
                </c:pt>
                <c:pt idx="1340">
                  <c:v>44104</c:v>
                </c:pt>
                <c:pt idx="1341">
                  <c:v>44135</c:v>
                </c:pt>
                <c:pt idx="1342">
                  <c:v>44165</c:v>
                </c:pt>
                <c:pt idx="1343">
                  <c:v>44196</c:v>
                </c:pt>
                <c:pt idx="1344">
                  <c:v>44227</c:v>
                </c:pt>
                <c:pt idx="1345">
                  <c:v>44255</c:v>
                </c:pt>
                <c:pt idx="1346">
                  <c:v>44286</c:v>
                </c:pt>
                <c:pt idx="1347">
                  <c:v>44316</c:v>
                </c:pt>
                <c:pt idx="1348">
                  <c:v>44347</c:v>
                </c:pt>
                <c:pt idx="1349">
                  <c:v>44377</c:v>
                </c:pt>
                <c:pt idx="1350">
                  <c:v>44408</c:v>
                </c:pt>
                <c:pt idx="1351">
                  <c:v>44439</c:v>
                </c:pt>
                <c:pt idx="1352">
                  <c:v>44469</c:v>
                </c:pt>
                <c:pt idx="1353">
                  <c:v>44500</c:v>
                </c:pt>
                <c:pt idx="1354">
                  <c:v>44530</c:v>
                </c:pt>
                <c:pt idx="1355">
                  <c:v>44561</c:v>
                </c:pt>
                <c:pt idx="1356">
                  <c:v>44592</c:v>
                </c:pt>
                <c:pt idx="1357">
                  <c:v>44620</c:v>
                </c:pt>
                <c:pt idx="1358">
                  <c:v>44651</c:v>
                </c:pt>
                <c:pt idx="1359">
                  <c:v>44681</c:v>
                </c:pt>
                <c:pt idx="1360">
                  <c:v>44712</c:v>
                </c:pt>
                <c:pt idx="1361">
                  <c:v>44742</c:v>
                </c:pt>
                <c:pt idx="1362">
                  <c:v>44773</c:v>
                </c:pt>
                <c:pt idx="1363">
                  <c:v>44804</c:v>
                </c:pt>
                <c:pt idx="1364">
                  <c:v>44834</c:v>
                </c:pt>
                <c:pt idx="1365">
                  <c:v>44865</c:v>
                </c:pt>
                <c:pt idx="1366">
                  <c:v>44895</c:v>
                </c:pt>
                <c:pt idx="1367">
                  <c:v>44926</c:v>
                </c:pt>
                <c:pt idx="1368">
                  <c:v>44957</c:v>
                </c:pt>
                <c:pt idx="1369">
                  <c:v>44985</c:v>
                </c:pt>
                <c:pt idx="1370">
                  <c:v>45016</c:v>
                </c:pt>
                <c:pt idx="1371">
                  <c:v>45046</c:v>
                </c:pt>
                <c:pt idx="1372">
                  <c:v>45077</c:v>
                </c:pt>
                <c:pt idx="1373">
                  <c:v>45107</c:v>
                </c:pt>
                <c:pt idx="1374">
                  <c:v>45138</c:v>
                </c:pt>
                <c:pt idx="1375">
                  <c:v>45169</c:v>
                </c:pt>
                <c:pt idx="1376">
                  <c:v>45199</c:v>
                </c:pt>
                <c:pt idx="1377">
                  <c:v>45230</c:v>
                </c:pt>
                <c:pt idx="1378">
                  <c:v>45260</c:v>
                </c:pt>
                <c:pt idx="1379">
                  <c:v>45291</c:v>
                </c:pt>
                <c:pt idx="1380">
                  <c:v>45322</c:v>
                </c:pt>
                <c:pt idx="1381">
                  <c:v>45351</c:v>
                </c:pt>
                <c:pt idx="1382">
                  <c:v>45382</c:v>
                </c:pt>
                <c:pt idx="1383">
                  <c:v>45412</c:v>
                </c:pt>
                <c:pt idx="1384">
                  <c:v>45443</c:v>
                </c:pt>
                <c:pt idx="1385">
                  <c:v>45473</c:v>
                </c:pt>
              </c:numCache>
            </c:numRef>
          </c:cat>
          <c:val>
            <c:numRef>
              <c:f>Sheet1!$T$4:$T$1389</c:f>
              <c:numCache>
                <c:formatCode>General</c:formatCode>
                <c:ptCount val="1386"/>
                <c:pt idx="0">
                  <c:v>-0.51919387343650736</c:v>
                </c:pt>
                <c:pt idx="1">
                  <c:v>-0.49429632181478012</c:v>
                </c:pt>
                <c:pt idx="2">
                  <c:v>-0.47000362924573558</c:v>
                </c:pt>
                <c:pt idx="3">
                  <c:v>-0.44628710262841947</c:v>
                </c:pt>
                <c:pt idx="4">
                  <c:v>-0.42312004334688508</c:v>
                </c:pt>
                <c:pt idx="5">
                  <c:v>-0.40047756659712525</c:v>
                </c:pt>
                <c:pt idx="6">
                  <c:v>-0.37833644071991168</c:v>
                </c:pt>
                <c:pt idx="7">
                  <c:v>-0.35667494393873245</c:v>
                </c:pt>
                <c:pt idx="8">
                  <c:v>-0.33547273628812946</c:v>
                </c:pt>
                <c:pt idx="9">
                  <c:v>-0.31471074483970024</c:v>
                </c:pt>
                <c:pt idx="10">
                  <c:v>-0.29437106060257756</c:v>
                </c:pt>
                <c:pt idx="11">
                  <c:v>-0.2744368457017603</c:v>
                </c:pt>
                <c:pt idx="12">
                  <c:v>-0.27773174159861291</c:v>
                </c:pt>
                <c:pt idx="13">
                  <c:v>-0.28103752973311236</c:v>
                </c:pt>
                <c:pt idx="14">
                  <c:v>-0.28435428235910631</c:v>
                </c:pt>
                <c:pt idx="15">
                  <c:v>-0.2876820724517809</c:v>
                </c:pt>
                <c:pt idx="16">
                  <c:v>-0.29102097371729546</c:v>
                </c:pt>
                <c:pt idx="17">
                  <c:v>-0.29437106060257756</c:v>
                </c:pt>
                <c:pt idx="18">
                  <c:v>-0.2977324083052823</c:v>
                </c:pt>
                <c:pt idx="19">
                  <c:v>-0.30110509278392161</c:v>
                </c:pt>
                <c:pt idx="20">
                  <c:v>-0.30448919076816211</c:v>
                </c:pt>
                <c:pt idx="21">
                  <c:v>-0.3078847797693004</c:v>
                </c:pt>
                <c:pt idx="22">
                  <c:v>-0.3112919380909146</c:v>
                </c:pt>
                <c:pt idx="23">
                  <c:v>-0.31471074483970024</c:v>
                </c:pt>
                <c:pt idx="24">
                  <c:v>-0.33086796990138106</c:v>
                </c:pt>
                <c:pt idx="25">
                  <c:v>-0.34714903128532842</c:v>
                </c:pt>
                <c:pt idx="26">
                  <c:v>-0.36384343341734499</c:v>
                </c:pt>
                <c:pt idx="27">
                  <c:v>-0.38082127719540443</c:v>
                </c:pt>
                <c:pt idx="28">
                  <c:v>-0.39794346670931829</c:v>
                </c:pt>
                <c:pt idx="29">
                  <c:v>-0.41551544396166579</c:v>
                </c:pt>
                <c:pt idx="30">
                  <c:v>-0.4334017268011871</c:v>
                </c:pt>
                <c:pt idx="31">
                  <c:v>-0.45145669195915733</c:v>
                </c:pt>
                <c:pt idx="32">
                  <c:v>-0.47000362924573558</c:v>
                </c:pt>
                <c:pt idx="33">
                  <c:v>-0.48890106635019909</c:v>
                </c:pt>
                <c:pt idx="34">
                  <c:v>-0.50799629675583091</c:v>
                </c:pt>
                <c:pt idx="35">
                  <c:v>-0.52763274208237199</c:v>
                </c:pt>
                <c:pt idx="36">
                  <c:v>-0.5121598467791274</c:v>
                </c:pt>
                <c:pt idx="37">
                  <c:v>-0.49708709765547748</c:v>
                </c:pt>
                <c:pt idx="38">
                  <c:v>-0.48207621048000471</c:v>
                </c:pt>
                <c:pt idx="39">
                  <c:v>-0.46728732175150722</c:v>
                </c:pt>
                <c:pt idx="40">
                  <c:v>-0.45287123050543465</c:v>
                </c:pt>
                <c:pt idx="41">
                  <c:v>-0.43850496218636453</c:v>
                </c:pt>
                <c:pt idx="42">
                  <c:v>-0.42434216387785351</c:v>
                </c:pt>
                <c:pt idx="43">
                  <c:v>-0.41052790245062676</c:v>
                </c:pt>
                <c:pt idx="44">
                  <c:v>-0.39675316750614292</c:v>
                </c:pt>
                <c:pt idx="45">
                  <c:v>-0.38316560061339749</c:v>
                </c:pt>
                <c:pt idx="46">
                  <c:v>-0.36990493270961355</c:v>
                </c:pt>
                <c:pt idx="47">
                  <c:v>-0.35667494393873245</c:v>
                </c:pt>
                <c:pt idx="48">
                  <c:v>-0.3649951755544511</c:v>
                </c:pt>
                <c:pt idx="49">
                  <c:v>-0.37353048957781854</c:v>
                </c:pt>
                <c:pt idx="50">
                  <c:v>-0.38199275192302223</c:v>
                </c:pt>
                <c:pt idx="51">
                  <c:v>-0.39052723574395726</c:v>
                </c:pt>
                <c:pt idx="52">
                  <c:v>-0.39928424903308335</c:v>
                </c:pt>
                <c:pt idx="53">
                  <c:v>-0.40796823832628287</c:v>
                </c:pt>
                <c:pt idx="54">
                  <c:v>-0.41672830038687508</c:v>
                </c:pt>
                <c:pt idx="55">
                  <c:v>-0.4257188371354324</c:v>
                </c:pt>
                <c:pt idx="56">
                  <c:v>-0.4346364854084443</c:v>
                </c:pt>
                <c:pt idx="57">
                  <c:v>-0.44363437422566732</c:v>
                </c:pt>
                <c:pt idx="58">
                  <c:v>-0.45287123050543465</c:v>
                </c:pt>
                <c:pt idx="59">
                  <c:v>-0.46203545959655867</c:v>
                </c:pt>
                <c:pt idx="60">
                  <c:v>-0.47674631011312801</c:v>
                </c:pt>
                <c:pt idx="61">
                  <c:v>-0.49151331273361781</c:v>
                </c:pt>
                <c:pt idx="62">
                  <c:v>-0.50666761361732693</c:v>
                </c:pt>
                <c:pt idx="63">
                  <c:v>-0.52205510571753944</c:v>
                </c:pt>
                <c:pt idx="64">
                  <c:v>-0.53751188902849634</c:v>
                </c:pt>
                <c:pt idx="65">
                  <c:v>-0.55338523818478669</c:v>
                </c:pt>
                <c:pt idx="66">
                  <c:v>-0.56951462011467024</c:v>
                </c:pt>
                <c:pt idx="67">
                  <c:v>-0.58572878379267501</c:v>
                </c:pt>
                <c:pt idx="68">
                  <c:v>-0.6023928172914812</c:v>
                </c:pt>
                <c:pt idx="69">
                  <c:v>-0.61933925341522544</c:v>
                </c:pt>
                <c:pt idx="70">
                  <c:v>-0.63638884674133644</c:v>
                </c:pt>
                <c:pt idx="71">
                  <c:v>-0.65392646740666394</c:v>
                </c:pt>
                <c:pt idx="72">
                  <c:v>-0.59783700075562041</c:v>
                </c:pt>
                <c:pt idx="73">
                  <c:v>-0.54472717544167215</c:v>
                </c:pt>
                <c:pt idx="74">
                  <c:v>-0.49429632181478012</c:v>
                </c:pt>
                <c:pt idx="75">
                  <c:v>-0.44628710262841947</c:v>
                </c:pt>
                <c:pt idx="76">
                  <c:v>-0.40047756659712525</c:v>
                </c:pt>
                <c:pt idx="77">
                  <c:v>-0.35667494393873245</c:v>
                </c:pt>
                <c:pt idx="78">
                  <c:v>-0.31471074483970024</c:v>
                </c:pt>
                <c:pt idx="79">
                  <c:v>-0.2744368457017603</c:v>
                </c:pt>
                <c:pt idx="80">
                  <c:v>-0.23572233352106983</c:v>
                </c:pt>
                <c:pt idx="81">
                  <c:v>-0.19845093872383832</c:v>
                </c:pt>
                <c:pt idx="82">
                  <c:v>-0.16251892949777494</c:v>
                </c:pt>
                <c:pt idx="83">
                  <c:v>-0.12783337150988489</c:v>
                </c:pt>
                <c:pt idx="84">
                  <c:v>-6.8064730914129373E-2</c:v>
                </c:pt>
                <c:pt idx="85">
                  <c:v>-1.1768983599998889E-2</c:v>
                </c:pt>
                <c:pt idx="86">
                  <c:v>4.1141943331175213E-2</c:v>
                </c:pt>
                <c:pt idx="87">
                  <c:v>9.2579181293093171E-2</c:v>
                </c:pt>
                <c:pt idx="88">
                  <c:v>0.14063112973974562</c:v>
                </c:pt>
                <c:pt idx="89">
                  <c:v>0.18647956694261839</c:v>
                </c:pt>
                <c:pt idx="90">
                  <c:v>0.23031775506221003</c:v>
                </c:pt>
                <c:pt idx="91">
                  <c:v>0.2723145953206591</c:v>
                </c:pt>
                <c:pt idx="92">
                  <c:v>0.31334981920035881</c:v>
                </c:pt>
                <c:pt idx="93">
                  <c:v>0.35206433138104909</c:v>
                </c:pt>
                <c:pt idx="94">
                  <c:v>0.38933572617828072</c:v>
                </c:pt>
                <c:pt idx="95">
                  <c:v>0.42526773540434409</c:v>
                </c:pt>
                <c:pt idx="96">
                  <c:v>0.41144717978571177</c:v>
                </c:pt>
                <c:pt idx="97">
                  <c:v>0.39743293641090011</c:v>
                </c:pt>
                <c:pt idx="98">
                  <c:v>0.3839009301923238</c:v>
                </c:pt>
                <c:pt idx="99">
                  <c:v>0.36949244764934686</c:v>
                </c:pt>
                <c:pt idx="100">
                  <c:v>0.35487332199210414</c:v>
                </c:pt>
                <c:pt idx="101">
                  <c:v>0.34003730278570909</c:v>
                </c:pt>
                <c:pt idx="102">
                  <c:v>0.32497785719547773</c:v>
                </c:pt>
                <c:pt idx="103">
                  <c:v>0.30968815271439554</c:v>
                </c:pt>
                <c:pt idx="104">
                  <c:v>0.29490591754110052</c:v>
                </c:pt>
                <c:pt idx="105">
                  <c:v>0.27914574142949461</c:v>
                </c:pt>
                <c:pt idx="106">
                  <c:v>0.26313319953036818</c:v>
                </c:pt>
                <c:pt idx="107">
                  <c:v>0.24686007793152581</c:v>
                </c:pt>
                <c:pt idx="108">
                  <c:v>0.22793206804600694</c:v>
                </c:pt>
                <c:pt idx="109">
                  <c:v>0.20863886511132801</c:v>
                </c:pt>
                <c:pt idx="110">
                  <c:v>0.18896609951262316</c:v>
                </c:pt>
                <c:pt idx="111">
                  <c:v>0.16805358499624976</c:v>
                </c:pt>
                <c:pt idx="112">
                  <c:v>0.14755756435761469</c:v>
                </c:pt>
                <c:pt idx="113">
                  <c:v>0.12663265093336601</c:v>
                </c:pt>
                <c:pt idx="114">
                  <c:v>0.10526051065749294</c:v>
                </c:pt>
                <c:pt idx="115">
                  <c:v>8.3421608139072359E-2</c:v>
                </c:pt>
                <c:pt idx="116">
                  <c:v>6.1095099359810827E-2</c:v>
                </c:pt>
                <c:pt idx="117">
                  <c:v>3.7295784743696929E-2</c:v>
                </c:pt>
                <c:pt idx="118">
                  <c:v>1.3902905168991434E-2</c:v>
                </c:pt>
                <c:pt idx="119">
                  <c:v>-1.0050335853501451E-2</c:v>
                </c:pt>
                <c:pt idx="120">
                  <c:v>-1.5113637810048184E-2</c:v>
                </c:pt>
                <c:pt idx="121">
                  <c:v>-2.0202707317519466E-2</c:v>
                </c:pt>
                <c:pt idx="122">
                  <c:v>-2.5317807984289897E-2</c:v>
                </c:pt>
                <c:pt idx="123">
                  <c:v>-3.0459207484708574E-2</c:v>
                </c:pt>
                <c:pt idx="124">
                  <c:v>-3.562717764315116E-2</c:v>
                </c:pt>
                <c:pt idx="125">
                  <c:v>-4.0821994520255166E-2</c:v>
                </c:pt>
                <c:pt idx="126">
                  <c:v>-4.6043938501406846E-2</c:v>
                </c:pt>
                <c:pt idx="127">
                  <c:v>-5.1293294387550578E-2</c:v>
                </c:pt>
                <c:pt idx="128">
                  <c:v>-5.6570351488394351E-2</c:v>
                </c:pt>
                <c:pt idx="129">
                  <c:v>-6.1875403718087529E-2</c:v>
                </c:pt>
                <c:pt idx="130">
                  <c:v>-6.720874969344999E-2</c:v>
                </c:pt>
                <c:pt idx="131">
                  <c:v>-7.2570692834835374E-2</c:v>
                </c:pt>
                <c:pt idx="132">
                  <c:v>-8.425155244759111E-2</c:v>
                </c:pt>
                <c:pt idx="133">
                  <c:v>-9.6180558473969183E-2</c:v>
                </c:pt>
                <c:pt idx="134">
                  <c:v>-0.10814215861970315</c:v>
                </c:pt>
                <c:pt idx="135">
                  <c:v>-0.12024857259617568</c:v>
                </c:pt>
                <c:pt idx="136">
                  <c:v>-0.13261752461483906</c:v>
                </c:pt>
                <c:pt idx="137">
                  <c:v>-0.14502577205025774</c:v>
                </c:pt>
                <c:pt idx="138">
                  <c:v>-0.15758992057477098</c:v>
                </c:pt>
                <c:pt idx="139">
                  <c:v>-0.17043251240154111</c:v>
                </c:pt>
                <c:pt idx="140">
                  <c:v>-0.18332205712753813</c:v>
                </c:pt>
                <c:pt idx="141">
                  <c:v>-0.19637991404499491</c:v>
                </c:pt>
                <c:pt idx="142">
                  <c:v>-0.20973386440429212</c:v>
                </c:pt>
                <c:pt idx="143">
                  <c:v>-0.22314355131420971</c:v>
                </c:pt>
                <c:pt idx="144">
                  <c:v>-0.27773174159861291</c:v>
                </c:pt>
                <c:pt idx="145">
                  <c:v>-0.33547273628812946</c:v>
                </c:pt>
                <c:pt idx="146">
                  <c:v>-0.39675316750614292</c:v>
                </c:pt>
                <c:pt idx="147">
                  <c:v>-0.46203545959655867</c:v>
                </c:pt>
                <c:pt idx="148">
                  <c:v>-0.531879032963823</c:v>
                </c:pt>
                <c:pt idx="149">
                  <c:v>-0.60696948431889286</c:v>
                </c:pt>
                <c:pt idx="150">
                  <c:v>-0.68815963904890631</c:v>
                </c:pt>
                <c:pt idx="151">
                  <c:v>-0.77652878949899629</c:v>
                </c:pt>
                <c:pt idx="152">
                  <c:v>-0.87347073469122694</c:v>
                </c:pt>
                <c:pt idx="153">
                  <c:v>-0.98082925301172619</c:v>
                </c:pt>
                <c:pt idx="154">
                  <c:v>-1.1011154188862282</c:v>
                </c:pt>
                <c:pt idx="155">
                  <c:v>-1.2378743560016174</c:v>
                </c:pt>
                <c:pt idx="156">
                  <c:v>-1.1291745942507496</c:v>
                </c:pt>
                <c:pt idx="157">
                  <c:v>-1.0308601866172911</c:v>
                </c:pt>
                <c:pt idx="158">
                  <c:v>-0.94160853985844495</c:v>
                </c:pt>
                <c:pt idx="159">
                  <c:v>-0.85967413145525906</c:v>
                </c:pt>
                <c:pt idx="160">
                  <c:v>-0.78372855879118375</c:v>
                </c:pt>
                <c:pt idx="161">
                  <c:v>-0.71334988787746478</c:v>
                </c:pt>
                <c:pt idx="162">
                  <c:v>-0.64760036560397494</c:v>
                </c:pt>
                <c:pt idx="163">
                  <c:v>-0.58572878379267501</c:v>
                </c:pt>
                <c:pt idx="164">
                  <c:v>-0.52763274208237199</c:v>
                </c:pt>
                <c:pt idx="165">
                  <c:v>-0.47272733516733217</c:v>
                </c:pt>
                <c:pt idx="166">
                  <c:v>-0.42052798578521017</c:v>
                </c:pt>
                <c:pt idx="167">
                  <c:v>-0.37106368139083207</c:v>
                </c:pt>
                <c:pt idx="168">
                  <c:v>-0.33659224382178904</c:v>
                </c:pt>
                <c:pt idx="169">
                  <c:v>-0.30340503291701726</c:v>
                </c:pt>
                <c:pt idx="170">
                  <c:v>-0.27115277050057041</c:v>
                </c:pt>
                <c:pt idx="171">
                  <c:v>-0.2399082976469403</c:v>
                </c:pt>
                <c:pt idx="172">
                  <c:v>-0.20973386440429212</c:v>
                </c:pt>
                <c:pt idx="173">
                  <c:v>-0.18032355413128162</c:v>
                </c:pt>
                <c:pt idx="174">
                  <c:v>-0.15175355522753686</c:v>
                </c:pt>
                <c:pt idx="175">
                  <c:v>-0.12409038523105055</c:v>
                </c:pt>
                <c:pt idx="176">
                  <c:v>-9.706171284313124E-2</c:v>
                </c:pt>
                <c:pt idx="177">
                  <c:v>-7.0744404525757823E-2</c:v>
                </c:pt>
                <c:pt idx="178">
                  <c:v>-4.5206592838079228E-2</c:v>
                </c:pt>
                <c:pt idx="179">
                  <c:v>-2.0202707317519466E-2</c:v>
                </c:pt>
                <c:pt idx="180">
                  <c:v>-2.4497631600400235E-2</c:v>
                </c:pt>
                <c:pt idx="181">
                  <c:v>-2.8708164136743739E-2</c:v>
                </c:pt>
                <c:pt idx="182">
                  <c:v>-3.3039854078200155E-2</c:v>
                </c:pt>
                <c:pt idx="183">
                  <c:v>-3.7390389218559063E-2</c:v>
                </c:pt>
                <c:pt idx="184">
                  <c:v>-4.1655675268832508E-2</c:v>
                </c:pt>
                <c:pt idx="185">
                  <c:v>-4.6043938501406846E-2</c:v>
                </c:pt>
                <c:pt idx="186">
                  <c:v>-5.045154349609822E-2</c:v>
                </c:pt>
                <c:pt idx="187">
                  <c:v>-5.4773025847291532E-2</c:v>
                </c:pt>
                <c:pt idx="188">
                  <c:v>-5.9219359659971216E-2</c:v>
                </c:pt>
                <c:pt idx="189">
                  <c:v>-6.3685551686133046E-2</c:v>
                </c:pt>
                <c:pt idx="190">
                  <c:v>-6.8064730914129373E-2</c:v>
                </c:pt>
                <c:pt idx="191">
                  <c:v>-7.2570692834835374E-2</c:v>
                </c:pt>
                <c:pt idx="192">
                  <c:v>-4.4265416298015434E-2</c:v>
                </c:pt>
                <c:pt idx="193">
                  <c:v>-1.6841017196026556E-2</c:v>
                </c:pt>
                <c:pt idx="194">
                  <c:v>9.950330853168092E-3</c:v>
                </c:pt>
                <c:pt idx="195">
                  <c:v>3.6331929247390204E-2</c:v>
                </c:pt>
                <c:pt idx="196">
                  <c:v>6.1095099359810827E-2</c:v>
                </c:pt>
                <c:pt idx="197">
                  <c:v>8.6177696241052412E-2</c:v>
                </c:pt>
                <c:pt idx="198">
                  <c:v>0.11064652008706365</c:v>
                </c:pt>
                <c:pt idx="199">
                  <c:v>0.13365638481267361</c:v>
                </c:pt>
                <c:pt idx="200">
                  <c:v>0.15700374880966469</c:v>
                </c:pt>
                <c:pt idx="201">
                  <c:v>0.17981842657583616</c:v>
                </c:pt>
                <c:pt idx="202">
                  <c:v>0.20130685670503537</c:v>
                </c:pt>
                <c:pt idx="203">
                  <c:v>0.22314355131420976</c:v>
                </c:pt>
                <c:pt idx="204">
                  <c:v>0.22234323114344071</c:v>
                </c:pt>
                <c:pt idx="205">
                  <c:v>0.22154226994723591</c:v>
                </c:pt>
                <c:pt idx="206">
                  <c:v>0.22154226994723591</c:v>
                </c:pt>
                <c:pt idx="207">
                  <c:v>0.22074066669789949</c:v>
                </c:pt>
                <c:pt idx="208">
                  <c:v>0.2199384203652614</c:v>
                </c:pt>
                <c:pt idx="209">
                  <c:v>0.21913552991667101</c:v>
                </c:pt>
                <c:pt idx="210">
                  <c:v>0.21833199431698769</c:v>
                </c:pt>
                <c:pt idx="211">
                  <c:v>0.21752781252857414</c:v>
                </c:pt>
                <c:pt idx="212">
                  <c:v>0.21672298351128702</c:v>
                </c:pt>
                <c:pt idx="213">
                  <c:v>0.21672298351128702</c:v>
                </c:pt>
                <c:pt idx="214">
                  <c:v>0.21591750622247025</c:v>
                </c:pt>
                <c:pt idx="215">
                  <c:v>0.21511137961694549</c:v>
                </c:pt>
                <c:pt idx="216">
                  <c:v>0.20620083058389785</c:v>
                </c:pt>
                <c:pt idx="217">
                  <c:v>0.19721016928770527</c:v>
                </c:pt>
                <c:pt idx="218">
                  <c:v>0.18896609951262316</c:v>
                </c:pt>
                <c:pt idx="219">
                  <c:v>0.17981842657583616</c:v>
                </c:pt>
                <c:pt idx="220">
                  <c:v>0.17058630057553367</c:v>
                </c:pt>
                <c:pt idx="221">
                  <c:v>0.16126814759612232</c:v>
                </c:pt>
                <c:pt idx="222">
                  <c:v>0.15186234930924603</c:v>
                </c:pt>
                <c:pt idx="223">
                  <c:v>0.14236724128692199</c:v>
                </c:pt>
                <c:pt idx="224">
                  <c:v>0.13365638481267361</c:v>
                </c:pt>
                <c:pt idx="225">
                  <c:v>0.1239859797809911</c:v>
                </c:pt>
                <c:pt idx="226">
                  <c:v>0.11422114409002286</c:v>
                </c:pt>
                <c:pt idx="227">
                  <c:v>0.10436001532424286</c:v>
                </c:pt>
                <c:pt idx="228">
                  <c:v>0.12486898204586927</c:v>
                </c:pt>
                <c:pt idx="229">
                  <c:v>0.14410034397375687</c:v>
                </c:pt>
                <c:pt idx="230">
                  <c:v>0.16296882827813972</c:v>
                </c:pt>
                <c:pt idx="231">
                  <c:v>0.18232155679395459</c:v>
                </c:pt>
                <c:pt idx="232">
                  <c:v>0.20048886074940356</c:v>
                </c:pt>
                <c:pt idx="233">
                  <c:v>0.21913552991667101</c:v>
                </c:pt>
                <c:pt idx="234">
                  <c:v>0.2374408560150342</c:v>
                </c:pt>
                <c:pt idx="235">
                  <c:v>0.25464221837358075</c:v>
                </c:pt>
                <c:pt idx="236">
                  <c:v>0.27155269052189734</c:v>
                </c:pt>
                <c:pt idx="237">
                  <c:v>0.28893129185221283</c:v>
                </c:pt>
                <c:pt idx="238">
                  <c:v>0.30527638085273207</c:v>
                </c:pt>
                <c:pt idx="239">
                  <c:v>0.32208349916911322</c:v>
                </c:pt>
                <c:pt idx="240">
                  <c:v>0.33575769568334413</c:v>
                </c:pt>
                <c:pt idx="241">
                  <c:v>0.3492474281099357</c:v>
                </c:pt>
                <c:pt idx="242">
                  <c:v>0.36325325929885488</c:v>
                </c:pt>
                <c:pt idx="243">
                  <c:v>0.37637952721306783</c:v>
                </c:pt>
                <c:pt idx="244">
                  <c:v>0.38933572617828072</c:v>
                </c:pt>
                <c:pt idx="245">
                  <c:v>0.40212620684264982</c:v>
                </c:pt>
                <c:pt idx="246">
                  <c:v>0.41475515501525706</c:v>
                </c:pt>
                <c:pt idx="247">
                  <c:v>0.42722659988967704</c:v>
                </c:pt>
                <c:pt idx="248">
                  <c:v>0.43954442176102704</c:v>
                </c:pt>
                <c:pt idx="249">
                  <c:v>0.45234869400701483</c:v>
                </c:pt>
                <c:pt idx="250">
                  <c:v>0.46436274935564981</c:v>
                </c:pt>
                <c:pt idx="251">
                  <c:v>0.47623417899637172</c:v>
                </c:pt>
                <c:pt idx="252">
                  <c:v>0.44276089285186127</c:v>
                </c:pt>
                <c:pt idx="253">
                  <c:v>0.40746311077083736</c:v>
                </c:pt>
                <c:pt idx="254">
                  <c:v>0.37156355643248301</c:v>
                </c:pt>
                <c:pt idx="255">
                  <c:v>0.33432708027482477</c:v>
                </c:pt>
                <c:pt idx="256">
                  <c:v>0.29490591754110052</c:v>
                </c:pt>
                <c:pt idx="257">
                  <c:v>0.25464221837358075</c:v>
                </c:pt>
                <c:pt idx="258">
                  <c:v>0.21268909341035092</c:v>
                </c:pt>
                <c:pt idx="259">
                  <c:v>0.16805358499624976</c:v>
                </c:pt>
                <c:pt idx="260">
                  <c:v>0.12221763272424911</c:v>
                </c:pt>
                <c:pt idx="261">
                  <c:v>7.4179398174251468E-2</c:v>
                </c:pt>
                <c:pt idx="262">
                  <c:v>2.2739486969489339E-2</c:v>
                </c:pt>
                <c:pt idx="263">
                  <c:v>-3.0459207484708574E-2</c:v>
                </c:pt>
                <c:pt idx="264">
                  <c:v>-6.1875403718087529E-2</c:v>
                </c:pt>
                <c:pt idx="265">
                  <c:v>-9.431067947124129E-2</c:v>
                </c:pt>
                <c:pt idx="266">
                  <c:v>-0.12783337150988489</c:v>
                </c:pt>
                <c:pt idx="267">
                  <c:v>-0.16251892949777494</c:v>
                </c:pt>
                <c:pt idx="268">
                  <c:v>-0.19845093872383832</c:v>
                </c:pt>
                <c:pt idx="269">
                  <c:v>-0.23572233352106983</c:v>
                </c:pt>
                <c:pt idx="270">
                  <c:v>-0.2744368457017603</c:v>
                </c:pt>
                <c:pt idx="271">
                  <c:v>-0.31471074483970024</c:v>
                </c:pt>
                <c:pt idx="272">
                  <c:v>-0.35667494393873245</c:v>
                </c:pt>
                <c:pt idx="273">
                  <c:v>-0.40047756659712525</c:v>
                </c:pt>
                <c:pt idx="274">
                  <c:v>-0.44628710262841947</c:v>
                </c:pt>
                <c:pt idx="275">
                  <c:v>-0.49429632181478012</c:v>
                </c:pt>
                <c:pt idx="276">
                  <c:v>-0.52205510571753944</c:v>
                </c:pt>
                <c:pt idx="277">
                  <c:v>-0.55043307836077016</c:v>
                </c:pt>
                <c:pt idx="278">
                  <c:v>-0.57981849525294205</c:v>
                </c:pt>
                <c:pt idx="279">
                  <c:v>-0.61009362542465961</c:v>
                </c:pt>
                <c:pt idx="280">
                  <c:v>-0.64112415249279353</c:v>
                </c:pt>
                <c:pt idx="281">
                  <c:v>-0.67334455326376563</c:v>
                </c:pt>
                <c:pt idx="282">
                  <c:v>-0.70663777074244449</c:v>
                </c:pt>
                <c:pt idx="283">
                  <c:v>-0.74086791677135699</c:v>
                </c:pt>
                <c:pt idx="284">
                  <c:v>-0.77652878949899629</c:v>
                </c:pt>
                <c:pt idx="285">
                  <c:v>-0.81350853723112915</c:v>
                </c:pt>
                <c:pt idx="286">
                  <c:v>-0.85167408878818274</c:v>
                </c:pt>
                <c:pt idx="287">
                  <c:v>-0.89159811928378363</c:v>
                </c:pt>
                <c:pt idx="288">
                  <c:v>-0.88551907320740142</c:v>
                </c:pt>
                <c:pt idx="289">
                  <c:v>-0.87947675875143883</c:v>
                </c:pt>
                <c:pt idx="290">
                  <c:v>-0.87347073469122694</c:v>
                </c:pt>
                <c:pt idx="291">
                  <c:v>-0.86750056770472306</c:v>
                </c:pt>
                <c:pt idx="292">
                  <c:v>-0.86156583218490856</c:v>
                </c:pt>
                <c:pt idx="293">
                  <c:v>-0.8556661100577202</c:v>
                </c:pt>
                <c:pt idx="294">
                  <c:v>-0.84980099060532222</c:v>
                </c:pt>
                <c:pt idx="295">
                  <c:v>-0.84397007029452897</c:v>
                </c:pt>
                <c:pt idx="296">
                  <c:v>-0.83817295261020308</c:v>
                </c:pt>
                <c:pt idx="297">
                  <c:v>-0.83240924789345294</c:v>
                </c:pt>
                <c:pt idx="298">
                  <c:v>-0.82667857318446791</c:v>
                </c:pt>
                <c:pt idx="299">
                  <c:v>-0.82098055206983023</c:v>
                </c:pt>
                <c:pt idx="300">
                  <c:v>-0.81148036752181008</c:v>
                </c:pt>
                <c:pt idx="301">
                  <c:v>-0.80229262782074329</c:v>
                </c:pt>
                <c:pt idx="302">
                  <c:v>-0.79296751584215619</c:v>
                </c:pt>
                <c:pt idx="303">
                  <c:v>-0.78372855879118375</c:v>
                </c:pt>
                <c:pt idx="304">
                  <c:v>-0.77479116960045558</c:v>
                </c:pt>
                <c:pt idx="305">
                  <c:v>-0.7657178733947807</c:v>
                </c:pt>
                <c:pt idx="306">
                  <c:v>-0.75672616220281663</c:v>
                </c:pt>
                <c:pt idx="307">
                  <c:v>-0.74802584206993472</c:v>
                </c:pt>
                <c:pt idx="308">
                  <c:v>-0.73919111906135215</c:v>
                </c:pt>
                <c:pt idx="309">
                  <c:v>-0.73043376534596194</c:v>
                </c:pt>
                <c:pt idx="310">
                  <c:v>-0.72195826241406491</c:v>
                </c:pt>
                <c:pt idx="311">
                  <c:v>-0.71334988787746478</c:v>
                </c:pt>
                <c:pt idx="312">
                  <c:v>-0.56211891815354131</c:v>
                </c:pt>
                <c:pt idx="313">
                  <c:v>-0.43078291609245423</c:v>
                </c:pt>
                <c:pt idx="314">
                  <c:v>-0.31471074483970024</c:v>
                </c:pt>
                <c:pt idx="315">
                  <c:v>-0.27883201664626106</c:v>
                </c:pt>
                <c:pt idx="316">
                  <c:v>-0.24419738604404759</c:v>
                </c:pt>
                <c:pt idx="317">
                  <c:v>-0.21072103131565253</c:v>
                </c:pt>
                <c:pt idx="318">
                  <c:v>-0.23151222115288192</c:v>
                </c:pt>
                <c:pt idx="319">
                  <c:v>-0.25274359190604323</c:v>
                </c:pt>
                <c:pt idx="320">
                  <c:v>-0.2744368457017603</c:v>
                </c:pt>
                <c:pt idx="321">
                  <c:v>-0.2744368457017603</c:v>
                </c:pt>
                <c:pt idx="322">
                  <c:v>-0.2744368457017603</c:v>
                </c:pt>
                <c:pt idx="323">
                  <c:v>-0.2744368457017603</c:v>
                </c:pt>
                <c:pt idx="324">
                  <c:v>-0.26136476413440751</c:v>
                </c:pt>
                <c:pt idx="325">
                  <c:v>-0.24846135929849961</c:v>
                </c:pt>
                <c:pt idx="326">
                  <c:v>-0.23572233352106983</c:v>
                </c:pt>
                <c:pt idx="327">
                  <c:v>-0.19845093872383832</c:v>
                </c:pt>
                <c:pt idx="328">
                  <c:v>-0.16251892949777494</c:v>
                </c:pt>
                <c:pt idx="329">
                  <c:v>-0.12783337150988489</c:v>
                </c:pt>
                <c:pt idx="330">
                  <c:v>-0.10536051565782628</c:v>
                </c:pt>
                <c:pt idx="331">
                  <c:v>-8.3381608939051013E-2</c:v>
                </c:pt>
                <c:pt idx="332">
                  <c:v>-6.1875403718087529E-2</c:v>
                </c:pt>
                <c:pt idx="333">
                  <c:v>-3.3901206848154536E-2</c:v>
                </c:pt>
                <c:pt idx="334">
                  <c:v>-6.6893237213226896E-3</c:v>
                </c:pt>
                <c:pt idx="335">
                  <c:v>1.980262729617973E-2</c:v>
                </c:pt>
                <c:pt idx="336">
                  <c:v>4.8790164169432049E-2</c:v>
                </c:pt>
                <c:pt idx="337">
                  <c:v>7.6961041136128394E-2</c:v>
                </c:pt>
                <c:pt idx="338">
                  <c:v>0.10436001532424286</c:v>
                </c:pt>
                <c:pt idx="339">
                  <c:v>0.12221763272424911</c:v>
                </c:pt>
                <c:pt idx="340">
                  <c:v>0.13976194237515863</c:v>
                </c:pt>
                <c:pt idx="341">
                  <c:v>0.15700374880966469</c:v>
                </c:pt>
                <c:pt idx="342">
                  <c:v>0.17115106518064815</c:v>
                </c:pt>
                <c:pt idx="343">
                  <c:v>0.18509271358974069</c:v>
                </c:pt>
                <c:pt idx="344">
                  <c:v>0.19885085874516517</c:v>
                </c:pt>
                <c:pt idx="345">
                  <c:v>0.17395330712343798</c:v>
                </c:pt>
                <c:pt idx="346">
                  <c:v>0.14842000511827322</c:v>
                </c:pt>
                <c:pt idx="347">
                  <c:v>0.12221763272424911</c:v>
                </c:pt>
                <c:pt idx="348">
                  <c:v>7.3872944536895177E-2</c:v>
                </c:pt>
                <c:pt idx="349">
                  <c:v>2.3062015596700829E-2</c:v>
                </c:pt>
                <c:pt idx="350">
                  <c:v>-3.0459207484708574E-2</c:v>
                </c:pt>
                <c:pt idx="351">
                  <c:v>-0.10166402278025823</c:v>
                </c:pt>
                <c:pt idx="352">
                  <c:v>-0.17832913711812198</c:v>
                </c:pt>
                <c:pt idx="353">
                  <c:v>-0.26136476413440751</c:v>
                </c:pt>
                <c:pt idx="354">
                  <c:v>-0.3285040669720361</c:v>
                </c:pt>
                <c:pt idx="355">
                  <c:v>-0.40047756659712525</c:v>
                </c:pt>
                <c:pt idx="356">
                  <c:v>-0.4780358009429998</c:v>
                </c:pt>
                <c:pt idx="357">
                  <c:v>-0.46733997991149973</c:v>
                </c:pt>
                <c:pt idx="358">
                  <c:v>-0.45675892881164282</c:v>
                </c:pt>
                <c:pt idx="359">
                  <c:v>-0.44628710262841947</c:v>
                </c:pt>
                <c:pt idx="360">
                  <c:v>-0.41047815244439784</c:v>
                </c:pt>
                <c:pt idx="361">
                  <c:v>-0.37590582042984455</c:v>
                </c:pt>
                <c:pt idx="362">
                  <c:v>-0.34249030894677601</c:v>
                </c:pt>
                <c:pt idx="363">
                  <c:v>-0.31928695315162098</c:v>
                </c:pt>
                <c:pt idx="364">
                  <c:v>-0.29661115162667612</c:v>
                </c:pt>
                <c:pt idx="365">
                  <c:v>-0.2744368457017603</c:v>
                </c:pt>
                <c:pt idx="366">
                  <c:v>-0.25274359190604323</c:v>
                </c:pt>
                <c:pt idx="367">
                  <c:v>-0.23151222115288192</c:v>
                </c:pt>
                <c:pt idx="368">
                  <c:v>-0.21072103131565253</c:v>
                </c:pt>
                <c:pt idx="369">
                  <c:v>-0.1743533871447778</c:v>
                </c:pt>
                <c:pt idx="370">
                  <c:v>-0.13926206733350766</c:v>
                </c:pt>
                <c:pt idx="371">
                  <c:v>-0.10536051565782628</c:v>
                </c:pt>
                <c:pt idx="372">
                  <c:v>-7.2570692834835374E-2</c:v>
                </c:pt>
                <c:pt idx="373">
                  <c:v>-4.0821994520255166E-2</c:v>
                </c:pt>
                <c:pt idx="374">
                  <c:v>-1.0050335853501451E-2</c:v>
                </c:pt>
                <c:pt idx="375">
                  <c:v>6.6478539714644753E-3</c:v>
                </c:pt>
                <c:pt idx="376">
                  <c:v>2.3062015596700829E-2</c:v>
                </c:pt>
                <c:pt idx="377">
                  <c:v>3.9220713153281329E-2</c:v>
                </c:pt>
                <c:pt idx="378">
                  <c:v>5.1956574368741903E-2</c:v>
                </c:pt>
                <c:pt idx="379">
                  <c:v>6.4541646132688382E-2</c:v>
                </c:pt>
                <c:pt idx="380">
                  <c:v>7.6961041136128394E-2</c:v>
                </c:pt>
                <c:pt idx="381">
                  <c:v>6.7658648473814864E-2</c:v>
                </c:pt>
                <c:pt idx="382">
                  <c:v>5.8268908123975824E-2</c:v>
                </c:pt>
                <c:pt idx="383">
                  <c:v>4.8790164169432049E-2</c:v>
                </c:pt>
                <c:pt idx="384">
                  <c:v>5.1956574368741903E-2</c:v>
                </c:pt>
                <c:pt idx="385">
                  <c:v>5.5122453790236385E-2</c:v>
                </c:pt>
                <c:pt idx="386">
                  <c:v>5.8268908123975824E-2</c:v>
                </c:pt>
                <c:pt idx="387">
                  <c:v>6.7658648473814864E-2</c:v>
                </c:pt>
                <c:pt idx="388">
                  <c:v>7.6961041136128394E-2</c:v>
                </c:pt>
                <c:pt idx="389">
                  <c:v>8.6177696241052412E-2</c:v>
                </c:pt>
                <c:pt idx="390">
                  <c:v>0.11629748833270755</c:v>
                </c:pt>
                <c:pt idx="391">
                  <c:v>0.1455451871308861</c:v>
                </c:pt>
                <c:pt idx="392">
                  <c:v>0.17395330712343798</c:v>
                </c:pt>
                <c:pt idx="393">
                  <c:v>0.16551443847757333</c:v>
                </c:pt>
                <c:pt idx="394">
                  <c:v>0.15700374880966469</c:v>
                </c:pt>
                <c:pt idx="395">
                  <c:v>0.14842000511827322</c:v>
                </c:pt>
                <c:pt idx="396">
                  <c:v>0.11332868530700327</c:v>
                </c:pt>
                <c:pt idx="397">
                  <c:v>7.6961041136128394E-2</c:v>
                </c:pt>
                <c:pt idx="398">
                  <c:v>3.9220713153281329E-2</c:v>
                </c:pt>
                <c:pt idx="399">
                  <c:v>1.980262729617973E-2</c:v>
                </c:pt>
                <c:pt idx="400">
                  <c:v>0</c:v>
                </c:pt>
                <c:pt idx="401">
                  <c:v>-2.0202707317519466E-2</c:v>
                </c:pt>
                <c:pt idx="402">
                  <c:v>-3.3901206848154536E-2</c:v>
                </c:pt>
                <c:pt idx="403">
                  <c:v>-4.7791013486759265E-2</c:v>
                </c:pt>
                <c:pt idx="404">
                  <c:v>-6.1875403718087529E-2</c:v>
                </c:pt>
                <c:pt idx="405">
                  <c:v>-3.0459207484708574E-2</c:v>
                </c:pt>
                <c:pt idx="406">
                  <c:v>0</c:v>
                </c:pt>
                <c:pt idx="407">
                  <c:v>2.9558802241544429E-2</c:v>
                </c:pt>
                <c:pt idx="408">
                  <c:v>4.2417520990669665E-2</c:v>
                </c:pt>
                <c:pt idx="409">
                  <c:v>5.5122453790236385E-2</c:v>
                </c:pt>
                <c:pt idx="410">
                  <c:v>6.7658648473814864E-2</c:v>
                </c:pt>
                <c:pt idx="411">
                  <c:v>7.6961041136128394E-2</c:v>
                </c:pt>
                <c:pt idx="412">
                  <c:v>8.6177696241052412E-2</c:v>
                </c:pt>
                <c:pt idx="413">
                  <c:v>9.5310179804324935E-2</c:v>
                </c:pt>
                <c:pt idx="414">
                  <c:v>8.9228084942807248E-2</c:v>
                </c:pt>
                <c:pt idx="415">
                  <c:v>8.3117974190464461E-2</c:v>
                </c:pt>
                <c:pt idx="416">
                  <c:v>7.6961041136128394E-2</c:v>
                </c:pt>
                <c:pt idx="417">
                  <c:v>3.2786597011336412E-2</c:v>
                </c:pt>
                <c:pt idx="418">
                  <c:v>-1.3422682494359956E-2</c:v>
                </c:pt>
                <c:pt idx="419">
                  <c:v>-6.1875403718087529E-2</c:v>
                </c:pt>
                <c:pt idx="420">
                  <c:v>-6.5427449450632461E-2</c:v>
                </c:pt>
                <c:pt idx="421">
                  <c:v>-6.8993228629872408E-2</c:v>
                </c:pt>
                <c:pt idx="422">
                  <c:v>-7.2570692834835374E-2</c:v>
                </c:pt>
                <c:pt idx="423">
                  <c:v>-7.6161001253398447E-2</c:v>
                </c:pt>
                <c:pt idx="424">
                  <c:v>-7.976532947975809E-2</c:v>
                </c:pt>
                <c:pt idx="425">
                  <c:v>-8.3381608939051013E-2</c:v>
                </c:pt>
                <c:pt idx="426">
                  <c:v>-9.0654733231701132E-2</c:v>
                </c:pt>
                <c:pt idx="427">
                  <c:v>-9.7980040713212493E-2</c:v>
                </c:pt>
                <c:pt idx="428">
                  <c:v>-0.10536051565782628</c:v>
                </c:pt>
                <c:pt idx="429">
                  <c:v>-9.431067947124129E-2</c:v>
                </c:pt>
                <c:pt idx="430">
                  <c:v>-8.3381608939051013E-2</c:v>
                </c:pt>
                <c:pt idx="431">
                  <c:v>-7.2570692834835374E-2</c:v>
                </c:pt>
                <c:pt idx="432">
                  <c:v>-6.1875403718087529E-2</c:v>
                </c:pt>
                <c:pt idx="433">
                  <c:v>-5.1293294387550578E-2</c:v>
                </c:pt>
                <c:pt idx="434">
                  <c:v>-4.0821994520255166E-2</c:v>
                </c:pt>
                <c:pt idx="435">
                  <c:v>-2.7029014853731374E-2</c:v>
                </c:pt>
                <c:pt idx="436">
                  <c:v>-1.3422682494359956E-2</c:v>
                </c:pt>
                <c:pt idx="437">
                  <c:v>0</c:v>
                </c:pt>
                <c:pt idx="438">
                  <c:v>-3.3385668174100557E-3</c:v>
                </c:pt>
                <c:pt idx="439">
                  <c:v>-6.6893237213226896E-3</c:v>
                </c:pt>
                <c:pt idx="440">
                  <c:v>-1.0050335853501451E-2</c:v>
                </c:pt>
                <c:pt idx="441">
                  <c:v>-2.0202707317519466E-2</c:v>
                </c:pt>
                <c:pt idx="442">
                  <c:v>-3.0459207484708574E-2</c:v>
                </c:pt>
                <c:pt idx="443">
                  <c:v>-4.0821994520255166E-2</c:v>
                </c:pt>
                <c:pt idx="444">
                  <c:v>-6.1875403718087529E-2</c:v>
                </c:pt>
                <c:pt idx="445">
                  <c:v>-8.3381608939051013E-2</c:v>
                </c:pt>
                <c:pt idx="446">
                  <c:v>-0.10536051565782628</c:v>
                </c:pt>
                <c:pt idx="447">
                  <c:v>-0.12783337150988489</c:v>
                </c:pt>
                <c:pt idx="448">
                  <c:v>-0.15082288973458366</c:v>
                </c:pt>
                <c:pt idx="449">
                  <c:v>-0.1743533871447778</c:v>
                </c:pt>
                <c:pt idx="450">
                  <c:v>-0.15470600065599865</c:v>
                </c:pt>
                <c:pt idx="451">
                  <c:v>-0.13543835257456632</c:v>
                </c:pt>
                <c:pt idx="452">
                  <c:v>-0.11653381625595151</c:v>
                </c:pt>
                <c:pt idx="453">
                  <c:v>-5.480788438238092E-2</c:v>
                </c:pt>
                <c:pt idx="454">
                  <c:v>3.3244678280197962E-3</c:v>
                </c:pt>
                <c:pt idx="455">
                  <c:v>5.8268908123975824E-2</c:v>
                </c:pt>
                <c:pt idx="456">
                  <c:v>0.12221763272424911</c:v>
                </c:pt>
                <c:pt idx="457">
                  <c:v>0.18232155679395459</c:v>
                </c:pt>
                <c:pt idx="458">
                  <c:v>0.23901690047049992</c:v>
                </c:pt>
                <c:pt idx="459">
                  <c:v>0.28267204318789424</c:v>
                </c:pt>
                <c:pt idx="460">
                  <c:v>0.32449363593303981</c:v>
                </c:pt>
                <c:pt idx="461">
                  <c:v>0.36464311358790924</c:v>
                </c:pt>
                <c:pt idx="462">
                  <c:v>0.38978955272272986</c:v>
                </c:pt>
                <c:pt idx="463">
                  <c:v>0.41431252073954933</c:v>
                </c:pt>
                <c:pt idx="464">
                  <c:v>0.43825493093115531</c:v>
                </c:pt>
                <c:pt idx="465">
                  <c:v>0.45107561936021673</c:v>
                </c:pt>
                <c:pt idx="466">
                  <c:v>0.46373401623214022</c:v>
                </c:pt>
                <c:pt idx="467">
                  <c:v>0.47623417899637172</c:v>
                </c:pt>
                <c:pt idx="468">
                  <c:v>0.4967246709868659</c:v>
                </c:pt>
                <c:pt idx="469">
                  <c:v>0.51680968351313261</c:v>
                </c:pt>
                <c:pt idx="470">
                  <c:v>0.53649337051456847</c:v>
                </c:pt>
                <c:pt idx="471">
                  <c:v>0.56531380905006046</c:v>
                </c:pt>
                <c:pt idx="472">
                  <c:v>0.59332684527773438</c:v>
                </c:pt>
                <c:pt idx="473">
                  <c:v>0.62057648772510998</c:v>
                </c:pt>
                <c:pt idx="474">
                  <c:v>0.65752000291679413</c:v>
                </c:pt>
                <c:pt idx="475">
                  <c:v>0.69314718055994529</c:v>
                </c:pt>
                <c:pt idx="476">
                  <c:v>0.72754860727727766</c:v>
                </c:pt>
                <c:pt idx="477">
                  <c:v>0.76236069437025578</c:v>
                </c:pt>
                <c:pt idx="478">
                  <c:v>0.79600606975792099</c:v>
                </c:pt>
                <c:pt idx="479">
                  <c:v>0.82855181756614826</c:v>
                </c:pt>
                <c:pt idx="480">
                  <c:v>0.84156718567821853</c:v>
                </c:pt>
                <c:pt idx="481">
                  <c:v>0.85441532815606758</c:v>
                </c:pt>
                <c:pt idx="482">
                  <c:v>0.86710048768338333</c:v>
                </c:pt>
                <c:pt idx="483">
                  <c:v>0.86989908895151391</c:v>
                </c:pt>
                <c:pt idx="484">
                  <c:v>0.8726857016333931</c:v>
                </c:pt>
                <c:pt idx="485">
                  <c:v>0.87546873735389985</c:v>
                </c:pt>
                <c:pt idx="486">
                  <c:v>0.87408027388446252</c:v>
                </c:pt>
                <c:pt idx="487">
                  <c:v>0.8726857016333931</c:v>
                </c:pt>
                <c:pt idx="488">
                  <c:v>0.87129336594341933</c:v>
                </c:pt>
                <c:pt idx="489">
                  <c:v>0.86148390382887241</c:v>
                </c:pt>
                <c:pt idx="490">
                  <c:v>0.85157299467834535</c:v>
                </c:pt>
                <c:pt idx="491">
                  <c:v>0.84156718567821853</c:v>
                </c:pt>
                <c:pt idx="492">
                  <c:v>0.84872683891089495</c:v>
                </c:pt>
                <c:pt idx="493">
                  <c:v>0.85583134640544301</c:v>
                </c:pt>
                <c:pt idx="494">
                  <c:v>0.86288995514703981</c:v>
                </c:pt>
                <c:pt idx="495">
                  <c:v>0.8865199471659152</c:v>
                </c:pt>
                <c:pt idx="496">
                  <c:v>0.90960040144057841</c:v>
                </c:pt>
                <c:pt idx="497">
                  <c:v>0.93216408103044524</c:v>
                </c:pt>
                <c:pt idx="498">
                  <c:v>0.95551144502743635</c:v>
                </c:pt>
                <c:pt idx="499">
                  <c:v>0.97832612279360776</c:v>
                </c:pt>
                <c:pt idx="500">
                  <c:v>1.000631880307906</c:v>
                </c:pt>
                <c:pt idx="501">
                  <c:v>1.0152306797290584</c:v>
                </c:pt>
                <c:pt idx="502">
                  <c:v>1.0296194171811581</c:v>
                </c:pt>
                <c:pt idx="503">
                  <c:v>1.0438040521731147</c:v>
                </c:pt>
                <c:pt idx="504">
                  <c:v>1.0426308290046142</c:v>
                </c:pt>
                <c:pt idx="505">
                  <c:v>1.0414526983568808</c:v>
                </c:pt>
                <c:pt idx="506">
                  <c:v>1.0402767116551463</c:v>
                </c:pt>
                <c:pt idx="507">
                  <c:v>1.0272344325077476</c:v>
                </c:pt>
                <c:pt idx="508">
                  <c:v>1.014023429556602</c:v>
                </c:pt>
                <c:pt idx="509">
                  <c:v>1.000631880307906</c:v>
                </c:pt>
                <c:pt idx="510">
                  <c:v>0.97455963999813078</c:v>
                </c:pt>
                <c:pt idx="511">
                  <c:v>0.94778939893352609</c:v>
                </c:pt>
                <c:pt idx="512">
                  <c:v>0.92028275314369246</c:v>
                </c:pt>
                <c:pt idx="513">
                  <c:v>0.91094446602923518</c:v>
                </c:pt>
                <c:pt idx="514">
                  <c:v>0.90151409311111219</c:v>
                </c:pt>
                <c:pt idx="515">
                  <c:v>0.89199803930511046</c:v>
                </c:pt>
                <c:pt idx="516">
                  <c:v>0.8865199471659152</c:v>
                </c:pt>
                <c:pt idx="517">
                  <c:v>0.88100753651309194</c:v>
                </c:pt>
                <c:pt idx="518">
                  <c:v>0.87546873735389985</c:v>
                </c:pt>
                <c:pt idx="519">
                  <c:v>0.86710048768338333</c:v>
                </c:pt>
                <c:pt idx="520">
                  <c:v>0.8586616190375187</c:v>
                </c:pt>
                <c:pt idx="521">
                  <c:v>0.85015092936961001</c:v>
                </c:pt>
                <c:pt idx="522">
                  <c:v>0.85299730195537793</c:v>
                </c:pt>
                <c:pt idx="523">
                  <c:v>0.85583134640544301</c:v>
                </c:pt>
                <c:pt idx="524">
                  <c:v>0.8586616190375187</c:v>
                </c:pt>
                <c:pt idx="525">
                  <c:v>0.86429403226040646</c:v>
                </c:pt>
                <c:pt idx="526">
                  <c:v>0.86989908895151391</c:v>
                </c:pt>
                <c:pt idx="527">
                  <c:v>0.87546873735389985</c:v>
                </c:pt>
                <c:pt idx="528">
                  <c:v>0.87962674750256364</c:v>
                </c:pt>
                <c:pt idx="529">
                  <c:v>0.88376754016859504</c:v>
                </c:pt>
                <c:pt idx="530">
                  <c:v>0.88789125735245711</c:v>
                </c:pt>
                <c:pt idx="531">
                  <c:v>0.89880677438431811</c:v>
                </c:pt>
                <c:pt idx="532">
                  <c:v>0.90960040144057841</c:v>
                </c:pt>
                <c:pt idx="533">
                  <c:v>0.92028275314369246</c:v>
                </c:pt>
                <c:pt idx="534">
                  <c:v>0.92557945777641226</c:v>
                </c:pt>
                <c:pt idx="535">
                  <c:v>0.93085219726506818</c:v>
                </c:pt>
                <c:pt idx="536">
                  <c:v>0.93609335917033476</c:v>
                </c:pt>
                <c:pt idx="537">
                  <c:v>0.93085219726506818</c:v>
                </c:pt>
                <c:pt idx="538">
                  <c:v>0.92557945777641226</c:v>
                </c:pt>
                <c:pt idx="539">
                  <c:v>0.92028275314369246</c:v>
                </c:pt>
                <c:pt idx="540">
                  <c:v>0.92557945777641226</c:v>
                </c:pt>
                <c:pt idx="541">
                  <c:v>0.93085219726506818</c:v>
                </c:pt>
                <c:pt idx="542">
                  <c:v>0.93609335917033476</c:v>
                </c:pt>
                <c:pt idx="543">
                  <c:v>0.94520078003094854</c:v>
                </c:pt>
                <c:pt idx="544">
                  <c:v>0.95422985491077073</c:v>
                </c:pt>
                <c:pt idx="545">
                  <c:v>0.96317431777300555</c:v>
                </c:pt>
                <c:pt idx="546">
                  <c:v>0.96444450311236452</c:v>
                </c:pt>
                <c:pt idx="547">
                  <c:v>0.96571688423640578</c:v>
                </c:pt>
                <c:pt idx="548">
                  <c:v>0.96698384618967315</c:v>
                </c:pt>
                <c:pt idx="549">
                  <c:v>0.98457348461979766</c:v>
                </c:pt>
                <c:pt idx="550">
                  <c:v>1.0018553962128447</c:v>
                </c:pt>
                <c:pt idx="551">
                  <c:v>1.0188473201992472</c:v>
                </c:pt>
                <c:pt idx="552">
                  <c:v>1.0414526983568808</c:v>
                </c:pt>
                <c:pt idx="553">
                  <c:v>1.0635618013565149</c:v>
                </c:pt>
                <c:pt idx="554">
                  <c:v>1.085189268335969</c:v>
                </c:pt>
                <c:pt idx="555">
                  <c:v>1.1140491908892542</c:v>
                </c:pt>
                <c:pt idx="556">
                  <c:v>1.1420963367774954</c:v>
                </c:pt>
                <c:pt idx="557">
                  <c:v>1.1693813595563169</c:v>
                </c:pt>
                <c:pt idx="558">
                  <c:v>1.1918992109454056</c:v>
                </c:pt>
                <c:pt idx="559">
                  <c:v>1.2139241252776238</c:v>
                </c:pt>
                <c:pt idx="560">
                  <c:v>1.235471471385307</c:v>
                </c:pt>
                <c:pt idx="561">
                  <c:v>1.2527629684953681</c:v>
                </c:pt>
                <c:pt idx="562">
                  <c:v>1.2697605448639391</c:v>
                </c:pt>
                <c:pt idx="563">
                  <c:v>1.2864740258376797</c:v>
                </c:pt>
                <c:pt idx="564">
                  <c:v>1.2928980986068357</c:v>
                </c:pt>
                <c:pt idx="565">
                  <c:v>1.2992838932207567</c:v>
                </c:pt>
                <c:pt idx="566">
                  <c:v>1.3056264580524357</c:v>
                </c:pt>
                <c:pt idx="567">
                  <c:v>1.297463147413275</c:v>
                </c:pt>
                <c:pt idx="568">
                  <c:v>1.2892326482767593</c:v>
                </c:pt>
                <c:pt idx="569">
                  <c:v>1.2809338454620642</c:v>
                </c:pt>
                <c:pt idx="570">
                  <c:v>1.2678851919828449</c:v>
                </c:pt>
                <c:pt idx="571">
                  <c:v>1.2546668692113445</c:v>
                </c:pt>
                <c:pt idx="572">
                  <c:v>1.2412685890696329</c:v>
                </c:pt>
                <c:pt idx="573">
                  <c:v>1.2364390264087579</c:v>
                </c:pt>
                <c:pt idx="574">
                  <c:v>1.2315889441210821</c:v>
                </c:pt>
                <c:pt idx="575">
                  <c:v>1.2267122912954254</c:v>
                </c:pt>
                <c:pt idx="576">
                  <c:v>1.2257352745805512</c:v>
                </c:pt>
                <c:pt idx="577">
                  <c:v>1.2247543640760554</c:v>
                </c:pt>
                <c:pt idx="578">
                  <c:v>1.2237754316221157</c:v>
                </c:pt>
                <c:pt idx="579">
                  <c:v>1.2257352745805512</c:v>
                </c:pt>
                <c:pt idx="580">
                  <c:v>1.2276883543802752</c:v>
                </c:pt>
                <c:pt idx="581">
                  <c:v>1.2296405510745139</c:v>
                </c:pt>
                <c:pt idx="582">
                  <c:v>1.2345029792923932</c:v>
                </c:pt>
                <c:pt idx="583">
                  <c:v>1.2393389829117962</c:v>
                </c:pt>
                <c:pt idx="584">
                  <c:v>1.2441545939587679</c:v>
                </c:pt>
                <c:pt idx="585">
                  <c:v>1.2345029792923932</c:v>
                </c:pt>
                <c:pt idx="586">
                  <c:v>1.2247543640760554</c:v>
                </c:pt>
                <c:pt idx="587">
                  <c:v>1.2149127443642704</c:v>
                </c:pt>
                <c:pt idx="588">
                  <c:v>1.1918992109454056</c:v>
                </c:pt>
                <c:pt idx="589">
                  <c:v>1.1683466629516781</c:v>
                </c:pt>
                <c:pt idx="590">
                  <c:v>1.144222799920162</c:v>
                </c:pt>
                <c:pt idx="591">
                  <c:v>1.1216775615991057</c:v>
                </c:pt>
                <c:pt idx="592">
                  <c:v>1.0986122886681098</c:v>
                </c:pt>
                <c:pt idx="593">
                  <c:v>1.0750024230289761</c:v>
                </c:pt>
                <c:pt idx="594">
                  <c:v>1.0692967568339202</c:v>
                </c:pt>
                <c:pt idx="595">
                  <c:v>1.0635618013565149</c:v>
                </c:pt>
                <c:pt idx="596">
                  <c:v>1.0577902941478545</c:v>
                </c:pt>
                <c:pt idx="597">
                  <c:v>1.0589458762056458</c:v>
                </c:pt>
                <c:pt idx="598">
                  <c:v>1.0601035886399786</c:v>
                </c:pt>
                <c:pt idx="599">
                  <c:v>1.0612565021243408</c:v>
                </c:pt>
                <c:pt idx="600">
                  <c:v>1.0863136359976784</c:v>
                </c:pt>
                <c:pt idx="601">
                  <c:v>1.1107615202979957</c:v>
                </c:pt>
                <c:pt idx="602">
                  <c:v>1.1346227261911428</c:v>
                </c:pt>
                <c:pt idx="603">
                  <c:v>1.1652330155100046</c:v>
                </c:pt>
                <c:pt idx="604">
                  <c:v>1.1949310505915423</c:v>
                </c:pt>
                <c:pt idx="605">
                  <c:v>1.2237754316221157</c:v>
                </c:pt>
                <c:pt idx="606">
                  <c:v>1.2267122912954254</c:v>
                </c:pt>
                <c:pt idx="607">
                  <c:v>1.2296405510745139</c:v>
                </c:pt>
                <c:pt idx="608">
                  <c:v>1.2325602611778486</c:v>
                </c:pt>
                <c:pt idx="609">
                  <c:v>1.2286663925255876</c:v>
                </c:pt>
                <c:pt idx="610">
                  <c:v>1.2247543640760554</c:v>
                </c:pt>
                <c:pt idx="611">
                  <c:v>1.220829921392359</c:v>
                </c:pt>
                <c:pt idx="612">
                  <c:v>1.220829921392359</c:v>
                </c:pt>
                <c:pt idx="613">
                  <c:v>1.220829921392359</c:v>
                </c:pt>
                <c:pt idx="614">
                  <c:v>1.220829921392359</c:v>
                </c:pt>
                <c:pt idx="615">
                  <c:v>1.2079658216109137</c:v>
                </c:pt>
                <c:pt idx="616">
                  <c:v>1.1949310505915423</c:v>
                </c:pt>
                <c:pt idx="617">
                  <c:v>1.1817271953786161</c:v>
                </c:pt>
                <c:pt idx="618">
                  <c:v>1.182748146423328</c:v>
                </c:pt>
                <c:pt idx="619">
                  <c:v>1.1837711174160592</c:v>
                </c:pt>
                <c:pt idx="620">
                  <c:v>1.1847899849091621</c:v>
                </c:pt>
                <c:pt idx="621">
                  <c:v>1.1847899849091621</c:v>
                </c:pt>
                <c:pt idx="622">
                  <c:v>1.1847899849091621</c:v>
                </c:pt>
                <c:pt idx="623">
                  <c:v>1.1847899849091621</c:v>
                </c:pt>
                <c:pt idx="624">
                  <c:v>1.1662709371419244</c:v>
                </c:pt>
                <c:pt idx="625">
                  <c:v>1.1474024528375417</c:v>
                </c:pt>
                <c:pt idx="626">
                  <c:v>1.1281710909096541</c:v>
                </c:pt>
                <c:pt idx="627">
                  <c:v>1.1216775615991057</c:v>
                </c:pt>
                <c:pt idx="628">
                  <c:v>1.1151415906193203</c:v>
                </c:pt>
                <c:pt idx="629">
                  <c:v>1.1085626195212777</c:v>
                </c:pt>
                <c:pt idx="630">
                  <c:v>1.1107615202979957</c:v>
                </c:pt>
                <c:pt idx="631">
                  <c:v>1.1129523106479158</c:v>
                </c:pt>
                <c:pt idx="632">
                  <c:v>1.1151415906193203</c:v>
                </c:pt>
                <c:pt idx="633">
                  <c:v>1.130327340583323</c:v>
                </c:pt>
                <c:pt idx="634">
                  <c:v>1.1452827475313072</c:v>
                </c:pt>
                <c:pt idx="635">
                  <c:v>1.1600209167967532</c:v>
                </c:pt>
                <c:pt idx="636">
                  <c:v>1.1786549963416462</c:v>
                </c:pt>
                <c:pt idx="637">
                  <c:v>1.1969481893889715</c:v>
                </c:pt>
                <c:pt idx="638">
                  <c:v>1.2149127443642704</c:v>
                </c:pt>
                <c:pt idx="639">
                  <c:v>1.2247543640760554</c:v>
                </c:pt>
                <c:pt idx="640">
                  <c:v>1.2345029792923932</c:v>
                </c:pt>
                <c:pt idx="641">
                  <c:v>1.2441545939587679</c:v>
                </c:pt>
                <c:pt idx="642">
                  <c:v>1.2499017362143359</c:v>
                </c:pt>
                <c:pt idx="643">
                  <c:v>1.2556160374777743</c:v>
                </c:pt>
                <c:pt idx="644">
                  <c:v>1.2612978709452054</c:v>
                </c:pt>
                <c:pt idx="645">
                  <c:v>1.2744321999405124</c:v>
                </c:pt>
                <c:pt idx="646">
                  <c:v>1.2873934925013837</c:v>
                </c:pt>
                <c:pt idx="647">
                  <c:v>1.3001916620664788</c:v>
                </c:pt>
                <c:pt idx="648">
                  <c:v>1.3038172343178671</c:v>
                </c:pt>
                <c:pt idx="649">
                  <c:v>1.3074324144070146</c:v>
                </c:pt>
                <c:pt idx="650">
                  <c:v>1.3110318766193438</c:v>
                </c:pt>
                <c:pt idx="651">
                  <c:v>1.3226434459435732</c:v>
                </c:pt>
                <c:pt idx="652">
                  <c:v>1.3341243667537213</c:v>
                </c:pt>
                <c:pt idx="653">
                  <c:v>1.3454723665996355</c:v>
                </c:pt>
                <c:pt idx="654">
                  <c:v>1.355835153635182</c:v>
                </c:pt>
                <c:pt idx="655">
                  <c:v>1.3660916538023711</c:v>
                </c:pt>
                <c:pt idx="656">
                  <c:v>1.3762440252663892</c:v>
                </c:pt>
                <c:pt idx="657">
                  <c:v>1.3812818192963463</c:v>
                </c:pt>
                <c:pt idx="658">
                  <c:v>1.3862943611198906</c:v>
                </c:pt>
                <c:pt idx="659">
                  <c:v>1.3912819026309295</c:v>
                </c:pt>
                <c:pt idx="660">
                  <c:v>1.4044608467443993</c:v>
                </c:pt>
                <c:pt idx="661">
                  <c:v>1.4174707863424567</c:v>
                </c:pt>
                <c:pt idx="662">
                  <c:v>1.430311246536665</c:v>
                </c:pt>
                <c:pt idx="663">
                  <c:v>1.4422019930581866</c:v>
                </c:pt>
                <c:pt idx="664">
                  <c:v>1.4539530095937054</c:v>
                </c:pt>
                <c:pt idx="665">
                  <c:v>1.4655675420143985</c:v>
                </c:pt>
                <c:pt idx="666">
                  <c:v>1.476288161260928</c:v>
                </c:pt>
                <c:pt idx="667">
                  <c:v>1.4868928060962199</c:v>
                </c:pt>
                <c:pt idx="668">
                  <c:v>1.4973884086254774</c:v>
                </c:pt>
                <c:pt idx="669">
                  <c:v>1.5033371228411243</c:v>
                </c:pt>
                <c:pt idx="670">
                  <c:v>1.5092484482587207</c:v>
                </c:pt>
                <c:pt idx="671">
                  <c:v>1.5151272329628591</c:v>
                </c:pt>
                <c:pt idx="672">
                  <c:v>1.5246052512277346</c:v>
                </c:pt>
                <c:pt idx="673">
                  <c:v>1.5339964361742444</c:v>
                </c:pt>
                <c:pt idx="674">
                  <c:v>1.5432981099295553</c:v>
                </c:pt>
                <c:pt idx="675">
                  <c:v>1.5546289717135051</c:v>
                </c:pt>
                <c:pt idx="676">
                  <c:v>1.5658349713305559</c:v>
                </c:pt>
                <c:pt idx="677">
                  <c:v>1.5769147207285403</c:v>
                </c:pt>
                <c:pt idx="678">
                  <c:v>1.5865110899184032</c:v>
                </c:pt>
                <c:pt idx="679">
                  <c:v>1.5960142164260558</c:v>
                </c:pt>
                <c:pt idx="680">
                  <c:v>1.6054298910365616</c:v>
                </c:pt>
                <c:pt idx="681">
                  <c:v>1.6193882432872684</c:v>
                </c:pt>
                <c:pt idx="682">
                  <c:v>1.6331544390514163</c:v>
                </c:pt>
                <c:pt idx="683">
                  <c:v>1.6467336971777973</c:v>
                </c:pt>
                <c:pt idx="684">
                  <c:v>1.6563214983329508</c:v>
                </c:pt>
                <c:pt idx="685">
                  <c:v>1.665818245870208</c:v>
                </c:pt>
                <c:pt idx="686">
                  <c:v>1.6752256529721035</c:v>
                </c:pt>
                <c:pt idx="687">
                  <c:v>1.6826883741736931</c:v>
                </c:pt>
                <c:pt idx="688">
                  <c:v>1.6900958154515549</c:v>
                </c:pt>
                <c:pt idx="689">
                  <c:v>1.6974487897568136</c:v>
                </c:pt>
                <c:pt idx="690">
                  <c:v>1.7004972520236086</c:v>
                </c:pt>
                <c:pt idx="691">
                  <c:v>1.7035346290169153</c:v>
                </c:pt>
                <c:pt idx="692">
                  <c:v>1.706564623164823</c:v>
                </c:pt>
                <c:pt idx="693">
                  <c:v>1.7089809392698778</c:v>
                </c:pt>
                <c:pt idx="694">
                  <c:v>1.7113932370038722</c:v>
                </c:pt>
                <c:pt idx="695">
                  <c:v>1.7137979277583431</c:v>
                </c:pt>
                <c:pt idx="696">
                  <c:v>1.707774417384387</c:v>
                </c:pt>
                <c:pt idx="697">
                  <c:v>1.7017125806403508</c:v>
                </c:pt>
                <c:pt idx="698">
                  <c:v>1.6956156086751528</c:v>
                </c:pt>
                <c:pt idx="699">
                  <c:v>1.6882490928583902</c:v>
                </c:pt>
                <c:pt idx="700">
                  <c:v>1.6808279085207734</c:v>
                </c:pt>
                <c:pt idx="701">
                  <c:v>1.6733512381777531</c:v>
                </c:pt>
                <c:pt idx="702">
                  <c:v>1.6714733033535532</c:v>
                </c:pt>
                <c:pt idx="703">
                  <c:v>1.6695918352538475</c:v>
                </c:pt>
                <c:pt idx="704">
                  <c:v>1.6677068205580761</c:v>
                </c:pt>
                <c:pt idx="705">
                  <c:v>1.6695918352538475</c:v>
                </c:pt>
                <c:pt idx="706">
                  <c:v>1.6714733033535532</c:v>
                </c:pt>
                <c:pt idx="707">
                  <c:v>1.6733512381777531</c:v>
                </c:pt>
                <c:pt idx="708">
                  <c:v>1.6802076044401271</c:v>
                </c:pt>
                <c:pt idx="709">
                  <c:v>1.6870154301761386</c:v>
                </c:pt>
                <c:pt idx="710">
                  <c:v>1.6937790608678513</c:v>
                </c:pt>
                <c:pt idx="711">
                  <c:v>1.7017125806403508</c:v>
                </c:pt>
                <c:pt idx="712">
                  <c:v>1.7095854641751662</c:v>
                </c:pt>
                <c:pt idx="713">
                  <c:v>1.7173950539391927</c:v>
                </c:pt>
                <c:pt idx="714">
                  <c:v>1.7227665977411035</c:v>
                </c:pt>
                <c:pt idx="715">
                  <c:v>1.728109442151599</c:v>
                </c:pt>
                <c:pt idx="716">
                  <c:v>1.7334238922150915</c:v>
                </c:pt>
                <c:pt idx="717">
                  <c:v>1.7392953142120489</c:v>
                </c:pt>
                <c:pt idx="718">
                  <c:v>1.7451342099600073</c:v>
                </c:pt>
                <c:pt idx="719">
                  <c:v>1.7509374747077999</c:v>
                </c:pt>
                <c:pt idx="720">
                  <c:v>1.7544036826842861</c:v>
                </c:pt>
                <c:pt idx="721">
                  <c:v>1.7578579175523736</c:v>
                </c:pt>
                <c:pt idx="722">
                  <c:v>1.7613002617433464</c:v>
                </c:pt>
                <c:pt idx="723">
                  <c:v>1.7624456536414959</c:v>
                </c:pt>
                <c:pt idx="724">
                  <c:v>1.763588020832624</c:v>
                </c:pt>
                <c:pt idx="725">
                  <c:v>1.7647307968401356</c:v>
                </c:pt>
                <c:pt idx="726">
                  <c:v>1.7675811826826977</c:v>
                </c:pt>
                <c:pt idx="727">
                  <c:v>1.7704217643028728</c:v>
                </c:pt>
                <c:pt idx="728">
                  <c:v>1.7732559976634952</c:v>
                </c:pt>
                <c:pt idx="729">
                  <c:v>1.7670107300626168</c:v>
                </c:pt>
                <c:pt idx="730">
                  <c:v>1.7607279330460648</c:v>
                </c:pt>
                <c:pt idx="731">
                  <c:v>1.7544036826842861</c:v>
                </c:pt>
                <c:pt idx="732">
                  <c:v>1.7457155307266483</c:v>
                </c:pt>
                <c:pt idx="733">
                  <c:v>1.7369512327330598</c:v>
                </c:pt>
                <c:pt idx="734">
                  <c:v>1.728109442151599</c:v>
                </c:pt>
                <c:pt idx="735">
                  <c:v>1.7215748164232163</c:v>
                </c:pt>
                <c:pt idx="736">
                  <c:v>1.7149990079744371</c:v>
                </c:pt>
                <c:pt idx="737">
                  <c:v>1.7083778602890038</c:v>
                </c:pt>
                <c:pt idx="738">
                  <c:v>1.6986696559179546</c:v>
                </c:pt>
                <c:pt idx="739">
                  <c:v>1.6888644303016858</c:v>
                </c:pt>
                <c:pt idx="740">
                  <c:v>1.6789639750827108</c:v>
                </c:pt>
                <c:pt idx="741">
                  <c:v>1.6645565807401546</c:v>
                </c:pt>
                <c:pt idx="742">
                  <c:v>1.6499404959480908</c:v>
                </c:pt>
                <c:pt idx="743">
                  <c:v>1.6351056591826783</c:v>
                </c:pt>
                <c:pt idx="744">
                  <c:v>1.6409365794934714</c:v>
                </c:pt>
                <c:pt idx="745">
                  <c:v>1.6467336971777973</c:v>
                </c:pt>
                <c:pt idx="746">
                  <c:v>1.6524974018945473</c:v>
                </c:pt>
                <c:pt idx="747">
                  <c:v>1.6588621612436556</c:v>
                </c:pt>
                <c:pt idx="748">
                  <c:v>1.6651885580554173</c:v>
                </c:pt>
                <c:pt idx="749">
                  <c:v>1.6714733033535532</c:v>
                </c:pt>
                <c:pt idx="750">
                  <c:v>1.6783425133586538</c:v>
                </c:pt>
                <c:pt idx="751">
                  <c:v>1.6851630049150734</c:v>
                </c:pt>
                <c:pt idx="752">
                  <c:v>1.6919391339458441</c:v>
                </c:pt>
                <c:pt idx="753">
                  <c:v>1.7083778602890038</c:v>
                </c:pt>
                <c:pt idx="754">
                  <c:v>1.724550719534605</c:v>
                </c:pt>
                <c:pt idx="755">
                  <c:v>1.7404661748405046</c:v>
                </c:pt>
                <c:pt idx="756">
                  <c:v>1.7468789026126943</c:v>
                </c:pt>
                <c:pt idx="757">
                  <c:v>1.7532490370988072</c:v>
                </c:pt>
                <c:pt idx="758">
                  <c:v>1.7595805708638197</c:v>
                </c:pt>
                <c:pt idx="759">
                  <c:v>1.7687177015763633</c:v>
                </c:pt>
                <c:pt idx="760">
                  <c:v>1.7777737906334381</c:v>
                </c:pt>
                <c:pt idx="761">
                  <c:v>1.7867469274045107</c:v>
                </c:pt>
                <c:pt idx="762">
                  <c:v>1.7961946193931129</c:v>
                </c:pt>
                <c:pt idx="763">
                  <c:v>1.8055522434150353</c:v>
                </c:pt>
                <c:pt idx="764">
                  <c:v>1.8148247421590511</c:v>
                </c:pt>
                <c:pt idx="765">
                  <c:v>1.8299107004329298</c:v>
                </c:pt>
                <c:pt idx="766">
                  <c:v>1.8447740313839232</c:v>
                </c:pt>
                <c:pt idx="767">
                  <c:v>1.8594181177018698</c:v>
                </c:pt>
                <c:pt idx="768">
                  <c:v>1.8789565234230499</c:v>
                </c:pt>
                <c:pt idx="769">
                  <c:v>1.8981189857183405</c:v>
                </c:pt>
                <c:pt idx="770">
                  <c:v>1.9169226121820611</c:v>
                </c:pt>
                <c:pt idx="771">
                  <c:v>1.9377814865278433</c:v>
                </c:pt>
                <c:pt idx="772">
                  <c:v>1.9582155546124678</c:v>
                </c:pt>
                <c:pt idx="773">
                  <c:v>1.9782390361706734</c:v>
                </c:pt>
                <c:pt idx="774">
                  <c:v>1.9992247563556644</c:v>
                </c:pt>
                <c:pt idx="775">
                  <c:v>2.019780439903847</c:v>
                </c:pt>
                <c:pt idx="776">
                  <c:v>2.0399207835175526</c:v>
                </c:pt>
                <c:pt idx="777">
                  <c:v>2.0600892379727669</c:v>
                </c:pt>
                <c:pt idx="778">
                  <c:v>2.0798577050718374</c:v>
                </c:pt>
                <c:pt idx="779">
                  <c:v>2.0992441689760155</c:v>
                </c:pt>
                <c:pt idx="780">
                  <c:v>2.1073813155553811</c:v>
                </c:pt>
                <c:pt idx="781">
                  <c:v>2.1154515772735278</c:v>
                </c:pt>
                <c:pt idx="782">
                  <c:v>2.1234584270966104</c:v>
                </c:pt>
                <c:pt idx="783">
                  <c:v>2.1384966972340509</c:v>
                </c:pt>
                <c:pt idx="784">
                  <c:v>2.1533110032493123</c:v>
                </c:pt>
                <c:pt idx="785">
                  <c:v>2.167910189667444</c:v>
                </c:pt>
                <c:pt idx="786">
                  <c:v>2.1819225405055143</c:v>
                </c:pt>
                <c:pt idx="787">
                  <c:v>2.195742368295809</c:v>
                </c:pt>
                <c:pt idx="788">
                  <c:v>2.2093727112718669</c:v>
                </c:pt>
                <c:pt idx="789">
                  <c:v>2.2012907437099729</c:v>
                </c:pt>
                <c:pt idx="790">
                  <c:v>2.1931418097271349</c:v>
                </c:pt>
                <c:pt idx="791">
                  <c:v>2.1849270495258133</c:v>
                </c:pt>
                <c:pt idx="792">
                  <c:v>2.1682911239677485</c:v>
                </c:pt>
                <c:pt idx="793">
                  <c:v>2.1513749189722575</c:v>
                </c:pt>
                <c:pt idx="794">
                  <c:v>2.1341664413690822</c:v>
                </c:pt>
                <c:pt idx="795">
                  <c:v>2.114648199666989</c:v>
                </c:pt>
                <c:pt idx="796">
                  <c:v>2.0947401686283382</c:v>
                </c:pt>
                <c:pt idx="797">
                  <c:v>2.0744289998562917</c:v>
                </c:pt>
                <c:pt idx="798">
                  <c:v>2.0660180990503085</c:v>
                </c:pt>
                <c:pt idx="799">
                  <c:v>2.0575371321860736</c:v>
                </c:pt>
                <c:pt idx="800">
                  <c:v>2.0489823341951272</c:v>
                </c:pt>
                <c:pt idx="801">
                  <c:v>2.0575371321860736</c:v>
                </c:pt>
                <c:pt idx="802">
                  <c:v>2.0660180990503085</c:v>
                </c:pt>
                <c:pt idx="803">
                  <c:v>2.0744289998562917</c:v>
                </c:pt>
                <c:pt idx="804">
                  <c:v>2.1033204086348714</c:v>
                </c:pt>
                <c:pt idx="805">
                  <c:v>2.1314016761800891</c:v>
                </c:pt>
                <c:pt idx="806">
                  <c:v>2.1587147225743437</c:v>
                </c:pt>
                <c:pt idx="807">
                  <c:v>2.1811708474678624</c:v>
                </c:pt>
                <c:pt idx="808">
                  <c:v>2.2031326458338056</c:v>
                </c:pt>
                <c:pt idx="809">
                  <c:v>2.224623551524334</c:v>
                </c:pt>
                <c:pt idx="810">
                  <c:v>2.2353763433005955</c:v>
                </c:pt>
                <c:pt idx="811">
                  <c:v>2.2460147415056513</c:v>
                </c:pt>
                <c:pt idx="812">
                  <c:v>2.256541154492639</c:v>
                </c:pt>
                <c:pt idx="813">
                  <c:v>2.2690283094652028</c:v>
                </c:pt>
                <c:pt idx="814">
                  <c:v>2.281361456542419</c:v>
                </c:pt>
                <c:pt idx="815">
                  <c:v>2.2935443483418965</c:v>
                </c:pt>
                <c:pt idx="816">
                  <c:v>2.2992465261766357</c:v>
                </c:pt>
                <c:pt idx="817">
                  <c:v>2.304912382753137</c:v>
                </c:pt>
                <c:pt idx="818">
                  <c:v>2.3105532626432224</c:v>
                </c:pt>
                <c:pt idx="819">
                  <c:v>2.3217306417162762</c:v>
                </c:pt>
                <c:pt idx="820">
                  <c:v>2.3327941691985337</c:v>
                </c:pt>
                <c:pt idx="821">
                  <c:v>2.3437270363252209</c:v>
                </c:pt>
                <c:pt idx="822">
                  <c:v>2.3529644698861971</c:v>
                </c:pt>
                <c:pt idx="823">
                  <c:v>2.3621079315996232</c:v>
                </c:pt>
                <c:pt idx="824">
                  <c:v>2.3711778844596574</c:v>
                </c:pt>
                <c:pt idx="825">
                  <c:v>2.3767644911682972</c:v>
                </c:pt>
                <c:pt idx="826">
                  <c:v>2.3823200610128992</c:v>
                </c:pt>
                <c:pt idx="827">
                  <c:v>2.3878449369448691</c:v>
                </c:pt>
                <c:pt idx="828">
                  <c:v>2.388762789235098</c:v>
                </c:pt>
                <c:pt idx="829">
                  <c:v>2.3896797998449792</c:v>
                </c:pt>
                <c:pt idx="830">
                  <c:v>2.3905959703167592</c:v>
                </c:pt>
                <c:pt idx="831">
                  <c:v>2.4000112144322991</c:v>
                </c:pt>
                <c:pt idx="832">
                  <c:v>2.4093476253669635</c:v>
                </c:pt>
                <c:pt idx="833">
                  <c:v>2.418588768750352</c:v>
                </c:pt>
                <c:pt idx="834">
                  <c:v>2.4286272612567843</c:v>
                </c:pt>
                <c:pt idx="835">
                  <c:v>2.4385747117035113</c:v>
                </c:pt>
                <c:pt idx="836">
                  <c:v>2.448415541205585</c:v>
                </c:pt>
                <c:pt idx="837">
                  <c:v>2.4700721608295448</c:v>
                </c:pt>
                <c:pt idx="838">
                  <c:v>2.4912779763785946</c:v>
                </c:pt>
                <c:pt idx="839">
                  <c:v>2.5120353171762528</c:v>
                </c:pt>
                <c:pt idx="840">
                  <c:v>2.537918050718198</c:v>
                </c:pt>
                <c:pt idx="841">
                  <c:v>2.5631554416640303</c:v>
                </c:pt>
                <c:pt idx="842">
                  <c:v>2.5877640352277083</c:v>
                </c:pt>
                <c:pt idx="843">
                  <c:v>2.6046655099946352</c:v>
                </c:pt>
                <c:pt idx="844">
                  <c:v>2.6212787953171874</c:v>
                </c:pt>
                <c:pt idx="845">
                  <c:v>2.6376277368056642</c:v>
                </c:pt>
                <c:pt idx="846">
                  <c:v>2.6530095432332628</c:v>
                </c:pt>
                <c:pt idx="847">
                  <c:v>2.6681513914267732</c:v>
                </c:pt>
                <c:pt idx="848">
                  <c:v>2.683074215032033</c:v>
                </c:pt>
                <c:pt idx="849">
                  <c:v>2.6883031722604076</c:v>
                </c:pt>
                <c:pt idx="850">
                  <c:v>2.6934981652935051</c:v>
                </c:pt>
                <c:pt idx="851">
                  <c:v>2.6986730392896132</c:v>
                </c:pt>
                <c:pt idx="852">
                  <c:v>2.7082701769057587</c:v>
                </c:pt>
                <c:pt idx="853">
                  <c:v>2.7177826864465899</c:v>
                </c:pt>
                <c:pt idx="854">
                  <c:v>2.7271990199409708</c:v>
                </c:pt>
                <c:pt idx="855">
                  <c:v>2.7195373043109972</c:v>
                </c:pt>
                <c:pt idx="856">
                  <c:v>2.7118230748547081</c:v>
                </c:pt>
                <c:pt idx="857">
                  <c:v>2.7040421797046714</c:v>
                </c:pt>
                <c:pt idx="858">
                  <c:v>2.6973262377392344</c:v>
                </c:pt>
                <c:pt idx="859">
                  <c:v>2.6905648867611904</c:v>
                </c:pt>
                <c:pt idx="860">
                  <c:v>2.6837575085331657</c:v>
                </c:pt>
                <c:pt idx="861">
                  <c:v>2.6878474937846906</c:v>
                </c:pt>
                <c:pt idx="862">
                  <c:v>2.6919208191723265</c:v>
                </c:pt>
                <c:pt idx="863">
                  <c:v>2.695977619867941</c:v>
                </c:pt>
                <c:pt idx="864">
                  <c:v>2.6905648867611904</c:v>
                </c:pt>
                <c:pt idx="865">
                  <c:v>2.6851226964585053</c:v>
                </c:pt>
                <c:pt idx="866">
                  <c:v>2.6796507265805123</c:v>
                </c:pt>
                <c:pt idx="867">
                  <c:v>2.6894312729576857</c:v>
                </c:pt>
                <c:pt idx="868">
                  <c:v>2.6991238125078616</c:v>
                </c:pt>
                <c:pt idx="869">
                  <c:v>2.7087166456453704</c:v>
                </c:pt>
                <c:pt idx="870">
                  <c:v>2.7144761768905097</c:v>
                </c:pt>
                <c:pt idx="871">
                  <c:v>2.7201961396457661</c:v>
                </c:pt>
                <c:pt idx="872">
                  <c:v>2.7258901192305411</c:v>
                </c:pt>
                <c:pt idx="873">
                  <c:v>2.7278528283983898</c:v>
                </c:pt>
                <c:pt idx="874">
                  <c:v>2.7298116928837226</c:v>
                </c:pt>
                <c:pt idx="875">
                  <c:v>2.7317667277195259</c:v>
                </c:pt>
                <c:pt idx="876">
                  <c:v>2.7197613570302215</c:v>
                </c:pt>
                <c:pt idx="877">
                  <c:v>2.7076034346502729</c:v>
                </c:pt>
                <c:pt idx="878">
                  <c:v>2.6953026282797072</c:v>
                </c:pt>
                <c:pt idx="879">
                  <c:v>2.6807954757689885</c:v>
                </c:pt>
                <c:pt idx="880">
                  <c:v>2.6660678113615388</c:v>
                </c:pt>
                <c:pt idx="881">
                  <c:v>2.6511270537025893</c:v>
                </c:pt>
                <c:pt idx="882">
                  <c:v>2.6366759248919793</c:v>
                </c:pt>
                <c:pt idx="883">
                  <c:v>2.6220056293330352</c:v>
                </c:pt>
                <c:pt idx="884">
                  <c:v>2.6071242825122494</c:v>
                </c:pt>
                <c:pt idx="885">
                  <c:v>2.5842465780265576</c:v>
                </c:pt>
                <c:pt idx="886">
                  <c:v>2.5608409294169934</c:v>
                </c:pt>
                <c:pt idx="887">
                  <c:v>2.5368663887187113</c:v>
                </c:pt>
                <c:pt idx="888">
                  <c:v>2.5310504583022313</c:v>
                </c:pt>
                <c:pt idx="889">
                  <c:v>2.5251925006089047</c:v>
                </c:pt>
                <c:pt idx="890">
                  <c:v>2.5193080765053328</c:v>
                </c:pt>
                <c:pt idx="891">
                  <c:v>2.5238629048984125</c:v>
                </c:pt>
                <c:pt idx="892">
                  <c:v>2.5283891021497342</c:v>
                </c:pt>
                <c:pt idx="893">
                  <c:v>2.5329028480562559</c:v>
                </c:pt>
                <c:pt idx="894">
                  <c:v>2.551528935878618</c:v>
                </c:pt>
                <c:pt idx="895">
                  <c:v>2.56980677186883</c:v>
                </c:pt>
                <c:pt idx="896">
                  <c:v>2.5877640352277083</c:v>
                </c:pt>
                <c:pt idx="897">
                  <c:v>2.6058919600929564</c:v>
                </c:pt>
                <c:pt idx="898">
                  <c:v>2.6237043593241123</c:v>
                </c:pt>
                <c:pt idx="899">
                  <c:v>2.6411978941143697</c:v>
                </c:pt>
                <c:pt idx="900">
                  <c:v>2.67000213346468</c:v>
                </c:pt>
                <c:pt idx="901">
                  <c:v>2.6979998652487085</c:v>
                </c:pt>
                <c:pt idx="902">
                  <c:v>2.7252350258563109</c:v>
                </c:pt>
                <c:pt idx="903">
                  <c:v>2.7455579094386122</c:v>
                </c:pt>
                <c:pt idx="904">
                  <c:v>2.7654822811958368</c:v>
                </c:pt>
                <c:pt idx="905">
                  <c:v>2.7850112422383382</c:v>
                </c:pt>
                <c:pt idx="906">
                  <c:v>2.7923913495359609</c:v>
                </c:pt>
                <c:pt idx="907">
                  <c:v>2.7997173896280341</c:v>
                </c:pt>
                <c:pt idx="908">
                  <c:v>2.8069901489571136</c:v>
                </c:pt>
                <c:pt idx="909">
                  <c:v>2.8086011694070971</c:v>
                </c:pt>
                <c:pt idx="910">
                  <c:v>2.8102035793885292</c:v>
                </c:pt>
                <c:pt idx="911">
                  <c:v>2.8118094353930627</c:v>
                </c:pt>
                <c:pt idx="912">
                  <c:v>2.8067908537368216</c:v>
                </c:pt>
                <c:pt idx="913">
                  <c:v>2.8017408884180286</c:v>
                </c:pt>
                <c:pt idx="914">
                  <c:v>2.7966713927557385</c:v>
                </c:pt>
                <c:pt idx="915">
                  <c:v>2.7806808921371173</c:v>
                </c:pt>
                <c:pt idx="916">
                  <c:v>2.7644305345383176</c:v>
                </c:pt>
                <c:pt idx="917">
                  <c:v>2.7479117345273405</c:v>
                </c:pt>
                <c:pt idx="918">
                  <c:v>2.7397620237368909</c:v>
                </c:pt>
                <c:pt idx="919">
                  <c:v>2.7315518608873015</c:v>
                </c:pt>
                <c:pt idx="920">
                  <c:v>2.7232671669070703</c:v>
                </c:pt>
                <c:pt idx="921">
                  <c:v>2.7096023292611848</c:v>
                </c:pt>
                <c:pt idx="922">
                  <c:v>2.6957549230080584</c:v>
                </c:pt>
                <c:pt idx="923">
                  <c:v>2.6817062257626079</c:v>
                </c:pt>
                <c:pt idx="924">
                  <c:v>2.6796507265805123</c:v>
                </c:pt>
                <c:pt idx="925">
                  <c:v>2.6775909936175015</c:v>
                </c:pt>
                <c:pt idx="926">
                  <c:v>2.6755270093966499</c:v>
                </c:pt>
                <c:pt idx="927">
                  <c:v>2.6798770384186157</c:v>
                </c:pt>
                <c:pt idx="928">
                  <c:v>2.6842150541164429</c:v>
                </c:pt>
                <c:pt idx="929">
                  <c:v>2.6885275346133461</c:v>
                </c:pt>
                <c:pt idx="930">
                  <c:v>2.691697216939438</c:v>
                </c:pt>
                <c:pt idx="931">
                  <c:v>2.6948501288882634</c:v>
                </c:pt>
                <c:pt idx="932">
                  <c:v>2.6979998652487085</c:v>
                </c:pt>
                <c:pt idx="933">
                  <c:v>2.6896621727889323</c:v>
                </c:pt>
                <c:pt idx="934">
                  <c:v>2.6812475305712073</c:v>
                </c:pt>
                <c:pt idx="935">
                  <c:v>2.6727683869575705</c:v>
                </c:pt>
                <c:pt idx="936">
                  <c:v>2.6869423223358315</c:v>
                </c:pt>
                <c:pt idx="937">
                  <c:v>2.7009114473925164</c:v>
                </c:pt>
                <c:pt idx="938">
                  <c:v>2.7146947438208788</c:v>
                </c:pt>
                <c:pt idx="939">
                  <c:v>2.699567659186298</c:v>
                </c:pt>
                <c:pt idx="940">
                  <c:v>2.6842150541164429</c:v>
                </c:pt>
                <c:pt idx="941">
                  <c:v>2.6686161318568029</c:v>
                </c:pt>
                <c:pt idx="942">
                  <c:v>2.7013612129514133</c:v>
                </c:pt>
                <c:pt idx="943">
                  <c:v>2.733067964077498</c:v>
                </c:pt>
                <c:pt idx="944">
                  <c:v>2.7638002162067017</c:v>
                </c:pt>
                <c:pt idx="945">
                  <c:v>2.7976897879871694</c:v>
                </c:pt>
                <c:pt idx="946">
                  <c:v>2.8304625051422558</c:v>
                </c:pt>
                <c:pt idx="947">
                  <c:v>2.8622008809294686</c:v>
                </c:pt>
                <c:pt idx="948">
                  <c:v>2.8827483288171285</c:v>
                </c:pt>
                <c:pt idx="949">
                  <c:v>2.9028875520082051</c:v>
                </c:pt>
                <c:pt idx="950">
                  <c:v>2.9226238017333528</c:v>
                </c:pt>
                <c:pt idx="951">
                  <c:v>2.9763812442720763</c:v>
                </c:pt>
                <c:pt idx="952">
                  <c:v>3.0273908115542523</c:v>
                </c:pt>
                <c:pt idx="953">
                  <c:v>3.0759288155482678</c:v>
                </c:pt>
                <c:pt idx="954">
                  <c:v>3.0921009838263003</c:v>
                </c:pt>
                <c:pt idx="955">
                  <c:v>3.1080202389283946</c:v>
                </c:pt>
                <c:pt idx="956">
                  <c:v>3.123685637864452</c:v>
                </c:pt>
                <c:pt idx="957">
                  <c:v>3.1386761048688743</c:v>
                </c:pt>
                <c:pt idx="958">
                  <c:v>3.1534494430322768</c:v>
                </c:pt>
                <c:pt idx="959">
                  <c:v>3.1675825304806504</c:v>
                </c:pt>
                <c:pt idx="960">
                  <c:v>3.1846983730666141</c:v>
                </c:pt>
                <c:pt idx="961">
                  <c:v>3.2011191032789417</c:v>
                </c:pt>
                <c:pt idx="962">
                  <c:v>3.2172745435012269</c:v>
                </c:pt>
                <c:pt idx="963">
                  <c:v>3.2207420823259092</c:v>
                </c:pt>
                <c:pt idx="964">
                  <c:v>3.2241936600849743</c:v>
                </c:pt>
                <c:pt idx="965">
                  <c:v>3.2276373305367736</c:v>
                </c:pt>
                <c:pt idx="966">
                  <c:v>3.2072080200005186</c:v>
                </c:pt>
                <c:pt idx="967">
                  <c:v>3.1863526331626408</c:v>
                </c:pt>
                <c:pt idx="968">
                  <c:v>3.1650530181706942</c:v>
                </c:pt>
                <c:pt idx="969">
                  <c:v>3.1538763975296833</c:v>
                </c:pt>
                <c:pt idx="970">
                  <c:v>3.1425691296011116</c:v>
                </c:pt>
                <c:pt idx="971">
                  <c:v>3.1298260080346898</c:v>
                </c:pt>
                <c:pt idx="972">
                  <c:v>3.1130707659712242</c:v>
                </c:pt>
                <c:pt idx="973">
                  <c:v>3.0946722214088944</c:v>
                </c:pt>
                <c:pt idx="974">
                  <c:v>3.0759288155482678</c:v>
                </c:pt>
                <c:pt idx="975">
                  <c:v>3.0696005741316323</c:v>
                </c:pt>
                <c:pt idx="976">
                  <c:v>3.0632367045294222</c:v>
                </c:pt>
                <c:pt idx="977">
                  <c:v>3.0568273729138018</c:v>
                </c:pt>
                <c:pt idx="978">
                  <c:v>3.0643250650196028</c:v>
                </c:pt>
                <c:pt idx="979">
                  <c:v>3.0717669598299886</c:v>
                </c:pt>
                <c:pt idx="980">
                  <c:v>3.0791538816930633</c:v>
                </c:pt>
                <c:pt idx="981">
                  <c:v>3.0730034517778257</c:v>
                </c:pt>
                <c:pt idx="982">
                  <c:v>3.0668103029207918</c:v>
                </c:pt>
                <c:pt idx="983">
                  <c:v>3.0605832458736071</c:v>
                </c:pt>
                <c:pt idx="984">
                  <c:v>3.0532131354019927</c:v>
                </c:pt>
                <c:pt idx="985">
                  <c:v>3.0457930587139939</c:v>
                </c:pt>
                <c:pt idx="986">
                  <c:v>3.041661205442391</c:v>
                </c:pt>
                <c:pt idx="987">
                  <c:v>3.0137342610631053</c:v>
                </c:pt>
                <c:pt idx="988">
                  <c:v>2.9885414816684084</c:v>
                </c:pt>
                <c:pt idx="989">
                  <c:v>2.9657883971809187</c:v>
                </c:pt>
                <c:pt idx="990">
                  <c:v>2.9359822691482171</c:v>
                </c:pt>
                <c:pt idx="991">
                  <c:v>2.9085390618516134</c:v>
                </c:pt>
                <c:pt idx="992">
                  <c:v>2.8803214220426634</c:v>
                </c:pt>
                <c:pt idx="993">
                  <c:v>2.8451012258816584</c:v>
                </c:pt>
                <c:pt idx="994">
                  <c:v>2.8086011694070971</c:v>
                </c:pt>
                <c:pt idx="995">
                  <c:v>2.7707119622269212</c:v>
                </c:pt>
                <c:pt idx="996">
                  <c:v>2.7755032209592745</c:v>
                </c:pt>
                <c:pt idx="997">
                  <c:v>2.7802654307674981</c:v>
                </c:pt>
                <c:pt idx="998">
                  <c:v>2.7843937676895441</c:v>
                </c:pt>
                <c:pt idx="999">
                  <c:v>2.8023477471538749</c:v>
                </c:pt>
                <c:pt idx="1000">
                  <c:v>2.8193947765071781</c:v>
                </c:pt>
                <c:pt idx="1001">
                  <c:v>2.8361502037295256</c:v>
                </c:pt>
                <c:pt idx="1002">
                  <c:v>2.8553201198372458</c:v>
                </c:pt>
                <c:pt idx="1003">
                  <c:v>2.8741294517947424</c:v>
                </c:pt>
                <c:pt idx="1004">
                  <c:v>2.8925915146344776</c:v>
                </c:pt>
                <c:pt idx="1005">
                  <c:v>2.9118070386162298</c:v>
                </c:pt>
                <c:pt idx="1006">
                  <c:v>2.9306602768102761</c:v>
                </c:pt>
                <c:pt idx="1007">
                  <c:v>2.9491646377376561</c:v>
                </c:pt>
                <c:pt idx="1008">
                  <c:v>2.9621754900251482</c:v>
                </c:pt>
                <c:pt idx="1009">
                  <c:v>2.9750192319564492</c:v>
                </c:pt>
                <c:pt idx="1010">
                  <c:v>2.9877001018567269</c:v>
                </c:pt>
                <c:pt idx="1011">
                  <c:v>2.9790946324009679</c:v>
                </c:pt>
                <c:pt idx="1012">
                  <c:v>2.9704144655697009</c:v>
                </c:pt>
                <c:pt idx="1013">
                  <c:v>2.9616582932202395</c:v>
                </c:pt>
                <c:pt idx="1014">
                  <c:v>2.9801108926510342</c:v>
                </c:pt>
                <c:pt idx="1015">
                  <c:v>2.998229153752578</c:v>
                </c:pt>
                <c:pt idx="1016">
                  <c:v>3.0160249768217535</c:v>
                </c:pt>
                <c:pt idx="1017">
                  <c:v>3.039749158970765</c:v>
                </c:pt>
                <c:pt idx="1018">
                  <c:v>3.0629235230943141</c:v>
                </c:pt>
                <c:pt idx="1019">
                  <c:v>3.0860299115347716</c:v>
                </c:pt>
                <c:pt idx="1020">
                  <c:v>3.0981399338223414</c:v>
                </c:pt>
                <c:pt idx="1021">
                  <c:v>3.1105464620973673</c:v>
                </c:pt>
                <c:pt idx="1022">
                  <c:v>3.1228053561174671</c:v>
                </c:pt>
                <c:pt idx="1023">
                  <c:v>3.1587011018321305</c:v>
                </c:pt>
                <c:pt idx="1024">
                  <c:v>3.193352867637115</c:v>
                </c:pt>
                <c:pt idx="1025">
                  <c:v>3.2268439945173775</c:v>
                </c:pt>
                <c:pt idx="1026">
                  <c:v>3.2546289945740186</c:v>
                </c:pt>
                <c:pt idx="1027">
                  <c:v>3.2816628129669656</c:v>
                </c:pt>
                <c:pt idx="1028">
                  <c:v>3.3079849999399764</c:v>
                </c:pt>
                <c:pt idx="1029">
                  <c:v>3.3470931226689546</c:v>
                </c:pt>
                <c:pt idx="1030">
                  <c:v>3.3847291889548483</c:v>
                </c:pt>
                <c:pt idx="1031">
                  <c:v>3.4210000089583352</c:v>
                </c:pt>
                <c:pt idx="1032">
                  <c:v>3.4420193761824107</c:v>
                </c:pt>
                <c:pt idx="1033">
                  <c:v>3.4626060097907989</c:v>
                </c:pt>
                <c:pt idx="1034">
                  <c:v>3.482777368654578</c:v>
                </c:pt>
                <c:pt idx="1035">
                  <c:v>3.5018478223115519</c:v>
                </c:pt>
                <c:pt idx="1036">
                  <c:v>3.5205584308592632</c:v>
                </c:pt>
                <c:pt idx="1037">
                  <c:v>3.5389282773504322</c:v>
                </c:pt>
                <c:pt idx="1038">
                  <c:v>3.5461631519123409</c:v>
                </c:pt>
                <c:pt idx="1039">
                  <c:v>3.5533460588187404</c:v>
                </c:pt>
                <c:pt idx="1040">
                  <c:v>3.560477739309412</c:v>
                </c:pt>
                <c:pt idx="1041">
                  <c:v>3.5488498509208166</c:v>
                </c:pt>
                <c:pt idx="1042">
                  <c:v>3.5370880722864388</c:v>
                </c:pt>
                <c:pt idx="1043">
                  <c:v>3.5251833614431467</c:v>
                </c:pt>
                <c:pt idx="1044">
                  <c:v>3.5259692716160993</c:v>
                </c:pt>
                <c:pt idx="1045">
                  <c:v>3.5267516245971806</c:v>
                </c:pt>
                <c:pt idx="1046">
                  <c:v>3.5275363037051735</c:v>
                </c:pt>
                <c:pt idx="1047">
                  <c:v>3.5360196074696004</c:v>
                </c:pt>
                <c:pt idx="1048">
                  <c:v>3.544431549748063</c:v>
                </c:pt>
                <c:pt idx="1049">
                  <c:v>3.5527733211169448</c:v>
                </c:pt>
                <c:pt idx="1050">
                  <c:v>3.5631263038064844</c:v>
                </c:pt>
                <c:pt idx="1051">
                  <c:v>3.5733760057230572</c:v>
                </c:pt>
                <c:pt idx="1052">
                  <c:v>3.5835189384561099</c:v>
                </c:pt>
                <c:pt idx="1053">
                  <c:v>3.608482517041907</c:v>
                </c:pt>
                <c:pt idx="1054">
                  <c:v>3.6328380632303117</c:v>
                </c:pt>
                <c:pt idx="1055">
                  <c:v>3.6566144935266607</c:v>
                </c:pt>
                <c:pt idx="1056">
                  <c:v>3.6695258759800882</c:v>
                </c:pt>
                <c:pt idx="1057">
                  <c:v>3.6822751939172496</c:v>
                </c:pt>
                <c:pt idx="1058">
                  <c:v>3.6948615257914836</c:v>
                </c:pt>
                <c:pt idx="1059">
                  <c:v>3.6974253338406338</c:v>
                </c:pt>
                <c:pt idx="1060">
                  <c:v>3.6999850579762446</c:v>
                </c:pt>
                <c:pt idx="1061">
                  <c:v>3.7025357805614219</c:v>
                </c:pt>
                <c:pt idx="1062">
                  <c:v>3.7032753343976688</c:v>
                </c:pt>
                <c:pt idx="1063">
                  <c:v>3.7040143416982065</c:v>
                </c:pt>
                <c:pt idx="1064">
                  <c:v>3.7047528032702264</c:v>
                </c:pt>
                <c:pt idx="1065">
                  <c:v>3.6971774304820091</c:v>
                </c:pt>
                <c:pt idx="1066">
                  <c:v>3.689546731434898</c:v>
                </c:pt>
                <c:pt idx="1067">
                  <c:v>3.6818548391769719</c:v>
                </c:pt>
                <c:pt idx="1068">
                  <c:v>3.6803431230916499</c:v>
                </c:pt>
                <c:pt idx="1069">
                  <c:v>3.6788291182604347</c:v>
                </c:pt>
                <c:pt idx="1070">
                  <c:v>3.6773128177424708</c:v>
                </c:pt>
                <c:pt idx="1071">
                  <c:v>3.6724959748634123</c:v>
                </c:pt>
                <c:pt idx="1072">
                  <c:v>3.6676558176623097</c:v>
                </c:pt>
                <c:pt idx="1073">
                  <c:v>3.6627921193506179</c:v>
                </c:pt>
                <c:pt idx="1074">
                  <c:v>3.6552373515370471</c:v>
                </c:pt>
                <c:pt idx="1075">
                  <c:v>3.6476224691657282</c:v>
                </c:pt>
                <c:pt idx="1076">
                  <c:v>3.6399517804905126</c:v>
                </c:pt>
                <c:pt idx="1077">
                  <c:v>3.6366199035775502</c:v>
                </c:pt>
                <c:pt idx="1078">
                  <c:v>3.6332795310783998</c:v>
                </c:pt>
                <c:pt idx="1079">
                  <c:v>3.6299253112702656</c:v>
                </c:pt>
                <c:pt idx="1080">
                  <c:v>3.6358302329362475</c:v>
                </c:pt>
                <c:pt idx="1081">
                  <c:v>3.6417004913496345</c:v>
                </c:pt>
                <c:pt idx="1082">
                  <c:v>3.647536490579554</c:v>
                </c:pt>
                <c:pt idx="1083">
                  <c:v>3.6702061888483151</c:v>
                </c:pt>
                <c:pt idx="1084">
                  <c:v>3.692373343368192</c:v>
                </c:pt>
                <c:pt idx="1085">
                  <c:v>3.7140597526442347</c:v>
                </c:pt>
                <c:pt idx="1086">
                  <c:v>3.7376696182833684</c:v>
                </c:pt>
                <c:pt idx="1087">
                  <c:v>3.7607348912143643</c:v>
                </c:pt>
                <c:pt idx="1088">
                  <c:v>3.7832801295354206</c:v>
                </c:pt>
                <c:pt idx="1089">
                  <c:v>3.8147041429041164</c:v>
                </c:pt>
                <c:pt idx="1090">
                  <c:v>3.8451706984403056</c:v>
                </c:pt>
                <c:pt idx="1091">
                  <c:v>3.8747364206421295</c:v>
                </c:pt>
                <c:pt idx="1092">
                  <c:v>3.8937911438333419</c:v>
                </c:pt>
                <c:pt idx="1093">
                  <c:v>3.9124895632397885</c:v>
                </c:pt>
                <c:pt idx="1094">
                  <c:v>3.9308447596687337</c:v>
                </c:pt>
                <c:pt idx="1095">
                  <c:v>3.937170798960798</c:v>
                </c:pt>
                <c:pt idx="1096">
                  <c:v>3.9434570709176766</c:v>
                </c:pt>
                <c:pt idx="1097">
                  <c:v>3.9497040723958348</c:v>
                </c:pt>
                <c:pt idx="1098">
                  <c:v>3.9610671056070688</c:v>
                </c:pt>
                <c:pt idx="1099">
                  <c:v>3.9723024696453337</c:v>
                </c:pt>
                <c:pt idx="1100">
                  <c:v>3.983413001514819</c:v>
                </c:pt>
                <c:pt idx="1101">
                  <c:v>3.9601780473151931</c:v>
                </c:pt>
                <c:pt idx="1102">
                  <c:v>3.9363903618764402</c:v>
                </c:pt>
                <c:pt idx="1103">
                  <c:v>3.912023005428146</c:v>
                </c:pt>
                <c:pt idx="1104">
                  <c:v>3.881151341761059</c:v>
                </c:pt>
                <c:pt idx="1105">
                  <c:v>3.8492961755198412</c:v>
                </c:pt>
                <c:pt idx="1106">
                  <c:v>3.816392774412896</c:v>
                </c:pt>
                <c:pt idx="1107">
                  <c:v>3.7508365211641497</c:v>
                </c:pt>
                <c:pt idx="1108">
                  <c:v>3.6806792575485963</c:v>
                </c:pt>
                <c:pt idx="1109">
                  <c:v>3.6052260691166831</c:v>
                </c:pt>
                <c:pt idx="1110">
                  <c:v>3.5252815113180844</c:v>
                </c:pt>
                <c:pt idx="1111">
                  <c:v>3.4383861172166474</c:v>
                </c:pt>
                <c:pt idx="1112">
                  <c:v>3.3432150991238081</c:v>
                </c:pt>
                <c:pt idx="1113">
                  <c:v>3.2996567215516364</c:v>
                </c:pt>
                <c:pt idx="1114">
                  <c:v>3.2541142602942195</c:v>
                </c:pt>
                <c:pt idx="1115">
                  <c:v>3.206398303357088</c:v>
                </c:pt>
                <c:pt idx="1116">
                  <c:v>3.2065333016698143</c:v>
                </c:pt>
                <c:pt idx="1117">
                  <c:v>3.2066682817604559</c:v>
                </c:pt>
                <c:pt idx="1118">
                  <c:v>3.2068032436339315</c:v>
                </c:pt>
                <c:pt idx="1119">
                  <c:v>3.2339614622862416</c:v>
                </c:pt>
                <c:pt idx="1120">
                  <c:v>3.2604015716966992</c:v>
                </c:pt>
                <c:pt idx="1121">
                  <c:v>3.2861605716737969</c:v>
                </c:pt>
                <c:pt idx="1122">
                  <c:v>3.3264738354662189</c:v>
                </c:pt>
                <c:pt idx="1123">
                  <c:v>3.3652247212033379</c:v>
                </c:pt>
                <c:pt idx="1124">
                  <c:v>3.4025298268959339</c:v>
                </c:pt>
                <c:pt idx="1125">
                  <c:v>3.3749674769323845</c:v>
                </c:pt>
                <c:pt idx="1126">
                  <c:v>3.3466238594036564</c:v>
                </c:pt>
                <c:pt idx="1127">
                  <c:v>3.3174533882291946</c:v>
                </c:pt>
                <c:pt idx="1128">
                  <c:v>3.3499040872746049</c:v>
                </c:pt>
                <c:pt idx="1129">
                  <c:v>3.3813347525659037</c:v>
                </c:pt>
                <c:pt idx="1130">
                  <c:v>3.4118075607741711</c:v>
                </c:pt>
                <c:pt idx="1131">
                  <c:v>3.4572626055951043</c:v>
                </c:pt>
                <c:pt idx="1132">
                  <c:v>3.5007410119984166</c:v>
                </c:pt>
                <c:pt idx="1133">
                  <c:v>3.5424075502136789</c:v>
                </c:pt>
                <c:pt idx="1134">
                  <c:v>3.5805515772283081</c:v>
                </c:pt>
                <c:pt idx="1135">
                  <c:v>3.6172939389146475</c:v>
                </c:pt>
                <c:pt idx="1136">
                  <c:v>3.6527340074775831</c:v>
                </c:pt>
                <c:pt idx="1137">
                  <c:v>3.7368756523821918</c:v>
                </c:pt>
                <c:pt idx="1138">
                  <c:v>3.814483676248805</c:v>
                </c:pt>
                <c:pt idx="1139">
                  <c:v>3.8865000481970604</c:v>
                </c:pt>
                <c:pt idx="1140">
                  <c:v>3.9085503159491735</c:v>
                </c:pt>
                <c:pt idx="1141">
                  <c:v>3.9301248407921285</c:v>
                </c:pt>
                <c:pt idx="1142">
                  <c:v>3.9512437185814275</c:v>
                </c:pt>
                <c:pt idx="1143">
                  <c:v>3.9774985873870574</c:v>
                </c:pt>
                <c:pt idx="1144">
                  <c:v>4.0030817363751128</c:v>
                </c:pt>
                <c:pt idx="1145">
                  <c:v>4.0280266811844525</c:v>
                </c:pt>
                <c:pt idx="1146">
                  <c:v>4.0375978283362119</c:v>
                </c:pt>
                <c:pt idx="1147">
                  <c:v>4.0470782364210107</c:v>
                </c:pt>
                <c:pt idx="1148">
                  <c:v>4.0564696097931741</c:v>
                </c:pt>
                <c:pt idx="1149">
                  <c:v>4.0609601182025168</c:v>
                </c:pt>
                <c:pt idx="1150">
                  <c:v>4.0654305520574585</c:v>
                </c:pt>
                <c:pt idx="1151">
                  <c:v>4.0698810900437259</c:v>
                </c:pt>
                <c:pt idx="1152">
                  <c:v>4.0793437212087431</c:v>
                </c:pt>
                <c:pt idx="1153">
                  <c:v>4.0887176496902988</c:v>
                </c:pt>
                <c:pt idx="1154">
                  <c:v>4.0980045230535875</c:v>
                </c:pt>
                <c:pt idx="1155">
                  <c:v>4.1146917035529702</c:v>
                </c:pt>
                <c:pt idx="1156">
                  <c:v>4.1311049863876699</c:v>
                </c:pt>
                <c:pt idx="1157">
                  <c:v>4.1472532178775028</c:v>
                </c:pt>
                <c:pt idx="1158">
                  <c:v>4.1640260854229085</c:v>
                </c:pt>
                <c:pt idx="1159">
                  <c:v>4.180522258463153</c:v>
                </c:pt>
                <c:pt idx="1160">
                  <c:v>4.1967507180534902</c:v>
                </c:pt>
                <c:pt idx="1161">
                  <c:v>4.2134600431122626</c:v>
                </c:pt>
                <c:pt idx="1162">
                  <c:v>4.2298947490429848</c:v>
                </c:pt>
                <c:pt idx="1163">
                  <c:v>4.246063716857944</c:v>
                </c:pt>
                <c:pt idx="1164">
                  <c:v>4.2595293795255929</c:v>
                </c:pt>
                <c:pt idx="1165">
                  <c:v>4.2728161246972505</c:v>
                </c:pt>
                <c:pt idx="1166">
                  <c:v>4.2859286446285445</c:v>
                </c:pt>
                <c:pt idx="1167">
                  <c:v>4.2942422317039162</c:v>
                </c:pt>
                <c:pt idx="1168">
                  <c:v>4.3024872725229528</c:v>
                </c:pt>
                <c:pt idx="1169">
                  <c:v>4.3106648881881853</c:v>
                </c:pt>
                <c:pt idx="1170">
                  <c:v>4.3287577057945414</c:v>
                </c:pt>
                <c:pt idx="1171">
                  <c:v>4.3465289823207245</c:v>
                </c:pt>
                <c:pt idx="1172">
                  <c:v>4.3639899471877301</c:v>
                </c:pt>
                <c:pt idx="1173">
                  <c:v>4.3763857547837954</c:v>
                </c:pt>
                <c:pt idx="1174">
                  <c:v>4.3886297858074537</c:v>
                </c:pt>
                <c:pt idx="1175">
                  <c:v>4.4007257121063663</c:v>
                </c:pt>
                <c:pt idx="1176">
                  <c:v>4.4074100655049451</c:v>
                </c:pt>
                <c:pt idx="1177">
                  <c:v>4.4140500348377874</c:v>
                </c:pt>
                <c:pt idx="1178">
                  <c:v>4.4206462056389366</c:v>
                </c:pt>
                <c:pt idx="1179">
                  <c:v>4.4277167605909975</c:v>
                </c:pt>
                <c:pt idx="1180">
                  <c:v>4.4347376735865502</c:v>
                </c:pt>
                <c:pt idx="1181">
                  <c:v>4.4417096368350553</c:v>
                </c:pt>
                <c:pt idx="1182">
                  <c:v>4.4165890790229927</c:v>
                </c:pt>
                <c:pt idx="1183">
                  <c:v>4.3908211823553769</c:v>
                </c:pt>
                <c:pt idx="1184">
                  <c:v>4.3643716994351607</c:v>
                </c:pt>
                <c:pt idx="1185">
                  <c:v>4.3102620684445707</c:v>
                </c:pt>
                <c:pt idx="1186">
                  <c:v>4.2530562533769221</c:v>
                </c:pt>
                <c:pt idx="1187">
                  <c:v>4.1923783024934664</c:v>
                </c:pt>
                <c:pt idx="1188">
                  <c:v>4.1627817237753293</c:v>
                </c:pt>
                <c:pt idx="1189">
                  <c:v>4.1322824015624926</c:v>
                </c:pt>
                <c:pt idx="1190">
                  <c:v>4.1008235283198102</c:v>
                </c:pt>
                <c:pt idx="1191">
                  <c:v>4.0497539011164232</c:v>
                </c:pt>
                <c:pt idx="1192">
                  <c:v>3.9959351402801015</c:v>
                </c:pt>
                <c:pt idx="1193">
                  <c:v>3.9390543444791764</c:v>
                </c:pt>
                <c:pt idx="1194">
                  <c:v>3.903251313041022</c:v>
                </c:pt>
                <c:pt idx="1195">
                  <c:v>3.8661186732371711</c:v>
                </c:pt>
                <c:pt idx="1196">
                  <c:v>3.827553848801696</c:v>
                </c:pt>
                <c:pt idx="1197">
                  <c:v>3.5721583544039306</c:v>
                </c:pt>
                <c:pt idx="1198">
                  <c:v>3.2282979634471056</c:v>
                </c:pt>
                <c:pt idx="1199">
                  <c:v>2.7000180294049461</c:v>
                </c:pt>
                <c:pt idx="1200">
                  <c:v>2.501982250578255</c:v>
                </c:pt>
                <c:pt idx="1201">
                  <c:v>2.2547944291576973</c:v>
                </c:pt>
                <c:pt idx="1202">
                  <c:v>1.925707441737794</c:v>
                </c:pt>
                <c:pt idx="1203">
                  <c:v>1.9568029870470549</c:v>
                </c:pt>
                <c:pt idx="1204">
                  <c:v>1.9869606888856708</c:v>
                </c:pt>
                <c:pt idx="1205">
                  <c:v>2.0162354657760435</c:v>
                </c:pt>
                <c:pt idx="1206">
                  <c:v>2.2177531574773481</c:v>
                </c:pt>
                <c:pt idx="1207">
                  <c:v>2.3853932041813604</c:v>
                </c:pt>
                <c:pt idx="1208">
                  <c:v>2.5289235352047745</c:v>
                </c:pt>
                <c:pt idx="1209">
                  <c:v>3.2327787300371922</c:v>
                </c:pt>
                <c:pt idx="1210">
                  <c:v>3.6417878465800855</c:v>
                </c:pt>
                <c:pt idx="1211">
                  <c:v>3.9312372243519502</c:v>
                </c:pt>
                <c:pt idx="1212">
                  <c:v>3.9943400479173596</c:v>
                </c:pt>
                <c:pt idx="1213">
                  <c:v>4.0536961637442914</c:v>
                </c:pt>
                <c:pt idx="1214">
                  <c:v>4.1097256642604032</c:v>
                </c:pt>
                <c:pt idx="1215">
                  <c:v>4.1429230637809429</c:v>
                </c:pt>
                <c:pt idx="1216">
                  <c:v>4.1750537144387971</c:v>
                </c:pt>
                <c:pt idx="1217">
                  <c:v>4.2061840439776361</c:v>
                </c:pt>
                <c:pt idx="1218">
                  <c:v>4.2295550998488123</c:v>
                </c:pt>
                <c:pt idx="1219">
                  <c:v>4.2523924001589331</c:v>
                </c:pt>
                <c:pt idx="1220">
                  <c:v>4.2747197816853726</c:v>
                </c:pt>
                <c:pt idx="1221">
                  <c:v>4.2998671047789081</c:v>
                </c:pt>
                <c:pt idx="1222">
                  <c:v>4.3243975218372448</c:v>
                </c:pt>
                <c:pt idx="1223">
                  <c:v>4.3483405770190746</c:v>
                </c:pt>
                <c:pt idx="1224">
                  <c:v>4.3652618883411511</c:v>
                </c:pt>
                <c:pt idx="1225">
                  <c:v>4.3819016268607305</c:v>
                </c:pt>
                <c:pt idx="1226">
                  <c:v>4.3982690102197459</c:v>
                </c:pt>
                <c:pt idx="1227">
                  <c:v>4.4087091360404154</c:v>
                </c:pt>
                <c:pt idx="1228">
                  <c:v>4.4190413908511825</c:v>
                </c:pt>
                <c:pt idx="1229">
                  <c:v>4.42926798099632</c:v>
                </c:pt>
                <c:pt idx="1230">
                  <c:v>4.4415526139879082</c:v>
                </c:pt>
                <c:pt idx="1231">
                  <c:v>4.4536881643451087</c:v>
                </c:pt>
                <c:pt idx="1232">
                  <c:v>4.4656782071694927</c:v>
                </c:pt>
                <c:pt idx="1233">
                  <c:v>4.4655632316016742</c:v>
                </c:pt>
                <c:pt idx="1234">
                  <c:v>4.465448242812954</c:v>
                </c:pt>
                <c:pt idx="1235">
                  <c:v>4.4653332408002919</c:v>
                </c:pt>
                <c:pt idx="1236">
                  <c:v>4.4714101958085672</c:v>
                </c:pt>
                <c:pt idx="1237">
                  <c:v>4.4774504443857204</c:v>
                </c:pt>
                <c:pt idx="1238">
                  <c:v>4.4834544273039949</c:v>
                </c:pt>
                <c:pt idx="1239">
                  <c:v>4.4811175373181129</c:v>
                </c:pt>
                <c:pt idx="1240">
                  <c:v>4.478775173483144</c:v>
                </c:pt>
                <c:pt idx="1241">
                  <c:v>4.4764273100953655</c:v>
                </c:pt>
                <c:pt idx="1242">
                  <c:v>4.4710290837188902</c:v>
                </c:pt>
                <c:pt idx="1243">
                  <c:v>4.4656015582597854</c:v>
                </c:pt>
                <c:pt idx="1244">
                  <c:v>4.4601444139378339</c:v>
                </c:pt>
                <c:pt idx="1245">
                  <c:v>4.4601829488408269</c:v>
                </c:pt>
                <c:pt idx="1246">
                  <c:v>4.4602214822589383</c:v>
                </c:pt>
                <c:pt idx="1247">
                  <c:v>4.4602600141922828</c:v>
                </c:pt>
                <c:pt idx="1248">
                  <c:v>4.4648347458611966</c:v>
                </c:pt>
                <c:pt idx="1249">
                  <c:v>4.4693886446290323</c:v>
                </c:pt>
                <c:pt idx="1250">
                  <c:v>4.4739218993781371</c:v>
                </c:pt>
                <c:pt idx="1251">
                  <c:v>4.4861989446948982</c:v>
                </c:pt>
                <c:pt idx="1252">
                  <c:v>4.4983270903700427</c:v>
                </c:pt>
                <c:pt idx="1253">
                  <c:v>4.5103099049641315</c:v>
                </c:pt>
                <c:pt idx="1254">
                  <c:v>4.5227663597332759</c:v>
                </c:pt>
                <c:pt idx="1255">
                  <c:v>4.535069558308602</c:v>
                </c:pt>
                <c:pt idx="1256">
                  <c:v>4.5472232260332417</c:v>
                </c:pt>
                <c:pt idx="1257">
                  <c:v>4.5676067654331254</c:v>
                </c:pt>
                <c:pt idx="1258">
                  <c:v>4.5875831025610401</c:v>
                </c:pt>
                <c:pt idx="1259">
                  <c:v>4.6071681886507641</c:v>
                </c:pt>
                <c:pt idx="1260">
                  <c:v>4.6093281961367554</c:v>
                </c:pt>
                <c:pt idx="1261">
                  <c:v>4.6114835480446832</c:v>
                </c:pt>
                <c:pt idx="1262">
                  <c:v>4.6136342644002211</c:v>
                </c:pt>
                <c:pt idx="1263">
                  <c:v>4.6211091497895938</c:v>
                </c:pt>
                <c:pt idx="1264">
                  <c:v>4.6285285755653263</c:v>
                </c:pt>
                <c:pt idx="1265">
                  <c:v>4.6358933586309323</c:v>
                </c:pt>
                <c:pt idx="1266">
                  <c:v>4.6450317194132218</c:v>
                </c:pt>
                <c:pt idx="1267">
                  <c:v>4.6540873262227054</c:v>
                </c:pt>
                <c:pt idx="1268">
                  <c:v>4.6630616644038687</c:v>
                </c:pt>
                <c:pt idx="1269">
                  <c:v>4.651512913181044</c:v>
                </c:pt>
                <c:pt idx="1270">
                  <c:v>4.6398292284729337</c:v>
                </c:pt>
                <c:pt idx="1271">
                  <c:v>4.6280074198908485</c:v>
                </c:pt>
                <c:pt idx="1272">
                  <c:v>4.6179876896987055</c:v>
                </c:pt>
                <c:pt idx="1273">
                  <c:v>4.607866547535834</c:v>
                </c:pt>
                <c:pt idx="1274">
                  <c:v>4.5976419195673</c:v>
                </c:pt>
                <c:pt idx="1275">
                  <c:v>4.5829586596228715</c:v>
                </c:pt>
                <c:pt idx="1276">
                  <c:v>4.5680565846479908</c:v>
                </c:pt>
                <c:pt idx="1277">
                  <c:v>4.5529290741424004</c:v>
                </c:pt>
                <c:pt idx="1278">
                  <c:v>4.5378901325048151</c:v>
                </c:pt>
                <c:pt idx="1279">
                  <c:v>4.5226215633529323</c:v>
                </c:pt>
                <c:pt idx="1280">
                  <c:v>4.5071162455127034</c:v>
                </c:pt>
                <c:pt idx="1281">
                  <c:v>4.4918148336588599</c:v>
                </c:pt>
                <c:pt idx="1282">
                  <c:v>4.4762756455769894</c:v>
                </c:pt>
                <c:pt idx="1283">
                  <c:v>4.4604911746186477</c:v>
                </c:pt>
                <c:pt idx="1284">
                  <c:v>4.4601444139378339</c:v>
                </c:pt>
                <c:pt idx="1285">
                  <c:v>4.4597975329723392</c:v>
                </c:pt>
                <c:pt idx="1286">
                  <c:v>4.4594505316386854</c:v>
                </c:pt>
                <c:pt idx="1287">
                  <c:v>4.4612998155683892</c:v>
                </c:pt>
                <c:pt idx="1288">
                  <c:v>4.4631456859586738</c:v>
                </c:pt>
                <c:pt idx="1289">
                  <c:v>4.4649881553882294</c:v>
                </c:pt>
                <c:pt idx="1290">
                  <c:v>4.4732755483870594</c:v>
                </c:pt>
                <c:pt idx="1291">
                  <c:v>4.4814948246268704</c:v>
                </c:pt>
                <c:pt idx="1292">
                  <c:v>4.4896470947325522</c:v>
                </c:pt>
                <c:pt idx="1293">
                  <c:v>4.5098700061337667</c:v>
                </c:pt>
                <c:pt idx="1294">
                  <c:v>4.5296920448121343</c:v>
                </c:pt>
                <c:pt idx="1295">
                  <c:v>4.5491287951044663</c:v>
                </c:pt>
                <c:pt idx="1296">
                  <c:v>4.5691629706820889</c:v>
                </c:pt>
                <c:pt idx="1297">
                  <c:v>4.5888036485677937</c:v>
                </c:pt>
                <c:pt idx="1298">
                  <c:v>4.6080659891001172</c:v>
                </c:pt>
                <c:pt idx="1299">
                  <c:v>4.6203871517929516</c:v>
                </c:pt>
                <c:pt idx="1300">
                  <c:v>4.632558349306958</c:v>
                </c:pt>
                <c:pt idx="1301">
                  <c:v>4.6445831883449262</c:v>
                </c:pt>
                <c:pt idx="1302">
                  <c:v>4.6543412299945404</c:v>
                </c:pt>
                <c:pt idx="1303">
                  <c:v>4.6640049717089838</c:v>
                </c:pt>
                <c:pt idx="1304">
                  <c:v>4.6735762186521521</c:v>
                </c:pt>
                <c:pt idx="1305">
                  <c:v>4.682254676294181</c:v>
                </c:pt>
                <c:pt idx="1306">
                  <c:v>4.6908584658483967</c:v>
                </c:pt>
                <c:pt idx="1307">
                  <c:v>4.6993888612270727</c:v>
                </c:pt>
                <c:pt idx="1308">
                  <c:v>4.7161150799398186</c:v>
                </c:pt>
                <c:pt idx="1309">
                  <c:v>4.7325661285065301</c:v>
                </c:pt>
                <c:pt idx="1310">
                  <c:v>4.7487509144656155</c:v>
                </c:pt>
                <c:pt idx="1311">
                  <c:v>4.7688750786201615</c:v>
                </c:pt>
                <c:pt idx="1312">
                  <c:v>4.7886022370660735</c:v>
                </c:pt>
                <c:pt idx="1313">
                  <c:v>4.8079477513494284</c:v>
                </c:pt>
                <c:pt idx="1314">
                  <c:v>4.829246635350902</c:v>
                </c:pt>
                <c:pt idx="1315">
                  <c:v>4.8501013213722395</c:v>
                </c:pt>
                <c:pt idx="1316">
                  <c:v>4.8705299594353804</c:v>
                </c:pt>
                <c:pt idx="1317">
                  <c:v>4.8756297996442868</c:v>
                </c:pt>
                <c:pt idx="1318">
                  <c:v>4.8807037633930488</c:v>
                </c:pt>
                <c:pt idx="1319">
                  <c:v>4.8857521119495653</c:v>
                </c:pt>
                <c:pt idx="1320">
                  <c:v>4.8907751026446729</c:v>
                </c:pt>
                <c:pt idx="1321">
                  <c:v>4.8957729889508492</c:v>
                </c:pt>
                <c:pt idx="1322">
                  <c:v>4.900746020558973</c:v>
                </c:pt>
                <c:pt idx="1323">
                  <c:v>4.9029263440113473</c:v>
                </c:pt>
                <c:pt idx="1324">
                  <c:v>4.9051019239937874</c:v>
                </c:pt>
                <c:pt idx="1325">
                  <c:v>4.9072727811011028</c:v>
                </c:pt>
                <c:pt idx="1326">
                  <c:v>4.9014154891003603</c:v>
                </c:pt>
                <c:pt idx="1327">
                  <c:v>4.8955236869950314</c:v>
                </c:pt>
                <c:pt idx="1328">
                  <c:v>4.8895969657191998</c:v>
                </c:pt>
                <c:pt idx="1329">
                  <c:v>4.90594122298159</c:v>
                </c:pt>
                <c:pt idx="1330">
                  <c:v>4.9220226357396522</c:v>
                </c:pt>
                <c:pt idx="1331">
                  <c:v>4.9378495243706029</c:v>
                </c:pt>
                <c:pt idx="1332">
                  <c:v>4.8809567870268058</c:v>
                </c:pt>
                <c:pt idx="1333">
                  <c:v>4.8206309669228782</c:v>
                </c:pt>
                <c:pt idx="1334">
                  <c:v>4.756430979828675</c:v>
                </c:pt>
                <c:pt idx="1335">
                  <c:v>4.7061913000468198</c:v>
                </c:pt>
                <c:pt idx="1336">
                  <c:v>4.6532934611698193</c:v>
                </c:pt>
                <c:pt idx="1337">
                  <c:v>4.5974403879261505</c:v>
                </c:pt>
                <c:pt idx="1338">
                  <c:v>4.5940418282002478</c:v>
                </c:pt>
                <c:pt idx="1339">
                  <c:v>4.590631678866969</c:v>
                </c:pt>
                <c:pt idx="1340">
                  <c:v>4.5872098606110985</c:v>
                </c:pt>
                <c:pt idx="1341">
                  <c:v>4.5732322224521509</c:v>
                </c:pt>
                <c:pt idx="1342">
                  <c:v>4.5590564370220674</c:v>
                </c:pt>
                <c:pt idx="1343">
                  <c:v>4.5446768055591287</c:v>
                </c:pt>
                <c:pt idx="1344">
                  <c:v>4.6585845626227274</c:v>
                </c:pt>
                <c:pt idx="1345">
                  <c:v>4.7608340061551599</c:v>
                </c:pt>
                <c:pt idx="1346">
                  <c:v>4.8535915444865694</c:v>
                </c:pt>
                <c:pt idx="1347">
                  <c:v>4.9300516994289785</c:v>
                </c:pt>
                <c:pt idx="1348">
                  <c:v>5.0010786635107438</c:v>
                </c:pt>
                <c:pt idx="1349">
                  <c:v>5.0673936279148641</c:v>
                </c:pt>
                <c:pt idx="1350">
                  <c:v>5.1017954603529407</c:v>
                </c:pt>
                <c:pt idx="1351">
                  <c:v>5.1350530612875396</c:v>
                </c:pt>
                <c:pt idx="1352">
                  <c:v>5.1672401029410935</c:v>
                </c:pt>
                <c:pt idx="1353">
                  <c:v>5.2089942285878346</c:v>
                </c:pt>
                <c:pt idx="1354">
                  <c:v>5.2490745999695854</c:v>
                </c:pt>
                <c:pt idx="1355">
                  <c:v>5.2876102494043487</c:v>
                </c:pt>
                <c:pt idx="1356">
                  <c:v>5.2876776314436915</c:v>
                </c:pt>
                <c:pt idx="1357">
                  <c:v>5.2877450089430011</c:v>
                </c:pt>
                <c:pt idx="1358">
                  <c:v>5.2878123819028895</c:v>
                </c:pt>
                <c:pt idx="1359">
                  <c:v>5.2782507043977223</c:v>
                </c:pt>
                <c:pt idx="1360">
                  <c:v>5.2685967178767319</c:v>
                </c:pt>
                <c:pt idx="1361">
                  <c:v>5.2588486226376698</c:v>
                </c:pt>
                <c:pt idx="1362">
                  <c:v>5.2500895442347808</c:v>
                </c:pt>
                <c:pt idx="1363">
                  <c:v>5.241253065926359</c:v>
                </c:pt>
                <c:pt idx="1364">
                  <c:v>5.2323378076140612</c:v>
                </c:pt>
                <c:pt idx="1365">
                  <c:v>5.2062203523270494</c:v>
                </c:pt>
                <c:pt idx="1366">
                  <c:v>5.1794024405453989</c:v>
                </c:pt>
                <c:pt idx="1367">
                  <c:v>5.1518454626477794</c:v>
                </c:pt>
                <c:pt idx="1368">
                  <c:v>5.1565041550915742</c:v>
                </c:pt>
                <c:pt idx="1369">
                  <c:v>5.1611412447220566</c:v>
                </c:pt>
                <c:pt idx="1370">
                  <c:v>5.165756930963556</c:v>
                </c:pt>
                <c:pt idx="1371">
                  <c:v>5.176808649150594</c:v>
                </c:pt>
                <c:pt idx="1372">
                  <c:v>5.187739560766758</c:v>
                </c:pt>
                <c:pt idx="1373">
                  <c:v>5.1985522783584619</c:v>
                </c:pt>
                <c:pt idx="1374">
                  <c:v>5.2045010703437518</c:v>
                </c:pt>
                <c:pt idx="1375">
                  <c:v>5.2104146833721252</c:v>
                </c:pt>
                <c:pt idx="1376">
                  <c:v>5.2162935310694456</c:v>
                </c:pt>
                <c:pt idx="1377">
                  <c:v>5.2309838318856654</c:v>
                </c:pt>
                <c:pt idx="1378">
                  <c:v>5.245461448390877</c:v>
                </c:pt>
                <c:pt idx="1379">
                  <c:v>5.2597324512324679</c:v>
                </c:pt>
                <c:pt idx="1380">
                  <c:v>5.2579293056427483</c:v>
                </c:pt>
                <c:pt idx="1381">
                  <c:v>5.2561229028449068</c:v>
                </c:pt>
                <c:pt idx="1382">
                  <c:v>5.2543132310499816</c:v>
                </c:pt>
                <c:pt idx="1383">
                  <c:v>5.26362239675115</c:v>
                </c:pt>
                <c:pt idx="1384">
                  <c:v>5.2728457005743667</c:v>
                </c:pt>
                <c:pt idx="1385">
                  <c:v>5.281984711927139</c:v>
                </c:pt>
              </c:numCache>
            </c:numRef>
          </c:val>
          <c:smooth val="0"/>
          <c:extLst>
            <c:ext xmlns:c16="http://schemas.microsoft.com/office/drawing/2014/chart" uri="{C3380CC4-5D6E-409C-BE32-E72D297353CC}">
              <c16:uniqueId val="{00000002-4E59-4C2C-826E-B03C6093D23B}"/>
            </c:ext>
          </c:extLst>
        </c:ser>
        <c:ser>
          <c:idx val="2"/>
          <c:order val="2"/>
          <c:tx>
            <c:strRef>
              <c:f>Sheet1!$U$2</c:f>
              <c:strCache>
                <c:ptCount val="1"/>
                <c:pt idx="0">
                  <c:v>Gewinn-Trend</c:v>
                </c:pt>
              </c:strCache>
            </c:strRef>
          </c:tx>
          <c:spPr>
            <a:ln w="15875" cap="rnd">
              <a:solidFill>
                <a:schemeClr val="accent3"/>
              </a:solidFill>
              <a:prstDash val="dash"/>
              <a:round/>
            </a:ln>
            <a:effectLst/>
          </c:spPr>
          <c:marker>
            <c:symbol val="none"/>
          </c:marker>
          <c:cat>
            <c:numRef>
              <c:f>Sheet1!$P$4:$P$1389</c:f>
              <c:numCache>
                <c:formatCode>m/d/yyyy</c:formatCode>
                <c:ptCount val="1386"/>
                <c:pt idx="0">
                  <c:v>3319</c:v>
                </c:pt>
                <c:pt idx="1">
                  <c:v>3347</c:v>
                </c:pt>
                <c:pt idx="2">
                  <c:v>3378</c:v>
                </c:pt>
                <c:pt idx="3">
                  <c:v>3408</c:v>
                </c:pt>
                <c:pt idx="4">
                  <c:v>3439</c:v>
                </c:pt>
                <c:pt idx="5">
                  <c:v>3469</c:v>
                </c:pt>
                <c:pt idx="6">
                  <c:v>3500</c:v>
                </c:pt>
                <c:pt idx="7">
                  <c:v>3531</c:v>
                </c:pt>
                <c:pt idx="8">
                  <c:v>3561</c:v>
                </c:pt>
                <c:pt idx="9">
                  <c:v>3592</c:v>
                </c:pt>
                <c:pt idx="10">
                  <c:v>3622</c:v>
                </c:pt>
                <c:pt idx="11">
                  <c:v>3653</c:v>
                </c:pt>
                <c:pt idx="12">
                  <c:v>3684</c:v>
                </c:pt>
                <c:pt idx="13">
                  <c:v>3712</c:v>
                </c:pt>
                <c:pt idx="14">
                  <c:v>3743</c:v>
                </c:pt>
                <c:pt idx="15">
                  <c:v>3773</c:v>
                </c:pt>
                <c:pt idx="16">
                  <c:v>3804</c:v>
                </c:pt>
                <c:pt idx="17">
                  <c:v>3834</c:v>
                </c:pt>
                <c:pt idx="18">
                  <c:v>3865</c:v>
                </c:pt>
                <c:pt idx="19">
                  <c:v>3896</c:v>
                </c:pt>
                <c:pt idx="20">
                  <c:v>3926</c:v>
                </c:pt>
                <c:pt idx="21">
                  <c:v>3957</c:v>
                </c:pt>
                <c:pt idx="22">
                  <c:v>3987</c:v>
                </c:pt>
                <c:pt idx="23">
                  <c:v>4018</c:v>
                </c:pt>
                <c:pt idx="24">
                  <c:v>4049</c:v>
                </c:pt>
                <c:pt idx="25">
                  <c:v>4077</c:v>
                </c:pt>
                <c:pt idx="26">
                  <c:v>4108</c:v>
                </c:pt>
                <c:pt idx="27">
                  <c:v>4138</c:v>
                </c:pt>
                <c:pt idx="28">
                  <c:v>4169</c:v>
                </c:pt>
                <c:pt idx="29">
                  <c:v>4199</c:v>
                </c:pt>
                <c:pt idx="30">
                  <c:v>4230</c:v>
                </c:pt>
                <c:pt idx="31">
                  <c:v>4261</c:v>
                </c:pt>
                <c:pt idx="32">
                  <c:v>4291</c:v>
                </c:pt>
                <c:pt idx="33">
                  <c:v>4322</c:v>
                </c:pt>
                <c:pt idx="34">
                  <c:v>4352</c:v>
                </c:pt>
                <c:pt idx="35">
                  <c:v>4383</c:v>
                </c:pt>
                <c:pt idx="36">
                  <c:v>4414</c:v>
                </c:pt>
                <c:pt idx="37">
                  <c:v>4443</c:v>
                </c:pt>
                <c:pt idx="38">
                  <c:v>4474</c:v>
                </c:pt>
                <c:pt idx="39">
                  <c:v>4504</c:v>
                </c:pt>
                <c:pt idx="40">
                  <c:v>4535</c:v>
                </c:pt>
                <c:pt idx="41">
                  <c:v>4565</c:v>
                </c:pt>
                <c:pt idx="42">
                  <c:v>4596</c:v>
                </c:pt>
                <c:pt idx="43">
                  <c:v>4627</c:v>
                </c:pt>
                <c:pt idx="44">
                  <c:v>4657</c:v>
                </c:pt>
                <c:pt idx="45">
                  <c:v>4688</c:v>
                </c:pt>
                <c:pt idx="46">
                  <c:v>4718</c:v>
                </c:pt>
                <c:pt idx="47">
                  <c:v>4749</c:v>
                </c:pt>
                <c:pt idx="48">
                  <c:v>4780</c:v>
                </c:pt>
                <c:pt idx="49">
                  <c:v>4808</c:v>
                </c:pt>
                <c:pt idx="50">
                  <c:v>4839</c:v>
                </c:pt>
                <c:pt idx="51">
                  <c:v>4869</c:v>
                </c:pt>
                <c:pt idx="52">
                  <c:v>4900</c:v>
                </c:pt>
                <c:pt idx="53">
                  <c:v>4930</c:v>
                </c:pt>
                <c:pt idx="54">
                  <c:v>4961</c:v>
                </c:pt>
                <c:pt idx="55">
                  <c:v>4992</c:v>
                </c:pt>
                <c:pt idx="56">
                  <c:v>5022</c:v>
                </c:pt>
                <c:pt idx="57">
                  <c:v>5053</c:v>
                </c:pt>
                <c:pt idx="58">
                  <c:v>5083</c:v>
                </c:pt>
                <c:pt idx="59">
                  <c:v>5114</c:v>
                </c:pt>
                <c:pt idx="60">
                  <c:v>5145</c:v>
                </c:pt>
                <c:pt idx="61">
                  <c:v>5173</c:v>
                </c:pt>
                <c:pt idx="62">
                  <c:v>5204</c:v>
                </c:pt>
                <c:pt idx="63">
                  <c:v>5234</c:v>
                </c:pt>
                <c:pt idx="64">
                  <c:v>5265</c:v>
                </c:pt>
                <c:pt idx="65">
                  <c:v>5295</c:v>
                </c:pt>
                <c:pt idx="66">
                  <c:v>5326</c:v>
                </c:pt>
                <c:pt idx="67">
                  <c:v>5357</c:v>
                </c:pt>
                <c:pt idx="68">
                  <c:v>5387</c:v>
                </c:pt>
                <c:pt idx="69">
                  <c:v>5418</c:v>
                </c:pt>
                <c:pt idx="70">
                  <c:v>5448</c:v>
                </c:pt>
                <c:pt idx="71">
                  <c:v>5479</c:v>
                </c:pt>
                <c:pt idx="72">
                  <c:v>5510</c:v>
                </c:pt>
                <c:pt idx="73">
                  <c:v>5538</c:v>
                </c:pt>
                <c:pt idx="74">
                  <c:v>5569</c:v>
                </c:pt>
                <c:pt idx="75">
                  <c:v>5599</c:v>
                </c:pt>
                <c:pt idx="76">
                  <c:v>5630</c:v>
                </c:pt>
                <c:pt idx="77">
                  <c:v>5660</c:v>
                </c:pt>
                <c:pt idx="78">
                  <c:v>5691</c:v>
                </c:pt>
                <c:pt idx="79">
                  <c:v>5722</c:v>
                </c:pt>
                <c:pt idx="80">
                  <c:v>5752</c:v>
                </c:pt>
                <c:pt idx="81">
                  <c:v>5783</c:v>
                </c:pt>
                <c:pt idx="82">
                  <c:v>5813</c:v>
                </c:pt>
                <c:pt idx="83">
                  <c:v>5844</c:v>
                </c:pt>
                <c:pt idx="84">
                  <c:v>5875</c:v>
                </c:pt>
                <c:pt idx="85">
                  <c:v>5904</c:v>
                </c:pt>
                <c:pt idx="86">
                  <c:v>5935</c:v>
                </c:pt>
                <c:pt idx="87">
                  <c:v>5965</c:v>
                </c:pt>
                <c:pt idx="88">
                  <c:v>5996</c:v>
                </c:pt>
                <c:pt idx="89">
                  <c:v>6026</c:v>
                </c:pt>
                <c:pt idx="90">
                  <c:v>6057</c:v>
                </c:pt>
                <c:pt idx="91">
                  <c:v>6088</c:v>
                </c:pt>
                <c:pt idx="92">
                  <c:v>6118</c:v>
                </c:pt>
                <c:pt idx="93">
                  <c:v>6149</c:v>
                </c:pt>
                <c:pt idx="94">
                  <c:v>6179</c:v>
                </c:pt>
                <c:pt idx="95">
                  <c:v>6210</c:v>
                </c:pt>
                <c:pt idx="96">
                  <c:v>6241</c:v>
                </c:pt>
                <c:pt idx="97">
                  <c:v>6269</c:v>
                </c:pt>
                <c:pt idx="98">
                  <c:v>6300</c:v>
                </c:pt>
                <c:pt idx="99">
                  <c:v>6330</c:v>
                </c:pt>
                <c:pt idx="100">
                  <c:v>6361</c:v>
                </c:pt>
                <c:pt idx="101">
                  <c:v>6391</c:v>
                </c:pt>
                <c:pt idx="102">
                  <c:v>6422</c:v>
                </c:pt>
                <c:pt idx="103">
                  <c:v>6453</c:v>
                </c:pt>
                <c:pt idx="104">
                  <c:v>6483</c:v>
                </c:pt>
                <c:pt idx="105">
                  <c:v>6514</c:v>
                </c:pt>
                <c:pt idx="106">
                  <c:v>6544</c:v>
                </c:pt>
                <c:pt idx="107">
                  <c:v>6575</c:v>
                </c:pt>
                <c:pt idx="108">
                  <c:v>6606</c:v>
                </c:pt>
                <c:pt idx="109">
                  <c:v>6634</c:v>
                </c:pt>
                <c:pt idx="110">
                  <c:v>6665</c:v>
                </c:pt>
                <c:pt idx="111">
                  <c:v>6695</c:v>
                </c:pt>
                <c:pt idx="112">
                  <c:v>6726</c:v>
                </c:pt>
                <c:pt idx="113">
                  <c:v>6756</c:v>
                </c:pt>
                <c:pt idx="114">
                  <c:v>6787</c:v>
                </c:pt>
                <c:pt idx="115">
                  <c:v>6818</c:v>
                </c:pt>
                <c:pt idx="116">
                  <c:v>6848</c:v>
                </c:pt>
                <c:pt idx="117">
                  <c:v>6879</c:v>
                </c:pt>
                <c:pt idx="118">
                  <c:v>6909</c:v>
                </c:pt>
                <c:pt idx="119">
                  <c:v>6940</c:v>
                </c:pt>
                <c:pt idx="120">
                  <c:v>6971</c:v>
                </c:pt>
                <c:pt idx="121">
                  <c:v>6999</c:v>
                </c:pt>
                <c:pt idx="122">
                  <c:v>7030</c:v>
                </c:pt>
                <c:pt idx="123">
                  <c:v>7060</c:v>
                </c:pt>
                <c:pt idx="124">
                  <c:v>7091</c:v>
                </c:pt>
                <c:pt idx="125">
                  <c:v>7121</c:v>
                </c:pt>
                <c:pt idx="126">
                  <c:v>7152</c:v>
                </c:pt>
                <c:pt idx="127">
                  <c:v>7183</c:v>
                </c:pt>
                <c:pt idx="128">
                  <c:v>7213</c:v>
                </c:pt>
                <c:pt idx="129">
                  <c:v>7244</c:v>
                </c:pt>
                <c:pt idx="130">
                  <c:v>7274</c:v>
                </c:pt>
                <c:pt idx="131">
                  <c:v>7305</c:v>
                </c:pt>
                <c:pt idx="132">
                  <c:v>7336</c:v>
                </c:pt>
                <c:pt idx="133">
                  <c:v>7365</c:v>
                </c:pt>
                <c:pt idx="134">
                  <c:v>7396</c:v>
                </c:pt>
                <c:pt idx="135">
                  <c:v>7426</c:v>
                </c:pt>
                <c:pt idx="136">
                  <c:v>7457</c:v>
                </c:pt>
                <c:pt idx="137">
                  <c:v>7487</c:v>
                </c:pt>
                <c:pt idx="138">
                  <c:v>7518</c:v>
                </c:pt>
                <c:pt idx="139">
                  <c:v>7549</c:v>
                </c:pt>
                <c:pt idx="140">
                  <c:v>7579</c:v>
                </c:pt>
                <c:pt idx="141">
                  <c:v>7610</c:v>
                </c:pt>
                <c:pt idx="142">
                  <c:v>7640</c:v>
                </c:pt>
                <c:pt idx="143">
                  <c:v>7671</c:v>
                </c:pt>
                <c:pt idx="144">
                  <c:v>7702</c:v>
                </c:pt>
                <c:pt idx="145">
                  <c:v>7730</c:v>
                </c:pt>
                <c:pt idx="146">
                  <c:v>7761</c:v>
                </c:pt>
                <c:pt idx="147">
                  <c:v>7791</c:v>
                </c:pt>
                <c:pt idx="148">
                  <c:v>7822</c:v>
                </c:pt>
                <c:pt idx="149">
                  <c:v>7852</c:v>
                </c:pt>
                <c:pt idx="150">
                  <c:v>7883</c:v>
                </c:pt>
                <c:pt idx="151">
                  <c:v>7914</c:v>
                </c:pt>
                <c:pt idx="152">
                  <c:v>7944</c:v>
                </c:pt>
                <c:pt idx="153">
                  <c:v>7975</c:v>
                </c:pt>
                <c:pt idx="154">
                  <c:v>8005</c:v>
                </c:pt>
                <c:pt idx="155">
                  <c:v>8036</c:v>
                </c:pt>
                <c:pt idx="156">
                  <c:v>8067</c:v>
                </c:pt>
                <c:pt idx="157">
                  <c:v>8095</c:v>
                </c:pt>
                <c:pt idx="158">
                  <c:v>8126</c:v>
                </c:pt>
                <c:pt idx="159">
                  <c:v>8156</c:v>
                </c:pt>
                <c:pt idx="160">
                  <c:v>8187</c:v>
                </c:pt>
                <c:pt idx="161">
                  <c:v>8217</c:v>
                </c:pt>
                <c:pt idx="162">
                  <c:v>8248</c:v>
                </c:pt>
                <c:pt idx="163">
                  <c:v>8279</c:v>
                </c:pt>
                <c:pt idx="164">
                  <c:v>8309</c:v>
                </c:pt>
                <c:pt idx="165">
                  <c:v>8340</c:v>
                </c:pt>
                <c:pt idx="166">
                  <c:v>8370</c:v>
                </c:pt>
                <c:pt idx="167">
                  <c:v>8401</c:v>
                </c:pt>
                <c:pt idx="168">
                  <c:v>8432</c:v>
                </c:pt>
                <c:pt idx="169">
                  <c:v>8460</c:v>
                </c:pt>
                <c:pt idx="170">
                  <c:v>8491</c:v>
                </c:pt>
                <c:pt idx="171">
                  <c:v>8521</c:v>
                </c:pt>
                <c:pt idx="172">
                  <c:v>8552</c:v>
                </c:pt>
                <c:pt idx="173">
                  <c:v>8582</c:v>
                </c:pt>
                <c:pt idx="174">
                  <c:v>8613</c:v>
                </c:pt>
                <c:pt idx="175">
                  <c:v>8644</c:v>
                </c:pt>
                <c:pt idx="176">
                  <c:v>8674</c:v>
                </c:pt>
                <c:pt idx="177">
                  <c:v>8705</c:v>
                </c:pt>
                <c:pt idx="178">
                  <c:v>8735</c:v>
                </c:pt>
                <c:pt idx="179">
                  <c:v>8766</c:v>
                </c:pt>
                <c:pt idx="180">
                  <c:v>8797</c:v>
                </c:pt>
                <c:pt idx="181">
                  <c:v>8826</c:v>
                </c:pt>
                <c:pt idx="182">
                  <c:v>8857</c:v>
                </c:pt>
                <c:pt idx="183">
                  <c:v>8887</c:v>
                </c:pt>
                <c:pt idx="184">
                  <c:v>8918</c:v>
                </c:pt>
                <c:pt idx="185">
                  <c:v>8948</c:v>
                </c:pt>
                <c:pt idx="186">
                  <c:v>8979</c:v>
                </c:pt>
                <c:pt idx="187">
                  <c:v>9010</c:v>
                </c:pt>
                <c:pt idx="188">
                  <c:v>9040</c:v>
                </c:pt>
                <c:pt idx="189">
                  <c:v>9071</c:v>
                </c:pt>
                <c:pt idx="190">
                  <c:v>9101</c:v>
                </c:pt>
                <c:pt idx="191">
                  <c:v>9132</c:v>
                </c:pt>
                <c:pt idx="192">
                  <c:v>9163</c:v>
                </c:pt>
                <c:pt idx="193">
                  <c:v>9191</c:v>
                </c:pt>
                <c:pt idx="194">
                  <c:v>9222</c:v>
                </c:pt>
                <c:pt idx="195">
                  <c:v>9252</c:v>
                </c:pt>
                <c:pt idx="196">
                  <c:v>9283</c:v>
                </c:pt>
                <c:pt idx="197">
                  <c:v>9313</c:v>
                </c:pt>
                <c:pt idx="198">
                  <c:v>9344</c:v>
                </c:pt>
                <c:pt idx="199">
                  <c:v>9375</c:v>
                </c:pt>
                <c:pt idx="200">
                  <c:v>9405</c:v>
                </c:pt>
                <c:pt idx="201">
                  <c:v>9436</c:v>
                </c:pt>
                <c:pt idx="202">
                  <c:v>9466</c:v>
                </c:pt>
                <c:pt idx="203">
                  <c:v>9497</c:v>
                </c:pt>
                <c:pt idx="204">
                  <c:v>9528</c:v>
                </c:pt>
                <c:pt idx="205">
                  <c:v>9556</c:v>
                </c:pt>
                <c:pt idx="206">
                  <c:v>9587</c:v>
                </c:pt>
                <c:pt idx="207">
                  <c:v>9617</c:v>
                </c:pt>
                <c:pt idx="208">
                  <c:v>9648</c:v>
                </c:pt>
                <c:pt idx="209">
                  <c:v>9678</c:v>
                </c:pt>
                <c:pt idx="210">
                  <c:v>9709</c:v>
                </c:pt>
                <c:pt idx="211">
                  <c:v>9740</c:v>
                </c:pt>
                <c:pt idx="212">
                  <c:v>9770</c:v>
                </c:pt>
                <c:pt idx="213">
                  <c:v>9801</c:v>
                </c:pt>
                <c:pt idx="214">
                  <c:v>9831</c:v>
                </c:pt>
                <c:pt idx="215">
                  <c:v>9862</c:v>
                </c:pt>
                <c:pt idx="216">
                  <c:v>9893</c:v>
                </c:pt>
                <c:pt idx="217">
                  <c:v>9921</c:v>
                </c:pt>
                <c:pt idx="218">
                  <c:v>9952</c:v>
                </c:pt>
                <c:pt idx="219">
                  <c:v>9982</c:v>
                </c:pt>
                <c:pt idx="220">
                  <c:v>10013</c:v>
                </c:pt>
                <c:pt idx="221">
                  <c:v>10043</c:v>
                </c:pt>
                <c:pt idx="222">
                  <c:v>10074</c:v>
                </c:pt>
                <c:pt idx="223">
                  <c:v>10105</c:v>
                </c:pt>
                <c:pt idx="224">
                  <c:v>10135</c:v>
                </c:pt>
                <c:pt idx="225">
                  <c:v>10166</c:v>
                </c:pt>
                <c:pt idx="226">
                  <c:v>10196</c:v>
                </c:pt>
                <c:pt idx="227">
                  <c:v>10227</c:v>
                </c:pt>
                <c:pt idx="228">
                  <c:v>10258</c:v>
                </c:pt>
                <c:pt idx="229">
                  <c:v>10287</c:v>
                </c:pt>
                <c:pt idx="230">
                  <c:v>10318</c:v>
                </c:pt>
                <c:pt idx="231">
                  <c:v>10348</c:v>
                </c:pt>
                <c:pt idx="232">
                  <c:v>10379</c:v>
                </c:pt>
                <c:pt idx="233">
                  <c:v>10409</c:v>
                </c:pt>
                <c:pt idx="234">
                  <c:v>10440</c:v>
                </c:pt>
                <c:pt idx="235">
                  <c:v>10471</c:v>
                </c:pt>
                <c:pt idx="236">
                  <c:v>10501</c:v>
                </c:pt>
                <c:pt idx="237">
                  <c:v>10532</c:v>
                </c:pt>
                <c:pt idx="238">
                  <c:v>10562</c:v>
                </c:pt>
                <c:pt idx="239">
                  <c:v>10593</c:v>
                </c:pt>
                <c:pt idx="240">
                  <c:v>10624</c:v>
                </c:pt>
                <c:pt idx="241">
                  <c:v>10652</c:v>
                </c:pt>
                <c:pt idx="242">
                  <c:v>10683</c:v>
                </c:pt>
                <c:pt idx="243">
                  <c:v>10713</c:v>
                </c:pt>
                <c:pt idx="244">
                  <c:v>10744</c:v>
                </c:pt>
                <c:pt idx="245">
                  <c:v>10774</c:v>
                </c:pt>
                <c:pt idx="246">
                  <c:v>10805</c:v>
                </c:pt>
                <c:pt idx="247">
                  <c:v>10836</c:v>
                </c:pt>
                <c:pt idx="248">
                  <c:v>10866</c:v>
                </c:pt>
                <c:pt idx="249">
                  <c:v>10897</c:v>
                </c:pt>
                <c:pt idx="250">
                  <c:v>10927</c:v>
                </c:pt>
                <c:pt idx="251">
                  <c:v>10958</c:v>
                </c:pt>
                <c:pt idx="252">
                  <c:v>10989</c:v>
                </c:pt>
                <c:pt idx="253">
                  <c:v>11017</c:v>
                </c:pt>
                <c:pt idx="254">
                  <c:v>11048</c:v>
                </c:pt>
                <c:pt idx="255">
                  <c:v>11078</c:v>
                </c:pt>
                <c:pt idx="256">
                  <c:v>11109</c:v>
                </c:pt>
                <c:pt idx="257">
                  <c:v>11139</c:v>
                </c:pt>
                <c:pt idx="258">
                  <c:v>11170</c:v>
                </c:pt>
                <c:pt idx="259">
                  <c:v>11201</c:v>
                </c:pt>
                <c:pt idx="260">
                  <c:v>11231</c:v>
                </c:pt>
                <c:pt idx="261">
                  <c:v>11262</c:v>
                </c:pt>
                <c:pt idx="262">
                  <c:v>11292</c:v>
                </c:pt>
                <c:pt idx="263">
                  <c:v>11323</c:v>
                </c:pt>
                <c:pt idx="264">
                  <c:v>11354</c:v>
                </c:pt>
                <c:pt idx="265">
                  <c:v>11382</c:v>
                </c:pt>
                <c:pt idx="266">
                  <c:v>11413</c:v>
                </c:pt>
                <c:pt idx="267">
                  <c:v>11443</c:v>
                </c:pt>
                <c:pt idx="268">
                  <c:v>11474</c:v>
                </c:pt>
                <c:pt idx="269">
                  <c:v>11504</c:v>
                </c:pt>
                <c:pt idx="270">
                  <c:v>11535</c:v>
                </c:pt>
                <c:pt idx="271">
                  <c:v>11566</c:v>
                </c:pt>
                <c:pt idx="272">
                  <c:v>11596</c:v>
                </c:pt>
                <c:pt idx="273">
                  <c:v>11627</c:v>
                </c:pt>
                <c:pt idx="274">
                  <c:v>11657</c:v>
                </c:pt>
                <c:pt idx="275">
                  <c:v>11688</c:v>
                </c:pt>
                <c:pt idx="276">
                  <c:v>11719</c:v>
                </c:pt>
                <c:pt idx="277">
                  <c:v>11748</c:v>
                </c:pt>
                <c:pt idx="278">
                  <c:v>11779</c:v>
                </c:pt>
                <c:pt idx="279">
                  <c:v>11809</c:v>
                </c:pt>
                <c:pt idx="280">
                  <c:v>11840</c:v>
                </c:pt>
                <c:pt idx="281">
                  <c:v>11870</c:v>
                </c:pt>
                <c:pt idx="282">
                  <c:v>11901</c:v>
                </c:pt>
                <c:pt idx="283">
                  <c:v>11932</c:v>
                </c:pt>
                <c:pt idx="284">
                  <c:v>11962</c:v>
                </c:pt>
                <c:pt idx="285">
                  <c:v>11993</c:v>
                </c:pt>
                <c:pt idx="286">
                  <c:v>12023</c:v>
                </c:pt>
                <c:pt idx="287">
                  <c:v>12054</c:v>
                </c:pt>
                <c:pt idx="288">
                  <c:v>12085</c:v>
                </c:pt>
                <c:pt idx="289">
                  <c:v>12113</c:v>
                </c:pt>
                <c:pt idx="290">
                  <c:v>12144</c:v>
                </c:pt>
                <c:pt idx="291">
                  <c:v>12174</c:v>
                </c:pt>
                <c:pt idx="292">
                  <c:v>12205</c:v>
                </c:pt>
                <c:pt idx="293">
                  <c:v>12235</c:v>
                </c:pt>
                <c:pt idx="294">
                  <c:v>12266</c:v>
                </c:pt>
                <c:pt idx="295">
                  <c:v>12297</c:v>
                </c:pt>
                <c:pt idx="296">
                  <c:v>12327</c:v>
                </c:pt>
                <c:pt idx="297">
                  <c:v>12358</c:v>
                </c:pt>
                <c:pt idx="298">
                  <c:v>12388</c:v>
                </c:pt>
                <c:pt idx="299">
                  <c:v>12419</c:v>
                </c:pt>
                <c:pt idx="300">
                  <c:v>12450</c:v>
                </c:pt>
                <c:pt idx="301">
                  <c:v>12478</c:v>
                </c:pt>
                <c:pt idx="302">
                  <c:v>12509</c:v>
                </c:pt>
                <c:pt idx="303">
                  <c:v>12539</c:v>
                </c:pt>
                <c:pt idx="304">
                  <c:v>12570</c:v>
                </c:pt>
                <c:pt idx="305">
                  <c:v>12600</c:v>
                </c:pt>
                <c:pt idx="306">
                  <c:v>12631</c:v>
                </c:pt>
                <c:pt idx="307">
                  <c:v>12662</c:v>
                </c:pt>
                <c:pt idx="308">
                  <c:v>12692</c:v>
                </c:pt>
                <c:pt idx="309">
                  <c:v>12723</c:v>
                </c:pt>
                <c:pt idx="310">
                  <c:v>12753</c:v>
                </c:pt>
                <c:pt idx="311">
                  <c:v>12784</c:v>
                </c:pt>
                <c:pt idx="312">
                  <c:v>12815</c:v>
                </c:pt>
                <c:pt idx="313">
                  <c:v>12843</c:v>
                </c:pt>
                <c:pt idx="314">
                  <c:v>12874</c:v>
                </c:pt>
                <c:pt idx="315">
                  <c:v>12904</c:v>
                </c:pt>
                <c:pt idx="316">
                  <c:v>12935</c:v>
                </c:pt>
                <c:pt idx="317">
                  <c:v>12965</c:v>
                </c:pt>
                <c:pt idx="318">
                  <c:v>12996</c:v>
                </c:pt>
                <c:pt idx="319">
                  <c:v>13027</c:v>
                </c:pt>
                <c:pt idx="320">
                  <c:v>13057</c:v>
                </c:pt>
                <c:pt idx="321">
                  <c:v>13088</c:v>
                </c:pt>
                <c:pt idx="322">
                  <c:v>13118</c:v>
                </c:pt>
                <c:pt idx="323">
                  <c:v>13149</c:v>
                </c:pt>
                <c:pt idx="324">
                  <c:v>13180</c:v>
                </c:pt>
                <c:pt idx="325">
                  <c:v>13209</c:v>
                </c:pt>
                <c:pt idx="326">
                  <c:v>13240</c:v>
                </c:pt>
                <c:pt idx="327">
                  <c:v>13270</c:v>
                </c:pt>
                <c:pt idx="328">
                  <c:v>13301</c:v>
                </c:pt>
                <c:pt idx="329">
                  <c:v>13331</c:v>
                </c:pt>
                <c:pt idx="330">
                  <c:v>13362</c:v>
                </c:pt>
                <c:pt idx="331">
                  <c:v>13393</c:v>
                </c:pt>
                <c:pt idx="332">
                  <c:v>13423</c:v>
                </c:pt>
                <c:pt idx="333">
                  <c:v>13454</c:v>
                </c:pt>
                <c:pt idx="334">
                  <c:v>13484</c:v>
                </c:pt>
                <c:pt idx="335">
                  <c:v>13515</c:v>
                </c:pt>
                <c:pt idx="336">
                  <c:v>13546</c:v>
                </c:pt>
                <c:pt idx="337">
                  <c:v>13574</c:v>
                </c:pt>
                <c:pt idx="338">
                  <c:v>13605</c:v>
                </c:pt>
                <c:pt idx="339">
                  <c:v>13635</c:v>
                </c:pt>
                <c:pt idx="340">
                  <c:v>13666</c:v>
                </c:pt>
                <c:pt idx="341">
                  <c:v>13696</c:v>
                </c:pt>
                <c:pt idx="342">
                  <c:v>13727</c:v>
                </c:pt>
                <c:pt idx="343">
                  <c:v>13758</c:v>
                </c:pt>
                <c:pt idx="344">
                  <c:v>13788</c:v>
                </c:pt>
                <c:pt idx="345">
                  <c:v>13819</c:v>
                </c:pt>
                <c:pt idx="346">
                  <c:v>13849</c:v>
                </c:pt>
                <c:pt idx="347">
                  <c:v>13880</c:v>
                </c:pt>
                <c:pt idx="348">
                  <c:v>13911</c:v>
                </c:pt>
                <c:pt idx="349">
                  <c:v>13939</c:v>
                </c:pt>
                <c:pt idx="350">
                  <c:v>13970</c:v>
                </c:pt>
                <c:pt idx="351">
                  <c:v>14000</c:v>
                </c:pt>
                <c:pt idx="352">
                  <c:v>14031</c:v>
                </c:pt>
                <c:pt idx="353">
                  <c:v>14061</c:v>
                </c:pt>
                <c:pt idx="354">
                  <c:v>14092</c:v>
                </c:pt>
                <c:pt idx="355">
                  <c:v>14123</c:v>
                </c:pt>
                <c:pt idx="356">
                  <c:v>14153</c:v>
                </c:pt>
                <c:pt idx="357">
                  <c:v>14184</c:v>
                </c:pt>
                <c:pt idx="358">
                  <c:v>14214</c:v>
                </c:pt>
                <c:pt idx="359">
                  <c:v>14245</c:v>
                </c:pt>
                <c:pt idx="360">
                  <c:v>14276</c:v>
                </c:pt>
                <c:pt idx="361">
                  <c:v>14304</c:v>
                </c:pt>
                <c:pt idx="362">
                  <c:v>14335</c:v>
                </c:pt>
                <c:pt idx="363">
                  <c:v>14365</c:v>
                </c:pt>
                <c:pt idx="364">
                  <c:v>14396</c:v>
                </c:pt>
                <c:pt idx="365">
                  <c:v>14426</c:v>
                </c:pt>
                <c:pt idx="366">
                  <c:v>14457</c:v>
                </c:pt>
                <c:pt idx="367">
                  <c:v>14488</c:v>
                </c:pt>
                <c:pt idx="368">
                  <c:v>14518</c:v>
                </c:pt>
                <c:pt idx="369">
                  <c:v>14549</c:v>
                </c:pt>
                <c:pt idx="370">
                  <c:v>14579</c:v>
                </c:pt>
                <c:pt idx="371">
                  <c:v>14610</c:v>
                </c:pt>
                <c:pt idx="372">
                  <c:v>14641</c:v>
                </c:pt>
                <c:pt idx="373">
                  <c:v>14670</c:v>
                </c:pt>
                <c:pt idx="374">
                  <c:v>14701</c:v>
                </c:pt>
                <c:pt idx="375">
                  <c:v>14731</c:v>
                </c:pt>
                <c:pt idx="376">
                  <c:v>14762</c:v>
                </c:pt>
                <c:pt idx="377">
                  <c:v>14792</c:v>
                </c:pt>
                <c:pt idx="378">
                  <c:v>14823</c:v>
                </c:pt>
                <c:pt idx="379">
                  <c:v>14854</c:v>
                </c:pt>
                <c:pt idx="380">
                  <c:v>14884</c:v>
                </c:pt>
                <c:pt idx="381">
                  <c:v>14915</c:v>
                </c:pt>
                <c:pt idx="382">
                  <c:v>14945</c:v>
                </c:pt>
                <c:pt idx="383">
                  <c:v>14976</c:v>
                </c:pt>
                <c:pt idx="384">
                  <c:v>15007</c:v>
                </c:pt>
                <c:pt idx="385">
                  <c:v>15035</c:v>
                </c:pt>
                <c:pt idx="386">
                  <c:v>15066</c:v>
                </c:pt>
                <c:pt idx="387">
                  <c:v>15096</c:v>
                </c:pt>
                <c:pt idx="388">
                  <c:v>15127</c:v>
                </c:pt>
                <c:pt idx="389">
                  <c:v>15157</c:v>
                </c:pt>
                <c:pt idx="390">
                  <c:v>15188</c:v>
                </c:pt>
                <c:pt idx="391">
                  <c:v>15219</c:v>
                </c:pt>
                <c:pt idx="392">
                  <c:v>15249</c:v>
                </c:pt>
                <c:pt idx="393">
                  <c:v>15280</c:v>
                </c:pt>
                <c:pt idx="394">
                  <c:v>15310</c:v>
                </c:pt>
                <c:pt idx="395">
                  <c:v>15341</c:v>
                </c:pt>
                <c:pt idx="396">
                  <c:v>15372</c:v>
                </c:pt>
                <c:pt idx="397">
                  <c:v>15400</c:v>
                </c:pt>
                <c:pt idx="398">
                  <c:v>15431</c:v>
                </c:pt>
                <c:pt idx="399">
                  <c:v>15461</c:v>
                </c:pt>
                <c:pt idx="400">
                  <c:v>15492</c:v>
                </c:pt>
                <c:pt idx="401">
                  <c:v>15522</c:v>
                </c:pt>
                <c:pt idx="402">
                  <c:v>15553</c:v>
                </c:pt>
                <c:pt idx="403">
                  <c:v>15584</c:v>
                </c:pt>
                <c:pt idx="404">
                  <c:v>15614</c:v>
                </c:pt>
                <c:pt idx="405">
                  <c:v>15645</c:v>
                </c:pt>
                <c:pt idx="406">
                  <c:v>15675</c:v>
                </c:pt>
                <c:pt idx="407">
                  <c:v>15706</c:v>
                </c:pt>
                <c:pt idx="408">
                  <c:v>15737</c:v>
                </c:pt>
                <c:pt idx="409">
                  <c:v>15765</c:v>
                </c:pt>
                <c:pt idx="410">
                  <c:v>15796</c:v>
                </c:pt>
                <c:pt idx="411">
                  <c:v>15826</c:v>
                </c:pt>
                <c:pt idx="412">
                  <c:v>15857</c:v>
                </c:pt>
                <c:pt idx="413">
                  <c:v>15887</c:v>
                </c:pt>
                <c:pt idx="414">
                  <c:v>15918</c:v>
                </c:pt>
                <c:pt idx="415">
                  <c:v>15949</c:v>
                </c:pt>
                <c:pt idx="416">
                  <c:v>15979</c:v>
                </c:pt>
                <c:pt idx="417">
                  <c:v>16010</c:v>
                </c:pt>
                <c:pt idx="418">
                  <c:v>16040</c:v>
                </c:pt>
                <c:pt idx="419">
                  <c:v>16071</c:v>
                </c:pt>
                <c:pt idx="420">
                  <c:v>16102</c:v>
                </c:pt>
                <c:pt idx="421">
                  <c:v>16131</c:v>
                </c:pt>
                <c:pt idx="422">
                  <c:v>16162</c:v>
                </c:pt>
                <c:pt idx="423">
                  <c:v>16192</c:v>
                </c:pt>
                <c:pt idx="424">
                  <c:v>16223</c:v>
                </c:pt>
                <c:pt idx="425">
                  <c:v>16253</c:v>
                </c:pt>
                <c:pt idx="426">
                  <c:v>16284</c:v>
                </c:pt>
                <c:pt idx="427">
                  <c:v>16315</c:v>
                </c:pt>
                <c:pt idx="428">
                  <c:v>16345</c:v>
                </c:pt>
                <c:pt idx="429">
                  <c:v>16376</c:v>
                </c:pt>
                <c:pt idx="430">
                  <c:v>16406</c:v>
                </c:pt>
                <c:pt idx="431">
                  <c:v>16437</c:v>
                </c:pt>
                <c:pt idx="432">
                  <c:v>16468</c:v>
                </c:pt>
                <c:pt idx="433">
                  <c:v>16496</c:v>
                </c:pt>
                <c:pt idx="434">
                  <c:v>16527</c:v>
                </c:pt>
                <c:pt idx="435">
                  <c:v>16557</c:v>
                </c:pt>
                <c:pt idx="436">
                  <c:v>16588</c:v>
                </c:pt>
                <c:pt idx="437">
                  <c:v>16618</c:v>
                </c:pt>
                <c:pt idx="438">
                  <c:v>16649</c:v>
                </c:pt>
                <c:pt idx="439">
                  <c:v>16680</c:v>
                </c:pt>
                <c:pt idx="440">
                  <c:v>16710</c:v>
                </c:pt>
                <c:pt idx="441">
                  <c:v>16741</c:v>
                </c:pt>
                <c:pt idx="442">
                  <c:v>16771</c:v>
                </c:pt>
                <c:pt idx="443">
                  <c:v>16802</c:v>
                </c:pt>
                <c:pt idx="444">
                  <c:v>16833</c:v>
                </c:pt>
                <c:pt idx="445">
                  <c:v>16861</c:v>
                </c:pt>
                <c:pt idx="446">
                  <c:v>16892</c:v>
                </c:pt>
                <c:pt idx="447">
                  <c:v>16922</c:v>
                </c:pt>
                <c:pt idx="448">
                  <c:v>16953</c:v>
                </c:pt>
                <c:pt idx="449">
                  <c:v>16983</c:v>
                </c:pt>
                <c:pt idx="450">
                  <c:v>17014</c:v>
                </c:pt>
                <c:pt idx="451">
                  <c:v>17045</c:v>
                </c:pt>
                <c:pt idx="452">
                  <c:v>17075</c:v>
                </c:pt>
                <c:pt idx="453">
                  <c:v>17106</c:v>
                </c:pt>
                <c:pt idx="454">
                  <c:v>17136</c:v>
                </c:pt>
                <c:pt idx="455">
                  <c:v>17167</c:v>
                </c:pt>
                <c:pt idx="456">
                  <c:v>17198</c:v>
                </c:pt>
                <c:pt idx="457">
                  <c:v>17226</c:v>
                </c:pt>
                <c:pt idx="458">
                  <c:v>17257</c:v>
                </c:pt>
                <c:pt idx="459">
                  <c:v>17287</c:v>
                </c:pt>
                <c:pt idx="460">
                  <c:v>17318</c:v>
                </c:pt>
                <c:pt idx="461">
                  <c:v>17348</c:v>
                </c:pt>
                <c:pt idx="462">
                  <c:v>17379</c:v>
                </c:pt>
                <c:pt idx="463">
                  <c:v>17410</c:v>
                </c:pt>
                <c:pt idx="464">
                  <c:v>17440</c:v>
                </c:pt>
                <c:pt idx="465">
                  <c:v>17471</c:v>
                </c:pt>
                <c:pt idx="466">
                  <c:v>17501</c:v>
                </c:pt>
                <c:pt idx="467">
                  <c:v>17532</c:v>
                </c:pt>
                <c:pt idx="468">
                  <c:v>17563</c:v>
                </c:pt>
                <c:pt idx="469">
                  <c:v>17592</c:v>
                </c:pt>
                <c:pt idx="470">
                  <c:v>17623</c:v>
                </c:pt>
                <c:pt idx="471">
                  <c:v>17653</c:v>
                </c:pt>
                <c:pt idx="472">
                  <c:v>17684</c:v>
                </c:pt>
                <c:pt idx="473">
                  <c:v>17714</c:v>
                </c:pt>
                <c:pt idx="474">
                  <c:v>17745</c:v>
                </c:pt>
                <c:pt idx="475">
                  <c:v>17776</c:v>
                </c:pt>
                <c:pt idx="476">
                  <c:v>17806</c:v>
                </c:pt>
                <c:pt idx="477">
                  <c:v>17837</c:v>
                </c:pt>
                <c:pt idx="478">
                  <c:v>17867</c:v>
                </c:pt>
                <c:pt idx="479">
                  <c:v>17898</c:v>
                </c:pt>
                <c:pt idx="480">
                  <c:v>17929</c:v>
                </c:pt>
                <c:pt idx="481">
                  <c:v>17957</c:v>
                </c:pt>
                <c:pt idx="482">
                  <c:v>17988</c:v>
                </c:pt>
                <c:pt idx="483">
                  <c:v>18018</c:v>
                </c:pt>
                <c:pt idx="484">
                  <c:v>18049</c:v>
                </c:pt>
                <c:pt idx="485">
                  <c:v>18079</c:v>
                </c:pt>
                <c:pt idx="486">
                  <c:v>18110</c:v>
                </c:pt>
                <c:pt idx="487">
                  <c:v>18141</c:v>
                </c:pt>
                <c:pt idx="488">
                  <c:v>18171</c:v>
                </c:pt>
                <c:pt idx="489">
                  <c:v>18202</c:v>
                </c:pt>
                <c:pt idx="490">
                  <c:v>18232</c:v>
                </c:pt>
                <c:pt idx="491">
                  <c:v>18263</c:v>
                </c:pt>
                <c:pt idx="492">
                  <c:v>18294</c:v>
                </c:pt>
                <c:pt idx="493">
                  <c:v>18322</c:v>
                </c:pt>
                <c:pt idx="494">
                  <c:v>18353</c:v>
                </c:pt>
                <c:pt idx="495">
                  <c:v>18383</c:v>
                </c:pt>
                <c:pt idx="496">
                  <c:v>18414</c:v>
                </c:pt>
                <c:pt idx="497">
                  <c:v>18444</c:v>
                </c:pt>
                <c:pt idx="498">
                  <c:v>18475</c:v>
                </c:pt>
                <c:pt idx="499">
                  <c:v>18506</c:v>
                </c:pt>
                <c:pt idx="500">
                  <c:v>18536</c:v>
                </c:pt>
                <c:pt idx="501">
                  <c:v>18567</c:v>
                </c:pt>
                <c:pt idx="502">
                  <c:v>18597</c:v>
                </c:pt>
                <c:pt idx="503">
                  <c:v>18628</c:v>
                </c:pt>
                <c:pt idx="504">
                  <c:v>18659</c:v>
                </c:pt>
                <c:pt idx="505">
                  <c:v>18687</c:v>
                </c:pt>
                <c:pt idx="506">
                  <c:v>18718</c:v>
                </c:pt>
                <c:pt idx="507">
                  <c:v>18748</c:v>
                </c:pt>
                <c:pt idx="508">
                  <c:v>18779</c:v>
                </c:pt>
                <c:pt idx="509">
                  <c:v>18809</c:v>
                </c:pt>
                <c:pt idx="510">
                  <c:v>18840</c:v>
                </c:pt>
                <c:pt idx="511">
                  <c:v>18871</c:v>
                </c:pt>
                <c:pt idx="512">
                  <c:v>18901</c:v>
                </c:pt>
                <c:pt idx="513">
                  <c:v>18932</c:v>
                </c:pt>
                <c:pt idx="514">
                  <c:v>18962</c:v>
                </c:pt>
                <c:pt idx="515">
                  <c:v>18993</c:v>
                </c:pt>
                <c:pt idx="516">
                  <c:v>19024</c:v>
                </c:pt>
                <c:pt idx="517">
                  <c:v>19053</c:v>
                </c:pt>
                <c:pt idx="518">
                  <c:v>19084</c:v>
                </c:pt>
                <c:pt idx="519">
                  <c:v>19114</c:v>
                </c:pt>
                <c:pt idx="520">
                  <c:v>19145</c:v>
                </c:pt>
                <c:pt idx="521">
                  <c:v>19175</c:v>
                </c:pt>
                <c:pt idx="522">
                  <c:v>19206</c:v>
                </c:pt>
                <c:pt idx="523">
                  <c:v>19237</c:v>
                </c:pt>
                <c:pt idx="524">
                  <c:v>19267</c:v>
                </c:pt>
                <c:pt idx="525">
                  <c:v>19298</c:v>
                </c:pt>
                <c:pt idx="526">
                  <c:v>19328</c:v>
                </c:pt>
                <c:pt idx="527">
                  <c:v>19359</c:v>
                </c:pt>
                <c:pt idx="528">
                  <c:v>19390</c:v>
                </c:pt>
                <c:pt idx="529">
                  <c:v>19418</c:v>
                </c:pt>
                <c:pt idx="530">
                  <c:v>19449</c:v>
                </c:pt>
                <c:pt idx="531">
                  <c:v>19479</c:v>
                </c:pt>
                <c:pt idx="532">
                  <c:v>19510</c:v>
                </c:pt>
                <c:pt idx="533">
                  <c:v>19540</c:v>
                </c:pt>
                <c:pt idx="534">
                  <c:v>19571</c:v>
                </c:pt>
                <c:pt idx="535">
                  <c:v>19602</c:v>
                </c:pt>
                <c:pt idx="536">
                  <c:v>19632</c:v>
                </c:pt>
                <c:pt idx="537">
                  <c:v>19663</c:v>
                </c:pt>
                <c:pt idx="538">
                  <c:v>19693</c:v>
                </c:pt>
                <c:pt idx="539">
                  <c:v>19724</c:v>
                </c:pt>
                <c:pt idx="540">
                  <c:v>19755</c:v>
                </c:pt>
                <c:pt idx="541">
                  <c:v>19783</c:v>
                </c:pt>
                <c:pt idx="542">
                  <c:v>19814</c:v>
                </c:pt>
                <c:pt idx="543">
                  <c:v>19844</c:v>
                </c:pt>
                <c:pt idx="544">
                  <c:v>19875</c:v>
                </c:pt>
                <c:pt idx="545">
                  <c:v>19905</c:v>
                </c:pt>
                <c:pt idx="546">
                  <c:v>19936</c:v>
                </c:pt>
                <c:pt idx="547">
                  <c:v>19967</c:v>
                </c:pt>
                <c:pt idx="548">
                  <c:v>19997</c:v>
                </c:pt>
                <c:pt idx="549">
                  <c:v>20028</c:v>
                </c:pt>
                <c:pt idx="550">
                  <c:v>20058</c:v>
                </c:pt>
                <c:pt idx="551">
                  <c:v>20089</c:v>
                </c:pt>
                <c:pt idx="552">
                  <c:v>20120</c:v>
                </c:pt>
                <c:pt idx="553">
                  <c:v>20148</c:v>
                </c:pt>
                <c:pt idx="554">
                  <c:v>20179</c:v>
                </c:pt>
                <c:pt idx="555">
                  <c:v>20209</c:v>
                </c:pt>
                <c:pt idx="556">
                  <c:v>20240</c:v>
                </c:pt>
                <c:pt idx="557">
                  <c:v>20270</c:v>
                </c:pt>
                <c:pt idx="558">
                  <c:v>20301</c:v>
                </c:pt>
                <c:pt idx="559">
                  <c:v>20332</c:v>
                </c:pt>
                <c:pt idx="560">
                  <c:v>20362</c:v>
                </c:pt>
                <c:pt idx="561">
                  <c:v>20393</c:v>
                </c:pt>
                <c:pt idx="562">
                  <c:v>20423</c:v>
                </c:pt>
                <c:pt idx="563">
                  <c:v>20454</c:v>
                </c:pt>
                <c:pt idx="564">
                  <c:v>20485</c:v>
                </c:pt>
                <c:pt idx="565">
                  <c:v>20514</c:v>
                </c:pt>
                <c:pt idx="566">
                  <c:v>20545</c:v>
                </c:pt>
                <c:pt idx="567">
                  <c:v>20575</c:v>
                </c:pt>
                <c:pt idx="568">
                  <c:v>20606</c:v>
                </c:pt>
                <c:pt idx="569">
                  <c:v>20636</c:v>
                </c:pt>
                <c:pt idx="570">
                  <c:v>20667</c:v>
                </c:pt>
                <c:pt idx="571">
                  <c:v>20698</c:v>
                </c:pt>
                <c:pt idx="572">
                  <c:v>20728</c:v>
                </c:pt>
                <c:pt idx="573">
                  <c:v>20759</c:v>
                </c:pt>
                <c:pt idx="574">
                  <c:v>20789</c:v>
                </c:pt>
                <c:pt idx="575">
                  <c:v>20820</c:v>
                </c:pt>
                <c:pt idx="576">
                  <c:v>20851</c:v>
                </c:pt>
                <c:pt idx="577">
                  <c:v>20879</c:v>
                </c:pt>
                <c:pt idx="578">
                  <c:v>20910</c:v>
                </c:pt>
                <c:pt idx="579">
                  <c:v>20940</c:v>
                </c:pt>
                <c:pt idx="580">
                  <c:v>20971</c:v>
                </c:pt>
                <c:pt idx="581">
                  <c:v>21001</c:v>
                </c:pt>
                <c:pt idx="582">
                  <c:v>21032</c:v>
                </c:pt>
                <c:pt idx="583">
                  <c:v>21063</c:v>
                </c:pt>
                <c:pt idx="584">
                  <c:v>21093</c:v>
                </c:pt>
                <c:pt idx="585">
                  <c:v>21124</c:v>
                </c:pt>
                <c:pt idx="586">
                  <c:v>21154</c:v>
                </c:pt>
                <c:pt idx="587">
                  <c:v>21185</c:v>
                </c:pt>
                <c:pt idx="588">
                  <c:v>21216</c:v>
                </c:pt>
                <c:pt idx="589">
                  <c:v>21244</c:v>
                </c:pt>
                <c:pt idx="590">
                  <c:v>21275</c:v>
                </c:pt>
                <c:pt idx="591">
                  <c:v>21305</c:v>
                </c:pt>
                <c:pt idx="592">
                  <c:v>21336</c:v>
                </c:pt>
                <c:pt idx="593">
                  <c:v>21366</c:v>
                </c:pt>
                <c:pt idx="594">
                  <c:v>21397</c:v>
                </c:pt>
                <c:pt idx="595">
                  <c:v>21428</c:v>
                </c:pt>
                <c:pt idx="596">
                  <c:v>21458</c:v>
                </c:pt>
                <c:pt idx="597">
                  <c:v>21489</c:v>
                </c:pt>
                <c:pt idx="598">
                  <c:v>21519</c:v>
                </c:pt>
                <c:pt idx="599">
                  <c:v>21550</c:v>
                </c:pt>
                <c:pt idx="600">
                  <c:v>21581</c:v>
                </c:pt>
                <c:pt idx="601">
                  <c:v>21609</c:v>
                </c:pt>
                <c:pt idx="602">
                  <c:v>21640</c:v>
                </c:pt>
                <c:pt idx="603">
                  <c:v>21670</c:v>
                </c:pt>
                <c:pt idx="604">
                  <c:v>21701</c:v>
                </c:pt>
                <c:pt idx="605">
                  <c:v>21731</c:v>
                </c:pt>
                <c:pt idx="606">
                  <c:v>21762</c:v>
                </c:pt>
                <c:pt idx="607">
                  <c:v>21793</c:v>
                </c:pt>
                <c:pt idx="608">
                  <c:v>21823</c:v>
                </c:pt>
                <c:pt idx="609">
                  <c:v>21854</c:v>
                </c:pt>
                <c:pt idx="610">
                  <c:v>21884</c:v>
                </c:pt>
                <c:pt idx="611">
                  <c:v>21915</c:v>
                </c:pt>
                <c:pt idx="612">
                  <c:v>21946</c:v>
                </c:pt>
                <c:pt idx="613">
                  <c:v>21975</c:v>
                </c:pt>
                <c:pt idx="614">
                  <c:v>22006</c:v>
                </c:pt>
                <c:pt idx="615">
                  <c:v>22036</c:v>
                </c:pt>
                <c:pt idx="616">
                  <c:v>22067</c:v>
                </c:pt>
                <c:pt idx="617">
                  <c:v>22097</c:v>
                </c:pt>
                <c:pt idx="618">
                  <c:v>22128</c:v>
                </c:pt>
                <c:pt idx="619">
                  <c:v>22159</c:v>
                </c:pt>
                <c:pt idx="620">
                  <c:v>22189</c:v>
                </c:pt>
                <c:pt idx="621">
                  <c:v>22220</c:v>
                </c:pt>
                <c:pt idx="622">
                  <c:v>22250</c:v>
                </c:pt>
                <c:pt idx="623">
                  <c:v>22281</c:v>
                </c:pt>
                <c:pt idx="624">
                  <c:v>22312</c:v>
                </c:pt>
                <c:pt idx="625">
                  <c:v>22340</c:v>
                </c:pt>
                <c:pt idx="626">
                  <c:v>22371</c:v>
                </c:pt>
                <c:pt idx="627">
                  <c:v>22401</c:v>
                </c:pt>
                <c:pt idx="628">
                  <c:v>22432</c:v>
                </c:pt>
                <c:pt idx="629">
                  <c:v>22462</c:v>
                </c:pt>
                <c:pt idx="630">
                  <c:v>22493</c:v>
                </c:pt>
                <c:pt idx="631">
                  <c:v>22524</c:v>
                </c:pt>
                <c:pt idx="632">
                  <c:v>22554</c:v>
                </c:pt>
                <c:pt idx="633">
                  <c:v>22585</c:v>
                </c:pt>
                <c:pt idx="634">
                  <c:v>22615</c:v>
                </c:pt>
                <c:pt idx="635">
                  <c:v>22646</c:v>
                </c:pt>
                <c:pt idx="636">
                  <c:v>22677</c:v>
                </c:pt>
                <c:pt idx="637">
                  <c:v>22705</c:v>
                </c:pt>
                <c:pt idx="638">
                  <c:v>22736</c:v>
                </c:pt>
                <c:pt idx="639">
                  <c:v>22766</c:v>
                </c:pt>
                <c:pt idx="640">
                  <c:v>22797</c:v>
                </c:pt>
                <c:pt idx="641">
                  <c:v>22827</c:v>
                </c:pt>
                <c:pt idx="642">
                  <c:v>22858</c:v>
                </c:pt>
                <c:pt idx="643">
                  <c:v>22889</c:v>
                </c:pt>
                <c:pt idx="644">
                  <c:v>22919</c:v>
                </c:pt>
                <c:pt idx="645">
                  <c:v>22950</c:v>
                </c:pt>
                <c:pt idx="646">
                  <c:v>22980</c:v>
                </c:pt>
                <c:pt idx="647">
                  <c:v>23011</c:v>
                </c:pt>
                <c:pt idx="648">
                  <c:v>23042</c:v>
                </c:pt>
                <c:pt idx="649">
                  <c:v>23070</c:v>
                </c:pt>
                <c:pt idx="650">
                  <c:v>23101</c:v>
                </c:pt>
                <c:pt idx="651">
                  <c:v>23131</c:v>
                </c:pt>
                <c:pt idx="652">
                  <c:v>23162</c:v>
                </c:pt>
                <c:pt idx="653">
                  <c:v>23192</c:v>
                </c:pt>
                <c:pt idx="654">
                  <c:v>23223</c:v>
                </c:pt>
                <c:pt idx="655">
                  <c:v>23254</c:v>
                </c:pt>
                <c:pt idx="656">
                  <c:v>23284</c:v>
                </c:pt>
                <c:pt idx="657">
                  <c:v>23315</c:v>
                </c:pt>
                <c:pt idx="658">
                  <c:v>23345</c:v>
                </c:pt>
                <c:pt idx="659">
                  <c:v>23376</c:v>
                </c:pt>
                <c:pt idx="660">
                  <c:v>23407</c:v>
                </c:pt>
                <c:pt idx="661">
                  <c:v>23436</c:v>
                </c:pt>
                <c:pt idx="662">
                  <c:v>23467</c:v>
                </c:pt>
                <c:pt idx="663">
                  <c:v>23497</c:v>
                </c:pt>
                <c:pt idx="664">
                  <c:v>23528</c:v>
                </c:pt>
                <c:pt idx="665">
                  <c:v>23558</c:v>
                </c:pt>
                <c:pt idx="666">
                  <c:v>23589</c:v>
                </c:pt>
                <c:pt idx="667">
                  <c:v>23620</c:v>
                </c:pt>
                <c:pt idx="668">
                  <c:v>23650</c:v>
                </c:pt>
                <c:pt idx="669">
                  <c:v>23681</c:v>
                </c:pt>
                <c:pt idx="670">
                  <c:v>23711</c:v>
                </c:pt>
                <c:pt idx="671">
                  <c:v>23742</c:v>
                </c:pt>
                <c:pt idx="672">
                  <c:v>23773</c:v>
                </c:pt>
                <c:pt idx="673">
                  <c:v>23801</c:v>
                </c:pt>
                <c:pt idx="674">
                  <c:v>23832</c:v>
                </c:pt>
                <c:pt idx="675">
                  <c:v>23862</c:v>
                </c:pt>
                <c:pt idx="676">
                  <c:v>23893</c:v>
                </c:pt>
                <c:pt idx="677">
                  <c:v>23923</c:v>
                </c:pt>
                <c:pt idx="678">
                  <c:v>23954</c:v>
                </c:pt>
                <c:pt idx="679">
                  <c:v>23985</c:v>
                </c:pt>
                <c:pt idx="680">
                  <c:v>24015</c:v>
                </c:pt>
                <c:pt idx="681">
                  <c:v>24046</c:v>
                </c:pt>
                <c:pt idx="682">
                  <c:v>24076</c:v>
                </c:pt>
                <c:pt idx="683">
                  <c:v>24107</c:v>
                </c:pt>
                <c:pt idx="684">
                  <c:v>24138</c:v>
                </c:pt>
                <c:pt idx="685">
                  <c:v>24166</c:v>
                </c:pt>
                <c:pt idx="686">
                  <c:v>24197</c:v>
                </c:pt>
                <c:pt idx="687">
                  <c:v>24227</c:v>
                </c:pt>
                <c:pt idx="688">
                  <c:v>24258</c:v>
                </c:pt>
                <c:pt idx="689">
                  <c:v>24288</c:v>
                </c:pt>
                <c:pt idx="690">
                  <c:v>24319</c:v>
                </c:pt>
                <c:pt idx="691">
                  <c:v>24350</c:v>
                </c:pt>
                <c:pt idx="692">
                  <c:v>24380</c:v>
                </c:pt>
                <c:pt idx="693">
                  <c:v>24411</c:v>
                </c:pt>
                <c:pt idx="694">
                  <c:v>24441</c:v>
                </c:pt>
                <c:pt idx="695">
                  <c:v>24472</c:v>
                </c:pt>
                <c:pt idx="696">
                  <c:v>24503</c:v>
                </c:pt>
                <c:pt idx="697">
                  <c:v>24531</c:v>
                </c:pt>
                <c:pt idx="698">
                  <c:v>24562</c:v>
                </c:pt>
                <c:pt idx="699">
                  <c:v>24592</c:v>
                </c:pt>
                <c:pt idx="700">
                  <c:v>24623</c:v>
                </c:pt>
                <c:pt idx="701">
                  <c:v>24653</c:v>
                </c:pt>
                <c:pt idx="702">
                  <c:v>24684</c:v>
                </c:pt>
                <c:pt idx="703">
                  <c:v>24715</c:v>
                </c:pt>
                <c:pt idx="704">
                  <c:v>24745</c:v>
                </c:pt>
                <c:pt idx="705">
                  <c:v>24776</c:v>
                </c:pt>
                <c:pt idx="706">
                  <c:v>24806</c:v>
                </c:pt>
                <c:pt idx="707">
                  <c:v>24837</c:v>
                </c:pt>
                <c:pt idx="708">
                  <c:v>24868</c:v>
                </c:pt>
                <c:pt idx="709">
                  <c:v>24897</c:v>
                </c:pt>
                <c:pt idx="710">
                  <c:v>24928</c:v>
                </c:pt>
                <c:pt idx="711">
                  <c:v>24958</c:v>
                </c:pt>
                <c:pt idx="712">
                  <c:v>24989</c:v>
                </c:pt>
                <c:pt idx="713">
                  <c:v>25019</c:v>
                </c:pt>
                <c:pt idx="714">
                  <c:v>25050</c:v>
                </c:pt>
                <c:pt idx="715">
                  <c:v>25081</c:v>
                </c:pt>
                <c:pt idx="716">
                  <c:v>25111</c:v>
                </c:pt>
                <c:pt idx="717">
                  <c:v>25142</c:v>
                </c:pt>
                <c:pt idx="718">
                  <c:v>25172</c:v>
                </c:pt>
                <c:pt idx="719">
                  <c:v>25203</c:v>
                </c:pt>
                <c:pt idx="720">
                  <c:v>25234</c:v>
                </c:pt>
                <c:pt idx="721">
                  <c:v>25262</c:v>
                </c:pt>
                <c:pt idx="722">
                  <c:v>25293</c:v>
                </c:pt>
                <c:pt idx="723">
                  <c:v>25323</c:v>
                </c:pt>
                <c:pt idx="724">
                  <c:v>25354</c:v>
                </c:pt>
                <c:pt idx="725">
                  <c:v>25384</c:v>
                </c:pt>
                <c:pt idx="726">
                  <c:v>25415</c:v>
                </c:pt>
                <c:pt idx="727">
                  <c:v>25446</c:v>
                </c:pt>
                <c:pt idx="728">
                  <c:v>25476</c:v>
                </c:pt>
                <c:pt idx="729">
                  <c:v>25507</c:v>
                </c:pt>
                <c:pt idx="730">
                  <c:v>25537</c:v>
                </c:pt>
                <c:pt idx="731">
                  <c:v>25568</c:v>
                </c:pt>
                <c:pt idx="732">
                  <c:v>25599</c:v>
                </c:pt>
                <c:pt idx="733">
                  <c:v>25627</c:v>
                </c:pt>
                <c:pt idx="734">
                  <c:v>25658</c:v>
                </c:pt>
                <c:pt idx="735">
                  <c:v>25688</c:v>
                </c:pt>
                <c:pt idx="736">
                  <c:v>25719</c:v>
                </c:pt>
                <c:pt idx="737">
                  <c:v>25749</c:v>
                </c:pt>
                <c:pt idx="738">
                  <c:v>25780</c:v>
                </c:pt>
                <c:pt idx="739">
                  <c:v>25811</c:v>
                </c:pt>
                <c:pt idx="740">
                  <c:v>25841</c:v>
                </c:pt>
                <c:pt idx="741">
                  <c:v>25872</c:v>
                </c:pt>
                <c:pt idx="742">
                  <c:v>25902</c:v>
                </c:pt>
                <c:pt idx="743">
                  <c:v>25933</c:v>
                </c:pt>
                <c:pt idx="744">
                  <c:v>25964</c:v>
                </c:pt>
                <c:pt idx="745">
                  <c:v>25992</c:v>
                </c:pt>
                <c:pt idx="746">
                  <c:v>26023</c:v>
                </c:pt>
                <c:pt idx="747">
                  <c:v>26053</c:v>
                </c:pt>
                <c:pt idx="748">
                  <c:v>26084</c:v>
                </c:pt>
                <c:pt idx="749">
                  <c:v>26114</c:v>
                </c:pt>
                <c:pt idx="750">
                  <c:v>26145</c:v>
                </c:pt>
                <c:pt idx="751">
                  <c:v>26176</c:v>
                </c:pt>
                <c:pt idx="752">
                  <c:v>26206</c:v>
                </c:pt>
                <c:pt idx="753">
                  <c:v>26237</c:v>
                </c:pt>
                <c:pt idx="754">
                  <c:v>26267</c:v>
                </c:pt>
                <c:pt idx="755">
                  <c:v>26298</c:v>
                </c:pt>
                <c:pt idx="756">
                  <c:v>26329</c:v>
                </c:pt>
                <c:pt idx="757">
                  <c:v>26358</c:v>
                </c:pt>
                <c:pt idx="758">
                  <c:v>26389</c:v>
                </c:pt>
                <c:pt idx="759">
                  <c:v>26419</c:v>
                </c:pt>
                <c:pt idx="760">
                  <c:v>26450</c:v>
                </c:pt>
                <c:pt idx="761">
                  <c:v>26480</c:v>
                </c:pt>
                <c:pt idx="762">
                  <c:v>26511</c:v>
                </c:pt>
                <c:pt idx="763">
                  <c:v>26542</c:v>
                </c:pt>
                <c:pt idx="764">
                  <c:v>26572</c:v>
                </c:pt>
                <c:pt idx="765">
                  <c:v>26603</c:v>
                </c:pt>
                <c:pt idx="766">
                  <c:v>26633</c:v>
                </c:pt>
                <c:pt idx="767">
                  <c:v>26664</c:v>
                </c:pt>
                <c:pt idx="768">
                  <c:v>26695</c:v>
                </c:pt>
                <c:pt idx="769">
                  <c:v>26723</c:v>
                </c:pt>
                <c:pt idx="770">
                  <c:v>26754</c:v>
                </c:pt>
                <c:pt idx="771">
                  <c:v>26784</c:v>
                </c:pt>
                <c:pt idx="772">
                  <c:v>26815</c:v>
                </c:pt>
                <c:pt idx="773">
                  <c:v>26845</c:v>
                </c:pt>
                <c:pt idx="774">
                  <c:v>26876</c:v>
                </c:pt>
                <c:pt idx="775">
                  <c:v>26907</c:v>
                </c:pt>
                <c:pt idx="776">
                  <c:v>26937</c:v>
                </c:pt>
                <c:pt idx="777">
                  <c:v>26968</c:v>
                </c:pt>
                <c:pt idx="778">
                  <c:v>26998</c:v>
                </c:pt>
                <c:pt idx="779">
                  <c:v>27029</c:v>
                </c:pt>
                <c:pt idx="780">
                  <c:v>27060</c:v>
                </c:pt>
                <c:pt idx="781">
                  <c:v>27088</c:v>
                </c:pt>
                <c:pt idx="782">
                  <c:v>27119</c:v>
                </c:pt>
                <c:pt idx="783">
                  <c:v>27149</c:v>
                </c:pt>
                <c:pt idx="784">
                  <c:v>27180</c:v>
                </c:pt>
                <c:pt idx="785">
                  <c:v>27210</c:v>
                </c:pt>
                <c:pt idx="786">
                  <c:v>27241</c:v>
                </c:pt>
                <c:pt idx="787">
                  <c:v>27272</c:v>
                </c:pt>
                <c:pt idx="788">
                  <c:v>27302</c:v>
                </c:pt>
                <c:pt idx="789">
                  <c:v>27333</c:v>
                </c:pt>
                <c:pt idx="790">
                  <c:v>27363</c:v>
                </c:pt>
                <c:pt idx="791">
                  <c:v>27394</c:v>
                </c:pt>
                <c:pt idx="792">
                  <c:v>27425</c:v>
                </c:pt>
                <c:pt idx="793">
                  <c:v>27453</c:v>
                </c:pt>
                <c:pt idx="794">
                  <c:v>27484</c:v>
                </c:pt>
                <c:pt idx="795">
                  <c:v>27514</c:v>
                </c:pt>
                <c:pt idx="796">
                  <c:v>27545</c:v>
                </c:pt>
                <c:pt idx="797">
                  <c:v>27575</c:v>
                </c:pt>
                <c:pt idx="798">
                  <c:v>27606</c:v>
                </c:pt>
                <c:pt idx="799">
                  <c:v>27637</c:v>
                </c:pt>
                <c:pt idx="800">
                  <c:v>27667</c:v>
                </c:pt>
                <c:pt idx="801">
                  <c:v>27698</c:v>
                </c:pt>
                <c:pt idx="802">
                  <c:v>27728</c:v>
                </c:pt>
                <c:pt idx="803">
                  <c:v>27759</c:v>
                </c:pt>
                <c:pt idx="804">
                  <c:v>27790</c:v>
                </c:pt>
                <c:pt idx="805">
                  <c:v>27819</c:v>
                </c:pt>
                <c:pt idx="806">
                  <c:v>27850</c:v>
                </c:pt>
                <c:pt idx="807">
                  <c:v>27880</c:v>
                </c:pt>
                <c:pt idx="808">
                  <c:v>27911</c:v>
                </c:pt>
                <c:pt idx="809">
                  <c:v>27941</c:v>
                </c:pt>
                <c:pt idx="810">
                  <c:v>27972</c:v>
                </c:pt>
                <c:pt idx="811">
                  <c:v>28003</c:v>
                </c:pt>
                <c:pt idx="812">
                  <c:v>28033</c:v>
                </c:pt>
                <c:pt idx="813">
                  <c:v>28064</c:v>
                </c:pt>
                <c:pt idx="814">
                  <c:v>28094</c:v>
                </c:pt>
                <c:pt idx="815">
                  <c:v>28125</c:v>
                </c:pt>
                <c:pt idx="816">
                  <c:v>28156</c:v>
                </c:pt>
                <c:pt idx="817">
                  <c:v>28184</c:v>
                </c:pt>
                <c:pt idx="818">
                  <c:v>28215</c:v>
                </c:pt>
                <c:pt idx="819">
                  <c:v>28245</c:v>
                </c:pt>
                <c:pt idx="820">
                  <c:v>28276</c:v>
                </c:pt>
                <c:pt idx="821">
                  <c:v>28306</c:v>
                </c:pt>
                <c:pt idx="822">
                  <c:v>28337</c:v>
                </c:pt>
                <c:pt idx="823">
                  <c:v>28368</c:v>
                </c:pt>
                <c:pt idx="824">
                  <c:v>28398</c:v>
                </c:pt>
                <c:pt idx="825">
                  <c:v>28429</c:v>
                </c:pt>
                <c:pt idx="826">
                  <c:v>28459</c:v>
                </c:pt>
                <c:pt idx="827">
                  <c:v>28490</c:v>
                </c:pt>
                <c:pt idx="828">
                  <c:v>28521</c:v>
                </c:pt>
                <c:pt idx="829">
                  <c:v>28549</c:v>
                </c:pt>
                <c:pt idx="830">
                  <c:v>28580</c:v>
                </c:pt>
                <c:pt idx="831">
                  <c:v>28610</c:v>
                </c:pt>
                <c:pt idx="832">
                  <c:v>28641</c:v>
                </c:pt>
                <c:pt idx="833">
                  <c:v>28671</c:v>
                </c:pt>
                <c:pt idx="834">
                  <c:v>28702</c:v>
                </c:pt>
                <c:pt idx="835">
                  <c:v>28733</c:v>
                </c:pt>
                <c:pt idx="836">
                  <c:v>28763</c:v>
                </c:pt>
                <c:pt idx="837">
                  <c:v>28794</c:v>
                </c:pt>
                <c:pt idx="838">
                  <c:v>28824</c:v>
                </c:pt>
                <c:pt idx="839">
                  <c:v>28855</c:v>
                </c:pt>
                <c:pt idx="840">
                  <c:v>28886</c:v>
                </c:pt>
                <c:pt idx="841">
                  <c:v>28914</c:v>
                </c:pt>
                <c:pt idx="842">
                  <c:v>28945</c:v>
                </c:pt>
                <c:pt idx="843">
                  <c:v>28975</c:v>
                </c:pt>
                <c:pt idx="844">
                  <c:v>29006</c:v>
                </c:pt>
                <c:pt idx="845">
                  <c:v>29036</c:v>
                </c:pt>
                <c:pt idx="846">
                  <c:v>29067</c:v>
                </c:pt>
                <c:pt idx="847">
                  <c:v>29098</c:v>
                </c:pt>
                <c:pt idx="848">
                  <c:v>29128</c:v>
                </c:pt>
                <c:pt idx="849">
                  <c:v>29159</c:v>
                </c:pt>
                <c:pt idx="850">
                  <c:v>29189</c:v>
                </c:pt>
                <c:pt idx="851">
                  <c:v>29220</c:v>
                </c:pt>
                <c:pt idx="852">
                  <c:v>29251</c:v>
                </c:pt>
                <c:pt idx="853">
                  <c:v>29280</c:v>
                </c:pt>
                <c:pt idx="854">
                  <c:v>29311</c:v>
                </c:pt>
                <c:pt idx="855">
                  <c:v>29341</c:v>
                </c:pt>
                <c:pt idx="856">
                  <c:v>29372</c:v>
                </c:pt>
                <c:pt idx="857">
                  <c:v>29402</c:v>
                </c:pt>
                <c:pt idx="858">
                  <c:v>29433</c:v>
                </c:pt>
                <c:pt idx="859">
                  <c:v>29464</c:v>
                </c:pt>
                <c:pt idx="860">
                  <c:v>29494</c:v>
                </c:pt>
                <c:pt idx="861">
                  <c:v>29525</c:v>
                </c:pt>
                <c:pt idx="862">
                  <c:v>29555</c:v>
                </c:pt>
                <c:pt idx="863">
                  <c:v>29586</c:v>
                </c:pt>
                <c:pt idx="864">
                  <c:v>29617</c:v>
                </c:pt>
                <c:pt idx="865">
                  <c:v>29645</c:v>
                </c:pt>
                <c:pt idx="866">
                  <c:v>29676</c:v>
                </c:pt>
                <c:pt idx="867">
                  <c:v>29706</c:v>
                </c:pt>
                <c:pt idx="868">
                  <c:v>29737</c:v>
                </c:pt>
                <c:pt idx="869">
                  <c:v>29767</c:v>
                </c:pt>
                <c:pt idx="870">
                  <c:v>29798</c:v>
                </c:pt>
                <c:pt idx="871">
                  <c:v>29829</c:v>
                </c:pt>
                <c:pt idx="872">
                  <c:v>29859</c:v>
                </c:pt>
                <c:pt idx="873">
                  <c:v>29890</c:v>
                </c:pt>
                <c:pt idx="874">
                  <c:v>29920</c:v>
                </c:pt>
                <c:pt idx="875">
                  <c:v>29951</c:v>
                </c:pt>
                <c:pt idx="876">
                  <c:v>29982</c:v>
                </c:pt>
                <c:pt idx="877">
                  <c:v>30010</c:v>
                </c:pt>
                <c:pt idx="878">
                  <c:v>30041</c:v>
                </c:pt>
                <c:pt idx="879">
                  <c:v>30071</c:v>
                </c:pt>
                <c:pt idx="880">
                  <c:v>30102</c:v>
                </c:pt>
                <c:pt idx="881">
                  <c:v>30132</c:v>
                </c:pt>
                <c:pt idx="882">
                  <c:v>30163</c:v>
                </c:pt>
                <c:pt idx="883">
                  <c:v>30194</c:v>
                </c:pt>
                <c:pt idx="884">
                  <c:v>30224</c:v>
                </c:pt>
                <c:pt idx="885">
                  <c:v>30255</c:v>
                </c:pt>
                <c:pt idx="886">
                  <c:v>30285</c:v>
                </c:pt>
                <c:pt idx="887">
                  <c:v>30316</c:v>
                </c:pt>
                <c:pt idx="888">
                  <c:v>30347</c:v>
                </c:pt>
                <c:pt idx="889">
                  <c:v>30375</c:v>
                </c:pt>
                <c:pt idx="890">
                  <c:v>30406</c:v>
                </c:pt>
                <c:pt idx="891">
                  <c:v>30436</c:v>
                </c:pt>
                <c:pt idx="892">
                  <c:v>30467</c:v>
                </c:pt>
                <c:pt idx="893">
                  <c:v>30497</c:v>
                </c:pt>
                <c:pt idx="894">
                  <c:v>30528</c:v>
                </c:pt>
                <c:pt idx="895">
                  <c:v>30559</c:v>
                </c:pt>
                <c:pt idx="896">
                  <c:v>30589</c:v>
                </c:pt>
                <c:pt idx="897">
                  <c:v>30620</c:v>
                </c:pt>
                <c:pt idx="898">
                  <c:v>30650</c:v>
                </c:pt>
                <c:pt idx="899">
                  <c:v>30681</c:v>
                </c:pt>
                <c:pt idx="900">
                  <c:v>30712</c:v>
                </c:pt>
                <c:pt idx="901">
                  <c:v>30741</c:v>
                </c:pt>
                <c:pt idx="902">
                  <c:v>30772</c:v>
                </c:pt>
                <c:pt idx="903">
                  <c:v>30802</c:v>
                </c:pt>
                <c:pt idx="904">
                  <c:v>30833</c:v>
                </c:pt>
                <c:pt idx="905">
                  <c:v>30863</c:v>
                </c:pt>
                <c:pt idx="906">
                  <c:v>30894</c:v>
                </c:pt>
                <c:pt idx="907">
                  <c:v>30925</c:v>
                </c:pt>
                <c:pt idx="908">
                  <c:v>30955</c:v>
                </c:pt>
                <c:pt idx="909">
                  <c:v>30986</c:v>
                </c:pt>
                <c:pt idx="910">
                  <c:v>31016</c:v>
                </c:pt>
                <c:pt idx="911">
                  <c:v>31047</c:v>
                </c:pt>
                <c:pt idx="912">
                  <c:v>31078</c:v>
                </c:pt>
                <c:pt idx="913">
                  <c:v>31106</c:v>
                </c:pt>
                <c:pt idx="914">
                  <c:v>31137</c:v>
                </c:pt>
                <c:pt idx="915">
                  <c:v>31167</c:v>
                </c:pt>
                <c:pt idx="916">
                  <c:v>31198</c:v>
                </c:pt>
                <c:pt idx="917">
                  <c:v>31228</c:v>
                </c:pt>
                <c:pt idx="918">
                  <c:v>31259</c:v>
                </c:pt>
                <c:pt idx="919">
                  <c:v>31290</c:v>
                </c:pt>
                <c:pt idx="920">
                  <c:v>31320</c:v>
                </c:pt>
                <c:pt idx="921">
                  <c:v>31351</c:v>
                </c:pt>
                <c:pt idx="922">
                  <c:v>31381</c:v>
                </c:pt>
                <c:pt idx="923">
                  <c:v>31412</c:v>
                </c:pt>
                <c:pt idx="924">
                  <c:v>31443</c:v>
                </c:pt>
                <c:pt idx="925">
                  <c:v>31471</c:v>
                </c:pt>
                <c:pt idx="926">
                  <c:v>31502</c:v>
                </c:pt>
                <c:pt idx="927">
                  <c:v>31532</c:v>
                </c:pt>
                <c:pt idx="928">
                  <c:v>31563</c:v>
                </c:pt>
                <c:pt idx="929">
                  <c:v>31593</c:v>
                </c:pt>
                <c:pt idx="930">
                  <c:v>31624</c:v>
                </c:pt>
                <c:pt idx="931">
                  <c:v>31655</c:v>
                </c:pt>
                <c:pt idx="932">
                  <c:v>31685</c:v>
                </c:pt>
                <c:pt idx="933">
                  <c:v>31716</c:v>
                </c:pt>
                <c:pt idx="934">
                  <c:v>31746</c:v>
                </c:pt>
                <c:pt idx="935">
                  <c:v>31777</c:v>
                </c:pt>
                <c:pt idx="936">
                  <c:v>31808</c:v>
                </c:pt>
                <c:pt idx="937">
                  <c:v>31836</c:v>
                </c:pt>
                <c:pt idx="938">
                  <c:v>31867</c:v>
                </c:pt>
                <c:pt idx="939">
                  <c:v>31897</c:v>
                </c:pt>
                <c:pt idx="940">
                  <c:v>31928</c:v>
                </c:pt>
                <c:pt idx="941">
                  <c:v>31958</c:v>
                </c:pt>
                <c:pt idx="942">
                  <c:v>31989</c:v>
                </c:pt>
                <c:pt idx="943">
                  <c:v>32020</c:v>
                </c:pt>
                <c:pt idx="944">
                  <c:v>32050</c:v>
                </c:pt>
                <c:pt idx="945">
                  <c:v>32081</c:v>
                </c:pt>
                <c:pt idx="946">
                  <c:v>32111</c:v>
                </c:pt>
                <c:pt idx="947">
                  <c:v>32142</c:v>
                </c:pt>
                <c:pt idx="948">
                  <c:v>32173</c:v>
                </c:pt>
                <c:pt idx="949">
                  <c:v>32202</c:v>
                </c:pt>
                <c:pt idx="950">
                  <c:v>32233</c:v>
                </c:pt>
                <c:pt idx="951">
                  <c:v>32263</c:v>
                </c:pt>
                <c:pt idx="952">
                  <c:v>32294</c:v>
                </c:pt>
                <c:pt idx="953">
                  <c:v>32324</c:v>
                </c:pt>
                <c:pt idx="954">
                  <c:v>32355</c:v>
                </c:pt>
                <c:pt idx="955">
                  <c:v>32386</c:v>
                </c:pt>
                <c:pt idx="956">
                  <c:v>32416</c:v>
                </c:pt>
                <c:pt idx="957">
                  <c:v>32447</c:v>
                </c:pt>
                <c:pt idx="958">
                  <c:v>32477</c:v>
                </c:pt>
                <c:pt idx="959">
                  <c:v>32508</c:v>
                </c:pt>
                <c:pt idx="960">
                  <c:v>32539</c:v>
                </c:pt>
                <c:pt idx="961">
                  <c:v>32567</c:v>
                </c:pt>
                <c:pt idx="962">
                  <c:v>32598</c:v>
                </c:pt>
                <c:pt idx="963">
                  <c:v>32628</c:v>
                </c:pt>
                <c:pt idx="964">
                  <c:v>32659</c:v>
                </c:pt>
                <c:pt idx="965">
                  <c:v>32689</c:v>
                </c:pt>
                <c:pt idx="966">
                  <c:v>32720</c:v>
                </c:pt>
                <c:pt idx="967">
                  <c:v>32751</c:v>
                </c:pt>
                <c:pt idx="968">
                  <c:v>32781</c:v>
                </c:pt>
                <c:pt idx="969">
                  <c:v>32812</c:v>
                </c:pt>
                <c:pt idx="970">
                  <c:v>32842</c:v>
                </c:pt>
                <c:pt idx="971">
                  <c:v>32873</c:v>
                </c:pt>
                <c:pt idx="972">
                  <c:v>32904</c:v>
                </c:pt>
                <c:pt idx="973">
                  <c:v>32932</c:v>
                </c:pt>
                <c:pt idx="974">
                  <c:v>32963</c:v>
                </c:pt>
                <c:pt idx="975">
                  <c:v>32993</c:v>
                </c:pt>
                <c:pt idx="976">
                  <c:v>33024</c:v>
                </c:pt>
                <c:pt idx="977">
                  <c:v>33054</c:v>
                </c:pt>
                <c:pt idx="978">
                  <c:v>33085</c:v>
                </c:pt>
                <c:pt idx="979">
                  <c:v>33116</c:v>
                </c:pt>
                <c:pt idx="980">
                  <c:v>33146</c:v>
                </c:pt>
                <c:pt idx="981">
                  <c:v>33177</c:v>
                </c:pt>
                <c:pt idx="982">
                  <c:v>33207</c:v>
                </c:pt>
                <c:pt idx="983">
                  <c:v>33238</c:v>
                </c:pt>
                <c:pt idx="984">
                  <c:v>33269</c:v>
                </c:pt>
                <c:pt idx="985">
                  <c:v>33297</c:v>
                </c:pt>
                <c:pt idx="986">
                  <c:v>33328</c:v>
                </c:pt>
                <c:pt idx="987">
                  <c:v>33358</c:v>
                </c:pt>
                <c:pt idx="988">
                  <c:v>33389</c:v>
                </c:pt>
                <c:pt idx="989">
                  <c:v>33419</c:v>
                </c:pt>
                <c:pt idx="990">
                  <c:v>33450</c:v>
                </c:pt>
                <c:pt idx="991">
                  <c:v>33481</c:v>
                </c:pt>
                <c:pt idx="992">
                  <c:v>33511</c:v>
                </c:pt>
                <c:pt idx="993">
                  <c:v>33542</c:v>
                </c:pt>
                <c:pt idx="994">
                  <c:v>33572</c:v>
                </c:pt>
                <c:pt idx="995">
                  <c:v>33603</c:v>
                </c:pt>
                <c:pt idx="996">
                  <c:v>33634</c:v>
                </c:pt>
                <c:pt idx="997">
                  <c:v>33663</c:v>
                </c:pt>
                <c:pt idx="998">
                  <c:v>33694</c:v>
                </c:pt>
                <c:pt idx="999">
                  <c:v>33724</c:v>
                </c:pt>
                <c:pt idx="1000">
                  <c:v>33755</c:v>
                </c:pt>
                <c:pt idx="1001">
                  <c:v>33785</c:v>
                </c:pt>
                <c:pt idx="1002">
                  <c:v>33816</c:v>
                </c:pt>
                <c:pt idx="1003">
                  <c:v>33847</c:v>
                </c:pt>
                <c:pt idx="1004">
                  <c:v>33877</c:v>
                </c:pt>
                <c:pt idx="1005">
                  <c:v>33908</c:v>
                </c:pt>
                <c:pt idx="1006">
                  <c:v>33938</c:v>
                </c:pt>
                <c:pt idx="1007">
                  <c:v>33969</c:v>
                </c:pt>
                <c:pt idx="1008">
                  <c:v>34000</c:v>
                </c:pt>
                <c:pt idx="1009">
                  <c:v>34028</c:v>
                </c:pt>
                <c:pt idx="1010">
                  <c:v>34059</c:v>
                </c:pt>
                <c:pt idx="1011">
                  <c:v>34089</c:v>
                </c:pt>
                <c:pt idx="1012">
                  <c:v>34120</c:v>
                </c:pt>
                <c:pt idx="1013">
                  <c:v>34150</c:v>
                </c:pt>
                <c:pt idx="1014">
                  <c:v>34181</c:v>
                </c:pt>
                <c:pt idx="1015">
                  <c:v>34212</c:v>
                </c:pt>
                <c:pt idx="1016">
                  <c:v>34242</c:v>
                </c:pt>
                <c:pt idx="1017">
                  <c:v>34273</c:v>
                </c:pt>
                <c:pt idx="1018">
                  <c:v>34303</c:v>
                </c:pt>
                <c:pt idx="1019">
                  <c:v>34334</c:v>
                </c:pt>
                <c:pt idx="1020">
                  <c:v>34365</c:v>
                </c:pt>
                <c:pt idx="1021">
                  <c:v>34393</c:v>
                </c:pt>
                <c:pt idx="1022">
                  <c:v>34424</c:v>
                </c:pt>
                <c:pt idx="1023">
                  <c:v>34454</c:v>
                </c:pt>
                <c:pt idx="1024">
                  <c:v>34485</c:v>
                </c:pt>
                <c:pt idx="1025">
                  <c:v>34515</c:v>
                </c:pt>
                <c:pt idx="1026">
                  <c:v>34546</c:v>
                </c:pt>
                <c:pt idx="1027">
                  <c:v>34577</c:v>
                </c:pt>
                <c:pt idx="1028">
                  <c:v>34607</c:v>
                </c:pt>
                <c:pt idx="1029">
                  <c:v>34638</c:v>
                </c:pt>
                <c:pt idx="1030">
                  <c:v>34668</c:v>
                </c:pt>
                <c:pt idx="1031">
                  <c:v>34699</c:v>
                </c:pt>
                <c:pt idx="1032">
                  <c:v>34730</c:v>
                </c:pt>
                <c:pt idx="1033">
                  <c:v>34758</c:v>
                </c:pt>
                <c:pt idx="1034">
                  <c:v>34789</c:v>
                </c:pt>
                <c:pt idx="1035">
                  <c:v>34819</c:v>
                </c:pt>
                <c:pt idx="1036">
                  <c:v>34850</c:v>
                </c:pt>
                <c:pt idx="1037">
                  <c:v>34880</c:v>
                </c:pt>
                <c:pt idx="1038">
                  <c:v>34911</c:v>
                </c:pt>
                <c:pt idx="1039">
                  <c:v>34942</c:v>
                </c:pt>
                <c:pt idx="1040">
                  <c:v>34972</c:v>
                </c:pt>
                <c:pt idx="1041">
                  <c:v>35003</c:v>
                </c:pt>
                <c:pt idx="1042">
                  <c:v>35033</c:v>
                </c:pt>
                <c:pt idx="1043">
                  <c:v>35064</c:v>
                </c:pt>
                <c:pt idx="1044">
                  <c:v>35095</c:v>
                </c:pt>
                <c:pt idx="1045">
                  <c:v>35124</c:v>
                </c:pt>
                <c:pt idx="1046">
                  <c:v>35155</c:v>
                </c:pt>
                <c:pt idx="1047">
                  <c:v>35185</c:v>
                </c:pt>
                <c:pt idx="1048">
                  <c:v>35216</c:v>
                </c:pt>
                <c:pt idx="1049">
                  <c:v>35246</c:v>
                </c:pt>
                <c:pt idx="1050">
                  <c:v>35277</c:v>
                </c:pt>
                <c:pt idx="1051">
                  <c:v>35308</c:v>
                </c:pt>
                <c:pt idx="1052">
                  <c:v>35338</c:v>
                </c:pt>
                <c:pt idx="1053">
                  <c:v>35369</c:v>
                </c:pt>
                <c:pt idx="1054">
                  <c:v>35399</c:v>
                </c:pt>
                <c:pt idx="1055">
                  <c:v>35430</c:v>
                </c:pt>
                <c:pt idx="1056">
                  <c:v>35461</c:v>
                </c:pt>
                <c:pt idx="1057">
                  <c:v>35489</c:v>
                </c:pt>
                <c:pt idx="1058">
                  <c:v>35520</c:v>
                </c:pt>
                <c:pt idx="1059">
                  <c:v>35550</c:v>
                </c:pt>
                <c:pt idx="1060">
                  <c:v>35581</c:v>
                </c:pt>
                <c:pt idx="1061">
                  <c:v>35611</c:v>
                </c:pt>
                <c:pt idx="1062">
                  <c:v>35642</c:v>
                </c:pt>
                <c:pt idx="1063">
                  <c:v>35673</c:v>
                </c:pt>
                <c:pt idx="1064">
                  <c:v>35703</c:v>
                </c:pt>
                <c:pt idx="1065">
                  <c:v>35734</c:v>
                </c:pt>
                <c:pt idx="1066">
                  <c:v>35764</c:v>
                </c:pt>
                <c:pt idx="1067">
                  <c:v>35795</c:v>
                </c:pt>
                <c:pt idx="1068">
                  <c:v>35826</c:v>
                </c:pt>
                <c:pt idx="1069">
                  <c:v>35854</c:v>
                </c:pt>
                <c:pt idx="1070">
                  <c:v>35885</c:v>
                </c:pt>
                <c:pt idx="1071">
                  <c:v>35915</c:v>
                </c:pt>
                <c:pt idx="1072">
                  <c:v>35946</c:v>
                </c:pt>
                <c:pt idx="1073">
                  <c:v>35976</c:v>
                </c:pt>
                <c:pt idx="1074">
                  <c:v>36007</c:v>
                </c:pt>
                <c:pt idx="1075">
                  <c:v>36038</c:v>
                </c:pt>
                <c:pt idx="1076">
                  <c:v>36068</c:v>
                </c:pt>
                <c:pt idx="1077">
                  <c:v>36099</c:v>
                </c:pt>
                <c:pt idx="1078">
                  <c:v>36129</c:v>
                </c:pt>
                <c:pt idx="1079">
                  <c:v>36160</c:v>
                </c:pt>
                <c:pt idx="1080">
                  <c:v>36191</c:v>
                </c:pt>
                <c:pt idx="1081">
                  <c:v>36219</c:v>
                </c:pt>
                <c:pt idx="1082">
                  <c:v>36250</c:v>
                </c:pt>
                <c:pt idx="1083">
                  <c:v>36280</c:v>
                </c:pt>
                <c:pt idx="1084">
                  <c:v>36311</c:v>
                </c:pt>
                <c:pt idx="1085">
                  <c:v>36341</c:v>
                </c:pt>
                <c:pt idx="1086">
                  <c:v>36372</c:v>
                </c:pt>
                <c:pt idx="1087">
                  <c:v>36403</c:v>
                </c:pt>
                <c:pt idx="1088">
                  <c:v>36433</c:v>
                </c:pt>
                <c:pt idx="1089">
                  <c:v>36464</c:v>
                </c:pt>
                <c:pt idx="1090">
                  <c:v>36494</c:v>
                </c:pt>
                <c:pt idx="1091">
                  <c:v>36525</c:v>
                </c:pt>
                <c:pt idx="1092">
                  <c:v>36556</c:v>
                </c:pt>
                <c:pt idx="1093">
                  <c:v>36585</c:v>
                </c:pt>
                <c:pt idx="1094">
                  <c:v>36616</c:v>
                </c:pt>
                <c:pt idx="1095">
                  <c:v>36646</c:v>
                </c:pt>
                <c:pt idx="1096">
                  <c:v>36677</c:v>
                </c:pt>
                <c:pt idx="1097">
                  <c:v>36707</c:v>
                </c:pt>
                <c:pt idx="1098">
                  <c:v>36738</c:v>
                </c:pt>
                <c:pt idx="1099">
                  <c:v>36769</c:v>
                </c:pt>
                <c:pt idx="1100">
                  <c:v>36799</c:v>
                </c:pt>
                <c:pt idx="1101">
                  <c:v>36830</c:v>
                </c:pt>
                <c:pt idx="1102">
                  <c:v>36860</c:v>
                </c:pt>
                <c:pt idx="1103">
                  <c:v>36891</c:v>
                </c:pt>
                <c:pt idx="1104">
                  <c:v>36922</c:v>
                </c:pt>
                <c:pt idx="1105">
                  <c:v>36950</c:v>
                </c:pt>
                <c:pt idx="1106">
                  <c:v>36981</c:v>
                </c:pt>
                <c:pt idx="1107">
                  <c:v>37011</c:v>
                </c:pt>
                <c:pt idx="1108">
                  <c:v>37042</c:v>
                </c:pt>
                <c:pt idx="1109">
                  <c:v>37072</c:v>
                </c:pt>
                <c:pt idx="1110">
                  <c:v>37103</c:v>
                </c:pt>
                <c:pt idx="1111">
                  <c:v>37134</c:v>
                </c:pt>
                <c:pt idx="1112">
                  <c:v>37164</c:v>
                </c:pt>
                <c:pt idx="1113">
                  <c:v>37195</c:v>
                </c:pt>
                <c:pt idx="1114">
                  <c:v>37225</c:v>
                </c:pt>
                <c:pt idx="1115">
                  <c:v>37256</c:v>
                </c:pt>
                <c:pt idx="1116">
                  <c:v>37287</c:v>
                </c:pt>
                <c:pt idx="1117">
                  <c:v>37315</c:v>
                </c:pt>
                <c:pt idx="1118">
                  <c:v>37346</c:v>
                </c:pt>
                <c:pt idx="1119">
                  <c:v>37376</c:v>
                </c:pt>
                <c:pt idx="1120">
                  <c:v>37407</c:v>
                </c:pt>
                <c:pt idx="1121">
                  <c:v>37437</c:v>
                </c:pt>
                <c:pt idx="1122">
                  <c:v>37468</c:v>
                </c:pt>
                <c:pt idx="1123">
                  <c:v>37499</c:v>
                </c:pt>
                <c:pt idx="1124">
                  <c:v>37529</c:v>
                </c:pt>
                <c:pt idx="1125">
                  <c:v>37560</c:v>
                </c:pt>
                <c:pt idx="1126">
                  <c:v>37590</c:v>
                </c:pt>
                <c:pt idx="1127">
                  <c:v>37621</c:v>
                </c:pt>
                <c:pt idx="1128">
                  <c:v>37652</c:v>
                </c:pt>
                <c:pt idx="1129">
                  <c:v>37680</c:v>
                </c:pt>
                <c:pt idx="1130">
                  <c:v>37711</c:v>
                </c:pt>
                <c:pt idx="1131">
                  <c:v>37741</c:v>
                </c:pt>
                <c:pt idx="1132">
                  <c:v>37772</c:v>
                </c:pt>
                <c:pt idx="1133">
                  <c:v>37802</c:v>
                </c:pt>
                <c:pt idx="1134">
                  <c:v>37833</c:v>
                </c:pt>
                <c:pt idx="1135">
                  <c:v>37864</c:v>
                </c:pt>
                <c:pt idx="1136">
                  <c:v>37894</c:v>
                </c:pt>
                <c:pt idx="1137">
                  <c:v>37925</c:v>
                </c:pt>
                <c:pt idx="1138">
                  <c:v>37955</c:v>
                </c:pt>
                <c:pt idx="1139">
                  <c:v>37986</c:v>
                </c:pt>
                <c:pt idx="1140">
                  <c:v>38017</c:v>
                </c:pt>
                <c:pt idx="1141">
                  <c:v>38046</c:v>
                </c:pt>
                <c:pt idx="1142">
                  <c:v>38077</c:v>
                </c:pt>
                <c:pt idx="1143">
                  <c:v>38107</c:v>
                </c:pt>
                <c:pt idx="1144">
                  <c:v>38138</c:v>
                </c:pt>
                <c:pt idx="1145">
                  <c:v>38168</c:v>
                </c:pt>
                <c:pt idx="1146">
                  <c:v>38199</c:v>
                </c:pt>
                <c:pt idx="1147">
                  <c:v>38230</c:v>
                </c:pt>
                <c:pt idx="1148">
                  <c:v>38260</c:v>
                </c:pt>
                <c:pt idx="1149">
                  <c:v>38291</c:v>
                </c:pt>
                <c:pt idx="1150">
                  <c:v>38321</c:v>
                </c:pt>
                <c:pt idx="1151">
                  <c:v>38352</c:v>
                </c:pt>
                <c:pt idx="1152">
                  <c:v>38383</c:v>
                </c:pt>
                <c:pt idx="1153">
                  <c:v>38411</c:v>
                </c:pt>
                <c:pt idx="1154">
                  <c:v>38442</c:v>
                </c:pt>
                <c:pt idx="1155">
                  <c:v>38472</c:v>
                </c:pt>
                <c:pt idx="1156">
                  <c:v>38503</c:v>
                </c:pt>
                <c:pt idx="1157">
                  <c:v>38533</c:v>
                </c:pt>
                <c:pt idx="1158">
                  <c:v>38564</c:v>
                </c:pt>
                <c:pt idx="1159">
                  <c:v>38595</c:v>
                </c:pt>
                <c:pt idx="1160">
                  <c:v>38625</c:v>
                </c:pt>
                <c:pt idx="1161">
                  <c:v>38656</c:v>
                </c:pt>
                <c:pt idx="1162">
                  <c:v>38686</c:v>
                </c:pt>
                <c:pt idx="1163">
                  <c:v>38717</c:v>
                </c:pt>
                <c:pt idx="1164">
                  <c:v>38748</c:v>
                </c:pt>
                <c:pt idx="1165">
                  <c:v>38776</c:v>
                </c:pt>
                <c:pt idx="1166">
                  <c:v>38807</c:v>
                </c:pt>
                <c:pt idx="1167">
                  <c:v>38837</c:v>
                </c:pt>
                <c:pt idx="1168">
                  <c:v>38868</c:v>
                </c:pt>
                <c:pt idx="1169">
                  <c:v>38898</c:v>
                </c:pt>
                <c:pt idx="1170">
                  <c:v>38929</c:v>
                </c:pt>
                <c:pt idx="1171">
                  <c:v>38960</c:v>
                </c:pt>
                <c:pt idx="1172">
                  <c:v>38990</c:v>
                </c:pt>
                <c:pt idx="1173">
                  <c:v>39021</c:v>
                </c:pt>
                <c:pt idx="1174">
                  <c:v>39051</c:v>
                </c:pt>
                <c:pt idx="1175">
                  <c:v>39082</c:v>
                </c:pt>
                <c:pt idx="1176">
                  <c:v>39113</c:v>
                </c:pt>
                <c:pt idx="1177">
                  <c:v>39141</c:v>
                </c:pt>
                <c:pt idx="1178">
                  <c:v>39172</c:v>
                </c:pt>
                <c:pt idx="1179">
                  <c:v>39202</c:v>
                </c:pt>
                <c:pt idx="1180">
                  <c:v>39233</c:v>
                </c:pt>
                <c:pt idx="1181">
                  <c:v>39263</c:v>
                </c:pt>
                <c:pt idx="1182">
                  <c:v>39294</c:v>
                </c:pt>
                <c:pt idx="1183">
                  <c:v>39325</c:v>
                </c:pt>
                <c:pt idx="1184">
                  <c:v>39355</c:v>
                </c:pt>
                <c:pt idx="1185">
                  <c:v>39386</c:v>
                </c:pt>
                <c:pt idx="1186">
                  <c:v>39416</c:v>
                </c:pt>
                <c:pt idx="1187">
                  <c:v>39447</c:v>
                </c:pt>
                <c:pt idx="1188">
                  <c:v>39478</c:v>
                </c:pt>
                <c:pt idx="1189">
                  <c:v>39507</c:v>
                </c:pt>
                <c:pt idx="1190">
                  <c:v>39538</c:v>
                </c:pt>
                <c:pt idx="1191">
                  <c:v>39568</c:v>
                </c:pt>
                <c:pt idx="1192">
                  <c:v>39599</c:v>
                </c:pt>
                <c:pt idx="1193">
                  <c:v>39629</c:v>
                </c:pt>
                <c:pt idx="1194">
                  <c:v>39660</c:v>
                </c:pt>
                <c:pt idx="1195">
                  <c:v>39691</c:v>
                </c:pt>
                <c:pt idx="1196">
                  <c:v>39721</c:v>
                </c:pt>
                <c:pt idx="1197">
                  <c:v>39752</c:v>
                </c:pt>
                <c:pt idx="1198">
                  <c:v>39782</c:v>
                </c:pt>
                <c:pt idx="1199">
                  <c:v>39813</c:v>
                </c:pt>
                <c:pt idx="1200">
                  <c:v>39844</c:v>
                </c:pt>
                <c:pt idx="1201">
                  <c:v>39872</c:v>
                </c:pt>
                <c:pt idx="1202">
                  <c:v>39903</c:v>
                </c:pt>
                <c:pt idx="1203">
                  <c:v>39933</c:v>
                </c:pt>
                <c:pt idx="1204">
                  <c:v>39964</c:v>
                </c:pt>
                <c:pt idx="1205">
                  <c:v>39994</c:v>
                </c:pt>
                <c:pt idx="1206">
                  <c:v>40025</c:v>
                </c:pt>
                <c:pt idx="1207">
                  <c:v>40056</c:v>
                </c:pt>
                <c:pt idx="1208">
                  <c:v>40086</c:v>
                </c:pt>
                <c:pt idx="1209">
                  <c:v>40117</c:v>
                </c:pt>
                <c:pt idx="1210">
                  <c:v>40147</c:v>
                </c:pt>
                <c:pt idx="1211">
                  <c:v>40178</c:v>
                </c:pt>
                <c:pt idx="1212">
                  <c:v>40209</c:v>
                </c:pt>
                <c:pt idx="1213">
                  <c:v>40237</c:v>
                </c:pt>
                <c:pt idx="1214">
                  <c:v>40268</c:v>
                </c:pt>
                <c:pt idx="1215">
                  <c:v>40298</c:v>
                </c:pt>
                <c:pt idx="1216">
                  <c:v>40329</c:v>
                </c:pt>
                <c:pt idx="1217">
                  <c:v>40359</c:v>
                </c:pt>
                <c:pt idx="1218">
                  <c:v>40390</c:v>
                </c:pt>
                <c:pt idx="1219">
                  <c:v>40421</c:v>
                </c:pt>
                <c:pt idx="1220">
                  <c:v>40451</c:v>
                </c:pt>
                <c:pt idx="1221">
                  <c:v>40482</c:v>
                </c:pt>
                <c:pt idx="1222">
                  <c:v>40512</c:v>
                </c:pt>
                <c:pt idx="1223">
                  <c:v>40543</c:v>
                </c:pt>
                <c:pt idx="1224">
                  <c:v>40574</c:v>
                </c:pt>
                <c:pt idx="1225">
                  <c:v>40602</c:v>
                </c:pt>
                <c:pt idx="1226">
                  <c:v>40633</c:v>
                </c:pt>
                <c:pt idx="1227">
                  <c:v>40663</c:v>
                </c:pt>
                <c:pt idx="1228">
                  <c:v>40694</c:v>
                </c:pt>
                <c:pt idx="1229">
                  <c:v>40724</c:v>
                </c:pt>
                <c:pt idx="1230">
                  <c:v>40755</c:v>
                </c:pt>
                <c:pt idx="1231">
                  <c:v>40786</c:v>
                </c:pt>
                <c:pt idx="1232">
                  <c:v>40816</c:v>
                </c:pt>
                <c:pt idx="1233">
                  <c:v>40847</c:v>
                </c:pt>
                <c:pt idx="1234">
                  <c:v>40877</c:v>
                </c:pt>
                <c:pt idx="1235">
                  <c:v>40908</c:v>
                </c:pt>
                <c:pt idx="1236">
                  <c:v>40939</c:v>
                </c:pt>
                <c:pt idx="1237">
                  <c:v>40968</c:v>
                </c:pt>
                <c:pt idx="1238">
                  <c:v>40999</c:v>
                </c:pt>
                <c:pt idx="1239">
                  <c:v>41029</c:v>
                </c:pt>
                <c:pt idx="1240">
                  <c:v>41060</c:v>
                </c:pt>
                <c:pt idx="1241">
                  <c:v>41090</c:v>
                </c:pt>
                <c:pt idx="1242">
                  <c:v>41121</c:v>
                </c:pt>
                <c:pt idx="1243">
                  <c:v>41152</c:v>
                </c:pt>
                <c:pt idx="1244">
                  <c:v>41182</c:v>
                </c:pt>
                <c:pt idx="1245">
                  <c:v>41213</c:v>
                </c:pt>
                <c:pt idx="1246">
                  <c:v>41243</c:v>
                </c:pt>
                <c:pt idx="1247">
                  <c:v>41274</c:v>
                </c:pt>
                <c:pt idx="1248">
                  <c:v>41305</c:v>
                </c:pt>
                <c:pt idx="1249">
                  <c:v>41333</c:v>
                </c:pt>
                <c:pt idx="1250">
                  <c:v>41364</c:v>
                </c:pt>
                <c:pt idx="1251">
                  <c:v>41394</c:v>
                </c:pt>
                <c:pt idx="1252">
                  <c:v>41425</c:v>
                </c:pt>
                <c:pt idx="1253">
                  <c:v>41455</c:v>
                </c:pt>
                <c:pt idx="1254">
                  <c:v>41486</c:v>
                </c:pt>
                <c:pt idx="1255">
                  <c:v>41517</c:v>
                </c:pt>
                <c:pt idx="1256">
                  <c:v>41547</c:v>
                </c:pt>
                <c:pt idx="1257">
                  <c:v>41578</c:v>
                </c:pt>
                <c:pt idx="1258">
                  <c:v>41608</c:v>
                </c:pt>
                <c:pt idx="1259">
                  <c:v>41639</c:v>
                </c:pt>
                <c:pt idx="1260">
                  <c:v>41670</c:v>
                </c:pt>
                <c:pt idx="1261">
                  <c:v>41698</c:v>
                </c:pt>
                <c:pt idx="1262">
                  <c:v>41729</c:v>
                </c:pt>
                <c:pt idx="1263">
                  <c:v>41759</c:v>
                </c:pt>
                <c:pt idx="1264">
                  <c:v>41790</c:v>
                </c:pt>
                <c:pt idx="1265">
                  <c:v>41820</c:v>
                </c:pt>
                <c:pt idx="1266">
                  <c:v>41851</c:v>
                </c:pt>
                <c:pt idx="1267">
                  <c:v>41882</c:v>
                </c:pt>
                <c:pt idx="1268">
                  <c:v>41912</c:v>
                </c:pt>
                <c:pt idx="1269">
                  <c:v>41943</c:v>
                </c:pt>
                <c:pt idx="1270">
                  <c:v>41973</c:v>
                </c:pt>
                <c:pt idx="1271">
                  <c:v>42004</c:v>
                </c:pt>
                <c:pt idx="1272">
                  <c:v>42035</c:v>
                </c:pt>
                <c:pt idx="1273">
                  <c:v>42063</c:v>
                </c:pt>
                <c:pt idx="1274">
                  <c:v>42094</c:v>
                </c:pt>
                <c:pt idx="1275">
                  <c:v>42124</c:v>
                </c:pt>
                <c:pt idx="1276">
                  <c:v>42155</c:v>
                </c:pt>
                <c:pt idx="1277">
                  <c:v>42185</c:v>
                </c:pt>
                <c:pt idx="1278">
                  <c:v>42216</c:v>
                </c:pt>
                <c:pt idx="1279">
                  <c:v>42247</c:v>
                </c:pt>
                <c:pt idx="1280">
                  <c:v>42277</c:v>
                </c:pt>
                <c:pt idx="1281">
                  <c:v>42308</c:v>
                </c:pt>
                <c:pt idx="1282">
                  <c:v>42338</c:v>
                </c:pt>
                <c:pt idx="1283">
                  <c:v>42369</c:v>
                </c:pt>
                <c:pt idx="1284">
                  <c:v>42400</c:v>
                </c:pt>
                <c:pt idx="1285">
                  <c:v>42429</c:v>
                </c:pt>
                <c:pt idx="1286">
                  <c:v>42460</c:v>
                </c:pt>
                <c:pt idx="1287">
                  <c:v>42490</c:v>
                </c:pt>
                <c:pt idx="1288">
                  <c:v>42521</c:v>
                </c:pt>
                <c:pt idx="1289">
                  <c:v>42551</c:v>
                </c:pt>
                <c:pt idx="1290">
                  <c:v>42582</c:v>
                </c:pt>
                <c:pt idx="1291">
                  <c:v>42613</c:v>
                </c:pt>
                <c:pt idx="1292">
                  <c:v>42643</c:v>
                </c:pt>
                <c:pt idx="1293">
                  <c:v>42674</c:v>
                </c:pt>
                <c:pt idx="1294">
                  <c:v>42704</c:v>
                </c:pt>
                <c:pt idx="1295">
                  <c:v>42735</c:v>
                </c:pt>
                <c:pt idx="1296">
                  <c:v>42766</c:v>
                </c:pt>
                <c:pt idx="1297">
                  <c:v>42794</c:v>
                </c:pt>
                <c:pt idx="1298">
                  <c:v>42825</c:v>
                </c:pt>
                <c:pt idx="1299">
                  <c:v>42855</c:v>
                </c:pt>
                <c:pt idx="1300">
                  <c:v>42886</c:v>
                </c:pt>
                <c:pt idx="1301">
                  <c:v>42916</c:v>
                </c:pt>
                <c:pt idx="1302">
                  <c:v>42947</c:v>
                </c:pt>
                <c:pt idx="1303">
                  <c:v>42978</c:v>
                </c:pt>
                <c:pt idx="1304">
                  <c:v>43008</c:v>
                </c:pt>
                <c:pt idx="1305">
                  <c:v>43039</c:v>
                </c:pt>
                <c:pt idx="1306">
                  <c:v>43069</c:v>
                </c:pt>
                <c:pt idx="1307">
                  <c:v>43100</c:v>
                </c:pt>
                <c:pt idx="1308">
                  <c:v>43131</c:v>
                </c:pt>
                <c:pt idx="1309">
                  <c:v>43159</c:v>
                </c:pt>
                <c:pt idx="1310">
                  <c:v>43190</c:v>
                </c:pt>
                <c:pt idx="1311">
                  <c:v>43220</c:v>
                </c:pt>
                <c:pt idx="1312">
                  <c:v>43251</c:v>
                </c:pt>
                <c:pt idx="1313">
                  <c:v>43281</c:v>
                </c:pt>
                <c:pt idx="1314">
                  <c:v>43312</c:v>
                </c:pt>
                <c:pt idx="1315">
                  <c:v>43343</c:v>
                </c:pt>
                <c:pt idx="1316">
                  <c:v>43373</c:v>
                </c:pt>
                <c:pt idx="1317">
                  <c:v>43404</c:v>
                </c:pt>
                <c:pt idx="1318">
                  <c:v>43434</c:v>
                </c:pt>
                <c:pt idx="1319">
                  <c:v>43465</c:v>
                </c:pt>
                <c:pt idx="1320">
                  <c:v>43496</c:v>
                </c:pt>
                <c:pt idx="1321">
                  <c:v>43524</c:v>
                </c:pt>
                <c:pt idx="1322">
                  <c:v>43555</c:v>
                </c:pt>
                <c:pt idx="1323">
                  <c:v>43585</c:v>
                </c:pt>
                <c:pt idx="1324">
                  <c:v>43616</c:v>
                </c:pt>
                <c:pt idx="1325">
                  <c:v>43646</c:v>
                </c:pt>
                <c:pt idx="1326">
                  <c:v>43677</c:v>
                </c:pt>
                <c:pt idx="1327">
                  <c:v>43708</c:v>
                </c:pt>
                <c:pt idx="1328">
                  <c:v>43738</c:v>
                </c:pt>
                <c:pt idx="1329">
                  <c:v>43769</c:v>
                </c:pt>
                <c:pt idx="1330">
                  <c:v>43799</c:v>
                </c:pt>
                <c:pt idx="1331">
                  <c:v>43830</c:v>
                </c:pt>
                <c:pt idx="1332">
                  <c:v>43861</c:v>
                </c:pt>
                <c:pt idx="1333">
                  <c:v>43890</c:v>
                </c:pt>
                <c:pt idx="1334">
                  <c:v>43921</c:v>
                </c:pt>
                <c:pt idx="1335">
                  <c:v>43951</c:v>
                </c:pt>
                <c:pt idx="1336">
                  <c:v>43982</c:v>
                </c:pt>
                <c:pt idx="1337">
                  <c:v>44012</c:v>
                </c:pt>
                <c:pt idx="1338">
                  <c:v>44043</c:v>
                </c:pt>
                <c:pt idx="1339">
                  <c:v>44074</c:v>
                </c:pt>
                <c:pt idx="1340">
                  <c:v>44104</c:v>
                </c:pt>
                <c:pt idx="1341">
                  <c:v>44135</c:v>
                </c:pt>
                <c:pt idx="1342">
                  <c:v>44165</c:v>
                </c:pt>
                <c:pt idx="1343">
                  <c:v>44196</c:v>
                </c:pt>
                <c:pt idx="1344">
                  <c:v>44227</c:v>
                </c:pt>
                <c:pt idx="1345">
                  <c:v>44255</c:v>
                </c:pt>
                <c:pt idx="1346">
                  <c:v>44286</c:v>
                </c:pt>
                <c:pt idx="1347">
                  <c:v>44316</c:v>
                </c:pt>
                <c:pt idx="1348">
                  <c:v>44347</c:v>
                </c:pt>
                <c:pt idx="1349">
                  <c:v>44377</c:v>
                </c:pt>
                <c:pt idx="1350">
                  <c:v>44408</c:v>
                </c:pt>
                <c:pt idx="1351">
                  <c:v>44439</c:v>
                </c:pt>
                <c:pt idx="1352">
                  <c:v>44469</c:v>
                </c:pt>
                <c:pt idx="1353">
                  <c:v>44500</c:v>
                </c:pt>
                <c:pt idx="1354">
                  <c:v>44530</c:v>
                </c:pt>
                <c:pt idx="1355">
                  <c:v>44561</c:v>
                </c:pt>
                <c:pt idx="1356">
                  <c:v>44592</c:v>
                </c:pt>
                <c:pt idx="1357">
                  <c:v>44620</c:v>
                </c:pt>
                <c:pt idx="1358">
                  <c:v>44651</c:v>
                </c:pt>
                <c:pt idx="1359">
                  <c:v>44681</c:v>
                </c:pt>
                <c:pt idx="1360">
                  <c:v>44712</c:v>
                </c:pt>
                <c:pt idx="1361">
                  <c:v>44742</c:v>
                </c:pt>
                <c:pt idx="1362">
                  <c:v>44773</c:v>
                </c:pt>
                <c:pt idx="1363">
                  <c:v>44804</c:v>
                </c:pt>
                <c:pt idx="1364">
                  <c:v>44834</c:v>
                </c:pt>
                <c:pt idx="1365">
                  <c:v>44865</c:v>
                </c:pt>
                <c:pt idx="1366">
                  <c:v>44895</c:v>
                </c:pt>
                <c:pt idx="1367">
                  <c:v>44926</c:v>
                </c:pt>
                <c:pt idx="1368">
                  <c:v>44957</c:v>
                </c:pt>
                <c:pt idx="1369">
                  <c:v>44985</c:v>
                </c:pt>
                <c:pt idx="1370">
                  <c:v>45016</c:v>
                </c:pt>
                <c:pt idx="1371">
                  <c:v>45046</c:v>
                </c:pt>
                <c:pt idx="1372">
                  <c:v>45077</c:v>
                </c:pt>
                <c:pt idx="1373">
                  <c:v>45107</c:v>
                </c:pt>
                <c:pt idx="1374">
                  <c:v>45138</c:v>
                </c:pt>
                <c:pt idx="1375">
                  <c:v>45169</c:v>
                </c:pt>
                <c:pt idx="1376">
                  <c:v>45199</c:v>
                </c:pt>
                <c:pt idx="1377">
                  <c:v>45230</c:v>
                </c:pt>
                <c:pt idx="1378">
                  <c:v>45260</c:v>
                </c:pt>
                <c:pt idx="1379">
                  <c:v>45291</c:v>
                </c:pt>
                <c:pt idx="1380">
                  <c:v>45322</c:v>
                </c:pt>
                <c:pt idx="1381">
                  <c:v>45351</c:v>
                </c:pt>
                <c:pt idx="1382">
                  <c:v>45382</c:v>
                </c:pt>
                <c:pt idx="1383">
                  <c:v>45412</c:v>
                </c:pt>
                <c:pt idx="1384">
                  <c:v>45443</c:v>
                </c:pt>
                <c:pt idx="1385">
                  <c:v>45473</c:v>
                </c:pt>
              </c:numCache>
            </c:numRef>
          </c:cat>
          <c:val>
            <c:numRef>
              <c:f>Sheet1!$U$4:$U$1389</c:f>
              <c:numCache>
                <c:formatCode>General</c:formatCode>
                <c:ptCount val="1386"/>
                <c:pt idx="0">
                  <c:v>-1.1713159086148133</c:v>
                </c:pt>
                <c:pt idx="1">
                  <c:v>-1.1670076530605935</c:v>
                </c:pt>
                <c:pt idx="2">
                  <c:v>-1.1626993975063735</c:v>
                </c:pt>
                <c:pt idx="3">
                  <c:v>-1.1583911419521535</c:v>
                </c:pt>
                <c:pt idx="4">
                  <c:v>-1.1540828863979338</c:v>
                </c:pt>
                <c:pt idx="5">
                  <c:v>-1.1497746308437138</c:v>
                </c:pt>
                <c:pt idx="6">
                  <c:v>-1.145466375289494</c:v>
                </c:pt>
                <c:pt idx="7">
                  <c:v>-1.141158119735274</c:v>
                </c:pt>
                <c:pt idx="8">
                  <c:v>-1.136849864181054</c:v>
                </c:pt>
                <c:pt idx="9">
                  <c:v>-1.1325416086268343</c:v>
                </c:pt>
                <c:pt idx="10">
                  <c:v>-1.1282333530726143</c:v>
                </c:pt>
                <c:pt idx="11">
                  <c:v>-1.1239250975183943</c:v>
                </c:pt>
                <c:pt idx="12">
                  <c:v>-1.1196168419641745</c:v>
                </c:pt>
                <c:pt idx="13">
                  <c:v>-1.1153085864099546</c:v>
                </c:pt>
                <c:pt idx="14">
                  <c:v>-1.1110003308557346</c:v>
                </c:pt>
                <c:pt idx="15">
                  <c:v>-1.1066920753015148</c:v>
                </c:pt>
                <c:pt idx="16">
                  <c:v>-1.1023838197472948</c:v>
                </c:pt>
                <c:pt idx="17">
                  <c:v>-1.0980755641930751</c:v>
                </c:pt>
                <c:pt idx="18">
                  <c:v>-1.0937673086388551</c:v>
                </c:pt>
                <c:pt idx="19">
                  <c:v>-1.0894590530846351</c:v>
                </c:pt>
                <c:pt idx="20">
                  <c:v>-1.0851507975304153</c:v>
                </c:pt>
                <c:pt idx="21">
                  <c:v>-1.0808425419761953</c:v>
                </c:pt>
                <c:pt idx="22">
                  <c:v>-1.0765342864219754</c:v>
                </c:pt>
                <c:pt idx="23">
                  <c:v>-1.0722260308677556</c:v>
                </c:pt>
                <c:pt idx="24">
                  <c:v>-1.0679177753135356</c:v>
                </c:pt>
                <c:pt idx="25">
                  <c:v>-1.0636095197593156</c:v>
                </c:pt>
                <c:pt idx="26">
                  <c:v>-1.0593012642050958</c:v>
                </c:pt>
                <c:pt idx="27">
                  <c:v>-1.0549930086508759</c:v>
                </c:pt>
                <c:pt idx="28">
                  <c:v>-1.0506847530966559</c:v>
                </c:pt>
                <c:pt idx="29">
                  <c:v>-1.0463764975424361</c:v>
                </c:pt>
                <c:pt idx="30">
                  <c:v>-1.0420682419882161</c:v>
                </c:pt>
                <c:pt idx="31">
                  <c:v>-1.0377599864339961</c:v>
                </c:pt>
                <c:pt idx="32">
                  <c:v>-1.0334517308797764</c:v>
                </c:pt>
                <c:pt idx="33">
                  <c:v>-1.0291434753255564</c:v>
                </c:pt>
                <c:pt idx="34">
                  <c:v>-1.0248352197713366</c:v>
                </c:pt>
                <c:pt idx="35">
                  <c:v>-1.0205269642171166</c:v>
                </c:pt>
                <c:pt idx="36">
                  <c:v>-1.0162187086628967</c:v>
                </c:pt>
                <c:pt idx="37">
                  <c:v>-1.0119104531086769</c:v>
                </c:pt>
                <c:pt idx="38">
                  <c:v>-1.0076021975544569</c:v>
                </c:pt>
                <c:pt idx="39">
                  <c:v>-1.0032939420002369</c:v>
                </c:pt>
                <c:pt idx="40">
                  <c:v>-0.99898568644601715</c:v>
                </c:pt>
                <c:pt idx="41">
                  <c:v>-0.99467743089179717</c:v>
                </c:pt>
                <c:pt idx="42">
                  <c:v>-0.99036917533757729</c:v>
                </c:pt>
                <c:pt idx="43">
                  <c:v>-0.98606091978335741</c:v>
                </c:pt>
                <c:pt idx="44">
                  <c:v>-0.98175266422913743</c:v>
                </c:pt>
                <c:pt idx="45">
                  <c:v>-0.97744440867491755</c:v>
                </c:pt>
                <c:pt idx="46">
                  <c:v>-0.97313615312069768</c:v>
                </c:pt>
                <c:pt idx="47">
                  <c:v>-0.96882789756647769</c:v>
                </c:pt>
                <c:pt idx="48">
                  <c:v>-0.96451964201225782</c:v>
                </c:pt>
                <c:pt idx="49">
                  <c:v>-0.96021138645803794</c:v>
                </c:pt>
                <c:pt idx="50">
                  <c:v>-0.95590313090381807</c:v>
                </c:pt>
                <c:pt idx="51">
                  <c:v>-0.95159487534959819</c:v>
                </c:pt>
                <c:pt idx="52">
                  <c:v>-0.9472866197953782</c:v>
                </c:pt>
                <c:pt idx="53">
                  <c:v>-0.94297836424115833</c:v>
                </c:pt>
                <c:pt idx="54">
                  <c:v>-0.93867010868693845</c:v>
                </c:pt>
                <c:pt idx="55">
                  <c:v>-0.93436185313271847</c:v>
                </c:pt>
                <c:pt idx="56">
                  <c:v>-0.93005359757849859</c:v>
                </c:pt>
                <c:pt idx="57">
                  <c:v>-0.92574534202427872</c:v>
                </c:pt>
                <c:pt idx="58">
                  <c:v>-0.92143708647005873</c:v>
                </c:pt>
                <c:pt idx="59">
                  <c:v>-0.91712883091583886</c:v>
                </c:pt>
                <c:pt idx="60">
                  <c:v>-0.91282057536161898</c:v>
                </c:pt>
                <c:pt idx="61">
                  <c:v>-0.90851231980739899</c:v>
                </c:pt>
                <c:pt idx="62">
                  <c:v>-0.90420406425317923</c:v>
                </c:pt>
                <c:pt idx="63">
                  <c:v>-0.89989580869895924</c:v>
                </c:pt>
                <c:pt idx="64">
                  <c:v>-0.89558755314473926</c:v>
                </c:pt>
                <c:pt idx="65">
                  <c:v>-0.89127929759051949</c:v>
                </c:pt>
                <c:pt idx="66">
                  <c:v>-0.88697104203629951</c:v>
                </c:pt>
                <c:pt idx="67">
                  <c:v>-0.88266278648207963</c:v>
                </c:pt>
                <c:pt idx="68">
                  <c:v>-0.87835453092785976</c:v>
                </c:pt>
                <c:pt idx="69">
                  <c:v>-0.87404627537363977</c:v>
                </c:pt>
                <c:pt idx="70">
                  <c:v>-0.86973801981941989</c:v>
                </c:pt>
                <c:pt idx="71">
                  <c:v>-0.86542976426520002</c:v>
                </c:pt>
                <c:pt idx="72">
                  <c:v>-0.86112150871098003</c:v>
                </c:pt>
                <c:pt idx="73">
                  <c:v>-0.85681325315676016</c:v>
                </c:pt>
                <c:pt idx="74">
                  <c:v>-0.85250499760254028</c:v>
                </c:pt>
                <c:pt idx="75">
                  <c:v>-0.8481967420483203</c:v>
                </c:pt>
                <c:pt idx="76">
                  <c:v>-0.84388848649410053</c:v>
                </c:pt>
                <c:pt idx="77">
                  <c:v>-0.83958023093988055</c:v>
                </c:pt>
                <c:pt idx="78">
                  <c:v>-0.83527197538566067</c:v>
                </c:pt>
                <c:pt idx="79">
                  <c:v>-0.83096371983144079</c:v>
                </c:pt>
                <c:pt idx="80">
                  <c:v>-0.82665546427722081</c:v>
                </c:pt>
                <c:pt idx="81">
                  <c:v>-0.82234720872300093</c:v>
                </c:pt>
                <c:pt idx="82">
                  <c:v>-0.81803895316878106</c:v>
                </c:pt>
                <c:pt idx="83">
                  <c:v>-0.81373069761456107</c:v>
                </c:pt>
                <c:pt idx="84">
                  <c:v>-0.8094224420603412</c:v>
                </c:pt>
                <c:pt idx="85">
                  <c:v>-0.80511418650612132</c:v>
                </c:pt>
                <c:pt idx="86">
                  <c:v>-0.80080593095190133</c:v>
                </c:pt>
                <c:pt idx="87">
                  <c:v>-0.79649767539768146</c:v>
                </c:pt>
                <c:pt idx="88">
                  <c:v>-0.79218941984346158</c:v>
                </c:pt>
                <c:pt idx="89">
                  <c:v>-0.7878811642892416</c:v>
                </c:pt>
                <c:pt idx="90">
                  <c:v>-0.78357290873502183</c:v>
                </c:pt>
                <c:pt idx="91">
                  <c:v>-0.77926465318080185</c:v>
                </c:pt>
                <c:pt idx="92">
                  <c:v>-0.77495639762658197</c:v>
                </c:pt>
                <c:pt idx="93">
                  <c:v>-0.7706481420723621</c:v>
                </c:pt>
                <c:pt idx="94">
                  <c:v>-0.76633988651814211</c:v>
                </c:pt>
                <c:pt idx="95">
                  <c:v>-0.76203163096392224</c:v>
                </c:pt>
                <c:pt idx="96">
                  <c:v>-0.75772337540970236</c:v>
                </c:pt>
                <c:pt idx="97">
                  <c:v>-0.75341511985548237</c:v>
                </c:pt>
                <c:pt idx="98">
                  <c:v>-0.7491068643012625</c:v>
                </c:pt>
                <c:pt idx="99">
                  <c:v>-0.74479860874704262</c:v>
                </c:pt>
                <c:pt idx="100">
                  <c:v>-0.74049035319282264</c:v>
                </c:pt>
                <c:pt idx="101">
                  <c:v>-0.73618209763860287</c:v>
                </c:pt>
                <c:pt idx="102">
                  <c:v>-0.73187384208438289</c:v>
                </c:pt>
                <c:pt idx="103">
                  <c:v>-0.72756558653016301</c:v>
                </c:pt>
                <c:pt idx="104">
                  <c:v>-0.72325733097594314</c:v>
                </c:pt>
                <c:pt idx="105">
                  <c:v>-0.71894907542172315</c:v>
                </c:pt>
                <c:pt idx="106">
                  <c:v>-0.71464081986750327</c:v>
                </c:pt>
                <c:pt idx="107">
                  <c:v>-0.7103325643132834</c:v>
                </c:pt>
                <c:pt idx="108">
                  <c:v>-0.70602430875906341</c:v>
                </c:pt>
                <c:pt idx="109">
                  <c:v>-0.70171605320484354</c:v>
                </c:pt>
                <c:pt idx="110">
                  <c:v>-0.69740779765062366</c:v>
                </c:pt>
                <c:pt idx="111">
                  <c:v>-0.69309954209640368</c:v>
                </c:pt>
                <c:pt idx="112">
                  <c:v>-0.6887912865421838</c:v>
                </c:pt>
                <c:pt idx="113">
                  <c:v>-0.68448303098796393</c:v>
                </c:pt>
                <c:pt idx="114">
                  <c:v>-0.68017477543374394</c:v>
                </c:pt>
                <c:pt idx="115">
                  <c:v>-0.67586651987952417</c:v>
                </c:pt>
                <c:pt idx="116">
                  <c:v>-0.67155826432530419</c:v>
                </c:pt>
                <c:pt idx="117">
                  <c:v>-0.66725000877108431</c:v>
                </c:pt>
                <c:pt idx="118">
                  <c:v>-0.66294175321686444</c:v>
                </c:pt>
                <c:pt idx="119">
                  <c:v>-0.65863349766264445</c:v>
                </c:pt>
                <c:pt idx="120">
                  <c:v>-0.65432524210842458</c:v>
                </c:pt>
                <c:pt idx="121">
                  <c:v>-0.6500169865542047</c:v>
                </c:pt>
                <c:pt idx="122">
                  <c:v>-0.64570873099998471</c:v>
                </c:pt>
                <c:pt idx="123">
                  <c:v>-0.64140047544576484</c:v>
                </c:pt>
                <c:pt idx="124">
                  <c:v>-0.63709221989154496</c:v>
                </c:pt>
                <c:pt idx="125">
                  <c:v>-0.63278396433732509</c:v>
                </c:pt>
                <c:pt idx="126">
                  <c:v>-0.6284757087831051</c:v>
                </c:pt>
                <c:pt idx="127">
                  <c:v>-0.62416745322888523</c:v>
                </c:pt>
                <c:pt idx="128">
                  <c:v>-0.61985919767466535</c:v>
                </c:pt>
                <c:pt idx="129">
                  <c:v>-0.61555094212044537</c:v>
                </c:pt>
                <c:pt idx="130">
                  <c:v>-0.61124268656622549</c:v>
                </c:pt>
                <c:pt idx="131">
                  <c:v>-0.60693443101200562</c:v>
                </c:pt>
                <c:pt idx="132">
                  <c:v>-0.60262617545778574</c:v>
                </c:pt>
                <c:pt idx="133">
                  <c:v>-0.59831791990356575</c:v>
                </c:pt>
                <c:pt idx="134">
                  <c:v>-0.59400966434934588</c:v>
                </c:pt>
                <c:pt idx="135">
                  <c:v>-0.589701408795126</c:v>
                </c:pt>
                <c:pt idx="136">
                  <c:v>-0.58539315324090602</c:v>
                </c:pt>
                <c:pt idx="137">
                  <c:v>-0.58108489768668614</c:v>
                </c:pt>
                <c:pt idx="138">
                  <c:v>-0.57677664213246627</c:v>
                </c:pt>
                <c:pt idx="139">
                  <c:v>-0.57246838657824639</c:v>
                </c:pt>
                <c:pt idx="140">
                  <c:v>-0.5681601310240264</c:v>
                </c:pt>
                <c:pt idx="141">
                  <c:v>-0.56385187546980653</c:v>
                </c:pt>
                <c:pt idx="142">
                  <c:v>-0.55954361991558665</c:v>
                </c:pt>
                <c:pt idx="143">
                  <c:v>-0.55523536436136678</c:v>
                </c:pt>
                <c:pt idx="144">
                  <c:v>-0.55092710880714679</c:v>
                </c:pt>
                <c:pt idx="145">
                  <c:v>-0.54661885325292692</c:v>
                </c:pt>
                <c:pt idx="146">
                  <c:v>-0.54231059769870704</c:v>
                </c:pt>
                <c:pt idx="147">
                  <c:v>-0.53800234214448706</c:v>
                </c:pt>
                <c:pt idx="148">
                  <c:v>-0.53369408659026718</c:v>
                </c:pt>
                <c:pt idx="149">
                  <c:v>-0.52938583103604731</c:v>
                </c:pt>
                <c:pt idx="150">
                  <c:v>-0.52507757548182743</c:v>
                </c:pt>
                <c:pt idx="151">
                  <c:v>-0.52076931992760744</c:v>
                </c:pt>
                <c:pt idx="152">
                  <c:v>-0.51646106437338757</c:v>
                </c:pt>
                <c:pt idx="153">
                  <c:v>-0.51215280881916769</c:v>
                </c:pt>
                <c:pt idx="154">
                  <c:v>-0.50784455326494771</c:v>
                </c:pt>
                <c:pt idx="155">
                  <c:v>-0.50353629771072783</c:v>
                </c:pt>
                <c:pt idx="156">
                  <c:v>-0.49922804215650796</c:v>
                </c:pt>
                <c:pt idx="157">
                  <c:v>-0.49491978660228808</c:v>
                </c:pt>
                <c:pt idx="158">
                  <c:v>-0.49061153104806809</c:v>
                </c:pt>
                <c:pt idx="159">
                  <c:v>-0.48630327549384822</c:v>
                </c:pt>
                <c:pt idx="160">
                  <c:v>-0.48199501993962834</c:v>
                </c:pt>
                <c:pt idx="161">
                  <c:v>-0.47768676438540836</c:v>
                </c:pt>
                <c:pt idx="162">
                  <c:v>-0.47337850883118848</c:v>
                </c:pt>
                <c:pt idx="163">
                  <c:v>-0.46907025327696861</c:v>
                </c:pt>
                <c:pt idx="164">
                  <c:v>-0.46476199772274873</c:v>
                </c:pt>
                <c:pt idx="165">
                  <c:v>-0.46045374216852875</c:v>
                </c:pt>
                <c:pt idx="166">
                  <c:v>-0.45614548661430887</c:v>
                </c:pt>
                <c:pt idx="167">
                  <c:v>-0.451837231060089</c:v>
                </c:pt>
                <c:pt idx="168">
                  <c:v>-0.44752897550586901</c:v>
                </c:pt>
                <c:pt idx="169">
                  <c:v>-0.44322071995164913</c:v>
                </c:pt>
                <c:pt idx="170">
                  <c:v>-0.43891246439742926</c:v>
                </c:pt>
                <c:pt idx="171">
                  <c:v>-0.43460420884320938</c:v>
                </c:pt>
                <c:pt idx="172">
                  <c:v>-0.4302959532889894</c:v>
                </c:pt>
                <c:pt idx="173">
                  <c:v>-0.42598769773476952</c:v>
                </c:pt>
                <c:pt idx="174">
                  <c:v>-0.42167944218054965</c:v>
                </c:pt>
                <c:pt idx="175">
                  <c:v>-0.41737118662632966</c:v>
                </c:pt>
                <c:pt idx="176">
                  <c:v>-0.41306293107210978</c:v>
                </c:pt>
                <c:pt idx="177">
                  <c:v>-0.40875467551788991</c:v>
                </c:pt>
                <c:pt idx="178">
                  <c:v>-0.40444641996367003</c:v>
                </c:pt>
                <c:pt idx="179">
                  <c:v>-0.40013816440945005</c:v>
                </c:pt>
                <c:pt idx="180">
                  <c:v>-0.39582990885523017</c:v>
                </c:pt>
                <c:pt idx="181">
                  <c:v>-0.3915216533010103</c:v>
                </c:pt>
                <c:pt idx="182">
                  <c:v>-0.38721339774679042</c:v>
                </c:pt>
                <c:pt idx="183">
                  <c:v>-0.38290514219257044</c:v>
                </c:pt>
                <c:pt idx="184">
                  <c:v>-0.37859688663835056</c:v>
                </c:pt>
                <c:pt idx="185">
                  <c:v>-0.37428863108413069</c:v>
                </c:pt>
                <c:pt idx="186">
                  <c:v>-0.3699803755299107</c:v>
                </c:pt>
                <c:pt idx="187">
                  <c:v>-0.36567211997569082</c:v>
                </c:pt>
                <c:pt idx="188">
                  <c:v>-0.36136386442147095</c:v>
                </c:pt>
                <c:pt idx="189">
                  <c:v>-0.35705560886725107</c:v>
                </c:pt>
                <c:pt idx="190">
                  <c:v>-0.35274735331303109</c:v>
                </c:pt>
                <c:pt idx="191">
                  <c:v>-0.34843909775881121</c:v>
                </c:pt>
                <c:pt idx="192">
                  <c:v>-0.34413084220459134</c:v>
                </c:pt>
                <c:pt idx="193">
                  <c:v>-0.33982258665037135</c:v>
                </c:pt>
                <c:pt idx="194">
                  <c:v>-0.33551433109615147</c:v>
                </c:pt>
                <c:pt idx="195">
                  <c:v>-0.3312060755419316</c:v>
                </c:pt>
                <c:pt idx="196">
                  <c:v>-0.32689781998771172</c:v>
                </c:pt>
                <c:pt idx="197">
                  <c:v>-0.32258956443349174</c:v>
                </c:pt>
                <c:pt idx="198">
                  <c:v>-0.31828130887927186</c:v>
                </c:pt>
                <c:pt idx="199">
                  <c:v>-0.31397305332505199</c:v>
                </c:pt>
                <c:pt idx="200">
                  <c:v>-0.309664797770832</c:v>
                </c:pt>
                <c:pt idx="201">
                  <c:v>-0.30535654221661213</c:v>
                </c:pt>
                <c:pt idx="202">
                  <c:v>-0.30104828666239225</c:v>
                </c:pt>
                <c:pt idx="203">
                  <c:v>-0.29674003110817238</c:v>
                </c:pt>
                <c:pt idx="204">
                  <c:v>-0.29243177555395239</c:v>
                </c:pt>
                <c:pt idx="205">
                  <c:v>-0.28812351999973251</c:v>
                </c:pt>
                <c:pt idx="206">
                  <c:v>-0.28381526444551264</c:v>
                </c:pt>
                <c:pt idx="207">
                  <c:v>-0.27950700889129276</c:v>
                </c:pt>
                <c:pt idx="208">
                  <c:v>-0.27519875333707278</c:v>
                </c:pt>
                <c:pt idx="209">
                  <c:v>-0.2708904977828529</c:v>
                </c:pt>
                <c:pt idx="210">
                  <c:v>-0.26658224222863303</c:v>
                </c:pt>
                <c:pt idx="211">
                  <c:v>-0.26227398667441304</c:v>
                </c:pt>
                <c:pt idx="212">
                  <c:v>-0.25796573112019316</c:v>
                </c:pt>
                <c:pt idx="213">
                  <c:v>-0.25365747556597329</c:v>
                </c:pt>
                <c:pt idx="214">
                  <c:v>-0.24934922001175341</c:v>
                </c:pt>
                <c:pt idx="215">
                  <c:v>-0.24504096445753343</c:v>
                </c:pt>
                <c:pt idx="216">
                  <c:v>-0.24073270890331355</c:v>
                </c:pt>
                <c:pt idx="217">
                  <c:v>-0.23642445334909368</c:v>
                </c:pt>
                <c:pt idx="218">
                  <c:v>-0.23211619779487369</c:v>
                </c:pt>
                <c:pt idx="219">
                  <c:v>-0.22780794224065382</c:v>
                </c:pt>
                <c:pt idx="220">
                  <c:v>-0.22349968668643394</c:v>
                </c:pt>
                <c:pt idx="221">
                  <c:v>-0.21919143113221407</c:v>
                </c:pt>
                <c:pt idx="222">
                  <c:v>-0.21488317557799408</c:v>
                </c:pt>
                <c:pt idx="223">
                  <c:v>-0.2105749200237742</c:v>
                </c:pt>
                <c:pt idx="224">
                  <c:v>-0.20626666446955433</c:v>
                </c:pt>
                <c:pt idx="225">
                  <c:v>-0.20195840891533434</c:v>
                </c:pt>
                <c:pt idx="226">
                  <c:v>-0.19765015336111447</c:v>
                </c:pt>
                <c:pt idx="227">
                  <c:v>-0.19334189780689459</c:v>
                </c:pt>
                <c:pt idx="228">
                  <c:v>-0.18903364225267472</c:v>
                </c:pt>
                <c:pt idx="229">
                  <c:v>-0.18472538669845473</c:v>
                </c:pt>
                <c:pt idx="230">
                  <c:v>-0.18041713114423485</c:v>
                </c:pt>
                <c:pt idx="231">
                  <c:v>-0.17610887559001498</c:v>
                </c:pt>
                <c:pt idx="232">
                  <c:v>-0.1718006200357951</c:v>
                </c:pt>
                <c:pt idx="233">
                  <c:v>-0.16749236448157512</c:v>
                </c:pt>
                <c:pt idx="234">
                  <c:v>-0.16318410892735513</c:v>
                </c:pt>
                <c:pt idx="235">
                  <c:v>-0.15887585337313537</c:v>
                </c:pt>
                <c:pt idx="236">
                  <c:v>-0.15456759781891538</c:v>
                </c:pt>
                <c:pt idx="237">
                  <c:v>-0.15025934226469562</c:v>
                </c:pt>
                <c:pt idx="238">
                  <c:v>-0.14595108671047563</c:v>
                </c:pt>
                <c:pt idx="239">
                  <c:v>-0.14164283115625564</c:v>
                </c:pt>
                <c:pt idx="240">
                  <c:v>-0.13733457560203588</c:v>
                </c:pt>
                <c:pt idx="241">
                  <c:v>-0.13302632004781589</c:v>
                </c:pt>
                <c:pt idx="242">
                  <c:v>-0.12871806449359591</c:v>
                </c:pt>
                <c:pt idx="243">
                  <c:v>-0.12440980893937614</c:v>
                </c:pt>
                <c:pt idx="244">
                  <c:v>-0.12010155338515616</c:v>
                </c:pt>
                <c:pt idx="245">
                  <c:v>-0.11579329783093617</c:v>
                </c:pt>
                <c:pt idx="246">
                  <c:v>-0.11148504227671641</c:v>
                </c:pt>
                <c:pt idx="247">
                  <c:v>-0.10717678672249642</c:v>
                </c:pt>
                <c:pt idx="248">
                  <c:v>-0.10286853116827643</c:v>
                </c:pt>
                <c:pt idx="249">
                  <c:v>-9.8560275614056669E-2</c:v>
                </c:pt>
                <c:pt idx="250">
                  <c:v>-9.4252020059836683E-2</c:v>
                </c:pt>
                <c:pt idx="251">
                  <c:v>-8.9943764505616919E-2</c:v>
                </c:pt>
                <c:pt idx="252">
                  <c:v>-8.5635508951396933E-2</c:v>
                </c:pt>
                <c:pt idx="253">
                  <c:v>-8.1327253397176946E-2</c:v>
                </c:pt>
                <c:pt idx="254">
                  <c:v>-7.7018997842957182E-2</c:v>
                </c:pt>
                <c:pt idx="255">
                  <c:v>-7.2710742288737196E-2</c:v>
                </c:pt>
                <c:pt idx="256">
                  <c:v>-6.8402486734517209E-2</c:v>
                </c:pt>
                <c:pt idx="257">
                  <c:v>-6.4094231180297445E-2</c:v>
                </c:pt>
                <c:pt idx="258">
                  <c:v>-5.9785975626077459E-2</c:v>
                </c:pt>
                <c:pt idx="259">
                  <c:v>-5.5477720071857473E-2</c:v>
                </c:pt>
                <c:pt idx="260">
                  <c:v>-5.1169464517637708E-2</c:v>
                </c:pt>
                <c:pt idx="261">
                  <c:v>-4.6861208963417722E-2</c:v>
                </c:pt>
                <c:pt idx="262">
                  <c:v>-4.2552953409197958E-2</c:v>
                </c:pt>
                <c:pt idx="263">
                  <c:v>-3.8244697854977971E-2</c:v>
                </c:pt>
                <c:pt idx="264">
                  <c:v>-3.3936442300757985E-2</c:v>
                </c:pt>
                <c:pt idx="265">
                  <c:v>-2.9628186746538221E-2</c:v>
                </c:pt>
                <c:pt idx="266">
                  <c:v>-2.5319931192318235E-2</c:v>
                </c:pt>
                <c:pt idx="267">
                  <c:v>-2.1011675638098248E-2</c:v>
                </c:pt>
                <c:pt idx="268">
                  <c:v>-1.6703420083878484E-2</c:v>
                </c:pt>
                <c:pt idx="269">
                  <c:v>-1.2395164529658498E-2</c:v>
                </c:pt>
                <c:pt idx="270">
                  <c:v>-8.0869089754385115E-3</c:v>
                </c:pt>
                <c:pt idx="271">
                  <c:v>-3.7786534212187473E-3</c:v>
                </c:pt>
                <c:pt idx="272">
                  <c:v>5.2960213300123904E-4</c:v>
                </c:pt>
                <c:pt idx="273">
                  <c:v>4.8378576872212253E-3</c:v>
                </c:pt>
                <c:pt idx="274">
                  <c:v>9.1461132414409896E-3</c:v>
                </c:pt>
                <c:pt idx="275">
                  <c:v>1.3454368795660976E-2</c:v>
                </c:pt>
                <c:pt idx="276">
                  <c:v>1.776262434988074E-2</c:v>
                </c:pt>
                <c:pt idx="277">
                  <c:v>2.2070879904100726E-2</c:v>
                </c:pt>
                <c:pt idx="278">
                  <c:v>2.6379135458320713E-2</c:v>
                </c:pt>
                <c:pt idx="279">
                  <c:v>3.0687391012540477E-2</c:v>
                </c:pt>
                <c:pt idx="280">
                  <c:v>3.4995646566760463E-2</c:v>
                </c:pt>
                <c:pt idx="281">
                  <c:v>3.930390212098045E-2</c:v>
                </c:pt>
                <c:pt idx="282">
                  <c:v>4.3612157675200214E-2</c:v>
                </c:pt>
                <c:pt idx="283">
                  <c:v>4.79204132294202E-2</c:v>
                </c:pt>
                <c:pt idx="284">
                  <c:v>5.2228668783640186E-2</c:v>
                </c:pt>
                <c:pt idx="285">
                  <c:v>5.6536924337859951E-2</c:v>
                </c:pt>
                <c:pt idx="286">
                  <c:v>6.0845179892079937E-2</c:v>
                </c:pt>
                <c:pt idx="287">
                  <c:v>6.5153435446299701E-2</c:v>
                </c:pt>
                <c:pt idx="288">
                  <c:v>6.9461691000519687E-2</c:v>
                </c:pt>
                <c:pt idx="289">
                  <c:v>7.3769946554739674E-2</c:v>
                </c:pt>
                <c:pt idx="290">
                  <c:v>7.8078202108959438E-2</c:v>
                </c:pt>
                <c:pt idx="291">
                  <c:v>8.2386457663179424E-2</c:v>
                </c:pt>
                <c:pt idx="292">
                  <c:v>8.6694713217399411E-2</c:v>
                </c:pt>
                <c:pt idx="293">
                  <c:v>9.1002968771619175E-2</c:v>
                </c:pt>
                <c:pt idx="294">
                  <c:v>9.5311224325839161E-2</c:v>
                </c:pt>
                <c:pt idx="295">
                  <c:v>9.9619479880059147E-2</c:v>
                </c:pt>
                <c:pt idx="296">
                  <c:v>0.10392773543427891</c:v>
                </c:pt>
                <c:pt idx="297">
                  <c:v>0.1082359909884989</c:v>
                </c:pt>
                <c:pt idx="298">
                  <c:v>0.11254424654271888</c:v>
                </c:pt>
                <c:pt idx="299">
                  <c:v>0.11685250209693865</c:v>
                </c:pt>
                <c:pt idx="300">
                  <c:v>0.12116075765115863</c:v>
                </c:pt>
                <c:pt idx="301">
                  <c:v>0.1254690132053784</c:v>
                </c:pt>
                <c:pt idx="302">
                  <c:v>0.12977726875959839</c:v>
                </c:pt>
                <c:pt idx="303">
                  <c:v>0.13408552431381837</c:v>
                </c:pt>
                <c:pt idx="304">
                  <c:v>0.13839377986803814</c:v>
                </c:pt>
                <c:pt idx="305">
                  <c:v>0.14270203542225812</c:v>
                </c:pt>
                <c:pt idx="306">
                  <c:v>0.14701029097647811</c:v>
                </c:pt>
                <c:pt idx="307">
                  <c:v>0.15131854653069787</c:v>
                </c:pt>
                <c:pt idx="308">
                  <c:v>0.15562680208491786</c:v>
                </c:pt>
                <c:pt idx="309">
                  <c:v>0.15993505763913785</c:v>
                </c:pt>
                <c:pt idx="310">
                  <c:v>0.16424331319335761</c:v>
                </c:pt>
                <c:pt idx="311">
                  <c:v>0.1685515687475776</c:v>
                </c:pt>
                <c:pt idx="312">
                  <c:v>0.17285982430179758</c:v>
                </c:pt>
                <c:pt idx="313">
                  <c:v>0.17716807985601735</c:v>
                </c:pt>
                <c:pt idx="314">
                  <c:v>0.18147633541023733</c:v>
                </c:pt>
                <c:pt idx="315">
                  <c:v>0.1857845909644571</c:v>
                </c:pt>
                <c:pt idx="316">
                  <c:v>0.19009284651867708</c:v>
                </c:pt>
                <c:pt idx="317">
                  <c:v>0.19440110207289707</c:v>
                </c:pt>
                <c:pt idx="318">
                  <c:v>0.19870935762711683</c:v>
                </c:pt>
                <c:pt idx="319">
                  <c:v>0.20301761318133682</c:v>
                </c:pt>
                <c:pt idx="320">
                  <c:v>0.20732586873555681</c:v>
                </c:pt>
                <c:pt idx="321">
                  <c:v>0.21163412428977657</c:v>
                </c:pt>
                <c:pt idx="322">
                  <c:v>0.21594237984399656</c:v>
                </c:pt>
                <c:pt idx="323">
                  <c:v>0.22025063539821654</c:v>
                </c:pt>
                <c:pt idx="324">
                  <c:v>0.22455889095243631</c:v>
                </c:pt>
                <c:pt idx="325">
                  <c:v>0.22886714650665629</c:v>
                </c:pt>
                <c:pt idx="326">
                  <c:v>0.23317540206087606</c:v>
                </c:pt>
                <c:pt idx="327">
                  <c:v>0.23748365761509604</c:v>
                </c:pt>
                <c:pt idx="328">
                  <c:v>0.24179191316931603</c:v>
                </c:pt>
                <c:pt idx="329">
                  <c:v>0.24610016872353579</c:v>
                </c:pt>
                <c:pt idx="330">
                  <c:v>0.25040842427775578</c:v>
                </c:pt>
                <c:pt idx="331">
                  <c:v>0.25471667983197577</c:v>
                </c:pt>
                <c:pt idx="332">
                  <c:v>0.25902493538619553</c:v>
                </c:pt>
                <c:pt idx="333">
                  <c:v>0.26333319094041552</c:v>
                </c:pt>
                <c:pt idx="334">
                  <c:v>0.2676414464946355</c:v>
                </c:pt>
                <c:pt idx="335">
                  <c:v>0.27194970204885527</c:v>
                </c:pt>
                <c:pt idx="336">
                  <c:v>0.27625795760307525</c:v>
                </c:pt>
                <c:pt idx="337">
                  <c:v>0.28056621315729524</c:v>
                </c:pt>
                <c:pt idx="338">
                  <c:v>0.28487446871151501</c:v>
                </c:pt>
                <c:pt idx="339">
                  <c:v>0.28918272426573499</c:v>
                </c:pt>
                <c:pt idx="340">
                  <c:v>0.29349097981995476</c:v>
                </c:pt>
                <c:pt idx="341">
                  <c:v>0.29779923537417474</c:v>
                </c:pt>
                <c:pt idx="342">
                  <c:v>0.30210749092839473</c:v>
                </c:pt>
                <c:pt idx="343">
                  <c:v>0.30641574648261449</c:v>
                </c:pt>
                <c:pt idx="344">
                  <c:v>0.31072400203683448</c:v>
                </c:pt>
                <c:pt idx="345">
                  <c:v>0.31503225759105447</c:v>
                </c:pt>
                <c:pt idx="346">
                  <c:v>0.31934051314527423</c:v>
                </c:pt>
                <c:pt idx="347">
                  <c:v>0.32364876869949422</c:v>
                </c:pt>
                <c:pt idx="348">
                  <c:v>0.3279570242537142</c:v>
                </c:pt>
                <c:pt idx="349">
                  <c:v>0.33226527980793397</c:v>
                </c:pt>
                <c:pt idx="350">
                  <c:v>0.33657353536215395</c:v>
                </c:pt>
                <c:pt idx="351">
                  <c:v>0.34088179091637394</c:v>
                </c:pt>
                <c:pt idx="352">
                  <c:v>0.3451900464705937</c:v>
                </c:pt>
                <c:pt idx="353">
                  <c:v>0.34949830202481369</c:v>
                </c:pt>
                <c:pt idx="354">
                  <c:v>0.35380655757903345</c:v>
                </c:pt>
                <c:pt idx="355">
                  <c:v>0.35811481313325344</c:v>
                </c:pt>
                <c:pt idx="356">
                  <c:v>0.36242306868747343</c:v>
                </c:pt>
                <c:pt idx="357">
                  <c:v>0.36673132424169319</c:v>
                </c:pt>
                <c:pt idx="358">
                  <c:v>0.37103957979591318</c:v>
                </c:pt>
                <c:pt idx="359">
                  <c:v>0.37534783535013316</c:v>
                </c:pt>
                <c:pt idx="360">
                  <c:v>0.37965609090435293</c:v>
                </c:pt>
                <c:pt idx="361">
                  <c:v>0.38396434645857291</c:v>
                </c:pt>
                <c:pt idx="362">
                  <c:v>0.3882726020127929</c:v>
                </c:pt>
                <c:pt idx="363">
                  <c:v>0.39258085756701266</c:v>
                </c:pt>
                <c:pt idx="364">
                  <c:v>0.39688911312123265</c:v>
                </c:pt>
                <c:pt idx="365">
                  <c:v>0.40119736867545241</c:v>
                </c:pt>
                <c:pt idx="366">
                  <c:v>0.4055056242296724</c:v>
                </c:pt>
                <c:pt idx="367">
                  <c:v>0.40981387978389239</c:v>
                </c:pt>
                <c:pt idx="368">
                  <c:v>0.41412213533811215</c:v>
                </c:pt>
                <c:pt idx="369">
                  <c:v>0.41843039089233214</c:v>
                </c:pt>
                <c:pt idx="370">
                  <c:v>0.42273864644655212</c:v>
                </c:pt>
                <c:pt idx="371">
                  <c:v>0.42704690200077189</c:v>
                </c:pt>
                <c:pt idx="372">
                  <c:v>0.43135515755499187</c:v>
                </c:pt>
                <c:pt idx="373">
                  <c:v>0.43566341310921186</c:v>
                </c:pt>
                <c:pt idx="374">
                  <c:v>0.43997166866343163</c:v>
                </c:pt>
                <c:pt idx="375">
                  <c:v>0.44427992421765161</c:v>
                </c:pt>
                <c:pt idx="376">
                  <c:v>0.4485881797718716</c:v>
                </c:pt>
                <c:pt idx="377">
                  <c:v>0.45289643532609136</c:v>
                </c:pt>
                <c:pt idx="378">
                  <c:v>0.45720469088031135</c:v>
                </c:pt>
                <c:pt idx="379">
                  <c:v>0.46151294643453111</c:v>
                </c:pt>
                <c:pt idx="380">
                  <c:v>0.4658212019887511</c:v>
                </c:pt>
                <c:pt idx="381">
                  <c:v>0.47012945754297109</c:v>
                </c:pt>
                <c:pt idx="382">
                  <c:v>0.47443771309719085</c:v>
                </c:pt>
                <c:pt idx="383">
                  <c:v>0.47874596865141084</c:v>
                </c:pt>
                <c:pt idx="384">
                  <c:v>0.48305422420563082</c:v>
                </c:pt>
                <c:pt idx="385">
                  <c:v>0.48736247975985059</c:v>
                </c:pt>
                <c:pt idx="386">
                  <c:v>0.49167073531407057</c:v>
                </c:pt>
                <c:pt idx="387">
                  <c:v>0.49597899086829056</c:v>
                </c:pt>
                <c:pt idx="388">
                  <c:v>0.50028724642251032</c:v>
                </c:pt>
                <c:pt idx="389">
                  <c:v>0.50459550197673031</c:v>
                </c:pt>
                <c:pt idx="390">
                  <c:v>0.50890375753095007</c:v>
                </c:pt>
                <c:pt idx="391">
                  <c:v>0.51321201308517006</c:v>
                </c:pt>
                <c:pt idx="392">
                  <c:v>0.51752026863939005</c:v>
                </c:pt>
                <c:pt idx="393">
                  <c:v>0.52182852419360981</c:v>
                </c:pt>
                <c:pt idx="394">
                  <c:v>0.5261367797478298</c:v>
                </c:pt>
                <c:pt idx="395">
                  <c:v>0.53044503530204978</c:v>
                </c:pt>
                <c:pt idx="396">
                  <c:v>0.53475329085626955</c:v>
                </c:pt>
                <c:pt idx="397">
                  <c:v>0.53906154641048953</c:v>
                </c:pt>
                <c:pt idx="398">
                  <c:v>0.54336980196470952</c:v>
                </c:pt>
                <c:pt idx="399">
                  <c:v>0.54767805751892928</c:v>
                </c:pt>
                <c:pt idx="400">
                  <c:v>0.55198631307314927</c:v>
                </c:pt>
                <c:pt idx="401">
                  <c:v>0.55629456862736926</c:v>
                </c:pt>
                <c:pt idx="402">
                  <c:v>0.56060282418158902</c:v>
                </c:pt>
                <c:pt idx="403">
                  <c:v>0.56491107973580901</c:v>
                </c:pt>
                <c:pt idx="404">
                  <c:v>0.56921933529002877</c:v>
                </c:pt>
                <c:pt idx="405">
                  <c:v>0.57352759084424876</c:v>
                </c:pt>
                <c:pt idx="406">
                  <c:v>0.57783584639846874</c:v>
                </c:pt>
                <c:pt idx="407">
                  <c:v>0.58214410195268851</c:v>
                </c:pt>
                <c:pt idx="408">
                  <c:v>0.58645235750690849</c:v>
                </c:pt>
                <c:pt idx="409">
                  <c:v>0.59076061306112848</c:v>
                </c:pt>
                <c:pt idx="410">
                  <c:v>0.59506886861534825</c:v>
                </c:pt>
                <c:pt idx="411">
                  <c:v>0.59937712416956823</c:v>
                </c:pt>
                <c:pt idx="412">
                  <c:v>0.60368537972378822</c:v>
                </c:pt>
                <c:pt idx="413">
                  <c:v>0.60799363527800798</c:v>
                </c:pt>
                <c:pt idx="414">
                  <c:v>0.61230189083222797</c:v>
                </c:pt>
                <c:pt idx="415">
                  <c:v>0.61661014638644773</c:v>
                </c:pt>
                <c:pt idx="416">
                  <c:v>0.62091840194066772</c:v>
                </c:pt>
                <c:pt idx="417">
                  <c:v>0.62522665749488771</c:v>
                </c:pt>
                <c:pt idx="418">
                  <c:v>0.62953491304910747</c:v>
                </c:pt>
                <c:pt idx="419">
                  <c:v>0.63384316860332746</c:v>
                </c:pt>
                <c:pt idx="420">
                  <c:v>0.63815142415754744</c:v>
                </c:pt>
                <c:pt idx="421">
                  <c:v>0.64245967971176721</c:v>
                </c:pt>
                <c:pt idx="422">
                  <c:v>0.64676793526598719</c:v>
                </c:pt>
                <c:pt idx="423">
                  <c:v>0.65107619082020718</c:v>
                </c:pt>
                <c:pt idx="424">
                  <c:v>0.65538444637442694</c:v>
                </c:pt>
                <c:pt idx="425">
                  <c:v>0.65969270192864693</c:v>
                </c:pt>
                <c:pt idx="426">
                  <c:v>0.66400095748286692</c:v>
                </c:pt>
                <c:pt idx="427">
                  <c:v>0.66830921303708668</c:v>
                </c:pt>
                <c:pt idx="428">
                  <c:v>0.67261746859130667</c:v>
                </c:pt>
                <c:pt idx="429">
                  <c:v>0.67692572414552643</c:v>
                </c:pt>
                <c:pt idx="430">
                  <c:v>0.68123397969974642</c:v>
                </c:pt>
                <c:pt idx="431">
                  <c:v>0.6855422352539664</c:v>
                </c:pt>
                <c:pt idx="432">
                  <c:v>0.68985049080818617</c:v>
                </c:pt>
                <c:pt idx="433">
                  <c:v>0.69415874636240615</c:v>
                </c:pt>
                <c:pt idx="434">
                  <c:v>0.69846700191662614</c:v>
                </c:pt>
                <c:pt idx="435">
                  <c:v>0.7027752574708459</c:v>
                </c:pt>
                <c:pt idx="436">
                  <c:v>0.70708351302506589</c:v>
                </c:pt>
                <c:pt idx="437">
                  <c:v>0.71139176857928588</c:v>
                </c:pt>
                <c:pt idx="438">
                  <c:v>0.71570002413350564</c:v>
                </c:pt>
                <c:pt idx="439">
                  <c:v>0.72000827968772563</c:v>
                </c:pt>
                <c:pt idx="440">
                  <c:v>0.72431653524194561</c:v>
                </c:pt>
                <c:pt idx="441">
                  <c:v>0.72862479079616538</c:v>
                </c:pt>
                <c:pt idx="442">
                  <c:v>0.73293304635038536</c:v>
                </c:pt>
                <c:pt idx="443">
                  <c:v>0.73724130190460513</c:v>
                </c:pt>
                <c:pt idx="444">
                  <c:v>0.74154955745882511</c:v>
                </c:pt>
                <c:pt idx="445">
                  <c:v>0.7458578130130451</c:v>
                </c:pt>
                <c:pt idx="446">
                  <c:v>0.75016606856726487</c:v>
                </c:pt>
                <c:pt idx="447">
                  <c:v>0.75447432412148485</c:v>
                </c:pt>
                <c:pt idx="448">
                  <c:v>0.75878257967570484</c:v>
                </c:pt>
                <c:pt idx="449">
                  <c:v>0.7630908352299246</c:v>
                </c:pt>
                <c:pt idx="450">
                  <c:v>0.76739909078414459</c:v>
                </c:pt>
                <c:pt idx="451">
                  <c:v>0.77170734633836457</c:v>
                </c:pt>
                <c:pt idx="452">
                  <c:v>0.77601560189258434</c:v>
                </c:pt>
                <c:pt idx="453">
                  <c:v>0.78032385744680433</c:v>
                </c:pt>
                <c:pt idx="454">
                  <c:v>0.78463211300102409</c:v>
                </c:pt>
                <c:pt idx="455">
                  <c:v>0.78894036855524408</c:v>
                </c:pt>
                <c:pt idx="456">
                  <c:v>0.79324862410946406</c:v>
                </c:pt>
                <c:pt idx="457">
                  <c:v>0.79755687966368383</c:v>
                </c:pt>
                <c:pt idx="458">
                  <c:v>0.80186513521790381</c:v>
                </c:pt>
                <c:pt idx="459">
                  <c:v>0.8061733907721238</c:v>
                </c:pt>
                <c:pt idx="460">
                  <c:v>0.81048164632634356</c:v>
                </c:pt>
                <c:pt idx="461">
                  <c:v>0.81478990188056355</c:v>
                </c:pt>
                <c:pt idx="462">
                  <c:v>0.81909815743478354</c:v>
                </c:pt>
                <c:pt idx="463">
                  <c:v>0.8234064129890033</c:v>
                </c:pt>
                <c:pt idx="464">
                  <c:v>0.82771466854322306</c:v>
                </c:pt>
                <c:pt idx="465">
                  <c:v>0.83202292409744305</c:v>
                </c:pt>
                <c:pt idx="466">
                  <c:v>0.83633117965166304</c:v>
                </c:pt>
                <c:pt idx="467">
                  <c:v>0.84063943520588302</c:v>
                </c:pt>
                <c:pt idx="468">
                  <c:v>0.84494769076010301</c:v>
                </c:pt>
                <c:pt idx="469">
                  <c:v>0.849255946314323</c:v>
                </c:pt>
                <c:pt idx="470">
                  <c:v>0.85356420186854254</c:v>
                </c:pt>
                <c:pt idx="471">
                  <c:v>0.85787245742276252</c:v>
                </c:pt>
                <c:pt idx="472">
                  <c:v>0.86218071297698251</c:v>
                </c:pt>
                <c:pt idx="473">
                  <c:v>0.8664889685312025</c:v>
                </c:pt>
                <c:pt idx="474">
                  <c:v>0.87079722408542248</c:v>
                </c:pt>
                <c:pt idx="475">
                  <c:v>0.87510547963964203</c:v>
                </c:pt>
                <c:pt idx="476">
                  <c:v>0.87941373519386201</c:v>
                </c:pt>
                <c:pt idx="477">
                  <c:v>0.883721990748082</c:v>
                </c:pt>
                <c:pt idx="478">
                  <c:v>0.88803024630230198</c:v>
                </c:pt>
                <c:pt idx="479">
                  <c:v>0.89233850185652197</c:v>
                </c:pt>
                <c:pt idx="480">
                  <c:v>0.89664675741074196</c:v>
                </c:pt>
                <c:pt idx="481">
                  <c:v>0.9009550129649615</c:v>
                </c:pt>
                <c:pt idx="482">
                  <c:v>0.90526326851918149</c:v>
                </c:pt>
                <c:pt idx="483">
                  <c:v>0.90957152407340147</c:v>
                </c:pt>
                <c:pt idx="484">
                  <c:v>0.91387977962762146</c:v>
                </c:pt>
                <c:pt idx="485">
                  <c:v>0.91818803518184144</c:v>
                </c:pt>
                <c:pt idx="486">
                  <c:v>0.92249629073606099</c:v>
                </c:pt>
                <c:pt idx="487">
                  <c:v>0.92680454629028097</c:v>
                </c:pt>
                <c:pt idx="488">
                  <c:v>0.93111280184450096</c:v>
                </c:pt>
                <c:pt idx="489">
                  <c:v>0.93542105739872095</c:v>
                </c:pt>
                <c:pt idx="490">
                  <c:v>0.93972931295294093</c:v>
                </c:pt>
                <c:pt idx="491">
                  <c:v>0.94403756850716092</c:v>
                </c:pt>
                <c:pt idx="492">
                  <c:v>0.94834582406138046</c:v>
                </c:pt>
                <c:pt idx="493">
                  <c:v>0.95265407961560045</c:v>
                </c:pt>
                <c:pt idx="494">
                  <c:v>0.95696233516982043</c:v>
                </c:pt>
                <c:pt idx="495">
                  <c:v>0.96127059072404042</c:v>
                </c:pt>
                <c:pt idx="496">
                  <c:v>0.96557884627826041</c:v>
                </c:pt>
                <c:pt idx="497">
                  <c:v>0.96988710183248039</c:v>
                </c:pt>
                <c:pt idx="498">
                  <c:v>0.97419535738669993</c:v>
                </c:pt>
                <c:pt idx="499">
                  <c:v>0.97850361294091992</c:v>
                </c:pt>
                <c:pt idx="500">
                  <c:v>0.98281186849513991</c:v>
                </c:pt>
                <c:pt idx="501">
                  <c:v>0.98712012404935989</c:v>
                </c:pt>
                <c:pt idx="502">
                  <c:v>0.99142837960357988</c:v>
                </c:pt>
                <c:pt idx="503">
                  <c:v>0.99573663515779942</c:v>
                </c:pt>
                <c:pt idx="504">
                  <c:v>1.0000448907120194</c:v>
                </c:pt>
                <c:pt idx="505">
                  <c:v>1.0043531462662394</c:v>
                </c:pt>
                <c:pt idx="506">
                  <c:v>1.0086614018204594</c:v>
                </c:pt>
                <c:pt idx="507">
                  <c:v>1.0129696573746794</c:v>
                </c:pt>
                <c:pt idx="508">
                  <c:v>1.0172779129288994</c:v>
                </c:pt>
                <c:pt idx="509">
                  <c:v>1.0215861684831189</c:v>
                </c:pt>
                <c:pt idx="510">
                  <c:v>1.0258944240373389</c:v>
                </c:pt>
                <c:pt idx="511">
                  <c:v>1.0302026795915589</c:v>
                </c:pt>
                <c:pt idx="512">
                  <c:v>1.0345109351457789</c:v>
                </c:pt>
                <c:pt idx="513">
                  <c:v>1.0388191906999988</c:v>
                </c:pt>
                <c:pt idx="514">
                  <c:v>1.0431274462542184</c:v>
                </c:pt>
                <c:pt idx="515">
                  <c:v>1.0474357018084384</c:v>
                </c:pt>
                <c:pt idx="516">
                  <c:v>1.0517439573626584</c:v>
                </c:pt>
                <c:pt idx="517">
                  <c:v>1.0560522129168783</c:v>
                </c:pt>
                <c:pt idx="518">
                  <c:v>1.0603604684710983</c:v>
                </c:pt>
                <c:pt idx="519">
                  <c:v>1.0646687240253183</c:v>
                </c:pt>
                <c:pt idx="520">
                  <c:v>1.0689769795795379</c:v>
                </c:pt>
                <c:pt idx="521">
                  <c:v>1.0732852351337578</c:v>
                </c:pt>
                <c:pt idx="522">
                  <c:v>1.0775934906879778</c:v>
                </c:pt>
                <c:pt idx="523">
                  <c:v>1.0819017462421978</c:v>
                </c:pt>
                <c:pt idx="524">
                  <c:v>1.0862100017964178</c:v>
                </c:pt>
                <c:pt idx="525">
                  <c:v>1.0905182573506373</c:v>
                </c:pt>
                <c:pt idx="526">
                  <c:v>1.0948265129048573</c:v>
                </c:pt>
                <c:pt idx="527">
                  <c:v>1.0991347684590773</c:v>
                </c:pt>
                <c:pt idx="528">
                  <c:v>1.1034430240132973</c:v>
                </c:pt>
                <c:pt idx="529">
                  <c:v>1.1077512795675173</c:v>
                </c:pt>
                <c:pt idx="530">
                  <c:v>1.1120595351217373</c:v>
                </c:pt>
                <c:pt idx="531">
                  <c:v>1.1163677906759568</c:v>
                </c:pt>
                <c:pt idx="532">
                  <c:v>1.1206760462301768</c:v>
                </c:pt>
                <c:pt idx="533">
                  <c:v>1.1249843017843968</c:v>
                </c:pt>
                <c:pt idx="534">
                  <c:v>1.1292925573386168</c:v>
                </c:pt>
                <c:pt idx="535">
                  <c:v>1.1336008128928368</c:v>
                </c:pt>
                <c:pt idx="536">
                  <c:v>1.1379090684470567</c:v>
                </c:pt>
                <c:pt idx="537">
                  <c:v>1.1422173240012763</c:v>
                </c:pt>
                <c:pt idx="538">
                  <c:v>1.1465255795554963</c:v>
                </c:pt>
                <c:pt idx="539">
                  <c:v>1.1508338351097163</c:v>
                </c:pt>
                <c:pt idx="540">
                  <c:v>1.1551420906639362</c:v>
                </c:pt>
                <c:pt idx="541">
                  <c:v>1.1594503462181562</c:v>
                </c:pt>
                <c:pt idx="542">
                  <c:v>1.1637586017723758</c:v>
                </c:pt>
                <c:pt idx="543">
                  <c:v>1.1680668573265958</c:v>
                </c:pt>
                <c:pt idx="544">
                  <c:v>1.1723751128808158</c:v>
                </c:pt>
                <c:pt idx="545">
                  <c:v>1.1766833684350357</c:v>
                </c:pt>
                <c:pt idx="546">
                  <c:v>1.1809916239892557</c:v>
                </c:pt>
                <c:pt idx="547">
                  <c:v>1.1852998795434757</c:v>
                </c:pt>
                <c:pt idx="548">
                  <c:v>1.1896081350976953</c:v>
                </c:pt>
                <c:pt idx="549">
                  <c:v>1.1939163906519152</c:v>
                </c:pt>
                <c:pt idx="550">
                  <c:v>1.1982246462061352</c:v>
                </c:pt>
                <c:pt idx="551">
                  <c:v>1.2025329017603552</c:v>
                </c:pt>
                <c:pt idx="552">
                  <c:v>1.2068411573145752</c:v>
                </c:pt>
                <c:pt idx="553">
                  <c:v>1.2111494128687947</c:v>
                </c:pt>
                <c:pt idx="554">
                  <c:v>1.2154576684230147</c:v>
                </c:pt>
                <c:pt idx="555">
                  <c:v>1.2197659239772347</c:v>
                </c:pt>
                <c:pt idx="556">
                  <c:v>1.2240741795314547</c:v>
                </c:pt>
                <c:pt idx="557">
                  <c:v>1.2283824350856747</c:v>
                </c:pt>
                <c:pt idx="558">
                  <c:v>1.2326906906398947</c:v>
                </c:pt>
                <c:pt idx="559">
                  <c:v>1.2369989461941142</c:v>
                </c:pt>
                <c:pt idx="560">
                  <c:v>1.2413072017483342</c:v>
                </c:pt>
                <c:pt idx="561">
                  <c:v>1.2456154573025542</c:v>
                </c:pt>
                <c:pt idx="562">
                  <c:v>1.2499237128567742</c:v>
                </c:pt>
                <c:pt idx="563">
                  <c:v>1.2542319684109942</c:v>
                </c:pt>
                <c:pt idx="564">
                  <c:v>1.2585402239652137</c:v>
                </c:pt>
                <c:pt idx="565">
                  <c:v>1.2628484795194337</c:v>
                </c:pt>
                <c:pt idx="566">
                  <c:v>1.2671567350736537</c:v>
                </c:pt>
                <c:pt idx="567">
                  <c:v>1.2714649906278737</c:v>
                </c:pt>
                <c:pt idx="568">
                  <c:v>1.2757732461820936</c:v>
                </c:pt>
                <c:pt idx="569">
                  <c:v>1.2800815017363136</c:v>
                </c:pt>
                <c:pt idx="570">
                  <c:v>1.2843897572905332</c:v>
                </c:pt>
                <c:pt idx="571">
                  <c:v>1.2886980128447532</c:v>
                </c:pt>
                <c:pt idx="572">
                  <c:v>1.2930062683989731</c:v>
                </c:pt>
                <c:pt idx="573">
                  <c:v>1.2973145239531931</c:v>
                </c:pt>
                <c:pt idx="574">
                  <c:v>1.3016227795074131</c:v>
                </c:pt>
                <c:pt idx="575">
                  <c:v>1.3059310350616327</c:v>
                </c:pt>
                <c:pt idx="576">
                  <c:v>1.3102392906158526</c:v>
                </c:pt>
                <c:pt idx="577">
                  <c:v>1.3145475461700726</c:v>
                </c:pt>
                <c:pt idx="578">
                  <c:v>1.3188558017242926</c:v>
                </c:pt>
                <c:pt idx="579">
                  <c:v>1.3231640572785126</c:v>
                </c:pt>
                <c:pt idx="580">
                  <c:v>1.3274723128327326</c:v>
                </c:pt>
                <c:pt idx="581">
                  <c:v>1.3317805683869521</c:v>
                </c:pt>
                <c:pt idx="582">
                  <c:v>1.3360888239411721</c:v>
                </c:pt>
                <c:pt idx="583">
                  <c:v>1.3403970794953921</c:v>
                </c:pt>
                <c:pt idx="584">
                  <c:v>1.3447053350496121</c:v>
                </c:pt>
                <c:pt idx="585">
                  <c:v>1.3490135906038321</c:v>
                </c:pt>
                <c:pt idx="586">
                  <c:v>1.3533218461580521</c:v>
                </c:pt>
                <c:pt idx="587">
                  <c:v>1.3576301017122716</c:v>
                </c:pt>
                <c:pt idx="588">
                  <c:v>1.3619383572664916</c:v>
                </c:pt>
                <c:pt idx="589">
                  <c:v>1.3662466128207116</c:v>
                </c:pt>
                <c:pt idx="590">
                  <c:v>1.3705548683749316</c:v>
                </c:pt>
                <c:pt idx="591">
                  <c:v>1.3748631239291516</c:v>
                </c:pt>
                <c:pt idx="592">
                  <c:v>1.3791713794833711</c:v>
                </c:pt>
                <c:pt idx="593">
                  <c:v>1.3834796350375911</c:v>
                </c:pt>
                <c:pt idx="594">
                  <c:v>1.3877878905918111</c:v>
                </c:pt>
                <c:pt idx="595">
                  <c:v>1.3920961461460311</c:v>
                </c:pt>
                <c:pt idx="596">
                  <c:v>1.396404401700251</c:v>
                </c:pt>
                <c:pt idx="597">
                  <c:v>1.400712657254471</c:v>
                </c:pt>
                <c:pt idx="598">
                  <c:v>1.4050209128086906</c:v>
                </c:pt>
                <c:pt idx="599">
                  <c:v>1.4093291683629106</c:v>
                </c:pt>
                <c:pt idx="600">
                  <c:v>1.4136374239171305</c:v>
                </c:pt>
                <c:pt idx="601">
                  <c:v>1.4179456794713505</c:v>
                </c:pt>
                <c:pt idx="602">
                  <c:v>1.4222539350255705</c:v>
                </c:pt>
                <c:pt idx="603">
                  <c:v>1.4265621905797901</c:v>
                </c:pt>
                <c:pt idx="604">
                  <c:v>1.43087044613401</c:v>
                </c:pt>
                <c:pt idx="605">
                  <c:v>1.43517870168823</c:v>
                </c:pt>
                <c:pt idx="606">
                  <c:v>1.43948695724245</c:v>
                </c:pt>
                <c:pt idx="607">
                  <c:v>1.44379521279667</c:v>
                </c:pt>
                <c:pt idx="608">
                  <c:v>1.44810346835089</c:v>
                </c:pt>
                <c:pt idx="609">
                  <c:v>1.4524117239051095</c:v>
                </c:pt>
                <c:pt idx="610">
                  <c:v>1.4567199794593295</c:v>
                </c:pt>
                <c:pt idx="611">
                  <c:v>1.4610282350135495</c:v>
                </c:pt>
                <c:pt idx="612">
                  <c:v>1.4653364905677695</c:v>
                </c:pt>
                <c:pt idx="613">
                  <c:v>1.4696447461219895</c:v>
                </c:pt>
                <c:pt idx="614">
                  <c:v>1.473953001676209</c:v>
                </c:pt>
                <c:pt idx="615">
                  <c:v>1.478261257230429</c:v>
                </c:pt>
                <c:pt idx="616">
                  <c:v>1.482569512784649</c:v>
                </c:pt>
                <c:pt idx="617">
                  <c:v>1.486877768338869</c:v>
                </c:pt>
                <c:pt idx="618">
                  <c:v>1.491186023893089</c:v>
                </c:pt>
                <c:pt idx="619">
                  <c:v>1.4954942794473089</c:v>
                </c:pt>
                <c:pt idx="620">
                  <c:v>1.4998025350015285</c:v>
                </c:pt>
                <c:pt idx="621">
                  <c:v>1.5041107905557485</c:v>
                </c:pt>
                <c:pt idx="622">
                  <c:v>1.5084190461099685</c:v>
                </c:pt>
                <c:pt idx="623">
                  <c:v>1.5127273016641885</c:v>
                </c:pt>
                <c:pt idx="624">
                  <c:v>1.5170355572184084</c:v>
                </c:pt>
                <c:pt idx="625">
                  <c:v>1.5213438127726284</c:v>
                </c:pt>
                <c:pt idx="626">
                  <c:v>1.525652068326848</c:v>
                </c:pt>
                <c:pt idx="627">
                  <c:v>1.529960323881068</c:v>
                </c:pt>
                <c:pt idx="628">
                  <c:v>1.5342685794352879</c:v>
                </c:pt>
                <c:pt idx="629">
                  <c:v>1.5385768349895079</c:v>
                </c:pt>
                <c:pt idx="630">
                  <c:v>1.5428850905437279</c:v>
                </c:pt>
                <c:pt idx="631">
                  <c:v>1.5471933460979475</c:v>
                </c:pt>
                <c:pt idx="632">
                  <c:v>1.5515016016521674</c:v>
                </c:pt>
                <c:pt idx="633">
                  <c:v>1.5558098572063874</c:v>
                </c:pt>
                <c:pt idx="634">
                  <c:v>1.5601181127606074</c:v>
                </c:pt>
                <c:pt idx="635">
                  <c:v>1.5644263683148274</c:v>
                </c:pt>
                <c:pt idx="636">
                  <c:v>1.5687346238690474</c:v>
                </c:pt>
                <c:pt idx="637">
                  <c:v>1.5730428794232669</c:v>
                </c:pt>
                <c:pt idx="638">
                  <c:v>1.5773511349774869</c:v>
                </c:pt>
                <c:pt idx="639">
                  <c:v>1.5816593905317069</c:v>
                </c:pt>
                <c:pt idx="640">
                  <c:v>1.5859676460859269</c:v>
                </c:pt>
                <c:pt idx="641">
                  <c:v>1.5902759016401469</c:v>
                </c:pt>
                <c:pt idx="642">
                  <c:v>1.5945841571943664</c:v>
                </c:pt>
                <c:pt idx="643">
                  <c:v>1.5988924127485864</c:v>
                </c:pt>
                <c:pt idx="644">
                  <c:v>1.6032006683028064</c:v>
                </c:pt>
                <c:pt idx="645">
                  <c:v>1.6075089238570264</c:v>
                </c:pt>
                <c:pt idx="646">
                  <c:v>1.6118171794112464</c:v>
                </c:pt>
                <c:pt idx="647">
                  <c:v>1.6161254349654663</c:v>
                </c:pt>
                <c:pt idx="648">
                  <c:v>1.6204336905196859</c:v>
                </c:pt>
                <c:pt idx="649">
                  <c:v>1.6247419460739059</c:v>
                </c:pt>
                <c:pt idx="650">
                  <c:v>1.6290502016281259</c:v>
                </c:pt>
                <c:pt idx="651">
                  <c:v>1.6333584571823458</c:v>
                </c:pt>
                <c:pt idx="652">
                  <c:v>1.6376667127365658</c:v>
                </c:pt>
                <c:pt idx="653">
                  <c:v>1.6419749682907854</c:v>
                </c:pt>
                <c:pt idx="654">
                  <c:v>1.6462832238450054</c:v>
                </c:pt>
                <c:pt idx="655">
                  <c:v>1.6505914793992253</c:v>
                </c:pt>
                <c:pt idx="656">
                  <c:v>1.6548997349534453</c:v>
                </c:pt>
                <c:pt idx="657">
                  <c:v>1.6592079905076653</c:v>
                </c:pt>
                <c:pt idx="658">
                  <c:v>1.6635162460618853</c:v>
                </c:pt>
                <c:pt idx="659">
                  <c:v>1.6678245016161048</c:v>
                </c:pt>
                <c:pt idx="660">
                  <c:v>1.6721327571703248</c:v>
                </c:pt>
                <c:pt idx="661">
                  <c:v>1.6764410127245448</c:v>
                </c:pt>
                <c:pt idx="662">
                  <c:v>1.6807492682787648</c:v>
                </c:pt>
                <c:pt idx="663">
                  <c:v>1.6850575238329848</c:v>
                </c:pt>
                <c:pt idx="664">
                  <c:v>1.6893657793872048</c:v>
                </c:pt>
                <c:pt idx="665">
                  <c:v>1.6936740349414243</c:v>
                </c:pt>
                <c:pt idx="666">
                  <c:v>1.6979822904956443</c:v>
                </c:pt>
                <c:pt idx="667">
                  <c:v>1.7022905460498643</c:v>
                </c:pt>
                <c:pt idx="668">
                  <c:v>1.7065988016040843</c:v>
                </c:pt>
                <c:pt idx="669">
                  <c:v>1.7109070571583043</c:v>
                </c:pt>
                <c:pt idx="670">
                  <c:v>1.7152153127125238</c:v>
                </c:pt>
                <c:pt idx="671">
                  <c:v>1.7195235682667438</c:v>
                </c:pt>
                <c:pt idx="672">
                  <c:v>1.7238318238209638</c:v>
                </c:pt>
                <c:pt idx="673">
                  <c:v>1.7281400793751838</c:v>
                </c:pt>
                <c:pt idx="674">
                  <c:v>1.7324483349294038</c:v>
                </c:pt>
                <c:pt idx="675">
                  <c:v>1.7367565904836237</c:v>
                </c:pt>
                <c:pt idx="676">
                  <c:v>1.7410648460378433</c:v>
                </c:pt>
                <c:pt idx="677">
                  <c:v>1.7453731015920633</c:v>
                </c:pt>
                <c:pt idx="678">
                  <c:v>1.7496813571462833</c:v>
                </c:pt>
                <c:pt idx="679">
                  <c:v>1.7539896127005032</c:v>
                </c:pt>
                <c:pt idx="680">
                  <c:v>1.7582978682547232</c:v>
                </c:pt>
                <c:pt idx="681">
                  <c:v>1.7626061238089428</c:v>
                </c:pt>
                <c:pt idx="682">
                  <c:v>1.7669143793631628</c:v>
                </c:pt>
                <c:pt idx="683">
                  <c:v>1.7712226349173827</c:v>
                </c:pt>
                <c:pt idx="684">
                  <c:v>1.7755308904716027</c:v>
                </c:pt>
                <c:pt idx="685">
                  <c:v>1.7798391460258227</c:v>
                </c:pt>
                <c:pt idx="686">
                  <c:v>1.7841474015800427</c:v>
                </c:pt>
                <c:pt idx="687">
                  <c:v>1.7884556571342622</c:v>
                </c:pt>
                <c:pt idx="688">
                  <c:v>1.7927639126884822</c:v>
                </c:pt>
                <c:pt idx="689">
                  <c:v>1.7970721682427022</c:v>
                </c:pt>
                <c:pt idx="690">
                  <c:v>1.8013804237969222</c:v>
                </c:pt>
                <c:pt idx="691">
                  <c:v>1.8056886793511422</c:v>
                </c:pt>
                <c:pt idx="692">
                  <c:v>1.8099969349053617</c:v>
                </c:pt>
                <c:pt idx="693">
                  <c:v>1.8143051904595817</c:v>
                </c:pt>
                <c:pt idx="694">
                  <c:v>1.8186134460138017</c:v>
                </c:pt>
                <c:pt idx="695">
                  <c:v>1.8229217015680217</c:v>
                </c:pt>
                <c:pt idx="696">
                  <c:v>1.8272299571222417</c:v>
                </c:pt>
                <c:pt idx="697">
                  <c:v>1.8315382126764617</c:v>
                </c:pt>
                <c:pt idx="698">
                  <c:v>1.8358464682306812</c:v>
                </c:pt>
                <c:pt idx="699">
                  <c:v>1.8401547237849012</c:v>
                </c:pt>
                <c:pt idx="700">
                  <c:v>1.8444629793391212</c:v>
                </c:pt>
                <c:pt idx="701">
                  <c:v>1.8487712348933412</c:v>
                </c:pt>
                <c:pt idx="702">
                  <c:v>1.8530794904475612</c:v>
                </c:pt>
                <c:pt idx="703">
                  <c:v>1.8573877460017811</c:v>
                </c:pt>
                <c:pt idx="704">
                  <c:v>1.8616960015560007</c:v>
                </c:pt>
                <c:pt idx="705">
                  <c:v>1.8660042571102207</c:v>
                </c:pt>
                <c:pt idx="706">
                  <c:v>1.8703125126644407</c:v>
                </c:pt>
                <c:pt idx="707">
                  <c:v>1.8746207682186606</c:v>
                </c:pt>
                <c:pt idx="708">
                  <c:v>1.8789290237728806</c:v>
                </c:pt>
                <c:pt idx="709">
                  <c:v>1.8832372793271002</c:v>
                </c:pt>
                <c:pt idx="710">
                  <c:v>1.8875455348813202</c:v>
                </c:pt>
                <c:pt idx="711">
                  <c:v>1.8918537904355401</c:v>
                </c:pt>
                <c:pt idx="712">
                  <c:v>1.8961620459897601</c:v>
                </c:pt>
                <c:pt idx="713">
                  <c:v>1.9004703015439801</c:v>
                </c:pt>
                <c:pt idx="714">
                  <c:v>1.9047785570982001</c:v>
                </c:pt>
                <c:pt idx="715">
                  <c:v>1.9090868126524196</c:v>
                </c:pt>
                <c:pt idx="716">
                  <c:v>1.9133950682066396</c:v>
                </c:pt>
                <c:pt idx="717">
                  <c:v>1.9177033237608596</c:v>
                </c:pt>
                <c:pt idx="718">
                  <c:v>1.9220115793150796</c:v>
                </c:pt>
                <c:pt idx="719">
                  <c:v>1.9263198348692996</c:v>
                </c:pt>
                <c:pt idx="720">
                  <c:v>1.9306280904235191</c:v>
                </c:pt>
                <c:pt idx="721">
                  <c:v>1.9349363459777391</c:v>
                </c:pt>
                <c:pt idx="722">
                  <c:v>1.9392446015319591</c:v>
                </c:pt>
                <c:pt idx="723">
                  <c:v>1.9435528570861791</c:v>
                </c:pt>
                <c:pt idx="724">
                  <c:v>1.9478611126403991</c:v>
                </c:pt>
                <c:pt idx="725">
                  <c:v>1.9521693681946191</c:v>
                </c:pt>
                <c:pt idx="726">
                  <c:v>1.9564776237488386</c:v>
                </c:pt>
                <c:pt idx="727">
                  <c:v>1.9607858793030586</c:v>
                </c:pt>
                <c:pt idx="728">
                  <c:v>1.9650941348572786</c:v>
                </c:pt>
                <c:pt idx="729">
                  <c:v>1.9694023904114986</c:v>
                </c:pt>
                <c:pt idx="730">
                  <c:v>1.9737106459657185</c:v>
                </c:pt>
                <c:pt idx="731">
                  <c:v>1.9780189015199381</c:v>
                </c:pt>
                <c:pt idx="732">
                  <c:v>1.9823271570741581</c:v>
                </c:pt>
                <c:pt idx="733">
                  <c:v>1.9866354126283781</c:v>
                </c:pt>
                <c:pt idx="734">
                  <c:v>1.990943668182598</c:v>
                </c:pt>
                <c:pt idx="735">
                  <c:v>1.995251923736818</c:v>
                </c:pt>
                <c:pt idx="736">
                  <c:v>1.999560179291038</c:v>
                </c:pt>
                <c:pt idx="737">
                  <c:v>2.0038684348452573</c:v>
                </c:pt>
                <c:pt idx="738">
                  <c:v>2.0081766903994778</c:v>
                </c:pt>
                <c:pt idx="739">
                  <c:v>2.0124849459536973</c:v>
                </c:pt>
                <c:pt idx="740">
                  <c:v>2.0167932015079177</c:v>
                </c:pt>
                <c:pt idx="741">
                  <c:v>2.0211014570621373</c:v>
                </c:pt>
                <c:pt idx="742">
                  <c:v>2.0254097126163568</c:v>
                </c:pt>
                <c:pt idx="743">
                  <c:v>2.0297179681705773</c:v>
                </c:pt>
                <c:pt idx="744">
                  <c:v>2.0340262237247968</c:v>
                </c:pt>
                <c:pt idx="745">
                  <c:v>2.0383344792790172</c:v>
                </c:pt>
                <c:pt idx="746">
                  <c:v>2.0426427348332368</c:v>
                </c:pt>
                <c:pt idx="747">
                  <c:v>2.0469509903874572</c:v>
                </c:pt>
                <c:pt idx="748">
                  <c:v>2.0512592459416767</c:v>
                </c:pt>
                <c:pt idx="749">
                  <c:v>2.0555675014958963</c:v>
                </c:pt>
                <c:pt idx="750">
                  <c:v>2.0598757570501167</c:v>
                </c:pt>
                <c:pt idx="751">
                  <c:v>2.0641840126043363</c:v>
                </c:pt>
                <c:pt idx="752">
                  <c:v>2.0684922681585567</c:v>
                </c:pt>
                <c:pt idx="753">
                  <c:v>2.0728005237127762</c:v>
                </c:pt>
                <c:pt idx="754">
                  <c:v>2.0771087792669958</c:v>
                </c:pt>
                <c:pt idx="755">
                  <c:v>2.0814170348212162</c:v>
                </c:pt>
                <c:pt idx="756">
                  <c:v>2.0857252903754357</c:v>
                </c:pt>
                <c:pt idx="757">
                  <c:v>2.0900335459296562</c:v>
                </c:pt>
                <c:pt idx="758">
                  <c:v>2.0943418014838757</c:v>
                </c:pt>
                <c:pt idx="759">
                  <c:v>2.0986500570380953</c:v>
                </c:pt>
                <c:pt idx="760">
                  <c:v>2.1029583125923157</c:v>
                </c:pt>
                <c:pt idx="761">
                  <c:v>2.1072665681465352</c:v>
                </c:pt>
                <c:pt idx="762">
                  <c:v>2.1115748237007557</c:v>
                </c:pt>
                <c:pt idx="763">
                  <c:v>2.1158830792549752</c:v>
                </c:pt>
                <c:pt idx="764">
                  <c:v>2.1201913348091956</c:v>
                </c:pt>
                <c:pt idx="765">
                  <c:v>2.1244995903634152</c:v>
                </c:pt>
                <c:pt idx="766">
                  <c:v>2.1288078459176347</c:v>
                </c:pt>
                <c:pt idx="767">
                  <c:v>2.1331161014718552</c:v>
                </c:pt>
                <c:pt idx="768">
                  <c:v>2.1374243570260747</c:v>
                </c:pt>
                <c:pt idx="769">
                  <c:v>2.1417326125802951</c:v>
                </c:pt>
                <c:pt idx="770">
                  <c:v>2.1460408681345147</c:v>
                </c:pt>
                <c:pt idx="771">
                  <c:v>2.1503491236887342</c:v>
                </c:pt>
                <c:pt idx="772">
                  <c:v>2.1546573792429546</c:v>
                </c:pt>
                <c:pt idx="773">
                  <c:v>2.1589656347971742</c:v>
                </c:pt>
                <c:pt idx="774">
                  <c:v>2.1632738903513946</c:v>
                </c:pt>
                <c:pt idx="775">
                  <c:v>2.1675821459056142</c:v>
                </c:pt>
                <c:pt idx="776">
                  <c:v>2.1718904014598337</c:v>
                </c:pt>
                <c:pt idx="777">
                  <c:v>2.1761986570140541</c:v>
                </c:pt>
                <c:pt idx="778">
                  <c:v>2.1805069125682737</c:v>
                </c:pt>
                <c:pt idx="779">
                  <c:v>2.1848151681224941</c:v>
                </c:pt>
                <c:pt idx="780">
                  <c:v>2.1891234236767136</c:v>
                </c:pt>
                <c:pt idx="781">
                  <c:v>2.1934316792309332</c:v>
                </c:pt>
                <c:pt idx="782">
                  <c:v>2.1977399347851536</c:v>
                </c:pt>
                <c:pt idx="783">
                  <c:v>2.2020481903393732</c:v>
                </c:pt>
                <c:pt idx="784">
                  <c:v>2.2063564458935936</c:v>
                </c:pt>
                <c:pt idx="785">
                  <c:v>2.2106647014478131</c:v>
                </c:pt>
                <c:pt idx="786">
                  <c:v>2.2149729570020336</c:v>
                </c:pt>
                <c:pt idx="787">
                  <c:v>2.2192812125562531</c:v>
                </c:pt>
                <c:pt idx="788">
                  <c:v>2.2235894681104726</c:v>
                </c:pt>
                <c:pt idx="789">
                  <c:v>2.2278977236646931</c:v>
                </c:pt>
                <c:pt idx="790">
                  <c:v>2.2322059792189126</c:v>
                </c:pt>
                <c:pt idx="791">
                  <c:v>2.236514234773133</c:v>
                </c:pt>
                <c:pt idx="792">
                  <c:v>2.2408224903273526</c:v>
                </c:pt>
                <c:pt idx="793">
                  <c:v>2.2451307458815721</c:v>
                </c:pt>
                <c:pt idx="794">
                  <c:v>2.2494390014357926</c:v>
                </c:pt>
                <c:pt idx="795">
                  <c:v>2.2537472569900121</c:v>
                </c:pt>
                <c:pt idx="796">
                  <c:v>2.2580555125442325</c:v>
                </c:pt>
                <c:pt idx="797">
                  <c:v>2.2623637680984521</c:v>
                </c:pt>
                <c:pt idx="798">
                  <c:v>2.2666720236526716</c:v>
                </c:pt>
                <c:pt idx="799">
                  <c:v>2.270980279206892</c:v>
                </c:pt>
                <c:pt idx="800">
                  <c:v>2.2752885347611116</c:v>
                </c:pt>
                <c:pt idx="801">
                  <c:v>2.279596790315332</c:v>
                </c:pt>
                <c:pt idx="802">
                  <c:v>2.2839050458695516</c:v>
                </c:pt>
                <c:pt idx="803">
                  <c:v>2.288213301423772</c:v>
                </c:pt>
                <c:pt idx="804">
                  <c:v>2.2925215569779915</c:v>
                </c:pt>
                <c:pt idx="805">
                  <c:v>2.2968298125322111</c:v>
                </c:pt>
                <c:pt idx="806">
                  <c:v>2.3011380680864315</c:v>
                </c:pt>
                <c:pt idx="807">
                  <c:v>2.3054463236406511</c:v>
                </c:pt>
                <c:pt idx="808">
                  <c:v>2.3097545791948715</c:v>
                </c:pt>
                <c:pt idx="809">
                  <c:v>2.314062834749091</c:v>
                </c:pt>
                <c:pt idx="810">
                  <c:v>2.3183710903033106</c:v>
                </c:pt>
                <c:pt idx="811">
                  <c:v>2.322679345857531</c:v>
                </c:pt>
                <c:pt idx="812">
                  <c:v>2.3269876014117505</c:v>
                </c:pt>
                <c:pt idx="813">
                  <c:v>2.331295856965971</c:v>
                </c:pt>
                <c:pt idx="814">
                  <c:v>2.3356041125201905</c:v>
                </c:pt>
                <c:pt idx="815">
                  <c:v>2.3399123680744101</c:v>
                </c:pt>
                <c:pt idx="816">
                  <c:v>2.3442206236286305</c:v>
                </c:pt>
                <c:pt idx="817">
                  <c:v>2.34852887918285</c:v>
                </c:pt>
                <c:pt idx="818">
                  <c:v>2.3528371347370705</c:v>
                </c:pt>
                <c:pt idx="819">
                  <c:v>2.35714539029129</c:v>
                </c:pt>
                <c:pt idx="820">
                  <c:v>2.3614536458455095</c:v>
                </c:pt>
                <c:pt idx="821">
                  <c:v>2.36576190139973</c:v>
                </c:pt>
                <c:pt idx="822">
                  <c:v>2.3700701569539495</c:v>
                </c:pt>
                <c:pt idx="823">
                  <c:v>2.3743784125081699</c:v>
                </c:pt>
                <c:pt idx="824">
                  <c:v>2.3786866680623895</c:v>
                </c:pt>
                <c:pt idx="825">
                  <c:v>2.3829949236166099</c:v>
                </c:pt>
                <c:pt idx="826">
                  <c:v>2.3873031791708295</c:v>
                </c:pt>
                <c:pt idx="827">
                  <c:v>2.391611434725049</c:v>
                </c:pt>
                <c:pt idx="828">
                  <c:v>2.3959196902792694</c:v>
                </c:pt>
                <c:pt idx="829">
                  <c:v>2.400227945833489</c:v>
                </c:pt>
                <c:pt idx="830">
                  <c:v>2.4045362013877094</c:v>
                </c:pt>
                <c:pt idx="831">
                  <c:v>2.4088444569419289</c:v>
                </c:pt>
                <c:pt idx="832">
                  <c:v>2.4131527124961485</c:v>
                </c:pt>
                <c:pt idx="833">
                  <c:v>2.4174609680503689</c:v>
                </c:pt>
                <c:pt idx="834">
                  <c:v>2.4217692236045885</c:v>
                </c:pt>
                <c:pt idx="835">
                  <c:v>2.4260774791588089</c:v>
                </c:pt>
                <c:pt idx="836">
                  <c:v>2.4303857347130284</c:v>
                </c:pt>
                <c:pt idx="837">
                  <c:v>2.434693990267248</c:v>
                </c:pt>
                <c:pt idx="838">
                  <c:v>2.4390022458214684</c:v>
                </c:pt>
                <c:pt idx="839">
                  <c:v>2.4433105013756879</c:v>
                </c:pt>
                <c:pt idx="840">
                  <c:v>2.4476187569299084</c:v>
                </c:pt>
                <c:pt idx="841">
                  <c:v>2.4519270124841279</c:v>
                </c:pt>
                <c:pt idx="842">
                  <c:v>2.4562352680383484</c:v>
                </c:pt>
                <c:pt idx="843">
                  <c:v>2.4605435235925679</c:v>
                </c:pt>
                <c:pt idx="844">
                  <c:v>2.4648517791467874</c:v>
                </c:pt>
                <c:pt idx="845">
                  <c:v>2.4691600347010079</c:v>
                </c:pt>
                <c:pt idx="846">
                  <c:v>2.4734682902552274</c:v>
                </c:pt>
                <c:pt idx="847">
                  <c:v>2.4777765458094478</c:v>
                </c:pt>
                <c:pt idx="848">
                  <c:v>2.4820848013636674</c:v>
                </c:pt>
                <c:pt idx="849">
                  <c:v>2.4863930569178869</c:v>
                </c:pt>
                <c:pt idx="850">
                  <c:v>2.4907013124721074</c:v>
                </c:pt>
                <c:pt idx="851">
                  <c:v>2.4950095680263269</c:v>
                </c:pt>
                <c:pt idx="852">
                  <c:v>2.4993178235805473</c:v>
                </c:pt>
                <c:pt idx="853">
                  <c:v>2.5036260791347669</c:v>
                </c:pt>
                <c:pt idx="854">
                  <c:v>2.5079343346889864</c:v>
                </c:pt>
                <c:pt idx="855">
                  <c:v>2.5122425902432068</c:v>
                </c:pt>
                <c:pt idx="856">
                  <c:v>2.5165508457974264</c:v>
                </c:pt>
                <c:pt idx="857">
                  <c:v>2.5208591013516468</c:v>
                </c:pt>
                <c:pt idx="858">
                  <c:v>2.5251673569058664</c:v>
                </c:pt>
                <c:pt idx="859">
                  <c:v>2.5294756124600859</c:v>
                </c:pt>
                <c:pt idx="860">
                  <c:v>2.5337838680143063</c:v>
                </c:pt>
                <c:pt idx="861">
                  <c:v>2.5380921235685259</c:v>
                </c:pt>
                <c:pt idx="862">
                  <c:v>2.5424003791227463</c:v>
                </c:pt>
                <c:pt idx="863">
                  <c:v>2.5467086346769658</c:v>
                </c:pt>
                <c:pt idx="864">
                  <c:v>2.5510168902311863</c:v>
                </c:pt>
                <c:pt idx="865">
                  <c:v>2.5553251457854058</c:v>
                </c:pt>
                <c:pt idx="866">
                  <c:v>2.5596334013396254</c:v>
                </c:pt>
                <c:pt idx="867">
                  <c:v>2.5639416568938458</c:v>
                </c:pt>
                <c:pt idx="868">
                  <c:v>2.5682499124480653</c:v>
                </c:pt>
                <c:pt idx="869">
                  <c:v>2.5725581680022858</c:v>
                </c:pt>
                <c:pt idx="870">
                  <c:v>2.5768664235565053</c:v>
                </c:pt>
                <c:pt idx="871">
                  <c:v>2.5811746791107248</c:v>
                </c:pt>
                <c:pt idx="872">
                  <c:v>2.5854829346649453</c:v>
                </c:pt>
                <c:pt idx="873">
                  <c:v>2.5897911902191648</c:v>
                </c:pt>
                <c:pt idx="874">
                  <c:v>2.5940994457733852</c:v>
                </c:pt>
                <c:pt idx="875">
                  <c:v>2.5984077013276048</c:v>
                </c:pt>
                <c:pt idx="876">
                  <c:v>2.6027159568818243</c:v>
                </c:pt>
                <c:pt idx="877">
                  <c:v>2.6070242124360448</c:v>
                </c:pt>
                <c:pt idx="878">
                  <c:v>2.6113324679902643</c:v>
                </c:pt>
                <c:pt idx="879">
                  <c:v>2.6156407235444847</c:v>
                </c:pt>
                <c:pt idx="880">
                  <c:v>2.6199489790987043</c:v>
                </c:pt>
                <c:pt idx="881">
                  <c:v>2.6242572346529247</c:v>
                </c:pt>
                <c:pt idx="882">
                  <c:v>2.6285654902071443</c:v>
                </c:pt>
                <c:pt idx="883">
                  <c:v>2.6328737457613638</c:v>
                </c:pt>
                <c:pt idx="884">
                  <c:v>2.6371820013155842</c:v>
                </c:pt>
                <c:pt idx="885">
                  <c:v>2.6414902568698038</c:v>
                </c:pt>
                <c:pt idx="886">
                  <c:v>2.6457985124240242</c:v>
                </c:pt>
                <c:pt idx="887">
                  <c:v>2.6501067679782437</c:v>
                </c:pt>
                <c:pt idx="888">
                  <c:v>2.6544150235324633</c:v>
                </c:pt>
                <c:pt idx="889">
                  <c:v>2.6587232790866837</c:v>
                </c:pt>
                <c:pt idx="890">
                  <c:v>2.6630315346409033</c:v>
                </c:pt>
                <c:pt idx="891">
                  <c:v>2.6673397901951237</c:v>
                </c:pt>
                <c:pt idx="892">
                  <c:v>2.6716480457493432</c:v>
                </c:pt>
                <c:pt idx="893">
                  <c:v>2.6759563013035628</c:v>
                </c:pt>
                <c:pt idx="894">
                  <c:v>2.6802645568577832</c:v>
                </c:pt>
                <c:pt idx="895">
                  <c:v>2.6845728124120027</c:v>
                </c:pt>
                <c:pt idx="896">
                  <c:v>2.6888810679662232</c:v>
                </c:pt>
                <c:pt idx="897">
                  <c:v>2.6931893235204427</c:v>
                </c:pt>
                <c:pt idx="898">
                  <c:v>2.6974975790746623</c:v>
                </c:pt>
                <c:pt idx="899">
                  <c:v>2.7018058346288827</c:v>
                </c:pt>
                <c:pt idx="900">
                  <c:v>2.7061140901831022</c:v>
                </c:pt>
                <c:pt idx="901">
                  <c:v>2.7104223457373227</c:v>
                </c:pt>
                <c:pt idx="902">
                  <c:v>2.7147306012915422</c:v>
                </c:pt>
                <c:pt idx="903">
                  <c:v>2.7190388568457626</c:v>
                </c:pt>
                <c:pt idx="904">
                  <c:v>2.7233471123999822</c:v>
                </c:pt>
                <c:pt idx="905">
                  <c:v>2.7276553679542017</c:v>
                </c:pt>
                <c:pt idx="906">
                  <c:v>2.7319636235084221</c:v>
                </c:pt>
                <c:pt idx="907">
                  <c:v>2.7362718790626417</c:v>
                </c:pt>
                <c:pt idx="908">
                  <c:v>2.7405801346168621</c:v>
                </c:pt>
                <c:pt idx="909">
                  <c:v>2.7448883901710817</c:v>
                </c:pt>
                <c:pt idx="910">
                  <c:v>2.7491966457253012</c:v>
                </c:pt>
                <c:pt idx="911">
                  <c:v>2.7535049012795216</c:v>
                </c:pt>
                <c:pt idx="912">
                  <c:v>2.7578131568337412</c:v>
                </c:pt>
                <c:pt idx="913">
                  <c:v>2.7621214123879616</c:v>
                </c:pt>
                <c:pt idx="914">
                  <c:v>2.7664296679421811</c:v>
                </c:pt>
                <c:pt idx="915">
                  <c:v>2.7707379234964007</c:v>
                </c:pt>
                <c:pt idx="916">
                  <c:v>2.7750461790506211</c:v>
                </c:pt>
                <c:pt idx="917">
                  <c:v>2.7793544346048407</c:v>
                </c:pt>
                <c:pt idx="918">
                  <c:v>2.7836626901590611</c:v>
                </c:pt>
                <c:pt idx="919">
                  <c:v>2.7879709457132806</c:v>
                </c:pt>
                <c:pt idx="920">
                  <c:v>2.7922792012675011</c:v>
                </c:pt>
                <c:pt idx="921">
                  <c:v>2.7965874568217206</c:v>
                </c:pt>
                <c:pt idx="922">
                  <c:v>2.8008957123759401</c:v>
                </c:pt>
                <c:pt idx="923">
                  <c:v>2.8052039679301606</c:v>
                </c:pt>
                <c:pt idx="924">
                  <c:v>2.8095122234843801</c:v>
                </c:pt>
                <c:pt idx="925">
                  <c:v>2.8138204790386006</c:v>
                </c:pt>
                <c:pt idx="926">
                  <c:v>2.8181287345928201</c:v>
                </c:pt>
                <c:pt idx="927">
                  <c:v>2.8224369901470396</c:v>
                </c:pt>
                <c:pt idx="928">
                  <c:v>2.8267452457012601</c:v>
                </c:pt>
                <c:pt idx="929">
                  <c:v>2.8310535012554796</c:v>
                </c:pt>
                <c:pt idx="930">
                  <c:v>2.8353617568097</c:v>
                </c:pt>
                <c:pt idx="931">
                  <c:v>2.8396700123639196</c:v>
                </c:pt>
                <c:pt idx="932">
                  <c:v>2.84397826791814</c:v>
                </c:pt>
                <c:pt idx="933">
                  <c:v>2.8482865234723596</c:v>
                </c:pt>
                <c:pt idx="934">
                  <c:v>2.8525947790265791</c:v>
                </c:pt>
                <c:pt idx="935">
                  <c:v>2.8569030345807995</c:v>
                </c:pt>
                <c:pt idx="936">
                  <c:v>2.8612112901350191</c:v>
                </c:pt>
                <c:pt idx="937">
                  <c:v>2.8655195456892395</c:v>
                </c:pt>
                <c:pt idx="938">
                  <c:v>2.869827801243459</c:v>
                </c:pt>
                <c:pt idx="939">
                  <c:v>2.8741360567976795</c:v>
                </c:pt>
                <c:pt idx="940">
                  <c:v>2.878444312351899</c:v>
                </c:pt>
                <c:pt idx="941">
                  <c:v>2.8827525679061186</c:v>
                </c:pt>
                <c:pt idx="942">
                  <c:v>2.887060823460339</c:v>
                </c:pt>
                <c:pt idx="943">
                  <c:v>2.8913690790145585</c:v>
                </c:pt>
                <c:pt idx="944">
                  <c:v>2.895677334568779</c:v>
                </c:pt>
                <c:pt idx="945">
                  <c:v>2.8999855901229985</c:v>
                </c:pt>
                <c:pt idx="946">
                  <c:v>2.904293845677218</c:v>
                </c:pt>
                <c:pt idx="947">
                  <c:v>2.9086021012314385</c:v>
                </c:pt>
                <c:pt idx="948">
                  <c:v>2.912910356785658</c:v>
                </c:pt>
                <c:pt idx="949">
                  <c:v>2.9172186123398784</c:v>
                </c:pt>
                <c:pt idx="950">
                  <c:v>2.921526867894098</c:v>
                </c:pt>
                <c:pt idx="951">
                  <c:v>2.9258351234483175</c:v>
                </c:pt>
                <c:pt idx="952">
                  <c:v>2.930143379002538</c:v>
                </c:pt>
                <c:pt idx="953">
                  <c:v>2.9344516345567575</c:v>
                </c:pt>
                <c:pt idx="954">
                  <c:v>2.9387598901109779</c:v>
                </c:pt>
                <c:pt idx="955">
                  <c:v>2.9430681456651975</c:v>
                </c:pt>
                <c:pt idx="956">
                  <c:v>2.9473764012194179</c:v>
                </c:pt>
                <c:pt idx="957">
                  <c:v>2.9516846567736374</c:v>
                </c:pt>
                <c:pt idx="958">
                  <c:v>2.955992912327857</c:v>
                </c:pt>
                <c:pt idx="959">
                  <c:v>2.9603011678820774</c:v>
                </c:pt>
                <c:pt idx="960">
                  <c:v>2.964609423436297</c:v>
                </c:pt>
                <c:pt idx="961">
                  <c:v>2.9689176789905174</c:v>
                </c:pt>
                <c:pt idx="962">
                  <c:v>2.9732259345447369</c:v>
                </c:pt>
                <c:pt idx="963">
                  <c:v>2.9775341900989565</c:v>
                </c:pt>
                <c:pt idx="964">
                  <c:v>2.9818424456531769</c:v>
                </c:pt>
                <c:pt idx="965">
                  <c:v>2.9861507012073965</c:v>
                </c:pt>
                <c:pt idx="966">
                  <c:v>2.9904589567616169</c:v>
                </c:pt>
                <c:pt idx="967">
                  <c:v>2.9947672123158364</c:v>
                </c:pt>
                <c:pt idx="968">
                  <c:v>2.999075467870056</c:v>
                </c:pt>
                <c:pt idx="969">
                  <c:v>3.0033837234242764</c:v>
                </c:pt>
                <c:pt idx="970">
                  <c:v>3.0076919789784959</c:v>
                </c:pt>
                <c:pt idx="971">
                  <c:v>3.0120002345327164</c:v>
                </c:pt>
                <c:pt idx="972">
                  <c:v>3.0163084900869359</c:v>
                </c:pt>
                <c:pt idx="973">
                  <c:v>3.0206167456411555</c:v>
                </c:pt>
                <c:pt idx="974">
                  <c:v>3.0249250011953759</c:v>
                </c:pt>
                <c:pt idx="975">
                  <c:v>3.0292332567495954</c:v>
                </c:pt>
                <c:pt idx="976">
                  <c:v>3.0335415123038159</c:v>
                </c:pt>
                <c:pt idx="977">
                  <c:v>3.0378497678580354</c:v>
                </c:pt>
                <c:pt idx="978">
                  <c:v>3.0421580234122558</c:v>
                </c:pt>
                <c:pt idx="979">
                  <c:v>3.0464662789664754</c:v>
                </c:pt>
                <c:pt idx="980">
                  <c:v>3.0507745345206949</c:v>
                </c:pt>
                <c:pt idx="981">
                  <c:v>3.0550827900749153</c:v>
                </c:pt>
                <c:pt idx="982">
                  <c:v>3.0593910456291349</c:v>
                </c:pt>
                <c:pt idx="983">
                  <c:v>3.0636993011833553</c:v>
                </c:pt>
                <c:pt idx="984">
                  <c:v>3.0680075567375749</c:v>
                </c:pt>
                <c:pt idx="985">
                  <c:v>3.0723158122917944</c:v>
                </c:pt>
                <c:pt idx="986">
                  <c:v>3.0766240678460148</c:v>
                </c:pt>
                <c:pt idx="987">
                  <c:v>3.0809323234002344</c:v>
                </c:pt>
                <c:pt idx="988">
                  <c:v>3.0852405789544548</c:v>
                </c:pt>
                <c:pt idx="989">
                  <c:v>3.0895488345086743</c:v>
                </c:pt>
                <c:pt idx="990">
                  <c:v>3.0938570900628939</c:v>
                </c:pt>
                <c:pt idx="991">
                  <c:v>3.0981653456171143</c:v>
                </c:pt>
                <c:pt idx="992">
                  <c:v>3.1024736011713339</c:v>
                </c:pt>
                <c:pt idx="993">
                  <c:v>3.1067818567255543</c:v>
                </c:pt>
                <c:pt idx="994">
                  <c:v>3.1110901122797738</c:v>
                </c:pt>
                <c:pt idx="995">
                  <c:v>3.1153983678339943</c:v>
                </c:pt>
                <c:pt idx="996">
                  <c:v>3.1197066233882138</c:v>
                </c:pt>
                <c:pt idx="997">
                  <c:v>3.1240148789424333</c:v>
                </c:pt>
                <c:pt idx="998">
                  <c:v>3.1283231344966538</c:v>
                </c:pt>
                <c:pt idx="999">
                  <c:v>3.1326313900508733</c:v>
                </c:pt>
                <c:pt idx="1000">
                  <c:v>3.1369396456050938</c:v>
                </c:pt>
                <c:pt idx="1001">
                  <c:v>3.1412479011593133</c:v>
                </c:pt>
                <c:pt idx="1002">
                  <c:v>3.1455561567135328</c:v>
                </c:pt>
                <c:pt idx="1003">
                  <c:v>3.1498644122677533</c:v>
                </c:pt>
                <c:pt idx="1004">
                  <c:v>3.1541726678219728</c:v>
                </c:pt>
                <c:pt idx="1005">
                  <c:v>3.1584809233761932</c:v>
                </c:pt>
                <c:pt idx="1006">
                  <c:v>3.1627891789304128</c:v>
                </c:pt>
                <c:pt idx="1007">
                  <c:v>3.1670974344846323</c:v>
                </c:pt>
                <c:pt idx="1008">
                  <c:v>3.1714056900388528</c:v>
                </c:pt>
                <c:pt idx="1009">
                  <c:v>3.1757139455930723</c:v>
                </c:pt>
                <c:pt idx="1010">
                  <c:v>3.1800222011472927</c:v>
                </c:pt>
                <c:pt idx="1011">
                  <c:v>3.1843304567015123</c:v>
                </c:pt>
                <c:pt idx="1012">
                  <c:v>3.1886387122557318</c:v>
                </c:pt>
                <c:pt idx="1013">
                  <c:v>3.1929469678099522</c:v>
                </c:pt>
                <c:pt idx="1014">
                  <c:v>3.1972552233641718</c:v>
                </c:pt>
                <c:pt idx="1015">
                  <c:v>3.2015634789183922</c:v>
                </c:pt>
                <c:pt idx="1016">
                  <c:v>3.2058717344726118</c:v>
                </c:pt>
                <c:pt idx="1017">
                  <c:v>3.2101799900268322</c:v>
                </c:pt>
                <c:pt idx="1018">
                  <c:v>3.2144882455810517</c:v>
                </c:pt>
                <c:pt idx="1019">
                  <c:v>3.2187965011352713</c:v>
                </c:pt>
                <c:pt idx="1020">
                  <c:v>3.2231047566894917</c:v>
                </c:pt>
                <c:pt idx="1021">
                  <c:v>3.2274130122437112</c:v>
                </c:pt>
                <c:pt idx="1022">
                  <c:v>3.2317212677979317</c:v>
                </c:pt>
                <c:pt idx="1023">
                  <c:v>3.2360295233521512</c:v>
                </c:pt>
                <c:pt idx="1024">
                  <c:v>3.2403377789063708</c:v>
                </c:pt>
                <c:pt idx="1025">
                  <c:v>3.2446460344605912</c:v>
                </c:pt>
                <c:pt idx="1026">
                  <c:v>3.2489542900148107</c:v>
                </c:pt>
                <c:pt idx="1027">
                  <c:v>3.2532625455690312</c:v>
                </c:pt>
                <c:pt idx="1028">
                  <c:v>3.2575708011232507</c:v>
                </c:pt>
                <c:pt idx="1029">
                  <c:v>3.2618790566774702</c:v>
                </c:pt>
                <c:pt idx="1030">
                  <c:v>3.2661873122316907</c:v>
                </c:pt>
                <c:pt idx="1031">
                  <c:v>3.2704955677859102</c:v>
                </c:pt>
                <c:pt idx="1032">
                  <c:v>3.2748038233401306</c:v>
                </c:pt>
                <c:pt idx="1033">
                  <c:v>3.2791120788943502</c:v>
                </c:pt>
                <c:pt idx="1034">
                  <c:v>3.2834203344485706</c:v>
                </c:pt>
                <c:pt idx="1035">
                  <c:v>3.2877285900027902</c:v>
                </c:pt>
                <c:pt idx="1036">
                  <c:v>3.2920368455570097</c:v>
                </c:pt>
                <c:pt idx="1037">
                  <c:v>3.2963451011112301</c:v>
                </c:pt>
                <c:pt idx="1038">
                  <c:v>3.3006533566654497</c:v>
                </c:pt>
                <c:pt idx="1039">
                  <c:v>3.3049616122196701</c:v>
                </c:pt>
                <c:pt idx="1040">
                  <c:v>3.3092698677738897</c:v>
                </c:pt>
                <c:pt idx="1041">
                  <c:v>3.3135781233281092</c:v>
                </c:pt>
                <c:pt idx="1042">
                  <c:v>3.3178863788823296</c:v>
                </c:pt>
                <c:pt idx="1043">
                  <c:v>3.3221946344365492</c:v>
                </c:pt>
                <c:pt idx="1044">
                  <c:v>3.3265028899907696</c:v>
                </c:pt>
                <c:pt idx="1045">
                  <c:v>3.3308111455449891</c:v>
                </c:pt>
                <c:pt idx="1046">
                  <c:v>3.3351194010992087</c:v>
                </c:pt>
                <c:pt idx="1047">
                  <c:v>3.3394276566534291</c:v>
                </c:pt>
                <c:pt idx="1048">
                  <c:v>3.3437359122076487</c:v>
                </c:pt>
                <c:pt idx="1049">
                  <c:v>3.3480441677618691</c:v>
                </c:pt>
                <c:pt idx="1050">
                  <c:v>3.3523524233160886</c:v>
                </c:pt>
                <c:pt idx="1051">
                  <c:v>3.3566606788703082</c:v>
                </c:pt>
                <c:pt idx="1052">
                  <c:v>3.3609689344245286</c:v>
                </c:pt>
                <c:pt idx="1053">
                  <c:v>3.3652771899787481</c:v>
                </c:pt>
                <c:pt idx="1054">
                  <c:v>3.3695854455329686</c:v>
                </c:pt>
                <c:pt idx="1055">
                  <c:v>3.3738937010871881</c:v>
                </c:pt>
                <c:pt idx="1056">
                  <c:v>3.3782019566414085</c:v>
                </c:pt>
                <c:pt idx="1057">
                  <c:v>3.3825102121956281</c:v>
                </c:pt>
                <c:pt idx="1058">
                  <c:v>3.3868184677498476</c:v>
                </c:pt>
                <c:pt idx="1059">
                  <c:v>3.3911267233040681</c:v>
                </c:pt>
                <c:pt idx="1060">
                  <c:v>3.3954349788582876</c:v>
                </c:pt>
                <c:pt idx="1061">
                  <c:v>3.399743234412508</c:v>
                </c:pt>
                <c:pt idx="1062">
                  <c:v>3.4040514899667276</c:v>
                </c:pt>
                <c:pt idx="1063">
                  <c:v>3.4083597455209471</c:v>
                </c:pt>
                <c:pt idx="1064">
                  <c:v>3.4126680010751675</c:v>
                </c:pt>
                <c:pt idx="1065">
                  <c:v>3.4169762566293871</c:v>
                </c:pt>
                <c:pt idx="1066">
                  <c:v>3.4212845121836075</c:v>
                </c:pt>
                <c:pt idx="1067">
                  <c:v>3.4255927677378271</c:v>
                </c:pt>
                <c:pt idx="1068">
                  <c:v>3.4299010232920466</c:v>
                </c:pt>
                <c:pt idx="1069">
                  <c:v>3.434209278846267</c:v>
                </c:pt>
                <c:pt idx="1070">
                  <c:v>3.4385175344004866</c:v>
                </c:pt>
                <c:pt idx="1071">
                  <c:v>3.442825789954707</c:v>
                </c:pt>
                <c:pt idx="1072">
                  <c:v>3.4471340455089265</c:v>
                </c:pt>
                <c:pt idx="1073">
                  <c:v>3.451442301063147</c:v>
                </c:pt>
                <c:pt idx="1074">
                  <c:v>3.4557505566173665</c:v>
                </c:pt>
                <c:pt idx="1075">
                  <c:v>3.4600588121715861</c:v>
                </c:pt>
                <c:pt idx="1076">
                  <c:v>3.4643670677258065</c:v>
                </c:pt>
                <c:pt idx="1077">
                  <c:v>3.468675323280026</c:v>
                </c:pt>
                <c:pt idx="1078">
                  <c:v>3.4729835788342465</c:v>
                </c:pt>
                <c:pt idx="1079">
                  <c:v>3.477291834388466</c:v>
                </c:pt>
                <c:pt idx="1080">
                  <c:v>3.4816000899426855</c:v>
                </c:pt>
                <c:pt idx="1081">
                  <c:v>3.485908345496906</c:v>
                </c:pt>
                <c:pt idx="1082">
                  <c:v>3.4902166010511255</c:v>
                </c:pt>
                <c:pt idx="1083">
                  <c:v>3.494524856605346</c:v>
                </c:pt>
                <c:pt idx="1084">
                  <c:v>3.4988331121595655</c:v>
                </c:pt>
                <c:pt idx="1085">
                  <c:v>3.503141367713785</c:v>
                </c:pt>
                <c:pt idx="1086">
                  <c:v>3.5074496232680055</c:v>
                </c:pt>
                <c:pt idx="1087">
                  <c:v>3.511757878822225</c:v>
                </c:pt>
                <c:pt idx="1088">
                  <c:v>3.5160661343764454</c:v>
                </c:pt>
                <c:pt idx="1089">
                  <c:v>3.520374389930665</c:v>
                </c:pt>
                <c:pt idx="1090">
                  <c:v>3.5246826454848845</c:v>
                </c:pt>
                <c:pt idx="1091">
                  <c:v>3.528990901039105</c:v>
                </c:pt>
                <c:pt idx="1092">
                  <c:v>3.5332991565933245</c:v>
                </c:pt>
                <c:pt idx="1093">
                  <c:v>3.5376074121475449</c:v>
                </c:pt>
                <c:pt idx="1094">
                  <c:v>3.5419156677017645</c:v>
                </c:pt>
                <c:pt idx="1095">
                  <c:v>3.5462239232559849</c:v>
                </c:pt>
                <c:pt idx="1096">
                  <c:v>3.5505321788102044</c:v>
                </c:pt>
                <c:pt idx="1097">
                  <c:v>3.554840434364424</c:v>
                </c:pt>
                <c:pt idx="1098">
                  <c:v>3.5591486899186444</c:v>
                </c:pt>
                <c:pt idx="1099">
                  <c:v>3.563456945472864</c:v>
                </c:pt>
                <c:pt idx="1100">
                  <c:v>3.5677652010270844</c:v>
                </c:pt>
                <c:pt idx="1101">
                  <c:v>3.5720734565813039</c:v>
                </c:pt>
                <c:pt idx="1102">
                  <c:v>3.5763817121355235</c:v>
                </c:pt>
                <c:pt idx="1103">
                  <c:v>3.5806899676897439</c:v>
                </c:pt>
                <c:pt idx="1104">
                  <c:v>3.5849982232439634</c:v>
                </c:pt>
                <c:pt idx="1105">
                  <c:v>3.5893064787981839</c:v>
                </c:pt>
                <c:pt idx="1106">
                  <c:v>3.5936147343524034</c:v>
                </c:pt>
                <c:pt idx="1107">
                  <c:v>3.597922989906623</c:v>
                </c:pt>
                <c:pt idx="1108">
                  <c:v>3.6022312454608434</c:v>
                </c:pt>
                <c:pt idx="1109">
                  <c:v>3.6065395010150629</c:v>
                </c:pt>
                <c:pt idx="1110">
                  <c:v>3.6108477565692834</c:v>
                </c:pt>
                <c:pt idx="1111">
                  <c:v>3.6151560121235029</c:v>
                </c:pt>
                <c:pt idx="1112">
                  <c:v>3.6194642676777233</c:v>
                </c:pt>
                <c:pt idx="1113">
                  <c:v>3.6237725232319429</c:v>
                </c:pt>
                <c:pt idx="1114">
                  <c:v>3.6280807787861624</c:v>
                </c:pt>
                <c:pt idx="1115">
                  <c:v>3.6323890343403828</c:v>
                </c:pt>
                <c:pt idx="1116">
                  <c:v>3.6366972898946024</c:v>
                </c:pt>
                <c:pt idx="1117">
                  <c:v>3.6410055454488228</c:v>
                </c:pt>
                <c:pt idx="1118">
                  <c:v>3.6453138010030424</c:v>
                </c:pt>
                <c:pt idx="1119">
                  <c:v>3.6496220565572619</c:v>
                </c:pt>
                <c:pt idx="1120">
                  <c:v>3.6539303121114823</c:v>
                </c:pt>
                <c:pt idx="1121">
                  <c:v>3.6582385676657019</c:v>
                </c:pt>
                <c:pt idx="1122">
                  <c:v>3.6625468232199223</c:v>
                </c:pt>
                <c:pt idx="1123">
                  <c:v>3.6668550787741419</c:v>
                </c:pt>
                <c:pt idx="1124">
                  <c:v>3.6711633343283614</c:v>
                </c:pt>
                <c:pt idx="1125">
                  <c:v>3.6754715898825818</c:v>
                </c:pt>
                <c:pt idx="1126">
                  <c:v>3.6797798454368014</c:v>
                </c:pt>
                <c:pt idx="1127">
                  <c:v>3.6840881009910218</c:v>
                </c:pt>
                <c:pt idx="1128">
                  <c:v>3.6883963565452413</c:v>
                </c:pt>
                <c:pt idx="1129">
                  <c:v>3.6927046120994609</c:v>
                </c:pt>
                <c:pt idx="1130">
                  <c:v>3.6970128676536813</c:v>
                </c:pt>
                <c:pt idx="1131">
                  <c:v>3.7013211232079009</c:v>
                </c:pt>
                <c:pt idx="1132">
                  <c:v>3.7056293787621213</c:v>
                </c:pt>
                <c:pt idx="1133">
                  <c:v>3.7099376343163408</c:v>
                </c:pt>
                <c:pt idx="1134">
                  <c:v>3.7142458898705613</c:v>
                </c:pt>
                <c:pt idx="1135">
                  <c:v>3.7185541454247808</c:v>
                </c:pt>
                <c:pt idx="1136">
                  <c:v>3.7228624009790003</c:v>
                </c:pt>
                <c:pt idx="1137">
                  <c:v>3.7271706565332208</c:v>
                </c:pt>
                <c:pt idx="1138">
                  <c:v>3.7314789120874403</c:v>
                </c:pt>
                <c:pt idx="1139">
                  <c:v>3.7357871676416607</c:v>
                </c:pt>
                <c:pt idx="1140">
                  <c:v>3.7400954231958803</c:v>
                </c:pt>
                <c:pt idx="1141">
                  <c:v>3.7444036787500998</c:v>
                </c:pt>
                <c:pt idx="1142">
                  <c:v>3.7487119343043203</c:v>
                </c:pt>
                <c:pt idx="1143">
                  <c:v>3.7530201898585398</c:v>
                </c:pt>
                <c:pt idx="1144">
                  <c:v>3.7573284454127602</c:v>
                </c:pt>
                <c:pt idx="1145">
                  <c:v>3.7616367009669798</c:v>
                </c:pt>
                <c:pt idx="1146">
                  <c:v>3.7659449565211993</c:v>
                </c:pt>
                <c:pt idx="1147">
                  <c:v>3.7702532120754197</c:v>
                </c:pt>
                <c:pt idx="1148">
                  <c:v>3.7745614676296393</c:v>
                </c:pt>
                <c:pt idx="1149">
                  <c:v>3.7788697231838597</c:v>
                </c:pt>
                <c:pt idx="1150">
                  <c:v>3.7831779787380793</c:v>
                </c:pt>
                <c:pt idx="1151">
                  <c:v>3.7874862342922988</c:v>
                </c:pt>
                <c:pt idx="1152">
                  <c:v>3.7917944898465192</c:v>
                </c:pt>
                <c:pt idx="1153">
                  <c:v>3.7961027454007388</c:v>
                </c:pt>
                <c:pt idx="1154">
                  <c:v>3.8004110009549592</c:v>
                </c:pt>
                <c:pt idx="1155">
                  <c:v>3.8047192565091787</c:v>
                </c:pt>
                <c:pt idx="1156">
                  <c:v>3.8090275120633992</c:v>
                </c:pt>
                <c:pt idx="1157">
                  <c:v>3.8133357676176187</c:v>
                </c:pt>
                <c:pt idx="1158">
                  <c:v>3.8176440231718383</c:v>
                </c:pt>
                <c:pt idx="1159">
                  <c:v>3.8219522787260587</c:v>
                </c:pt>
                <c:pt idx="1160">
                  <c:v>3.8262605342802782</c:v>
                </c:pt>
                <c:pt idx="1161">
                  <c:v>3.8305687898344987</c:v>
                </c:pt>
                <c:pt idx="1162">
                  <c:v>3.8348770453887182</c:v>
                </c:pt>
                <c:pt idx="1163">
                  <c:v>3.8391853009429378</c:v>
                </c:pt>
                <c:pt idx="1164">
                  <c:v>3.8434935564971582</c:v>
                </c:pt>
                <c:pt idx="1165">
                  <c:v>3.8478018120513777</c:v>
                </c:pt>
                <c:pt idx="1166">
                  <c:v>3.8521100676055982</c:v>
                </c:pt>
                <c:pt idx="1167">
                  <c:v>3.8564183231598177</c:v>
                </c:pt>
                <c:pt idx="1168">
                  <c:v>3.8607265787140372</c:v>
                </c:pt>
                <c:pt idx="1169">
                  <c:v>3.8650348342682577</c:v>
                </c:pt>
                <c:pt idx="1170">
                  <c:v>3.8693430898224772</c:v>
                </c:pt>
                <c:pt idx="1171">
                  <c:v>3.8736513453766976</c:v>
                </c:pt>
                <c:pt idx="1172">
                  <c:v>3.8779596009309172</c:v>
                </c:pt>
                <c:pt idx="1173">
                  <c:v>3.8822678564851376</c:v>
                </c:pt>
                <c:pt idx="1174">
                  <c:v>3.8865761120393572</c:v>
                </c:pt>
                <c:pt idx="1175">
                  <c:v>3.8908843675935767</c:v>
                </c:pt>
                <c:pt idx="1176">
                  <c:v>3.8951926231477971</c:v>
                </c:pt>
                <c:pt idx="1177">
                  <c:v>3.8995008787020167</c:v>
                </c:pt>
                <c:pt idx="1178">
                  <c:v>3.9038091342562371</c:v>
                </c:pt>
                <c:pt idx="1179">
                  <c:v>3.9081173898104566</c:v>
                </c:pt>
                <c:pt idx="1180">
                  <c:v>3.9124256453646762</c:v>
                </c:pt>
                <c:pt idx="1181">
                  <c:v>3.9167339009188966</c:v>
                </c:pt>
                <c:pt idx="1182">
                  <c:v>3.9210421564731162</c:v>
                </c:pt>
                <c:pt idx="1183">
                  <c:v>3.9253504120273366</c:v>
                </c:pt>
                <c:pt idx="1184">
                  <c:v>3.9296586675815561</c:v>
                </c:pt>
                <c:pt idx="1185">
                  <c:v>3.9339669231357757</c:v>
                </c:pt>
                <c:pt idx="1186">
                  <c:v>3.9382751786899961</c:v>
                </c:pt>
                <c:pt idx="1187">
                  <c:v>3.9425834342442156</c:v>
                </c:pt>
                <c:pt idx="1188">
                  <c:v>3.9468916897984361</c:v>
                </c:pt>
                <c:pt idx="1189">
                  <c:v>3.9511999453526556</c:v>
                </c:pt>
                <c:pt idx="1190">
                  <c:v>3.9555082009068752</c:v>
                </c:pt>
                <c:pt idx="1191">
                  <c:v>3.9598164564610956</c:v>
                </c:pt>
                <c:pt idx="1192">
                  <c:v>3.9641247120153151</c:v>
                </c:pt>
                <c:pt idx="1193">
                  <c:v>3.9684329675695356</c:v>
                </c:pt>
                <c:pt idx="1194">
                  <c:v>3.9727412231237551</c:v>
                </c:pt>
                <c:pt idx="1195">
                  <c:v>3.9770494786779755</c:v>
                </c:pt>
                <c:pt idx="1196">
                  <c:v>3.9813577342321951</c:v>
                </c:pt>
                <c:pt idx="1197">
                  <c:v>3.9856659897864146</c:v>
                </c:pt>
                <c:pt idx="1198">
                  <c:v>3.9899742453406351</c:v>
                </c:pt>
                <c:pt idx="1199">
                  <c:v>3.9942825008948546</c:v>
                </c:pt>
                <c:pt idx="1200">
                  <c:v>3.998590756449075</c:v>
                </c:pt>
                <c:pt idx="1201">
                  <c:v>4.0028990120032946</c:v>
                </c:pt>
                <c:pt idx="1202">
                  <c:v>4.0072072675575141</c:v>
                </c:pt>
                <c:pt idx="1203">
                  <c:v>4.0115155231117345</c:v>
                </c:pt>
                <c:pt idx="1204">
                  <c:v>4.0158237786659541</c:v>
                </c:pt>
                <c:pt idx="1205">
                  <c:v>4.0201320342201745</c:v>
                </c:pt>
                <c:pt idx="1206">
                  <c:v>4.0244402897743941</c:v>
                </c:pt>
                <c:pt idx="1207">
                  <c:v>4.0287485453286136</c:v>
                </c:pt>
                <c:pt idx="1208">
                  <c:v>4.033056800882834</c:v>
                </c:pt>
                <c:pt idx="1209">
                  <c:v>4.0373650564370536</c:v>
                </c:pt>
                <c:pt idx="1210">
                  <c:v>4.041673311991274</c:v>
                </c:pt>
                <c:pt idx="1211">
                  <c:v>4.0459815675454935</c:v>
                </c:pt>
                <c:pt idx="1212">
                  <c:v>4.050289823099714</c:v>
                </c:pt>
                <c:pt idx="1213">
                  <c:v>4.0545980786539335</c:v>
                </c:pt>
                <c:pt idx="1214">
                  <c:v>4.0589063342081531</c:v>
                </c:pt>
                <c:pt idx="1215">
                  <c:v>4.0632145897623735</c:v>
                </c:pt>
                <c:pt idx="1216">
                  <c:v>4.067522845316593</c:v>
                </c:pt>
                <c:pt idx="1217">
                  <c:v>4.0718311008708135</c:v>
                </c:pt>
                <c:pt idx="1218">
                  <c:v>4.076139356425033</c:v>
                </c:pt>
                <c:pt idx="1219">
                  <c:v>4.0804476119792525</c:v>
                </c:pt>
                <c:pt idx="1220">
                  <c:v>4.084755867533473</c:v>
                </c:pt>
                <c:pt idx="1221">
                  <c:v>4.0890641230876925</c:v>
                </c:pt>
                <c:pt idx="1222">
                  <c:v>4.0933723786419129</c:v>
                </c:pt>
                <c:pt idx="1223">
                  <c:v>4.0976806341961325</c:v>
                </c:pt>
                <c:pt idx="1224">
                  <c:v>4.101988889750352</c:v>
                </c:pt>
                <c:pt idx="1225">
                  <c:v>4.1062971453045725</c:v>
                </c:pt>
                <c:pt idx="1226">
                  <c:v>4.110605400858792</c:v>
                </c:pt>
                <c:pt idx="1227">
                  <c:v>4.1149136564130124</c:v>
                </c:pt>
                <c:pt idx="1228">
                  <c:v>4.119221911967232</c:v>
                </c:pt>
                <c:pt idx="1229">
                  <c:v>4.1235301675214515</c:v>
                </c:pt>
                <c:pt idx="1230">
                  <c:v>4.1278384230756719</c:v>
                </c:pt>
                <c:pt idx="1231">
                  <c:v>4.1321466786298915</c:v>
                </c:pt>
                <c:pt idx="1232">
                  <c:v>4.1364549341841119</c:v>
                </c:pt>
                <c:pt idx="1233">
                  <c:v>4.1407631897383315</c:v>
                </c:pt>
                <c:pt idx="1234">
                  <c:v>4.1450714452925519</c:v>
                </c:pt>
                <c:pt idx="1235">
                  <c:v>4.1493797008467714</c:v>
                </c:pt>
                <c:pt idx="1236">
                  <c:v>4.153687956400991</c:v>
                </c:pt>
                <c:pt idx="1237">
                  <c:v>4.1579962119552114</c:v>
                </c:pt>
                <c:pt idx="1238">
                  <c:v>4.1623044675094309</c:v>
                </c:pt>
                <c:pt idx="1239">
                  <c:v>4.1666127230636514</c:v>
                </c:pt>
                <c:pt idx="1240">
                  <c:v>4.1709209786178709</c:v>
                </c:pt>
                <c:pt idx="1241">
                  <c:v>4.1752292341720905</c:v>
                </c:pt>
                <c:pt idx="1242">
                  <c:v>4.1795374897263109</c:v>
                </c:pt>
                <c:pt idx="1243">
                  <c:v>4.1838457452805304</c:v>
                </c:pt>
                <c:pt idx="1244">
                  <c:v>4.1881540008347509</c:v>
                </c:pt>
                <c:pt idx="1245">
                  <c:v>4.1924622563889704</c:v>
                </c:pt>
                <c:pt idx="1246">
                  <c:v>4.19677051194319</c:v>
                </c:pt>
                <c:pt idx="1247">
                  <c:v>4.2010787674974104</c:v>
                </c:pt>
                <c:pt idx="1248">
                  <c:v>4.2053870230516299</c:v>
                </c:pt>
                <c:pt idx="1249">
                  <c:v>4.2096952786058504</c:v>
                </c:pt>
                <c:pt idx="1250">
                  <c:v>4.2140035341600699</c:v>
                </c:pt>
                <c:pt idx="1251">
                  <c:v>4.2183117897142903</c:v>
                </c:pt>
                <c:pt idx="1252">
                  <c:v>4.2226200452685099</c:v>
                </c:pt>
                <c:pt idx="1253">
                  <c:v>4.2269283008227294</c:v>
                </c:pt>
                <c:pt idx="1254">
                  <c:v>4.2312365563769498</c:v>
                </c:pt>
                <c:pt idx="1255">
                  <c:v>4.2355448119311694</c:v>
                </c:pt>
                <c:pt idx="1256">
                  <c:v>4.2398530674853898</c:v>
                </c:pt>
                <c:pt idx="1257">
                  <c:v>4.2441613230396094</c:v>
                </c:pt>
                <c:pt idx="1258">
                  <c:v>4.2484695785938289</c:v>
                </c:pt>
                <c:pt idx="1259">
                  <c:v>4.2527778341480493</c:v>
                </c:pt>
                <c:pt idx="1260">
                  <c:v>4.2570860897022689</c:v>
                </c:pt>
                <c:pt idx="1261">
                  <c:v>4.2613943452564893</c:v>
                </c:pt>
                <c:pt idx="1262">
                  <c:v>4.2657026008107088</c:v>
                </c:pt>
                <c:pt idx="1263">
                  <c:v>4.2700108563649284</c:v>
                </c:pt>
                <c:pt idx="1264">
                  <c:v>4.2743191119191488</c:v>
                </c:pt>
                <c:pt idx="1265">
                  <c:v>4.2786273674733684</c:v>
                </c:pt>
                <c:pt idx="1266">
                  <c:v>4.2829356230275888</c:v>
                </c:pt>
                <c:pt idx="1267">
                  <c:v>4.2872438785818083</c:v>
                </c:pt>
                <c:pt idx="1268">
                  <c:v>4.2915521341360279</c:v>
                </c:pt>
                <c:pt idx="1269">
                  <c:v>4.2958603896902483</c:v>
                </c:pt>
                <c:pt idx="1270">
                  <c:v>4.3001686452444678</c:v>
                </c:pt>
                <c:pt idx="1271">
                  <c:v>4.3044769007986883</c:v>
                </c:pt>
                <c:pt idx="1272">
                  <c:v>4.3087851563529078</c:v>
                </c:pt>
                <c:pt idx="1273">
                  <c:v>4.3130934119071282</c:v>
                </c:pt>
                <c:pt idx="1274">
                  <c:v>4.3174016674613478</c:v>
                </c:pt>
                <c:pt idx="1275">
                  <c:v>4.3217099230155673</c:v>
                </c:pt>
                <c:pt idx="1276">
                  <c:v>4.3260181785697878</c:v>
                </c:pt>
                <c:pt idx="1277">
                  <c:v>4.3303264341240073</c:v>
                </c:pt>
                <c:pt idx="1278">
                  <c:v>4.3346346896782277</c:v>
                </c:pt>
                <c:pt idx="1279">
                  <c:v>4.3389429452324473</c:v>
                </c:pt>
                <c:pt idx="1280">
                  <c:v>4.3432512007866668</c:v>
                </c:pt>
                <c:pt idx="1281">
                  <c:v>4.3475594563408873</c:v>
                </c:pt>
                <c:pt idx="1282">
                  <c:v>4.3518677118951068</c:v>
                </c:pt>
                <c:pt idx="1283">
                  <c:v>4.3561759674493272</c:v>
                </c:pt>
                <c:pt idx="1284">
                  <c:v>4.3604842230035468</c:v>
                </c:pt>
                <c:pt idx="1285">
                  <c:v>4.3647924785577663</c:v>
                </c:pt>
                <c:pt idx="1286">
                  <c:v>4.3691007341119867</c:v>
                </c:pt>
                <c:pt idx="1287">
                  <c:v>4.3734089896662063</c:v>
                </c:pt>
                <c:pt idx="1288">
                  <c:v>4.3777172452204267</c:v>
                </c:pt>
                <c:pt idx="1289">
                  <c:v>4.3820255007746463</c:v>
                </c:pt>
                <c:pt idx="1290">
                  <c:v>4.3863337563288667</c:v>
                </c:pt>
                <c:pt idx="1291">
                  <c:v>4.3906420118830862</c:v>
                </c:pt>
                <c:pt idx="1292">
                  <c:v>4.3949502674373058</c:v>
                </c:pt>
                <c:pt idx="1293">
                  <c:v>4.3992585229915262</c:v>
                </c:pt>
                <c:pt idx="1294">
                  <c:v>4.4035667785457457</c:v>
                </c:pt>
                <c:pt idx="1295">
                  <c:v>4.4078750340999662</c:v>
                </c:pt>
                <c:pt idx="1296">
                  <c:v>4.4121832896541857</c:v>
                </c:pt>
                <c:pt idx="1297">
                  <c:v>4.4164915452084053</c:v>
                </c:pt>
                <c:pt idx="1298">
                  <c:v>4.4207998007626257</c:v>
                </c:pt>
                <c:pt idx="1299">
                  <c:v>4.4251080563168452</c:v>
                </c:pt>
                <c:pt idx="1300">
                  <c:v>4.4294163118710657</c:v>
                </c:pt>
                <c:pt idx="1301">
                  <c:v>4.4337245674252852</c:v>
                </c:pt>
                <c:pt idx="1302">
                  <c:v>4.4380328229795047</c:v>
                </c:pt>
                <c:pt idx="1303">
                  <c:v>4.4423410785337252</c:v>
                </c:pt>
                <c:pt idx="1304">
                  <c:v>4.4466493340879447</c:v>
                </c:pt>
                <c:pt idx="1305">
                  <c:v>4.4509575896421651</c:v>
                </c:pt>
                <c:pt idx="1306">
                  <c:v>4.4552658451963847</c:v>
                </c:pt>
                <c:pt idx="1307">
                  <c:v>4.4595741007506042</c:v>
                </c:pt>
                <c:pt idx="1308">
                  <c:v>4.4638823563048247</c:v>
                </c:pt>
                <c:pt idx="1309">
                  <c:v>4.4681906118590442</c:v>
                </c:pt>
                <c:pt idx="1310">
                  <c:v>4.4724988674132646</c:v>
                </c:pt>
                <c:pt idx="1311">
                  <c:v>4.4768071229674842</c:v>
                </c:pt>
                <c:pt idx="1312">
                  <c:v>4.4811153785217046</c:v>
                </c:pt>
                <c:pt idx="1313">
                  <c:v>4.4854236340759241</c:v>
                </c:pt>
                <c:pt idx="1314">
                  <c:v>4.4897318896301437</c:v>
                </c:pt>
                <c:pt idx="1315">
                  <c:v>4.4940401451843641</c:v>
                </c:pt>
                <c:pt idx="1316">
                  <c:v>4.4983484007385837</c:v>
                </c:pt>
                <c:pt idx="1317">
                  <c:v>4.5026566562928041</c:v>
                </c:pt>
                <c:pt idx="1318">
                  <c:v>4.5069649118470236</c:v>
                </c:pt>
                <c:pt idx="1319">
                  <c:v>4.5112731674012432</c:v>
                </c:pt>
                <c:pt idx="1320">
                  <c:v>4.5155814229554636</c:v>
                </c:pt>
                <c:pt idx="1321">
                  <c:v>4.5198896785096832</c:v>
                </c:pt>
                <c:pt idx="1322">
                  <c:v>4.5241979340639036</c:v>
                </c:pt>
                <c:pt idx="1323">
                  <c:v>4.5285061896181231</c:v>
                </c:pt>
                <c:pt idx="1324">
                  <c:v>4.5328144451723427</c:v>
                </c:pt>
                <c:pt idx="1325">
                  <c:v>4.5371227007265631</c:v>
                </c:pt>
                <c:pt idx="1326">
                  <c:v>4.5414309562807826</c:v>
                </c:pt>
                <c:pt idx="1327">
                  <c:v>4.5457392118350031</c:v>
                </c:pt>
                <c:pt idx="1328">
                  <c:v>4.5500474673892226</c:v>
                </c:pt>
                <c:pt idx="1329">
                  <c:v>4.554355722943443</c:v>
                </c:pt>
                <c:pt idx="1330">
                  <c:v>4.5586639784976626</c:v>
                </c:pt>
                <c:pt idx="1331">
                  <c:v>4.5629722340518821</c:v>
                </c:pt>
                <c:pt idx="1332">
                  <c:v>4.5672804896061026</c:v>
                </c:pt>
                <c:pt idx="1333">
                  <c:v>4.5715887451603221</c:v>
                </c:pt>
                <c:pt idx="1334">
                  <c:v>4.5758970007145425</c:v>
                </c:pt>
                <c:pt idx="1335">
                  <c:v>4.5802052562687621</c:v>
                </c:pt>
                <c:pt idx="1336">
                  <c:v>4.5845135118229816</c:v>
                </c:pt>
                <c:pt idx="1337">
                  <c:v>4.588821767377202</c:v>
                </c:pt>
                <c:pt idx="1338">
                  <c:v>4.5931300229314216</c:v>
                </c:pt>
                <c:pt idx="1339">
                  <c:v>4.597438278485642</c:v>
                </c:pt>
                <c:pt idx="1340">
                  <c:v>4.6017465340398616</c:v>
                </c:pt>
                <c:pt idx="1341">
                  <c:v>4.6060547895940811</c:v>
                </c:pt>
                <c:pt idx="1342">
                  <c:v>4.6103630451483015</c:v>
                </c:pt>
                <c:pt idx="1343">
                  <c:v>4.6146713007025211</c:v>
                </c:pt>
                <c:pt idx="1344">
                  <c:v>4.6189795562567415</c:v>
                </c:pt>
                <c:pt idx="1345">
                  <c:v>4.623287811810961</c:v>
                </c:pt>
                <c:pt idx="1346">
                  <c:v>4.6275960673651806</c:v>
                </c:pt>
                <c:pt idx="1347">
                  <c:v>4.631904322919401</c:v>
                </c:pt>
                <c:pt idx="1348">
                  <c:v>4.6362125784736206</c:v>
                </c:pt>
                <c:pt idx="1349">
                  <c:v>4.640520834027841</c:v>
                </c:pt>
                <c:pt idx="1350">
                  <c:v>4.6448290895820605</c:v>
                </c:pt>
                <c:pt idx="1351">
                  <c:v>4.649137345136281</c:v>
                </c:pt>
                <c:pt idx="1352">
                  <c:v>4.6534456006905005</c:v>
                </c:pt>
                <c:pt idx="1353">
                  <c:v>4.65775385624472</c:v>
                </c:pt>
                <c:pt idx="1354">
                  <c:v>4.6620621117989405</c:v>
                </c:pt>
                <c:pt idx="1355">
                  <c:v>4.66637036735316</c:v>
                </c:pt>
                <c:pt idx="1356">
                  <c:v>4.6706786229073805</c:v>
                </c:pt>
                <c:pt idx="1357">
                  <c:v>4.6749868784616</c:v>
                </c:pt>
                <c:pt idx="1358">
                  <c:v>4.6792951340158195</c:v>
                </c:pt>
                <c:pt idx="1359">
                  <c:v>4.68360338957004</c:v>
                </c:pt>
                <c:pt idx="1360">
                  <c:v>4.6879116451242595</c:v>
                </c:pt>
                <c:pt idx="1361">
                  <c:v>4.6922199006784799</c:v>
                </c:pt>
                <c:pt idx="1362">
                  <c:v>4.6965281562326995</c:v>
                </c:pt>
                <c:pt idx="1363">
                  <c:v>4.700836411786919</c:v>
                </c:pt>
                <c:pt idx="1364">
                  <c:v>4.7051446673411395</c:v>
                </c:pt>
                <c:pt idx="1365">
                  <c:v>4.709452922895359</c:v>
                </c:pt>
                <c:pt idx="1366">
                  <c:v>4.7137611784495794</c:v>
                </c:pt>
                <c:pt idx="1367">
                  <c:v>4.718069434003799</c:v>
                </c:pt>
                <c:pt idx="1368">
                  <c:v>4.7223776895580194</c:v>
                </c:pt>
                <c:pt idx="1369">
                  <c:v>4.7266859451122389</c:v>
                </c:pt>
                <c:pt idx="1370">
                  <c:v>4.7309942006664585</c:v>
                </c:pt>
                <c:pt idx="1371">
                  <c:v>4.7353024562206789</c:v>
                </c:pt>
                <c:pt idx="1372">
                  <c:v>4.7396107117748985</c:v>
                </c:pt>
                <c:pt idx="1373">
                  <c:v>4.7439189673291189</c:v>
                </c:pt>
                <c:pt idx="1374">
                  <c:v>4.7482272228833384</c:v>
                </c:pt>
                <c:pt idx="1375">
                  <c:v>4.752535478437558</c:v>
                </c:pt>
                <c:pt idx="1376">
                  <c:v>4.7568437339917784</c:v>
                </c:pt>
                <c:pt idx="1377">
                  <c:v>4.7611519895459979</c:v>
                </c:pt>
                <c:pt idx="1378">
                  <c:v>4.7654602451002184</c:v>
                </c:pt>
                <c:pt idx="1379">
                  <c:v>4.7697685006544379</c:v>
                </c:pt>
                <c:pt idx="1380">
                  <c:v>4.7740767562086575</c:v>
                </c:pt>
                <c:pt idx="1381">
                  <c:v>4.7783850117628779</c:v>
                </c:pt>
                <c:pt idx="1382">
                  <c:v>4.7826932673170974</c:v>
                </c:pt>
                <c:pt idx="1383">
                  <c:v>4.7870015228713179</c:v>
                </c:pt>
                <c:pt idx="1384">
                  <c:v>4.7913097784255374</c:v>
                </c:pt>
                <c:pt idx="1385">
                  <c:v>4.7956180339797569</c:v>
                </c:pt>
              </c:numCache>
            </c:numRef>
          </c:val>
          <c:smooth val="0"/>
          <c:extLst>
            <c:ext xmlns:c16="http://schemas.microsoft.com/office/drawing/2014/chart" uri="{C3380CC4-5D6E-409C-BE32-E72D297353CC}">
              <c16:uniqueId val="{00000003-4E59-4C2C-826E-B03C6093D23B}"/>
            </c:ext>
          </c:extLst>
        </c:ser>
        <c:dLbls>
          <c:showLegendKey val="0"/>
          <c:showVal val="0"/>
          <c:showCatName val="0"/>
          <c:showSerName val="0"/>
          <c:showPercent val="0"/>
          <c:showBubbleSize val="0"/>
        </c:dLbls>
        <c:marker val="1"/>
        <c:smooth val="0"/>
        <c:axId val="12835583"/>
        <c:axId val="32238288"/>
      </c:lineChart>
      <c:dateAx>
        <c:axId val="927020303"/>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months"/>
        <c:majorUnit val="6"/>
        <c:majorTimeUnit val="years"/>
      </c:dateAx>
      <c:valAx>
        <c:axId val="927021967"/>
        <c:scaling>
          <c:orientation val="minMax"/>
          <c:max val="6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dispUnits>
          <c:builtInUnit val="hundreds"/>
        </c:dispUnits>
      </c:valAx>
      <c:valAx>
        <c:axId val="3223828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2835583"/>
        <c:crosses val="max"/>
        <c:crossBetween val="between"/>
      </c:valAx>
      <c:dateAx>
        <c:axId val="12835583"/>
        <c:scaling>
          <c:orientation val="minMax"/>
        </c:scaling>
        <c:delete val="1"/>
        <c:axPos val="b"/>
        <c:numFmt formatCode="m/d/yyyy" sourceLinked="1"/>
        <c:majorTickMark val="out"/>
        <c:minorTickMark val="none"/>
        <c:tickLblPos val="nextTo"/>
        <c:crossAx val="32238288"/>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672565413859361E-2"/>
          <c:y val="0.16678732866724993"/>
          <c:w val="0.9309897439007544"/>
          <c:h val="0.64248031496062996"/>
        </c:manualLayout>
      </c:layout>
      <c:areaChart>
        <c:grouping val="standard"/>
        <c:varyColors val="0"/>
        <c:ser>
          <c:idx val="0"/>
          <c:order val="0"/>
          <c:tx>
            <c:strRef>
              <c:f>Sheet1!$R$12</c:f>
              <c:strCache>
                <c:ptCount val="1"/>
                <c:pt idx="0">
                  <c:v>S&amp;P 500-Bullenmärkte seit 1935 (Preisänderung)</c:v>
                </c:pt>
              </c:strCache>
            </c:strRef>
          </c:tx>
          <c:spPr>
            <a:solidFill>
              <a:schemeClr val="accent1"/>
            </a:solidFill>
            <a:ln>
              <a:noFill/>
            </a:ln>
            <a:effectLst/>
          </c:spPr>
          <c:cat>
            <c:strRef>
              <c:f>Sheet1!$P$14:$P$25259</c:f>
              <c:strCache>
                <c:ptCount val="24166"/>
                <c:pt idx="0">
                  <c:v>25.11.2024</c:v>
                </c:pt>
                <c:pt idx="1">
                  <c:v>22.11.2024</c:v>
                </c:pt>
                <c:pt idx="2">
                  <c:v>21.11.2024</c:v>
                </c:pt>
                <c:pt idx="3">
                  <c:v>20.11.2024</c:v>
                </c:pt>
                <c:pt idx="4">
                  <c:v>19.11.2024</c:v>
                </c:pt>
                <c:pt idx="5">
                  <c:v>18.11.2024</c:v>
                </c:pt>
                <c:pt idx="6">
                  <c:v>15.11.2024</c:v>
                </c:pt>
                <c:pt idx="7">
                  <c:v>14.11.2024</c:v>
                </c:pt>
                <c:pt idx="8">
                  <c:v>13.11.2024</c:v>
                </c:pt>
                <c:pt idx="9">
                  <c:v>12.11.2024</c:v>
                </c:pt>
                <c:pt idx="10">
                  <c:v>11.11.2024</c:v>
                </c:pt>
                <c:pt idx="11">
                  <c:v>08.11.2024</c:v>
                </c:pt>
                <c:pt idx="12">
                  <c:v>07.11.2024</c:v>
                </c:pt>
                <c:pt idx="13">
                  <c:v>06.11.2024</c:v>
                </c:pt>
                <c:pt idx="14">
                  <c:v>05.11.2024</c:v>
                </c:pt>
                <c:pt idx="15">
                  <c:v>04.11.2024</c:v>
                </c:pt>
                <c:pt idx="16">
                  <c:v>01.11.2024</c:v>
                </c:pt>
                <c:pt idx="17">
                  <c:v>31.10.2024</c:v>
                </c:pt>
                <c:pt idx="18">
                  <c:v>30.10.2024</c:v>
                </c:pt>
                <c:pt idx="19">
                  <c:v>29.10.2024</c:v>
                </c:pt>
                <c:pt idx="20">
                  <c:v>28.10.2024</c:v>
                </c:pt>
                <c:pt idx="21">
                  <c:v>25.10.2024</c:v>
                </c:pt>
                <c:pt idx="22">
                  <c:v>24.10.2024</c:v>
                </c:pt>
                <c:pt idx="23">
                  <c:v>23.10.2024</c:v>
                </c:pt>
                <c:pt idx="24">
                  <c:v>22.10.2024</c:v>
                </c:pt>
                <c:pt idx="25">
                  <c:v>21.10.2024</c:v>
                </c:pt>
                <c:pt idx="26">
                  <c:v>18.10.2024</c:v>
                </c:pt>
                <c:pt idx="27">
                  <c:v>17.10.2024</c:v>
                </c:pt>
                <c:pt idx="28">
                  <c:v>16.10.2024</c:v>
                </c:pt>
                <c:pt idx="29">
                  <c:v>15.10.2024</c:v>
                </c:pt>
                <c:pt idx="30">
                  <c:v>14.10.2024</c:v>
                </c:pt>
                <c:pt idx="31">
                  <c:v>11.10.2024</c:v>
                </c:pt>
                <c:pt idx="32">
                  <c:v>10.10.2024</c:v>
                </c:pt>
                <c:pt idx="33">
                  <c:v>09.10.2024</c:v>
                </c:pt>
                <c:pt idx="34">
                  <c:v>08.10.2024</c:v>
                </c:pt>
                <c:pt idx="35">
                  <c:v>07.10.2024</c:v>
                </c:pt>
                <c:pt idx="36">
                  <c:v>04.10.2024</c:v>
                </c:pt>
                <c:pt idx="37">
                  <c:v>03.10.2024</c:v>
                </c:pt>
                <c:pt idx="38">
                  <c:v>02.10.2024</c:v>
                </c:pt>
                <c:pt idx="39">
                  <c:v>01.10.2024</c:v>
                </c:pt>
                <c:pt idx="40">
                  <c:v>30.09.2024</c:v>
                </c:pt>
                <c:pt idx="41">
                  <c:v>27.09.2024</c:v>
                </c:pt>
                <c:pt idx="42">
                  <c:v>26.09.2024</c:v>
                </c:pt>
                <c:pt idx="43">
                  <c:v>25.09.2024</c:v>
                </c:pt>
                <c:pt idx="44">
                  <c:v>24.09.2024</c:v>
                </c:pt>
                <c:pt idx="45">
                  <c:v>23.09.2024</c:v>
                </c:pt>
                <c:pt idx="46">
                  <c:v>20.09.2024</c:v>
                </c:pt>
                <c:pt idx="47">
                  <c:v>19.09.2024</c:v>
                </c:pt>
                <c:pt idx="48">
                  <c:v>18.09.2024</c:v>
                </c:pt>
                <c:pt idx="49">
                  <c:v>17.09.2024</c:v>
                </c:pt>
                <c:pt idx="50">
                  <c:v>16.09.2024</c:v>
                </c:pt>
                <c:pt idx="51">
                  <c:v>13.09.2024</c:v>
                </c:pt>
                <c:pt idx="52">
                  <c:v>12.09.2024</c:v>
                </c:pt>
                <c:pt idx="53">
                  <c:v>11.09.2024</c:v>
                </c:pt>
                <c:pt idx="54">
                  <c:v>10.09.2024</c:v>
                </c:pt>
                <c:pt idx="55">
                  <c:v>09.09.2024</c:v>
                </c:pt>
                <c:pt idx="56">
                  <c:v>06.09.2024</c:v>
                </c:pt>
                <c:pt idx="57">
                  <c:v>05.09.2024</c:v>
                </c:pt>
                <c:pt idx="58">
                  <c:v>04.09.2024</c:v>
                </c:pt>
                <c:pt idx="59">
                  <c:v>03.09.2024</c:v>
                </c:pt>
                <c:pt idx="60">
                  <c:v>30.08.2024</c:v>
                </c:pt>
                <c:pt idx="61">
                  <c:v>29.08.2024</c:v>
                </c:pt>
                <c:pt idx="62">
                  <c:v>28.08.2024</c:v>
                </c:pt>
                <c:pt idx="63">
                  <c:v>27.08.2024</c:v>
                </c:pt>
                <c:pt idx="64">
                  <c:v>26.08.2024</c:v>
                </c:pt>
                <c:pt idx="65">
                  <c:v>23.08.2024</c:v>
                </c:pt>
                <c:pt idx="66">
                  <c:v>22.08.2024</c:v>
                </c:pt>
                <c:pt idx="67">
                  <c:v>21.08.2024</c:v>
                </c:pt>
                <c:pt idx="68">
                  <c:v>20.08.2024</c:v>
                </c:pt>
                <c:pt idx="69">
                  <c:v>19.08.2024</c:v>
                </c:pt>
                <c:pt idx="70">
                  <c:v>16.08.2024</c:v>
                </c:pt>
                <c:pt idx="71">
                  <c:v>15.08.2024</c:v>
                </c:pt>
                <c:pt idx="72">
                  <c:v>14.08.2024</c:v>
                </c:pt>
                <c:pt idx="73">
                  <c:v>13.08.2024</c:v>
                </c:pt>
                <c:pt idx="74">
                  <c:v>12.08.2024</c:v>
                </c:pt>
                <c:pt idx="75">
                  <c:v>09.08.2024</c:v>
                </c:pt>
                <c:pt idx="76">
                  <c:v>08.08.2024</c:v>
                </c:pt>
                <c:pt idx="77">
                  <c:v>07.08.2024</c:v>
                </c:pt>
                <c:pt idx="78">
                  <c:v>06.08.2024</c:v>
                </c:pt>
                <c:pt idx="79">
                  <c:v>05.08.2024</c:v>
                </c:pt>
                <c:pt idx="80">
                  <c:v>02.08.2024</c:v>
                </c:pt>
                <c:pt idx="81">
                  <c:v>01.08.2024</c:v>
                </c:pt>
                <c:pt idx="82">
                  <c:v>31.07.2024</c:v>
                </c:pt>
                <c:pt idx="83">
                  <c:v>30.07.2024</c:v>
                </c:pt>
                <c:pt idx="84">
                  <c:v>29.07.2024</c:v>
                </c:pt>
                <c:pt idx="85">
                  <c:v>26.07.2024</c:v>
                </c:pt>
                <c:pt idx="86">
                  <c:v>25.07.2024</c:v>
                </c:pt>
                <c:pt idx="87">
                  <c:v>24.07.2024</c:v>
                </c:pt>
                <c:pt idx="88">
                  <c:v>23.07.2024</c:v>
                </c:pt>
                <c:pt idx="89">
                  <c:v>22.07.2024</c:v>
                </c:pt>
                <c:pt idx="90">
                  <c:v>19.07.2024</c:v>
                </c:pt>
                <c:pt idx="91">
                  <c:v>18.07.2024</c:v>
                </c:pt>
                <c:pt idx="92">
                  <c:v>17.07.2024</c:v>
                </c:pt>
                <c:pt idx="93">
                  <c:v>16.07.2024</c:v>
                </c:pt>
                <c:pt idx="94">
                  <c:v>15.07.2024</c:v>
                </c:pt>
                <c:pt idx="95">
                  <c:v>12.07.2024</c:v>
                </c:pt>
                <c:pt idx="96">
                  <c:v>11.07.2024</c:v>
                </c:pt>
                <c:pt idx="97">
                  <c:v>10.07.2024</c:v>
                </c:pt>
                <c:pt idx="98">
                  <c:v>09.07.2024</c:v>
                </c:pt>
                <c:pt idx="99">
                  <c:v>08.07.2024</c:v>
                </c:pt>
                <c:pt idx="100">
                  <c:v>05.07.2024</c:v>
                </c:pt>
                <c:pt idx="101">
                  <c:v>03.07.2024</c:v>
                </c:pt>
                <c:pt idx="102">
                  <c:v>02.07.2024</c:v>
                </c:pt>
                <c:pt idx="103">
                  <c:v>01.07.2024</c:v>
                </c:pt>
                <c:pt idx="104">
                  <c:v>28.06.2024</c:v>
                </c:pt>
                <c:pt idx="105">
                  <c:v>27.06.2024</c:v>
                </c:pt>
                <c:pt idx="106">
                  <c:v>26.06.2024</c:v>
                </c:pt>
                <c:pt idx="107">
                  <c:v>25.06.2024</c:v>
                </c:pt>
                <c:pt idx="108">
                  <c:v>24.06.2024</c:v>
                </c:pt>
                <c:pt idx="109">
                  <c:v>21.06.2024</c:v>
                </c:pt>
                <c:pt idx="110">
                  <c:v>20.06.2024</c:v>
                </c:pt>
                <c:pt idx="111">
                  <c:v>18.06.2024</c:v>
                </c:pt>
                <c:pt idx="112">
                  <c:v>17.06.2024</c:v>
                </c:pt>
                <c:pt idx="113">
                  <c:v>14.06.2024</c:v>
                </c:pt>
                <c:pt idx="114">
                  <c:v>13.06.2024</c:v>
                </c:pt>
                <c:pt idx="115">
                  <c:v>12.06.2024</c:v>
                </c:pt>
                <c:pt idx="116">
                  <c:v>11.06.2024</c:v>
                </c:pt>
                <c:pt idx="117">
                  <c:v>10.06.2024</c:v>
                </c:pt>
                <c:pt idx="118">
                  <c:v>07.06.2024</c:v>
                </c:pt>
                <c:pt idx="119">
                  <c:v>06.06.2024</c:v>
                </c:pt>
                <c:pt idx="120">
                  <c:v>05.06.2024</c:v>
                </c:pt>
                <c:pt idx="121">
                  <c:v>04.06.2024</c:v>
                </c:pt>
                <c:pt idx="122">
                  <c:v>03.06.2024</c:v>
                </c:pt>
                <c:pt idx="123">
                  <c:v>31.05.2024</c:v>
                </c:pt>
                <c:pt idx="124">
                  <c:v>30.05.2024</c:v>
                </c:pt>
                <c:pt idx="125">
                  <c:v>29.05.2024</c:v>
                </c:pt>
                <c:pt idx="126">
                  <c:v>28.05.2024</c:v>
                </c:pt>
                <c:pt idx="127">
                  <c:v>24.05.2024</c:v>
                </c:pt>
                <c:pt idx="128">
                  <c:v>23.05.2024</c:v>
                </c:pt>
                <c:pt idx="129">
                  <c:v>22.05.2024</c:v>
                </c:pt>
                <c:pt idx="130">
                  <c:v>21.05.2024</c:v>
                </c:pt>
                <c:pt idx="131">
                  <c:v>20.05.2024</c:v>
                </c:pt>
                <c:pt idx="132">
                  <c:v>17.05.2024</c:v>
                </c:pt>
                <c:pt idx="133">
                  <c:v>16.05.2024</c:v>
                </c:pt>
                <c:pt idx="134">
                  <c:v>15.05.2024</c:v>
                </c:pt>
                <c:pt idx="135">
                  <c:v>14.05.2024</c:v>
                </c:pt>
                <c:pt idx="136">
                  <c:v>13.05.2024</c:v>
                </c:pt>
                <c:pt idx="137">
                  <c:v>10.05.2024</c:v>
                </c:pt>
                <c:pt idx="138">
                  <c:v>09.05.2024</c:v>
                </c:pt>
                <c:pt idx="139">
                  <c:v>08.05.2024</c:v>
                </c:pt>
                <c:pt idx="140">
                  <c:v>07.05.2024</c:v>
                </c:pt>
                <c:pt idx="141">
                  <c:v>06.05.2024</c:v>
                </c:pt>
                <c:pt idx="142">
                  <c:v>03.05.2024</c:v>
                </c:pt>
                <c:pt idx="143">
                  <c:v>02.05.2024</c:v>
                </c:pt>
                <c:pt idx="144">
                  <c:v>01.05.2024</c:v>
                </c:pt>
                <c:pt idx="145">
                  <c:v>30.04.2024</c:v>
                </c:pt>
                <c:pt idx="146">
                  <c:v>29.04.2024</c:v>
                </c:pt>
                <c:pt idx="147">
                  <c:v>26.04.2024</c:v>
                </c:pt>
                <c:pt idx="148">
                  <c:v>25.04.2024</c:v>
                </c:pt>
                <c:pt idx="149">
                  <c:v>24.04.2024</c:v>
                </c:pt>
                <c:pt idx="150">
                  <c:v>23.04.2024</c:v>
                </c:pt>
                <c:pt idx="151">
                  <c:v>22.04.2024</c:v>
                </c:pt>
                <c:pt idx="152">
                  <c:v>19.04.2024</c:v>
                </c:pt>
                <c:pt idx="153">
                  <c:v>18.04.2024</c:v>
                </c:pt>
                <c:pt idx="154">
                  <c:v>17.04.2024</c:v>
                </c:pt>
                <c:pt idx="155">
                  <c:v>16.04.2024</c:v>
                </c:pt>
                <c:pt idx="156">
                  <c:v>15.04.2024</c:v>
                </c:pt>
                <c:pt idx="157">
                  <c:v>12.04.2024</c:v>
                </c:pt>
                <c:pt idx="158">
                  <c:v>11.04.2024</c:v>
                </c:pt>
                <c:pt idx="159">
                  <c:v>10.04.2024</c:v>
                </c:pt>
                <c:pt idx="160">
                  <c:v>09.04.2024</c:v>
                </c:pt>
                <c:pt idx="161">
                  <c:v>08.04.2024</c:v>
                </c:pt>
                <c:pt idx="162">
                  <c:v>05.04.2024</c:v>
                </c:pt>
                <c:pt idx="163">
                  <c:v>04.04.2024</c:v>
                </c:pt>
                <c:pt idx="164">
                  <c:v>03.04.2024</c:v>
                </c:pt>
                <c:pt idx="165">
                  <c:v>02.04.2024</c:v>
                </c:pt>
                <c:pt idx="166">
                  <c:v>01.04.2024</c:v>
                </c:pt>
                <c:pt idx="167">
                  <c:v>28.03.2024</c:v>
                </c:pt>
                <c:pt idx="168">
                  <c:v>27.03.2024</c:v>
                </c:pt>
                <c:pt idx="169">
                  <c:v>26.03.2024</c:v>
                </c:pt>
                <c:pt idx="170">
                  <c:v>25.03.2024</c:v>
                </c:pt>
                <c:pt idx="171">
                  <c:v>22.03.2024</c:v>
                </c:pt>
                <c:pt idx="172">
                  <c:v>21.03.2024</c:v>
                </c:pt>
                <c:pt idx="173">
                  <c:v>20.03.2024</c:v>
                </c:pt>
                <c:pt idx="174">
                  <c:v>19.03.2024</c:v>
                </c:pt>
                <c:pt idx="175">
                  <c:v>18.03.2024</c:v>
                </c:pt>
                <c:pt idx="176">
                  <c:v>15.03.2024</c:v>
                </c:pt>
                <c:pt idx="177">
                  <c:v>14.03.2024</c:v>
                </c:pt>
                <c:pt idx="178">
                  <c:v>13.03.2024</c:v>
                </c:pt>
                <c:pt idx="179">
                  <c:v>12.03.2024</c:v>
                </c:pt>
                <c:pt idx="180">
                  <c:v>11.03.2024</c:v>
                </c:pt>
                <c:pt idx="181">
                  <c:v>08.03.2024</c:v>
                </c:pt>
                <c:pt idx="182">
                  <c:v>07.03.2024</c:v>
                </c:pt>
                <c:pt idx="183">
                  <c:v>06.03.2024</c:v>
                </c:pt>
                <c:pt idx="184">
                  <c:v>05.03.2024</c:v>
                </c:pt>
                <c:pt idx="185">
                  <c:v>04.03.2024</c:v>
                </c:pt>
                <c:pt idx="186">
                  <c:v>01.03.2024</c:v>
                </c:pt>
                <c:pt idx="187">
                  <c:v>29.02.2024</c:v>
                </c:pt>
                <c:pt idx="188">
                  <c:v>28.02.2024</c:v>
                </c:pt>
                <c:pt idx="189">
                  <c:v>27.02.2024</c:v>
                </c:pt>
                <c:pt idx="190">
                  <c:v>26.02.2024</c:v>
                </c:pt>
                <c:pt idx="191">
                  <c:v>23.02.2024</c:v>
                </c:pt>
                <c:pt idx="192">
                  <c:v>22.02.2024</c:v>
                </c:pt>
                <c:pt idx="193">
                  <c:v>21.02.2024</c:v>
                </c:pt>
                <c:pt idx="194">
                  <c:v>20.02.2024</c:v>
                </c:pt>
                <c:pt idx="195">
                  <c:v>16.02.2024</c:v>
                </c:pt>
                <c:pt idx="196">
                  <c:v>15.02.2024</c:v>
                </c:pt>
                <c:pt idx="197">
                  <c:v>14.02.2024</c:v>
                </c:pt>
                <c:pt idx="198">
                  <c:v>13.02.2024</c:v>
                </c:pt>
                <c:pt idx="199">
                  <c:v>12.02.2024</c:v>
                </c:pt>
                <c:pt idx="200">
                  <c:v>09.02.2024</c:v>
                </c:pt>
                <c:pt idx="201">
                  <c:v>08.02.2024</c:v>
                </c:pt>
                <c:pt idx="202">
                  <c:v>07.02.2024</c:v>
                </c:pt>
                <c:pt idx="203">
                  <c:v>06.02.2024</c:v>
                </c:pt>
                <c:pt idx="204">
                  <c:v>05.02.2024</c:v>
                </c:pt>
                <c:pt idx="205">
                  <c:v>02.02.2024</c:v>
                </c:pt>
                <c:pt idx="206">
                  <c:v>01.02.2024</c:v>
                </c:pt>
                <c:pt idx="207">
                  <c:v>31.01.2024</c:v>
                </c:pt>
                <c:pt idx="208">
                  <c:v>30.01.2024</c:v>
                </c:pt>
                <c:pt idx="209">
                  <c:v>29.01.2024</c:v>
                </c:pt>
                <c:pt idx="210">
                  <c:v>26.01.2024</c:v>
                </c:pt>
                <c:pt idx="211">
                  <c:v>25.01.2024</c:v>
                </c:pt>
                <c:pt idx="212">
                  <c:v>24.01.2024</c:v>
                </c:pt>
                <c:pt idx="213">
                  <c:v>23.01.2024</c:v>
                </c:pt>
                <c:pt idx="214">
                  <c:v>22.01.2024</c:v>
                </c:pt>
                <c:pt idx="215">
                  <c:v>19.01.2024</c:v>
                </c:pt>
                <c:pt idx="216">
                  <c:v>18.01.2024</c:v>
                </c:pt>
                <c:pt idx="217">
                  <c:v>17.01.2024</c:v>
                </c:pt>
                <c:pt idx="218">
                  <c:v>16.01.2024</c:v>
                </c:pt>
                <c:pt idx="219">
                  <c:v>12.01.2024</c:v>
                </c:pt>
                <c:pt idx="220">
                  <c:v>11.01.2024</c:v>
                </c:pt>
                <c:pt idx="221">
                  <c:v>10.01.2024</c:v>
                </c:pt>
                <c:pt idx="222">
                  <c:v>09.01.2024</c:v>
                </c:pt>
                <c:pt idx="223">
                  <c:v>08.01.2024</c:v>
                </c:pt>
                <c:pt idx="224">
                  <c:v>05.01.2024</c:v>
                </c:pt>
                <c:pt idx="225">
                  <c:v>04.01.2024</c:v>
                </c:pt>
                <c:pt idx="226">
                  <c:v>03.01.2024</c:v>
                </c:pt>
                <c:pt idx="227">
                  <c:v>02.01.2024</c:v>
                </c:pt>
                <c:pt idx="228">
                  <c:v>29.12.2023</c:v>
                </c:pt>
                <c:pt idx="229">
                  <c:v>28.12.2023</c:v>
                </c:pt>
                <c:pt idx="230">
                  <c:v>27.12.2023</c:v>
                </c:pt>
                <c:pt idx="231">
                  <c:v>26.12.2023</c:v>
                </c:pt>
                <c:pt idx="232">
                  <c:v>22.12.2023</c:v>
                </c:pt>
                <c:pt idx="233">
                  <c:v>21.12.2023</c:v>
                </c:pt>
                <c:pt idx="234">
                  <c:v>20.12.2023</c:v>
                </c:pt>
                <c:pt idx="235">
                  <c:v>19.12.2023</c:v>
                </c:pt>
                <c:pt idx="236">
                  <c:v>18.12.2023</c:v>
                </c:pt>
                <c:pt idx="237">
                  <c:v>15.12.2023</c:v>
                </c:pt>
                <c:pt idx="238">
                  <c:v>14.12.2023</c:v>
                </c:pt>
                <c:pt idx="239">
                  <c:v>13.12.2023</c:v>
                </c:pt>
                <c:pt idx="240">
                  <c:v>12.12.2023</c:v>
                </c:pt>
                <c:pt idx="241">
                  <c:v>11.12.2023</c:v>
                </c:pt>
                <c:pt idx="242">
                  <c:v>08.12.2023</c:v>
                </c:pt>
                <c:pt idx="243">
                  <c:v>07.12.2023</c:v>
                </c:pt>
                <c:pt idx="244">
                  <c:v>06.12.2023</c:v>
                </c:pt>
                <c:pt idx="245">
                  <c:v>05.12.2023</c:v>
                </c:pt>
                <c:pt idx="246">
                  <c:v>04.12.2023</c:v>
                </c:pt>
                <c:pt idx="247">
                  <c:v>01.12.2023</c:v>
                </c:pt>
                <c:pt idx="248">
                  <c:v>30.11.2023</c:v>
                </c:pt>
                <c:pt idx="249">
                  <c:v>29.11.2023</c:v>
                </c:pt>
                <c:pt idx="250">
                  <c:v>28.11.2023</c:v>
                </c:pt>
                <c:pt idx="251">
                  <c:v>27.11.2023</c:v>
                </c:pt>
                <c:pt idx="252">
                  <c:v>24.11.2023</c:v>
                </c:pt>
                <c:pt idx="253">
                  <c:v>22.11.2023</c:v>
                </c:pt>
                <c:pt idx="254">
                  <c:v>21.11.2023</c:v>
                </c:pt>
                <c:pt idx="255">
                  <c:v>20.11.2023</c:v>
                </c:pt>
                <c:pt idx="256">
                  <c:v>17.11.2023</c:v>
                </c:pt>
                <c:pt idx="257">
                  <c:v>16.11.2023</c:v>
                </c:pt>
                <c:pt idx="258">
                  <c:v>15.11.2023</c:v>
                </c:pt>
                <c:pt idx="259">
                  <c:v>14.11.2023</c:v>
                </c:pt>
                <c:pt idx="260">
                  <c:v>13.11.2023</c:v>
                </c:pt>
                <c:pt idx="261">
                  <c:v>10.11.2023</c:v>
                </c:pt>
                <c:pt idx="262">
                  <c:v>09.11.2023</c:v>
                </c:pt>
                <c:pt idx="263">
                  <c:v>08.11.2023</c:v>
                </c:pt>
                <c:pt idx="264">
                  <c:v>07.11.2023</c:v>
                </c:pt>
                <c:pt idx="265">
                  <c:v>06.11.2023</c:v>
                </c:pt>
                <c:pt idx="266">
                  <c:v>03.11.2023</c:v>
                </c:pt>
                <c:pt idx="267">
                  <c:v>02.11.2023</c:v>
                </c:pt>
                <c:pt idx="268">
                  <c:v>01.11.2023</c:v>
                </c:pt>
                <c:pt idx="269">
                  <c:v>31.10.2023</c:v>
                </c:pt>
                <c:pt idx="270">
                  <c:v>30.10.2023</c:v>
                </c:pt>
                <c:pt idx="271">
                  <c:v>27.10.2023</c:v>
                </c:pt>
                <c:pt idx="272">
                  <c:v>26.10.2023</c:v>
                </c:pt>
                <c:pt idx="273">
                  <c:v>25.10.2023</c:v>
                </c:pt>
                <c:pt idx="274">
                  <c:v>24.10.2023</c:v>
                </c:pt>
                <c:pt idx="275">
                  <c:v>23.10.2023</c:v>
                </c:pt>
                <c:pt idx="276">
                  <c:v>20.10.2023</c:v>
                </c:pt>
                <c:pt idx="277">
                  <c:v>19.10.2023</c:v>
                </c:pt>
                <c:pt idx="278">
                  <c:v>18.10.2023</c:v>
                </c:pt>
                <c:pt idx="279">
                  <c:v>17.10.2023</c:v>
                </c:pt>
                <c:pt idx="280">
                  <c:v>16.10.2023</c:v>
                </c:pt>
                <c:pt idx="281">
                  <c:v>13.10.2023</c:v>
                </c:pt>
                <c:pt idx="282">
                  <c:v>12.10.2023</c:v>
                </c:pt>
                <c:pt idx="283">
                  <c:v>11.10.2023</c:v>
                </c:pt>
                <c:pt idx="284">
                  <c:v>10.10.2023</c:v>
                </c:pt>
                <c:pt idx="285">
                  <c:v>09.10.2023</c:v>
                </c:pt>
                <c:pt idx="286">
                  <c:v>06.10.2023</c:v>
                </c:pt>
                <c:pt idx="287">
                  <c:v>05.10.2023</c:v>
                </c:pt>
                <c:pt idx="288">
                  <c:v>04.10.2023</c:v>
                </c:pt>
                <c:pt idx="289">
                  <c:v>03.10.2023</c:v>
                </c:pt>
                <c:pt idx="290">
                  <c:v>02.10.2023</c:v>
                </c:pt>
                <c:pt idx="291">
                  <c:v>29.09.2023</c:v>
                </c:pt>
                <c:pt idx="292">
                  <c:v>28.09.2023</c:v>
                </c:pt>
                <c:pt idx="293">
                  <c:v>27.09.2023</c:v>
                </c:pt>
                <c:pt idx="294">
                  <c:v>26.09.2023</c:v>
                </c:pt>
                <c:pt idx="295">
                  <c:v>25.09.2023</c:v>
                </c:pt>
                <c:pt idx="296">
                  <c:v>22.09.2023</c:v>
                </c:pt>
                <c:pt idx="297">
                  <c:v>21.09.2023</c:v>
                </c:pt>
                <c:pt idx="298">
                  <c:v>20.09.2023</c:v>
                </c:pt>
                <c:pt idx="299">
                  <c:v>19.09.2023</c:v>
                </c:pt>
                <c:pt idx="300">
                  <c:v>18.09.2023</c:v>
                </c:pt>
                <c:pt idx="301">
                  <c:v>15.09.2023</c:v>
                </c:pt>
                <c:pt idx="302">
                  <c:v>14.09.2023</c:v>
                </c:pt>
                <c:pt idx="303">
                  <c:v>13.09.2023</c:v>
                </c:pt>
                <c:pt idx="304">
                  <c:v>12.09.2023</c:v>
                </c:pt>
                <c:pt idx="305">
                  <c:v>11.09.2023</c:v>
                </c:pt>
                <c:pt idx="306">
                  <c:v>08.09.2023</c:v>
                </c:pt>
                <c:pt idx="307">
                  <c:v>07.09.2023</c:v>
                </c:pt>
                <c:pt idx="308">
                  <c:v>06.09.2023</c:v>
                </c:pt>
                <c:pt idx="309">
                  <c:v>05.09.2023</c:v>
                </c:pt>
                <c:pt idx="310">
                  <c:v>01.09.2023</c:v>
                </c:pt>
                <c:pt idx="311">
                  <c:v>31.08.2023</c:v>
                </c:pt>
                <c:pt idx="312">
                  <c:v>30.08.2023</c:v>
                </c:pt>
                <c:pt idx="313">
                  <c:v>29.08.2023</c:v>
                </c:pt>
                <c:pt idx="314">
                  <c:v>28.08.2023</c:v>
                </c:pt>
                <c:pt idx="315">
                  <c:v>25.08.2023</c:v>
                </c:pt>
                <c:pt idx="316">
                  <c:v>24.08.2023</c:v>
                </c:pt>
                <c:pt idx="317">
                  <c:v>23.08.2023</c:v>
                </c:pt>
                <c:pt idx="318">
                  <c:v>22.08.2023</c:v>
                </c:pt>
                <c:pt idx="319">
                  <c:v>21.08.2023</c:v>
                </c:pt>
                <c:pt idx="320">
                  <c:v>18.08.2023</c:v>
                </c:pt>
                <c:pt idx="321">
                  <c:v>17.08.2023</c:v>
                </c:pt>
                <c:pt idx="322">
                  <c:v>16.08.2023</c:v>
                </c:pt>
                <c:pt idx="323">
                  <c:v>15.08.2023</c:v>
                </c:pt>
                <c:pt idx="324">
                  <c:v>14.08.2023</c:v>
                </c:pt>
                <c:pt idx="325">
                  <c:v>11.08.2023</c:v>
                </c:pt>
                <c:pt idx="326">
                  <c:v>10.08.2023</c:v>
                </c:pt>
                <c:pt idx="327">
                  <c:v>09.08.2023</c:v>
                </c:pt>
                <c:pt idx="328">
                  <c:v>08.08.2023</c:v>
                </c:pt>
                <c:pt idx="329">
                  <c:v>07.08.2023</c:v>
                </c:pt>
                <c:pt idx="330">
                  <c:v>04.08.2023</c:v>
                </c:pt>
                <c:pt idx="331">
                  <c:v>03.08.2023</c:v>
                </c:pt>
                <c:pt idx="332">
                  <c:v>02.08.2023</c:v>
                </c:pt>
                <c:pt idx="333">
                  <c:v>01.08.2023</c:v>
                </c:pt>
                <c:pt idx="334">
                  <c:v>31.07.2023</c:v>
                </c:pt>
                <c:pt idx="335">
                  <c:v>28.07.2023</c:v>
                </c:pt>
                <c:pt idx="336">
                  <c:v>27.07.2023</c:v>
                </c:pt>
                <c:pt idx="337">
                  <c:v>26.07.2023</c:v>
                </c:pt>
                <c:pt idx="338">
                  <c:v>25.07.2023</c:v>
                </c:pt>
                <c:pt idx="339">
                  <c:v>24.07.2023</c:v>
                </c:pt>
                <c:pt idx="340">
                  <c:v>21.07.2023</c:v>
                </c:pt>
                <c:pt idx="341">
                  <c:v>20.07.2023</c:v>
                </c:pt>
                <c:pt idx="342">
                  <c:v>19.07.2023</c:v>
                </c:pt>
                <c:pt idx="343">
                  <c:v>18.07.2023</c:v>
                </c:pt>
                <c:pt idx="344">
                  <c:v>17.07.2023</c:v>
                </c:pt>
                <c:pt idx="345">
                  <c:v>14.07.2023</c:v>
                </c:pt>
                <c:pt idx="346">
                  <c:v>13.07.2023</c:v>
                </c:pt>
                <c:pt idx="347">
                  <c:v>12.07.2023</c:v>
                </c:pt>
                <c:pt idx="348">
                  <c:v>11.07.2023</c:v>
                </c:pt>
                <c:pt idx="349">
                  <c:v>10.07.2023</c:v>
                </c:pt>
                <c:pt idx="350">
                  <c:v>07.07.2023</c:v>
                </c:pt>
                <c:pt idx="351">
                  <c:v>06.07.2023</c:v>
                </c:pt>
                <c:pt idx="352">
                  <c:v>05.07.2023</c:v>
                </c:pt>
                <c:pt idx="353">
                  <c:v>03.07.2023</c:v>
                </c:pt>
                <c:pt idx="354">
                  <c:v>30.06.2023</c:v>
                </c:pt>
                <c:pt idx="355">
                  <c:v>29.06.2023</c:v>
                </c:pt>
                <c:pt idx="356">
                  <c:v>28.06.2023</c:v>
                </c:pt>
                <c:pt idx="357">
                  <c:v>27.06.2023</c:v>
                </c:pt>
                <c:pt idx="358">
                  <c:v>26.06.2023</c:v>
                </c:pt>
                <c:pt idx="359">
                  <c:v>23.06.2023</c:v>
                </c:pt>
                <c:pt idx="360">
                  <c:v>22.06.2023</c:v>
                </c:pt>
                <c:pt idx="361">
                  <c:v>21.06.2023</c:v>
                </c:pt>
                <c:pt idx="362">
                  <c:v>20.06.2023</c:v>
                </c:pt>
                <c:pt idx="363">
                  <c:v>16.06.2023</c:v>
                </c:pt>
                <c:pt idx="364">
                  <c:v>15.06.2023</c:v>
                </c:pt>
                <c:pt idx="365">
                  <c:v>14.06.2023</c:v>
                </c:pt>
                <c:pt idx="366">
                  <c:v>13.06.2023</c:v>
                </c:pt>
                <c:pt idx="367">
                  <c:v>12.06.2023</c:v>
                </c:pt>
                <c:pt idx="368">
                  <c:v>09.06.2023</c:v>
                </c:pt>
                <c:pt idx="369">
                  <c:v>08.06.2023</c:v>
                </c:pt>
                <c:pt idx="370">
                  <c:v>07.06.2023</c:v>
                </c:pt>
                <c:pt idx="371">
                  <c:v>06.06.2023</c:v>
                </c:pt>
                <c:pt idx="372">
                  <c:v>05.06.2023</c:v>
                </c:pt>
                <c:pt idx="373">
                  <c:v>02.06.2023</c:v>
                </c:pt>
                <c:pt idx="374">
                  <c:v>01.06.2023</c:v>
                </c:pt>
                <c:pt idx="375">
                  <c:v>31.05.2023</c:v>
                </c:pt>
                <c:pt idx="376">
                  <c:v>30.05.2023</c:v>
                </c:pt>
                <c:pt idx="377">
                  <c:v>26.05.2023</c:v>
                </c:pt>
                <c:pt idx="378">
                  <c:v>25.05.2023</c:v>
                </c:pt>
                <c:pt idx="379">
                  <c:v>24.05.2023</c:v>
                </c:pt>
                <c:pt idx="380">
                  <c:v>23.05.2023</c:v>
                </c:pt>
                <c:pt idx="381">
                  <c:v>22.05.2023</c:v>
                </c:pt>
                <c:pt idx="382">
                  <c:v>19.05.2023</c:v>
                </c:pt>
                <c:pt idx="383">
                  <c:v>18.05.2023</c:v>
                </c:pt>
                <c:pt idx="384">
                  <c:v>17.05.2023</c:v>
                </c:pt>
                <c:pt idx="385">
                  <c:v>16.05.2023</c:v>
                </c:pt>
                <c:pt idx="386">
                  <c:v>15.05.2023</c:v>
                </c:pt>
                <c:pt idx="387">
                  <c:v>12.05.2023</c:v>
                </c:pt>
                <c:pt idx="388">
                  <c:v>11.05.2023</c:v>
                </c:pt>
                <c:pt idx="389">
                  <c:v>10.05.2023</c:v>
                </c:pt>
                <c:pt idx="390">
                  <c:v>09.05.2023</c:v>
                </c:pt>
                <c:pt idx="391">
                  <c:v>08.05.2023</c:v>
                </c:pt>
                <c:pt idx="392">
                  <c:v>05.05.2023</c:v>
                </c:pt>
                <c:pt idx="393">
                  <c:v>04.05.2023</c:v>
                </c:pt>
                <c:pt idx="394">
                  <c:v>03.05.2023</c:v>
                </c:pt>
                <c:pt idx="395">
                  <c:v>02.05.2023</c:v>
                </c:pt>
                <c:pt idx="396">
                  <c:v>01.05.2023</c:v>
                </c:pt>
                <c:pt idx="397">
                  <c:v>28.04.2023</c:v>
                </c:pt>
                <c:pt idx="398">
                  <c:v>27.04.2023</c:v>
                </c:pt>
                <c:pt idx="399">
                  <c:v>26.04.2023</c:v>
                </c:pt>
                <c:pt idx="400">
                  <c:v>25.04.2023</c:v>
                </c:pt>
                <c:pt idx="401">
                  <c:v>24.04.2023</c:v>
                </c:pt>
                <c:pt idx="402">
                  <c:v>21.04.2023</c:v>
                </c:pt>
                <c:pt idx="403">
                  <c:v>20.04.2023</c:v>
                </c:pt>
                <c:pt idx="404">
                  <c:v>19.04.2023</c:v>
                </c:pt>
                <c:pt idx="405">
                  <c:v>18.04.2023</c:v>
                </c:pt>
                <c:pt idx="406">
                  <c:v>17.04.2023</c:v>
                </c:pt>
                <c:pt idx="407">
                  <c:v>14.04.2023</c:v>
                </c:pt>
                <c:pt idx="408">
                  <c:v>13.04.2023</c:v>
                </c:pt>
                <c:pt idx="409">
                  <c:v>12.04.2023</c:v>
                </c:pt>
                <c:pt idx="410">
                  <c:v>11.04.2023</c:v>
                </c:pt>
                <c:pt idx="411">
                  <c:v>10.04.2023</c:v>
                </c:pt>
                <c:pt idx="412">
                  <c:v>06.04.2023</c:v>
                </c:pt>
                <c:pt idx="413">
                  <c:v>05.04.2023</c:v>
                </c:pt>
                <c:pt idx="414">
                  <c:v>04.04.2023</c:v>
                </c:pt>
                <c:pt idx="415">
                  <c:v>03.04.2023</c:v>
                </c:pt>
                <c:pt idx="416">
                  <c:v>31.03.2023</c:v>
                </c:pt>
                <c:pt idx="417">
                  <c:v>30.03.2023</c:v>
                </c:pt>
                <c:pt idx="418">
                  <c:v>29.03.2023</c:v>
                </c:pt>
                <c:pt idx="419">
                  <c:v>28.03.2023</c:v>
                </c:pt>
                <c:pt idx="420">
                  <c:v>27.03.2023</c:v>
                </c:pt>
                <c:pt idx="421">
                  <c:v>24.03.2023</c:v>
                </c:pt>
                <c:pt idx="422">
                  <c:v>23.03.2023</c:v>
                </c:pt>
                <c:pt idx="423">
                  <c:v>22.03.2023</c:v>
                </c:pt>
                <c:pt idx="424">
                  <c:v>21.03.2023</c:v>
                </c:pt>
                <c:pt idx="425">
                  <c:v>20.03.2023</c:v>
                </c:pt>
                <c:pt idx="426">
                  <c:v>17.03.2023</c:v>
                </c:pt>
                <c:pt idx="427">
                  <c:v>16.03.2023</c:v>
                </c:pt>
                <c:pt idx="428">
                  <c:v>15.03.2023</c:v>
                </c:pt>
                <c:pt idx="429">
                  <c:v>14.03.2023</c:v>
                </c:pt>
                <c:pt idx="430">
                  <c:v>13.03.2023</c:v>
                </c:pt>
                <c:pt idx="431">
                  <c:v>10.03.2023</c:v>
                </c:pt>
                <c:pt idx="432">
                  <c:v>09.03.2023</c:v>
                </c:pt>
                <c:pt idx="433">
                  <c:v>08.03.2023</c:v>
                </c:pt>
                <c:pt idx="434">
                  <c:v>07.03.2023</c:v>
                </c:pt>
                <c:pt idx="435">
                  <c:v>06.03.2023</c:v>
                </c:pt>
                <c:pt idx="436">
                  <c:v>03.03.2023</c:v>
                </c:pt>
                <c:pt idx="437">
                  <c:v>02.03.2023</c:v>
                </c:pt>
                <c:pt idx="438">
                  <c:v>01.03.2023</c:v>
                </c:pt>
                <c:pt idx="439">
                  <c:v>28.02.2023</c:v>
                </c:pt>
                <c:pt idx="440">
                  <c:v>27.02.2023</c:v>
                </c:pt>
                <c:pt idx="441">
                  <c:v>24.02.2023</c:v>
                </c:pt>
                <c:pt idx="442">
                  <c:v>23.02.2023</c:v>
                </c:pt>
                <c:pt idx="443">
                  <c:v>22.02.2023</c:v>
                </c:pt>
                <c:pt idx="444">
                  <c:v>21.02.2023</c:v>
                </c:pt>
                <c:pt idx="445">
                  <c:v>17.02.2023</c:v>
                </c:pt>
                <c:pt idx="446">
                  <c:v>16.02.2023</c:v>
                </c:pt>
                <c:pt idx="447">
                  <c:v>15.02.2023</c:v>
                </c:pt>
                <c:pt idx="448">
                  <c:v>14.02.2023</c:v>
                </c:pt>
                <c:pt idx="449">
                  <c:v>13.02.2023</c:v>
                </c:pt>
                <c:pt idx="450">
                  <c:v>10.02.2023</c:v>
                </c:pt>
                <c:pt idx="451">
                  <c:v>09.02.2023</c:v>
                </c:pt>
                <c:pt idx="452">
                  <c:v>08.02.2023</c:v>
                </c:pt>
                <c:pt idx="453">
                  <c:v>07.02.2023</c:v>
                </c:pt>
                <c:pt idx="454">
                  <c:v>06.02.2023</c:v>
                </c:pt>
                <c:pt idx="455">
                  <c:v>03.02.2023</c:v>
                </c:pt>
                <c:pt idx="456">
                  <c:v>02.02.2023</c:v>
                </c:pt>
                <c:pt idx="457">
                  <c:v>01.02.2023</c:v>
                </c:pt>
                <c:pt idx="458">
                  <c:v>31.01.2023</c:v>
                </c:pt>
                <c:pt idx="459">
                  <c:v>30.01.2023</c:v>
                </c:pt>
                <c:pt idx="460">
                  <c:v>27.01.2023</c:v>
                </c:pt>
                <c:pt idx="461">
                  <c:v>26.01.2023</c:v>
                </c:pt>
                <c:pt idx="462">
                  <c:v>25.01.2023</c:v>
                </c:pt>
                <c:pt idx="463">
                  <c:v>24.01.2023</c:v>
                </c:pt>
                <c:pt idx="464">
                  <c:v>23.01.2023</c:v>
                </c:pt>
                <c:pt idx="465">
                  <c:v>20.01.2023</c:v>
                </c:pt>
                <c:pt idx="466">
                  <c:v>19.01.2023</c:v>
                </c:pt>
                <c:pt idx="467">
                  <c:v>18.01.2023</c:v>
                </c:pt>
                <c:pt idx="468">
                  <c:v>17.01.2023</c:v>
                </c:pt>
                <c:pt idx="469">
                  <c:v>13.01.2023</c:v>
                </c:pt>
                <c:pt idx="470">
                  <c:v>12.01.2023</c:v>
                </c:pt>
                <c:pt idx="471">
                  <c:v>11.01.2023</c:v>
                </c:pt>
                <c:pt idx="472">
                  <c:v>10.01.2023</c:v>
                </c:pt>
                <c:pt idx="473">
                  <c:v>09.01.2023</c:v>
                </c:pt>
                <c:pt idx="474">
                  <c:v>06.01.2023</c:v>
                </c:pt>
                <c:pt idx="475">
                  <c:v>05.01.2023</c:v>
                </c:pt>
                <c:pt idx="476">
                  <c:v>04.01.2023</c:v>
                </c:pt>
                <c:pt idx="477">
                  <c:v>03.01.2023</c:v>
                </c:pt>
                <c:pt idx="478">
                  <c:v>30.12.2022</c:v>
                </c:pt>
                <c:pt idx="479">
                  <c:v>29.12.2022</c:v>
                </c:pt>
                <c:pt idx="480">
                  <c:v>28.12.2022</c:v>
                </c:pt>
                <c:pt idx="481">
                  <c:v>27.12.2022</c:v>
                </c:pt>
                <c:pt idx="482">
                  <c:v>23.12.2022</c:v>
                </c:pt>
                <c:pt idx="483">
                  <c:v>22.12.2022</c:v>
                </c:pt>
                <c:pt idx="484">
                  <c:v>21.12.2022</c:v>
                </c:pt>
                <c:pt idx="485">
                  <c:v>20.12.2022</c:v>
                </c:pt>
                <c:pt idx="486">
                  <c:v>19.12.2022</c:v>
                </c:pt>
                <c:pt idx="487">
                  <c:v>16.12.2022</c:v>
                </c:pt>
                <c:pt idx="488">
                  <c:v>15.12.2022</c:v>
                </c:pt>
                <c:pt idx="489">
                  <c:v>14.12.2022</c:v>
                </c:pt>
                <c:pt idx="490">
                  <c:v>13.12.2022</c:v>
                </c:pt>
                <c:pt idx="491">
                  <c:v>12.12.2022</c:v>
                </c:pt>
                <c:pt idx="492">
                  <c:v>09.12.2022</c:v>
                </c:pt>
                <c:pt idx="493">
                  <c:v>08.12.2022</c:v>
                </c:pt>
                <c:pt idx="494">
                  <c:v>07.12.2022</c:v>
                </c:pt>
                <c:pt idx="495">
                  <c:v>06.12.2022</c:v>
                </c:pt>
                <c:pt idx="496">
                  <c:v>05.12.2022</c:v>
                </c:pt>
                <c:pt idx="497">
                  <c:v>02.12.2022</c:v>
                </c:pt>
                <c:pt idx="498">
                  <c:v>01.12.2022</c:v>
                </c:pt>
                <c:pt idx="499">
                  <c:v>30.11.2022</c:v>
                </c:pt>
                <c:pt idx="500">
                  <c:v>29.11.2022</c:v>
                </c:pt>
                <c:pt idx="501">
                  <c:v>28.11.2022</c:v>
                </c:pt>
                <c:pt idx="502">
                  <c:v>25.11.2022</c:v>
                </c:pt>
                <c:pt idx="503">
                  <c:v>23.11.2022</c:v>
                </c:pt>
                <c:pt idx="504">
                  <c:v>22.11.2022</c:v>
                </c:pt>
                <c:pt idx="505">
                  <c:v>21.11.2022</c:v>
                </c:pt>
                <c:pt idx="506">
                  <c:v>18.11.2022</c:v>
                </c:pt>
                <c:pt idx="507">
                  <c:v>17.11.2022</c:v>
                </c:pt>
                <c:pt idx="508">
                  <c:v>16.11.2022</c:v>
                </c:pt>
                <c:pt idx="509">
                  <c:v>15.11.2022</c:v>
                </c:pt>
                <c:pt idx="510">
                  <c:v>14.11.2022</c:v>
                </c:pt>
                <c:pt idx="511">
                  <c:v>11.11.2022</c:v>
                </c:pt>
                <c:pt idx="512">
                  <c:v>10.11.2022</c:v>
                </c:pt>
                <c:pt idx="513">
                  <c:v>09.11.2022</c:v>
                </c:pt>
                <c:pt idx="514">
                  <c:v>08.11.2022</c:v>
                </c:pt>
                <c:pt idx="515">
                  <c:v>07.11.2022</c:v>
                </c:pt>
                <c:pt idx="516">
                  <c:v>04.11.2022</c:v>
                </c:pt>
                <c:pt idx="517">
                  <c:v>03.11.2022</c:v>
                </c:pt>
                <c:pt idx="518">
                  <c:v>02.11.2022</c:v>
                </c:pt>
                <c:pt idx="519">
                  <c:v>01.11.2022</c:v>
                </c:pt>
                <c:pt idx="520">
                  <c:v>31.10.2022</c:v>
                </c:pt>
                <c:pt idx="521">
                  <c:v>28.10.2022</c:v>
                </c:pt>
                <c:pt idx="522">
                  <c:v>27.10.2022</c:v>
                </c:pt>
                <c:pt idx="523">
                  <c:v>26.10.2022</c:v>
                </c:pt>
                <c:pt idx="524">
                  <c:v>25.10.2022</c:v>
                </c:pt>
                <c:pt idx="525">
                  <c:v>24.10.2022</c:v>
                </c:pt>
                <c:pt idx="526">
                  <c:v>21.10.2022</c:v>
                </c:pt>
                <c:pt idx="527">
                  <c:v>20.10.2022</c:v>
                </c:pt>
                <c:pt idx="528">
                  <c:v>19.10.2022</c:v>
                </c:pt>
                <c:pt idx="529">
                  <c:v>18.10.2022</c:v>
                </c:pt>
                <c:pt idx="530">
                  <c:v>17.10.2022</c:v>
                </c:pt>
                <c:pt idx="531">
                  <c:v>14.10.2022</c:v>
                </c:pt>
                <c:pt idx="532">
                  <c:v>13.10.2022</c:v>
                </c:pt>
                <c:pt idx="533">
                  <c:v>12.10.2022</c:v>
                </c:pt>
                <c:pt idx="534">
                  <c:v>11.10.2022</c:v>
                </c:pt>
                <c:pt idx="535">
                  <c:v>10.10.2022</c:v>
                </c:pt>
                <c:pt idx="536">
                  <c:v>07.10.2022</c:v>
                </c:pt>
                <c:pt idx="537">
                  <c:v>06.10.2022</c:v>
                </c:pt>
                <c:pt idx="538">
                  <c:v>05.10.2022</c:v>
                </c:pt>
                <c:pt idx="539">
                  <c:v>04.10.2022</c:v>
                </c:pt>
                <c:pt idx="540">
                  <c:v>03.10.2022</c:v>
                </c:pt>
                <c:pt idx="541">
                  <c:v>30.09.2022</c:v>
                </c:pt>
                <c:pt idx="542">
                  <c:v>29.09.2022</c:v>
                </c:pt>
                <c:pt idx="543">
                  <c:v>28.09.2022</c:v>
                </c:pt>
                <c:pt idx="544">
                  <c:v>27.09.2022</c:v>
                </c:pt>
                <c:pt idx="545">
                  <c:v>26.09.2022</c:v>
                </c:pt>
                <c:pt idx="546">
                  <c:v>23.09.2022</c:v>
                </c:pt>
                <c:pt idx="547">
                  <c:v>22.09.2022</c:v>
                </c:pt>
                <c:pt idx="548">
                  <c:v>21.09.2022</c:v>
                </c:pt>
                <c:pt idx="549">
                  <c:v>20.09.2022</c:v>
                </c:pt>
                <c:pt idx="550">
                  <c:v>19.09.2022</c:v>
                </c:pt>
                <c:pt idx="551">
                  <c:v>16.09.2022</c:v>
                </c:pt>
                <c:pt idx="552">
                  <c:v>15.09.2022</c:v>
                </c:pt>
                <c:pt idx="553">
                  <c:v>14.09.2022</c:v>
                </c:pt>
                <c:pt idx="554">
                  <c:v>13.09.2022</c:v>
                </c:pt>
                <c:pt idx="555">
                  <c:v>12.09.2022</c:v>
                </c:pt>
                <c:pt idx="556">
                  <c:v>09.09.2022</c:v>
                </c:pt>
                <c:pt idx="557">
                  <c:v>08.09.2022</c:v>
                </c:pt>
                <c:pt idx="558">
                  <c:v>07.09.2022</c:v>
                </c:pt>
                <c:pt idx="559">
                  <c:v>06.09.2022</c:v>
                </c:pt>
                <c:pt idx="560">
                  <c:v>02.09.2022</c:v>
                </c:pt>
                <c:pt idx="561">
                  <c:v>01.09.2022</c:v>
                </c:pt>
                <c:pt idx="562">
                  <c:v>31.08.2022</c:v>
                </c:pt>
                <c:pt idx="563">
                  <c:v>30.08.2022</c:v>
                </c:pt>
                <c:pt idx="564">
                  <c:v>29.08.2022</c:v>
                </c:pt>
                <c:pt idx="565">
                  <c:v>26.08.2022</c:v>
                </c:pt>
                <c:pt idx="566">
                  <c:v>25.08.2022</c:v>
                </c:pt>
                <c:pt idx="567">
                  <c:v>24.08.2022</c:v>
                </c:pt>
                <c:pt idx="568">
                  <c:v>23.08.2022</c:v>
                </c:pt>
                <c:pt idx="569">
                  <c:v>22.08.2022</c:v>
                </c:pt>
                <c:pt idx="570">
                  <c:v>19.08.2022</c:v>
                </c:pt>
                <c:pt idx="571">
                  <c:v>18.08.2022</c:v>
                </c:pt>
                <c:pt idx="572">
                  <c:v>17.08.2022</c:v>
                </c:pt>
                <c:pt idx="573">
                  <c:v>16.08.2022</c:v>
                </c:pt>
                <c:pt idx="574">
                  <c:v>15.08.2022</c:v>
                </c:pt>
                <c:pt idx="575">
                  <c:v>12.08.2022</c:v>
                </c:pt>
                <c:pt idx="576">
                  <c:v>11.08.2022</c:v>
                </c:pt>
                <c:pt idx="577">
                  <c:v>10.08.2022</c:v>
                </c:pt>
                <c:pt idx="578">
                  <c:v>09.08.2022</c:v>
                </c:pt>
                <c:pt idx="579">
                  <c:v>08.08.2022</c:v>
                </c:pt>
                <c:pt idx="580">
                  <c:v>05.08.2022</c:v>
                </c:pt>
                <c:pt idx="581">
                  <c:v>04.08.2022</c:v>
                </c:pt>
                <c:pt idx="582">
                  <c:v>03.08.2022</c:v>
                </c:pt>
                <c:pt idx="583">
                  <c:v>02.08.2022</c:v>
                </c:pt>
                <c:pt idx="584">
                  <c:v>01.08.2022</c:v>
                </c:pt>
                <c:pt idx="585">
                  <c:v>29.07.2022</c:v>
                </c:pt>
                <c:pt idx="586">
                  <c:v>28.07.2022</c:v>
                </c:pt>
                <c:pt idx="587">
                  <c:v>27.07.2022</c:v>
                </c:pt>
                <c:pt idx="588">
                  <c:v>26.07.2022</c:v>
                </c:pt>
                <c:pt idx="589">
                  <c:v>25.07.2022</c:v>
                </c:pt>
                <c:pt idx="590">
                  <c:v>22.07.2022</c:v>
                </c:pt>
                <c:pt idx="591">
                  <c:v>21.07.2022</c:v>
                </c:pt>
                <c:pt idx="592">
                  <c:v>20.07.2022</c:v>
                </c:pt>
                <c:pt idx="593">
                  <c:v>19.07.2022</c:v>
                </c:pt>
                <c:pt idx="594">
                  <c:v>18.07.2022</c:v>
                </c:pt>
                <c:pt idx="595">
                  <c:v>15.07.2022</c:v>
                </c:pt>
                <c:pt idx="596">
                  <c:v>14.07.2022</c:v>
                </c:pt>
                <c:pt idx="597">
                  <c:v>13.07.2022</c:v>
                </c:pt>
                <c:pt idx="598">
                  <c:v>12.07.2022</c:v>
                </c:pt>
                <c:pt idx="599">
                  <c:v>11.07.2022</c:v>
                </c:pt>
                <c:pt idx="600">
                  <c:v>08.07.2022</c:v>
                </c:pt>
                <c:pt idx="601">
                  <c:v>07.07.2022</c:v>
                </c:pt>
                <c:pt idx="602">
                  <c:v>06.07.2022</c:v>
                </c:pt>
                <c:pt idx="603">
                  <c:v>05.07.2022</c:v>
                </c:pt>
                <c:pt idx="604">
                  <c:v>01.07.2022</c:v>
                </c:pt>
                <c:pt idx="605">
                  <c:v>30.06.2022</c:v>
                </c:pt>
                <c:pt idx="606">
                  <c:v>29.06.2022</c:v>
                </c:pt>
                <c:pt idx="607">
                  <c:v>28.06.2022</c:v>
                </c:pt>
                <c:pt idx="608">
                  <c:v>27.06.2022</c:v>
                </c:pt>
                <c:pt idx="609">
                  <c:v>24.06.2022</c:v>
                </c:pt>
                <c:pt idx="610">
                  <c:v>23.06.2022</c:v>
                </c:pt>
                <c:pt idx="611">
                  <c:v>22.06.2022</c:v>
                </c:pt>
                <c:pt idx="612">
                  <c:v>21.06.2022</c:v>
                </c:pt>
                <c:pt idx="613">
                  <c:v>17.06.2022</c:v>
                </c:pt>
                <c:pt idx="614">
                  <c:v>16.06.2022</c:v>
                </c:pt>
                <c:pt idx="615">
                  <c:v>15.06.2022</c:v>
                </c:pt>
                <c:pt idx="616">
                  <c:v>14.06.2022</c:v>
                </c:pt>
                <c:pt idx="617">
                  <c:v>13.06.2022</c:v>
                </c:pt>
                <c:pt idx="618">
                  <c:v>10.06.2022</c:v>
                </c:pt>
                <c:pt idx="619">
                  <c:v>09.06.2022</c:v>
                </c:pt>
                <c:pt idx="620">
                  <c:v>08.06.2022</c:v>
                </c:pt>
                <c:pt idx="621">
                  <c:v>07.06.2022</c:v>
                </c:pt>
                <c:pt idx="622">
                  <c:v>06.06.2022</c:v>
                </c:pt>
                <c:pt idx="623">
                  <c:v>03.06.2022</c:v>
                </c:pt>
                <c:pt idx="624">
                  <c:v>02.06.2022</c:v>
                </c:pt>
                <c:pt idx="625">
                  <c:v>01.06.2022</c:v>
                </c:pt>
                <c:pt idx="626">
                  <c:v>31.05.2022</c:v>
                </c:pt>
                <c:pt idx="627">
                  <c:v>27.05.2022</c:v>
                </c:pt>
                <c:pt idx="628">
                  <c:v>26.05.2022</c:v>
                </c:pt>
                <c:pt idx="629">
                  <c:v>25.05.2022</c:v>
                </c:pt>
                <c:pt idx="630">
                  <c:v>24.05.2022</c:v>
                </c:pt>
                <c:pt idx="631">
                  <c:v>23.05.2022</c:v>
                </c:pt>
                <c:pt idx="632">
                  <c:v>20.05.2022</c:v>
                </c:pt>
                <c:pt idx="633">
                  <c:v>19.05.2022</c:v>
                </c:pt>
                <c:pt idx="634">
                  <c:v>18.05.2022</c:v>
                </c:pt>
                <c:pt idx="635">
                  <c:v>17.05.2022</c:v>
                </c:pt>
                <c:pt idx="636">
                  <c:v>16.05.2022</c:v>
                </c:pt>
                <c:pt idx="637">
                  <c:v>13.05.2022</c:v>
                </c:pt>
                <c:pt idx="638">
                  <c:v>12.05.2022</c:v>
                </c:pt>
                <c:pt idx="639">
                  <c:v>11.05.2022</c:v>
                </c:pt>
                <c:pt idx="640">
                  <c:v>10.05.2022</c:v>
                </c:pt>
                <c:pt idx="641">
                  <c:v>09.05.2022</c:v>
                </c:pt>
                <c:pt idx="642">
                  <c:v>06.05.2022</c:v>
                </c:pt>
                <c:pt idx="643">
                  <c:v>05.05.2022</c:v>
                </c:pt>
                <c:pt idx="644">
                  <c:v>04.05.2022</c:v>
                </c:pt>
                <c:pt idx="645">
                  <c:v>03.05.2022</c:v>
                </c:pt>
                <c:pt idx="646">
                  <c:v>02.05.2022</c:v>
                </c:pt>
                <c:pt idx="647">
                  <c:v>29.04.2022</c:v>
                </c:pt>
                <c:pt idx="648">
                  <c:v>28.04.2022</c:v>
                </c:pt>
                <c:pt idx="649">
                  <c:v>27.04.2022</c:v>
                </c:pt>
                <c:pt idx="650">
                  <c:v>26.04.2022</c:v>
                </c:pt>
                <c:pt idx="651">
                  <c:v>25.04.2022</c:v>
                </c:pt>
                <c:pt idx="652">
                  <c:v>22.04.2022</c:v>
                </c:pt>
                <c:pt idx="653">
                  <c:v>21.04.2022</c:v>
                </c:pt>
                <c:pt idx="654">
                  <c:v>20.04.2022</c:v>
                </c:pt>
                <c:pt idx="655">
                  <c:v>19.04.2022</c:v>
                </c:pt>
                <c:pt idx="656">
                  <c:v>18.04.2022</c:v>
                </c:pt>
                <c:pt idx="657">
                  <c:v>14.04.2022</c:v>
                </c:pt>
                <c:pt idx="658">
                  <c:v>13.04.2022</c:v>
                </c:pt>
                <c:pt idx="659">
                  <c:v>12.04.2022</c:v>
                </c:pt>
                <c:pt idx="660">
                  <c:v>11.04.2022</c:v>
                </c:pt>
                <c:pt idx="661">
                  <c:v>08.04.2022</c:v>
                </c:pt>
                <c:pt idx="662">
                  <c:v>07.04.2022</c:v>
                </c:pt>
                <c:pt idx="663">
                  <c:v>06.04.2022</c:v>
                </c:pt>
                <c:pt idx="664">
                  <c:v>05.04.2022</c:v>
                </c:pt>
                <c:pt idx="665">
                  <c:v>04.04.2022</c:v>
                </c:pt>
                <c:pt idx="666">
                  <c:v>01.04.2022</c:v>
                </c:pt>
                <c:pt idx="667">
                  <c:v>31.03.2022</c:v>
                </c:pt>
                <c:pt idx="668">
                  <c:v>30.03.2022</c:v>
                </c:pt>
                <c:pt idx="669">
                  <c:v>29.03.2022</c:v>
                </c:pt>
                <c:pt idx="670">
                  <c:v>28.03.2022</c:v>
                </c:pt>
                <c:pt idx="671">
                  <c:v>25.03.2022</c:v>
                </c:pt>
                <c:pt idx="672">
                  <c:v>24.03.2022</c:v>
                </c:pt>
                <c:pt idx="673">
                  <c:v>23.03.2022</c:v>
                </c:pt>
                <c:pt idx="674">
                  <c:v>22.03.2022</c:v>
                </c:pt>
                <c:pt idx="675">
                  <c:v>21.03.2022</c:v>
                </c:pt>
                <c:pt idx="676">
                  <c:v>18.03.2022</c:v>
                </c:pt>
                <c:pt idx="677">
                  <c:v>17.03.2022</c:v>
                </c:pt>
                <c:pt idx="678">
                  <c:v>16.03.2022</c:v>
                </c:pt>
                <c:pt idx="679">
                  <c:v>15.03.2022</c:v>
                </c:pt>
                <c:pt idx="680">
                  <c:v>14.03.2022</c:v>
                </c:pt>
                <c:pt idx="681">
                  <c:v>11.03.2022</c:v>
                </c:pt>
                <c:pt idx="682">
                  <c:v>10.03.2022</c:v>
                </c:pt>
                <c:pt idx="683">
                  <c:v>09.03.2022</c:v>
                </c:pt>
                <c:pt idx="684">
                  <c:v>08.03.2022</c:v>
                </c:pt>
                <c:pt idx="685">
                  <c:v>07.03.2022</c:v>
                </c:pt>
                <c:pt idx="686">
                  <c:v>04.03.2022</c:v>
                </c:pt>
                <c:pt idx="687">
                  <c:v>03.03.2022</c:v>
                </c:pt>
                <c:pt idx="688">
                  <c:v>02.03.2022</c:v>
                </c:pt>
                <c:pt idx="689">
                  <c:v>01.03.2022</c:v>
                </c:pt>
                <c:pt idx="690">
                  <c:v>28.02.2022</c:v>
                </c:pt>
                <c:pt idx="691">
                  <c:v>25.02.2022</c:v>
                </c:pt>
                <c:pt idx="692">
                  <c:v>24.02.2022</c:v>
                </c:pt>
                <c:pt idx="693">
                  <c:v>23.02.2022</c:v>
                </c:pt>
                <c:pt idx="694">
                  <c:v>22.02.2022</c:v>
                </c:pt>
                <c:pt idx="695">
                  <c:v>18.02.2022</c:v>
                </c:pt>
                <c:pt idx="696">
                  <c:v>17.02.2022</c:v>
                </c:pt>
                <c:pt idx="697">
                  <c:v>16.02.2022</c:v>
                </c:pt>
                <c:pt idx="698">
                  <c:v>15.02.2022</c:v>
                </c:pt>
                <c:pt idx="699">
                  <c:v>14.02.2022</c:v>
                </c:pt>
                <c:pt idx="700">
                  <c:v>11.02.2022</c:v>
                </c:pt>
                <c:pt idx="701">
                  <c:v>10.02.2022</c:v>
                </c:pt>
                <c:pt idx="702">
                  <c:v>09.02.2022</c:v>
                </c:pt>
                <c:pt idx="703">
                  <c:v>08.02.2022</c:v>
                </c:pt>
                <c:pt idx="704">
                  <c:v>07.02.2022</c:v>
                </c:pt>
                <c:pt idx="705">
                  <c:v>04.02.2022</c:v>
                </c:pt>
                <c:pt idx="706">
                  <c:v>03.02.2022</c:v>
                </c:pt>
                <c:pt idx="707">
                  <c:v>02.02.2022</c:v>
                </c:pt>
                <c:pt idx="708">
                  <c:v>01.02.2022</c:v>
                </c:pt>
                <c:pt idx="709">
                  <c:v>31.01.2022</c:v>
                </c:pt>
                <c:pt idx="710">
                  <c:v>28.01.2022</c:v>
                </c:pt>
                <c:pt idx="711">
                  <c:v>27.01.2022</c:v>
                </c:pt>
                <c:pt idx="712">
                  <c:v>26.01.2022</c:v>
                </c:pt>
                <c:pt idx="713">
                  <c:v>25.01.2022</c:v>
                </c:pt>
                <c:pt idx="714">
                  <c:v>24.01.2022</c:v>
                </c:pt>
                <c:pt idx="715">
                  <c:v>21.01.2022</c:v>
                </c:pt>
                <c:pt idx="716">
                  <c:v>20.01.2022</c:v>
                </c:pt>
                <c:pt idx="717">
                  <c:v>19.01.2022</c:v>
                </c:pt>
                <c:pt idx="718">
                  <c:v>18.01.2022</c:v>
                </c:pt>
                <c:pt idx="719">
                  <c:v>14.01.2022</c:v>
                </c:pt>
                <c:pt idx="720">
                  <c:v>13.01.2022</c:v>
                </c:pt>
                <c:pt idx="721">
                  <c:v>12.01.2022</c:v>
                </c:pt>
                <c:pt idx="722">
                  <c:v>11.01.2022</c:v>
                </c:pt>
                <c:pt idx="723">
                  <c:v>10.01.2022</c:v>
                </c:pt>
                <c:pt idx="724">
                  <c:v>07.01.2022</c:v>
                </c:pt>
                <c:pt idx="725">
                  <c:v>06.01.2022</c:v>
                </c:pt>
                <c:pt idx="726">
                  <c:v>05.01.2022</c:v>
                </c:pt>
                <c:pt idx="727">
                  <c:v>04.01.2022</c:v>
                </c:pt>
                <c:pt idx="728">
                  <c:v>03.01.2022</c:v>
                </c:pt>
                <c:pt idx="729">
                  <c:v>31.12.2021</c:v>
                </c:pt>
                <c:pt idx="730">
                  <c:v>30.12.2021</c:v>
                </c:pt>
                <c:pt idx="731">
                  <c:v>29.12.2021</c:v>
                </c:pt>
                <c:pt idx="732">
                  <c:v>28.12.2021</c:v>
                </c:pt>
                <c:pt idx="733">
                  <c:v>27.12.2021</c:v>
                </c:pt>
                <c:pt idx="734">
                  <c:v>23.12.2021</c:v>
                </c:pt>
                <c:pt idx="735">
                  <c:v>22.12.2021</c:v>
                </c:pt>
                <c:pt idx="736">
                  <c:v>21.12.2021</c:v>
                </c:pt>
                <c:pt idx="737">
                  <c:v>20.12.2021</c:v>
                </c:pt>
                <c:pt idx="738">
                  <c:v>17.12.2021</c:v>
                </c:pt>
                <c:pt idx="739">
                  <c:v>16.12.2021</c:v>
                </c:pt>
                <c:pt idx="740">
                  <c:v>15.12.2021</c:v>
                </c:pt>
                <c:pt idx="741">
                  <c:v>14.12.2021</c:v>
                </c:pt>
                <c:pt idx="742">
                  <c:v>13.12.2021</c:v>
                </c:pt>
                <c:pt idx="743">
                  <c:v>10.12.2021</c:v>
                </c:pt>
                <c:pt idx="744">
                  <c:v>09.12.2021</c:v>
                </c:pt>
                <c:pt idx="745">
                  <c:v>08.12.2021</c:v>
                </c:pt>
                <c:pt idx="746">
                  <c:v>07.12.2021</c:v>
                </c:pt>
                <c:pt idx="747">
                  <c:v>06.12.2021</c:v>
                </c:pt>
                <c:pt idx="748">
                  <c:v>03.12.2021</c:v>
                </c:pt>
                <c:pt idx="749">
                  <c:v>02.12.2021</c:v>
                </c:pt>
                <c:pt idx="750">
                  <c:v>01.12.2021</c:v>
                </c:pt>
                <c:pt idx="751">
                  <c:v>30.11.2021</c:v>
                </c:pt>
                <c:pt idx="752">
                  <c:v>29.11.2021</c:v>
                </c:pt>
                <c:pt idx="753">
                  <c:v>26.11.2021</c:v>
                </c:pt>
                <c:pt idx="754">
                  <c:v>24.11.2021</c:v>
                </c:pt>
                <c:pt idx="755">
                  <c:v>23.11.2021</c:v>
                </c:pt>
                <c:pt idx="756">
                  <c:v>22.11.2021</c:v>
                </c:pt>
                <c:pt idx="757">
                  <c:v>19.11.2021</c:v>
                </c:pt>
                <c:pt idx="758">
                  <c:v>18.11.2021</c:v>
                </c:pt>
                <c:pt idx="759">
                  <c:v>17.11.2021</c:v>
                </c:pt>
                <c:pt idx="760">
                  <c:v>16.11.2021</c:v>
                </c:pt>
                <c:pt idx="761">
                  <c:v>15.11.2021</c:v>
                </c:pt>
                <c:pt idx="762">
                  <c:v>12.11.2021</c:v>
                </c:pt>
                <c:pt idx="763">
                  <c:v>11.11.2021</c:v>
                </c:pt>
                <c:pt idx="764">
                  <c:v>10.11.2021</c:v>
                </c:pt>
                <c:pt idx="765">
                  <c:v>09.11.2021</c:v>
                </c:pt>
                <c:pt idx="766">
                  <c:v>08.11.2021</c:v>
                </c:pt>
                <c:pt idx="767">
                  <c:v>05.11.2021</c:v>
                </c:pt>
                <c:pt idx="768">
                  <c:v>04.11.2021</c:v>
                </c:pt>
                <c:pt idx="769">
                  <c:v>03.11.2021</c:v>
                </c:pt>
                <c:pt idx="770">
                  <c:v>02.11.2021</c:v>
                </c:pt>
                <c:pt idx="771">
                  <c:v>01.11.2021</c:v>
                </c:pt>
                <c:pt idx="772">
                  <c:v>29.10.2021</c:v>
                </c:pt>
                <c:pt idx="773">
                  <c:v>28.10.2021</c:v>
                </c:pt>
                <c:pt idx="774">
                  <c:v>27.10.2021</c:v>
                </c:pt>
                <c:pt idx="775">
                  <c:v>26.10.2021</c:v>
                </c:pt>
                <c:pt idx="776">
                  <c:v>25.10.2021</c:v>
                </c:pt>
                <c:pt idx="777">
                  <c:v>22.10.2021</c:v>
                </c:pt>
                <c:pt idx="778">
                  <c:v>21.10.2021</c:v>
                </c:pt>
                <c:pt idx="779">
                  <c:v>20.10.2021</c:v>
                </c:pt>
                <c:pt idx="780">
                  <c:v>19.10.2021</c:v>
                </c:pt>
                <c:pt idx="781">
                  <c:v>18.10.2021</c:v>
                </c:pt>
                <c:pt idx="782">
                  <c:v>15.10.2021</c:v>
                </c:pt>
                <c:pt idx="783">
                  <c:v>14.10.2021</c:v>
                </c:pt>
                <c:pt idx="784">
                  <c:v>13.10.2021</c:v>
                </c:pt>
                <c:pt idx="785">
                  <c:v>12.10.2021</c:v>
                </c:pt>
                <c:pt idx="786">
                  <c:v>11.10.2021</c:v>
                </c:pt>
                <c:pt idx="787">
                  <c:v>08.10.2021</c:v>
                </c:pt>
                <c:pt idx="788">
                  <c:v>07.10.2021</c:v>
                </c:pt>
                <c:pt idx="789">
                  <c:v>06.10.2021</c:v>
                </c:pt>
                <c:pt idx="790">
                  <c:v>05.10.2021</c:v>
                </c:pt>
                <c:pt idx="791">
                  <c:v>04.10.2021</c:v>
                </c:pt>
                <c:pt idx="792">
                  <c:v>01.10.2021</c:v>
                </c:pt>
                <c:pt idx="793">
                  <c:v>30.09.2021</c:v>
                </c:pt>
                <c:pt idx="794">
                  <c:v>29.09.2021</c:v>
                </c:pt>
                <c:pt idx="795">
                  <c:v>28.09.2021</c:v>
                </c:pt>
                <c:pt idx="796">
                  <c:v>27.09.2021</c:v>
                </c:pt>
                <c:pt idx="797">
                  <c:v>24.09.2021</c:v>
                </c:pt>
                <c:pt idx="798">
                  <c:v>23.09.2021</c:v>
                </c:pt>
                <c:pt idx="799">
                  <c:v>22.09.2021</c:v>
                </c:pt>
                <c:pt idx="800">
                  <c:v>21.09.2021</c:v>
                </c:pt>
                <c:pt idx="801">
                  <c:v>20.09.2021</c:v>
                </c:pt>
                <c:pt idx="802">
                  <c:v>17.09.2021</c:v>
                </c:pt>
                <c:pt idx="803">
                  <c:v>16.09.2021</c:v>
                </c:pt>
                <c:pt idx="804">
                  <c:v>15.09.2021</c:v>
                </c:pt>
                <c:pt idx="805">
                  <c:v>14.09.2021</c:v>
                </c:pt>
                <c:pt idx="806">
                  <c:v>13.09.2021</c:v>
                </c:pt>
                <c:pt idx="807">
                  <c:v>10.09.2021</c:v>
                </c:pt>
                <c:pt idx="808">
                  <c:v>09.09.2021</c:v>
                </c:pt>
                <c:pt idx="809">
                  <c:v>08.09.2021</c:v>
                </c:pt>
                <c:pt idx="810">
                  <c:v>07.09.2021</c:v>
                </c:pt>
                <c:pt idx="811">
                  <c:v>03.09.2021</c:v>
                </c:pt>
                <c:pt idx="812">
                  <c:v>02.09.2021</c:v>
                </c:pt>
                <c:pt idx="813">
                  <c:v>01.09.2021</c:v>
                </c:pt>
                <c:pt idx="814">
                  <c:v>31.08.2021</c:v>
                </c:pt>
                <c:pt idx="815">
                  <c:v>30.08.2021</c:v>
                </c:pt>
                <c:pt idx="816">
                  <c:v>27.08.2021</c:v>
                </c:pt>
                <c:pt idx="817">
                  <c:v>26.08.2021</c:v>
                </c:pt>
                <c:pt idx="818">
                  <c:v>25.08.2021</c:v>
                </c:pt>
                <c:pt idx="819">
                  <c:v>24.08.2021</c:v>
                </c:pt>
                <c:pt idx="820">
                  <c:v>23.08.2021</c:v>
                </c:pt>
                <c:pt idx="821">
                  <c:v>20.08.2021</c:v>
                </c:pt>
                <c:pt idx="822">
                  <c:v>19.08.2021</c:v>
                </c:pt>
                <c:pt idx="823">
                  <c:v>18.08.2021</c:v>
                </c:pt>
                <c:pt idx="824">
                  <c:v>17.08.2021</c:v>
                </c:pt>
                <c:pt idx="825">
                  <c:v>16.08.2021</c:v>
                </c:pt>
                <c:pt idx="826">
                  <c:v>13.08.2021</c:v>
                </c:pt>
                <c:pt idx="827">
                  <c:v>12.08.2021</c:v>
                </c:pt>
                <c:pt idx="828">
                  <c:v>11.08.2021</c:v>
                </c:pt>
                <c:pt idx="829">
                  <c:v>10.08.2021</c:v>
                </c:pt>
                <c:pt idx="830">
                  <c:v>09.08.2021</c:v>
                </c:pt>
                <c:pt idx="831">
                  <c:v>06.08.2021</c:v>
                </c:pt>
                <c:pt idx="832">
                  <c:v>05.08.2021</c:v>
                </c:pt>
                <c:pt idx="833">
                  <c:v>04.08.2021</c:v>
                </c:pt>
                <c:pt idx="834">
                  <c:v>03.08.2021</c:v>
                </c:pt>
                <c:pt idx="835">
                  <c:v>02.08.2021</c:v>
                </c:pt>
                <c:pt idx="836">
                  <c:v>30.07.2021</c:v>
                </c:pt>
                <c:pt idx="837">
                  <c:v>29.07.2021</c:v>
                </c:pt>
                <c:pt idx="838">
                  <c:v>28.07.2021</c:v>
                </c:pt>
                <c:pt idx="839">
                  <c:v>27.07.2021</c:v>
                </c:pt>
                <c:pt idx="840">
                  <c:v>26.07.2021</c:v>
                </c:pt>
                <c:pt idx="841">
                  <c:v>23.07.2021</c:v>
                </c:pt>
                <c:pt idx="842">
                  <c:v>22.07.2021</c:v>
                </c:pt>
                <c:pt idx="843">
                  <c:v>21.07.2021</c:v>
                </c:pt>
                <c:pt idx="844">
                  <c:v>20.07.2021</c:v>
                </c:pt>
                <c:pt idx="845">
                  <c:v>19.07.2021</c:v>
                </c:pt>
                <c:pt idx="846">
                  <c:v>16.07.2021</c:v>
                </c:pt>
                <c:pt idx="847">
                  <c:v>15.07.2021</c:v>
                </c:pt>
                <c:pt idx="848">
                  <c:v>14.07.2021</c:v>
                </c:pt>
                <c:pt idx="849">
                  <c:v>13.07.2021</c:v>
                </c:pt>
                <c:pt idx="850">
                  <c:v>12.07.2021</c:v>
                </c:pt>
                <c:pt idx="851">
                  <c:v>09.07.2021</c:v>
                </c:pt>
                <c:pt idx="852">
                  <c:v>08.07.2021</c:v>
                </c:pt>
                <c:pt idx="853">
                  <c:v>07.07.2021</c:v>
                </c:pt>
                <c:pt idx="854">
                  <c:v>06.07.2021</c:v>
                </c:pt>
                <c:pt idx="855">
                  <c:v>02.07.2021</c:v>
                </c:pt>
                <c:pt idx="856">
                  <c:v>01.07.2021</c:v>
                </c:pt>
                <c:pt idx="857">
                  <c:v>30.06.2021</c:v>
                </c:pt>
                <c:pt idx="858">
                  <c:v>29.06.2021</c:v>
                </c:pt>
                <c:pt idx="859">
                  <c:v>28.06.2021</c:v>
                </c:pt>
                <c:pt idx="860">
                  <c:v>25.06.2021</c:v>
                </c:pt>
                <c:pt idx="861">
                  <c:v>24.06.2021</c:v>
                </c:pt>
                <c:pt idx="862">
                  <c:v>23.06.2021</c:v>
                </c:pt>
                <c:pt idx="863">
                  <c:v>22.06.2021</c:v>
                </c:pt>
                <c:pt idx="864">
                  <c:v>21.06.2021</c:v>
                </c:pt>
                <c:pt idx="865">
                  <c:v>18.06.2021</c:v>
                </c:pt>
                <c:pt idx="866">
                  <c:v>17.06.2021</c:v>
                </c:pt>
                <c:pt idx="867">
                  <c:v>16.06.2021</c:v>
                </c:pt>
                <c:pt idx="868">
                  <c:v>15.06.2021</c:v>
                </c:pt>
                <c:pt idx="869">
                  <c:v>14.06.2021</c:v>
                </c:pt>
                <c:pt idx="870">
                  <c:v>11.06.2021</c:v>
                </c:pt>
                <c:pt idx="871">
                  <c:v>10.06.2021</c:v>
                </c:pt>
                <c:pt idx="872">
                  <c:v>09.06.2021</c:v>
                </c:pt>
                <c:pt idx="873">
                  <c:v>08.06.2021</c:v>
                </c:pt>
                <c:pt idx="874">
                  <c:v>07.06.2021</c:v>
                </c:pt>
                <c:pt idx="875">
                  <c:v>04.06.2021</c:v>
                </c:pt>
                <c:pt idx="876">
                  <c:v>03.06.2021</c:v>
                </c:pt>
                <c:pt idx="877">
                  <c:v>02.06.2021</c:v>
                </c:pt>
                <c:pt idx="878">
                  <c:v>01.06.2021</c:v>
                </c:pt>
                <c:pt idx="879">
                  <c:v>28.05.2021</c:v>
                </c:pt>
                <c:pt idx="880">
                  <c:v>27.05.2021</c:v>
                </c:pt>
                <c:pt idx="881">
                  <c:v>26.05.2021</c:v>
                </c:pt>
                <c:pt idx="882">
                  <c:v>25.05.2021</c:v>
                </c:pt>
                <c:pt idx="883">
                  <c:v>24.05.2021</c:v>
                </c:pt>
                <c:pt idx="884">
                  <c:v>21.05.2021</c:v>
                </c:pt>
                <c:pt idx="885">
                  <c:v>20.05.2021</c:v>
                </c:pt>
                <c:pt idx="886">
                  <c:v>19.05.2021</c:v>
                </c:pt>
                <c:pt idx="887">
                  <c:v>18.05.2021</c:v>
                </c:pt>
                <c:pt idx="888">
                  <c:v>17.05.2021</c:v>
                </c:pt>
                <c:pt idx="889">
                  <c:v>14.05.2021</c:v>
                </c:pt>
                <c:pt idx="890">
                  <c:v>13.05.2021</c:v>
                </c:pt>
                <c:pt idx="891">
                  <c:v>12.05.2021</c:v>
                </c:pt>
                <c:pt idx="892">
                  <c:v>11.05.2021</c:v>
                </c:pt>
                <c:pt idx="893">
                  <c:v>10.05.2021</c:v>
                </c:pt>
                <c:pt idx="894">
                  <c:v>07.05.2021</c:v>
                </c:pt>
                <c:pt idx="895">
                  <c:v>06.05.2021</c:v>
                </c:pt>
                <c:pt idx="896">
                  <c:v>05.05.2021</c:v>
                </c:pt>
                <c:pt idx="897">
                  <c:v>04.05.2021</c:v>
                </c:pt>
                <c:pt idx="898">
                  <c:v>03.05.2021</c:v>
                </c:pt>
                <c:pt idx="899">
                  <c:v>30.04.2021</c:v>
                </c:pt>
                <c:pt idx="900">
                  <c:v>29.04.2021</c:v>
                </c:pt>
                <c:pt idx="901">
                  <c:v>28.04.2021</c:v>
                </c:pt>
                <c:pt idx="902">
                  <c:v>27.04.2021</c:v>
                </c:pt>
                <c:pt idx="903">
                  <c:v>26.04.2021</c:v>
                </c:pt>
                <c:pt idx="904">
                  <c:v>23.04.2021</c:v>
                </c:pt>
                <c:pt idx="905">
                  <c:v>22.04.2021</c:v>
                </c:pt>
                <c:pt idx="906">
                  <c:v>21.04.2021</c:v>
                </c:pt>
                <c:pt idx="907">
                  <c:v>20.04.2021</c:v>
                </c:pt>
                <c:pt idx="908">
                  <c:v>19.04.2021</c:v>
                </c:pt>
                <c:pt idx="909">
                  <c:v>16.04.2021</c:v>
                </c:pt>
                <c:pt idx="910">
                  <c:v>15.04.2021</c:v>
                </c:pt>
                <c:pt idx="911">
                  <c:v>14.04.2021</c:v>
                </c:pt>
                <c:pt idx="912">
                  <c:v>13.04.2021</c:v>
                </c:pt>
                <c:pt idx="913">
                  <c:v>12.04.2021</c:v>
                </c:pt>
                <c:pt idx="914">
                  <c:v>09.04.2021</c:v>
                </c:pt>
                <c:pt idx="915">
                  <c:v>08.04.2021</c:v>
                </c:pt>
                <c:pt idx="916">
                  <c:v>07.04.2021</c:v>
                </c:pt>
                <c:pt idx="917">
                  <c:v>06.04.2021</c:v>
                </c:pt>
                <c:pt idx="918">
                  <c:v>05.04.2021</c:v>
                </c:pt>
                <c:pt idx="919">
                  <c:v>01.04.2021</c:v>
                </c:pt>
                <c:pt idx="920">
                  <c:v>31.03.2021</c:v>
                </c:pt>
                <c:pt idx="921">
                  <c:v>30.03.2021</c:v>
                </c:pt>
                <c:pt idx="922">
                  <c:v>29.03.2021</c:v>
                </c:pt>
                <c:pt idx="923">
                  <c:v>26.03.2021</c:v>
                </c:pt>
                <c:pt idx="924">
                  <c:v>25.03.2021</c:v>
                </c:pt>
                <c:pt idx="925">
                  <c:v>24.03.2021</c:v>
                </c:pt>
                <c:pt idx="926">
                  <c:v>23.03.2021</c:v>
                </c:pt>
                <c:pt idx="927">
                  <c:v>22.03.2021</c:v>
                </c:pt>
                <c:pt idx="928">
                  <c:v>19.03.2021</c:v>
                </c:pt>
                <c:pt idx="929">
                  <c:v>18.03.2021</c:v>
                </c:pt>
                <c:pt idx="930">
                  <c:v>17.03.2021</c:v>
                </c:pt>
                <c:pt idx="931">
                  <c:v>16.03.2021</c:v>
                </c:pt>
                <c:pt idx="932">
                  <c:v>15.03.2021</c:v>
                </c:pt>
                <c:pt idx="933">
                  <c:v>12.03.2021</c:v>
                </c:pt>
                <c:pt idx="934">
                  <c:v>11.03.2021</c:v>
                </c:pt>
                <c:pt idx="935">
                  <c:v>10.03.2021</c:v>
                </c:pt>
                <c:pt idx="936">
                  <c:v>09.03.2021</c:v>
                </c:pt>
                <c:pt idx="937">
                  <c:v>08.03.2021</c:v>
                </c:pt>
                <c:pt idx="938">
                  <c:v>05.03.2021</c:v>
                </c:pt>
                <c:pt idx="939">
                  <c:v>04.03.2021</c:v>
                </c:pt>
                <c:pt idx="940">
                  <c:v>03.03.2021</c:v>
                </c:pt>
                <c:pt idx="941">
                  <c:v>02.03.2021</c:v>
                </c:pt>
                <c:pt idx="942">
                  <c:v>01.03.2021</c:v>
                </c:pt>
                <c:pt idx="943">
                  <c:v>26.02.2021</c:v>
                </c:pt>
                <c:pt idx="944">
                  <c:v>25.02.2021</c:v>
                </c:pt>
                <c:pt idx="945">
                  <c:v>24.02.2021</c:v>
                </c:pt>
                <c:pt idx="946">
                  <c:v>23.02.2021</c:v>
                </c:pt>
                <c:pt idx="947">
                  <c:v>22.02.2021</c:v>
                </c:pt>
                <c:pt idx="948">
                  <c:v>19.02.2021</c:v>
                </c:pt>
                <c:pt idx="949">
                  <c:v>18.02.2021</c:v>
                </c:pt>
                <c:pt idx="950">
                  <c:v>17.02.2021</c:v>
                </c:pt>
                <c:pt idx="951">
                  <c:v>16.02.2021</c:v>
                </c:pt>
                <c:pt idx="952">
                  <c:v>12.02.2021</c:v>
                </c:pt>
                <c:pt idx="953">
                  <c:v>11.02.2021</c:v>
                </c:pt>
                <c:pt idx="954">
                  <c:v>10.02.2021</c:v>
                </c:pt>
                <c:pt idx="955">
                  <c:v>09.02.2021</c:v>
                </c:pt>
                <c:pt idx="956">
                  <c:v>08.02.2021</c:v>
                </c:pt>
                <c:pt idx="957">
                  <c:v>05.02.2021</c:v>
                </c:pt>
                <c:pt idx="958">
                  <c:v>04.02.2021</c:v>
                </c:pt>
                <c:pt idx="959">
                  <c:v>03.02.2021</c:v>
                </c:pt>
                <c:pt idx="960">
                  <c:v>02.02.2021</c:v>
                </c:pt>
                <c:pt idx="961">
                  <c:v>01.02.2021</c:v>
                </c:pt>
                <c:pt idx="962">
                  <c:v>29.01.2021</c:v>
                </c:pt>
                <c:pt idx="963">
                  <c:v>28.01.2021</c:v>
                </c:pt>
                <c:pt idx="964">
                  <c:v>27.01.2021</c:v>
                </c:pt>
                <c:pt idx="965">
                  <c:v>26.01.2021</c:v>
                </c:pt>
                <c:pt idx="966">
                  <c:v>25.01.2021</c:v>
                </c:pt>
                <c:pt idx="967">
                  <c:v>22.01.2021</c:v>
                </c:pt>
                <c:pt idx="968">
                  <c:v>21.01.2021</c:v>
                </c:pt>
                <c:pt idx="969">
                  <c:v>20.01.2021</c:v>
                </c:pt>
                <c:pt idx="970">
                  <c:v>19.01.2021</c:v>
                </c:pt>
                <c:pt idx="971">
                  <c:v>15.01.2021</c:v>
                </c:pt>
                <c:pt idx="972">
                  <c:v>14.01.2021</c:v>
                </c:pt>
                <c:pt idx="973">
                  <c:v>13.01.2021</c:v>
                </c:pt>
                <c:pt idx="974">
                  <c:v>12.01.2021</c:v>
                </c:pt>
                <c:pt idx="975">
                  <c:v>11.01.2021</c:v>
                </c:pt>
                <c:pt idx="976">
                  <c:v>08.01.2021</c:v>
                </c:pt>
                <c:pt idx="977">
                  <c:v>07.01.2021</c:v>
                </c:pt>
                <c:pt idx="978">
                  <c:v>06.01.2021</c:v>
                </c:pt>
                <c:pt idx="979">
                  <c:v>05.01.2021</c:v>
                </c:pt>
                <c:pt idx="980">
                  <c:v>04.01.2021</c:v>
                </c:pt>
                <c:pt idx="981">
                  <c:v>31.12.2020</c:v>
                </c:pt>
                <c:pt idx="982">
                  <c:v>30.12.2020</c:v>
                </c:pt>
                <c:pt idx="983">
                  <c:v>29.12.2020</c:v>
                </c:pt>
                <c:pt idx="984">
                  <c:v>28.12.2020</c:v>
                </c:pt>
                <c:pt idx="985">
                  <c:v>24.12.2020</c:v>
                </c:pt>
                <c:pt idx="986">
                  <c:v>23.12.2020</c:v>
                </c:pt>
                <c:pt idx="987">
                  <c:v>22.12.2020</c:v>
                </c:pt>
                <c:pt idx="988">
                  <c:v>21.12.2020</c:v>
                </c:pt>
                <c:pt idx="989">
                  <c:v>18.12.2020</c:v>
                </c:pt>
                <c:pt idx="990">
                  <c:v>17.12.2020</c:v>
                </c:pt>
                <c:pt idx="991">
                  <c:v>16.12.2020</c:v>
                </c:pt>
                <c:pt idx="992">
                  <c:v>15.12.2020</c:v>
                </c:pt>
                <c:pt idx="993">
                  <c:v>14.12.2020</c:v>
                </c:pt>
                <c:pt idx="994">
                  <c:v>11.12.2020</c:v>
                </c:pt>
                <c:pt idx="995">
                  <c:v>10.12.2020</c:v>
                </c:pt>
                <c:pt idx="996">
                  <c:v>09.12.2020</c:v>
                </c:pt>
                <c:pt idx="997">
                  <c:v>08.12.2020</c:v>
                </c:pt>
                <c:pt idx="998">
                  <c:v>07.12.2020</c:v>
                </c:pt>
                <c:pt idx="999">
                  <c:v>04.12.2020</c:v>
                </c:pt>
                <c:pt idx="1000">
                  <c:v>03.12.2020</c:v>
                </c:pt>
                <c:pt idx="1001">
                  <c:v>02.12.2020</c:v>
                </c:pt>
                <c:pt idx="1002">
                  <c:v>01.12.2020</c:v>
                </c:pt>
                <c:pt idx="1003">
                  <c:v>30.11.2020</c:v>
                </c:pt>
                <c:pt idx="1004">
                  <c:v>27.11.2020</c:v>
                </c:pt>
                <c:pt idx="1005">
                  <c:v>25.11.2020</c:v>
                </c:pt>
                <c:pt idx="1006">
                  <c:v>24.11.2020</c:v>
                </c:pt>
                <c:pt idx="1007">
                  <c:v>23.11.2020</c:v>
                </c:pt>
                <c:pt idx="1008">
                  <c:v>20.11.2020</c:v>
                </c:pt>
                <c:pt idx="1009">
                  <c:v>19.11.2020</c:v>
                </c:pt>
                <c:pt idx="1010">
                  <c:v>18.11.2020</c:v>
                </c:pt>
                <c:pt idx="1011">
                  <c:v>17.11.2020</c:v>
                </c:pt>
                <c:pt idx="1012">
                  <c:v>16.11.2020</c:v>
                </c:pt>
                <c:pt idx="1013">
                  <c:v>13.11.2020</c:v>
                </c:pt>
                <c:pt idx="1014">
                  <c:v>12.11.2020</c:v>
                </c:pt>
                <c:pt idx="1015">
                  <c:v>11.11.2020</c:v>
                </c:pt>
                <c:pt idx="1016">
                  <c:v>10.11.2020</c:v>
                </c:pt>
                <c:pt idx="1017">
                  <c:v>09.11.2020</c:v>
                </c:pt>
                <c:pt idx="1018">
                  <c:v>06.11.2020</c:v>
                </c:pt>
                <c:pt idx="1019">
                  <c:v>05.11.2020</c:v>
                </c:pt>
                <c:pt idx="1020">
                  <c:v>04.11.2020</c:v>
                </c:pt>
                <c:pt idx="1021">
                  <c:v>03.11.2020</c:v>
                </c:pt>
                <c:pt idx="1022">
                  <c:v>02.11.2020</c:v>
                </c:pt>
                <c:pt idx="1023">
                  <c:v>30.10.2020</c:v>
                </c:pt>
                <c:pt idx="1024">
                  <c:v>29.10.2020</c:v>
                </c:pt>
                <c:pt idx="1025">
                  <c:v>28.10.2020</c:v>
                </c:pt>
                <c:pt idx="1026">
                  <c:v>27.10.2020</c:v>
                </c:pt>
                <c:pt idx="1027">
                  <c:v>26.10.2020</c:v>
                </c:pt>
                <c:pt idx="1028">
                  <c:v>23.10.2020</c:v>
                </c:pt>
                <c:pt idx="1029">
                  <c:v>22.10.2020</c:v>
                </c:pt>
                <c:pt idx="1030">
                  <c:v>21.10.2020</c:v>
                </c:pt>
                <c:pt idx="1031">
                  <c:v>20.10.2020</c:v>
                </c:pt>
                <c:pt idx="1032">
                  <c:v>19.10.2020</c:v>
                </c:pt>
                <c:pt idx="1033">
                  <c:v>16.10.2020</c:v>
                </c:pt>
                <c:pt idx="1034">
                  <c:v>15.10.2020</c:v>
                </c:pt>
                <c:pt idx="1035">
                  <c:v>14.10.2020</c:v>
                </c:pt>
                <c:pt idx="1036">
                  <c:v>13.10.2020</c:v>
                </c:pt>
                <c:pt idx="1037">
                  <c:v>12.10.2020</c:v>
                </c:pt>
                <c:pt idx="1038">
                  <c:v>09.10.2020</c:v>
                </c:pt>
                <c:pt idx="1039">
                  <c:v>08.10.2020</c:v>
                </c:pt>
                <c:pt idx="1040">
                  <c:v>07.10.2020</c:v>
                </c:pt>
                <c:pt idx="1041">
                  <c:v>06.10.2020</c:v>
                </c:pt>
                <c:pt idx="1042">
                  <c:v>05.10.2020</c:v>
                </c:pt>
                <c:pt idx="1043">
                  <c:v>02.10.2020</c:v>
                </c:pt>
                <c:pt idx="1044">
                  <c:v>01.10.2020</c:v>
                </c:pt>
                <c:pt idx="1045">
                  <c:v>30.09.2020</c:v>
                </c:pt>
                <c:pt idx="1046">
                  <c:v>29.09.2020</c:v>
                </c:pt>
                <c:pt idx="1047">
                  <c:v>28.09.2020</c:v>
                </c:pt>
                <c:pt idx="1048">
                  <c:v>25.09.2020</c:v>
                </c:pt>
                <c:pt idx="1049">
                  <c:v>24.09.2020</c:v>
                </c:pt>
                <c:pt idx="1050">
                  <c:v>23.09.2020</c:v>
                </c:pt>
                <c:pt idx="1051">
                  <c:v>22.09.2020</c:v>
                </c:pt>
                <c:pt idx="1052">
                  <c:v>21.09.2020</c:v>
                </c:pt>
                <c:pt idx="1053">
                  <c:v>18.09.2020</c:v>
                </c:pt>
                <c:pt idx="1054">
                  <c:v>17.09.2020</c:v>
                </c:pt>
                <c:pt idx="1055">
                  <c:v>16.09.2020</c:v>
                </c:pt>
                <c:pt idx="1056">
                  <c:v>15.09.2020</c:v>
                </c:pt>
                <c:pt idx="1057">
                  <c:v>14.09.2020</c:v>
                </c:pt>
                <c:pt idx="1058">
                  <c:v>11.09.2020</c:v>
                </c:pt>
                <c:pt idx="1059">
                  <c:v>10.09.2020</c:v>
                </c:pt>
                <c:pt idx="1060">
                  <c:v>09.09.2020</c:v>
                </c:pt>
                <c:pt idx="1061">
                  <c:v>08.09.2020</c:v>
                </c:pt>
                <c:pt idx="1062">
                  <c:v>04.09.2020</c:v>
                </c:pt>
                <c:pt idx="1063">
                  <c:v>03.09.2020</c:v>
                </c:pt>
                <c:pt idx="1064">
                  <c:v>02.09.2020</c:v>
                </c:pt>
                <c:pt idx="1065">
                  <c:v>01.09.2020</c:v>
                </c:pt>
                <c:pt idx="1066">
                  <c:v>31.08.2020</c:v>
                </c:pt>
                <c:pt idx="1067">
                  <c:v>28.08.2020</c:v>
                </c:pt>
                <c:pt idx="1068">
                  <c:v>27.08.2020</c:v>
                </c:pt>
                <c:pt idx="1069">
                  <c:v>26.08.2020</c:v>
                </c:pt>
                <c:pt idx="1070">
                  <c:v>25.08.2020</c:v>
                </c:pt>
                <c:pt idx="1071">
                  <c:v>24.08.2020</c:v>
                </c:pt>
                <c:pt idx="1072">
                  <c:v>21.08.2020</c:v>
                </c:pt>
                <c:pt idx="1073">
                  <c:v>20.08.2020</c:v>
                </c:pt>
                <c:pt idx="1074">
                  <c:v>19.08.2020</c:v>
                </c:pt>
                <c:pt idx="1075">
                  <c:v>18.08.2020</c:v>
                </c:pt>
                <c:pt idx="1076">
                  <c:v>17.08.2020</c:v>
                </c:pt>
                <c:pt idx="1077">
                  <c:v>14.08.2020</c:v>
                </c:pt>
                <c:pt idx="1078">
                  <c:v>13.08.2020</c:v>
                </c:pt>
                <c:pt idx="1079">
                  <c:v>12.08.2020</c:v>
                </c:pt>
                <c:pt idx="1080">
                  <c:v>11.08.2020</c:v>
                </c:pt>
                <c:pt idx="1081">
                  <c:v>10.08.2020</c:v>
                </c:pt>
                <c:pt idx="1082">
                  <c:v>07.08.2020</c:v>
                </c:pt>
                <c:pt idx="1083">
                  <c:v>06.08.2020</c:v>
                </c:pt>
                <c:pt idx="1084">
                  <c:v>05.08.2020</c:v>
                </c:pt>
                <c:pt idx="1085">
                  <c:v>04.08.2020</c:v>
                </c:pt>
                <c:pt idx="1086">
                  <c:v>03.08.2020</c:v>
                </c:pt>
                <c:pt idx="1087">
                  <c:v>31.07.2020</c:v>
                </c:pt>
                <c:pt idx="1088">
                  <c:v>30.07.2020</c:v>
                </c:pt>
                <c:pt idx="1089">
                  <c:v>29.07.2020</c:v>
                </c:pt>
                <c:pt idx="1090">
                  <c:v>28.07.2020</c:v>
                </c:pt>
                <c:pt idx="1091">
                  <c:v>27.07.2020</c:v>
                </c:pt>
                <c:pt idx="1092">
                  <c:v>24.07.2020</c:v>
                </c:pt>
                <c:pt idx="1093">
                  <c:v>23.07.2020</c:v>
                </c:pt>
                <c:pt idx="1094">
                  <c:v>22.07.2020</c:v>
                </c:pt>
                <c:pt idx="1095">
                  <c:v>21.07.2020</c:v>
                </c:pt>
                <c:pt idx="1096">
                  <c:v>20.07.2020</c:v>
                </c:pt>
                <c:pt idx="1097">
                  <c:v>17.07.2020</c:v>
                </c:pt>
                <c:pt idx="1098">
                  <c:v>16.07.2020</c:v>
                </c:pt>
                <c:pt idx="1099">
                  <c:v>15.07.2020</c:v>
                </c:pt>
                <c:pt idx="1100">
                  <c:v>14.07.2020</c:v>
                </c:pt>
                <c:pt idx="1101">
                  <c:v>13.07.2020</c:v>
                </c:pt>
                <c:pt idx="1102">
                  <c:v>10.07.2020</c:v>
                </c:pt>
                <c:pt idx="1103">
                  <c:v>09.07.2020</c:v>
                </c:pt>
                <c:pt idx="1104">
                  <c:v>08.07.2020</c:v>
                </c:pt>
                <c:pt idx="1105">
                  <c:v>07.07.2020</c:v>
                </c:pt>
                <c:pt idx="1106">
                  <c:v>06.07.2020</c:v>
                </c:pt>
                <c:pt idx="1107">
                  <c:v>02.07.2020</c:v>
                </c:pt>
                <c:pt idx="1108">
                  <c:v>01.07.2020</c:v>
                </c:pt>
                <c:pt idx="1109">
                  <c:v>30.06.2020</c:v>
                </c:pt>
                <c:pt idx="1110">
                  <c:v>29.06.2020</c:v>
                </c:pt>
                <c:pt idx="1111">
                  <c:v>26.06.2020</c:v>
                </c:pt>
                <c:pt idx="1112">
                  <c:v>25.06.2020</c:v>
                </c:pt>
                <c:pt idx="1113">
                  <c:v>24.06.2020</c:v>
                </c:pt>
                <c:pt idx="1114">
                  <c:v>23.06.2020</c:v>
                </c:pt>
                <c:pt idx="1115">
                  <c:v>22.06.2020</c:v>
                </c:pt>
                <c:pt idx="1116">
                  <c:v>19.06.2020</c:v>
                </c:pt>
                <c:pt idx="1117">
                  <c:v>18.06.2020</c:v>
                </c:pt>
                <c:pt idx="1118">
                  <c:v>17.06.2020</c:v>
                </c:pt>
                <c:pt idx="1119">
                  <c:v>16.06.2020</c:v>
                </c:pt>
                <c:pt idx="1120">
                  <c:v>15.06.2020</c:v>
                </c:pt>
                <c:pt idx="1121">
                  <c:v>12.06.2020</c:v>
                </c:pt>
                <c:pt idx="1122">
                  <c:v>11.06.2020</c:v>
                </c:pt>
                <c:pt idx="1123">
                  <c:v>10.06.2020</c:v>
                </c:pt>
                <c:pt idx="1124">
                  <c:v>09.06.2020</c:v>
                </c:pt>
                <c:pt idx="1125">
                  <c:v>08.06.2020</c:v>
                </c:pt>
                <c:pt idx="1126">
                  <c:v>05.06.2020</c:v>
                </c:pt>
                <c:pt idx="1127">
                  <c:v>04.06.2020</c:v>
                </c:pt>
                <c:pt idx="1128">
                  <c:v>03.06.2020</c:v>
                </c:pt>
                <c:pt idx="1129">
                  <c:v>02.06.2020</c:v>
                </c:pt>
                <c:pt idx="1130">
                  <c:v>01.06.2020</c:v>
                </c:pt>
                <c:pt idx="1131">
                  <c:v>29.05.2020</c:v>
                </c:pt>
                <c:pt idx="1132">
                  <c:v>28.05.2020</c:v>
                </c:pt>
                <c:pt idx="1133">
                  <c:v>27.05.2020</c:v>
                </c:pt>
                <c:pt idx="1134">
                  <c:v>26.05.2020</c:v>
                </c:pt>
                <c:pt idx="1135">
                  <c:v>22.05.2020</c:v>
                </c:pt>
                <c:pt idx="1136">
                  <c:v>21.05.2020</c:v>
                </c:pt>
                <c:pt idx="1137">
                  <c:v>20.05.2020</c:v>
                </c:pt>
                <c:pt idx="1138">
                  <c:v>19.05.2020</c:v>
                </c:pt>
                <c:pt idx="1139">
                  <c:v>18.05.2020</c:v>
                </c:pt>
                <c:pt idx="1140">
                  <c:v>15.05.2020</c:v>
                </c:pt>
                <c:pt idx="1141">
                  <c:v>14.05.2020</c:v>
                </c:pt>
                <c:pt idx="1142">
                  <c:v>13.05.2020</c:v>
                </c:pt>
                <c:pt idx="1143">
                  <c:v>12.05.2020</c:v>
                </c:pt>
                <c:pt idx="1144">
                  <c:v>11.05.2020</c:v>
                </c:pt>
                <c:pt idx="1145">
                  <c:v>08.05.2020</c:v>
                </c:pt>
                <c:pt idx="1146">
                  <c:v>07.05.2020</c:v>
                </c:pt>
                <c:pt idx="1147">
                  <c:v>06.05.2020</c:v>
                </c:pt>
                <c:pt idx="1148">
                  <c:v>05.05.2020</c:v>
                </c:pt>
                <c:pt idx="1149">
                  <c:v>04.05.2020</c:v>
                </c:pt>
                <c:pt idx="1150">
                  <c:v>01.05.2020</c:v>
                </c:pt>
                <c:pt idx="1151">
                  <c:v>30.04.2020</c:v>
                </c:pt>
                <c:pt idx="1152">
                  <c:v>29.04.2020</c:v>
                </c:pt>
                <c:pt idx="1153">
                  <c:v>28.04.2020</c:v>
                </c:pt>
                <c:pt idx="1154">
                  <c:v>27.04.2020</c:v>
                </c:pt>
                <c:pt idx="1155">
                  <c:v>24.04.2020</c:v>
                </c:pt>
                <c:pt idx="1156">
                  <c:v>23.04.2020</c:v>
                </c:pt>
                <c:pt idx="1157">
                  <c:v>22.04.2020</c:v>
                </c:pt>
                <c:pt idx="1158">
                  <c:v>21.04.2020</c:v>
                </c:pt>
                <c:pt idx="1159">
                  <c:v>20.04.2020</c:v>
                </c:pt>
                <c:pt idx="1160">
                  <c:v>17.04.2020</c:v>
                </c:pt>
                <c:pt idx="1161">
                  <c:v>16.04.2020</c:v>
                </c:pt>
                <c:pt idx="1162">
                  <c:v>15.04.2020</c:v>
                </c:pt>
                <c:pt idx="1163">
                  <c:v>14.04.2020</c:v>
                </c:pt>
                <c:pt idx="1164">
                  <c:v>13.04.2020</c:v>
                </c:pt>
                <c:pt idx="1165">
                  <c:v>09.04.2020</c:v>
                </c:pt>
                <c:pt idx="1166">
                  <c:v>08.04.2020</c:v>
                </c:pt>
                <c:pt idx="1167">
                  <c:v>07.04.2020</c:v>
                </c:pt>
                <c:pt idx="1168">
                  <c:v>06.04.2020</c:v>
                </c:pt>
                <c:pt idx="1169">
                  <c:v>03.04.2020</c:v>
                </c:pt>
                <c:pt idx="1170">
                  <c:v>02.04.2020</c:v>
                </c:pt>
                <c:pt idx="1171">
                  <c:v>01.04.2020</c:v>
                </c:pt>
                <c:pt idx="1172">
                  <c:v>31.03.2020</c:v>
                </c:pt>
                <c:pt idx="1173">
                  <c:v>30.03.2020</c:v>
                </c:pt>
                <c:pt idx="1174">
                  <c:v>27.03.2020</c:v>
                </c:pt>
                <c:pt idx="1175">
                  <c:v>26.03.2020</c:v>
                </c:pt>
                <c:pt idx="1176">
                  <c:v>25.03.2020</c:v>
                </c:pt>
                <c:pt idx="1177">
                  <c:v>24.03.2020</c:v>
                </c:pt>
                <c:pt idx="1178">
                  <c:v>23.03.2020</c:v>
                </c:pt>
                <c:pt idx="1179">
                  <c:v>20.03.2020</c:v>
                </c:pt>
                <c:pt idx="1180">
                  <c:v>19.03.2020</c:v>
                </c:pt>
                <c:pt idx="1181">
                  <c:v>18.03.2020</c:v>
                </c:pt>
                <c:pt idx="1182">
                  <c:v>17.03.2020</c:v>
                </c:pt>
                <c:pt idx="1183">
                  <c:v>16.03.2020</c:v>
                </c:pt>
                <c:pt idx="1184">
                  <c:v>13.03.2020</c:v>
                </c:pt>
                <c:pt idx="1185">
                  <c:v>12.03.2020</c:v>
                </c:pt>
                <c:pt idx="1186">
                  <c:v>11.03.2020</c:v>
                </c:pt>
                <c:pt idx="1187">
                  <c:v>10.03.2020</c:v>
                </c:pt>
                <c:pt idx="1188">
                  <c:v>09.03.2020</c:v>
                </c:pt>
                <c:pt idx="1189">
                  <c:v>06.03.2020</c:v>
                </c:pt>
                <c:pt idx="1190">
                  <c:v>05.03.2020</c:v>
                </c:pt>
                <c:pt idx="1191">
                  <c:v>04.03.2020</c:v>
                </c:pt>
                <c:pt idx="1192">
                  <c:v>03.03.2020</c:v>
                </c:pt>
                <c:pt idx="1193">
                  <c:v>02.03.2020</c:v>
                </c:pt>
                <c:pt idx="1194">
                  <c:v>28.02.2020</c:v>
                </c:pt>
                <c:pt idx="1195">
                  <c:v>27.02.2020</c:v>
                </c:pt>
                <c:pt idx="1196">
                  <c:v>26.02.2020</c:v>
                </c:pt>
                <c:pt idx="1197">
                  <c:v>25.02.2020</c:v>
                </c:pt>
                <c:pt idx="1198">
                  <c:v>24.02.2020</c:v>
                </c:pt>
                <c:pt idx="1199">
                  <c:v>21.02.2020</c:v>
                </c:pt>
                <c:pt idx="1200">
                  <c:v>20.02.2020</c:v>
                </c:pt>
                <c:pt idx="1201">
                  <c:v>19.02.2020</c:v>
                </c:pt>
                <c:pt idx="1202">
                  <c:v>18.02.2020</c:v>
                </c:pt>
                <c:pt idx="1203">
                  <c:v>14.02.2020</c:v>
                </c:pt>
                <c:pt idx="1204">
                  <c:v>13.02.2020</c:v>
                </c:pt>
                <c:pt idx="1205">
                  <c:v>12.02.2020</c:v>
                </c:pt>
                <c:pt idx="1206">
                  <c:v>11.02.2020</c:v>
                </c:pt>
                <c:pt idx="1207">
                  <c:v>10.02.2020</c:v>
                </c:pt>
                <c:pt idx="1208">
                  <c:v>07.02.2020</c:v>
                </c:pt>
                <c:pt idx="1209">
                  <c:v>06.02.2020</c:v>
                </c:pt>
                <c:pt idx="1210">
                  <c:v>05.02.2020</c:v>
                </c:pt>
                <c:pt idx="1211">
                  <c:v>04.02.2020</c:v>
                </c:pt>
                <c:pt idx="1212">
                  <c:v>03.02.2020</c:v>
                </c:pt>
                <c:pt idx="1213">
                  <c:v>31.01.2020</c:v>
                </c:pt>
                <c:pt idx="1214">
                  <c:v>30.01.2020</c:v>
                </c:pt>
                <c:pt idx="1215">
                  <c:v>29.01.2020</c:v>
                </c:pt>
                <c:pt idx="1216">
                  <c:v>28.01.2020</c:v>
                </c:pt>
                <c:pt idx="1217">
                  <c:v>27.01.2020</c:v>
                </c:pt>
                <c:pt idx="1218">
                  <c:v>24.01.2020</c:v>
                </c:pt>
                <c:pt idx="1219">
                  <c:v>23.01.2020</c:v>
                </c:pt>
                <c:pt idx="1220">
                  <c:v>22.01.2020</c:v>
                </c:pt>
                <c:pt idx="1221">
                  <c:v>21.01.2020</c:v>
                </c:pt>
                <c:pt idx="1222">
                  <c:v>17.01.2020</c:v>
                </c:pt>
                <c:pt idx="1223">
                  <c:v>16.01.2020</c:v>
                </c:pt>
                <c:pt idx="1224">
                  <c:v>15.01.2020</c:v>
                </c:pt>
                <c:pt idx="1225">
                  <c:v>14.01.2020</c:v>
                </c:pt>
                <c:pt idx="1226">
                  <c:v>13.01.2020</c:v>
                </c:pt>
                <c:pt idx="1227">
                  <c:v>10.01.2020</c:v>
                </c:pt>
                <c:pt idx="1228">
                  <c:v>09.01.2020</c:v>
                </c:pt>
                <c:pt idx="1229">
                  <c:v>08.01.2020</c:v>
                </c:pt>
                <c:pt idx="1230">
                  <c:v>07.01.2020</c:v>
                </c:pt>
                <c:pt idx="1231">
                  <c:v>06.01.2020</c:v>
                </c:pt>
                <c:pt idx="1232">
                  <c:v>03.01.2020</c:v>
                </c:pt>
                <c:pt idx="1233">
                  <c:v>02.01.2020</c:v>
                </c:pt>
                <c:pt idx="1234">
                  <c:v>31.12.2019</c:v>
                </c:pt>
                <c:pt idx="1235">
                  <c:v>30.12.2019</c:v>
                </c:pt>
                <c:pt idx="1236">
                  <c:v>27.12.2019</c:v>
                </c:pt>
                <c:pt idx="1237">
                  <c:v>26.12.2019</c:v>
                </c:pt>
                <c:pt idx="1238">
                  <c:v>24.12.2019</c:v>
                </c:pt>
                <c:pt idx="1239">
                  <c:v>23.12.2019</c:v>
                </c:pt>
                <c:pt idx="1240">
                  <c:v>20.12.2019</c:v>
                </c:pt>
                <c:pt idx="1241">
                  <c:v>19.12.2019</c:v>
                </c:pt>
                <c:pt idx="1242">
                  <c:v>18.12.2019</c:v>
                </c:pt>
                <c:pt idx="1243">
                  <c:v>17.12.2019</c:v>
                </c:pt>
                <c:pt idx="1244">
                  <c:v>16.12.2019</c:v>
                </c:pt>
                <c:pt idx="1245">
                  <c:v>13.12.2019</c:v>
                </c:pt>
                <c:pt idx="1246">
                  <c:v>12.12.2019</c:v>
                </c:pt>
                <c:pt idx="1247">
                  <c:v>11.12.2019</c:v>
                </c:pt>
                <c:pt idx="1248">
                  <c:v>10.12.2019</c:v>
                </c:pt>
                <c:pt idx="1249">
                  <c:v>09.12.2019</c:v>
                </c:pt>
                <c:pt idx="1250">
                  <c:v>06.12.2019</c:v>
                </c:pt>
                <c:pt idx="1251">
                  <c:v>05.12.2019</c:v>
                </c:pt>
                <c:pt idx="1252">
                  <c:v>04.12.2019</c:v>
                </c:pt>
                <c:pt idx="1253">
                  <c:v>03.12.2019</c:v>
                </c:pt>
                <c:pt idx="1254">
                  <c:v>02.12.2019</c:v>
                </c:pt>
                <c:pt idx="1255">
                  <c:v>29.11.2019</c:v>
                </c:pt>
                <c:pt idx="1256">
                  <c:v>27.11.2019</c:v>
                </c:pt>
                <c:pt idx="1257">
                  <c:v>26.11.2019</c:v>
                </c:pt>
                <c:pt idx="1258">
                  <c:v>25.11.2019</c:v>
                </c:pt>
                <c:pt idx="1259">
                  <c:v>22.11.2019</c:v>
                </c:pt>
                <c:pt idx="1260">
                  <c:v>21.11.2019</c:v>
                </c:pt>
                <c:pt idx="1261">
                  <c:v>20.11.2019</c:v>
                </c:pt>
                <c:pt idx="1262">
                  <c:v>19.11.2019</c:v>
                </c:pt>
                <c:pt idx="1263">
                  <c:v>18.11.2019</c:v>
                </c:pt>
                <c:pt idx="1264">
                  <c:v>15.11.2019</c:v>
                </c:pt>
                <c:pt idx="1265">
                  <c:v>14.11.2019</c:v>
                </c:pt>
                <c:pt idx="1266">
                  <c:v>13.11.2019</c:v>
                </c:pt>
                <c:pt idx="1267">
                  <c:v>12.11.2019</c:v>
                </c:pt>
                <c:pt idx="1268">
                  <c:v>11.11.2019</c:v>
                </c:pt>
                <c:pt idx="1269">
                  <c:v>08.11.2019</c:v>
                </c:pt>
                <c:pt idx="1270">
                  <c:v>07.11.2019</c:v>
                </c:pt>
                <c:pt idx="1271">
                  <c:v>06.11.2019</c:v>
                </c:pt>
                <c:pt idx="1272">
                  <c:v>05.11.2019</c:v>
                </c:pt>
                <c:pt idx="1273">
                  <c:v>04.11.2019</c:v>
                </c:pt>
                <c:pt idx="1274">
                  <c:v>01.11.2019</c:v>
                </c:pt>
                <c:pt idx="1275">
                  <c:v>31.10.2019</c:v>
                </c:pt>
                <c:pt idx="1276">
                  <c:v>30.10.2019</c:v>
                </c:pt>
                <c:pt idx="1277">
                  <c:v>29.10.2019</c:v>
                </c:pt>
                <c:pt idx="1278">
                  <c:v>28.10.2019</c:v>
                </c:pt>
                <c:pt idx="1279">
                  <c:v>25.10.2019</c:v>
                </c:pt>
                <c:pt idx="1280">
                  <c:v>24.10.2019</c:v>
                </c:pt>
                <c:pt idx="1281">
                  <c:v>23.10.2019</c:v>
                </c:pt>
                <c:pt idx="1282">
                  <c:v>22.10.2019</c:v>
                </c:pt>
                <c:pt idx="1283">
                  <c:v>21.10.2019</c:v>
                </c:pt>
                <c:pt idx="1284">
                  <c:v>18.10.2019</c:v>
                </c:pt>
                <c:pt idx="1285">
                  <c:v>17.10.2019</c:v>
                </c:pt>
                <c:pt idx="1286">
                  <c:v>16.10.2019</c:v>
                </c:pt>
                <c:pt idx="1287">
                  <c:v>15.10.2019</c:v>
                </c:pt>
                <c:pt idx="1288">
                  <c:v>14.10.2019</c:v>
                </c:pt>
                <c:pt idx="1289">
                  <c:v>11.10.2019</c:v>
                </c:pt>
                <c:pt idx="1290">
                  <c:v>10.10.2019</c:v>
                </c:pt>
                <c:pt idx="1291">
                  <c:v>09.10.2019</c:v>
                </c:pt>
                <c:pt idx="1292">
                  <c:v>08.10.2019</c:v>
                </c:pt>
                <c:pt idx="1293">
                  <c:v>07.10.2019</c:v>
                </c:pt>
                <c:pt idx="1294">
                  <c:v>04.10.2019</c:v>
                </c:pt>
                <c:pt idx="1295">
                  <c:v>03.10.2019</c:v>
                </c:pt>
                <c:pt idx="1296">
                  <c:v>02.10.2019</c:v>
                </c:pt>
                <c:pt idx="1297">
                  <c:v>01.10.2019</c:v>
                </c:pt>
                <c:pt idx="1298">
                  <c:v>30.09.2019</c:v>
                </c:pt>
                <c:pt idx="1299">
                  <c:v>27.09.2019</c:v>
                </c:pt>
                <c:pt idx="1300">
                  <c:v>26.09.2019</c:v>
                </c:pt>
                <c:pt idx="1301">
                  <c:v>25.09.2019</c:v>
                </c:pt>
                <c:pt idx="1302">
                  <c:v>24.09.2019</c:v>
                </c:pt>
                <c:pt idx="1303">
                  <c:v>23.09.2019</c:v>
                </c:pt>
                <c:pt idx="1304">
                  <c:v>20.09.2019</c:v>
                </c:pt>
                <c:pt idx="1305">
                  <c:v>19.09.2019</c:v>
                </c:pt>
                <c:pt idx="1306">
                  <c:v>18.09.2019</c:v>
                </c:pt>
                <c:pt idx="1307">
                  <c:v>17.09.2019</c:v>
                </c:pt>
                <c:pt idx="1308">
                  <c:v>16.09.2019</c:v>
                </c:pt>
                <c:pt idx="1309">
                  <c:v>13.09.2019</c:v>
                </c:pt>
                <c:pt idx="1310">
                  <c:v>12.09.2019</c:v>
                </c:pt>
                <c:pt idx="1311">
                  <c:v>11.09.2019</c:v>
                </c:pt>
                <c:pt idx="1312">
                  <c:v>10.09.2019</c:v>
                </c:pt>
                <c:pt idx="1313">
                  <c:v>09.09.2019</c:v>
                </c:pt>
                <c:pt idx="1314">
                  <c:v>06.09.2019</c:v>
                </c:pt>
                <c:pt idx="1315">
                  <c:v>05.09.2019</c:v>
                </c:pt>
                <c:pt idx="1316">
                  <c:v>04.09.2019</c:v>
                </c:pt>
                <c:pt idx="1317">
                  <c:v>03.09.2019</c:v>
                </c:pt>
                <c:pt idx="1318">
                  <c:v>30.08.2019</c:v>
                </c:pt>
                <c:pt idx="1319">
                  <c:v>29.08.2019</c:v>
                </c:pt>
                <c:pt idx="1320">
                  <c:v>28.08.2019</c:v>
                </c:pt>
                <c:pt idx="1321">
                  <c:v>27.08.2019</c:v>
                </c:pt>
                <c:pt idx="1322">
                  <c:v>26.08.2019</c:v>
                </c:pt>
                <c:pt idx="1323">
                  <c:v>23.08.2019</c:v>
                </c:pt>
                <c:pt idx="1324">
                  <c:v>22.08.2019</c:v>
                </c:pt>
                <c:pt idx="1325">
                  <c:v>21.08.2019</c:v>
                </c:pt>
                <c:pt idx="1326">
                  <c:v>20.08.2019</c:v>
                </c:pt>
                <c:pt idx="1327">
                  <c:v>19.08.2019</c:v>
                </c:pt>
                <c:pt idx="1328">
                  <c:v>16.08.2019</c:v>
                </c:pt>
                <c:pt idx="1329">
                  <c:v>15.08.2019</c:v>
                </c:pt>
                <c:pt idx="1330">
                  <c:v>14.08.2019</c:v>
                </c:pt>
                <c:pt idx="1331">
                  <c:v>13.08.2019</c:v>
                </c:pt>
                <c:pt idx="1332">
                  <c:v>12.08.2019</c:v>
                </c:pt>
                <c:pt idx="1333">
                  <c:v>09.08.2019</c:v>
                </c:pt>
                <c:pt idx="1334">
                  <c:v>08.08.2019</c:v>
                </c:pt>
                <c:pt idx="1335">
                  <c:v>07.08.2019</c:v>
                </c:pt>
                <c:pt idx="1336">
                  <c:v>06.08.2019</c:v>
                </c:pt>
                <c:pt idx="1337">
                  <c:v>05.08.2019</c:v>
                </c:pt>
                <c:pt idx="1338">
                  <c:v>02.08.2019</c:v>
                </c:pt>
                <c:pt idx="1339">
                  <c:v>01.08.2019</c:v>
                </c:pt>
                <c:pt idx="1340">
                  <c:v>31.07.2019</c:v>
                </c:pt>
                <c:pt idx="1341">
                  <c:v>30.07.2019</c:v>
                </c:pt>
                <c:pt idx="1342">
                  <c:v>29.07.2019</c:v>
                </c:pt>
                <c:pt idx="1343">
                  <c:v>26.07.2019</c:v>
                </c:pt>
                <c:pt idx="1344">
                  <c:v>25.07.2019</c:v>
                </c:pt>
                <c:pt idx="1345">
                  <c:v>24.07.2019</c:v>
                </c:pt>
                <c:pt idx="1346">
                  <c:v>23.07.2019</c:v>
                </c:pt>
                <c:pt idx="1347">
                  <c:v>22.07.2019</c:v>
                </c:pt>
                <c:pt idx="1348">
                  <c:v>19.07.2019</c:v>
                </c:pt>
                <c:pt idx="1349">
                  <c:v>18.07.2019</c:v>
                </c:pt>
                <c:pt idx="1350">
                  <c:v>17.07.2019</c:v>
                </c:pt>
                <c:pt idx="1351">
                  <c:v>16.07.2019</c:v>
                </c:pt>
                <c:pt idx="1352">
                  <c:v>15.07.2019</c:v>
                </c:pt>
                <c:pt idx="1353">
                  <c:v>12.07.2019</c:v>
                </c:pt>
                <c:pt idx="1354">
                  <c:v>11.07.2019</c:v>
                </c:pt>
                <c:pt idx="1355">
                  <c:v>10.07.2019</c:v>
                </c:pt>
                <c:pt idx="1356">
                  <c:v>09.07.2019</c:v>
                </c:pt>
                <c:pt idx="1357">
                  <c:v>08.07.2019</c:v>
                </c:pt>
                <c:pt idx="1358">
                  <c:v>05.07.2019</c:v>
                </c:pt>
                <c:pt idx="1359">
                  <c:v>03.07.2019</c:v>
                </c:pt>
                <c:pt idx="1360">
                  <c:v>02.07.2019</c:v>
                </c:pt>
                <c:pt idx="1361">
                  <c:v>01.07.2019</c:v>
                </c:pt>
                <c:pt idx="1362">
                  <c:v>28.06.2019</c:v>
                </c:pt>
                <c:pt idx="1363">
                  <c:v>27.06.2019</c:v>
                </c:pt>
                <c:pt idx="1364">
                  <c:v>26.06.2019</c:v>
                </c:pt>
                <c:pt idx="1365">
                  <c:v>25.06.2019</c:v>
                </c:pt>
                <c:pt idx="1366">
                  <c:v>24.06.2019</c:v>
                </c:pt>
                <c:pt idx="1367">
                  <c:v>21.06.2019</c:v>
                </c:pt>
                <c:pt idx="1368">
                  <c:v>20.06.2019</c:v>
                </c:pt>
                <c:pt idx="1369">
                  <c:v>19.06.2019</c:v>
                </c:pt>
                <c:pt idx="1370">
                  <c:v>18.06.2019</c:v>
                </c:pt>
                <c:pt idx="1371">
                  <c:v>17.06.2019</c:v>
                </c:pt>
                <c:pt idx="1372">
                  <c:v>14.06.2019</c:v>
                </c:pt>
                <c:pt idx="1373">
                  <c:v>13.06.2019</c:v>
                </c:pt>
                <c:pt idx="1374">
                  <c:v>12.06.2019</c:v>
                </c:pt>
                <c:pt idx="1375">
                  <c:v>11.06.2019</c:v>
                </c:pt>
                <c:pt idx="1376">
                  <c:v>10.06.2019</c:v>
                </c:pt>
                <c:pt idx="1377">
                  <c:v>07.06.2019</c:v>
                </c:pt>
                <c:pt idx="1378">
                  <c:v>06.06.2019</c:v>
                </c:pt>
                <c:pt idx="1379">
                  <c:v>05.06.2019</c:v>
                </c:pt>
                <c:pt idx="1380">
                  <c:v>04.06.2019</c:v>
                </c:pt>
                <c:pt idx="1381">
                  <c:v>03.06.2019</c:v>
                </c:pt>
                <c:pt idx="1382">
                  <c:v>31.05.2019</c:v>
                </c:pt>
                <c:pt idx="1383">
                  <c:v>30.05.2019</c:v>
                </c:pt>
                <c:pt idx="1384">
                  <c:v>29.05.2019</c:v>
                </c:pt>
                <c:pt idx="1385">
                  <c:v>28.05.2019</c:v>
                </c:pt>
                <c:pt idx="1386">
                  <c:v>24.05.2019</c:v>
                </c:pt>
                <c:pt idx="1387">
                  <c:v>23.05.2019</c:v>
                </c:pt>
                <c:pt idx="1388">
                  <c:v>22.05.2019</c:v>
                </c:pt>
                <c:pt idx="1389">
                  <c:v>21.05.2019</c:v>
                </c:pt>
                <c:pt idx="1390">
                  <c:v>20.05.2019</c:v>
                </c:pt>
                <c:pt idx="1391">
                  <c:v>17.05.2019</c:v>
                </c:pt>
                <c:pt idx="1392">
                  <c:v>16.05.2019</c:v>
                </c:pt>
                <c:pt idx="1393">
                  <c:v>15.05.2019</c:v>
                </c:pt>
                <c:pt idx="1394">
                  <c:v>14.05.2019</c:v>
                </c:pt>
                <c:pt idx="1395">
                  <c:v>13.05.2019</c:v>
                </c:pt>
                <c:pt idx="1396">
                  <c:v>10.05.2019</c:v>
                </c:pt>
                <c:pt idx="1397">
                  <c:v>09.05.2019</c:v>
                </c:pt>
                <c:pt idx="1398">
                  <c:v>08.05.2019</c:v>
                </c:pt>
                <c:pt idx="1399">
                  <c:v>07.05.2019</c:v>
                </c:pt>
                <c:pt idx="1400">
                  <c:v>06.05.2019</c:v>
                </c:pt>
                <c:pt idx="1401">
                  <c:v>03.05.2019</c:v>
                </c:pt>
                <c:pt idx="1402">
                  <c:v>02.05.2019</c:v>
                </c:pt>
                <c:pt idx="1403">
                  <c:v>01.05.2019</c:v>
                </c:pt>
                <c:pt idx="1404">
                  <c:v>30.04.2019</c:v>
                </c:pt>
                <c:pt idx="1405">
                  <c:v>29.04.2019</c:v>
                </c:pt>
                <c:pt idx="1406">
                  <c:v>26.04.2019</c:v>
                </c:pt>
                <c:pt idx="1407">
                  <c:v>25.04.2019</c:v>
                </c:pt>
                <c:pt idx="1408">
                  <c:v>24.04.2019</c:v>
                </c:pt>
                <c:pt idx="1409">
                  <c:v>23.04.2019</c:v>
                </c:pt>
                <c:pt idx="1410">
                  <c:v>22.04.2019</c:v>
                </c:pt>
                <c:pt idx="1411">
                  <c:v>18.04.2019</c:v>
                </c:pt>
                <c:pt idx="1412">
                  <c:v>17.04.2019</c:v>
                </c:pt>
                <c:pt idx="1413">
                  <c:v>16.04.2019</c:v>
                </c:pt>
                <c:pt idx="1414">
                  <c:v>15.04.2019</c:v>
                </c:pt>
                <c:pt idx="1415">
                  <c:v>12.04.2019</c:v>
                </c:pt>
                <c:pt idx="1416">
                  <c:v>11.04.2019</c:v>
                </c:pt>
                <c:pt idx="1417">
                  <c:v>10.04.2019</c:v>
                </c:pt>
                <c:pt idx="1418">
                  <c:v>09.04.2019</c:v>
                </c:pt>
                <c:pt idx="1419">
                  <c:v>08.04.2019</c:v>
                </c:pt>
                <c:pt idx="1420">
                  <c:v>05.04.2019</c:v>
                </c:pt>
                <c:pt idx="1421">
                  <c:v>04.04.2019</c:v>
                </c:pt>
                <c:pt idx="1422">
                  <c:v>03.04.2019</c:v>
                </c:pt>
                <c:pt idx="1423">
                  <c:v>02.04.2019</c:v>
                </c:pt>
                <c:pt idx="1424">
                  <c:v>01.04.2019</c:v>
                </c:pt>
                <c:pt idx="1425">
                  <c:v>29.03.2019</c:v>
                </c:pt>
                <c:pt idx="1426">
                  <c:v>28.03.2019</c:v>
                </c:pt>
                <c:pt idx="1427">
                  <c:v>27.03.2019</c:v>
                </c:pt>
                <c:pt idx="1428">
                  <c:v>26.03.2019</c:v>
                </c:pt>
                <c:pt idx="1429">
                  <c:v>25.03.2019</c:v>
                </c:pt>
                <c:pt idx="1430">
                  <c:v>22.03.2019</c:v>
                </c:pt>
                <c:pt idx="1431">
                  <c:v>21.03.2019</c:v>
                </c:pt>
                <c:pt idx="1432">
                  <c:v>20.03.2019</c:v>
                </c:pt>
                <c:pt idx="1433">
                  <c:v>19.03.2019</c:v>
                </c:pt>
                <c:pt idx="1434">
                  <c:v>18.03.2019</c:v>
                </c:pt>
                <c:pt idx="1435">
                  <c:v>15.03.2019</c:v>
                </c:pt>
                <c:pt idx="1436">
                  <c:v>14.03.2019</c:v>
                </c:pt>
                <c:pt idx="1437">
                  <c:v>13.03.2019</c:v>
                </c:pt>
                <c:pt idx="1438">
                  <c:v>12.03.2019</c:v>
                </c:pt>
                <c:pt idx="1439">
                  <c:v>11.03.2019</c:v>
                </c:pt>
                <c:pt idx="1440">
                  <c:v>08.03.2019</c:v>
                </c:pt>
                <c:pt idx="1441">
                  <c:v>07.03.2019</c:v>
                </c:pt>
                <c:pt idx="1442">
                  <c:v>06.03.2019</c:v>
                </c:pt>
                <c:pt idx="1443">
                  <c:v>05.03.2019</c:v>
                </c:pt>
                <c:pt idx="1444">
                  <c:v>04.03.2019</c:v>
                </c:pt>
                <c:pt idx="1445">
                  <c:v>01.03.2019</c:v>
                </c:pt>
                <c:pt idx="1446">
                  <c:v>28.02.2019</c:v>
                </c:pt>
                <c:pt idx="1447">
                  <c:v>27.02.2019</c:v>
                </c:pt>
                <c:pt idx="1448">
                  <c:v>26.02.2019</c:v>
                </c:pt>
                <c:pt idx="1449">
                  <c:v>25.02.2019</c:v>
                </c:pt>
                <c:pt idx="1450">
                  <c:v>22.02.2019</c:v>
                </c:pt>
                <c:pt idx="1451">
                  <c:v>21.02.2019</c:v>
                </c:pt>
                <c:pt idx="1452">
                  <c:v>20.02.2019</c:v>
                </c:pt>
                <c:pt idx="1453">
                  <c:v>19.02.2019</c:v>
                </c:pt>
                <c:pt idx="1454">
                  <c:v>15.02.2019</c:v>
                </c:pt>
                <c:pt idx="1455">
                  <c:v>14.02.2019</c:v>
                </c:pt>
                <c:pt idx="1456">
                  <c:v>13.02.2019</c:v>
                </c:pt>
                <c:pt idx="1457">
                  <c:v>12.02.2019</c:v>
                </c:pt>
                <c:pt idx="1458">
                  <c:v>11.02.2019</c:v>
                </c:pt>
                <c:pt idx="1459">
                  <c:v>08.02.2019</c:v>
                </c:pt>
                <c:pt idx="1460">
                  <c:v>07.02.2019</c:v>
                </c:pt>
                <c:pt idx="1461">
                  <c:v>06.02.2019</c:v>
                </c:pt>
                <c:pt idx="1462">
                  <c:v>05.02.2019</c:v>
                </c:pt>
                <c:pt idx="1463">
                  <c:v>04.02.2019</c:v>
                </c:pt>
                <c:pt idx="1464">
                  <c:v>01.02.2019</c:v>
                </c:pt>
                <c:pt idx="1465">
                  <c:v>31.01.2019</c:v>
                </c:pt>
                <c:pt idx="1466">
                  <c:v>30.01.2019</c:v>
                </c:pt>
                <c:pt idx="1467">
                  <c:v>29.01.2019</c:v>
                </c:pt>
                <c:pt idx="1468">
                  <c:v>28.01.2019</c:v>
                </c:pt>
                <c:pt idx="1469">
                  <c:v>25.01.2019</c:v>
                </c:pt>
                <c:pt idx="1470">
                  <c:v>24.01.2019</c:v>
                </c:pt>
                <c:pt idx="1471">
                  <c:v>23.01.2019</c:v>
                </c:pt>
                <c:pt idx="1472">
                  <c:v>22.01.2019</c:v>
                </c:pt>
                <c:pt idx="1473">
                  <c:v>18.01.2019</c:v>
                </c:pt>
                <c:pt idx="1474">
                  <c:v>17.01.2019</c:v>
                </c:pt>
                <c:pt idx="1475">
                  <c:v>16.01.2019</c:v>
                </c:pt>
                <c:pt idx="1476">
                  <c:v>15.01.2019</c:v>
                </c:pt>
                <c:pt idx="1477">
                  <c:v>14.01.2019</c:v>
                </c:pt>
                <c:pt idx="1478">
                  <c:v>11.01.2019</c:v>
                </c:pt>
                <c:pt idx="1479">
                  <c:v>10.01.2019</c:v>
                </c:pt>
                <c:pt idx="1480">
                  <c:v>09.01.2019</c:v>
                </c:pt>
                <c:pt idx="1481">
                  <c:v>08.01.2019</c:v>
                </c:pt>
                <c:pt idx="1482">
                  <c:v>07.01.2019</c:v>
                </c:pt>
                <c:pt idx="1483">
                  <c:v>04.01.2019</c:v>
                </c:pt>
                <c:pt idx="1484">
                  <c:v>03.01.2019</c:v>
                </c:pt>
                <c:pt idx="1485">
                  <c:v>02.01.2019</c:v>
                </c:pt>
                <c:pt idx="1486">
                  <c:v>31.12.2018</c:v>
                </c:pt>
                <c:pt idx="1487">
                  <c:v>28.12.2018</c:v>
                </c:pt>
                <c:pt idx="1488">
                  <c:v>27.12.2018</c:v>
                </c:pt>
                <c:pt idx="1489">
                  <c:v>26.12.2018</c:v>
                </c:pt>
                <c:pt idx="1490">
                  <c:v>24.12.2018</c:v>
                </c:pt>
                <c:pt idx="1491">
                  <c:v>21.12.2018</c:v>
                </c:pt>
                <c:pt idx="1492">
                  <c:v>20.12.2018</c:v>
                </c:pt>
                <c:pt idx="1493">
                  <c:v>19.12.2018</c:v>
                </c:pt>
                <c:pt idx="1494">
                  <c:v>18.12.2018</c:v>
                </c:pt>
                <c:pt idx="1495">
                  <c:v>17.12.2018</c:v>
                </c:pt>
                <c:pt idx="1496">
                  <c:v>14.12.2018</c:v>
                </c:pt>
                <c:pt idx="1497">
                  <c:v>13.12.2018</c:v>
                </c:pt>
                <c:pt idx="1498">
                  <c:v>12.12.2018</c:v>
                </c:pt>
                <c:pt idx="1499">
                  <c:v>11.12.2018</c:v>
                </c:pt>
                <c:pt idx="1500">
                  <c:v>10.12.2018</c:v>
                </c:pt>
                <c:pt idx="1501">
                  <c:v>07.12.2018</c:v>
                </c:pt>
                <c:pt idx="1502">
                  <c:v>06.12.2018</c:v>
                </c:pt>
                <c:pt idx="1503">
                  <c:v>04.12.2018</c:v>
                </c:pt>
                <c:pt idx="1504">
                  <c:v>03.12.2018</c:v>
                </c:pt>
                <c:pt idx="1505">
                  <c:v>30.11.2018</c:v>
                </c:pt>
                <c:pt idx="1506">
                  <c:v>29.11.2018</c:v>
                </c:pt>
                <c:pt idx="1507">
                  <c:v>28.11.2018</c:v>
                </c:pt>
                <c:pt idx="1508">
                  <c:v>27.11.2018</c:v>
                </c:pt>
                <c:pt idx="1509">
                  <c:v>26.11.2018</c:v>
                </c:pt>
                <c:pt idx="1510">
                  <c:v>23.11.2018</c:v>
                </c:pt>
                <c:pt idx="1511">
                  <c:v>21.11.2018</c:v>
                </c:pt>
                <c:pt idx="1512">
                  <c:v>20.11.2018</c:v>
                </c:pt>
                <c:pt idx="1513">
                  <c:v>19.11.2018</c:v>
                </c:pt>
                <c:pt idx="1514">
                  <c:v>16.11.2018</c:v>
                </c:pt>
                <c:pt idx="1515">
                  <c:v>15.11.2018</c:v>
                </c:pt>
                <c:pt idx="1516">
                  <c:v>14.11.2018</c:v>
                </c:pt>
                <c:pt idx="1517">
                  <c:v>13.11.2018</c:v>
                </c:pt>
                <c:pt idx="1518">
                  <c:v>12.11.2018</c:v>
                </c:pt>
                <c:pt idx="1519">
                  <c:v>09.11.2018</c:v>
                </c:pt>
                <c:pt idx="1520">
                  <c:v>08.11.2018</c:v>
                </c:pt>
                <c:pt idx="1521">
                  <c:v>07.11.2018</c:v>
                </c:pt>
                <c:pt idx="1522">
                  <c:v>06.11.2018</c:v>
                </c:pt>
                <c:pt idx="1523">
                  <c:v>05.11.2018</c:v>
                </c:pt>
                <c:pt idx="1524">
                  <c:v>02.11.2018</c:v>
                </c:pt>
                <c:pt idx="1525">
                  <c:v>01.11.2018</c:v>
                </c:pt>
                <c:pt idx="1526">
                  <c:v>31.10.2018</c:v>
                </c:pt>
                <c:pt idx="1527">
                  <c:v>30.10.2018</c:v>
                </c:pt>
                <c:pt idx="1528">
                  <c:v>29.10.2018</c:v>
                </c:pt>
                <c:pt idx="1529">
                  <c:v>26.10.2018</c:v>
                </c:pt>
                <c:pt idx="1530">
                  <c:v>25.10.2018</c:v>
                </c:pt>
                <c:pt idx="1531">
                  <c:v>24.10.2018</c:v>
                </c:pt>
                <c:pt idx="1532">
                  <c:v>23.10.2018</c:v>
                </c:pt>
                <c:pt idx="1533">
                  <c:v>22.10.2018</c:v>
                </c:pt>
                <c:pt idx="1534">
                  <c:v>19.10.2018</c:v>
                </c:pt>
                <c:pt idx="1535">
                  <c:v>18.10.2018</c:v>
                </c:pt>
                <c:pt idx="1536">
                  <c:v>17.10.2018</c:v>
                </c:pt>
                <c:pt idx="1537">
                  <c:v>16.10.2018</c:v>
                </c:pt>
                <c:pt idx="1538">
                  <c:v>15.10.2018</c:v>
                </c:pt>
                <c:pt idx="1539">
                  <c:v>12.10.2018</c:v>
                </c:pt>
                <c:pt idx="1540">
                  <c:v>11.10.2018</c:v>
                </c:pt>
                <c:pt idx="1541">
                  <c:v>10.10.2018</c:v>
                </c:pt>
                <c:pt idx="1542">
                  <c:v>09.10.2018</c:v>
                </c:pt>
                <c:pt idx="1543">
                  <c:v>08.10.2018</c:v>
                </c:pt>
                <c:pt idx="1544">
                  <c:v>05.10.2018</c:v>
                </c:pt>
                <c:pt idx="1545">
                  <c:v>04.10.2018</c:v>
                </c:pt>
                <c:pt idx="1546">
                  <c:v>03.10.2018</c:v>
                </c:pt>
                <c:pt idx="1547">
                  <c:v>02.10.2018</c:v>
                </c:pt>
                <c:pt idx="1548">
                  <c:v>01.10.2018</c:v>
                </c:pt>
                <c:pt idx="1549">
                  <c:v>28.09.2018</c:v>
                </c:pt>
                <c:pt idx="1550">
                  <c:v>27.09.2018</c:v>
                </c:pt>
                <c:pt idx="1551">
                  <c:v>26.09.2018</c:v>
                </c:pt>
                <c:pt idx="1552">
                  <c:v>25.09.2018</c:v>
                </c:pt>
                <c:pt idx="1553">
                  <c:v>24.09.2018</c:v>
                </c:pt>
                <c:pt idx="1554">
                  <c:v>21.09.2018</c:v>
                </c:pt>
                <c:pt idx="1555">
                  <c:v>20.09.2018</c:v>
                </c:pt>
                <c:pt idx="1556">
                  <c:v>19.09.2018</c:v>
                </c:pt>
                <c:pt idx="1557">
                  <c:v>18.09.2018</c:v>
                </c:pt>
                <c:pt idx="1558">
                  <c:v>17.09.2018</c:v>
                </c:pt>
                <c:pt idx="1559">
                  <c:v>14.09.2018</c:v>
                </c:pt>
                <c:pt idx="1560">
                  <c:v>13.09.2018</c:v>
                </c:pt>
                <c:pt idx="1561">
                  <c:v>12.09.2018</c:v>
                </c:pt>
                <c:pt idx="1562">
                  <c:v>11.09.2018</c:v>
                </c:pt>
                <c:pt idx="1563">
                  <c:v>10.09.2018</c:v>
                </c:pt>
                <c:pt idx="1564">
                  <c:v>07.09.2018</c:v>
                </c:pt>
                <c:pt idx="1565">
                  <c:v>06.09.2018</c:v>
                </c:pt>
                <c:pt idx="1566">
                  <c:v>05.09.2018</c:v>
                </c:pt>
                <c:pt idx="1567">
                  <c:v>04.09.2018</c:v>
                </c:pt>
                <c:pt idx="1568">
                  <c:v>31.08.2018</c:v>
                </c:pt>
                <c:pt idx="1569">
                  <c:v>30.08.2018</c:v>
                </c:pt>
                <c:pt idx="1570">
                  <c:v>29.08.2018</c:v>
                </c:pt>
                <c:pt idx="1571">
                  <c:v>28.08.2018</c:v>
                </c:pt>
                <c:pt idx="1572">
                  <c:v>27.08.2018</c:v>
                </c:pt>
                <c:pt idx="1573">
                  <c:v>24.08.2018</c:v>
                </c:pt>
                <c:pt idx="1574">
                  <c:v>23.08.2018</c:v>
                </c:pt>
                <c:pt idx="1575">
                  <c:v>22.08.2018</c:v>
                </c:pt>
                <c:pt idx="1576">
                  <c:v>21.08.2018</c:v>
                </c:pt>
                <c:pt idx="1577">
                  <c:v>20.08.2018</c:v>
                </c:pt>
                <c:pt idx="1578">
                  <c:v>17.08.2018</c:v>
                </c:pt>
                <c:pt idx="1579">
                  <c:v>16.08.2018</c:v>
                </c:pt>
                <c:pt idx="1580">
                  <c:v>15.08.2018</c:v>
                </c:pt>
                <c:pt idx="1581">
                  <c:v>14.08.2018</c:v>
                </c:pt>
                <c:pt idx="1582">
                  <c:v>13.08.2018</c:v>
                </c:pt>
                <c:pt idx="1583">
                  <c:v>10.08.2018</c:v>
                </c:pt>
                <c:pt idx="1584">
                  <c:v>09.08.2018</c:v>
                </c:pt>
                <c:pt idx="1585">
                  <c:v>08.08.2018</c:v>
                </c:pt>
                <c:pt idx="1586">
                  <c:v>07.08.2018</c:v>
                </c:pt>
                <c:pt idx="1587">
                  <c:v>06.08.2018</c:v>
                </c:pt>
                <c:pt idx="1588">
                  <c:v>03.08.2018</c:v>
                </c:pt>
                <c:pt idx="1589">
                  <c:v>02.08.2018</c:v>
                </c:pt>
                <c:pt idx="1590">
                  <c:v>01.08.2018</c:v>
                </c:pt>
                <c:pt idx="1591">
                  <c:v>31.07.2018</c:v>
                </c:pt>
                <c:pt idx="1592">
                  <c:v>30.07.2018</c:v>
                </c:pt>
                <c:pt idx="1593">
                  <c:v>27.07.2018</c:v>
                </c:pt>
                <c:pt idx="1594">
                  <c:v>26.07.2018</c:v>
                </c:pt>
                <c:pt idx="1595">
                  <c:v>25.07.2018</c:v>
                </c:pt>
                <c:pt idx="1596">
                  <c:v>24.07.2018</c:v>
                </c:pt>
                <c:pt idx="1597">
                  <c:v>23.07.2018</c:v>
                </c:pt>
                <c:pt idx="1598">
                  <c:v>20.07.2018</c:v>
                </c:pt>
                <c:pt idx="1599">
                  <c:v>19.07.2018</c:v>
                </c:pt>
                <c:pt idx="1600">
                  <c:v>18.07.2018</c:v>
                </c:pt>
                <c:pt idx="1601">
                  <c:v>17.07.2018</c:v>
                </c:pt>
                <c:pt idx="1602">
                  <c:v>16.07.2018</c:v>
                </c:pt>
                <c:pt idx="1603">
                  <c:v>13.07.2018</c:v>
                </c:pt>
                <c:pt idx="1604">
                  <c:v>12.07.2018</c:v>
                </c:pt>
                <c:pt idx="1605">
                  <c:v>11.07.2018</c:v>
                </c:pt>
                <c:pt idx="1606">
                  <c:v>10.07.2018</c:v>
                </c:pt>
                <c:pt idx="1607">
                  <c:v>09.07.2018</c:v>
                </c:pt>
                <c:pt idx="1608">
                  <c:v>06.07.2018</c:v>
                </c:pt>
                <c:pt idx="1609">
                  <c:v>05.07.2018</c:v>
                </c:pt>
                <c:pt idx="1610">
                  <c:v>03.07.2018</c:v>
                </c:pt>
                <c:pt idx="1611">
                  <c:v>02.07.2018</c:v>
                </c:pt>
                <c:pt idx="1612">
                  <c:v>29.06.2018</c:v>
                </c:pt>
                <c:pt idx="1613">
                  <c:v>28.06.2018</c:v>
                </c:pt>
                <c:pt idx="1614">
                  <c:v>27.06.2018</c:v>
                </c:pt>
                <c:pt idx="1615">
                  <c:v>26.06.2018</c:v>
                </c:pt>
                <c:pt idx="1616">
                  <c:v>25.06.2018</c:v>
                </c:pt>
                <c:pt idx="1617">
                  <c:v>22.06.2018</c:v>
                </c:pt>
                <c:pt idx="1618">
                  <c:v>21.06.2018</c:v>
                </c:pt>
                <c:pt idx="1619">
                  <c:v>20.06.2018</c:v>
                </c:pt>
                <c:pt idx="1620">
                  <c:v>19.06.2018</c:v>
                </c:pt>
                <c:pt idx="1621">
                  <c:v>18.06.2018</c:v>
                </c:pt>
                <c:pt idx="1622">
                  <c:v>15.06.2018</c:v>
                </c:pt>
                <c:pt idx="1623">
                  <c:v>14.06.2018</c:v>
                </c:pt>
                <c:pt idx="1624">
                  <c:v>13.06.2018</c:v>
                </c:pt>
                <c:pt idx="1625">
                  <c:v>12.06.2018</c:v>
                </c:pt>
                <c:pt idx="1626">
                  <c:v>11.06.2018</c:v>
                </c:pt>
                <c:pt idx="1627">
                  <c:v>08.06.2018</c:v>
                </c:pt>
                <c:pt idx="1628">
                  <c:v>07.06.2018</c:v>
                </c:pt>
                <c:pt idx="1629">
                  <c:v>06.06.2018</c:v>
                </c:pt>
                <c:pt idx="1630">
                  <c:v>05.06.2018</c:v>
                </c:pt>
                <c:pt idx="1631">
                  <c:v>04.06.2018</c:v>
                </c:pt>
                <c:pt idx="1632">
                  <c:v>01.06.2018</c:v>
                </c:pt>
                <c:pt idx="1633">
                  <c:v>31.05.2018</c:v>
                </c:pt>
                <c:pt idx="1634">
                  <c:v>30.05.2018</c:v>
                </c:pt>
                <c:pt idx="1635">
                  <c:v>29.05.2018</c:v>
                </c:pt>
                <c:pt idx="1636">
                  <c:v>25.05.2018</c:v>
                </c:pt>
                <c:pt idx="1637">
                  <c:v>24.05.2018</c:v>
                </c:pt>
                <c:pt idx="1638">
                  <c:v>23.05.2018</c:v>
                </c:pt>
                <c:pt idx="1639">
                  <c:v>22.05.2018</c:v>
                </c:pt>
                <c:pt idx="1640">
                  <c:v>21.05.2018</c:v>
                </c:pt>
                <c:pt idx="1641">
                  <c:v>18.05.2018</c:v>
                </c:pt>
                <c:pt idx="1642">
                  <c:v>17.05.2018</c:v>
                </c:pt>
                <c:pt idx="1643">
                  <c:v>16.05.2018</c:v>
                </c:pt>
                <c:pt idx="1644">
                  <c:v>15.05.2018</c:v>
                </c:pt>
                <c:pt idx="1645">
                  <c:v>14.05.2018</c:v>
                </c:pt>
                <c:pt idx="1646">
                  <c:v>11.05.2018</c:v>
                </c:pt>
                <c:pt idx="1647">
                  <c:v>10.05.2018</c:v>
                </c:pt>
                <c:pt idx="1648">
                  <c:v>09.05.2018</c:v>
                </c:pt>
                <c:pt idx="1649">
                  <c:v>08.05.2018</c:v>
                </c:pt>
                <c:pt idx="1650">
                  <c:v>07.05.2018</c:v>
                </c:pt>
                <c:pt idx="1651">
                  <c:v>04.05.2018</c:v>
                </c:pt>
                <c:pt idx="1652">
                  <c:v>03.05.2018</c:v>
                </c:pt>
                <c:pt idx="1653">
                  <c:v>02.05.2018</c:v>
                </c:pt>
                <c:pt idx="1654">
                  <c:v>01.05.2018</c:v>
                </c:pt>
                <c:pt idx="1655">
                  <c:v>30.04.2018</c:v>
                </c:pt>
                <c:pt idx="1656">
                  <c:v>27.04.2018</c:v>
                </c:pt>
                <c:pt idx="1657">
                  <c:v>26.04.2018</c:v>
                </c:pt>
                <c:pt idx="1658">
                  <c:v>25.04.2018</c:v>
                </c:pt>
                <c:pt idx="1659">
                  <c:v>24.04.2018</c:v>
                </c:pt>
                <c:pt idx="1660">
                  <c:v>23.04.2018</c:v>
                </c:pt>
                <c:pt idx="1661">
                  <c:v>20.04.2018</c:v>
                </c:pt>
                <c:pt idx="1662">
                  <c:v>19.04.2018</c:v>
                </c:pt>
                <c:pt idx="1663">
                  <c:v>18.04.2018</c:v>
                </c:pt>
                <c:pt idx="1664">
                  <c:v>17.04.2018</c:v>
                </c:pt>
                <c:pt idx="1665">
                  <c:v>16.04.2018</c:v>
                </c:pt>
                <c:pt idx="1666">
                  <c:v>13.04.2018</c:v>
                </c:pt>
                <c:pt idx="1667">
                  <c:v>12.04.2018</c:v>
                </c:pt>
                <c:pt idx="1668">
                  <c:v>11.04.2018</c:v>
                </c:pt>
                <c:pt idx="1669">
                  <c:v>10.04.2018</c:v>
                </c:pt>
                <c:pt idx="1670">
                  <c:v>09.04.2018</c:v>
                </c:pt>
                <c:pt idx="1671">
                  <c:v>06.04.2018</c:v>
                </c:pt>
                <c:pt idx="1672">
                  <c:v>05.04.2018</c:v>
                </c:pt>
                <c:pt idx="1673">
                  <c:v>04.04.2018</c:v>
                </c:pt>
                <c:pt idx="1674">
                  <c:v>03.04.2018</c:v>
                </c:pt>
                <c:pt idx="1675">
                  <c:v>02.04.2018</c:v>
                </c:pt>
                <c:pt idx="1676">
                  <c:v>29.03.2018</c:v>
                </c:pt>
                <c:pt idx="1677">
                  <c:v>28.03.2018</c:v>
                </c:pt>
                <c:pt idx="1678">
                  <c:v>27.03.2018</c:v>
                </c:pt>
                <c:pt idx="1679">
                  <c:v>26.03.2018</c:v>
                </c:pt>
                <c:pt idx="1680">
                  <c:v>23.03.2018</c:v>
                </c:pt>
                <c:pt idx="1681">
                  <c:v>22.03.2018</c:v>
                </c:pt>
                <c:pt idx="1682">
                  <c:v>21.03.2018</c:v>
                </c:pt>
                <c:pt idx="1683">
                  <c:v>20.03.2018</c:v>
                </c:pt>
                <c:pt idx="1684">
                  <c:v>19.03.2018</c:v>
                </c:pt>
                <c:pt idx="1685">
                  <c:v>16.03.2018</c:v>
                </c:pt>
                <c:pt idx="1686">
                  <c:v>15.03.2018</c:v>
                </c:pt>
                <c:pt idx="1687">
                  <c:v>14.03.2018</c:v>
                </c:pt>
                <c:pt idx="1688">
                  <c:v>13.03.2018</c:v>
                </c:pt>
                <c:pt idx="1689">
                  <c:v>12.03.2018</c:v>
                </c:pt>
                <c:pt idx="1690">
                  <c:v>09.03.2018</c:v>
                </c:pt>
                <c:pt idx="1691">
                  <c:v>08.03.2018</c:v>
                </c:pt>
                <c:pt idx="1692">
                  <c:v>07.03.2018</c:v>
                </c:pt>
                <c:pt idx="1693">
                  <c:v>06.03.2018</c:v>
                </c:pt>
                <c:pt idx="1694">
                  <c:v>05.03.2018</c:v>
                </c:pt>
                <c:pt idx="1695">
                  <c:v>02.03.2018</c:v>
                </c:pt>
                <c:pt idx="1696">
                  <c:v>01.03.2018</c:v>
                </c:pt>
                <c:pt idx="1697">
                  <c:v>28.02.2018</c:v>
                </c:pt>
                <c:pt idx="1698">
                  <c:v>27.02.2018</c:v>
                </c:pt>
                <c:pt idx="1699">
                  <c:v>26.02.2018</c:v>
                </c:pt>
                <c:pt idx="1700">
                  <c:v>23.02.2018</c:v>
                </c:pt>
                <c:pt idx="1701">
                  <c:v>22.02.2018</c:v>
                </c:pt>
                <c:pt idx="1702">
                  <c:v>21.02.2018</c:v>
                </c:pt>
                <c:pt idx="1703">
                  <c:v>20.02.2018</c:v>
                </c:pt>
                <c:pt idx="1704">
                  <c:v>16.02.2018</c:v>
                </c:pt>
                <c:pt idx="1705">
                  <c:v>15.02.2018</c:v>
                </c:pt>
                <c:pt idx="1706">
                  <c:v>14.02.2018</c:v>
                </c:pt>
                <c:pt idx="1707">
                  <c:v>13.02.2018</c:v>
                </c:pt>
                <c:pt idx="1708">
                  <c:v>12.02.2018</c:v>
                </c:pt>
                <c:pt idx="1709">
                  <c:v>09.02.2018</c:v>
                </c:pt>
                <c:pt idx="1710">
                  <c:v>08.02.2018</c:v>
                </c:pt>
                <c:pt idx="1711">
                  <c:v>07.02.2018</c:v>
                </c:pt>
                <c:pt idx="1712">
                  <c:v>06.02.2018</c:v>
                </c:pt>
                <c:pt idx="1713">
                  <c:v>05.02.2018</c:v>
                </c:pt>
                <c:pt idx="1714">
                  <c:v>02.02.2018</c:v>
                </c:pt>
                <c:pt idx="1715">
                  <c:v>01.02.2018</c:v>
                </c:pt>
                <c:pt idx="1716">
                  <c:v>31.01.2018</c:v>
                </c:pt>
                <c:pt idx="1717">
                  <c:v>30.01.2018</c:v>
                </c:pt>
                <c:pt idx="1718">
                  <c:v>29.01.2018</c:v>
                </c:pt>
                <c:pt idx="1719">
                  <c:v>26.01.2018</c:v>
                </c:pt>
                <c:pt idx="1720">
                  <c:v>25.01.2018</c:v>
                </c:pt>
                <c:pt idx="1721">
                  <c:v>24.01.2018</c:v>
                </c:pt>
                <c:pt idx="1722">
                  <c:v>23.01.2018</c:v>
                </c:pt>
                <c:pt idx="1723">
                  <c:v>22.01.2018</c:v>
                </c:pt>
                <c:pt idx="1724">
                  <c:v>19.01.2018</c:v>
                </c:pt>
                <c:pt idx="1725">
                  <c:v>18.01.2018</c:v>
                </c:pt>
                <c:pt idx="1726">
                  <c:v>17.01.2018</c:v>
                </c:pt>
                <c:pt idx="1727">
                  <c:v>16.01.2018</c:v>
                </c:pt>
                <c:pt idx="1728">
                  <c:v>12.01.2018</c:v>
                </c:pt>
                <c:pt idx="1729">
                  <c:v>11.01.2018</c:v>
                </c:pt>
                <c:pt idx="1730">
                  <c:v>10.01.2018</c:v>
                </c:pt>
                <c:pt idx="1731">
                  <c:v>09.01.2018</c:v>
                </c:pt>
                <c:pt idx="1732">
                  <c:v>08.01.2018</c:v>
                </c:pt>
                <c:pt idx="1733">
                  <c:v>05.01.2018</c:v>
                </c:pt>
                <c:pt idx="1734">
                  <c:v>04.01.2018</c:v>
                </c:pt>
                <c:pt idx="1735">
                  <c:v>03.01.2018</c:v>
                </c:pt>
                <c:pt idx="1736">
                  <c:v>02.01.2018</c:v>
                </c:pt>
                <c:pt idx="1737">
                  <c:v>29.12.2017</c:v>
                </c:pt>
                <c:pt idx="1738">
                  <c:v>28.12.2017</c:v>
                </c:pt>
                <c:pt idx="1739">
                  <c:v>27.12.2017</c:v>
                </c:pt>
                <c:pt idx="1740">
                  <c:v>26.12.2017</c:v>
                </c:pt>
                <c:pt idx="1741">
                  <c:v>22.12.2017</c:v>
                </c:pt>
                <c:pt idx="1742">
                  <c:v>21.12.2017</c:v>
                </c:pt>
                <c:pt idx="1743">
                  <c:v>20.12.2017</c:v>
                </c:pt>
                <c:pt idx="1744">
                  <c:v>19.12.2017</c:v>
                </c:pt>
                <c:pt idx="1745">
                  <c:v>18.12.2017</c:v>
                </c:pt>
                <c:pt idx="1746">
                  <c:v>15.12.2017</c:v>
                </c:pt>
                <c:pt idx="1747">
                  <c:v>14.12.2017</c:v>
                </c:pt>
                <c:pt idx="1748">
                  <c:v>13.12.2017</c:v>
                </c:pt>
                <c:pt idx="1749">
                  <c:v>12.12.2017</c:v>
                </c:pt>
                <c:pt idx="1750">
                  <c:v>11.12.2017</c:v>
                </c:pt>
                <c:pt idx="1751">
                  <c:v>08.12.2017</c:v>
                </c:pt>
                <c:pt idx="1752">
                  <c:v>07.12.2017</c:v>
                </c:pt>
                <c:pt idx="1753">
                  <c:v>06.12.2017</c:v>
                </c:pt>
                <c:pt idx="1754">
                  <c:v>05.12.2017</c:v>
                </c:pt>
                <c:pt idx="1755">
                  <c:v>04.12.2017</c:v>
                </c:pt>
                <c:pt idx="1756">
                  <c:v>01.12.2017</c:v>
                </c:pt>
                <c:pt idx="1757">
                  <c:v>30.11.2017</c:v>
                </c:pt>
                <c:pt idx="1758">
                  <c:v>29.11.2017</c:v>
                </c:pt>
                <c:pt idx="1759">
                  <c:v>28.11.2017</c:v>
                </c:pt>
                <c:pt idx="1760">
                  <c:v>27.11.2017</c:v>
                </c:pt>
                <c:pt idx="1761">
                  <c:v>24.11.2017</c:v>
                </c:pt>
                <c:pt idx="1762">
                  <c:v>22.11.2017</c:v>
                </c:pt>
                <c:pt idx="1763">
                  <c:v>21.11.2017</c:v>
                </c:pt>
                <c:pt idx="1764">
                  <c:v>20.11.2017</c:v>
                </c:pt>
                <c:pt idx="1765">
                  <c:v>17.11.2017</c:v>
                </c:pt>
                <c:pt idx="1766">
                  <c:v>16.11.2017</c:v>
                </c:pt>
                <c:pt idx="1767">
                  <c:v>15.11.2017</c:v>
                </c:pt>
                <c:pt idx="1768">
                  <c:v>14.11.2017</c:v>
                </c:pt>
                <c:pt idx="1769">
                  <c:v>13.11.2017</c:v>
                </c:pt>
                <c:pt idx="1770">
                  <c:v>10.11.2017</c:v>
                </c:pt>
                <c:pt idx="1771">
                  <c:v>09.11.2017</c:v>
                </c:pt>
                <c:pt idx="1772">
                  <c:v>08.11.2017</c:v>
                </c:pt>
                <c:pt idx="1773">
                  <c:v>07.11.2017</c:v>
                </c:pt>
                <c:pt idx="1774">
                  <c:v>06.11.2017</c:v>
                </c:pt>
                <c:pt idx="1775">
                  <c:v>03.11.2017</c:v>
                </c:pt>
                <c:pt idx="1776">
                  <c:v>02.11.2017</c:v>
                </c:pt>
                <c:pt idx="1777">
                  <c:v>01.11.2017</c:v>
                </c:pt>
                <c:pt idx="1778">
                  <c:v>31.10.2017</c:v>
                </c:pt>
                <c:pt idx="1779">
                  <c:v>30.10.2017</c:v>
                </c:pt>
                <c:pt idx="1780">
                  <c:v>27.10.2017</c:v>
                </c:pt>
                <c:pt idx="1781">
                  <c:v>26.10.2017</c:v>
                </c:pt>
                <c:pt idx="1782">
                  <c:v>25.10.2017</c:v>
                </c:pt>
                <c:pt idx="1783">
                  <c:v>24.10.2017</c:v>
                </c:pt>
                <c:pt idx="1784">
                  <c:v>23.10.2017</c:v>
                </c:pt>
                <c:pt idx="1785">
                  <c:v>20.10.2017</c:v>
                </c:pt>
                <c:pt idx="1786">
                  <c:v>19.10.2017</c:v>
                </c:pt>
                <c:pt idx="1787">
                  <c:v>18.10.2017</c:v>
                </c:pt>
                <c:pt idx="1788">
                  <c:v>17.10.2017</c:v>
                </c:pt>
                <c:pt idx="1789">
                  <c:v>16.10.2017</c:v>
                </c:pt>
                <c:pt idx="1790">
                  <c:v>13.10.2017</c:v>
                </c:pt>
                <c:pt idx="1791">
                  <c:v>12.10.2017</c:v>
                </c:pt>
                <c:pt idx="1792">
                  <c:v>11.10.2017</c:v>
                </c:pt>
                <c:pt idx="1793">
                  <c:v>10.10.2017</c:v>
                </c:pt>
                <c:pt idx="1794">
                  <c:v>09.10.2017</c:v>
                </c:pt>
                <c:pt idx="1795">
                  <c:v>06.10.2017</c:v>
                </c:pt>
                <c:pt idx="1796">
                  <c:v>05.10.2017</c:v>
                </c:pt>
                <c:pt idx="1797">
                  <c:v>04.10.2017</c:v>
                </c:pt>
                <c:pt idx="1798">
                  <c:v>03.10.2017</c:v>
                </c:pt>
                <c:pt idx="1799">
                  <c:v>02.10.2017</c:v>
                </c:pt>
                <c:pt idx="1800">
                  <c:v>29.09.2017</c:v>
                </c:pt>
                <c:pt idx="1801">
                  <c:v>28.09.2017</c:v>
                </c:pt>
                <c:pt idx="1802">
                  <c:v>27.09.2017</c:v>
                </c:pt>
                <c:pt idx="1803">
                  <c:v>26.09.2017</c:v>
                </c:pt>
                <c:pt idx="1804">
                  <c:v>25.09.2017</c:v>
                </c:pt>
                <c:pt idx="1805">
                  <c:v>22.09.2017</c:v>
                </c:pt>
                <c:pt idx="1806">
                  <c:v>21.09.2017</c:v>
                </c:pt>
                <c:pt idx="1807">
                  <c:v>20.09.2017</c:v>
                </c:pt>
                <c:pt idx="1808">
                  <c:v>19.09.2017</c:v>
                </c:pt>
                <c:pt idx="1809">
                  <c:v>18.09.2017</c:v>
                </c:pt>
                <c:pt idx="1810">
                  <c:v>15.09.2017</c:v>
                </c:pt>
                <c:pt idx="1811">
                  <c:v>14.09.2017</c:v>
                </c:pt>
                <c:pt idx="1812">
                  <c:v>13.09.2017</c:v>
                </c:pt>
                <c:pt idx="1813">
                  <c:v>12.09.2017</c:v>
                </c:pt>
                <c:pt idx="1814">
                  <c:v>11.09.2017</c:v>
                </c:pt>
                <c:pt idx="1815">
                  <c:v>08.09.2017</c:v>
                </c:pt>
                <c:pt idx="1816">
                  <c:v>07.09.2017</c:v>
                </c:pt>
                <c:pt idx="1817">
                  <c:v>06.09.2017</c:v>
                </c:pt>
                <c:pt idx="1818">
                  <c:v>05.09.2017</c:v>
                </c:pt>
                <c:pt idx="1819">
                  <c:v>01.09.2017</c:v>
                </c:pt>
                <c:pt idx="1820">
                  <c:v>31.08.2017</c:v>
                </c:pt>
                <c:pt idx="1821">
                  <c:v>30.08.2017</c:v>
                </c:pt>
                <c:pt idx="1822">
                  <c:v>29.08.2017</c:v>
                </c:pt>
                <c:pt idx="1823">
                  <c:v>28.08.2017</c:v>
                </c:pt>
                <c:pt idx="1824">
                  <c:v>25.08.2017</c:v>
                </c:pt>
                <c:pt idx="1825">
                  <c:v>24.08.2017</c:v>
                </c:pt>
                <c:pt idx="1826">
                  <c:v>23.08.2017</c:v>
                </c:pt>
                <c:pt idx="1827">
                  <c:v>22.08.2017</c:v>
                </c:pt>
                <c:pt idx="1828">
                  <c:v>21.08.2017</c:v>
                </c:pt>
                <c:pt idx="1829">
                  <c:v>18.08.2017</c:v>
                </c:pt>
                <c:pt idx="1830">
                  <c:v>17.08.2017</c:v>
                </c:pt>
                <c:pt idx="1831">
                  <c:v>16.08.2017</c:v>
                </c:pt>
                <c:pt idx="1832">
                  <c:v>15.08.2017</c:v>
                </c:pt>
                <c:pt idx="1833">
                  <c:v>14.08.2017</c:v>
                </c:pt>
                <c:pt idx="1834">
                  <c:v>11.08.2017</c:v>
                </c:pt>
                <c:pt idx="1835">
                  <c:v>10.08.2017</c:v>
                </c:pt>
                <c:pt idx="1836">
                  <c:v>09.08.2017</c:v>
                </c:pt>
                <c:pt idx="1837">
                  <c:v>08.08.2017</c:v>
                </c:pt>
                <c:pt idx="1838">
                  <c:v>07.08.2017</c:v>
                </c:pt>
                <c:pt idx="1839">
                  <c:v>04.08.2017</c:v>
                </c:pt>
                <c:pt idx="1840">
                  <c:v>03.08.2017</c:v>
                </c:pt>
                <c:pt idx="1841">
                  <c:v>02.08.2017</c:v>
                </c:pt>
                <c:pt idx="1842">
                  <c:v>01.08.2017</c:v>
                </c:pt>
                <c:pt idx="1843">
                  <c:v>31.07.2017</c:v>
                </c:pt>
                <c:pt idx="1844">
                  <c:v>28.07.2017</c:v>
                </c:pt>
                <c:pt idx="1845">
                  <c:v>27.07.2017</c:v>
                </c:pt>
                <c:pt idx="1846">
                  <c:v>26.07.2017</c:v>
                </c:pt>
                <c:pt idx="1847">
                  <c:v>25.07.2017</c:v>
                </c:pt>
                <c:pt idx="1848">
                  <c:v>24.07.2017</c:v>
                </c:pt>
                <c:pt idx="1849">
                  <c:v>21.07.2017</c:v>
                </c:pt>
                <c:pt idx="1850">
                  <c:v>20.07.2017</c:v>
                </c:pt>
                <c:pt idx="1851">
                  <c:v>19.07.2017</c:v>
                </c:pt>
                <c:pt idx="1852">
                  <c:v>18.07.2017</c:v>
                </c:pt>
                <c:pt idx="1853">
                  <c:v>17.07.2017</c:v>
                </c:pt>
                <c:pt idx="1854">
                  <c:v>14.07.2017</c:v>
                </c:pt>
                <c:pt idx="1855">
                  <c:v>13.07.2017</c:v>
                </c:pt>
                <c:pt idx="1856">
                  <c:v>12.07.2017</c:v>
                </c:pt>
                <c:pt idx="1857">
                  <c:v>11.07.2017</c:v>
                </c:pt>
                <c:pt idx="1858">
                  <c:v>10.07.2017</c:v>
                </c:pt>
                <c:pt idx="1859">
                  <c:v>07.07.2017</c:v>
                </c:pt>
                <c:pt idx="1860">
                  <c:v>06.07.2017</c:v>
                </c:pt>
                <c:pt idx="1861">
                  <c:v>05.07.2017</c:v>
                </c:pt>
                <c:pt idx="1862">
                  <c:v>03.07.2017</c:v>
                </c:pt>
                <c:pt idx="1863">
                  <c:v>30.06.2017</c:v>
                </c:pt>
                <c:pt idx="1864">
                  <c:v>29.06.2017</c:v>
                </c:pt>
                <c:pt idx="1865">
                  <c:v>28.06.2017</c:v>
                </c:pt>
                <c:pt idx="1866">
                  <c:v>27.06.2017</c:v>
                </c:pt>
                <c:pt idx="1867">
                  <c:v>26.06.2017</c:v>
                </c:pt>
                <c:pt idx="1868">
                  <c:v>23.06.2017</c:v>
                </c:pt>
                <c:pt idx="1869">
                  <c:v>22.06.2017</c:v>
                </c:pt>
                <c:pt idx="1870">
                  <c:v>21.06.2017</c:v>
                </c:pt>
                <c:pt idx="1871">
                  <c:v>20.06.2017</c:v>
                </c:pt>
                <c:pt idx="1872">
                  <c:v>19.06.2017</c:v>
                </c:pt>
                <c:pt idx="1873">
                  <c:v>16.06.2017</c:v>
                </c:pt>
                <c:pt idx="1874">
                  <c:v>15.06.2017</c:v>
                </c:pt>
                <c:pt idx="1875">
                  <c:v>14.06.2017</c:v>
                </c:pt>
                <c:pt idx="1876">
                  <c:v>13.06.2017</c:v>
                </c:pt>
                <c:pt idx="1877">
                  <c:v>12.06.2017</c:v>
                </c:pt>
                <c:pt idx="1878">
                  <c:v>09.06.2017</c:v>
                </c:pt>
                <c:pt idx="1879">
                  <c:v>08.06.2017</c:v>
                </c:pt>
                <c:pt idx="1880">
                  <c:v>07.06.2017</c:v>
                </c:pt>
                <c:pt idx="1881">
                  <c:v>06.06.2017</c:v>
                </c:pt>
                <c:pt idx="1882">
                  <c:v>05.06.2017</c:v>
                </c:pt>
                <c:pt idx="1883">
                  <c:v>02.06.2017</c:v>
                </c:pt>
                <c:pt idx="1884">
                  <c:v>01.06.2017</c:v>
                </c:pt>
                <c:pt idx="1885">
                  <c:v>31.05.2017</c:v>
                </c:pt>
                <c:pt idx="1886">
                  <c:v>30.05.2017</c:v>
                </c:pt>
                <c:pt idx="1887">
                  <c:v>26.05.2017</c:v>
                </c:pt>
                <c:pt idx="1888">
                  <c:v>25.05.2017</c:v>
                </c:pt>
                <c:pt idx="1889">
                  <c:v>24.05.2017</c:v>
                </c:pt>
                <c:pt idx="1890">
                  <c:v>23.05.2017</c:v>
                </c:pt>
                <c:pt idx="1891">
                  <c:v>22.05.2017</c:v>
                </c:pt>
                <c:pt idx="1892">
                  <c:v>19.05.2017</c:v>
                </c:pt>
                <c:pt idx="1893">
                  <c:v>18.05.2017</c:v>
                </c:pt>
                <c:pt idx="1894">
                  <c:v>17.05.2017</c:v>
                </c:pt>
                <c:pt idx="1895">
                  <c:v>16.05.2017</c:v>
                </c:pt>
                <c:pt idx="1896">
                  <c:v>15.05.2017</c:v>
                </c:pt>
                <c:pt idx="1897">
                  <c:v>12.05.2017</c:v>
                </c:pt>
                <c:pt idx="1898">
                  <c:v>11.05.2017</c:v>
                </c:pt>
                <c:pt idx="1899">
                  <c:v>10.05.2017</c:v>
                </c:pt>
                <c:pt idx="1900">
                  <c:v>09.05.2017</c:v>
                </c:pt>
                <c:pt idx="1901">
                  <c:v>08.05.2017</c:v>
                </c:pt>
                <c:pt idx="1902">
                  <c:v>05.05.2017</c:v>
                </c:pt>
                <c:pt idx="1903">
                  <c:v>04.05.2017</c:v>
                </c:pt>
                <c:pt idx="1904">
                  <c:v>03.05.2017</c:v>
                </c:pt>
                <c:pt idx="1905">
                  <c:v>02.05.2017</c:v>
                </c:pt>
                <c:pt idx="1906">
                  <c:v>01.05.2017</c:v>
                </c:pt>
                <c:pt idx="1907">
                  <c:v>28.04.2017</c:v>
                </c:pt>
                <c:pt idx="1908">
                  <c:v>27.04.2017</c:v>
                </c:pt>
                <c:pt idx="1909">
                  <c:v>26.04.2017</c:v>
                </c:pt>
                <c:pt idx="1910">
                  <c:v>25.04.2017</c:v>
                </c:pt>
                <c:pt idx="1911">
                  <c:v>24.04.2017</c:v>
                </c:pt>
                <c:pt idx="1912">
                  <c:v>21.04.2017</c:v>
                </c:pt>
                <c:pt idx="1913">
                  <c:v>20.04.2017</c:v>
                </c:pt>
                <c:pt idx="1914">
                  <c:v>19.04.2017</c:v>
                </c:pt>
                <c:pt idx="1915">
                  <c:v>18.04.2017</c:v>
                </c:pt>
                <c:pt idx="1916">
                  <c:v>17.04.2017</c:v>
                </c:pt>
                <c:pt idx="1917">
                  <c:v>13.04.2017</c:v>
                </c:pt>
                <c:pt idx="1918">
                  <c:v>12.04.2017</c:v>
                </c:pt>
                <c:pt idx="1919">
                  <c:v>11.04.2017</c:v>
                </c:pt>
                <c:pt idx="1920">
                  <c:v>10.04.2017</c:v>
                </c:pt>
                <c:pt idx="1921">
                  <c:v>07.04.2017</c:v>
                </c:pt>
                <c:pt idx="1922">
                  <c:v>06.04.2017</c:v>
                </c:pt>
                <c:pt idx="1923">
                  <c:v>05.04.2017</c:v>
                </c:pt>
                <c:pt idx="1924">
                  <c:v>04.04.2017</c:v>
                </c:pt>
                <c:pt idx="1925">
                  <c:v>03.04.2017</c:v>
                </c:pt>
                <c:pt idx="1926">
                  <c:v>31.03.2017</c:v>
                </c:pt>
                <c:pt idx="1927">
                  <c:v>30.03.2017</c:v>
                </c:pt>
                <c:pt idx="1928">
                  <c:v>29.03.2017</c:v>
                </c:pt>
                <c:pt idx="1929">
                  <c:v>28.03.2017</c:v>
                </c:pt>
                <c:pt idx="1930">
                  <c:v>27.03.2017</c:v>
                </c:pt>
                <c:pt idx="1931">
                  <c:v>24.03.2017</c:v>
                </c:pt>
                <c:pt idx="1932">
                  <c:v>23.03.2017</c:v>
                </c:pt>
                <c:pt idx="1933">
                  <c:v>22.03.2017</c:v>
                </c:pt>
                <c:pt idx="1934">
                  <c:v>21.03.2017</c:v>
                </c:pt>
                <c:pt idx="1935">
                  <c:v>20.03.2017</c:v>
                </c:pt>
                <c:pt idx="1936">
                  <c:v>17.03.2017</c:v>
                </c:pt>
                <c:pt idx="1937">
                  <c:v>16.03.2017</c:v>
                </c:pt>
                <c:pt idx="1938">
                  <c:v>15.03.2017</c:v>
                </c:pt>
                <c:pt idx="1939">
                  <c:v>14.03.2017</c:v>
                </c:pt>
                <c:pt idx="1940">
                  <c:v>13.03.2017</c:v>
                </c:pt>
                <c:pt idx="1941">
                  <c:v>10.03.2017</c:v>
                </c:pt>
                <c:pt idx="1942">
                  <c:v>09.03.2017</c:v>
                </c:pt>
                <c:pt idx="1943">
                  <c:v>08.03.2017</c:v>
                </c:pt>
                <c:pt idx="1944">
                  <c:v>07.03.2017</c:v>
                </c:pt>
                <c:pt idx="1945">
                  <c:v>06.03.2017</c:v>
                </c:pt>
                <c:pt idx="1946">
                  <c:v>03.03.2017</c:v>
                </c:pt>
                <c:pt idx="1947">
                  <c:v>02.03.2017</c:v>
                </c:pt>
                <c:pt idx="1948">
                  <c:v>01.03.2017</c:v>
                </c:pt>
                <c:pt idx="1949">
                  <c:v>28.02.2017</c:v>
                </c:pt>
                <c:pt idx="1950">
                  <c:v>27.02.2017</c:v>
                </c:pt>
                <c:pt idx="1951">
                  <c:v>24.02.2017</c:v>
                </c:pt>
                <c:pt idx="1952">
                  <c:v>23.02.2017</c:v>
                </c:pt>
                <c:pt idx="1953">
                  <c:v>22.02.2017</c:v>
                </c:pt>
                <c:pt idx="1954">
                  <c:v>21.02.2017</c:v>
                </c:pt>
                <c:pt idx="1955">
                  <c:v>17.02.2017</c:v>
                </c:pt>
                <c:pt idx="1956">
                  <c:v>16.02.2017</c:v>
                </c:pt>
                <c:pt idx="1957">
                  <c:v>15.02.2017</c:v>
                </c:pt>
                <c:pt idx="1958">
                  <c:v>14.02.2017</c:v>
                </c:pt>
                <c:pt idx="1959">
                  <c:v>13.02.2017</c:v>
                </c:pt>
                <c:pt idx="1960">
                  <c:v>10.02.2017</c:v>
                </c:pt>
                <c:pt idx="1961">
                  <c:v>09.02.2017</c:v>
                </c:pt>
                <c:pt idx="1962">
                  <c:v>08.02.2017</c:v>
                </c:pt>
                <c:pt idx="1963">
                  <c:v>07.02.2017</c:v>
                </c:pt>
                <c:pt idx="1964">
                  <c:v>06.02.2017</c:v>
                </c:pt>
                <c:pt idx="1965">
                  <c:v>03.02.2017</c:v>
                </c:pt>
                <c:pt idx="1966">
                  <c:v>02.02.2017</c:v>
                </c:pt>
                <c:pt idx="1967">
                  <c:v>01.02.2017</c:v>
                </c:pt>
                <c:pt idx="1968">
                  <c:v>31.01.2017</c:v>
                </c:pt>
                <c:pt idx="1969">
                  <c:v>30.01.2017</c:v>
                </c:pt>
                <c:pt idx="1970">
                  <c:v>27.01.2017</c:v>
                </c:pt>
                <c:pt idx="1971">
                  <c:v>26.01.2017</c:v>
                </c:pt>
                <c:pt idx="1972">
                  <c:v>25.01.2017</c:v>
                </c:pt>
                <c:pt idx="1973">
                  <c:v>24.01.2017</c:v>
                </c:pt>
                <c:pt idx="1974">
                  <c:v>23.01.2017</c:v>
                </c:pt>
                <c:pt idx="1975">
                  <c:v>20.01.2017</c:v>
                </c:pt>
                <c:pt idx="1976">
                  <c:v>19.01.2017</c:v>
                </c:pt>
                <c:pt idx="1977">
                  <c:v>18.01.2017</c:v>
                </c:pt>
                <c:pt idx="1978">
                  <c:v>17.01.2017</c:v>
                </c:pt>
                <c:pt idx="1979">
                  <c:v>13.01.2017</c:v>
                </c:pt>
                <c:pt idx="1980">
                  <c:v>12.01.2017</c:v>
                </c:pt>
                <c:pt idx="1981">
                  <c:v>11.01.2017</c:v>
                </c:pt>
                <c:pt idx="1982">
                  <c:v>10.01.2017</c:v>
                </c:pt>
                <c:pt idx="1983">
                  <c:v>09.01.2017</c:v>
                </c:pt>
                <c:pt idx="1984">
                  <c:v>06.01.2017</c:v>
                </c:pt>
                <c:pt idx="1985">
                  <c:v>05.01.2017</c:v>
                </c:pt>
                <c:pt idx="1986">
                  <c:v>04.01.2017</c:v>
                </c:pt>
                <c:pt idx="1987">
                  <c:v>03.01.2017</c:v>
                </c:pt>
                <c:pt idx="1988">
                  <c:v>30.12.2016</c:v>
                </c:pt>
                <c:pt idx="1989">
                  <c:v>29.12.2016</c:v>
                </c:pt>
                <c:pt idx="1990">
                  <c:v>28.12.2016</c:v>
                </c:pt>
                <c:pt idx="1991">
                  <c:v>27.12.2016</c:v>
                </c:pt>
                <c:pt idx="1992">
                  <c:v>23.12.2016</c:v>
                </c:pt>
                <c:pt idx="1993">
                  <c:v>22.12.2016</c:v>
                </c:pt>
                <c:pt idx="1994">
                  <c:v>21.12.2016</c:v>
                </c:pt>
                <c:pt idx="1995">
                  <c:v>20.12.2016</c:v>
                </c:pt>
                <c:pt idx="1996">
                  <c:v>19.12.2016</c:v>
                </c:pt>
                <c:pt idx="1997">
                  <c:v>16.12.2016</c:v>
                </c:pt>
                <c:pt idx="1998">
                  <c:v>15.12.2016</c:v>
                </c:pt>
                <c:pt idx="1999">
                  <c:v>14.12.2016</c:v>
                </c:pt>
                <c:pt idx="2000">
                  <c:v>13.12.2016</c:v>
                </c:pt>
                <c:pt idx="2001">
                  <c:v>12.12.2016</c:v>
                </c:pt>
                <c:pt idx="2002">
                  <c:v>09.12.2016</c:v>
                </c:pt>
                <c:pt idx="2003">
                  <c:v>08.12.2016</c:v>
                </c:pt>
                <c:pt idx="2004">
                  <c:v>07.12.2016</c:v>
                </c:pt>
                <c:pt idx="2005">
                  <c:v>06.12.2016</c:v>
                </c:pt>
                <c:pt idx="2006">
                  <c:v>05.12.2016</c:v>
                </c:pt>
                <c:pt idx="2007">
                  <c:v>02.12.2016</c:v>
                </c:pt>
                <c:pt idx="2008">
                  <c:v>01.12.2016</c:v>
                </c:pt>
                <c:pt idx="2009">
                  <c:v>30.11.2016</c:v>
                </c:pt>
                <c:pt idx="2010">
                  <c:v>29.11.2016</c:v>
                </c:pt>
                <c:pt idx="2011">
                  <c:v>28.11.2016</c:v>
                </c:pt>
                <c:pt idx="2012">
                  <c:v>25.11.2016</c:v>
                </c:pt>
                <c:pt idx="2013">
                  <c:v>23.11.2016</c:v>
                </c:pt>
                <c:pt idx="2014">
                  <c:v>22.11.2016</c:v>
                </c:pt>
                <c:pt idx="2015">
                  <c:v>21.11.2016</c:v>
                </c:pt>
                <c:pt idx="2016">
                  <c:v>18.11.2016</c:v>
                </c:pt>
                <c:pt idx="2017">
                  <c:v>17.11.2016</c:v>
                </c:pt>
                <c:pt idx="2018">
                  <c:v>16.11.2016</c:v>
                </c:pt>
                <c:pt idx="2019">
                  <c:v>15.11.2016</c:v>
                </c:pt>
                <c:pt idx="2020">
                  <c:v>14.11.2016</c:v>
                </c:pt>
                <c:pt idx="2021">
                  <c:v>11.11.2016</c:v>
                </c:pt>
                <c:pt idx="2022">
                  <c:v>10.11.2016</c:v>
                </c:pt>
                <c:pt idx="2023">
                  <c:v>09.11.2016</c:v>
                </c:pt>
                <c:pt idx="2024">
                  <c:v>08.11.2016</c:v>
                </c:pt>
                <c:pt idx="2025">
                  <c:v>07.11.2016</c:v>
                </c:pt>
                <c:pt idx="2026">
                  <c:v>04.11.2016</c:v>
                </c:pt>
                <c:pt idx="2027">
                  <c:v>03.11.2016</c:v>
                </c:pt>
                <c:pt idx="2028">
                  <c:v>02.11.2016</c:v>
                </c:pt>
                <c:pt idx="2029">
                  <c:v>01.11.2016</c:v>
                </c:pt>
                <c:pt idx="2030">
                  <c:v>31.10.2016</c:v>
                </c:pt>
                <c:pt idx="2031">
                  <c:v>28.10.2016</c:v>
                </c:pt>
                <c:pt idx="2032">
                  <c:v>27.10.2016</c:v>
                </c:pt>
                <c:pt idx="2033">
                  <c:v>26.10.2016</c:v>
                </c:pt>
                <c:pt idx="2034">
                  <c:v>25.10.2016</c:v>
                </c:pt>
                <c:pt idx="2035">
                  <c:v>24.10.2016</c:v>
                </c:pt>
                <c:pt idx="2036">
                  <c:v>21.10.2016</c:v>
                </c:pt>
                <c:pt idx="2037">
                  <c:v>20.10.2016</c:v>
                </c:pt>
                <c:pt idx="2038">
                  <c:v>19.10.2016</c:v>
                </c:pt>
                <c:pt idx="2039">
                  <c:v>18.10.2016</c:v>
                </c:pt>
                <c:pt idx="2040">
                  <c:v>17.10.2016</c:v>
                </c:pt>
                <c:pt idx="2041">
                  <c:v>14.10.2016</c:v>
                </c:pt>
                <c:pt idx="2042">
                  <c:v>13.10.2016</c:v>
                </c:pt>
                <c:pt idx="2043">
                  <c:v>12.10.2016</c:v>
                </c:pt>
                <c:pt idx="2044">
                  <c:v>11.10.2016</c:v>
                </c:pt>
                <c:pt idx="2045">
                  <c:v>10.10.2016</c:v>
                </c:pt>
                <c:pt idx="2046">
                  <c:v>07.10.2016</c:v>
                </c:pt>
                <c:pt idx="2047">
                  <c:v>06.10.2016</c:v>
                </c:pt>
                <c:pt idx="2048">
                  <c:v>05.10.2016</c:v>
                </c:pt>
                <c:pt idx="2049">
                  <c:v>04.10.2016</c:v>
                </c:pt>
                <c:pt idx="2050">
                  <c:v>03.10.2016</c:v>
                </c:pt>
                <c:pt idx="2051">
                  <c:v>30.09.2016</c:v>
                </c:pt>
                <c:pt idx="2052">
                  <c:v>29.09.2016</c:v>
                </c:pt>
                <c:pt idx="2053">
                  <c:v>28.09.2016</c:v>
                </c:pt>
                <c:pt idx="2054">
                  <c:v>27.09.2016</c:v>
                </c:pt>
                <c:pt idx="2055">
                  <c:v>26.09.2016</c:v>
                </c:pt>
                <c:pt idx="2056">
                  <c:v>23.09.2016</c:v>
                </c:pt>
                <c:pt idx="2057">
                  <c:v>22.09.2016</c:v>
                </c:pt>
                <c:pt idx="2058">
                  <c:v>21.09.2016</c:v>
                </c:pt>
                <c:pt idx="2059">
                  <c:v>20.09.2016</c:v>
                </c:pt>
                <c:pt idx="2060">
                  <c:v>19.09.2016</c:v>
                </c:pt>
                <c:pt idx="2061">
                  <c:v>16.09.2016</c:v>
                </c:pt>
                <c:pt idx="2062">
                  <c:v>15.09.2016</c:v>
                </c:pt>
                <c:pt idx="2063">
                  <c:v>14.09.2016</c:v>
                </c:pt>
                <c:pt idx="2064">
                  <c:v>13.09.2016</c:v>
                </c:pt>
                <c:pt idx="2065">
                  <c:v>12.09.2016</c:v>
                </c:pt>
                <c:pt idx="2066">
                  <c:v>09.09.2016</c:v>
                </c:pt>
                <c:pt idx="2067">
                  <c:v>08.09.2016</c:v>
                </c:pt>
                <c:pt idx="2068">
                  <c:v>07.09.2016</c:v>
                </c:pt>
                <c:pt idx="2069">
                  <c:v>06.09.2016</c:v>
                </c:pt>
                <c:pt idx="2070">
                  <c:v>02.09.2016</c:v>
                </c:pt>
                <c:pt idx="2071">
                  <c:v>01.09.2016</c:v>
                </c:pt>
                <c:pt idx="2072">
                  <c:v>31.08.2016</c:v>
                </c:pt>
                <c:pt idx="2073">
                  <c:v>30.08.2016</c:v>
                </c:pt>
                <c:pt idx="2074">
                  <c:v>29.08.2016</c:v>
                </c:pt>
                <c:pt idx="2075">
                  <c:v>26.08.2016</c:v>
                </c:pt>
                <c:pt idx="2076">
                  <c:v>25.08.2016</c:v>
                </c:pt>
                <c:pt idx="2077">
                  <c:v>24.08.2016</c:v>
                </c:pt>
                <c:pt idx="2078">
                  <c:v>23.08.2016</c:v>
                </c:pt>
                <c:pt idx="2079">
                  <c:v>22.08.2016</c:v>
                </c:pt>
                <c:pt idx="2080">
                  <c:v>19.08.2016</c:v>
                </c:pt>
                <c:pt idx="2081">
                  <c:v>18.08.2016</c:v>
                </c:pt>
                <c:pt idx="2082">
                  <c:v>17.08.2016</c:v>
                </c:pt>
                <c:pt idx="2083">
                  <c:v>16.08.2016</c:v>
                </c:pt>
                <c:pt idx="2084">
                  <c:v>15.08.2016</c:v>
                </c:pt>
                <c:pt idx="2085">
                  <c:v>12.08.2016</c:v>
                </c:pt>
                <c:pt idx="2086">
                  <c:v>11.08.2016</c:v>
                </c:pt>
                <c:pt idx="2087">
                  <c:v>10.08.2016</c:v>
                </c:pt>
                <c:pt idx="2088">
                  <c:v>09.08.2016</c:v>
                </c:pt>
                <c:pt idx="2089">
                  <c:v>08.08.2016</c:v>
                </c:pt>
                <c:pt idx="2090">
                  <c:v>05.08.2016</c:v>
                </c:pt>
                <c:pt idx="2091">
                  <c:v>04.08.2016</c:v>
                </c:pt>
                <c:pt idx="2092">
                  <c:v>03.08.2016</c:v>
                </c:pt>
                <c:pt idx="2093">
                  <c:v>02.08.2016</c:v>
                </c:pt>
                <c:pt idx="2094">
                  <c:v>01.08.2016</c:v>
                </c:pt>
                <c:pt idx="2095">
                  <c:v>29.07.2016</c:v>
                </c:pt>
                <c:pt idx="2096">
                  <c:v>28.07.2016</c:v>
                </c:pt>
                <c:pt idx="2097">
                  <c:v>27.07.2016</c:v>
                </c:pt>
                <c:pt idx="2098">
                  <c:v>26.07.2016</c:v>
                </c:pt>
                <c:pt idx="2099">
                  <c:v>25.07.2016</c:v>
                </c:pt>
                <c:pt idx="2100">
                  <c:v>22.07.2016</c:v>
                </c:pt>
                <c:pt idx="2101">
                  <c:v>21.07.2016</c:v>
                </c:pt>
                <c:pt idx="2102">
                  <c:v>20.07.2016</c:v>
                </c:pt>
                <c:pt idx="2103">
                  <c:v>19.07.2016</c:v>
                </c:pt>
                <c:pt idx="2104">
                  <c:v>18.07.2016</c:v>
                </c:pt>
                <c:pt idx="2105">
                  <c:v>15.07.2016</c:v>
                </c:pt>
                <c:pt idx="2106">
                  <c:v>14.07.2016</c:v>
                </c:pt>
                <c:pt idx="2107">
                  <c:v>13.07.2016</c:v>
                </c:pt>
                <c:pt idx="2108">
                  <c:v>12.07.2016</c:v>
                </c:pt>
                <c:pt idx="2109">
                  <c:v>11.07.2016</c:v>
                </c:pt>
                <c:pt idx="2110">
                  <c:v>08.07.2016</c:v>
                </c:pt>
                <c:pt idx="2111">
                  <c:v>07.07.2016</c:v>
                </c:pt>
                <c:pt idx="2112">
                  <c:v>06.07.2016</c:v>
                </c:pt>
                <c:pt idx="2113">
                  <c:v>05.07.2016</c:v>
                </c:pt>
                <c:pt idx="2114">
                  <c:v>01.07.2016</c:v>
                </c:pt>
                <c:pt idx="2115">
                  <c:v>30.06.2016</c:v>
                </c:pt>
                <c:pt idx="2116">
                  <c:v>29.06.2016</c:v>
                </c:pt>
                <c:pt idx="2117">
                  <c:v>28.06.2016</c:v>
                </c:pt>
                <c:pt idx="2118">
                  <c:v>27.06.2016</c:v>
                </c:pt>
                <c:pt idx="2119">
                  <c:v>24.06.2016</c:v>
                </c:pt>
                <c:pt idx="2120">
                  <c:v>23.06.2016</c:v>
                </c:pt>
                <c:pt idx="2121">
                  <c:v>22.06.2016</c:v>
                </c:pt>
                <c:pt idx="2122">
                  <c:v>21.06.2016</c:v>
                </c:pt>
                <c:pt idx="2123">
                  <c:v>20.06.2016</c:v>
                </c:pt>
                <c:pt idx="2124">
                  <c:v>17.06.2016</c:v>
                </c:pt>
                <c:pt idx="2125">
                  <c:v>16.06.2016</c:v>
                </c:pt>
                <c:pt idx="2126">
                  <c:v>15.06.2016</c:v>
                </c:pt>
                <c:pt idx="2127">
                  <c:v>14.06.2016</c:v>
                </c:pt>
                <c:pt idx="2128">
                  <c:v>13.06.2016</c:v>
                </c:pt>
                <c:pt idx="2129">
                  <c:v>10.06.2016</c:v>
                </c:pt>
                <c:pt idx="2130">
                  <c:v>09.06.2016</c:v>
                </c:pt>
                <c:pt idx="2131">
                  <c:v>08.06.2016</c:v>
                </c:pt>
                <c:pt idx="2132">
                  <c:v>07.06.2016</c:v>
                </c:pt>
                <c:pt idx="2133">
                  <c:v>06.06.2016</c:v>
                </c:pt>
                <c:pt idx="2134">
                  <c:v>03.06.2016</c:v>
                </c:pt>
                <c:pt idx="2135">
                  <c:v>02.06.2016</c:v>
                </c:pt>
                <c:pt idx="2136">
                  <c:v>01.06.2016</c:v>
                </c:pt>
                <c:pt idx="2137">
                  <c:v>31.05.2016</c:v>
                </c:pt>
                <c:pt idx="2138">
                  <c:v>27.05.2016</c:v>
                </c:pt>
                <c:pt idx="2139">
                  <c:v>26.05.2016</c:v>
                </c:pt>
                <c:pt idx="2140">
                  <c:v>25.05.2016</c:v>
                </c:pt>
                <c:pt idx="2141">
                  <c:v>24.05.2016</c:v>
                </c:pt>
                <c:pt idx="2142">
                  <c:v>23.05.2016</c:v>
                </c:pt>
                <c:pt idx="2143">
                  <c:v>20.05.2016</c:v>
                </c:pt>
                <c:pt idx="2144">
                  <c:v>19.05.2016</c:v>
                </c:pt>
                <c:pt idx="2145">
                  <c:v>18.05.2016</c:v>
                </c:pt>
                <c:pt idx="2146">
                  <c:v>17.05.2016</c:v>
                </c:pt>
                <c:pt idx="2147">
                  <c:v>16.05.2016</c:v>
                </c:pt>
                <c:pt idx="2148">
                  <c:v>13.05.2016</c:v>
                </c:pt>
                <c:pt idx="2149">
                  <c:v>12.05.2016</c:v>
                </c:pt>
                <c:pt idx="2150">
                  <c:v>11.05.2016</c:v>
                </c:pt>
                <c:pt idx="2151">
                  <c:v>10.05.2016</c:v>
                </c:pt>
                <c:pt idx="2152">
                  <c:v>09.05.2016</c:v>
                </c:pt>
                <c:pt idx="2153">
                  <c:v>06.05.2016</c:v>
                </c:pt>
                <c:pt idx="2154">
                  <c:v>05.05.2016</c:v>
                </c:pt>
                <c:pt idx="2155">
                  <c:v>04.05.2016</c:v>
                </c:pt>
                <c:pt idx="2156">
                  <c:v>03.05.2016</c:v>
                </c:pt>
                <c:pt idx="2157">
                  <c:v>02.05.2016</c:v>
                </c:pt>
                <c:pt idx="2158">
                  <c:v>29.04.2016</c:v>
                </c:pt>
                <c:pt idx="2159">
                  <c:v>28.04.2016</c:v>
                </c:pt>
                <c:pt idx="2160">
                  <c:v>27.04.2016</c:v>
                </c:pt>
                <c:pt idx="2161">
                  <c:v>26.04.2016</c:v>
                </c:pt>
                <c:pt idx="2162">
                  <c:v>25.04.2016</c:v>
                </c:pt>
                <c:pt idx="2163">
                  <c:v>22.04.2016</c:v>
                </c:pt>
                <c:pt idx="2164">
                  <c:v>21.04.2016</c:v>
                </c:pt>
                <c:pt idx="2165">
                  <c:v>20.04.2016</c:v>
                </c:pt>
                <c:pt idx="2166">
                  <c:v>19.04.2016</c:v>
                </c:pt>
                <c:pt idx="2167">
                  <c:v>18.04.2016</c:v>
                </c:pt>
                <c:pt idx="2168">
                  <c:v>15.04.2016</c:v>
                </c:pt>
                <c:pt idx="2169">
                  <c:v>14.04.2016</c:v>
                </c:pt>
                <c:pt idx="2170">
                  <c:v>13.04.2016</c:v>
                </c:pt>
                <c:pt idx="2171">
                  <c:v>12.04.2016</c:v>
                </c:pt>
                <c:pt idx="2172">
                  <c:v>11.04.2016</c:v>
                </c:pt>
                <c:pt idx="2173">
                  <c:v>08.04.2016</c:v>
                </c:pt>
                <c:pt idx="2174">
                  <c:v>07.04.2016</c:v>
                </c:pt>
                <c:pt idx="2175">
                  <c:v>06.04.2016</c:v>
                </c:pt>
                <c:pt idx="2176">
                  <c:v>05.04.2016</c:v>
                </c:pt>
                <c:pt idx="2177">
                  <c:v>04.04.2016</c:v>
                </c:pt>
                <c:pt idx="2178">
                  <c:v>01.04.2016</c:v>
                </c:pt>
                <c:pt idx="2179">
                  <c:v>31.03.2016</c:v>
                </c:pt>
                <c:pt idx="2180">
                  <c:v>30.03.2016</c:v>
                </c:pt>
                <c:pt idx="2181">
                  <c:v>29.03.2016</c:v>
                </c:pt>
                <c:pt idx="2182">
                  <c:v>28.03.2016</c:v>
                </c:pt>
                <c:pt idx="2183">
                  <c:v>24.03.2016</c:v>
                </c:pt>
                <c:pt idx="2184">
                  <c:v>23.03.2016</c:v>
                </c:pt>
                <c:pt idx="2185">
                  <c:v>22.03.2016</c:v>
                </c:pt>
                <c:pt idx="2186">
                  <c:v>21.03.2016</c:v>
                </c:pt>
                <c:pt idx="2187">
                  <c:v>18.03.2016</c:v>
                </c:pt>
                <c:pt idx="2188">
                  <c:v>17.03.2016</c:v>
                </c:pt>
                <c:pt idx="2189">
                  <c:v>16.03.2016</c:v>
                </c:pt>
                <c:pt idx="2190">
                  <c:v>15.03.2016</c:v>
                </c:pt>
                <c:pt idx="2191">
                  <c:v>14.03.2016</c:v>
                </c:pt>
                <c:pt idx="2192">
                  <c:v>11.03.2016</c:v>
                </c:pt>
                <c:pt idx="2193">
                  <c:v>10.03.2016</c:v>
                </c:pt>
                <c:pt idx="2194">
                  <c:v>09.03.2016</c:v>
                </c:pt>
                <c:pt idx="2195">
                  <c:v>08.03.2016</c:v>
                </c:pt>
                <c:pt idx="2196">
                  <c:v>07.03.2016</c:v>
                </c:pt>
                <c:pt idx="2197">
                  <c:v>04.03.2016</c:v>
                </c:pt>
                <c:pt idx="2198">
                  <c:v>03.03.2016</c:v>
                </c:pt>
                <c:pt idx="2199">
                  <c:v>02.03.2016</c:v>
                </c:pt>
                <c:pt idx="2200">
                  <c:v>01.03.2016</c:v>
                </c:pt>
                <c:pt idx="2201">
                  <c:v>29.02.2016</c:v>
                </c:pt>
                <c:pt idx="2202">
                  <c:v>26.02.2016</c:v>
                </c:pt>
                <c:pt idx="2203">
                  <c:v>25.02.2016</c:v>
                </c:pt>
                <c:pt idx="2204">
                  <c:v>24.02.2016</c:v>
                </c:pt>
                <c:pt idx="2205">
                  <c:v>23.02.2016</c:v>
                </c:pt>
                <c:pt idx="2206">
                  <c:v>22.02.2016</c:v>
                </c:pt>
                <c:pt idx="2207">
                  <c:v>19.02.2016</c:v>
                </c:pt>
                <c:pt idx="2208">
                  <c:v>18.02.2016</c:v>
                </c:pt>
                <c:pt idx="2209">
                  <c:v>17.02.2016</c:v>
                </c:pt>
                <c:pt idx="2210">
                  <c:v>16.02.2016</c:v>
                </c:pt>
                <c:pt idx="2211">
                  <c:v>12.02.2016</c:v>
                </c:pt>
                <c:pt idx="2212">
                  <c:v>11.02.2016</c:v>
                </c:pt>
                <c:pt idx="2213">
                  <c:v>10.02.2016</c:v>
                </c:pt>
                <c:pt idx="2214">
                  <c:v>09.02.2016</c:v>
                </c:pt>
                <c:pt idx="2215">
                  <c:v>08.02.2016</c:v>
                </c:pt>
                <c:pt idx="2216">
                  <c:v>05.02.2016</c:v>
                </c:pt>
                <c:pt idx="2217">
                  <c:v>04.02.2016</c:v>
                </c:pt>
                <c:pt idx="2218">
                  <c:v>03.02.2016</c:v>
                </c:pt>
                <c:pt idx="2219">
                  <c:v>02.02.2016</c:v>
                </c:pt>
                <c:pt idx="2220">
                  <c:v>01.02.2016</c:v>
                </c:pt>
                <c:pt idx="2221">
                  <c:v>29.01.2016</c:v>
                </c:pt>
                <c:pt idx="2222">
                  <c:v>28.01.2016</c:v>
                </c:pt>
                <c:pt idx="2223">
                  <c:v>27.01.2016</c:v>
                </c:pt>
                <c:pt idx="2224">
                  <c:v>26.01.2016</c:v>
                </c:pt>
                <c:pt idx="2225">
                  <c:v>25.01.2016</c:v>
                </c:pt>
                <c:pt idx="2226">
                  <c:v>22.01.2016</c:v>
                </c:pt>
                <c:pt idx="2227">
                  <c:v>21.01.2016</c:v>
                </c:pt>
                <c:pt idx="2228">
                  <c:v>20.01.2016</c:v>
                </c:pt>
                <c:pt idx="2229">
                  <c:v>19.01.2016</c:v>
                </c:pt>
                <c:pt idx="2230">
                  <c:v>15.01.2016</c:v>
                </c:pt>
                <c:pt idx="2231">
                  <c:v>14.01.2016</c:v>
                </c:pt>
                <c:pt idx="2232">
                  <c:v>13.01.2016</c:v>
                </c:pt>
                <c:pt idx="2233">
                  <c:v>12.01.2016</c:v>
                </c:pt>
                <c:pt idx="2234">
                  <c:v>11.01.2016</c:v>
                </c:pt>
                <c:pt idx="2235">
                  <c:v>08.01.2016</c:v>
                </c:pt>
                <c:pt idx="2236">
                  <c:v>07.01.2016</c:v>
                </c:pt>
                <c:pt idx="2237">
                  <c:v>06.01.2016</c:v>
                </c:pt>
                <c:pt idx="2238">
                  <c:v>05.01.2016</c:v>
                </c:pt>
                <c:pt idx="2239">
                  <c:v>04.01.2016</c:v>
                </c:pt>
                <c:pt idx="2240">
                  <c:v>31.12.2015</c:v>
                </c:pt>
                <c:pt idx="2241">
                  <c:v>30.12.2015</c:v>
                </c:pt>
                <c:pt idx="2242">
                  <c:v>29.12.2015</c:v>
                </c:pt>
                <c:pt idx="2243">
                  <c:v>28.12.2015</c:v>
                </c:pt>
                <c:pt idx="2244">
                  <c:v>24.12.2015</c:v>
                </c:pt>
                <c:pt idx="2245">
                  <c:v>23.12.2015</c:v>
                </c:pt>
                <c:pt idx="2246">
                  <c:v>22.12.2015</c:v>
                </c:pt>
                <c:pt idx="2247">
                  <c:v>21.12.2015</c:v>
                </c:pt>
                <c:pt idx="2248">
                  <c:v>18.12.2015</c:v>
                </c:pt>
                <c:pt idx="2249">
                  <c:v>17.12.2015</c:v>
                </c:pt>
                <c:pt idx="2250">
                  <c:v>16.12.2015</c:v>
                </c:pt>
                <c:pt idx="2251">
                  <c:v>15.12.2015</c:v>
                </c:pt>
                <c:pt idx="2252">
                  <c:v>14.12.2015</c:v>
                </c:pt>
                <c:pt idx="2253">
                  <c:v>11.12.2015</c:v>
                </c:pt>
                <c:pt idx="2254">
                  <c:v>10.12.2015</c:v>
                </c:pt>
                <c:pt idx="2255">
                  <c:v>09.12.2015</c:v>
                </c:pt>
                <c:pt idx="2256">
                  <c:v>08.12.2015</c:v>
                </c:pt>
                <c:pt idx="2257">
                  <c:v>07.12.2015</c:v>
                </c:pt>
                <c:pt idx="2258">
                  <c:v>04.12.2015</c:v>
                </c:pt>
                <c:pt idx="2259">
                  <c:v>03.12.2015</c:v>
                </c:pt>
                <c:pt idx="2260">
                  <c:v>02.12.2015</c:v>
                </c:pt>
                <c:pt idx="2261">
                  <c:v>01.12.2015</c:v>
                </c:pt>
                <c:pt idx="2262">
                  <c:v>30.11.2015</c:v>
                </c:pt>
                <c:pt idx="2263">
                  <c:v>27.11.2015</c:v>
                </c:pt>
                <c:pt idx="2264">
                  <c:v>25.11.2015</c:v>
                </c:pt>
                <c:pt idx="2265">
                  <c:v>24.11.2015</c:v>
                </c:pt>
                <c:pt idx="2266">
                  <c:v>23.11.2015</c:v>
                </c:pt>
                <c:pt idx="2267">
                  <c:v>20.11.2015</c:v>
                </c:pt>
                <c:pt idx="2268">
                  <c:v>19.11.2015</c:v>
                </c:pt>
                <c:pt idx="2269">
                  <c:v>18.11.2015</c:v>
                </c:pt>
                <c:pt idx="2270">
                  <c:v>17.11.2015</c:v>
                </c:pt>
                <c:pt idx="2271">
                  <c:v>16.11.2015</c:v>
                </c:pt>
                <c:pt idx="2272">
                  <c:v>13.11.2015</c:v>
                </c:pt>
                <c:pt idx="2273">
                  <c:v>12.11.2015</c:v>
                </c:pt>
                <c:pt idx="2274">
                  <c:v>11.11.2015</c:v>
                </c:pt>
                <c:pt idx="2275">
                  <c:v>10.11.2015</c:v>
                </c:pt>
                <c:pt idx="2276">
                  <c:v>09.11.2015</c:v>
                </c:pt>
                <c:pt idx="2277">
                  <c:v>06.11.2015</c:v>
                </c:pt>
                <c:pt idx="2278">
                  <c:v>05.11.2015</c:v>
                </c:pt>
                <c:pt idx="2279">
                  <c:v>04.11.2015</c:v>
                </c:pt>
                <c:pt idx="2280">
                  <c:v>03.11.2015</c:v>
                </c:pt>
                <c:pt idx="2281">
                  <c:v>02.11.2015</c:v>
                </c:pt>
                <c:pt idx="2282">
                  <c:v>30.10.2015</c:v>
                </c:pt>
                <c:pt idx="2283">
                  <c:v>29.10.2015</c:v>
                </c:pt>
                <c:pt idx="2284">
                  <c:v>28.10.2015</c:v>
                </c:pt>
                <c:pt idx="2285">
                  <c:v>27.10.2015</c:v>
                </c:pt>
                <c:pt idx="2286">
                  <c:v>26.10.2015</c:v>
                </c:pt>
                <c:pt idx="2287">
                  <c:v>23.10.2015</c:v>
                </c:pt>
                <c:pt idx="2288">
                  <c:v>22.10.2015</c:v>
                </c:pt>
                <c:pt idx="2289">
                  <c:v>21.10.2015</c:v>
                </c:pt>
                <c:pt idx="2290">
                  <c:v>20.10.2015</c:v>
                </c:pt>
                <c:pt idx="2291">
                  <c:v>19.10.2015</c:v>
                </c:pt>
                <c:pt idx="2292">
                  <c:v>16.10.2015</c:v>
                </c:pt>
                <c:pt idx="2293">
                  <c:v>15.10.2015</c:v>
                </c:pt>
                <c:pt idx="2294">
                  <c:v>14.10.2015</c:v>
                </c:pt>
                <c:pt idx="2295">
                  <c:v>13.10.2015</c:v>
                </c:pt>
                <c:pt idx="2296">
                  <c:v>12.10.2015</c:v>
                </c:pt>
                <c:pt idx="2297">
                  <c:v>09.10.2015</c:v>
                </c:pt>
                <c:pt idx="2298">
                  <c:v>08.10.2015</c:v>
                </c:pt>
                <c:pt idx="2299">
                  <c:v>07.10.2015</c:v>
                </c:pt>
                <c:pt idx="2300">
                  <c:v>06.10.2015</c:v>
                </c:pt>
                <c:pt idx="2301">
                  <c:v>05.10.2015</c:v>
                </c:pt>
                <c:pt idx="2302">
                  <c:v>02.10.2015</c:v>
                </c:pt>
                <c:pt idx="2303">
                  <c:v>01.10.2015</c:v>
                </c:pt>
                <c:pt idx="2304">
                  <c:v>30.09.2015</c:v>
                </c:pt>
                <c:pt idx="2305">
                  <c:v>29.09.2015</c:v>
                </c:pt>
                <c:pt idx="2306">
                  <c:v>28.09.2015</c:v>
                </c:pt>
                <c:pt idx="2307">
                  <c:v>25.09.2015</c:v>
                </c:pt>
                <c:pt idx="2308">
                  <c:v>24.09.2015</c:v>
                </c:pt>
                <c:pt idx="2309">
                  <c:v>23.09.2015</c:v>
                </c:pt>
                <c:pt idx="2310">
                  <c:v>22.09.2015</c:v>
                </c:pt>
                <c:pt idx="2311">
                  <c:v>21.09.2015</c:v>
                </c:pt>
                <c:pt idx="2312">
                  <c:v>18.09.2015</c:v>
                </c:pt>
                <c:pt idx="2313">
                  <c:v>17.09.2015</c:v>
                </c:pt>
                <c:pt idx="2314">
                  <c:v>16.09.2015</c:v>
                </c:pt>
                <c:pt idx="2315">
                  <c:v>15.09.2015</c:v>
                </c:pt>
                <c:pt idx="2316">
                  <c:v>14.09.2015</c:v>
                </c:pt>
                <c:pt idx="2317">
                  <c:v>11.09.2015</c:v>
                </c:pt>
                <c:pt idx="2318">
                  <c:v>10.09.2015</c:v>
                </c:pt>
                <c:pt idx="2319">
                  <c:v>09.09.2015</c:v>
                </c:pt>
                <c:pt idx="2320">
                  <c:v>08.09.2015</c:v>
                </c:pt>
                <c:pt idx="2321">
                  <c:v>04.09.2015</c:v>
                </c:pt>
                <c:pt idx="2322">
                  <c:v>03.09.2015</c:v>
                </c:pt>
                <c:pt idx="2323">
                  <c:v>02.09.2015</c:v>
                </c:pt>
                <c:pt idx="2324">
                  <c:v>01.09.2015</c:v>
                </c:pt>
                <c:pt idx="2325">
                  <c:v>31.08.2015</c:v>
                </c:pt>
                <c:pt idx="2326">
                  <c:v>28.08.2015</c:v>
                </c:pt>
                <c:pt idx="2327">
                  <c:v>27.08.2015</c:v>
                </c:pt>
                <c:pt idx="2328">
                  <c:v>26.08.2015</c:v>
                </c:pt>
                <c:pt idx="2329">
                  <c:v>25.08.2015</c:v>
                </c:pt>
                <c:pt idx="2330">
                  <c:v>24.08.2015</c:v>
                </c:pt>
                <c:pt idx="2331">
                  <c:v>21.08.2015</c:v>
                </c:pt>
                <c:pt idx="2332">
                  <c:v>20.08.2015</c:v>
                </c:pt>
                <c:pt idx="2333">
                  <c:v>19.08.2015</c:v>
                </c:pt>
                <c:pt idx="2334">
                  <c:v>18.08.2015</c:v>
                </c:pt>
                <c:pt idx="2335">
                  <c:v>17.08.2015</c:v>
                </c:pt>
                <c:pt idx="2336">
                  <c:v>14.08.2015</c:v>
                </c:pt>
                <c:pt idx="2337">
                  <c:v>13.08.2015</c:v>
                </c:pt>
                <c:pt idx="2338">
                  <c:v>12.08.2015</c:v>
                </c:pt>
                <c:pt idx="2339">
                  <c:v>11.08.2015</c:v>
                </c:pt>
                <c:pt idx="2340">
                  <c:v>10.08.2015</c:v>
                </c:pt>
                <c:pt idx="2341">
                  <c:v>07.08.2015</c:v>
                </c:pt>
                <c:pt idx="2342">
                  <c:v>06.08.2015</c:v>
                </c:pt>
                <c:pt idx="2343">
                  <c:v>05.08.2015</c:v>
                </c:pt>
                <c:pt idx="2344">
                  <c:v>04.08.2015</c:v>
                </c:pt>
                <c:pt idx="2345">
                  <c:v>03.08.2015</c:v>
                </c:pt>
                <c:pt idx="2346">
                  <c:v>31.07.2015</c:v>
                </c:pt>
                <c:pt idx="2347">
                  <c:v>30.07.2015</c:v>
                </c:pt>
                <c:pt idx="2348">
                  <c:v>29.07.2015</c:v>
                </c:pt>
                <c:pt idx="2349">
                  <c:v>28.07.2015</c:v>
                </c:pt>
                <c:pt idx="2350">
                  <c:v>27.07.2015</c:v>
                </c:pt>
                <c:pt idx="2351">
                  <c:v>24.07.2015</c:v>
                </c:pt>
                <c:pt idx="2352">
                  <c:v>23.07.2015</c:v>
                </c:pt>
                <c:pt idx="2353">
                  <c:v>22.07.2015</c:v>
                </c:pt>
                <c:pt idx="2354">
                  <c:v>21.07.2015</c:v>
                </c:pt>
                <c:pt idx="2355">
                  <c:v>20.07.2015</c:v>
                </c:pt>
                <c:pt idx="2356">
                  <c:v>17.07.2015</c:v>
                </c:pt>
                <c:pt idx="2357">
                  <c:v>16.07.2015</c:v>
                </c:pt>
                <c:pt idx="2358">
                  <c:v>15.07.2015</c:v>
                </c:pt>
                <c:pt idx="2359">
                  <c:v>14.07.2015</c:v>
                </c:pt>
                <c:pt idx="2360">
                  <c:v>13.07.2015</c:v>
                </c:pt>
                <c:pt idx="2361">
                  <c:v>10.07.2015</c:v>
                </c:pt>
                <c:pt idx="2362">
                  <c:v>09.07.2015</c:v>
                </c:pt>
                <c:pt idx="2363">
                  <c:v>08.07.2015</c:v>
                </c:pt>
                <c:pt idx="2364">
                  <c:v>07.07.2015</c:v>
                </c:pt>
                <c:pt idx="2365">
                  <c:v>06.07.2015</c:v>
                </c:pt>
                <c:pt idx="2366">
                  <c:v>02.07.2015</c:v>
                </c:pt>
                <c:pt idx="2367">
                  <c:v>01.07.2015</c:v>
                </c:pt>
                <c:pt idx="2368">
                  <c:v>30.06.2015</c:v>
                </c:pt>
                <c:pt idx="2369">
                  <c:v>29.06.2015</c:v>
                </c:pt>
                <c:pt idx="2370">
                  <c:v>26.06.2015</c:v>
                </c:pt>
                <c:pt idx="2371">
                  <c:v>25.06.2015</c:v>
                </c:pt>
                <c:pt idx="2372">
                  <c:v>24.06.2015</c:v>
                </c:pt>
                <c:pt idx="2373">
                  <c:v>23.06.2015</c:v>
                </c:pt>
                <c:pt idx="2374">
                  <c:v>22.06.2015</c:v>
                </c:pt>
                <c:pt idx="2375">
                  <c:v>19.06.2015</c:v>
                </c:pt>
                <c:pt idx="2376">
                  <c:v>18.06.2015</c:v>
                </c:pt>
                <c:pt idx="2377">
                  <c:v>17.06.2015</c:v>
                </c:pt>
                <c:pt idx="2378">
                  <c:v>16.06.2015</c:v>
                </c:pt>
                <c:pt idx="2379">
                  <c:v>15.06.2015</c:v>
                </c:pt>
                <c:pt idx="2380">
                  <c:v>12.06.2015</c:v>
                </c:pt>
                <c:pt idx="2381">
                  <c:v>11.06.2015</c:v>
                </c:pt>
                <c:pt idx="2382">
                  <c:v>10.06.2015</c:v>
                </c:pt>
                <c:pt idx="2383">
                  <c:v>09.06.2015</c:v>
                </c:pt>
                <c:pt idx="2384">
                  <c:v>08.06.2015</c:v>
                </c:pt>
                <c:pt idx="2385">
                  <c:v>05.06.2015</c:v>
                </c:pt>
                <c:pt idx="2386">
                  <c:v>04.06.2015</c:v>
                </c:pt>
                <c:pt idx="2387">
                  <c:v>03.06.2015</c:v>
                </c:pt>
                <c:pt idx="2388">
                  <c:v>02.06.2015</c:v>
                </c:pt>
                <c:pt idx="2389">
                  <c:v>01.06.2015</c:v>
                </c:pt>
                <c:pt idx="2390">
                  <c:v>29.05.2015</c:v>
                </c:pt>
                <c:pt idx="2391">
                  <c:v>28.05.2015</c:v>
                </c:pt>
                <c:pt idx="2392">
                  <c:v>27.05.2015</c:v>
                </c:pt>
                <c:pt idx="2393">
                  <c:v>26.05.2015</c:v>
                </c:pt>
                <c:pt idx="2394">
                  <c:v>22.05.2015</c:v>
                </c:pt>
                <c:pt idx="2395">
                  <c:v>21.05.2015</c:v>
                </c:pt>
                <c:pt idx="2396">
                  <c:v>20.05.2015</c:v>
                </c:pt>
                <c:pt idx="2397">
                  <c:v>19.05.2015</c:v>
                </c:pt>
                <c:pt idx="2398">
                  <c:v>18.05.2015</c:v>
                </c:pt>
                <c:pt idx="2399">
                  <c:v>15.05.2015</c:v>
                </c:pt>
                <c:pt idx="2400">
                  <c:v>14.05.2015</c:v>
                </c:pt>
                <c:pt idx="2401">
                  <c:v>13.05.2015</c:v>
                </c:pt>
                <c:pt idx="2402">
                  <c:v>12.05.2015</c:v>
                </c:pt>
                <c:pt idx="2403">
                  <c:v>11.05.2015</c:v>
                </c:pt>
                <c:pt idx="2404">
                  <c:v>08.05.2015</c:v>
                </c:pt>
                <c:pt idx="2405">
                  <c:v>07.05.2015</c:v>
                </c:pt>
                <c:pt idx="2406">
                  <c:v>06.05.2015</c:v>
                </c:pt>
                <c:pt idx="2407">
                  <c:v>05.05.2015</c:v>
                </c:pt>
                <c:pt idx="2408">
                  <c:v>04.05.2015</c:v>
                </c:pt>
                <c:pt idx="2409">
                  <c:v>01.05.2015</c:v>
                </c:pt>
                <c:pt idx="2410">
                  <c:v>30.04.2015</c:v>
                </c:pt>
                <c:pt idx="2411">
                  <c:v>29.04.2015</c:v>
                </c:pt>
                <c:pt idx="2412">
                  <c:v>28.04.2015</c:v>
                </c:pt>
                <c:pt idx="2413">
                  <c:v>27.04.2015</c:v>
                </c:pt>
                <c:pt idx="2414">
                  <c:v>24.04.2015</c:v>
                </c:pt>
                <c:pt idx="2415">
                  <c:v>23.04.2015</c:v>
                </c:pt>
                <c:pt idx="2416">
                  <c:v>22.04.2015</c:v>
                </c:pt>
                <c:pt idx="2417">
                  <c:v>21.04.2015</c:v>
                </c:pt>
                <c:pt idx="2418">
                  <c:v>20.04.2015</c:v>
                </c:pt>
                <c:pt idx="2419">
                  <c:v>17.04.2015</c:v>
                </c:pt>
                <c:pt idx="2420">
                  <c:v>16.04.2015</c:v>
                </c:pt>
                <c:pt idx="2421">
                  <c:v>15.04.2015</c:v>
                </c:pt>
                <c:pt idx="2422">
                  <c:v>14.04.2015</c:v>
                </c:pt>
                <c:pt idx="2423">
                  <c:v>13.04.2015</c:v>
                </c:pt>
                <c:pt idx="2424">
                  <c:v>10.04.2015</c:v>
                </c:pt>
                <c:pt idx="2425">
                  <c:v>09.04.2015</c:v>
                </c:pt>
                <c:pt idx="2426">
                  <c:v>08.04.2015</c:v>
                </c:pt>
                <c:pt idx="2427">
                  <c:v>07.04.2015</c:v>
                </c:pt>
                <c:pt idx="2428">
                  <c:v>06.04.2015</c:v>
                </c:pt>
                <c:pt idx="2429">
                  <c:v>02.04.2015</c:v>
                </c:pt>
                <c:pt idx="2430">
                  <c:v>01.04.2015</c:v>
                </c:pt>
                <c:pt idx="2431">
                  <c:v>31.03.2015</c:v>
                </c:pt>
                <c:pt idx="2432">
                  <c:v>30.03.2015</c:v>
                </c:pt>
                <c:pt idx="2433">
                  <c:v>27.03.2015</c:v>
                </c:pt>
                <c:pt idx="2434">
                  <c:v>26.03.2015</c:v>
                </c:pt>
                <c:pt idx="2435">
                  <c:v>25.03.2015</c:v>
                </c:pt>
                <c:pt idx="2436">
                  <c:v>24.03.2015</c:v>
                </c:pt>
                <c:pt idx="2437">
                  <c:v>23.03.2015</c:v>
                </c:pt>
                <c:pt idx="2438">
                  <c:v>20.03.2015</c:v>
                </c:pt>
                <c:pt idx="2439">
                  <c:v>19.03.2015</c:v>
                </c:pt>
                <c:pt idx="2440">
                  <c:v>18.03.2015</c:v>
                </c:pt>
                <c:pt idx="2441">
                  <c:v>17.03.2015</c:v>
                </c:pt>
                <c:pt idx="2442">
                  <c:v>16.03.2015</c:v>
                </c:pt>
                <c:pt idx="2443">
                  <c:v>13.03.2015</c:v>
                </c:pt>
                <c:pt idx="2444">
                  <c:v>12.03.2015</c:v>
                </c:pt>
                <c:pt idx="2445">
                  <c:v>11.03.2015</c:v>
                </c:pt>
                <c:pt idx="2446">
                  <c:v>10.03.2015</c:v>
                </c:pt>
                <c:pt idx="2447">
                  <c:v>09.03.2015</c:v>
                </c:pt>
                <c:pt idx="2448">
                  <c:v>06.03.2015</c:v>
                </c:pt>
                <c:pt idx="2449">
                  <c:v>05.03.2015</c:v>
                </c:pt>
                <c:pt idx="2450">
                  <c:v>04.03.2015</c:v>
                </c:pt>
                <c:pt idx="2451">
                  <c:v>03.03.2015</c:v>
                </c:pt>
                <c:pt idx="2452">
                  <c:v>02.03.2015</c:v>
                </c:pt>
                <c:pt idx="2453">
                  <c:v>27.02.2015</c:v>
                </c:pt>
                <c:pt idx="2454">
                  <c:v>26.02.2015</c:v>
                </c:pt>
                <c:pt idx="2455">
                  <c:v>25.02.2015</c:v>
                </c:pt>
                <c:pt idx="2456">
                  <c:v>24.02.2015</c:v>
                </c:pt>
                <c:pt idx="2457">
                  <c:v>23.02.2015</c:v>
                </c:pt>
                <c:pt idx="2458">
                  <c:v>20.02.2015</c:v>
                </c:pt>
                <c:pt idx="2459">
                  <c:v>19.02.2015</c:v>
                </c:pt>
                <c:pt idx="2460">
                  <c:v>18.02.2015</c:v>
                </c:pt>
                <c:pt idx="2461">
                  <c:v>17.02.2015</c:v>
                </c:pt>
                <c:pt idx="2462">
                  <c:v>13.02.2015</c:v>
                </c:pt>
                <c:pt idx="2463">
                  <c:v>12.02.2015</c:v>
                </c:pt>
                <c:pt idx="2464">
                  <c:v>11.02.2015</c:v>
                </c:pt>
                <c:pt idx="2465">
                  <c:v>10.02.2015</c:v>
                </c:pt>
                <c:pt idx="2466">
                  <c:v>09.02.2015</c:v>
                </c:pt>
                <c:pt idx="2467">
                  <c:v>06.02.2015</c:v>
                </c:pt>
                <c:pt idx="2468">
                  <c:v>05.02.2015</c:v>
                </c:pt>
                <c:pt idx="2469">
                  <c:v>04.02.2015</c:v>
                </c:pt>
                <c:pt idx="2470">
                  <c:v>03.02.2015</c:v>
                </c:pt>
                <c:pt idx="2471">
                  <c:v>02.02.2015</c:v>
                </c:pt>
                <c:pt idx="2472">
                  <c:v>30.01.2015</c:v>
                </c:pt>
                <c:pt idx="2473">
                  <c:v>29.01.2015</c:v>
                </c:pt>
                <c:pt idx="2474">
                  <c:v>28.01.2015</c:v>
                </c:pt>
                <c:pt idx="2475">
                  <c:v>27.01.2015</c:v>
                </c:pt>
                <c:pt idx="2476">
                  <c:v>26.01.2015</c:v>
                </c:pt>
                <c:pt idx="2477">
                  <c:v>23.01.2015</c:v>
                </c:pt>
                <c:pt idx="2478">
                  <c:v>22.01.2015</c:v>
                </c:pt>
                <c:pt idx="2479">
                  <c:v>21.01.2015</c:v>
                </c:pt>
                <c:pt idx="2480">
                  <c:v>20.01.2015</c:v>
                </c:pt>
                <c:pt idx="2481">
                  <c:v>16.01.2015</c:v>
                </c:pt>
                <c:pt idx="2482">
                  <c:v>15.01.2015</c:v>
                </c:pt>
                <c:pt idx="2483">
                  <c:v>14.01.2015</c:v>
                </c:pt>
                <c:pt idx="2484">
                  <c:v>13.01.2015</c:v>
                </c:pt>
                <c:pt idx="2485">
                  <c:v>12.01.2015</c:v>
                </c:pt>
                <c:pt idx="2486">
                  <c:v>09.01.2015</c:v>
                </c:pt>
                <c:pt idx="2487">
                  <c:v>08.01.2015</c:v>
                </c:pt>
                <c:pt idx="2488">
                  <c:v>07.01.2015</c:v>
                </c:pt>
                <c:pt idx="2489">
                  <c:v>06.01.2015</c:v>
                </c:pt>
                <c:pt idx="2490">
                  <c:v>05.01.2015</c:v>
                </c:pt>
                <c:pt idx="2491">
                  <c:v>02.01.2015</c:v>
                </c:pt>
                <c:pt idx="2492">
                  <c:v>31.12.2014</c:v>
                </c:pt>
                <c:pt idx="2493">
                  <c:v>30.12.2014</c:v>
                </c:pt>
                <c:pt idx="2494">
                  <c:v>29.12.2014</c:v>
                </c:pt>
                <c:pt idx="2495">
                  <c:v>26.12.2014</c:v>
                </c:pt>
                <c:pt idx="2496">
                  <c:v>24.12.2014</c:v>
                </c:pt>
                <c:pt idx="2497">
                  <c:v>23.12.2014</c:v>
                </c:pt>
                <c:pt idx="2498">
                  <c:v>22.12.2014</c:v>
                </c:pt>
                <c:pt idx="2499">
                  <c:v>19.12.2014</c:v>
                </c:pt>
                <c:pt idx="2500">
                  <c:v>18.12.2014</c:v>
                </c:pt>
                <c:pt idx="2501">
                  <c:v>17.12.2014</c:v>
                </c:pt>
                <c:pt idx="2502">
                  <c:v>16.12.2014</c:v>
                </c:pt>
                <c:pt idx="2503">
                  <c:v>15.12.2014</c:v>
                </c:pt>
                <c:pt idx="2504">
                  <c:v>12.12.2014</c:v>
                </c:pt>
                <c:pt idx="2505">
                  <c:v>11.12.2014</c:v>
                </c:pt>
                <c:pt idx="2506">
                  <c:v>10.12.2014</c:v>
                </c:pt>
                <c:pt idx="2507">
                  <c:v>09.12.2014</c:v>
                </c:pt>
                <c:pt idx="2508">
                  <c:v>08.12.2014</c:v>
                </c:pt>
                <c:pt idx="2509">
                  <c:v>05.12.2014</c:v>
                </c:pt>
                <c:pt idx="2510">
                  <c:v>04.12.2014</c:v>
                </c:pt>
                <c:pt idx="2511">
                  <c:v>03.12.2014</c:v>
                </c:pt>
                <c:pt idx="2512">
                  <c:v>02.12.2014</c:v>
                </c:pt>
                <c:pt idx="2513">
                  <c:v>01.12.2014</c:v>
                </c:pt>
                <c:pt idx="2514">
                  <c:v>28.11.2014</c:v>
                </c:pt>
                <c:pt idx="2515">
                  <c:v>26.11.2014</c:v>
                </c:pt>
                <c:pt idx="2516">
                  <c:v>25.11.2014</c:v>
                </c:pt>
                <c:pt idx="2517">
                  <c:v>24.11.2014</c:v>
                </c:pt>
                <c:pt idx="2518">
                  <c:v>21.11.2014</c:v>
                </c:pt>
                <c:pt idx="2519">
                  <c:v>20.11.2014</c:v>
                </c:pt>
                <c:pt idx="2520">
                  <c:v>19.11.2014</c:v>
                </c:pt>
                <c:pt idx="2521">
                  <c:v>18.11.2014</c:v>
                </c:pt>
                <c:pt idx="2522">
                  <c:v>17.11.2014</c:v>
                </c:pt>
                <c:pt idx="2523">
                  <c:v>14.11.2014</c:v>
                </c:pt>
                <c:pt idx="2524">
                  <c:v>13.11.2014</c:v>
                </c:pt>
                <c:pt idx="2525">
                  <c:v>12.11.2014</c:v>
                </c:pt>
                <c:pt idx="2526">
                  <c:v>11.11.2014</c:v>
                </c:pt>
                <c:pt idx="2527">
                  <c:v>10.11.2014</c:v>
                </c:pt>
                <c:pt idx="2528">
                  <c:v>07.11.2014</c:v>
                </c:pt>
                <c:pt idx="2529">
                  <c:v>06.11.2014</c:v>
                </c:pt>
                <c:pt idx="2530">
                  <c:v>05.11.2014</c:v>
                </c:pt>
                <c:pt idx="2531">
                  <c:v>04.11.2014</c:v>
                </c:pt>
                <c:pt idx="2532">
                  <c:v>03.11.2014</c:v>
                </c:pt>
                <c:pt idx="2533">
                  <c:v>31.10.2014</c:v>
                </c:pt>
                <c:pt idx="2534">
                  <c:v>30.10.2014</c:v>
                </c:pt>
                <c:pt idx="2535">
                  <c:v>29.10.2014</c:v>
                </c:pt>
                <c:pt idx="2536">
                  <c:v>28.10.2014</c:v>
                </c:pt>
                <c:pt idx="2537">
                  <c:v>27.10.2014</c:v>
                </c:pt>
                <c:pt idx="2538">
                  <c:v>24.10.2014</c:v>
                </c:pt>
                <c:pt idx="2539">
                  <c:v>23.10.2014</c:v>
                </c:pt>
                <c:pt idx="2540">
                  <c:v>22.10.2014</c:v>
                </c:pt>
                <c:pt idx="2541">
                  <c:v>21.10.2014</c:v>
                </c:pt>
                <c:pt idx="2542">
                  <c:v>20.10.2014</c:v>
                </c:pt>
                <c:pt idx="2543">
                  <c:v>17.10.2014</c:v>
                </c:pt>
                <c:pt idx="2544">
                  <c:v>16.10.2014</c:v>
                </c:pt>
                <c:pt idx="2545">
                  <c:v>15.10.2014</c:v>
                </c:pt>
                <c:pt idx="2546">
                  <c:v>14.10.2014</c:v>
                </c:pt>
                <c:pt idx="2547">
                  <c:v>13.10.2014</c:v>
                </c:pt>
                <c:pt idx="2548">
                  <c:v>10.10.2014</c:v>
                </c:pt>
                <c:pt idx="2549">
                  <c:v>09.10.2014</c:v>
                </c:pt>
                <c:pt idx="2550">
                  <c:v>08.10.2014</c:v>
                </c:pt>
                <c:pt idx="2551">
                  <c:v>07.10.2014</c:v>
                </c:pt>
                <c:pt idx="2552">
                  <c:v>06.10.2014</c:v>
                </c:pt>
                <c:pt idx="2553">
                  <c:v>03.10.2014</c:v>
                </c:pt>
                <c:pt idx="2554">
                  <c:v>02.10.2014</c:v>
                </c:pt>
                <c:pt idx="2555">
                  <c:v>01.10.2014</c:v>
                </c:pt>
                <c:pt idx="2556">
                  <c:v>30.09.2014</c:v>
                </c:pt>
                <c:pt idx="2557">
                  <c:v>29.09.2014</c:v>
                </c:pt>
                <c:pt idx="2558">
                  <c:v>26.09.2014</c:v>
                </c:pt>
                <c:pt idx="2559">
                  <c:v>25.09.2014</c:v>
                </c:pt>
                <c:pt idx="2560">
                  <c:v>24.09.2014</c:v>
                </c:pt>
                <c:pt idx="2561">
                  <c:v>23.09.2014</c:v>
                </c:pt>
                <c:pt idx="2562">
                  <c:v>22.09.2014</c:v>
                </c:pt>
                <c:pt idx="2563">
                  <c:v>19.09.2014</c:v>
                </c:pt>
                <c:pt idx="2564">
                  <c:v>18.09.2014</c:v>
                </c:pt>
                <c:pt idx="2565">
                  <c:v>17.09.2014</c:v>
                </c:pt>
                <c:pt idx="2566">
                  <c:v>16.09.2014</c:v>
                </c:pt>
                <c:pt idx="2567">
                  <c:v>15.09.2014</c:v>
                </c:pt>
                <c:pt idx="2568">
                  <c:v>12.09.2014</c:v>
                </c:pt>
                <c:pt idx="2569">
                  <c:v>11.09.2014</c:v>
                </c:pt>
                <c:pt idx="2570">
                  <c:v>10.09.2014</c:v>
                </c:pt>
                <c:pt idx="2571">
                  <c:v>09.09.2014</c:v>
                </c:pt>
                <c:pt idx="2572">
                  <c:v>08.09.2014</c:v>
                </c:pt>
                <c:pt idx="2573">
                  <c:v>05.09.2014</c:v>
                </c:pt>
                <c:pt idx="2574">
                  <c:v>04.09.2014</c:v>
                </c:pt>
                <c:pt idx="2575">
                  <c:v>03.09.2014</c:v>
                </c:pt>
                <c:pt idx="2576">
                  <c:v>02.09.2014</c:v>
                </c:pt>
                <c:pt idx="2577">
                  <c:v>29.08.2014</c:v>
                </c:pt>
                <c:pt idx="2578">
                  <c:v>28.08.2014</c:v>
                </c:pt>
                <c:pt idx="2579">
                  <c:v>27.08.2014</c:v>
                </c:pt>
                <c:pt idx="2580">
                  <c:v>26.08.2014</c:v>
                </c:pt>
                <c:pt idx="2581">
                  <c:v>25.08.2014</c:v>
                </c:pt>
                <c:pt idx="2582">
                  <c:v>22.08.2014</c:v>
                </c:pt>
                <c:pt idx="2583">
                  <c:v>21.08.2014</c:v>
                </c:pt>
                <c:pt idx="2584">
                  <c:v>20.08.2014</c:v>
                </c:pt>
                <c:pt idx="2585">
                  <c:v>19.08.2014</c:v>
                </c:pt>
                <c:pt idx="2586">
                  <c:v>18.08.2014</c:v>
                </c:pt>
                <c:pt idx="2587">
                  <c:v>15.08.2014</c:v>
                </c:pt>
                <c:pt idx="2588">
                  <c:v>14.08.2014</c:v>
                </c:pt>
                <c:pt idx="2589">
                  <c:v>13.08.2014</c:v>
                </c:pt>
                <c:pt idx="2590">
                  <c:v>12.08.2014</c:v>
                </c:pt>
                <c:pt idx="2591">
                  <c:v>11.08.2014</c:v>
                </c:pt>
                <c:pt idx="2592">
                  <c:v>08.08.2014</c:v>
                </c:pt>
                <c:pt idx="2593">
                  <c:v>07.08.2014</c:v>
                </c:pt>
                <c:pt idx="2594">
                  <c:v>06.08.2014</c:v>
                </c:pt>
                <c:pt idx="2595">
                  <c:v>05.08.2014</c:v>
                </c:pt>
                <c:pt idx="2596">
                  <c:v>04.08.2014</c:v>
                </c:pt>
                <c:pt idx="2597">
                  <c:v>01.08.2014</c:v>
                </c:pt>
                <c:pt idx="2598">
                  <c:v>31.07.2014</c:v>
                </c:pt>
                <c:pt idx="2599">
                  <c:v>30.07.2014</c:v>
                </c:pt>
                <c:pt idx="2600">
                  <c:v>29.07.2014</c:v>
                </c:pt>
                <c:pt idx="2601">
                  <c:v>28.07.2014</c:v>
                </c:pt>
                <c:pt idx="2602">
                  <c:v>25.07.2014</c:v>
                </c:pt>
                <c:pt idx="2603">
                  <c:v>24.07.2014</c:v>
                </c:pt>
                <c:pt idx="2604">
                  <c:v>23.07.2014</c:v>
                </c:pt>
                <c:pt idx="2605">
                  <c:v>22.07.2014</c:v>
                </c:pt>
                <c:pt idx="2606">
                  <c:v>21.07.2014</c:v>
                </c:pt>
                <c:pt idx="2607">
                  <c:v>18.07.2014</c:v>
                </c:pt>
                <c:pt idx="2608">
                  <c:v>17.07.2014</c:v>
                </c:pt>
                <c:pt idx="2609">
                  <c:v>16.07.2014</c:v>
                </c:pt>
                <c:pt idx="2610">
                  <c:v>15.07.2014</c:v>
                </c:pt>
                <c:pt idx="2611">
                  <c:v>14.07.2014</c:v>
                </c:pt>
                <c:pt idx="2612">
                  <c:v>11.07.2014</c:v>
                </c:pt>
                <c:pt idx="2613">
                  <c:v>10.07.2014</c:v>
                </c:pt>
                <c:pt idx="2614">
                  <c:v>09.07.2014</c:v>
                </c:pt>
                <c:pt idx="2615">
                  <c:v>08.07.2014</c:v>
                </c:pt>
                <c:pt idx="2616">
                  <c:v>07.07.2014</c:v>
                </c:pt>
                <c:pt idx="2617">
                  <c:v>03.07.2014</c:v>
                </c:pt>
                <c:pt idx="2618">
                  <c:v>02.07.2014</c:v>
                </c:pt>
                <c:pt idx="2619">
                  <c:v>01.07.2014</c:v>
                </c:pt>
                <c:pt idx="2620">
                  <c:v>30.06.2014</c:v>
                </c:pt>
                <c:pt idx="2621">
                  <c:v>27.06.2014</c:v>
                </c:pt>
                <c:pt idx="2622">
                  <c:v>26.06.2014</c:v>
                </c:pt>
                <c:pt idx="2623">
                  <c:v>25.06.2014</c:v>
                </c:pt>
                <c:pt idx="2624">
                  <c:v>24.06.2014</c:v>
                </c:pt>
                <c:pt idx="2625">
                  <c:v>23.06.2014</c:v>
                </c:pt>
                <c:pt idx="2626">
                  <c:v>20.06.2014</c:v>
                </c:pt>
                <c:pt idx="2627">
                  <c:v>19.06.2014</c:v>
                </c:pt>
                <c:pt idx="2628">
                  <c:v>18.06.2014</c:v>
                </c:pt>
                <c:pt idx="2629">
                  <c:v>17.06.2014</c:v>
                </c:pt>
                <c:pt idx="2630">
                  <c:v>16.06.2014</c:v>
                </c:pt>
                <c:pt idx="2631">
                  <c:v>13.06.2014</c:v>
                </c:pt>
                <c:pt idx="2632">
                  <c:v>12.06.2014</c:v>
                </c:pt>
                <c:pt idx="2633">
                  <c:v>11.06.2014</c:v>
                </c:pt>
                <c:pt idx="2634">
                  <c:v>10.06.2014</c:v>
                </c:pt>
                <c:pt idx="2635">
                  <c:v>09.06.2014</c:v>
                </c:pt>
                <c:pt idx="2636">
                  <c:v>06.06.2014</c:v>
                </c:pt>
                <c:pt idx="2637">
                  <c:v>05.06.2014</c:v>
                </c:pt>
                <c:pt idx="2638">
                  <c:v>04.06.2014</c:v>
                </c:pt>
                <c:pt idx="2639">
                  <c:v>03.06.2014</c:v>
                </c:pt>
                <c:pt idx="2640">
                  <c:v>02.06.2014</c:v>
                </c:pt>
                <c:pt idx="2641">
                  <c:v>30.05.2014</c:v>
                </c:pt>
                <c:pt idx="2642">
                  <c:v>29.05.2014</c:v>
                </c:pt>
                <c:pt idx="2643">
                  <c:v>28.05.2014</c:v>
                </c:pt>
                <c:pt idx="2644">
                  <c:v>27.05.2014</c:v>
                </c:pt>
                <c:pt idx="2645">
                  <c:v>23.05.2014</c:v>
                </c:pt>
                <c:pt idx="2646">
                  <c:v>22.05.2014</c:v>
                </c:pt>
                <c:pt idx="2647">
                  <c:v>21.05.2014</c:v>
                </c:pt>
                <c:pt idx="2648">
                  <c:v>20.05.2014</c:v>
                </c:pt>
                <c:pt idx="2649">
                  <c:v>19.05.2014</c:v>
                </c:pt>
                <c:pt idx="2650">
                  <c:v>16.05.2014</c:v>
                </c:pt>
                <c:pt idx="2651">
                  <c:v>15.05.2014</c:v>
                </c:pt>
                <c:pt idx="2652">
                  <c:v>14.05.2014</c:v>
                </c:pt>
                <c:pt idx="2653">
                  <c:v>13.05.2014</c:v>
                </c:pt>
                <c:pt idx="2654">
                  <c:v>12.05.2014</c:v>
                </c:pt>
                <c:pt idx="2655">
                  <c:v>09.05.2014</c:v>
                </c:pt>
                <c:pt idx="2656">
                  <c:v>08.05.2014</c:v>
                </c:pt>
                <c:pt idx="2657">
                  <c:v>07.05.2014</c:v>
                </c:pt>
                <c:pt idx="2658">
                  <c:v>06.05.2014</c:v>
                </c:pt>
                <c:pt idx="2659">
                  <c:v>05.05.2014</c:v>
                </c:pt>
                <c:pt idx="2660">
                  <c:v>02.05.2014</c:v>
                </c:pt>
                <c:pt idx="2661">
                  <c:v>01.05.2014</c:v>
                </c:pt>
                <c:pt idx="2662">
                  <c:v>30.04.2014</c:v>
                </c:pt>
                <c:pt idx="2663">
                  <c:v>29.04.2014</c:v>
                </c:pt>
                <c:pt idx="2664">
                  <c:v>28.04.2014</c:v>
                </c:pt>
                <c:pt idx="2665">
                  <c:v>25.04.2014</c:v>
                </c:pt>
                <c:pt idx="2666">
                  <c:v>24.04.2014</c:v>
                </c:pt>
                <c:pt idx="2667">
                  <c:v>23.04.2014</c:v>
                </c:pt>
                <c:pt idx="2668">
                  <c:v>22.04.2014</c:v>
                </c:pt>
                <c:pt idx="2669">
                  <c:v>21.04.2014</c:v>
                </c:pt>
                <c:pt idx="2670">
                  <c:v>17.04.2014</c:v>
                </c:pt>
                <c:pt idx="2671">
                  <c:v>16.04.2014</c:v>
                </c:pt>
                <c:pt idx="2672">
                  <c:v>15.04.2014</c:v>
                </c:pt>
                <c:pt idx="2673">
                  <c:v>14.04.2014</c:v>
                </c:pt>
                <c:pt idx="2674">
                  <c:v>11.04.2014</c:v>
                </c:pt>
                <c:pt idx="2675">
                  <c:v>10.04.2014</c:v>
                </c:pt>
                <c:pt idx="2676">
                  <c:v>09.04.2014</c:v>
                </c:pt>
                <c:pt idx="2677">
                  <c:v>08.04.2014</c:v>
                </c:pt>
                <c:pt idx="2678">
                  <c:v>07.04.2014</c:v>
                </c:pt>
                <c:pt idx="2679">
                  <c:v>04.04.2014</c:v>
                </c:pt>
                <c:pt idx="2680">
                  <c:v>03.04.2014</c:v>
                </c:pt>
                <c:pt idx="2681">
                  <c:v>02.04.2014</c:v>
                </c:pt>
                <c:pt idx="2682">
                  <c:v>01.04.2014</c:v>
                </c:pt>
                <c:pt idx="2683">
                  <c:v>31.03.2014</c:v>
                </c:pt>
                <c:pt idx="2684">
                  <c:v>28.03.2014</c:v>
                </c:pt>
                <c:pt idx="2685">
                  <c:v>27.03.2014</c:v>
                </c:pt>
                <c:pt idx="2686">
                  <c:v>26.03.2014</c:v>
                </c:pt>
                <c:pt idx="2687">
                  <c:v>25.03.2014</c:v>
                </c:pt>
                <c:pt idx="2688">
                  <c:v>24.03.2014</c:v>
                </c:pt>
                <c:pt idx="2689">
                  <c:v>21.03.2014</c:v>
                </c:pt>
                <c:pt idx="2690">
                  <c:v>20.03.2014</c:v>
                </c:pt>
                <c:pt idx="2691">
                  <c:v>19.03.2014</c:v>
                </c:pt>
                <c:pt idx="2692">
                  <c:v>18.03.2014</c:v>
                </c:pt>
                <c:pt idx="2693">
                  <c:v>17.03.2014</c:v>
                </c:pt>
                <c:pt idx="2694">
                  <c:v>14.03.2014</c:v>
                </c:pt>
                <c:pt idx="2695">
                  <c:v>13.03.2014</c:v>
                </c:pt>
                <c:pt idx="2696">
                  <c:v>12.03.2014</c:v>
                </c:pt>
                <c:pt idx="2697">
                  <c:v>11.03.2014</c:v>
                </c:pt>
                <c:pt idx="2698">
                  <c:v>10.03.2014</c:v>
                </c:pt>
                <c:pt idx="2699">
                  <c:v>07.03.2014</c:v>
                </c:pt>
                <c:pt idx="2700">
                  <c:v>06.03.2014</c:v>
                </c:pt>
                <c:pt idx="2701">
                  <c:v>05.03.2014</c:v>
                </c:pt>
                <c:pt idx="2702">
                  <c:v>04.03.2014</c:v>
                </c:pt>
                <c:pt idx="2703">
                  <c:v>03.03.2014</c:v>
                </c:pt>
                <c:pt idx="2704">
                  <c:v>28.02.2014</c:v>
                </c:pt>
                <c:pt idx="2705">
                  <c:v>27.02.2014</c:v>
                </c:pt>
                <c:pt idx="2706">
                  <c:v>26.02.2014</c:v>
                </c:pt>
                <c:pt idx="2707">
                  <c:v>25.02.2014</c:v>
                </c:pt>
                <c:pt idx="2708">
                  <c:v>24.02.2014</c:v>
                </c:pt>
                <c:pt idx="2709">
                  <c:v>21.02.2014</c:v>
                </c:pt>
                <c:pt idx="2710">
                  <c:v>20.02.2014</c:v>
                </c:pt>
                <c:pt idx="2711">
                  <c:v>19.02.2014</c:v>
                </c:pt>
                <c:pt idx="2712">
                  <c:v>18.02.2014</c:v>
                </c:pt>
                <c:pt idx="2713">
                  <c:v>14.02.2014</c:v>
                </c:pt>
                <c:pt idx="2714">
                  <c:v>13.02.2014</c:v>
                </c:pt>
                <c:pt idx="2715">
                  <c:v>12.02.2014</c:v>
                </c:pt>
                <c:pt idx="2716">
                  <c:v>11.02.2014</c:v>
                </c:pt>
                <c:pt idx="2717">
                  <c:v>10.02.2014</c:v>
                </c:pt>
                <c:pt idx="2718">
                  <c:v>07.02.2014</c:v>
                </c:pt>
                <c:pt idx="2719">
                  <c:v>06.02.2014</c:v>
                </c:pt>
                <c:pt idx="2720">
                  <c:v>05.02.2014</c:v>
                </c:pt>
                <c:pt idx="2721">
                  <c:v>04.02.2014</c:v>
                </c:pt>
                <c:pt idx="2722">
                  <c:v>03.02.2014</c:v>
                </c:pt>
                <c:pt idx="2723">
                  <c:v>31.01.2014</c:v>
                </c:pt>
                <c:pt idx="2724">
                  <c:v>30.01.2014</c:v>
                </c:pt>
                <c:pt idx="2725">
                  <c:v>29.01.2014</c:v>
                </c:pt>
                <c:pt idx="2726">
                  <c:v>28.01.2014</c:v>
                </c:pt>
                <c:pt idx="2727">
                  <c:v>27.01.2014</c:v>
                </c:pt>
                <c:pt idx="2728">
                  <c:v>24.01.2014</c:v>
                </c:pt>
                <c:pt idx="2729">
                  <c:v>23.01.2014</c:v>
                </c:pt>
                <c:pt idx="2730">
                  <c:v>22.01.2014</c:v>
                </c:pt>
                <c:pt idx="2731">
                  <c:v>21.01.2014</c:v>
                </c:pt>
                <c:pt idx="2732">
                  <c:v>17.01.2014</c:v>
                </c:pt>
                <c:pt idx="2733">
                  <c:v>16.01.2014</c:v>
                </c:pt>
                <c:pt idx="2734">
                  <c:v>15.01.2014</c:v>
                </c:pt>
                <c:pt idx="2735">
                  <c:v>14.01.2014</c:v>
                </c:pt>
                <c:pt idx="2736">
                  <c:v>13.01.2014</c:v>
                </c:pt>
                <c:pt idx="2737">
                  <c:v>10.01.2014</c:v>
                </c:pt>
                <c:pt idx="2738">
                  <c:v>09.01.2014</c:v>
                </c:pt>
                <c:pt idx="2739">
                  <c:v>08.01.2014</c:v>
                </c:pt>
                <c:pt idx="2740">
                  <c:v>07.01.2014</c:v>
                </c:pt>
                <c:pt idx="2741">
                  <c:v>06.01.2014</c:v>
                </c:pt>
                <c:pt idx="2742">
                  <c:v>03.01.2014</c:v>
                </c:pt>
                <c:pt idx="2743">
                  <c:v>02.01.2014</c:v>
                </c:pt>
                <c:pt idx="2744">
                  <c:v>31.12.2013</c:v>
                </c:pt>
                <c:pt idx="2745">
                  <c:v>30.12.2013</c:v>
                </c:pt>
                <c:pt idx="2746">
                  <c:v>27.12.2013</c:v>
                </c:pt>
                <c:pt idx="2747">
                  <c:v>26.12.2013</c:v>
                </c:pt>
                <c:pt idx="2748">
                  <c:v>24.12.2013</c:v>
                </c:pt>
                <c:pt idx="2749">
                  <c:v>23.12.2013</c:v>
                </c:pt>
                <c:pt idx="2750">
                  <c:v>20.12.2013</c:v>
                </c:pt>
                <c:pt idx="2751">
                  <c:v>19.12.2013</c:v>
                </c:pt>
                <c:pt idx="2752">
                  <c:v>18.12.2013</c:v>
                </c:pt>
                <c:pt idx="2753">
                  <c:v>17.12.2013</c:v>
                </c:pt>
                <c:pt idx="2754">
                  <c:v>16.12.2013</c:v>
                </c:pt>
                <c:pt idx="2755">
                  <c:v>13.12.2013</c:v>
                </c:pt>
                <c:pt idx="2756">
                  <c:v>12.12.2013</c:v>
                </c:pt>
                <c:pt idx="2757">
                  <c:v>11.12.2013</c:v>
                </c:pt>
                <c:pt idx="2758">
                  <c:v>10.12.2013</c:v>
                </c:pt>
                <c:pt idx="2759">
                  <c:v>09.12.2013</c:v>
                </c:pt>
                <c:pt idx="2760">
                  <c:v>06.12.2013</c:v>
                </c:pt>
                <c:pt idx="2761">
                  <c:v>05.12.2013</c:v>
                </c:pt>
                <c:pt idx="2762">
                  <c:v>04.12.2013</c:v>
                </c:pt>
                <c:pt idx="2763">
                  <c:v>03.12.2013</c:v>
                </c:pt>
                <c:pt idx="2764">
                  <c:v>02.12.2013</c:v>
                </c:pt>
                <c:pt idx="2765">
                  <c:v>29.11.2013</c:v>
                </c:pt>
                <c:pt idx="2766">
                  <c:v>27.11.2013</c:v>
                </c:pt>
                <c:pt idx="2767">
                  <c:v>26.11.2013</c:v>
                </c:pt>
                <c:pt idx="2768">
                  <c:v>25.11.2013</c:v>
                </c:pt>
                <c:pt idx="2769">
                  <c:v>22.11.2013</c:v>
                </c:pt>
                <c:pt idx="2770">
                  <c:v>21.11.2013</c:v>
                </c:pt>
                <c:pt idx="2771">
                  <c:v>20.11.2013</c:v>
                </c:pt>
                <c:pt idx="2772">
                  <c:v>19.11.2013</c:v>
                </c:pt>
                <c:pt idx="2773">
                  <c:v>18.11.2013</c:v>
                </c:pt>
                <c:pt idx="2774">
                  <c:v>15.11.2013</c:v>
                </c:pt>
                <c:pt idx="2775">
                  <c:v>14.11.2013</c:v>
                </c:pt>
                <c:pt idx="2776">
                  <c:v>13.11.2013</c:v>
                </c:pt>
                <c:pt idx="2777">
                  <c:v>12.11.2013</c:v>
                </c:pt>
                <c:pt idx="2778">
                  <c:v>11.11.2013</c:v>
                </c:pt>
                <c:pt idx="2779">
                  <c:v>08.11.2013</c:v>
                </c:pt>
                <c:pt idx="2780">
                  <c:v>07.11.2013</c:v>
                </c:pt>
                <c:pt idx="2781">
                  <c:v>06.11.2013</c:v>
                </c:pt>
                <c:pt idx="2782">
                  <c:v>05.11.2013</c:v>
                </c:pt>
                <c:pt idx="2783">
                  <c:v>04.11.2013</c:v>
                </c:pt>
                <c:pt idx="2784">
                  <c:v>01.11.2013</c:v>
                </c:pt>
                <c:pt idx="2785">
                  <c:v>31.10.2013</c:v>
                </c:pt>
                <c:pt idx="2786">
                  <c:v>30.10.2013</c:v>
                </c:pt>
                <c:pt idx="2787">
                  <c:v>29.10.2013</c:v>
                </c:pt>
                <c:pt idx="2788">
                  <c:v>28.10.2013</c:v>
                </c:pt>
                <c:pt idx="2789">
                  <c:v>25.10.2013</c:v>
                </c:pt>
                <c:pt idx="2790">
                  <c:v>24.10.2013</c:v>
                </c:pt>
                <c:pt idx="2791">
                  <c:v>23.10.2013</c:v>
                </c:pt>
                <c:pt idx="2792">
                  <c:v>22.10.2013</c:v>
                </c:pt>
                <c:pt idx="2793">
                  <c:v>21.10.2013</c:v>
                </c:pt>
                <c:pt idx="2794">
                  <c:v>18.10.2013</c:v>
                </c:pt>
                <c:pt idx="2795">
                  <c:v>17.10.2013</c:v>
                </c:pt>
                <c:pt idx="2796">
                  <c:v>16.10.2013</c:v>
                </c:pt>
                <c:pt idx="2797">
                  <c:v>15.10.2013</c:v>
                </c:pt>
                <c:pt idx="2798">
                  <c:v>14.10.2013</c:v>
                </c:pt>
                <c:pt idx="2799">
                  <c:v>11.10.2013</c:v>
                </c:pt>
                <c:pt idx="2800">
                  <c:v>10.10.2013</c:v>
                </c:pt>
                <c:pt idx="2801">
                  <c:v>09.10.2013</c:v>
                </c:pt>
                <c:pt idx="2802">
                  <c:v>08.10.2013</c:v>
                </c:pt>
                <c:pt idx="2803">
                  <c:v>07.10.2013</c:v>
                </c:pt>
                <c:pt idx="2804">
                  <c:v>04.10.2013</c:v>
                </c:pt>
                <c:pt idx="2805">
                  <c:v>03.10.2013</c:v>
                </c:pt>
                <c:pt idx="2806">
                  <c:v>02.10.2013</c:v>
                </c:pt>
                <c:pt idx="2807">
                  <c:v>01.10.2013</c:v>
                </c:pt>
                <c:pt idx="2808">
                  <c:v>30.09.2013</c:v>
                </c:pt>
                <c:pt idx="2809">
                  <c:v>27.09.2013</c:v>
                </c:pt>
                <c:pt idx="2810">
                  <c:v>26.09.2013</c:v>
                </c:pt>
                <c:pt idx="2811">
                  <c:v>25.09.2013</c:v>
                </c:pt>
                <c:pt idx="2812">
                  <c:v>24.09.2013</c:v>
                </c:pt>
                <c:pt idx="2813">
                  <c:v>23.09.2013</c:v>
                </c:pt>
                <c:pt idx="2814">
                  <c:v>20.09.2013</c:v>
                </c:pt>
                <c:pt idx="2815">
                  <c:v>19.09.2013</c:v>
                </c:pt>
                <c:pt idx="2816">
                  <c:v>18.09.2013</c:v>
                </c:pt>
                <c:pt idx="2817">
                  <c:v>17.09.2013</c:v>
                </c:pt>
                <c:pt idx="2818">
                  <c:v>16.09.2013</c:v>
                </c:pt>
                <c:pt idx="2819">
                  <c:v>13.09.2013</c:v>
                </c:pt>
                <c:pt idx="2820">
                  <c:v>12.09.2013</c:v>
                </c:pt>
                <c:pt idx="2821">
                  <c:v>11.09.2013</c:v>
                </c:pt>
                <c:pt idx="2822">
                  <c:v>10.09.2013</c:v>
                </c:pt>
                <c:pt idx="2823">
                  <c:v>09.09.2013</c:v>
                </c:pt>
                <c:pt idx="2824">
                  <c:v>06.09.2013</c:v>
                </c:pt>
                <c:pt idx="2825">
                  <c:v>05.09.2013</c:v>
                </c:pt>
                <c:pt idx="2826">
                  <c:v>04.09.2013</c:v>
                </c:pt>
                <c:pt idx="2827">
                  <c:v>03.09.2013</c:v>
                </c:pt>
                <c:pt idx="2828">
                  <c:v>30.08.2013</c:v>
                </c:pt>
                <c:pt idx="2829">
                  <c:v>29.08.2013</c:v>
                </c:pt>
                <c:pt idx="2830">
                  <c:v>28.08.2013</c:v>
                </c:pt>
                <c:pt idx="2831">
                  <c:v>27.08.2013</c:v>
                </c:pt>
                <c:pt idx="2832">
                  <c:v>26.08.2013</c:v>
                </c:pt>
                <c:pt idx="2833">
                  <c:v>23.08.2013</c:v>
                </c:pt>
                <c:pt idx="2834">
                  <c:v>22.08.2013</c:v>
                </c:pt>
                <c:pt idx="2835">
                  <c:v>21.08.2013</c:v>
                </c:pt>
                <c:pt idx="2836">
                  <c:v>20.08.2013</c:v>
                </c:pt>
                <c:pt idx="2837">
                  <c:v>19.08.2013</c:v>
                </c:pt>
                <c:pt idx="2838">
                  <c:v>16.08.2013</c:v>
                </c:pt>
                <c:pt idx="2839">
                  <c:v>15.08.2013</c:v>
                </c:pt>
                <c:pt idx="2840">
                  <c:v>14.08.2013</c:v>
                </c:pt>
                <c:pt idx="2841">
                  <c:v>13.08.2013</c:v>
                </c:pt>
                <c:pt idx="2842">
                  <c:v>12.08.2013</c:v>
                </c:pt>
                <c:pt idx="2843">
                  <c:v>09.08.2013</c:v>
                </c:pt>
                <c:pt idx="2844">
                  <c:v>08.08.2013</c:v>
                </c:pt>
                <c:pt idx="2845">
                  <c:v>07.08.2013</c:v>
                </c:pt>
                <c:pt idx="2846">
                  <c:v>06.08.2013</c:v>
                </c:pt>
                <c:pt idx="2847">
                  <c:v>05.08.2013</c:v>
                </c:pt>
                <c:pt idx="2848">
                  <c:v>02.08.2013</c:v>
                </c:pt>
                <c:pt idx="2849">
                  <c:v>01.08.2013</c:v>
                </c:pt>
                <c:pt idx="2850">
                  <c:v>31.07.2013</c:v>
                </c:pt>
                <c:pt idx="2851">
                  <c:v>30.07.2013</c:v>
                </c:pt>
                <c:pt idx="2852">
                  <c:v>29.07.2013</c:v>
                </c:pt>
                <c:pt idx="2853">
                  <c:v>26.07.2013</c:v>
                </c:pt>
                <c:pt idx="2854">
                  <c:v>25.07.2013</c:v>
                </c:pt>
                <c:pt idx="2855">
                  <c:v>24.07.2013</c:v>
                </c:pt>
                <c:pt idx="2856">
                  <c:v>23.07.2013</c:v>
                </c:pt>
                <c:pt idx="2857">
                  <c:v>22.07.2013</c:v>
                </c:pt>
                <c:pt idx="2858">
                  <c:v>19.07.2013</c:v>
                </c:pt>
                <c:pt idx="2859">
                  <c:v>18.07.2013</c:v>
                </c:pt>
                <c:pt idx="2860">
                  <c:v>17.07.2013</c:v>
                </c:pt>
                <c:pt idx="2861">
                  <c:v>16.07.2013</c:v>
                </c:pt>
                <c:pt idx="2862">
                  <c:v>15.07.2013</c:v>
                </c:pt>
                <c:pt idx="2863">
                  <c:v>12.07.2013</c:v>
                </c:pt>
                <c:pt idx="2864">
                  <c:v>11.07.2013</c:v>
                </c:pt>
                <c:pt idx="2865">
                  <c:v>10.07.2013</c:v>
                </c:pt>
                <c:pt idx="2866">
                  <c:v>09.07.2013</c:v>
                </c:pt>
                <c:pt idx="2867">
                  <c:v>08.07.2013</c:v>
                </c:pt>
                <c:pt idx="2868">
                  <c:v>05.07.2013</c:v>
                </c:pt>
                <c:pt idx="2869">
                  <c:v>03.07.2013</c:v>
                </c:pt>
                <c:pt idx="2870">
                  <c:v>02.07.2013</c:v>
                </c:pt>
                <c:pt idx="2871">
                  <c:v>01.07.2013</c:v>
                </c:pt>
                <c:pt idx="2872">
                  <c:v>28.06.2013</c:v>
                </c:pt>
                <c:pt idx="2873">
                  <c:v>27.06.2013</c:v>
                </c:pt>
                <c:pt idx="2874">
                  <c:v>26.06.2013</c:v>
                </c:pt>
                <c:pt idx="2875">
                  <c:v>25.06.2013</c:v>
                </c:pt>
                <c:pt idx="2876">
                  <c:v>24.06.2013</c:v>
                </c:pt>
                <c:pt idx="2877">
                  <c:v>21.06.2013</c:v>
                </c:pt>
                <c:pt idx="2878">
                  <c:v>20.06.2013</c:v>
                </c:pt>
                <c:pt idx="2879">
                  <c:v>19.06.2013</c:v>
                </c:pt>
                <c:pt idx="2880">
                  <c:v>18.06.2013</c:v>
                </c:pt>
                <c:pt idx="2881">
                  <c:v>17.06.2013</c:v>
                </c:pt>
                <c:pt idx="2882">
                  <c:v>14.06.2013</c:v>
                </c:pt>
                <c:pt idx="2883">
                  <c:v>13.06.2013</c:v>
                </c:pt>
                <c:pt idx="2884">
                  <c:v>12.06.2013</c:v>
                </c:pt>
                <c:pt idx="2885">
                  <c:v>11.06.2013</c:v>
                </c:pt>
                <c:pt idx="2886">
                  <c:v>10.06.2013</c:v>
                </c:pt>
                <c:pt idx="2887">
                  <c:v>07.06.2013</c:v>
                </c:pt>
                <c:pt idx="2888">
                  <c:v>06.06.2013</c:v>
                </c:pt>
                <c:pt idx="2889">
                  <c:v>05.06.2013</c:v>
                </c:pt>
                <c:pt idx="2890">
                  <c:v>04.06.2013</c:v>
                </c:pt>
                <c:pt idx="2891">
                  <c:v>03.06.2013</c:v>
                </c:pt>
                <c:pt idx="2892">
                  <c:v>31.05.2013</c:v>
                </c:pt>
                <c:pt idx="2893">
                  <c:v>30.05.2013</c:v>
                </c:pt>
                <c:pt idx="2894">
                  <c:v>29.05.2013</c:v>
                </c:pt>
                <c:pt idx="2895">
                  <c:v>28.05.2013</c:v>
                </c:pt>
                <c:pt idx="2896">
                  <c:v>24.05.2013</c:v>
                </c:pt>
                <c:pt idx="2897">
                  <c:v>23.05.2013</c:v>
                </c:pt>
                <c:pt idx="2898">
                  <c:v>22.05.2013</c:v>
                </c:pt>
                <c:pt idx="2899">
                  <c:v>21.05.2013</c:v>
                </c:pt>
                <c:pt idx="2900">
                  <c:v>20.05.2013</c:v>
                </c:pt>
                <c:pt idx="2901">
                  <c:v>17.05.2013</c:v>
                </c:pt>
                <c:pt idx="2902">
                  <c:v>16.05.2013</c:v>
                </c:pt>
                <c:pt idx="2903">
                  <c:v>15.05.2013</c:v>
                </c:pt>
                <c:pt idx="2904">
                  <c:v>14.05.2013</c:v>
                </c:pt>
                <c:pt idx="2905">
                  <c:v>13.05.2013</c:v>
                </c:pt>
                <c:pt idx="2906">
                  <c:v>10.05.2013</c:v>
                </c:pt>
                <c:pt idx="2907">
                  <c:v>09.05.2013</c:v>
                </c:pt>
                <c:pt idx="2908">
                  <c:v>08.05.2013</c:v>
                </c:pt>
                <c:pt idx="2909">
                  <c:v>07.05.2013</c:v>
                </c:pt>
                <c:pt idx="2910">
                  <c:v>06.05.2013</c:v>
                </c:pt>
                <c:pt idx="2911">
                  <c:v>03.05.2013</c:v>
                </c:pt>
                <c:pt idx="2912">
                  <c:v>02.05.2013</c:v>
                </c:pt>
                <c:pt idx="2913">
                  <c:v>01.05.2013</c:v>
                </c:pt>
                <c:pt idx="2914">
                  <c:v>30.04.2013</c:v>
                </c:pt>
                <c:pt idx="2915">
                  <c:v>29.04.2013</c:v>
                </c:pt>
                <c:pt idx="2916">
                  <c:v>26.04.2013</c:v>
                </c:pt>
                <c:pt idx="2917">
                  <c:v>25.04.2013</c:v>
                </c:pt>
                <c:pt idx="2918">
                  <c:v>24.04.2013</c:v>
                </c:pt>
                <c:pt idx="2919">
                  <c:v>23.04.2013</c:v>
                </c:pt>
                <c:pt idx="2920">
                  <c:v>22.04.2013</c:v>
                </c:pt>
                <c:pt idx="2921">
                  <c:v>19.04.2013</c:v>
                </c:pt>
                <c:pt idx="2922">
                  <c:v>18.04.2013</c:v>
                </c:pt>
                <c:pt idx="2923">
                  <c:v>17.04.2013</c:v>
                </c:pt>
                <c:pt idx="2924">
                  <c:v>16.04.2013</c:v>
                </c:pt>
                <c:pt idx="2925">
                  <c:v>15.04.2013</c:v>
                </c:pt>
                <c:pt idx="2926">
                  <c:v>12.04.2013</c:v>
                </c:pt>
                <c:pt idx="2927">
                  <c:v>11.04.2013</c:v>
                </c:pt>
                <c:pt idx="2928">
                  <c:v>10.04.2013</c:v>
                </c:pt>
                <c:pt idx="2929">
                  <c:v>09.04.2013</c:v>
                </c:pt>
                <c:pt idx="2930">
                  <c:v>08.04.2013</c:v>
                </c:pt>
                <c:pt idx="2931">
                  <c:v>05.04.2013</c:v>
                </c:pt>
                <c:pt idx="2932">
                  <c:v>04.04.2013</c:v>
                </c:pt>
                <c:pt idx="2933">
                  <c:v>03.04.2013</c:v>
                </c:pt>
                <c:pt idx="2934">
                  <c:v>02.04.2013</c:v>
                </c:pt>
                <c:pt idx="2935">
                  <c:v>01.04.2013</c:v>
                </c:pt>
                <c:pt idx="2936">
                  <c:v>28.03.2013</c:v>
                </c:pt>
                <c:pt idx="2937">
                  <c:v>27.03.2013</c:v>
                </c:pt>
                <c:pt idx="2938">
                  <c:v>26.03.2013</c:v>
                </c:pt>
                <c:pt idx="2939">
                  <c:v>25.03.2013</c:v>
                </c:pt>
                <c:pt idx="2940">
                  <c:v>22.03.2013</c:v>
                </c:pt>
                <c:pt idx="2941">
                  <c:v>21.03.2013</c:v>
                </c:pt>
                <c:pt idx="2942">
                  <c:v>20.03.2013</c:v>
                </c:pt>
                <c:pt idx="2943">
                  <c:v>19.03.2013</c:v>
                </c:pt>
                <c:pt idx="2944">
                  <c:v>18.03.2013</c:v>
                </c:pt>
                <c:pt idx="2945">
                  <c:v>15.03.2013</c:v>
                </c:pt>
                <c:pt idx="2946">
                  <c:v>14.03.2013</c:v>
                </c:pt>
                <c:pt idx="2947">
                  <c:v>13.03.2013</c:v>
                </c:pt>
                <c:pt idx="2948">
                  <c:v>12.03.2013</c:v>
                </c:pt>
                <c:pt idx="2949">
                  <c:v>11.03.2013</c:v>
                </c:pt>
                <c:pt idx="2950">
                  <c:v>08.03.2013</c:v>
                </c:pt>
                <c:pt idx="2951">
                  <c:v>07.03.2013</c:v>
                </c:pt>
                <c:pt idx="2952">
                  <c:v>06.03.2013</c:v>
                </c:pt>
                <c:pt idx="2953">
                  <c:v>05.03.2013</c:v>
                </c:pt>
                <c:pt idx="2954">
                  <c:v>04.03.2013</c:v>
                </c:pt>
                <c:pt idx="2955">
                  <c:v>01.03.2013</c:v>
                </c:pt>
                <c:pt idx="2956">
                  <c:v>28.02.2013</c:v>
                </c:pt>
                <c:pt idx="2957">
                  <c:v>27.02.2013</c:v>
                </c:pt>
                <c:pt idx="2958">
                  <c:v>26.02.2013</c:v>
                </c:pt>
                <c:pt idx="2959">
                  <c:v>25.02.2013</c:v>
                </c:pt>
                <c:pt idx="2960">
                  <c:v>22.02.2013</c:v>
                </c:pt>
                <c:pt idx="2961">
                  <c:v>21.02.2013</c:v>
                </c:pt>
                <c:pt idx="2962">
                  <c:v>20.02.2013</c:v>
                </c:pt>
                <c:pt idx="2963">
                  <c:v>19.02.2013</c:v>
                </c:pt>
                <c:pt idx="2964">
                  <c:v>15.02.2013</c:v>
                </c:pt>
                <c:pt idx="2965">
                  <c:v>14.02.2013</c:v>
                </c:pt>
                <c:pt idx="2966">
                  <c:v>13.02.2013</c:v>
                </c:pt>
                <c:pt idx="2967">
                  <c:v>12.02.2013</c:v>
                </c:pt>
                <c:pt idx="2968">
                  <c:v>11.02.2013</c:v>
                </c:pt>
                <c:pt idx="2969">
                  <c:v>08.02.2013</c:v>
                </c:pt>
                <c:pt idx="2970">
                  <c:v>07.02.2013</c:v>
                </c:pt>
                <c:pt idx="2971">
                  <c:v>06.02.2013</c:v>
                </c:pt>
                <c:pt idx="2972">
                  <c:v>05.02.2013</c:v>
                </c:pt>
                <c:pt idx="2973">
                  <c:v>04.02.2013</c:v>
                </c:pt>
                <c:pt idx="2974">
                  <c:v>01.02.2013</c:v>
                </c:pt>
                <c:pt idx="2975">
                  <c:v>31.01.2013</c:v>
                </c:pt>
                <c:pt idx="2976">
                  <c:v>30.01.2013</c:v>
                </c:pt>
                <c:pt idx="2977">
                  <c:v>29.01.2013</c:v>
                </c:pt>
                <c:pt idx="2978">
                  <c:v>28.01.2013</c:v>
                </c:pt>
                <c:pt idx="2979">
                  <c:v>25.01.2013</c:v>
                </c:pt>
                <c:pt idx="2980">
                  <c:v>24.01.2013</c:v>
                </c:pt>
                <c:pt idx="2981">
                  <c:v>23.01.2013</c:v>
                </c:pt>
                <c:pt idx="2982">
                  <c:v>22.01.2013</c:v>
                </c:pt>
                <c:pt idx="2983">
                  <c:v>18.01.2013</c:v>
                </c:pt>
                <c:pt idx="2984">
                  <c:v>17.01.2013</c:v>
                </c:pt>
                <c:pt idx="2985">
                  <c:v>16.01.2013</c:v>
                </c:pt>
                <c:pt idx="2986">
                  <c:v>15.01.2013</c:v>
                </c:pt>
                <c:pt idx="2987">
                  <c:v>14.01.2013</c:v>
                </c:pt>
                <c:pt idx="2988">
                  <c:v>11.01.2013</c:v>
                </c:pt>
                <c:pt idx="2989">
                  <c:v>10.01.2013</c:v>
                </c:pt>
                <c:pt idx="2990">
                  <c:v>09.01.2013</c:v>
                </c:pt>
                <c:pt idx="2991">
                  <c:v>08.01.2013</c:v>
                </c:pt>
                <c:pt idx="2992">
                  <c:v>07.01.2013</c:v>
                </c:pt>
                <c:pt idx="2993">
                  <c:v>04.01.2013</c:v>
                </c:pt>
                <c:pt idx="2994">
                  <c:v>03.01.2013</c:v>
                </c:pt>
                <c:pt idx="2995">
                  <c:v>02.01.2013</c:v>
                </c:pt>
                <c:pt idx="2996">
                  <c:v>31.12.2012</c:v>
                </c:pt>
                <c:pt idx="2997">
                  <c:v>28.12.2012</c:v>
                </c:pt>
                <c:pt idx="2998">
                  <c:v>27.12.2012</c:v>
                </c:pt>
                <c:pt idx="2999">
                  <c:v>26.12.2012</c:v>
                </c:pt>
                <c:pt idx="3000">
                  <c:v>24.12.2012</c:v>
                </c:pt>
                <c:pt idx="3001">
                  <c:v>21.12.2012</c:v>
                </c:pt>
                <c:pt idx="3002">
                  <c:v>20.12.2012</c:v>
                </c:pt>
                <c:pt idx="3003">
                  <c:v>19.12.2012</c:v>
                </c:pt>
                <c:pt idx="3004">
                  <c:v>18.12.2012</c:v>
                </c:pt>
                <c:pt idx="3005">
                  <c:v>17.12.2012</c:v>
                </c:pt>
                <c:pt idx="3006">
                  <c:v>14.12.2012</c:v>
                </c:pt>
                <c:pt idx="3007">
                  <c:v>13.12.2012</c:v>
                </c:pt>
                <c:pt idx="3008">
                  <c:v>12.12.2012</c:v>
                </c:pt>
                <c:pt idx="3009">
                  <c:v>11.12.2012</c:v>
                </c:pt>
                <c:pt idx="3010">
                  <c:v>10.12.2012</c:v>
                </c:pt>
                <c:pt idx="3011">
                  <c:v>07.12.2012</c:v>
                </c:pt>
                <c:pt idx="3012">
                  <c:v>06.12.2012</c:v>
                </c:pt>
                <c:pt idx="3013">
                  <c:v>05.12.2012</c:v>
                </c:pt>
                <c:pt idx="3014">
                  <c:v>04.12.2012</c:v>
                </c:pt>
                <c:pt idx="3015">
                  <c:v>03.12.2012</c:v>
                </c:pt>
                <c:pt idx="3016">
                  <c:v>30.11.2012</c:v>
                </c:pt>
                <c:pt idx="3017">
                  <c:v>29.11.2012</c:v>
                </c:pt>
                <c:pt idx="3018">
                  <c:v>28.11.2012</c:v>
                </c:pt>
                <c:pt idx="3019">
                  <c:v>27.11.2012</c:v>
                </c:pt>
                <c:pt idx="3020">
                  <c:v>26.11.2012</c:v>
                </c:pt>
                <c:pt idx="3021">
                  <c:v>23.11.2012</c:v>
                </c:pt>
                <c:pt idx="3022">
                  <c:v>21.11.2012</c:v>
                </c:pt>
                <c:pt idx="3023">
                  <c:v>20.11.2012</c:v>
                </c:pt>
                <c:pt idx="3024">
                  <c:v>19.11.2012</c:v>
                </c:pt>
                <c:pt idx="3025">
                  <c:v>16.11.2012</c:v>
                </c:pt>
                <c:pt idx="3026">
                  <c:v>15.11.2012</c:v>
                </c:pt>
                <c:pt idx="3027">
                  <c:v>14.11.2012</c:v>
                </c:pt>
                <c:pt idx="3028">
                  <c:v>13.11.2012</c:v>
                </c:pt>
                <c:pt idx="3029">
                  <c:v>12.11.2012</c:v>
                </c:pt>
                <c:pt idx="3030">
                  <c:v>09.11.2012</c:v>
                </c:pt>
                <c:pt idx="3031">
                  <c:v>08.11.2012</c:v>
                </c:pt>
                <c:pt idx="3032">
                  <c:v>07.11.2012</c:v>
                </c:pt>
                <c:pt idx="3033">
                  <c:v>06.11.2012</c:v>
                </c:pt>
                <c:pt idx="3034">
                  <c:v>05.11.2012</c:v>
                </c:pt>
                <c:pt idx="3035">
                  <c:v>02.11.2012</c:v>
                </c:pt>
                <c:pt idx="3036">
                  <c:v>01.11.2012</c:v>
                </c:pt>
                <c:pt idx="3037">
                  <c:v>31.10.2012</c:v>
                </c:pt>
                <c:pt idx="3038">
                  <c:v>26.10.2012</c:v>
                </c:pt>
                <c:pt idx="3039">
                  <c:v>25.10.2012</c:v>
                </c:pt>
                <c:pt idx="3040">
                  <c:v>24.10.2012</c:v>
                </c:pt>
                <c:pt idx="3041">
                  <c:v>23.10.2012</c:v>
                </c:pt>
                <c:pt idx="3042">
                  <c:v>22.10.2012</c:v>
                </c:pt>
                <c:pt idx="3043">
                  <c:v>19.10.2012</c:v>
                </c:pt>
                <c:pt idx="3044">
                  <c:v>18.10.2012</c:v>
                </c:pt>
                <c:pt idx="3045">
                  <c:v>17.10.2012</c:v>
                </c:pt>
                <c:pt idx="3046">
                  <c:v>16.10.2012</c:v>
                </c:pt>
                <c:pt idx="3047">
                  <c:v>15.10.2012</c:v>
                </c:pt>
                <c:pt idx="3048">
                  <c:v>12.10.2012</c:v>
                </c:pt>
                <c:pt idx="3049">
                  <c:v>11.10.2012</c:v>
                </c:pt>
                <c:pt idx="3050">
                  <c:v>10.10.2012</c:v>
                </c:pt>
                <c:pt idx="3051">
                  <c:v>09.10.2012</c:v>
                </c:pt>
                <c:pt idx="3052">
                  <c:v>08.10.2012</c:v>
                </c:pt>
                <c:pt idx="3053">
                  <c:v>05.10.2012</c:v>
                </c:pt>
                <c:pt idx="3054">
                  <c:v>04.10.2012</c:v>
                </c:pt>
                <c:pt idx="3055">
                  <c:v>03.10.2012</c:v>
                </c:pt>
                <c:pt idx="3056">
                  <c:v>02.10.2012</c:v>
                </c:pt>
                <c:pt idx="3057">
                  <c:v>01.10.2012</c:v>
                </c:pt>
                <c:pt idx="3058">
                  <c:v>28.09.2012</c:v>
                </c:pt>
                <c:pt idx="3059">
                  <c:v>27.09.2012</c:v>
                </c:pt>
                <c:pt idx="3060">
                  <c:v>26.09.2012</c:v>
                </c:pt>
                <c:pt idx="3061">
                  <c:v>25.09.2012</c:v>
                </c:pt>
                <c:pt idx="3062">
                  <c:v>24.09.2012</c:v>
                </c:pt>
                <c:pt idx="3063">
                  <c:v>21.09.2012</c:v>
                </c:pt>
                <c:pt idx="3064">
                  <c:v>20.09.2012</c:v>
                </c:pt>
                <c:pt idx="3065">
                  <c:v>19.09.2012</c:v>
                </c:pt>
                <c:pt idx="3066">
                  <c:v>18.09.2012</c:v>
                </c:pt>
                <c:pt idx="3067">
                  <c:v>17.09.2012</c:v>
                </c:pt>
                <c:pt idx="3068">
                  <c:v>14.09.2012</c:v>
                </c:pt>
                <c:pt idx="3069">
                  <c:v>13.09.2012</c:v>
                </c:pt>
                <c:pt idx="3070">
                  <c:v>12.09.2012</c:v>
                </c:pt>
                <c:pt idx="3071">
                  <c:v>11.09.2012</c:v>
                </c:pt>
                <c:pt idx="3072">
                  <c:v>10.09.2012</c:v>
                </c:pt>
                <c:pt idx="3073">
                  <c:v>07.09.2012</c:v>
                </c:pt>
                <c:pt idx="3074">
                  <c:v>06.09.2012</c:v>
                </c:pt>
                <c:pt idx="3075">
                  <c:v>05.09.2012</c:v>
                </c:pt>
                <c:pt idx="3076">
                  <c:v>04.09.2012</c:v>
                </c:pt>
                <c:pt idx="3077">
                  <c:v>31.08.2012</c:v>
                </c:pt>
                <c:pt idx="3078">
                  <c:v>30.08.2012</c:v>
                </c:pt>
                <c:pt idx="3079">
                  <c:v>29.08.2012</c:v>
                </c:pt>
                <c:pt idx="3080">
                  <c:v>28.08.2012</c:v>
                </c:pt>
                <c:pt idx="3081">
                  <c:v>27.08.2012</c:v>
                </c:pt>
                <c:pt idx="3082">
                  <c:v>24.08.2012</c:v>
                </c:pt>
                <c:pt idx="3083">
                  <c:v>23.08.2012</c:v>
                </c:pt>
                <c:pt idx="3084">
                  <c:v>22.08.2012</c:v>
                </c:pt>
                <c:pt idx="3085">
                  <c:v>21.08.2012</c:v>
                </c:pt>
                <c:pt idx="3086">
                  <c:v>20.08.2012</c:v>
                </c:pt>
                <c:pt idx="3087">
                  <c:v>17.08.2012</c:v>
                </c:pt>
                <c:pt idx="3088">
                  <c:v>16.08.2012</c:v>
                </c:pt>
                <c:pt idx="3089">
                  <c:v>15.08.2012</c:v>
                </c:pt>
                <c:pt idx="3090">
                  <c:v>14.08.2012</c:v>
                </c:pt>
                <c:pt idx="3091">
                  <c:v>13.08.2012</c:v>
                </c:pt>
                <c:pt idx="3092">
                  <c:v>10.08.2012</c:v>
                </c:pt>
                <c:pt idx="3093">
                  <c:v>09.08.2012</c:v>
                </c:pt>
                <c:pt idx="3094">
                  <c:v>08.08.2012</c:v>
                </c:pt>
                <c:pt idx="3095">
                  <c:v>07.08.2012</c:v>
                </c:pt>
                <c:pt idx="3096">
                  <c:v>06.08.2012</c:v>
                </c:pt>
                <c:pt idx="3097">
                  <c:v>03.08.2012</c:v>
                </c:pt>
                <c:pt idx="3098">
                  <c:v>02.08.2012</c:v>
                </c:pt>
                <c:pt idx="3099">
                  <c:v>01.08.2012</c:v>
                </c:pt>
                <c:pt idx="3100">
                  <c:v>31.07.2012</c:v>
                </c:pt>
                <c:pt idx="3101">
                  <c:v>30.07.2012</c:v>
                </c:pt>
                <c:pt idx="3102">
                  <c:v>27.07.2012</c:v>
                </c:pt>
                <c:pt idx="3103">
                  <c:v>26.07.2012</c:v>
                </c:pt>
                <c:pt idx="3104">
                  <c:v>25.07.2012</c:v>
                </c:pt>
                <c:pt idx="3105">
                  <c:v>24.07.2012</c:v>
                </c:pt>
                <c:pt idx="3106">
                  <c:v>23.07.2012</c:v>
                </c:pt>
                <c:pt idx="3107">
                  <c:v>20.07.2012</c:v>
                </c:pt>
                <c:pt idx="3108">
                  <c:v>19.07.2012</c:v>
                </c:pt>
                <c:pt idx="3109">
                  <c:v>18.07.2012</c:v>
                </c:pt>
                <c:pt idx="3110">
                  <c:v>17.07.2012</c:v>
                </c:pt>
                <c:pt idx="3111">
                  <c:v>16.07.2012</c:v>
                </c:pt>
                <c:pt idx="3112">
                  <c:v>13.07.2012</c:v>
                </c:pt>
                <c:pt idx="3113">
                  <c:v>12.07.2012</c:v>
                </c:pt>
                <c:pt idx="3114">
                  <c:v>11.07.2012</c:v>
                </c:pt>
                <c:pt idx="3115">
                  <c:v>10.07.2012</c:v>
                </c:pt>
                <c:pt idx="3116">
                  <c:v>09.07.2012</c:v>
                </c:pt>
                <c:pt idx="3117">
                  <c:v>06.07.2012</c:v>
                </c:pt>
                <c:pt idx="3118">
                  <c:v>05.07.2012</c:v>
                </c:pt>
                <c:pt idx="3119">
                  <c:v>03.07.2012</c:v>
                </c:pt>
                <c:pt idx="3120">
                  <c:v>02.07.2012</c:v>
                </c:pt>
                <c:pt idx="3121">
                  <c:v>29.06.2012</c:v>
                </c:pt>
                <c:pt idx="3122">
                  <c:v>28.06.2012</c:v>
                </c:pt>
                <c:pt idx="3123">
                  <c:v>27.06.2012</c:v>
                </c:pt>
                <c:pt idx="3124">
                  <c:v>26.06.2012</c:v>
                </c:pt>
                <c:pt idx="3125">
                  <c:v>25.06.2012</c:v>
                </c:pt>
                <c:pt idx="3126">
                  <c:v>22.06.2012</c:v>
                </c:pt>
                <c:pt idx="3127">
                  <c:v>21.06.2012</c:v>
                </c:pt>
                <c:pt idx="3128">
                  <c:v>20.06.2012</c:v>
                </c:pt>
                <c:pt idx="3129">
                  <c:v>19.06.2012</c:v>
                </c:pt>
                <c:pt idx="3130">
                  <c:v>18.06.2012</c:v>
                </c:pt>
                <c:pt idx="3131">
                  <c:v>15.06.2012</c:v>
                </c:pt>
                <c:pt idx="3132">
                  <c:v>14.06.2012</c:v>
                </c:pt>
                <c:pt idx="3133">
                  <c:v>13.06.2012</c:v>
                </c:pt>
                <c:pt idx="3134">
                  <c:v>12.06.2012</c:v>
                </c:pt>
                <c:pt idx="3135">
                  <c:v>11.06.2012</c:v>
                </c:pt>
                <c:pt idx="3136">
                  <c:v>08.06.2012</c:v>
                </c:pt>
                <c:pt idx="3137">
                  <c:v>07.06.2012</c:v>
                </c:pt>
                <c:pt idx="3138">
                  <c:v>06.06.2012</c:v>
                </c:pt>
                <c:pt idx="3139">
                  <c:v>05.06.2012</c:v>
                </c:pt>
                <c:pt idx="3140">
                  <c:v>04.06.2012</c:v>
                </c:pt>
                <c:pt idx="3141">
                  <c:v>01.06.2012</c:v>
                </c:pt>
                <c:pt idx="3142">
                  <c:v>31.05.2012</c:v>
                </c:pt>
                <c:pt idx="3143">
                  <c:v>30.05.2012</c:v>
                </c:pt>
                <c:pt idx="3144">
                  <c:v>29.05.2012</c:v>
                </c:pt>
                <c:pt idx="3145">
                  <c:v>25.05.2012</c:v>
                </c:pt>
                <c:pt idx="3146">
                  <c:v>24.05.2012</c:v>
                </c:pt>
                <c:pt idx="3147">
                  <c:v>23.05.2012</c:v>
                </c:pt>
                <c:pt idx="3148">
                  <c:v>22.05.2012</c:v>
                </c:pt>
                <c:pt idx="3149">
                  <c:v>21.05.2012</c:v>
                </c:pt>
                <c:pt idx="3150">
                  <c:v>18.05.2012</c:v>
                </c:pt>
                <c:pt idx="3151">
                  <c:v>17.05.2012</c:v>
                </c:pt>
                <c:pt idx="3152">
                  <c:v>16.05.2012</c:v>
                </c:pt>
                <c:pt idx="3153">
                  <c:v>15.05.2012</c:v>
                </c:pt>
                <c:pt idx="3154">
                  <c:v>14.05.2012</c:v>
                </c:pt>
                <c:pt idx="3155">
                  <c:v>11.05.2012</c:v>
                </c:pt>
                <c:pt idx="3156">
                  <c:v>10.05.2012</c:v>
                </c:pt>
                <c:pt idx="3157">
                  <c:v>09.05.2012</c:v>
                </c:pt>
                <c:pt idx="3158">
                  <c:v>08.05.2012</c:v>
                </c:pt>
                <c:pt idx="3159">
                  <c:v>07.05.2012</c:v>
                </c:pt>
                <c:pt idx="3160">
                  <c:v>04.05.2012</c:v>
                </c:pt>
                <c:pt idx="3161">
                  <c:v>03.05.2012</c:v>
                </c:pt>
                <c:pt idx="3162">
                  <c:v>02.05.2012</c:v>
                </c:pt>
                <c:pt idx="3163">
                  <c:v>01.05.2012</c:v>
                </c:pt>
                <c:pt idx="3164">
                  <c:v>30.04.2012</c:v>
                </c:pt>
                <c:pt idx="3165">
                  <c:v>27.04.2012</c:v>
                </c:pt>
                <c:pt idx="3166">
                  <c:v>26.04.2012</c:v>
                </c:pt>
                <c:pt idx="3167">
                  <c:v>25.04.2012</c:v>
                </c:pt>
                <c:pt idx="3168">
                  <c:v>24.04.2012</c:v>
                </c:pt>
                <c:pt idx="3169">
                  <c:v>23.04.2012</c:v>
                </c:pt>
                <c:pt idx="3170">
                  <c:v>20.04.2012</c:v>
                </c:pt>
                <c:pt idx="3171">
                  <c:v>19.04.2012</c:v>
                </c:pt>
                <c:pt idx="3172">
                  <c:v>18.04.2012</c:v>
                </c:pt>
                <c:pt idx="3173">
                  <c:v>17.04.2012</c:v>
                </c:pt>
                <c:pt idx="3174">
                  <c:v>16.04.2012</c:v>
                </c:pt>
                <c:pt idx="3175">
                  <c:v>13.04.2012</c:v>
                </c:pt>
                <c:pt idx="3176">
                  <c:v>12.04.2012</c:v>
                </c:pt>
                <c:pt idx="3177">
                  <c:v>11.04.2012</c:v>
                </c:pt>
                <c:pt idx="3178">
                  <c:v>10.04.2012</c:v>
                </c:pt>
                <c:pt idx="3179">
                  <c:v>09.04.2012</c:v>
                </c:pt>
                <c:pt idx="3180">
                  <c:v>05.04.2012</c:v>
                </c:pt>
                <c:pt idx="3181">
                  <c:v>04.04.2012</c:v>
                </c:pt>
                <c:pt idx="3182">
                  <c:v>03.04.2012</c:v>
                </c:pt>
                <c:pt idx="3183">
                  <c:v>02.04.2012</c:v>
                </c:pt>
                <c:pt idx="3184">
                  <c:v>30.03.2012</c:v>
                </c:pt>
                <c:pt idx="3185">
                  <c:v>29.03.2012</c:v>
                </c:pt>
                <c:pt idx="3186">
                  <c:v>28.03.2012</c:v>
                </c:pt>
                <c:pt idx="3187">
                  <c:v>27.03.2012</c:v>
                </c:pt>
                <c:pt idx="3188">
                  <c:v>26.03.2012</c:v>
                </c:pt>
                <c:pt idx="3189">
                  <c:v>23.03.2012</c:v>
                </c:pt>
                <c:pt idx="3190">
                  <c:v>22.03.2012</c:v>
                </c:pt>
                <c:pt idx="3191">
                  <c:v>21.03.2012</c:v>
                </c:pt>
                <c:pt idx="3192">
                  <c:v>20.03.2012</c:v>
                </c:pt>
                <c:pt idx="3193">
                  <c:v>19.03.2012</c:v>
                </c:pt>
                <c:pt idx="3194">
                  <c:v>16.03.2012</c:v>
                </c:pt>
                <c:pt idx="3195">
                  <c:v>15.03.2012</c:v>
                </c:pt>
                <c:pt idx="3196">
                  <c:v>14.03.2012</c:v>
                </c:pt>
                <c:pt idx="3197">
                  <c:v>13.03.2012</c:v>
                </c:pt>
                <c:pt idx="3198">
                  <c:v>12.03.2012</c:v>
                </c:pt>
                <c:pt idx="3199">
                  <c:v>09.03.2012</c:v>
                </c:pt>
                <c:pt idx="3200">
                  <c:v>08.03.2012</c:v>
                </c:pt>
                <c:pt idx="3201">
                  <c:v>07.03.2012</c:v>
                </c:pt>
                <c:pt idx="3202">
                  <c:v>06.03.2012</c:v>
                </c:pt>
                <c:pt idx="3203">
                  <c:v>05.03.2012</c:v>
                </c:pt>
                <c:pt idx="3204">
                  <c:v>02.03.2012</c:v>
                </c:pt>
                <c:pt idx="3205">
                  <c:v>01.03.2012</c:v>
                </c:pt>
                <c:pt idx="3206">
                  <c:v>29.02.2012</c:v>
                </c:pt>
                <c:pt idx="3207">
                  <c:v>28.02.2012</c:v>
                </c:pt>
                <c:pt idx="3208">
                  <c:v>27.02.2012</c:v>
                </c:pt>
                <c:pt idx="3209">
                  <c:v>24.02.2012</c:v>
                </c:pt>
                <c:pt idx="3210">
                  <c:v>23.02.2012</c:v>
                </c:pt>
                <c:pt idx="3211">
                  <c:v>22.02.2012</c:v>
                </c:pt>
                <c:pt idx="3212">
                  <c:v>21.02.2012</c:v>
                </c:pt>
                <c:pt idx="3213">
                  <c:v>17.02.2012</c:v>
                </c:pt>
                <c:pt idx="3214">
                  <c:v>16.02.2012</c:v>
                </c:pt>
                <c:pt idx="3215">
                  <c:v>15.02.2012</c:v>
                </c:pt>
                <c:pt idx="3216">
                  <c:v>14.02.2012</c:v>
                </c:pt>
                <c:pt idx="3217">
                  <c:v>13.02.2012</c:v>
                </c:pt>
                <c:pt idx="3218">
                  <c:v>10.02.2012</c:v>
                </c:pt>
                <c:pt idx="3219">
                  <c:v>09.02.2012</c:v>
                </c:pt>
                <c:pt idx="3220">
                  <c:v>08.02.2012</c:v>
                </c:pt>
                <c:pt idx="3221">
                  <c:v>07.02.2012</c:v>
                </c:pt>
                <c:pt idx="3222">
                  <c:v>06.02.2012</c:v>
                </c:pt>
                <c:pt idx="3223">
                  <c:v>03.02.2012</c:v>
                </c:pt>
                <c:pt idx="3224">
                  <c:v>02.02.2012</c:v>
                </c:pt>
                <c:pt idx="3225">
                  <c:v>01.02.2012</c:v>
                </c:pt>
                <c:pt idx="3226">
                  <c:v>31.01.2012</c:v>
                </c:pt>
                <c:pt idx="3227">
                  <c:v>30.01.2012</c:v>
                </c:pt>
                <c:pt idx="3228">
                  <c:v>27.01.2012</c:v>
                </c:pt>
                <c:pt idx="3229">
                  <c:v>26.01.2012</c:v>
                </c:pt>
                <c:pt idx="3230">
                  <c:v>25.01.2012</c:v>
                </c:pt>
                <c:pt idx="3231">
                  <c:v>24.01.2012</c:v>
                </c:pt>
                <c:pt idx="3232">
                  <c:v>23.01.2012</c:v>
                </c:pt>
                <c:pt idx="3233">
                  <c:v>20.01.2012</c:v>
                </c:pt>
                <c:pt idx="3234">
                  <c:v>19.01.2012</c:v>
                </c:pt>
                <c:pt idx="3235">
                  <c:v>18.01.2012</c:v>
                </c:pt>
                <c:pt idx="3236">
                  <c:v>17.01.2012</c:v>
                </c:pt>
                <c:pt idx="3237">
                  <c:v>13.01.2012</c:v>
                </c:pt>
                <c:pt idx="3238">
                  <c:v>12.01.2012</c:v>
                </c:pt>
                <c:pt idx="3239">
                  <c:v>11.01.2012</c:v>
                </c:pt>
                <c:pt idx="3240">
                  <c:v>10.01.2012</c:v>
                </c:pt>
                <c:pt idx="3241">
                  <c:v>09.01.2012</c:v>
                </c:pt>
                <c:pt idx="3242">
                  <c:v>06.01.2012</c:v>
                </c:pt>
                <c:pt idx="3243">
                  <c:v>05.01.2012</c:v>
                </c:pt>
                <c:pt idx="3244">
                  <c:v>04.01.2012</c:v>
                </c:pt>
                <c:pt idx="3245">
                  <c:v>03.01.2012</c:v>
                </c:pt>
                <c:pt idx="3246">
                  <c:v>30.12.2011</c:v>
                </c:pt>
                <c:pt idx="3247">
                  <c:v>29.12.2011</c:v>
                </c:pt>
                <c:pt idx="3248">
                  <c:v>28.12.2011</c:v>
                </c:pt>
                <c:pt idx="3249">
                  <c:v>27.12.2011</c:v>
                </c:pt>
                <c:pt idx="3250">
                  <c:v>23.12.2011</c:v>
                </c:pt>
                <c:pt idx="3251">
                  <c:v>22.12.2011</c:v>
                </c:pt>
                <c:pt idx="3252">
                  <c:v>21.12.2011</c:v>
                </c:pt>
                <c:pt idx="3253">
                  <c:v>20.12.2011</c:v>
                </c:pt>
                <c:pt idx="3254">
                  <c:v>19.12.2011</c:v>
                </c:pt>
                <c:pt idx="3255">
                  <c:v>16.12.2011</c:v>
                </c:pt>
                <c:pt idx="3256">
                  <c:v>15.12.2011</c:v>
                </c:pt>
                <c:pt idx="3257">
                  <c:v>14.12.2011</c:v>
                </c:pt>
                <c:pt idx="3258">
                  <c:v>13.12.2011</c:v>
                </c:pt>
                <c:pt idx="3259">
                  <c:v>12.12.2011</c:v>
                </c:pt>
                <c:pt idx="3260">
                  <c:v>09.12.2011</c:v>
                </c:pt>
                <c:pt idx="3261">
                  <c:v>08.12.2011</c:v>
                </c:pt>
                <c:pt idx="3262">
                  <c:v>07.12.2011</c:v>
                </c:pt>
                <c:pt idx="3263">
                  <c:v>06.12.2011</c:v>
                </c:pt>
                <c:pt idx="3264">
                  <c:v>05.12.2011</c:v>
                </c:pt>
                <c:pt idx="3265">
                  <c:v>02.12.2011</c:v>
                </c:pt>
                <c:pt idx="3266">
                  <c:v>01.12.2011</c:v>
                </c:pt>
                <c:pt idx="3267">
                  <c:v>30.11.2011</c:v>
                </c:pt>
                <c:pt idx="3268">
                  <c:v>29.11.2011</c:v>
                </c:pt>
                <c:pt idx="3269">
                  <c:v>28.11.2011</c:v>
                </c:pt>
                <c:pt idx="3270">
                  <c:v>25.11.2011</c:v>
                </c:pt>
                <c:pt idx="3271">
                  <c:v>23.11.2011</c:v>
                </c:pt>
                <c:pt idx="3272">
                  <c:v>22.11.2011</c:v>
                </c:pt>
                <c:pt idx="3273">
                  <c:v>21.11.2011</c:v>
                </c:pt>
                <c:pt idx="3274">
                  <c:v>18.11.2011</c:v>
                </c:pt>
                <c:pt idx="3275">
                  <c:v>17.11.2011</c:v>
                </c:pt>
                <c:pt idx="3276">
                  <c:v>16.11.2011</c:v>
                </c:pt>
                <c:pt idx="3277">
                  <c:v>15.11.2011</c:v>
                </c:pt>
                <c:pt idx="3278">
                  <c:v>14.11.2011</c:v>
                </c:pt>
                <c:pt idx="3279">
                  <c:v>11.11.2011</c:v>
                </c:pt>
                <c:pt idx="3280">
                  <c:v>10.11.2011</c:v>
                </c:pt>
                <c:pt idx="3281">
                  <c:v>09.11.2011</c:v>
                </c:pt>
                <c:pt idx="3282">
                  <c:v>08.11.2011</c:v>
                </c:pt>
                <c:pt idx="3283">
                  <c:v>07.11.2011</c:v>
                </c:pt>
                <c:pt idx="3284">
                  <c:v>04.11.2011</c:v>
                </c:pt>
                <c:pt idx="3285">
                  <c:v>03.11.2011</c:v>
                </c:pt>
                <c:pt idx="3286">
                  <c:v>02.11.2011</c:v>
                </c:pt>
                <c:pt idx="3287">
                  <c:v>01.11.2011</c:v>
                </c:pt>
                <c:pt idx="3288">
                  <c:v>31.10.2011</c:v>
                </c:pt>
                <c:pt idx="3289">
                  <c:v>28.10.2011</c:v>
                </c:pt>
                <c:pt idx="3290">
                  <c:v>27.10.2011</c:v>
                </c:pt>
                <c:pt idx="3291">
                  <c:v>26.10.2011</c:v>
                </c:pt>
                <c:pt idx="3292">
                  <c:v>25.10.2011</c:v>
                </c:pt>
                <c:pt idx="3293">
                  <c:v>24.10.2011</c:v>
                </c:pt>
                <c:pt idx="3294">
                  <c:v>21.10.2011</c:v>
                </c:pt>
                <c:pt idx="3295">
                  <c:v>20.10.2011</c:v>
                </c:pt>
                <c:pt idx="3296">
                  <c:v>19.10.2011</c:v>
                </c:pt>
                <c:pt idx="3297">
                  <c:v>18.10.2011</c:v>
                </c:pt>
                <c:pt idx="3298">
                  <c:v>17.10.2011</c:v>
                </c:pt>
                <c:pt idx="3299">
                  <c:v>14.10.2011</c:v>
                </c:pt>
                <c:pt idx="3300">
                  <c:v>13.10.2011</c:v>
                </c:pt>
                <c:pt idx="3301">
                  <c:v>12.10.2011</c:v>
                </c:pt>
                <c:pt idx="3302">
                  <c:v>11.10.2011</c:v>
                </c:pt>
                <c:pt idx="3303">
                  <c:v>10.10.2011</c:v>
                </c:pt>
                <c:pt idx="3304">
                  <c:v>07.10.2011</c:v>
                </c:pt>
                <c:pt idx="3305">
                  <c:v>06.10.2011</c:v>
                </c:pt>
                <c:pt idx="3306">
                  <c:v>05.10.2011</c:v>
                </c:pt>
                <c:pt idx="3307">
                  <c:v>04.10.2011</c:v>
                </c:pt>
                <c:pt idx="3308">
                  <c:v>03.10.2011</c:v>
                </c:pt>
                <c:pt idx="3309">
                  <c:v>30.09.2011</c:v>
                </c:pt>
                <c:pt idx="3310">
                  <c:v>29.09.2011</c:v>
                </c:pt>
                <c:pt idx="3311">
                  <c:v>28.09.2011</c:v>
                </c:pt>
                <c:pt idx="3312">
                  <c:v>27.09.2011</c:v>
                </c:pt>
                <c:pt idx="3313">
                  <c:v>26.09.2011</c:v>
                </c:pt>
                <c:pt idx="3314">
                  <c:v>23.09.2011</c:v>
                </c:pt>
                <c:pt idx="3315">
                  <c:v>22.09.2011</c:v>
                </c:pt>
                <c:pt idx="3316">
                  <c:v>21.09.2011</c:v>
                </c:pt>
                <c:pt idx="3317">
                  <c:v>20.09.2011</c:v>
                </c:pt>
                <c:pt idx="3318">
                  <c:v>19.09.2011</c:v>
                </c:pt>
                <c:pt idx="3319">
                  <c:v>16.09.2011</c:v>
                </c:pt>
                <c:pt idx="3320">
                  <c:v>15.09.2011</c:v>
                </c:pt>
                <c:pt idx="3321">
                  <c:v>14.09.2011</c:v>
                </c:pt>
                <c:pt idx="3322">
                  <c:v>13.09.2011</c:v>
                </c:pt>
                <c:pt idx="3323">
                  <c:v>12.09.2011</c:v>
                </c:pt>
                <c:pt idx="3324">
                  <c:v>09.09.2011</c:v>
                </c:pt>
                <c:pt idx="3325">
                  <c:v>08.09.2011</c:v>
                </c:pt>
                <c:pt idx="3326">
                  <c:v>07.09.2011</c:v>
                </c:pt>
                <c:pt idx="3327">
                  <c:v>06.09.2011</c:v>
                </c:pt>
                <c:pt idx="3328">
                  <c:v>02.09.2011</c:v>
                </c:pt>
                <c:pt idx="3329">
                  <c:v>01.09.2011</c:v>
                </c:pt>
                <c:pt idx="3330">
                  <c:v>31.08.2011</c:v>
                </c:pt>
                <c:pt idx="3331">
                  <c:v>30.08.2011</c:v>
                </c:pt>
                <c:pt idx="3332">
                  <c:v>29.08.2011</c:v>
                </c:pt>
                <c:pt idx="3333">
                  <c:v>26.08.2011</c:v>
                </c:pt>
                <c:pt idx="3334">
                  <c:v>25.08.2011</c:v>
                </c:pt>
                <c:pt idx="3335">
                  <c:v>24.08.2011</c:v>
                </c:pt>
                <c:pt idx="3336">
                  <c:v>23.08.2011</c:v>
                </c:pt>
                <c:pt idx="3337">
                  <c:v>22.08.2011</c:v>
                </c:pt>
                <c:pt idx="3338">
                  <c:v>19.08.2011</c:v>
                </c:pt>
                <c:pt idx="3339">
                  <c:v>18.08.2011</c:v>
                </c:pt>
                <c:pt idx="3340">
                  <c:v>17.08.2011</c:v>
                </c:pt>
                <c:pt idx="3341">
                  <c:v>16.08.2011</c:v>
                </c:pt>
                <c:pt idx="3342">
                  <c:v>15.08.2011</c:v>
                </c:pt>
                <c:pt idx="3343">
                  <c:v>12.08.2011</c:v>
                </c:pt>
                <c:pt idx="3344">
                  <c:v>11.08.2011</c:v>
                </c:pt>
                <c:pt idx="3345">
                  <c:v>10.08.2011</c:v>
                </c:pt>
                <c:pt idx="3346">
                  <c:v>09.08.2011</c:v>
                </c:pt>
                <c:pt idx="3347">
                  <c:v>08.08.2011</c:v>
                </c:pt>
                <c:pt idx="3348">
                  <c:v>05.08.2011</c:v>
                </c:pt>
                <c:pt idx="3349">
                  <c:v>04.08.2011</c:v>
                </c:pt>
                <c:pt idx="3350">
                  <c:v>03.08.2011</c:v>
                </c:pt>
                <c:pt idx="3351">
                  <c:v>02.08.2011</c:v>
                </c:pt>
                <c:pt idx="3352">
                  <c:v>01.08.2011</c:v>
                </c:pt>
                <c:pt idx="3353">
                  <c:v>29.07.2011</c:v>
                </c:pt>
                <c:pt idx="3354">
                  <c:v>28.07.2011</c:v>
                </c:pt>
                <c:pt idx="3355">
                  <c:v>27.07.2011</c:v>
                </c:pt>
                <c:pt idx="3356">
                  <c:v>26.07.2011</c:v>
                </c:pt>
                <c:pt idx="3357">
                  <c:v>25.07.2011</c:v>
                </c:pt>
                <c:pt idx="3358">
                  <c:v>22.07.2011</c:v>
                </c:pt>
                <c:pt idx="3359">
                  <c:v>21.07.2011</c:v>
                </c:pt>
                <c:pt idx="3360">
                  <c:v>20.07.2011</c:v>
                </c:pt>
                <c:pt idx="3361">
                  <c:v>19.07.2011</c:v>
                </c:pt>
                <c:pt idx="3362">
                  <c:v>18.07.2011</c:v>
                </c:pt>
                <c:pt idx="3363">
                  <c:v>15.07.2011</c:v>
                </c:pt>
                <c:pt idx="3364">
                  <c:v>14.07.2011</c:v>
                </c:pt>
                <c:pt idx="3365">
                  <c:v>13.07.2011</c:v>
                </c:pt>
                <c:pt idx="3366">
                  <c:v>12.07.2011</c:v>
                </c:pt>
                <c:pt idx="3367">
                  <c:v>11.07.2011</c:v>
                </c:pt>
                <c:pt idx="3368">
                  <c:v>08.07.2011</c:v>
                </c:pt>
                <c:pt idx="3369">
                  <c:v>07.07.2011</c:v>
                </c:pt>
                <c:pt idx="3370">
                  <c:v>06.07.2011</c:v>
                </c:pt>
                <c:pt idx="3371">
                  <c:v>05.07.2011</c:v>
                </c:pt>
                <c:pt idx="3372">
                  <c:v>01.07.2011</c:v>
                </c:pt>
                <c:pt idx="3373">
                  <c:v>30.06.2011</c:v>
                </c:pt>
                <c:pt idx="3374">
                  <c:v>29.06.2011</c:v>
                </c:pt>
                <c:pt idx="3375">
                  <c:v>28.06.2011</c:v>
                </c:pt>
                <c:pt idx="3376">
                  <c:v>27.06.2011</c:v>
                </c:pt>
                <c:pt idx="3377">
                  <c:v>24.06.2011</c:v>
                </c:pt>
                <c:pt idx="3378">
                  <c:v>23.06.2011</c:v>
                </c:pt>
                <c:pt idx="3379">
                  <c:v>22.06.2011</c:v>
                </c:pt>
                <c:pt idx="3380">
                  <c:v>21.06.2011</c:v>
                </c:pt>
                <c:pt idx="3381">
                  <c:v>20.06.2011</c:v>
                </c:pt>
                <c:pt idx="3382">
                  <c:v>17.06.2011</c:v>
                </c:pt>
                <c:pt idx="3383">
                  <c:v>16.06.2011</c:v>
                </c:pt>
                <c:pt idx="3384">
                  <c:v>15.06.2011</c:v>
                </c:pt>
                <c:pt idx="3385">
                  <c:v>14.06.2011</c:v>
                </c:pt>
                <c:pt idx="3386">
                  <c:v>13.06.2011</c:v>
                </c:pt>
                <c:pt idx="3387">
                  <c:v>10.06.2011</c:v>
                </c:pt>
                <c:pt idx="3388">
                  <c:v>09.06.2011</c:v>
                </c:pt>
                <c:pt idx="3389">
                  <c:v>08.06.2011</c:v>
                </c:pt>
                <c:pt idx="3390">
                  <c:v>07.06.2011</c:v>
                </c:pt>
                <c:pt idx="3391">
                  <c:v>06.06.2011</c:v>
                </c:pt>
                <c:pt idx="3392">
                  <c:v>03.06.2011</c:v>
                </c:pt>
                <c:pt idx="3393">
                  <c:v>02.06.2011</c:v>
                </c:pt>
                <c:pt idx="3394">
                  <c:v>01.06.2011</c:v>
                </c:pt>
                <c:pt idx="3395">
                  <c:v>31.05.2011</c:v>
                </c:pt>
                <c:pt idx="3396">
                  <c:v>27.05.2011</c:v>
                </c:pt>
                <c:pt idx="3397">
                  <c:v>26.05.2011</c:v>
                </c:pt>
                <c:pt idx="3398">
                  <c:v>25.05.2011</c:v>
                </c:pt>
                <c:pt idx="3399">
                  <c:v>24.05.2011</c:v>
                </c:pt>
                <c:pt idx="3400">
                  <c:v>23.05.2011</c:v>
                </c:pt>
                <c:pt idx="3401">
                  <c:v>20.05.2011</c:v>
                </c:pt>
                <c:pt idx="3402">
                  <c:v>19.05.2011</c:v>
                </c:pt>
                <c:pt idx="3403">
                  <c:v>18.05.2011</c:v>
                </c:pt>
                <c:pt idx="3404">
                  <c:v>17.05.2011</c:v>
                </c:pt>
                <c:pt idx="3405">
                  <c:v>16.05.2011</c:v>
                </c:pt>
                <c:pt idx="3406">
                  <c:v>13.05.2011</c:v>
                </c:pt>
                <c:pt idx="3407">
                  <c:v>12.05.2011</c:v>
                </c:pt>
                <c:pt idx="3408">
                  <c:v>11.05.2011</c:v>
                </c:pt>
                <c:pt idx="3409">
                  <c:v>10.05.2011</c:v>
                </c:pt>
                <c:pt idx="3410">
                  <c:v>09.05.2011</c:v>
                </c:pt>
                <c:pt idx="3411">
                  <c:v>06.05.2011</c:v>
                </c:pt>
                <c:pt idx="3412">
                  <c:v>05.05.2011</c:v>
                </c:pt>
                <c:pt idx="3413">
                  <c:v>04.05.2011</c:v>
                </c:pt>
                <c:pt idx="3414">
                  <c:v>03.05.2011</c:v>
                </c:pt>
                <c:pt idx="3415">
                  <c:v>02.05.2011</c:v>
                </c:pt>
                <c:pt idx="3416">
                  <c:v>29.04.2011</c:v>
                </c:pt>
                <c:pt idx="3417">
                  <c:v>28.04.2011</c:v>
                </c:pt>
                <c:pt idx="3418">
                  <c:v>27.04.2011</c:v>
                </c:pt>
                <c:pt idx="3419">
                  <c:v>26.04.2011</c:v>
                </c:pt>
                <c:pt idx="3420">
                  <c:v>25.04.2011</c:v>
                </c:pt>
                <c:pt idx="3421">
                  <c:v>21.04.2011</c:v>
                </c:pt>
                <c:pt idx="3422">
                  <c:v>20.04.2011</c:v>
                </c:pt>
                <c:pt idx="3423">
                  <c:v>19.04.2011</c:v>
                </c:pt>
                <c:pt idx="3424">
                  <c:v>18.04.2011</c:v>
                </c:pt>
                <c:pt idx="3425">
                  <c:v>15.04.2011</c:v>
                </c:pt>
                <c:pt idx="3426">
                  <c:v>14.04.2011</c:v>
                </c:pt>
                <c:pt idx="3427">
                  <c:v>13.04.2011</c:v>
                </c:pt>
                <c:pt idx="3428">
                  <c:v>12.04.2011</c:v>
                </c:pt>
                <c:pt idx="3429">
                  <c:v>11.04.2011</c:v>
                </c:pt>
                <c:pt idx="3430">
                  <c:v>08.04.2011</c:v>
                </c:pt>
                <c:pt idx="3431">
                  <c:v>07.04.2011</c:v>
                </c:pt>
                <c:pt idx="3432">
                  <c:v>06.04.2011</c:v>
                </c:pt>
                <c:pt idx="3433">
                  <c:v>05.04.2011</c:v>
                </c:pt>
                <c:pt idx="3434">
                  <c:v>04.04.2011</c:v>
                </c:pt>
                <c:pt idx="3435">
                  <c:v>01.04.2011</c:v>
                </c:pt>
                <c:pt idx="3436">
                  <c:v>31.03.2011</c:v>
                </c:pt>
                <c:pt idx="3437">
                  <c:v>30.03.2011</c:v>
                </c:pt>
                <c:pt idx="3438">
                  <c:v>29.03.2011</c:v>
                </c:pt>
                <c:pt idx="3439">
                  <c:v>28.03.2011</c:v>
                </c:pt>
                <c:pt idx="3440">
                  <c:v>25.03.2011</c:v>
                </c:pt>
                <c:pt idx="3441">
                  <c:v>24.03.2011</c:v>
                </c:pt>
                <c:pt idx="3442">
                  <c:v>23.03.2011</c:v>
                </c:pt>
                <c:pt idx="3443">
                  <c:v>22.03.2011</c:v>
                </c:pt>
                <c:pt idx="3444">
                  <c:v>21.03.2011</c:v>
                </c:pt>
                <c:pt idx="3445">
                  <c:v>18.03.2011</c:v>
                </c:pt>
                <c:pt idx="3446">
                  <c:v>17.03.2011</c:v>
                </c:pt>
                <c:pt idx="3447">
                  <c:v>16.03.2011</c:v>
                </c:pt>
                <c:pt idx="3448">
                  <c:v>15.03.2011</c:v>
                </c:pt>
                <c:pt idx="3449">
                  <c:v>14.03.2011</c:v>
                </c:pt>
                <c:pt idx="3450">
                  <c:v>11.03.2011</c:v>
                </c:pt>
                <c:pt idx="3451">
                  <c:v>10.03.2011</c:v>
                </c:pt>
                <c:pt idx="3452">
                  <c:v>09.03.2011</c:v>
                </c:pt>
                <c:pt idx="3453">
                  <c:v>08.03.2011</c:v>
                </c:pt>
                <c:pt idx="3454">
                  <c:v>07.03.2011</c:v>
                </c:pt>
                <c:pt idx="3455">
                  <c:v>04.03.2011</c:v>
                </c:pt>
                <c:pt idx="3456">
                  <c:v>03.03.2011</c:v>
                </c:pt>
                <c:pt idx="3457">
                  <c:v>02.03.2011</c:v>
                </c:pt>
                <c:pt idx="3458">
                  <c:v>01.03.2011</c:v>
                </c:pt>
                <c:pt idx="3459">
                  <c:v>28.02.2011</c:v>
                </c:pt>
                <c:pt idx="3460">
                  <c:v>25.02.2011</c:v>
                </c:pt>
                <c:pt idx="3461">
                  <c:v>24.02.2011</c:v>
                </c:pt>
                <c:pt idx="3462">
                  <c:v>23.02.2011</c:v>
                </c:pt>
                <c:pt idx="3463">
                  <c:v>22.02.2011</c:v>
                </c:pt>
                <c:pt idx="3464">
                  <c:v>18.02.2011</c:v>
                </c:pt>
                <c:pt idx="3465">
                  <c:v>17.02.2011</c:v>
                </c:pt>
                <c:pt idx="3466">
                  <c:v>16.02.2011</c:v>
                </c:pt>
                <c:pt idx="3467">
                  <c:v>15.02.2011</c:v>
                </c:pt>
                <c:pt idx="3468">
                  <c:v>14.02.2011</c:v>
                </c:pt>
                <c:pt idx="3469">
                  <c:v>11.02.2011</c:v>
                </c:pt>
                <c:pt idx="3470">
                  <c:v>10.02.2011</c:v>
                </c:pt>
                <c:pt idx="3471">
                  <c:v>09.02.2011</c:v>
                </c:pt>
                <c:pt idx="3472">
                  <c:v>08.02.2011</c:v>
                </c:pt>
                <c:pt idx="3473">
                  <c:v>07.02.2011</c:v>
                </c:pt>
                <c:pt idx="3474">
                  <c:v>04.02.2011</c:v>
                </c:pt>
                <c:pt idx="3475">
                  <c:v>03.02.2011</c:v>
                </c:pt>
                <c:pt idx="3476">
                  <c:v>02.02.2011</c:v>
                </c:pt>
                <c:pt idx="3477">
                  <c:v>01.02.2011</c:v>
                </c:pt>
                <c:pt idx="3478">
                  <c:v>31.01.2011</c:v>
                </c:pt>
                <c:pt idx="3479">
                  <c:v>28.01.2011</c:v>
                </c:pt>
                <c:pt idx="3480">
                  <c:v>27.01.2011</c:v>
                </c:pt>
                <c:pt idx="3481">
                  <c:v>26.01.2011</c:v>
                </c:pt>
                <c:pt idx="3482">
                  <c:v>25.01.2011</c:v>
                </c:pt>
                <c:pt idx="3483">
                  <c:v>24.01.2011</c:v>
                </c:pt>
                <c:pt idx="3484">
                  <c:v>21.01.2011</c:v>
                </c:pt>
                <c:pt idx="3485">
                  <c:v>20.01.2011</c:v>
                </c:pt>
                <c:pt idx="3486">
                  <c:v>19.01.2011</c:v>
                </c:pt>
                <c:pt idx="3487">
                  <c:v>18.01.2011</c:v>
                </c:pt>
                <c:pt idx="3488">
                  <c:v>14.01.2011</c:v>
                </c:pt>
                <c:pt idx="3489">
                  <c:v>13.01.2011</c:v>
                </c:pt>
                <c:pt idx="3490">
                  <c:v>12.01.2011</c:v>
                </c:pt>
                <c:pt idx="3491">
                  <c:v>11.01.2011</c:v>
                </c:pt>
                <c:pt idx="3492">
                  <c:v>10.01.2011</c:v>
                </c:pt>
                <c:pt idx="3493">
                  <c:v>07.01.2011</c:v>
                </c:pt>
                <c:pt idx="3494">
                  <c:v>06.01.2011</c:v>
                </c:pt>
                <c:pt idx="3495">
                  <c:v>05.01.2011</c:v>
                </c:pt>
                <c:pt idx="3496">
                  <c:v>04.01.2011</c:v>
                </c:pt>
                <c:pt idx="3497">
                  <c:v>03.01.2011</c:v>
                </c:pt>
                <c:pt idx="3498">
                  <c:v>31.12.2010</c:v>
                </c:pt>
                <c:pt idx="3499">
                  <c:v>30.12.2010</c:v>
                </c:pt>
                <c:pt idx="3500">
                  <c:v>29.12.2010</c:v>
                </c:pt>
                <c:pt idx="3501">
                  <c:v>28.12.2010</c:v>
                </c:pt>
                <c:pt idx="3502">
                  <c:v>27.12.2010</c:v>
                </c:pt>
                <c:pt idx="3503">
                  <c:v>23.12.2010</c:v>
                </c:pt>
                <c:pt idx="3504">
                  <c:v>22.12.2010</c:v>
                </c:pt>
                <c:pt idx="3505">
                  <c:v>21.12.2010</c:v>
                </c:pt>
                <c:pt idx="3506">
                  <c:v>20.12.2010</c:v>
                </c:pt>
                <c:pt idx="3507">
                  <c:v>17.12.2010</c:v>
                </c:pt>
                <c:pt idx="3508">
                  <c:v>16.12.2010</c:v>
                </c:pt>
                <c:pt idx="3509">
                  <c:v>15.12.2010</c:v>
                </c:pt>
                <c:pt idx="3510">
                  <c:v>14.12.2010</c:v>
                </c:pt>
                <c:pt idx="3511">
                  <c:v>13.12.2010</c:v>
                </c:pt>
                <c:pt idx="3512">
                  <c:v>10.12.2010</c:v>
                </c:pt>
                <c:pt idx="3513">
                  <c:v>09.12.2010</c:v>
                </c:pt>
                <c:pt idx="3514">
                  <c:v>08.12.2010</c:v>
                </c:pt>
                <c:pt idx="3515">
                  <c:v>07.12.2010</c:v>
                </c:pt>
                <c:pt idx="3516">
                  <c:v>06.12.2010</c:v>
                </c:pt>
                <c:pt idx="3517">
                  <c:v>03.12.2010</c:v>
                </c:pt>
                <c:pt idx="3518">
                  <c:v>02.12.2010</c:v>
                </c:pt>
                <c:pt idx="3519">
                  <c:v>01.12.2010</c:v>
                </c:pt>
                <c:pt idx="3520">
                  <c:v>30.11.2010</c:v>
                </c:pt>
                <c:pt idx="3521">
                  <c:v>29.11.2010</c:v>
                </c:pt>
                <c:pt idx="3522">
                  <c:v>26.11.2010</c:v>
                </c:pt>
                <c:pt idx="3523">
                  <c:v>24.11.2010</c:v>
                </c:pt>
                <c:pt idx="3524">
                  <c:v>23.11.2010</c:v>
                </c:pt>
                <c:pt idx="3525">
                  <c:v>22.11.2010</c:v>
                </c:pt>
                <c:pt idx="3526">
                  <c:v>19.11.2010</c:v>
                </c:pt>
                <c:pt idx="3527">
                  <c:v>18.11.2010</c:v>
                </c:pt>
                <c:pt idx="3528">
                  <c:v>17.11.2010</c:v>
                </c:pt>
                <c:pt idx="3529">
                  <c:v>16.11.2010</c:v>
                </c:pt>
                <c:pt idx="3530">
                  <c:v>15.11.2010</c:v>
                </c:pt>
                <c:pt idx="3531">
                  <c:v>12.11.2010</c:v>
                </c:pt>
                <c:pt idx="3532">
                  <c:v>11.11.2010</c:v>
                </c:pt>
                <c:pt idx="3533">
                  <c:v>10.11.2010</c:v>
                </c:pt>
                <c:pt idx="3534">
                  <c:v>09.11.2010</c:v>
                </c:pt>
                <c:pt idx="3535">
                  <c:v>08.11.2010</c:v>
                </c:pt>
                <c:pt idx="3536">
                  <c:v>05.11.2010</c:v>
                </c:pt>
                <c:pt idx="3537">
                  <c:v>04.11.2010</c:v>
                </c:pt>
                <c:pt idx="3538">
                  <c:v>03.11.2010</c:v>
                </c:pt>
                <c:pt idx="3539">
                  <c:v>02.11.2010</c:v>
                </c:pt>
                <c:pt idx="3540">
                  <c:v>01.11.2010</c:v>
                </c:pt>
                <c:pt idx="3541">
                  <c:v>29.10.2010</c:v>
                </c:pt>
                <c:pt idx="3542">
                  <c:v>28.10.2010</c:v>
                </c:pt>
                <c:pt idx="3543">
                  <c:v>27.10.2010</c:v>
                </c:pt>
                <c:pt idx="3544">
                  <c:v>26.10.2010</c:v>
                </c:pt>
                <c:pt idx="3545">
                  <c:v>25.10.2010</c:v>
                </c:pt>
                <c:pt idx="3546">
                  <c:v>22.10.2010</c:v>
                </c:pt>
                <c:pt idx="3547">
                  <c:v>21.10.2010</c:v>
                </c:pt>
                <c:pt idx="3548">
                  <c:v>20.10.2010</c:v>
                </c:pt>
                <c:pt idx="3549">
                  <c:v>19.10.2010</c:v>
                </c:pt>
                <c:pt idx="3550">
                  <c:v>18.10.2010</c:v>
                </c:pt>
                <c:pt idx="3551">
                  <c:v>15.10.2010</c:v>
                </c:pt>
                <c:pt idx="3552">
                  <c:v>14.10.2010</c:v>
                </c:pt>
                <c:pt idx="3553">
                  <c:v>13.10.2010</c:v>
                </c:pt>
                <c:pt idx="3554">
                  <c:v>12.10.2010</c:v>
                </c:pt>
                <c:pt idx="3555">
                  <c:v>11.10.2010</c:v>
                </c:pt>
                <c:pt idx="3556">
                  <c:v>08.10.2010</c:v>
                </c:pt>
                <c:pt idx="3557">
                  <c:v>07.10.2010</c:v>
                </c:pt>
                <c:pt idx="3558">
                  <c:v>06.10.2010</c:v>
                </c:pt>
                <c:pt idx="3559">
                  <c:v>05.10.2010</c:v>
                </c:pt>
                <c:pt idx="3560">
                  <c:v>04.10.2010</c:v>
                </c:pt>
                <c:pt idx="3561">
                  <c:v>01.10.2010</c:v>
                </c:pt>
                <c:pt idx="3562">
                  <c:v>30.09.2010</c:v>
                </c:pt>
                <c:pt idx="3563">
                  <c:v>29.09.2010</c:v>
                </c:pt>
                <c:pt idx="3564">
                  <c:v>28.09.2010</c:v>
                </c:pt>
                <c:pt idx="3565">
                  <c:v>27.09.2010</c:v>
                </c:pt>
                <c:pt idx="3566">
                  <c:v>24.09.2010</c:v>
                </c:pt>
                <c:pt idx="3567">
                  <c:v>23.09.2010</c:v>
                </c:pt>
                <c:pt idx="3568">
                  <c:v>22.09.2010</c:v>
                </c:pt>
                <c:pt idx="3569">
                  <c:v>21.09.2010</c:v>
                </c:pt>
                <c:pt idx="3570">
                  <c:v>20.09.2010</c:v>
                </c:pt>
                <c:pt idx="3571">
                  <c:v>17.09.2010</c:v>
                </c:pt>
                <c:pt idx="3572">
                  <c:v>16.09.2010</c:v>
                </c:pt>
                <c:pt idx="3573">
                  <c:v>15.09.2010</c:v>
                </c:pt>
                <c:pt idx="3574">
                  <c:v>14.09.2010</c:v>
                </c:pt>
                <c:pt idx="3575">
                  <c:v>13.09.2010</c:v>
                </c:pt>
                <c:pt idx="3576">
                  <c:v>10.09.2010</c:v>
                </c:pt>
                <c:pt idx="3577">
                  <c:v>09.09.2010</c:v>
                </c:pt>
                <c:pt idx="3578">
                  <c:v>08.09.2010</c:v>
                </c:pt>
                <c:pt idx="3579">
                  <c:v>07.09.2010</c:v>
                </c:pt>
                <c:pt idx="3580">
                  <c:v>03.09.2010</c:v>
                </c:pt>
                <c:pt idx="3581">
                  <c:v>02.09.2010</c:v>
                </c:pt>
                <c:pt idx="3582">
                  <c:v>01.09.2010</c:v>
                </c:pt>
                <c:pt idx="3583">
                  <c:v>31.08.2010</c:v>
                </c:pt>
                <c:pt idx="3584">
                  <c:v>30.08.2010</c:v>
                </c:pt>
                <c:pt idx="3585">
                  <c:v>27.08.2010</c:v>
                </c:pt>
                <c:pt idx="3586">
                  <c:v>26.08.2010</c:v>
                </c:pt>
                <c:pt idx="3587">
                  <c:v>25.08.2010</c:v>
                </c:pt>
                <c:pt idx="3588">
                  <c:v>24.08.2010</c:v>
                </c:pt>
                <c:pt idx="3589">
                  <c:v>23.08.2010</c:v>
                </c:pt>
                <c:pt idx="3590">
                  <c:v>20.08.2010</c:v>
                </c:pt>
                <c:pt idx="3591">
                  <c:v>19.08.2010</c:v>
                </c:pt>
                <c:pt idx="3592">
                  <c:v>18.08.2010</c:v>
                </c:pt>
                <c:pt idx="3593">
                  <c:v>17.08.2010</c:v>
                </c:pt>
                <c:pt idx="3594">
                  <c:v>16.08.2010</c:v>
                </c:pt>
                <c:pt idx="3595">
                  <c:v>13.08.2010</c:v>
                </c:pt>
                <c:pt idx="3596">
                  <c:v>12.08.2010</c:v>
                </c:pt>
                <c:pt idx="3597">
                  <c:v>11.08.2010</c:v>
                </c:pt>
                <c:pt idx="3598">
                  <c:v>10.08.2010</c:v>
                </c:pt>
                <c:pt idx="3599">
                  <c:v>09.08.2010</c:v>
                </c:pt>
                <c:pt idx="3600">
                  <c:v>06.08.2010</c:v>
                </c:pt>
                <c:pt idx="3601">
                  <c:v>05.08.2010</c:v>
                </c:pt>
                <c:pt idx="3602">
                  <c:v>04.08.2010</c:v>
                </c:pt>
                <c:pt idx="3603">
                  <c:v>03.08.2010</c:v>
                </c:pt>
                <c:pt idx="3604">
                  <c:v>02.08.2010</c:v>
                </c:pt>
                <c:pt idx="3605">
                  <c:v>30.07.2010</c:v>
                </c:pt>
                <c:pt idx="3606">
                  <c:v>29.07.2010</c:v>
                </c:pt>
                <c:pt idx="3607">
                  <c:v>28.07.2010</c:v>
                </c:pt>
                <c:pt idx="3608">
                  <c:v>27.07.2010</c:v>
                </c:pt>
                <c:pt idx="3609">
                  <c:v>26.07.2010</c:v>
                </c:pt>
                <c:pt idx="3610">
                  <c:v>23.07.2010</c:v>
                </c:pt>
                <c:pt idx="3611">
                  <c:v>22.07.2010</c:v>
                </c:pt>
                <c:pt idx="3612">
                  <c:v>21.07.2010</c:v>
                </c:pt>
                <c:pt idx="3613">
                  <c:v>20.07.2010</c:v>
                </c:pt>
                <c:pt idx="3614">
                  <c:v>19.07.2010</c:v>
                </c:pt>
                <c:pt idx="3615">
                  <c:v>16.07.2010</c:v>
                </c:pt>
                <c:pt idx="3616">
                  <c:v>15.07.2010</c:v>
                </c:pt>
                <c:pt idx="3617">
                  <c:v>14.07.2010</c:v>
                </c:pt>
                <c:pt idx="3618">
                  <c:v>13.07.2010</c:v>
                </c:pt>
                <c:pt idx="3619">
                  <c:v>12.07.2010</c:v>
                </c:pt>
                <c:pt idx="3620">
                  <c:v>09.07.2010</c:v>
                </c:pt>
                <c:pt idx="3621">
                  <c:v>08.07.2010</c:v>
                </c:pt>
                <c:pt idx="3622">
                  <c:v>07.07.2010</c:v>
                </c:pt>
                <c:pt idx="3623">
                  <c:v>06.07.2010</c:v>
                </c:pt>
                <c:pt idx="3624">
                  <c:v>02.07.2010</c:v>
                </c:pt>
                <c:pt idx="3625">
                  <c:v>01.07.2010</c:v>
                </c:pt>
                <c:pt idx="3626">
                  <c:v>30.06.2010</c:v>
                </c:pt>
                <c:pt idx="3627">
                  <c:v>29.06.2010</c:v>
                </c:pt>
                <c:pt idx="3628">
                  <c:v>28.06.2010</c:v>
                </c:pt>
                <c:pt idx="3629">
                  <c:v>25.06.2010</c:v>
                </c:pt>
                <c:pt idx="3630">
                  <c:v>24.06.2010</c:v>
                </c:pt>
                <c:pt idx="3631">
                  <c:v>23.06.2010</c:v>
                </c:pt>
                <c:pt idx="3632">
                  <c:v>22.06.2010</c:v>
                </c:pt>
                <c:pt idx="3633">
                  <c:v>21.06.2010</c:v>
                </c:pt>
                <c:pt idx="3634">
                  <c:v>18.06.2010</c:v>
                </c:pt>
                <c:pt idx="3635">
                  <c:v>17.06.2010</c:v>
                </c:pt>
                <c:pt idx="3636">
                  <c:v>16.06.2010</c:v>
                </c:pt>
                <c:pt idx="3637">
                  <c:v>15.06.2010</c:v>
                </c:pt>
                <c:pt idx="3638">
                  <c:v>14.06.2010</c:v>
                </c:pt>
                <c:pt idx="3639">
                  <c:v>11.06.2010</c:v>
                </c:pt>
                <c:pt idx="3640">
                  <c:v>10.06.2010</c:v>
                </c:pt>
                <c:pt idx="3641">
                  <c:v>09.06.2010</c:v>
                </c:pt>
                <c:pt idx="3642">
                  <c:v>08.06.2010</c:v>
                </c:pt>
                <c:pt idx="3643">
                  <c:v>07.06.2010</c:v>
                </c:pt>
                <c:pt idx="3644">
                  <c:v>04.06.2010</c:v>
                </c:pt>
                <c:pt idx="3645">
                  <c:v>03.06.2010</c:v>
                </c:pt>
                <c:pt idx="3646">
                  <c:v>02.06.2010</c:v>
                </c:pt>
                <c:pt idx="3647">
                  <c:v>01.06.2010</c:v>
                </c:pt>
                <c:pt idx="3648">
                  <c:v>28.05.2010</c:v>
                </c:pt>
                <c:pt idx="3649">
                  <c:v>27.05.2010</c:v>
                </c:pt>
                <c:pt idx="3650">
                  <c:v>26.05.2010</c:v>
                </c:pt>
                <c:pt idx="3651">
                  <c:v>25.05.2010</c:v>
                </c:pt>
                <c:pt idx="3652">
                  <c:v>24.05.2010</c:v>
                </c:pt>
                <c:pt idx="3653">
                  <c:v>21.05.2010</c:v>
                </c:pt>
                <c:pt idx="3654">
                  <c:v>20.05.2010</c:v>
                </c:pt>
                <c:pt idx="3655">
                  <c:v>19.05.2010</c:v>
                </c:pt>
                <c:pt idx="3656">
                  <c:v>18.05.2010</c:v>
                </c:pt>
                <c:pt idx="3657">
                  <c:v>17.05.2010</c:v>
                </c:pt>
                <c:pt idx="3658">
                  <c:v>14.05.2010</c:v>
                </c:pt>
                <c:pt idx="3659">
                  <c:v>13.05.2010</c:v>
                </c:pt>
                <c:pt idx="3660">
                  <c:v>12.05.2010</c:v>
                </c:pt>
                <c:pt idx="3661">
                  <c:v>11.05.2010</c:v>
                </c:pt>
                <c:pt idx="3662">
                  <c:v>10.05.2010</c:v>
                </c:pt>
                <c:pt idx="3663">
                  <c:v>07.05.2010</c:v>
                </c:pt>
                <c:pt idx="3664">
                  <c:v>06.05.2010</c:v>
                </c:pt>
                <c:pt idx="3665">
                  <c:v>05.05.2010</c:v>
                </c:pt>
                <c:pt idx="3666">
                  <c:v>04.05.2010</c:v>
                </c:pt>
                <c:pt idx="3667">
                  <c:v>03.05.2010</c:v>
                </c:pt>
                <c:pt idx="3668">
                  <c:v>30.04.2010</c:v>
                </c:pt>
                <c:pt idx="3669">
                  <c:v>29.04.2010</c:v>
                </c:pt>
                <c:pt idx="3670">
                  <c:v>28.04.2010</c:v>
                </c:pt>
                <c:pt idx="3671">
                  <c:v>27.04.2010</c:v>
                </c:pt>
                <c:pt idx="3672">
                  <c:v>26.04.2010</c:v>
                </c:pt>
                <c:pt idx="3673">
                  <c:v>23.04.2010</c:v>
                </c:pt>
                <c:pt idx="3674">
                  <c:v>22.04.2010</c:v>
                </c:pt>
                <c:pt idx="3675">
                  <c:v>21.04.2010</c:v>
                </c:pt>
                <c:pt idx="3676">
                  <c:v>20.04.2010</c:v>
                </c:pt>
                <c:pt idx="3677">
                  <c:v>19.04.2010</c:v>
                </c:pt>
                <c:pt idx="3678">
                  <c:v>16.04.2010</c:v>
                </c:pt>
                <c:pt idx="3679">
                  <c:v>15.04.2010</c:v>
                </c:pt>
                <c:pt idx="3680">
                  <c:v>14.04.2010</c:v>
                </c:pt>
                <c:pt idx="3681">
                  <c:v>13.04.2010</c:v>
                </c:pt>
                <c:pt idx="3682">
                  <c:v>12.04.2010</c:v>
                </c:pt>
                <c:pt idx="3683">
                  <c:v>09.04.2010</c:v>
                </c:pt>
                <c:pt idx="3684">
                  <c:v>08.04.2010</c:v>
                </c:pt>
                <c:pt idx="3685">
                  <c:v>07.04.2010</c:v>
                </c:pt>
                <c:pt idx="3686">
                  <c:v>06.04.2010</c:v>
                </c:pt>
                <c:pt idx="3687">
                  <c:v>05.04.2010</c:v>
                </c:pt>
                <c:pt idx="3688">
                  <c:v>01.04.2010</c:v>
                </c:pt>
                <c:pt idx="3689">
                  <c:v>31.03.2010</c:v>
                </c:pt>
                <c:pt idx="3690">
                  <c:v>30.03.2010</c:v>
                </c:pt>
                <c:pt idx="3691">
                  <c:v>29.03.2010</c:v>
                </c:pt>
                <c:pt idx="3692">
                  <c:v>26.03.2010</c:v>
                </c:pt>
                <c:pt idx="3693">
                  <c:v>25.03.2010</c:v>
                </c:pt>
                <c:pt idx="3694">
                  <c:v>24.03.2010</c:v>
                </c:pt>
                <c:pt idx="3695">
                  <c:v>23.03.2010</c:v>
                </c:pt>
                <c:pt idx="3696">
                  <c:v>22.03.2010</c:v>
                </c:pt>
                <c:pt idx="3697">
                  <c:v>19.03.2010</c:v>
                </c:pt>
                <c:pt idx="3698">
                  <c:v>18.03.2010</c:v>
                </c:pt>
                <c:pt idx="3699">
                  <c:v>17.03.2010</c:v>
                </c:pt>
                <c:pt idx="3700">
                  <c:v>16.03.2010</c:v>
                </c:pt>
                <c:pt idx="3701">
                  <c:v>15.03.2010</c:v>
                </c:pt>
                <c:pt idx="3702">
                  <c:v>12.03.2010</c:v>
                </c:pt>
                <c:pt idx="3703">
                  <c:v>11.03.2010</c:v>
                </c:pt>
                <c:pt idx="3704">
                  <c:v>10.03.2010</c:v>
                </c:pt>
                <c:pt idx="3705">
                  <c:v>09.03.2010</c:v>
                </c:pt>
                <c:pt idx="3706">
                  <c:v>08.03.2010</c:v>
                </c:pt>
                <c:pt idx="3707">
                  <c:v>05.03.2010</c:v>
                </c:pt>
                <c:pt idx="3708">
                  <c:v>04.03.2010</c:v>
                </c:pt>
                <c:pt idx="3709">
                  <c:v>03.03.2010</c:v>
                </c:pt>
                <c:pt idx="3710">
                  <c:v>02.03.2010</c:v>
                </c:pt>
                <c:pt idx="3711">
                  <c:v>01.03.2010</c:v>
                </c:pt>
                <c:pt idx="3712">
                  <c:v>26.02.2010</c:v>
                </c:pt>
                <c:pt idx="3713">
                  <c:v>25.02.2010</c:v>
                </c:pt>
                <c:pt idx="3714">
                  <c:v>24.02.2010</c:v>
                </c:pt>
                <c:pt idx="3715">
                  <c:v>23.02.2010</c:v>
                </c:pt>
                <c:pt idx="3716">
                  <c:v>22.02.2010</c:v>
                </c:pt>
                <c:pt idx="3717">
                  <c:v>19.02.2010</c:v>
                </c:pt>
                <c:pt idx="3718">
                  <c:v>18.02.2010</c:v>
                </c:pt>
                <c:pt idx="3719">
                  <c:v>17.02.2010</c:v>
                </c:pt>
                <c:pt idx="3720">
                  <c:v>16.02.2010</c:v>
                </c:pt>
                <c:pt idx="3721">
                  <c:v>12.02.2010</c:v>
                </c:pt>
                <c:pt idx="3722">
                  <c:v>11.02.2010</c:v>
                </c:pt>
                <c:pt idx="3723">
                  <c:v>10.02.2010</c:v>
                </c:pt>
                <c:pt idx="3724">
                  <c:v>09.02.2010</c:v>
                </c:pt>
                <c:pt idx="3725">
                  <c:v>08.02.2010</c:v>
                </c:pt>
                <c:pt idx="3726">
                  <c:v>05.02.2010</c:v>
                </c:pt>
                <c:pt idx="3727">
                  <c:v>04.02.2010</c:v>
                </c:pt>
                <c:pt idx="3728">
                  <c:v>03.02.2010</c:v>
                </c:pt>
                <c:pt idx="3729">
                  <c:v>02.02.2010</c:v>
                </c:pt>
                <c:pt idx="3730">
                  <c:v>01.02.2010</c:v>
                </c:pt>
                <c:pt idx="3731">
                  <c:v>29.01.2010</c:v>
                </c:pt>
                <c:pt idx="3732">
                  <c:v>28.01.2010</c:v>
                </c:pt>
                <c:pt idx="3733">
                  <c:v>27.01.2010</c:v>
                </c:pt>
                <c:pt idx="3734">
                  <c:v>26.01.2010</c:v>
                </c:pt>
                <c:pt idx="3735">
                  <c:v>25.01.2010</c:v>
                </c:pt>
                <c:pt idx="3736">
                  <c:v>22.01.2010</c:v>
                </c:pt>
                <c:pt idx="3737">
                  <c:v>21.01.2010</c:v>
                </c:pt>
                <c:pt idx="3738">
                  <c:v>20.01.2010</c:v>
                </c:pt>
                <c:pt idx="3739">
                  <c:v>19.01.2010</c:v>
                </c:pt>
                <c:pt idx="3740">
                  <c:v>15.01.2010</c:v>
                </c:pt>
                <c:pt idx="3741">
                  <c:v>14.01.2010</c:v>
                </c:pt>
                <c:pt idx="3742">
                  <c:v>13.01.2010</c:v>
                </c:pt>
                <c:pt idx="3743">
                  <c:v>12.01.2010</c:v>
                </c:pt>
                <c:pt idx="3744">
                  <c:v>11.01.2010</c:v>
                </c:pt>
                <c:pt idx="3745">
                  <c:v>08.01.2010</c:v>
                </c:pt>
                <c:pt idx="3746">
                  <c:v>07.01.2010</c:v>
                </c:pt>
                <c:pt idx="3747">
                  <c:v>06.01.2010</c:v>
                </c:pt>
                <c:pt idx="3748">
                  <c:v>05.01.2010</c:v>
                </c:pt>
                <c:pt idx="3749">
                  <c:v>04.01.2010</c:v>
                </c:pt>
                <c:pt idx="3750">
                  <c:v>31.12.2009</c:v>
                </c:pt>
                <c:pt idx="3751">
                  <c:v>30.12.2009</c:v>
                </c:pt>
                <c:pt idx="3752">
                  <c:v>29.12.2009</c:v>
                </c:pt>
                <c:pt idx="3753">
                  <c:v>28.12.2009</c:v>
                </c:pt>
                <c:pt idx="3754">
                  <c:v>24.12.2009</c:v>
                </c:pt>
                <c:pt idx="3755">
                  <c:v>23.12.2009</c:v>
                </c:pt>
                <c:pt idx="3756">
                  <c:v>22.12.2009</c:v>
                </c:pt>
                <c:pt idx="3757">
                  <c:v>21.12.2009</c:v>
                </c:pt>
                <c:pt idx="3758">
                  <c:v>18.12.2009</c:v>
                </c:pt>
                <c:pt idx="3759">
                  <c:v>17.12.2009</c:v>
                </c:pt>
                <c:pt idx="3760">
                  <c:v>16.12.2009</c:v>
                </c:pt>
                <c:pt idx="3761">
                  <c:v>15.12.2009</c:v>
                </c:pt>
                <c:pt idx="3762">
                  <c:v>14.12.2009</c:v>
                </c:pt>
                <c:pt idx="3763">
                  <c:v>11.12.2009</c:v>
                </c:pt>
                <c:pt idx="3764">
                  <c:v>10.12.2009</c:v>
                </c:pt>
                <c:pt idx="3765">
                  <c:v>09.12.2009</c:v>
                </c:pt>
                <c:pt idx="3766">
                  <c:v>08.12.2009</c:v>
                </c:pt>
                <c:pt idx="3767">
                  <c:v>07.12.2009</c:v>
                </c:pt>
                <c:pt idx="3768">
                  <c:v>04.12.2009</c:v>
                </c:pt>
                <c:pt idx="3769">
                  <c:v>03.12.2009</c:v>
                </c:pt>
                <c:pt idx="3770">
                  <c:v>02.12.2009</c:v>
                </c:pt>
                <c:pt idx="3771">
                  <c:v>01.12.2009</c:v>
                </c:pt>
                <c:pt idx="3772">
                  <c:v>30.11.2009</c:v>
                </c:pt>
                <c:pt idx="3773">
                  <c:v>27.11.2009</c:v>
                </c:pt>
                <c:pt idx="3774">
                  <c:v>25.11.2009</c:v>
                </c:pt>
                <c:pt idx="3775">
                  <c:v>24.11.2009</c:v>
                </c:pt>
                <c:pt idx="3776">
                  <c:v>23.11.2009</c:v>
                </c:pt>
                <c:pt idx="3777">
                  <c:v>20.11.2009</c:v>
                </c:pt>
                <c:pt idx="3778">
                  <c:v>19.11.2009</c:v>
                </c:pt>
                <c:pt idx="3779">
                  <c:v>18.11.2009</c:v>
                </c:pt>
                <c:pt idx="3780">
                  <c:v>17.11.2009</c:v>
                </c:pt>
                <c:pt idx="3781">
                  <c:v>16.11.2009</c:v>
                </c:pt>
                <c:pt idx="3782">
                  <c:v>13.11.2009</c:v>
                </c:pt>
                <c:pt idx="3783">
                  <c:v>12.11.2009</c:v>
                </c:pt>
                <c:pt idx="3784">
                  <c:v>11.11.2009</c:v>
                </c:pt>
                <c:pt idx="3785">
                  <c:v>10.11.2009</c:v>
                </c:pt>
                <c:pt idx="3786">
                  <c:v>09.11.2009</c:v>
                </c:pt>
                <c:pt idx="3787">
                  <c:v>06.11.2009</c:v>
                </c:pt>
                <c:pt idx="3788">
                  <c:v>05.11.2009</c:v>
                </c:pt>
                <c:pt idx="3789">
                  <c:v>04.11.2009</c:v>
                </c:pt>
                <c:pt idx="3790">
                  <c:v>03.11.2009</c:v>
                </c:pt>
                <c:pt idx="3791">
                  <c:v>02.11.2009</c:v>
                </c:pt>
                <c:pt idx="3792">
                  <c:v>30.10.2009</c:v>
                </c:pt>
                <c:pt idx="3793">
                  <c:v>29.10.2009</c:v>
                </c:pt>
                <c:pt idx="3794">
                  <c:v>28.10.2009</c:v>
                </c:pt>
                <c:pt idx="3795">
                  <c:v>27.10.2009</c:v>
                </c:pt>
                <c:pt idx="3796">
                  <c:v>26.10.2009</c:v>
                </c:pt>
                <c:pt idx="3797">
                  <c:v>23.10.2009</c:v>
                </c:pt>
                <c:pt idx="3798">
                  <c:v>22.10.2009</c:v>
                </c:pt>
                <c:pt idx="3799">
                  <c:v>21.10.2009</c:v>
                </c:pt>
                <c:pt idx="3800">
                  <c:v>20.10.2009</c:v>
                </c:pt>
                <c:pt idx="3801">
                  <c:v>19.10.2009</c:v>
                </c:pt>
                <c:pt idx="3802">
                  <c:v>16.10.2009</c:v>
                </c:pt>
                <c:pt idx="3803">
                  <c:v>15.10.2009</c:v>
                </c:pt>
                <c:pt idx="3804">
                  <c:v>14.10.2009</c:v>
                </c:pt>
                <c:pt idx="3805">
                  <c:v>13.10.2009</c:v>
                </c:pt>
                <c:pt idx="3806">
                  <c:v>12.10.2009</c:v>
                </c:pt>
                <c:pt idx="3807">
                  <c:v>09.10.2009</c:v>
                </c:pt>
                <c:pt idx="3808">
                  <c:v>08.10.2009</c:v>
                </c:pt>
                <c:pt idx="3809">
                  <c:v>07.10.2009</c:v>
                </c:pt>
                <c:pt idx="3810">
                  <c:v>06.10.2009</c:v>
                </c:pt>
                <c:pt idx="3811">
                  <c:v>05.10.2009</c:v>
                </c:pt>
                <c:pt idx="3812">
                  <c:v>02.10.2009</c:v>
                </c:pt>
                <c:pt idx="3813">
                  <c:v>01.10.2009</c:v>
                </c:pt>
                <c:pt idx="3814">
                  <c:v>30.09.2009</c:v>
                </c:pt>
                <c:pt idx="3815">
                  <c:v>29.09.2009</c:v>
                </c:pt>
                <c:pt idx="3816">
                  <c:v>28.09.2009</c:v>
                </c:pt>
                <c:pt idx="3817">
                  <c:v>25.09.2009</c:v>
                </c:pt>
                <c:pt idx="3818">
                  <c:v>24.09.2009</c:v>
                </c:pt>
                <c:pt idx="3819">
                  <c:v>23.09.2009</c:v>
                </c:pt>
                <c:pt idx="3820">
                  <c:v>22.09.2009</c:v>
                </c:pt>
                <c:pt idx="3821">
                  <c:v>21.09.2009</c:v>
                </c:pt>
                <c:pt idx="3822">
                  <c:v>18.09.2009</c:v>
                </c:pt>
                <c:pt idx="3823">
                  <c:v>17.09.2009</c:v>
                </c:pt>
                <c:pt idx="3824">
                  <c:v>16.09.2009</c:v>
                </c:pt>
                <c:pt idx="3825">
                  <c:v>15.09.2009</c:v>
                </c:pt>
                <c:pt idx="3826">
                  <c:v>14.09.2009</c:v>
                </c:pt>
                <c:pt idx="3827">
                  <c:v>11.09.2009</c:v>
                </c:pt>
                <c:pt idx="3828">
                  <c:v>10.09.2009</c:v>
                </c:pt>
                <c:pt idx="3829">
                  <c:v>09.09.2009</c:v>
                </c:pt>
                <c:pt idx="3830">
                  <c:v>08.09.2009</c:v>
                </c:pt>
                <c:pt idx="3831">
                  <c:v>04.09.2009</c:v>
                </c:pt>
                <c:pt idx="3832">
                  <c:v>03.09.2009</c:v>
                </c:pt>
                <c:pt idx="3833">
                  <c:v>02.09.2009</c:v>
                </c:pt>
                <c:pt idx="3834">
                  <c:v>01.09.2009</c:v>
                </c:pt>
                <c:pt idx="3835">
                  <c:v>31.08.2009</c:v>
                </c:pt>
                <c:pt idx="3836">
                  <c:v>28.08.2009</c:v>
                </c:pt>
                <c:pt idx="3837">
                  <c:v>27.08.2009</c:v>
                </c:pt>
                <c:pt idx="3838">
                  <c:v>26.08.2009</c:v>
                </c:pt>
                <c:pt idx="3839">
                  <c:v>25.08.2009</c:v>
                </c:pt>
                <c:pt idx="3840">
                  <c:v>24.08.2009</c:v>
                </c:pt>
                <c:pt idx="3841">
                  <c:v>21.08.2009</c:v>
                </c:pt>
                <c:pt idx="3842">
                  <c:v>20.08.2009</c:v>
                </c:pt>
                <c:pt idx="3843">
                  <c:v>19.08.2009</c:v>
                </c:pt>
                <c:pt idx="3844">
                  <c:v>18.08.2009</c:v>
                </c:pt>
                <c:pt idx="3845">
                  <c:v>17.08.2009</c:v>
                </c:pt>
                <c:pt idx="3846">
                  <c:v>14.08.2009</c:v>
                </c:pt>
                <c:pt idx="3847">
                  <c:v>13.08.2009</c:v>
                </c:pt>
                <c:pt idx="3848">
                  <c:v>12.08.2009</c:v>
                </c:pt>
                <c:pt idx="3849">
                  <c:v>11.08.2009</c:v>
                </c:pt>
                <c:pt idx="3850">
                  <c:v>10.08.2009</c:v>
                </c:pt>
                <c:pt idx="3851">
                  <c:v>07.08.2009</c:v>
                </c:pt>
                <c:pt idx="3852">
                  <c:v>06.08.2009</c:v>
                </c:pt>
                <c:pt idx="3853">
                  <c:v>05.08.2009</c:v>
                </c:pt>
                <c:pt idx="3854">
                  <c:v>04.08.2009</c:v>
                </c:pt>
                <c:pt idx="3855">
                  <c:v>03.08.2009</c:v>
                </c:pt>
                <c:pt idx="3856">
                  <c:v>31.07.2009</c:v>
                </c:pt>
                <c:pt idx="3857">
                  <c:v>30.07.2009</c:v>
                </c:pt>
                <c:pt idx="3858">
                  <c:v>29.07.2009</c:v>
                </c:pt>
                <c:pt idx="3859">
                  <c:v>28.07.2009</c:v>
                </c:pt>
                <c:pt idx="3860">
                  <c:v>27.07.2009</c:v>
                </c:pt>
                <c:pt idx="3861">
                  <c:v>24.07.2009</c:v>
                </c:pt>
                <c:pt idx="3862">
                  <c:v>23.07.2009</c:v>
                </c:pt>
                <c:pt idx="3863">
                  <c:v>22.07.2009</c:v>
                </c:pt>
                <c:pt idx="3864">
                  <c:v>21.07.2009</c:v>
                </c:pt>
                <c:pt idx="3865">
                  <c:v>20.07.2009</c:v>
                </c:pt>
                <c:pt idx="3866">
                  <c:v>17.07.2009</c:v>
                </c:pt>
                <c:pt idx="3867">
                  <c:v>16.07.2009</c:v>
                </c:pt>
                <c:pt idx="3868">
                  <c:v>15.07.2009</c:v>
                </c:pt>
                <c:pt idx="3869">
                  <c:v>14.07.2009</c:v>
                </c:pt>
                <c:pt idx="3870">
                  <c:v>13.07.2009</c:v>
                </c:pt>
                <c:pt idx="3871">
                  <c:v>10.07.2009</c:v>
                </c:pt>
                <c:pt idx="3872">
                  <c:v>09.07.2009</c:v>
                </c:pt>
                <c:pt idx="3873">
                  <c:v>08.07.2009</c:v>
                </c:pt>
                <c:pt idx="3874">
                  <c:v>07.07.2009</c:v>
                </c:pt>
                <c:pt idx="3875">
                  <c:v>06.07.2009</c:v>
                </c:pt>
                <c:pt idx="3876">
                  <c:v>02.07.2009</c:v>
                </c:pt>
                <c:pt idx="3877">
                  <c:v>01.07.2009</c:v>
                </c:pt>
                <c:pt idx="3878">
                  <c:v>30.06.2009</c:v>
                </c:pt>
                <c:pt idx="3879">
                  <c:v>29.06.2009</c:v>
                </c:pt>
                <c:pt idx="3880">
                  <c:v>26.06.2009</c:v>
                </c:pt>
                <c:pt idx="3881">
                  <c:v>25.06.2009</c:v>
                </c:pt>
                <c:pt idx="3882">
                  <c:v>24.06.2009</c:v>
                </c:pt>
                <c:pt idx="3883">
                  <c:v>23.06.2009</c:v>
                </c:pt>
                <c:pt idx="3884">
                  <c:v>22.06.2009</c:v>
                </c:pt>
                <c:pt idx="3885">
                  <c:v>19.06.2009</c:v>
                </c:pt>
                <c:pt idx="3886">
                  <c:v>18.06.2009</c:v>
                </c:pt>
                <c:pt idx="3887">
                  <c:v>17.06.2009</c:v>
                </c:pt>
                <c:pt idx="3888">
                  <c:v>16.06.2009</c:v>
                </c:pt>
                <c:pt idx="3889">
                  <c:v>15.06.2009</c:v>
                </c:pt>
                <c:pt idx="3890">
                  <c:v>12.06.2009</c:v>
                </c:pt>
                <c:pt idx="3891">
                  <c:v>11.06.2009</c:v>
                </c:pt>
                <c:pt idx="3892">
                  <c:v>10.06.2009</c:v>
                </c:pt>
                <c:pt idx="3893">
                  <c:v>09.06.2009</c:v>
                </c:pt>
                <c:pt idx="3894">
                  <c:v>08.06.2009</c:v>
                </c:pt>
                <c:pt idx="3895">
                  <c:v>05.06.2009</c:v>
                </c:pt>
                <c:pt idx="3896">
                  <c:v>04.06.2009</c:v>
                </c:pt>
                <c:pt idx="3897">
                  <c:v>03.06.2009</c:v>
                </c:pt>
                <c:pt idx="3898">
                  <c:v>02.06.2009</c:v>
                </c:pt>
                <c:pt idx="3899">
                  <c:v>01.06.2009</c:v>
                </c:pt>
                <c:pt idx="3900">
                  <c:v>29.05.2009</c:v>
                </c:pt>
                <c:pt idx="3901">
                  <c:v>28.05.2009</c:v>
                </c:pt>
                <c:pt idx="3902">
                  <c:v>27.05.2009</c:v>
                </c:pt>
                <c:pt idx="3903">
                  <c:v>26.05.2009</c:v>
                </c:pt>
                <c:pt idx="3904">
                  <c:v>22.05.2009</c:v>
                </c:pt>
                <c:pt idx="3905">
                  <c:v>21.05.2009</c:v>
                </c:pt>
                <c:pt idx="3906">
                  <c:v>20.05.2009</c:v>
                </c:pt>
                <c:pt idx="3907">
                  <c:v>19.05.2009</c:v>
                </c:pt>
                <c:pt idx="3908">
                  <c:v>18.05.2009</c:v>
                </c:pt>
                <c:pt idx="3909">
                  <c:v>15.05.2009</c:v>
                </c:pt>
                <c:pt idx="3910">
                  <c:v>14.05.2009</c:v>
                </c:pt>
                <c:pt idx="3911">
                  <c:v>13.05.2009</c:v>
                </c:pt>
                <c:pt idx="3912">
                  <c:v>12.05.2009</c:v>
                </c:pt>
                <c:pt idx="3913">
                  <c:v>11.05.2009</c:v>
                </c:pt>
                <c:pt idx="3914">
                  <c:v>08.05.2009</c:v>
                </c:pt>
                <c:pt idx="3915">
                  <c:v>07.05.2009</c:v>
                </c:pt>
                <c:pt idx="3916">
                  <c:v>06.05.2009</c:v>
                </c:pt>
                <c:pt idx="3917">
                  <c:v>05.05.2009</c:v>
                </c:pt>
                <c:pt idx="3918">
                  <c:v>04.05.2009</c:v>
                </c:pt>
                <c:pt idx="3919">
                  <c:v>01.05.2009</c:v>
                </c:pt>
                <c:pt idx="3920">
                  <c:v>30.04.2009</c:v>
                </c:pt>
                <c:pt idx="3921">
                  <c:v>29.04.2009</c:v>
                </c:pt>
                <c:pt idx="3922">
                  <c:v>28.04.2009</c:v>
                </c:pt>
                <c:pt idx="3923">
                  <c:v>27.04.2009</c:v>
                </c:pt>
                <c:pt idx="3924">
                  <c:v>24.04.2009</c:v>
                </c:pt>
                <c:pt idx="3925">
                  <c:v>23.04.2009</c:v>
                </c:pt>
                <c:pt idx="3926">
                  <c:v>22.04.2009</c:v>
                </c:pt>
                <c:pt idx="3927">
                  <c:v>21.04.2009</c:v>
                </c:pt>
                <c:pt idx="3928">
                  <c:v>20.04.2009</c:v>
                </c:pt>
                <c:pt idx="3929">
                  <c:v>17.04.2009</c:v>
                </c:pt>
                <c:pt idx="3930">
                  <c:v>16.04.2009</c:v>
                </c:pt>
                <c:pt idx="3931">
                  <c:v>15.04.2009</c:v>
                </c:pt>
                <c:pt idx="3932">
                  <c:v>14.04.2009</c:v>
                </c:pt>
                <c:pt idx="3933">
                  <c:v>13.04.2009</c:v>
                </c:pt>
                <c:pt idx="3934">
                  <c:v>09.04.2009</c:v>
                </c:pt>
                <c:pt idx="3935">
                  <c:v>08.04.2009</c:v>
                </c:pt>
                <c:pt idx="3936">
                  <c:v>07.04.2009</c:v>
                </c:pt>
                <c:pt idx="3937">
                  <c:v>06.04.2009</c:v>
                </c:pt>
                <c:pt idx="3938">
                  <c:v>03.04.2009</c:v>
                </c:pt>
                <c:pt idx="3939">
                  <c:v>02.04.2009</c:v>
                </c:pt>
                <c:pt idx="3940">
                  <c:v>01.04.2009</c:v>
                </c:pt>
                <c:pt idx="3941">
                  <c:v>31.03.2009</c:v>
                </c:pt>
                <c:pt idx="3942">
                  <c:v>30.03.2009</c:v>
                </c:pt>
                <c:pt idx="3943">
                  <c:v>27.03.2009</c:v>
                </c:pt>
                <c:pt idx="3944">
                  <c:v>26.03.2009</c:v>
                </c:pt>
                <c:pt idx="3945">
                  <c:v>25.03.2009</c:v>
                </c:pt>
                <c:pt idx="3946">
                  <c:v>24.03.2009</c:v>
                </c:pt>
                <c:pt idx="3947">
                  <c:v>23.03.2009</c:v>
                </c:pt>
                <c:pt idx="3948">
                  <c:v>20.03.2009</c:v>
                </c:pt>
                <c:pt idx="3949">
                  <c:v>19.03.2009</c:v>
                </c:pt>
                <c:pt idx="3950">
                  <c:v>18.03.2009</c:v>
                </c:pt>
                <c:pt idx="3951">
                  <c:v>17.03.2009</c:v>
                </c:pt>
                <c:pt idx="3952">
                  <c:v>16.03.2009</c:v>
                </c:pt>
                <c:pt idx="3953">
                  <c:v>13.03.2009</c:v>
                </c:pt>
                <c:pt idx="3954">
                  <c:v>12.03.2009</c:v>
                </c:pt>
                <c:pt idx="3955">
                  <c:v>11.03.2009</c:v>
                </c:pt>
                <c:pt idx="3956">
                  <c:v>10.03.2009</c:v>
                </c:pt>
                <c:pt idx="3957">
                  <c:v>09.03.2009</c:v>
                </c:pt>
                <c:pt idx="3958">
                  <c:v>06.03.2009</c:v>
                </c:pt>
                <c:pt idx="3959">
                  <c:v>05.03.2009</c:v>
                </c:pt>
                <c:pt idx="3960">
                  <c:v>04.03.2009</c:v>
                </c:pt>
                <c:pt idx="3961">
                  <c:v>03.03.2009</c:v>
                </c:pt>
                <c:pt idx="3962">
                  <c:v>02.03.2009</c:v>
                </c:pt>
                <c:pt idx="3963">
                  <c:v>27.02.2009</c:v>
                </c:pt>
                <c:pt idx="3964">
                  <c:v>26.02.2009</c:v>
                </c:pt>
                <c:pt idx="3965">
                  <c:v>25.02.2009</c:v>
                </c:pt>
                <c:pt idx="3966">
                  <c:v>24.02.2009</c:v>
                </c:pt>
                <c:pt idx="3967">
                  <c:v>23.02.2009</c:v>
                </c:pt>
                <c:pt idx="3968">
                  <c:v>20.02.2009</c:v>
                </c:pt>
                <c:pt idx="3969">
                  <c:v>19.02.2009</c:v>
                </c:pt>
                <c:pt idx="3970">
                  <c:v>18.02.2009</c:v>
                </c:pt>
                <c:pt idx="3971">
                  <c:v>17.02.2009</c:v>
                </c:pt>
                <c:pt idx="3972">
                  <c:v>13.02.2009</c:v>
                </c:pt>
                <c:pt idx="3973">
                  <c:v>12.02.2009</c:v>
                </c:pt>
                <c:pt idx="3974">
                  <c:v>11.02.2009</c:v>
                </c:pt>
                <c:pt idx="3975">
                  <c:v>10.02.2009</c:v>
                </c:pt>
                <c:pt idx="3976">
                  <c:v>09.02.2009</c:v>
                </c:pt>
                <c:pt idx="3977">
                  <c:v>06.02.2009</c:v>
                </c:pt>
                <c:pt idx="3978">
                  <c:v>05.02.2009</c:v>
                </c:pt>
                <c:pt idx="3979">
                  <c:v>04.02.2009</c:v>
                </c:pt>
                <c:pt idx="3980">
                  <c:v>03.02.2009</c:v>
                </c:pt>
                <c:pt idx="3981">
                  <c:v>02.02.2009</c:v>
                </c:pt>
                <c:pt idx="3982">
                  <c:v>30.01.2009</c:v>
                </c:pt>
                <c:pt idx="3983">
                  <c:v>29.01.2009</c:v>
                </c:pt>
                <c:pt idx="3984">
                  <c:v>28.01.2009</c:v>
                </c:pt>
                <c:pt idx="3985">
                  <c:v>27.01.2009</c:v>
                </c:pt>
                <c:pt idx="3986">
                  <c:v>26.01.2009</c:v>
                </c:pt>
                <c:pt idx="3987">
                  <c:v>23.01.2009</c:v>
                </c:pt>
                <c:pt idx="3988">
                  <c:v>22.01.2009</c:v>
                </c:pt>
                <c:pt idx="3989">
                  <c:v>21.01.2009</c:v>
                </c:pt>
                <c:pt idx="3990">
                  <c:v>20.01.2009</c:v>
                </c:pt>
                <c:pt idx="3991">
                  <c:v>16.01.2009</c:v>
                </c:pt>
                <c:pt idx="3992">
                  <c:v>15.01.2009</c:v>
                </c:pt>
                <c:pt idx="3993">
                  <c:v>14.01.2009</c:v>
                </c:pt>
                <c:pt idx="3994">
                  <c:v>13.01.2009</c:v>
                </c:pt>
                <c:pt idx="3995">
                  <c:v>12.01.2009</c:v>
                </c:pt>
                <c:pt idx="3996">
                  <c:v>09.01.2009</c:v>
                </c:pt>
                <c:pt idx="3997">
                  <c:v>08.01.2009</c:v>
                </c:pt>
                <c:pt idx="3998">
                  <c:v>07.01.2009</c:v>
                </c:pt>
                <c:pt idx="3999">
                  <c:v>06.01.2009</c:v>
                </c:pt>
                <c:pt idx="4000">
                  <c:v>05.01.2009</c:v>
                </c:pt>
                <c:pt idx="4001">
                  <c:v>02.01.2009</c:v>
                </c:pt>
                <c:pt idx="4002">
                  <c:v>31.12.2008</c:v>
                </c:pt>
                <c:pt idx="4003">
                  <c:v>30.12.2008</c:v>
                </c:pt>
                <c:pt idx="4004">
                  <c:v>29.12.2008</c:v>
                </c:pt>
                <c:pt idx="4005">
                  <c:v>26.12.2008</c:v>
                </c:pt>
                <c:pt idx="4006">
                  <c:v>24.12.2008</c:v>
                </c:pt>
                <c:pt idx="4007">
                  <c:v>23.12.2008</c:v>
                </c:pt>
                <c:pt idx="4008">
                  <c:v>22.12.2008</c:v>
                </c:pt>
                <c:pt idx="4009">
                  <c:v>19.12.2008</c:v>
                </c:pt>
                <c:pt idx="4010">
                  <c:v>18.12.2008</c:v>
                </c:pt>
                <c:pt idx="4011">
                  <c:v>17.12.2008</c:v>
                </c:pt>
                <c:pt idx="4012">
                  <c:v>16.12.2008</c:v>
                </c:pt>
                <c:pt idx="4013">
                  <c:v>15.12.2008</c:v>
                </c:pt>
                <c:pt idx="4014">
                  <c:v>12.12.2008</c:v>
                </c:pt>
                <c:pt idx="4015">
                  <c:v>11.12.2008</c:v>
                </c:pt>
                <c:pt idx="4016">
                  <c:v>10.12.2008</c:v>
                </c:pt>
                <c:pt idx="4017">
                  <c:v>09.12.2008</c:v>
                </c:pt>
                <c:pt idx="4018">
                  <c:v>08.12.2008</c:v>
                </c:pt>
                <c:pt idx="4019">
                  <c:v>05.12.2008</c:v>
                </c:pt>
                <c:pt idx="4020">
                  <c:v>04.12.2008</c:v>
                </c:pt>
                <c:pt idx="4021">
                  <c:v>03.12.2008</c:v>
                </c:pt>
                <c:pt idx="4022">
                  <c:v>02.12.2008</c:v>
                </c:pt>
                <c:pt idx="4023">
                  <c:v>01.12.2008</c:v>
                </c:pt>
                <c:pt idx="4024">
                  <c:v>28.11.2008</c:v>
                </c:pt>
                <c:pt idx="4025">
                  <c:v>26.11.2008</c:v>
                </c:pt>
                <c:pt idx="4026">
                  <c:v>25.11.2008</c:v>
                </c:pt>
                <c:pt idx="4027">
                  <c:v>24.11.2008</c:v>
                </c:pt>
                <c:pt idx="4028">
                  <c:v>21.11.2008</c:v>
                </c:pt>
                <c:pt idx="4029">
                  <c:v>20.11.2008</c:v>
                </c:pt>
                <c:pt idx="4030">
                  <c:v>19.11.2008</c:v>
                </c:pt>
                <c:pt idx="4031">
                  <c:v>18.11.2008</c:v>
                </c:pt>
                <c:pt idx="4032">
                  <c:v>17.11.2008</c:v>
                </c:pt>
                <c:pt idx="4033">
                  <c:v>14.11.2008</c:v>
                </c:pt>
                <c:pt idx="4034">
                  <c:v>13.11.2008</c:v>
                </c:pt>
                <c:pt idx="4035">
                  <c:v>12.11.2008</c:v>
                </c:pt>
                <c:pt idx="4036">
                  <c:v>11.11.2008</c:v>
                </c:pt>
                <c:pt idx="4037">
                  <c:v>10.11.2008</c:v>
                </c:pt>
                <c:pt idx="4038">
                  <c:v>07.11.2008</c:v>
                </c:pt>
                <c:pt idx="4039">
                  <c:v>06.11.2008</c:v>
                </c:pt>
                <c:pt idx="4040">
                  <c:v>05.11.2008</c:v>
                </c:pt>
                <c:pt idx="4041">
                  <c:v>04.11.2008</c:v>
                </c:pt>
                <c:pt idx="4042">
                  <c:v>03.11.2008</c:v>
                </c:pt>
                <c:pt idx="4043">
                  <c:v>31.10.2008</c:v>
                </c:pt>
                <c:pt idx="4044">
                  <c:v>30.10.2008</c:v>
                </c:pt>
                <c:pt idx="4045">
                  <c:v>29.10.2008</c:v>
                </c:pt>
                <c:pt idx="4046">
                  <c:v>28.10.2008</c:v>
                </c:pt>
                <c:pt idx="4047">
                  <c:v>27.10.2008</c:v>
                </c:pt>
                <c:pt idx="4048">
                  <c:v>24.10.2008</c:v>
                </c:pt>
                <c:pt idx="4049">
                  <c:v>23.10.2008</c:v>
                </c:pt>
                <c:pt idx="4050">
                  <c:v>22.10.2008</c:v>
                </c:pt>
                <c:pt idx="4051">
                  <c:v>21.10.2008</c:v>
                </c:pt>
                <c:pt idx="4052">
                  <c:v>20.10.2008</c:v>
                </c:pt>
                <c:pt idx="4053">
                  <c:v>17.10.2008</c:v>
                </c:pt>
                <c:pt idx="4054">
                  <c:v>16.10.2008</c:v>
                </c:pt>
                <c:pt idx="4055">
                  <c:v>15.10.2008</c:v>
                </c:pt>
                <c:pt idx="4056">
                  <c:v>14.10.2008</c:v>
                </c:pt>
                <c:pt idx="4057">
                  <c:v>13.10.2008</c:v>
                </c:pt>
                <c:pt idx="4058">
                  <c:v>10.10.2008</c:v>
                </c:pt>
                <c:pt idx="4059">
                  <c:v>09.10.2008</c:v>
                </c:pt>
                <c:pt idx="4060">
                  <c:v>08.10.2008</c:v>
                </c:pt>
                <c:pt idx="4061">
                  <c:v>07.10.2008</c:v>
                </c:pt>
                <c:pt idx="4062">
                  <c:v>06.10.2008</c:v>
                </c:pt>
                <c:pt idx="4063">
                  <c:v>03.10.2008</c:v>
                </c:pt>
                <c:pt idx="4064">
                  <c:v>02.10.2008</c:v>
                </c:pt>
                <c:pt idx="4065">
                  <c:v>01.10.2008</c:v>
                </c:pt>
                <c:pt idx="4066">
                  <c:v>30.09.2008</c:v>
                </c:pt>
                <c:pt idx="4067">
                  <c:v>29.09.2008</c:v>
                </c:pt>
                <c:pt idx="4068">
                  <c:v>26.09.2008</c:v>
                </c:pt>
                <c:pt idx="4069">
                  <c:v>25.09.2008</c:v>
                </c:pt>
                <c:pt idx="4070">
                  <c:v>24.09.2008</c:v>
                </c:pt>
                <c:pt idx="4071">
                  <c:v>23.09.2008</c:v>
                </c:pt>
                <c:pt idx="4072">
                  <c:v>22.09.2008</c:v>
                </c:pt>
                <c:pt idx="4073">
                  <c:v>19.09.2008</c:v>
                </c:pt>
                <c:pt idx="4074">
                  <c:v>18.09.2008</c:v>
                </c:pt>
                <c:pt idx="4075">
                  <c:v>17.09.2008</c:v>
                </c:pt>
                <c:pt idx="4076">
                  <c:v>16.09.2008</c:v>
                </c:pt>
                <c:pt idx="4077">
                  <c:v>15.09.2008</c:v>
                </c:pt>
                <c:pt idx="4078">
                  <c:v>12.09.2008</c:v>
                </c:pt>
                <c:pt idx="4079">
                  <c:v>11.09.2008</c:v>
                </c:pt>
                <c:pt idx="4080">
                  <c:v>10.09.2008</c:v>
                </c:pt>
                <c:pt idx="4081">
                  <c:v>09.09.2008</c:v>
                </c:pt>
                <c:pt idx="4082">
                  <c:v>08.09.2008</c:v>
                </c:pt>
                <c:pt idx="4083">
                  <c:v>05.09.2008</c:v>
                </c:pt>
                <c:pt idx="4084">
                  <c:v>04.09.2008</c:v>
                </c:pt>
                <c:pt idx="4085">
                  <c:v>03.09.2008</c:v>
                </c:pt>
                <c:pt idx="4086">
                  <c:v>02.09.2008</c:v>
                </c:pt>
                <c:pt idx="4087">
                  <c:v>29.08.2008</c:v>
                </c:pt>
                <c:pt idx="4088">
                  <c:v>28.08.2008</c:v>
                </c:pt>
                <c:pt idx="4089">
                  <c:v>27.08.2008</c:v>
                </c:pt>
                <c:pt idx="4090">
                  <c:v>26.08.2008</c:v>
                </c:pt>
                <c:pt idx="4091">
                  <c:v>25.08.2008</c:v>
                </c:pt>
                <c:pt idx="4092">
                  <c:v>22.08.2008</c:v>
                </c:pt>
                <c:pt idx="4093">
                  <c:v>21.08.2008</c:v>
                </c:pt>
                <c:pt idx="4094">
                  <c:v>20.08.2008</c:v>
                </c:pt>
                <c:pt idx="4095">
                  <c:v>19.08.2008</c:v>
                </c:pt>
                <c:pt idx="4096">
                  <c:v>18.08.2008</c:v>
                </c:pt>
                <c:pt idx="4097">
                  <c:v>15.08.2008</c:v>
                </c:pt>
                <c:pt idx="4098">
                  <c:v>14.08.2008</c:v>
                </c:pt>
                <c:pt idx="4099">
                  <c:v>13.08.2008</c:v>
                </c:pt>
                <c:pt idx="4100">
                  <c:v>12.08.2008</c:v>
                </c:pt>
                <c:pt idx="4101">
                  <c:v>11.08.2008</c:v>
                </c:pt>
                <c:pt idx="4102">
                  <c:v>08.08.2008</c:v>
                </c:pt>
                <c:pt idx="4103">
                  <c:v>07.08.2008</c:v>
                </c:pt>
                <c:pt idx="4104">
                  <c:v>06.08.2008</c:v>
                </c:pt>
                <c:pt idx="4105">
                  <c:v>05.08.2008</c:v>
                </c:pt>
                <c:pt idx="4106">
                  <c:v>04.08.2008</c:v>
                </c:pt>
                <c:pt idx="4107">
                  <c:v>01.08.2008</c:v>
                </c:pt>
                <c:pt idx="4108">
                  <c:v>31.07.2008</c:v>
                </c:pt>
                <c:pt idx="4109">
                  <c:v>30.07.2008</c:v>
                </c:pt>
                <c:pt idx="4110">
                  <c:v>29.07.2008</c:v>
                </c:pt>
                <c:pt idx="4111">
                  <c:v>28.07.2008</c:v>
                </c:pt>
                <c:pt idx="4112">
                  <c:v>25.07.2008</c:v>
                </c:pt>
                <c:pt idx="4113">
                  <c:v>24.07.2008</c:v>
                </c:pt>
                <c:pt idx="4114">
                  <c:v>23.07.2008</c:v>
                </c:pt>
                <c:pt idx="4115">
                  <c:v>22.07.2008</c:v>
                </c:pt>
                <c:pt idx="4116">
                  <c:v>21.07.2008</c:v>
                </c:pt>
                <c:pt idx="4117">
                  <c:v>18.07.2008</c:v>
                </c:pt>
                <c:pt idx="4118">
                  <c:v>17.07.2008</c:v>
                </c:pt>
                <c:pt idx="4119">
                  <c:v>16.07.2008</c:v>
                </c:pt>
                <c:pt idx="4120">
                  <c:v>15.07.2008</c:v>
                </c:pt>
                <c:pt idx="4121">
                  <c:v>14.07.2008</c:v>
                </c:pt>
                <c:pt idx="4122">
                  <c:v>11.07.2008</c:v>
                </c:pt>
                <c:pt idx="4123">
                  <c:v>10.07.2008</c:v>
                </c:pt>
                <c:pt idx="4124">
                  <c:v>09.07.2008</c:v>
                </c:pt>
                <c:pt idx="4125">
                  <c:v>08.07.2008</c:v>
                </c:pt>
                <c:pt idx="4126">
                  <c:v>07.07.2008</c:v>
                </c:pt>
                <c:pt idx="4127">
                  <c:v>03.07.2008</c:v>
                </c:pt>
                <c:pt idx="4128">
                  <c:v>02.07.2008</c:v>
                </c:pt>
                <c:pt idx="4129">
                  <c:v>01.07.2008</c:v>
                </c:pt>
                <c:pt idx="4130">
                  <c:v>30.06.2008</c:v>
                </c:pt>
                <c:pt idx="4131">
                  <c:v>27.06.2008</c:v>
                </c:pt>
                <c:pt idx="4132">
                  <c:v>26.06.2008</c:v>
                </c:pt>
                <c:pt idx="4133">
                  <c:v>25.06.2008</c:v>
                </c:pt>
                <c:pt idx="4134">
                  <c:v>24.06.2008</c:v>
                </c:pt>
                <c:pt idx="4135">
                  <c:v>23.06.2008</c:v>
                </c:pt>
                <c:pt idx="4136">
                  <c:v>20.06.2008</c:v>
                </c:pt>
                <c:pt idx="4137">
                  <c:v>19.06.2008</c:v>
                </c:pt>
                <c:pt idx="4138">
                  <c:v>18.06.2008</c:v>
                </c:pt>
                <c:pt idx="4139">
                  <c:v>17.06.2008</c:v>
                </c:pt>
                <c:pt idx="4140">
                  <c:v>16.06.2008</c:v>
                </c:pt>
                <c:pt idx="4141">
                  <c:v>13.06.2008</c:v>
                </c:pt>
                <c:pt idx="4142">
                  <c:v>12.06.2008</c:v>
                </c:pt>
                <c:pt idx="4143">
                  <c:v>11.06.2008</c:v>
                </c:pt>
                <c:pt idx="4144">
                  <c:v>10.06.2008</c:v>
                </c:pt>
                <c:pt idx="4145">
                  <c:v>09.06.2008</c:v>
                </c:pt>
                <c:pt idx="4146">
                  <c:v>06.06.2008</c:v>
                </c:pt>
                <c:pt idx="4147">
                  <c:v>05.06.2008</c:v>
                </c:pt>
                <c:pt idx="4148">
                  <c:v>04.06.2008</c:v>
                </c:pt>
                <c:pt idx="4149">
                  <c:v>03.06.2008</c:v>
                </c:pt>
                <c:pt idx="4150">
                  <c:v>02.06.2008</c:v>
                </c:pt>
                <c:pt idx="4151">
                  <c:v>30.05.2008</c:v>
                </c:pt>
                <c:pt idx="4152">
                  <c:v>29.05.2008</c:v>
                </c:pt>
                <c:pt idx="4153">
                  <c:v>28.05.2008</c:v>
                </c:pt>
                <c:pt idx="4154">
                  <c:v>27.05.2008</c:v>
                </c:pt>
                <c:pt idx="4155">
                  <c:v>23.05.2008</c:v>
                </c:pt>
                <c:pt idx="4156">
                  <c:v>22.05.2008</c:v>
                </c:pt>
                <c:pt idx="4157">
                  <c:v>21.05.2008</c:v>
                </c:pt>
                <c:pt idx="4158">
                  <c:v>20.05.2008</c:v>
                </c:pt>
                <c:pt idx="4159">
                  <c:v>19.05.2008</c:v>
                </c:pt>
                <c:pt idx="4160">
                  <c:v>16.05.2008</c:v>
                </c:pt>
                <c:pt idx="4161">
                  <c:v>15.05.2008</c:v>
                </c:pt>
                <c:pt idx="4162">
                  <c:v>14.05.2008</c:v>
                </c:pt>
                <c:pt idx="4163">
                  <c:v>13.05.2008</c:v>
                </c:pt>
                <c:pt idx="4164">
                  <c:v>12.05.2008</c:v>
                </c:pt>
                <c:pt idx="4165">
                  <c:v>09.05.2008</c:v>
                </c:pt>
                <c:pt idx="4166">
                  <c:v>08.05.2008</c:v>
                </c:pt>
                <c:pt idx="4167">
                  <c:v>07.05.2008</c:v>
                </c:pt>
                <c:pt idx="4168">
                  <c:v>06.05.2008</c:v>
                </c:pt>
                <c:pt idx="4169">
                  <c:v>05.05.2008</c:v>
                </c:pt>
                <c:pt idx="4170">
                  <c:v>02.05.2008</c:v>
                </c:pt>
                <c:pt idx="4171">
                  <c:v>01.05.2008</c:v>
                </c:pt>
                <c:pt idx="4172">
                  <c:v>30.04.2008</c:v>
                </c:pt>
                <c:pt idx="4173">
                  <c:v>29.04.2008</c:v>
                </c:pt>
                <c:pt idx="4174">
                  <c:v>28.04.2008</c:v>
                </c:pt>
                <c:pt idx="4175">
                  <c:v>25.04.2008</c:v>
                </c:pt>
                <c:pt idx="4176">
                  <c:v>24.04.2008</c:v>
                </c:pt>
                <c:pt idx="4177">
                  <c:v>23.04.2008</c:v>
                </c:pt>
                <c:pt idx="4178">
                  <c:v>22.04.2008</c:v>
                </c:pt>
                <c:pt idx="4179">
                  <c:v>21.04.2008</c:v>
                </c:pt>
                <c:pt idx="4180">
                  <c:v>18.04.2008</c:v>
                </c:pt>
                <c:pt idx="4181">
                  <c:v>17.04.2008</c:v>
                </c:pt>
                <c:pt idx="4182">
                  <c:v>16.04.2008</c:v>
                </c:pt>
                <c:pt idx="4183">
                  <c:v>15.04.2008</c:v>
                </c:pt>
                <c:pt idx="4184">
                  <c:v>14.04.2008</c:v>
                </c:pt>
                <c:pt idx="4185">
                  <c:v>11.04.2008</c:v>
                </c:pt>
                <c:pt idx="4186">
                  <c:v>10.04.2008</c:v>
                </c:pt>
                <c:pt idx="4187">
                  <c:v>09.04.2008</c:v>
                </c:pt>
                <c:pt idx="4188">
                  <c:v>08.04.2008</c:v>
                </c:pt>
                <c:pt idx="4189">
                  <c:v>07.04.2008</c:v>
                </c:pt>
                <c:pt idx="4190">
                  <c:v>04.04.2008</c:v>
                </c:pt>
                <c:pt idx="4191">
                  <c:v>03.04.2008</c:v>
                </c:pt>
                <c:pt idx="4192">
                  <c:v>02.04.2008</c:v>
                </c:pt>
                <c:pt idx="4193">
                  <c:v>01.04.2008</c:v>
                </c:pt>
                <c:pt idx="4194">
                  <c:v>31.03.2008</c:v>
                </c:pt>
                <c:pt idx="4195">
                  <c:v>28.03.2008</c:v>
                </c:pt>
                <c:pt idx="4196">
                  <c:v>27.03.2008</c:v>
                </c:pt>
                <c:pt idx="4197">
                  <c:v>26.03.2008</c:v>
                </c:pt>
                <c:pt idx="4198">
                  <c:v>25.03.2008</c:v>
                </c:pt>
                <c:pt idx="4199">
                  <c:v>24.03.2008</c:v>
                </c:pt>
                <c:pt idx="4200">
                  <c:v>20.03.2008</c:v>
                </c:pt>
                <c:pt idx="4201">
                  <c:v>19.03.2008</c:v>
                </c:pt>
                <c:pt idx="4202">
                  <c:v>18.03.2008</c:v>
                </c:pt>
                <c:pt idx="4203">
                  <c:v>17.03.2008</c:v>
                </c:pt>
                <c:pt idx="4204">
                  <c:v>14.03.2008</c:v>
                </c:pt>
                <c:pt idx="4205">
                  <c:v>13.03.2008</c:v>
                </c:pt>
                <c:pt idx="4206">
                  <c:v>12.03.2008</c:v>
                </c:pt>
                <c:pt idx="4207">
                  <c:v>11.03.2008</c:v>
                </c:pt>
                <c:pt idx="4208">
                  <c:v>10.03.2008</c:v>
                </c:pt>
                <c:pt idx="4209">
                  <c:v>07.03.2008</c:v>
                </c:pt>
                <c:pt idx="4210">
                  <c:v>06.03.2008</c:v>
                </c:pt>
                <c:pt idx="4211">
                  <c:v>05.03.2008</c:v>
                </c:pt>
                <c:pt idx="4212">
                  <c:v>04.03.2008</c:v>
                </c:pt>
                <c:pt idx="4213">
                  <c:v>03.03.2008</c:v>
                </c:pt>
                <c:pt idx="4214">
                  <c:v>29.02.2008</c:v>
                </c:pt>
                <c:pt idx="4215">
                  <c:v>28.02.2008</c:v>
                </c:pt>
                <c:pt idx="4216">
                  <c:v>27.02.2008</c:v>
                </c:pt>
                <c:pt idx="4217">
                  <c:v>26.02.2008</c:v>
                </c:pt>
                <c:pt idx="4218">
                  <c:v>25.02.2008</c:v>
                </c:pt>
                <c:pt idx="4219">
                  <c:v>22.02.2008</c:v>
                </c:pt>
                <c:pt idx="4220">
                  <c:v>21.02.2008</c:v>
                </c:pt>
                <c:pt idx="4221">
                  <c:v>20.02.2008</c:v>
                </c:pt>
                <c:pt idx="4222">
                  <c:v>19.02.2008</c:v>
                </c:pt>
                <c:pt idx="4223">
                  <c:v>15.02.2008</c:v>
                </c:pt>
                <c:pt idx="4224">
                  <c:v>14.02.2008</c:v>
                </c:pt>
                <c:pt idx="4225">
                  <c:v>13.02.2008</c:v>
                </c:pt>
                <c:pt idx="4226">
                  <c:v>12.02.2008</c:v>
                </c:pt>
                <c:pt idx="4227">
                  <c:v>11.02.2008</c:v>
                </c:pt>
                <c:pt idx="4228">
                  <c:v>08.02.2008</c:v>
                </c:pt>
                <c:pt idx="4229">
                  <c:v>07.02.2008</c:v>
                </c:pt>
                <c:pt idx="4230">
                  <c:v>06.02.2008</c:v>
                </c:pt>
                <c:pt idx="4231">
                  <c:v>05.02.2008</c:v>
                </c:pt>
                <c:pt idx="4232">
                  <c:v>04.02.2008</c:v>
                </c:pt>
                <c:pt idx="4233">
                  <c:v>01.02.2008</c:v>
                </c:pt>
                <c:pt idx="4234">
                  <c:v>31.01.2008</c:v>
                </c:pt>
                <c:pt idx="4235">
                  <c:v>30.01.2008</c:v>
                </c:pt>
                <c:pt idx="4236">
                  <c:v>29.01.2008</c:v>
                </c:pt>
                <c:pt idx="4237">
                  <c:v>28.01.2008</c:v>
                </c:pt>
                <c:pt idx="4238">
                  <c:v>25.01.2008</c:v>
                </c:pt>
                <c:pt idx="4239">
                  <c:v>24.01.2008</c:v>
                </c:pt>
                <c:pt idx="4240">
                  <c:v>23.01.2008</c:v>
                </c:pt>
                <c:pt idx="4241">
                  <c:v>22.01.2008</c:v>
                </c:pt>
                <c:pt idx="4242">
                  <c:v>18.01.2008</c:v>
                </c:pt>
                <c:pt idx="4243">
                  <c:v>17.01.2008</c:v>
                </c:pt>
                <c:pt idx="4244">
                  <c:v>16.01.2008</c:v>
                </c:pt>
                <c:pt idx="4245">
                  <c:v>15.01.2008</c:v>
                </c:pt>
                <c:pt idx="4246">
                  <c:v>14.01.2008</c:v>
                </c:pt>
                <c:pt idx="4247">
                  <c:v>11.01.2008</c:v>
                </c:pt>
                <c:pt idx="4248">
                  <c:v>10.01.2008</c:v>
                </c:pt>
                <c:pt idx="4249">
                  <c:v>09.01.2008</c:v>
                </c:pt>
                <c:pt idx="4250">
                  <c:v>08.01.2008</c:v>
                </c:pt>
                <c:pt idx="4251">
                  <c:v>07.01.2008</c:v>
                </c:pt>
                <c:pt idx="4252">
                  <c:v>04.01.2008</c:v>
                </c:pt>
                <c:pt idx="4253">
                  <c:v>03.01.2008</c:v>
                </c:pt>
                <c:pt idx="4254">
                  <c:v>02.01.2008</c:v>
                </c:pt>
                <c:pt idx="4255">
                  <c:v>31.12.2007</c:v>
                </c:pt>
                <c:pt idx="4256">
                  <c:v>28.12.2007</c:v>
                </c:pt>
                <c:pt idx="4257">
                  <c:v>27.12.2007</c:v>
                </c:pt>
                <c:pt idx="4258">
                  <c:v>26.12.2007</c:v>
                </c:pt>
                <c:pt idx="4259">
                  <c:v>24.12.2007</c:v>
                </c:pt>
                <c:pt idx="4260">
                  <c:v>21.12.2007</c:v>
                </c:pt>
                <c:pt idx="4261">
                  <c:v>20.12.2007</c:v>
                </c:pt>
                <c:pt idx="4262">
                  <c:v>19.12.2007</c:v>
                </c:pt>
                <c:pt idx="4263">
                  <c:v>18.12.2007</c:v>
                </c:pt>
                <c:pt idx="4264">
                  <c:v>17.12.2007</c:v>
                </c:pt>
                <c:pt idx="4265">
                  <c:v>14.12.2007</c:v>
                </c:pt>
                <c:pt idx="4266">
                  <c:v>13.12.2007</c:v>
                </c:pt>
                <c:pt idx="4267">
                  <c:v>12.12.2007</c:v>
                </c:pt>
                <c:pt idx="4268">
                  <c:v>11.12.2007</c:v>
                </c:pt>
                <c:pt idx="4269">
                  <c:v>10.12.2007</c:v>
                </c:pt>
                <c:pt idx="4270">
                  <c:v>07.12.2007</c:v>
                </c:pt>
                <c:pt idx="4271">
                  <c:v>06.12.2007</c:v>
                </c:pt>
                <c:pt idx="4272">
                  <c:v>05.12.2007</c:v>
                </c:pt>
                <c:pt idx="4273">
                  <c:v>04.12.2007</c:v>
                </c:pt>
                <c:pt idx="4274">
                  <c:v>03.12.2007</c:v>
                </c:pt>
                <c:pt idx="4275">
                  <c:v>30.11.2007</c:v>
                </c:pt>
                <c:pt idx="4276">
                  <c:v>29.11.2007</c:v>
                </c:pt>
                <c:pt idx="4277">
                  <c:v>28.11.2007</c:v>
                </c:pt>
                <c:pt idx="4278">
                  <c:v>27.11.2007</c:v>
                </c:pt>
                <c:pt idx="4279">
                  <c:v>26.11.2007</c:v>
                </c:pt>
                <c:pt idx="4280">
                  <c:v>23.11.2007</c:v>
                </c:pt>
                <c:pt idx="4281">
                  <c:v>21.11.2007</c:v>
                </c:pt>
                <c:pt idx="4282">
                  <c:v>20.11.2007</c:v>
                </c:pt>
                <c:pt idx="4283">
                  <c:v>19.11.2007</c:v>
                </c:pt>
                <c:pt idx="4284">
                  <c:v>16.11.2007</c:v>
                </c:pt>
                <c:pt idx="4285">
                  <c:v>15.11.2007</c:v>
                </c:pt>
                <c:pt idx="4286">
                  <c:v>14.11.2007</c:v>
                </c:pt>
                <c:pt idx="4287">
                  <c:v>13.11.2007</c:v>
                </c:pt>
                <c:pt idx="4288">
                  <c:v>12.11.2007</c:v>
                </c:pt>
                <c:pt idx="4289">
                  <c:v>09.11.2007</c:v>
                </c:pt>
                <c:pt idx="4290">
                  <c:v>08.11.2007</c:v>
                </c:pt>
                <c:pt idx="4291">
                  <c:v>07.11.2007</c:v>
                </c:pt>
                <c:pt idx="4292">
                  <c:v>06.11.2007</c:v>
                </c:pt>
                <c:pt idx="4293">
                  <c:v>05.11.2007</c:v>
                </c:pt>
                <c:pt idx="4294">
                  <c:v>02.11.2007</c:v>
                </c:pt>
                <c:pt idx="4295">
                  <c:v>01.11.2007</c:v>
                </c:pt>
                <c:pt idx="4296">
                  <c:v>31.10.2007</c:v>
                </c:pt>
                <c:pt idx="4297">
                  <c:v>30.10.2007</c:v>
                </c:pt>
                <c:pt idx="4298">
                  <c:v>29.10.2007</c:v>
                </c:pt>
                <c:pt idx="4299">
                  <c:v>26.10.2007</c:v>
                </c:pt>
                <c:pt idx="4300">
                  <c:v>25.10.2007</c:v>
                </c:pt>
                <c:pt idx="4301">
                  <c:v>24.10.2007</c:v>
                </c:pt>
                <c:pt idx="4302">
                  <c:v>23.10.2007</c:v>
                </c:pt>
                <c:pt idx="4303">
                  <c:v>22.10.2007</c:v>
                </c:pt>
                <c:pt idx="4304">
                  <c:v>19.10.2007</c:v>
                </c:pt>
                <c:pt idx="4305">
                  <c:v>18.10.2007</c:v>
                </c:pt>
                <c:pt idx="4306">
                  <c:v>17.10.2007</c:v>
                </c:pt>
                <c:pt idx="4307">
                  <c:v>16.10.2007</c:v>
                </c:pt>
                <c:pt idx="4308">
                  <c:v>15.10.2007</c:v>
                </c:pt>
                <c:pt idx="4309">
                  <c:v>12.10.2007</c:v>
                </c:pt>
                <c:pt idx="4310">
                  <c:v>11.10.2007</c:v>
                </c:pt>
                <c:pt idx="4311">
                  <c:v>10.10.2007</c:v>
                </c:pt>
                <c:pt idx="4312">
                  <c:v>09.10.2007</c:v>
                </c:pt>
                <c:pt idx="4313">
                  <c:v>08.10.2007</c:v>
                </c:pt>
                <c:pt idx="4314">
                  <c:v>05.10.2007</c:v>
                </c:pt>
                <c:pt idx="4315">
                  <c:v>04.10.2007</c:v>
                </c:pt>
                <c:pt idx="4316">
                  <c:v>03.10.2007</c:v>
                </c:pt>
                <c:pt idx="4317">
                  <c:v>02.10.2007</c:v>
                </c:pt>
                <c:pt idx="4318">
                  <c:v>01.10.2007</c:v>
                </c:pt>
                <c:pt idx="4319">
                  <c:v>28.09.2007</c:v>
                </c:pt>
                <c:pt idx="4320">
                  <c:v>27.09.2007</c:v>
                </c:pt>
                <c:pt idx="4321">
                  <c:v>26.09.2007</c:v>
                </c:pt>
                <c:pt idx="4322">
                  <c:v>25.09.2007</c:v>
                </c:pt>
                <c:pt idx="4323">
                  <c:v>24.09.2007</c:v>
                </c:pt>
                <c:pt idx="4324">
                  <c:v>21.09.2007</c:v>
                </c:pt>
                <c:pt idx="4325">
                  <c:v>20.09.2007</c:v>
                </c:pt>
                <c:pt idx="4326">
                  <c:v>19.09.2007</c:v>
                </c:pt>
                <c:pt idx="4327">
                  <c:v>18.09.2007</c:v>
                </c:pt>
                <c:pt idx="4328">
                  <c:v>17.09.2007</c:v>
                </c:pt>
                <c:pt idx="4329">
                  <c:v>14.09.2007</c:v>
                </c:pt>
                <c:pt idx="4330">
                  <c:v>13.09.2007</c:v>
                </c:pt>
                <c:pt idx="4331">
                  <c:v>12.09.2007</c:v>
                </c:pt>
                <c:pt idx="4332">
                  <c:v>11.09.2007</c:v>
                </c:pt>
                <c:pt idx="4333">
                  <c:v>10.09.2007</c:v>
                </c:pt>
                <c:pt idx="4334">
                  <c:v>07.09.2007</c:v>
                </c:pt>
                <c:pt idx="4335">
                  <c:v>06.09.2007</c:v>
                </c:pt>
                <c:pt idx="4336">
                  <c:v>05.09.2007</c:v>
                </c:pt>
                <c:pt idx="4337">
                  <c:v>04.09.2007</c:v>
                </c:pt>
                <c:pt idx="4338">
                  <c:v>31.08.2007</c:v>
                </c:pt>
                <c:pt idx="4339">
                  <c:v>30.08.2007</c:v>
                </c:pt>
                <c:pt idx="4340">
                  <c:v>29.08.2007</c:v>
                </c:pt>
                <c:pt idx="4341">
                  <c:v>28.08.2007</c:v>
                </c:pt>
                <c:pt idx="4342">
                  <c:v>27.08.2007</c:v>
                </c:pt>
                <c:pt idx="4343">
                  <c:v>24.08.2007</c:v>
                </c:pt>
                <c:pt idx="4344">
                  <c:v>23.08.2007</c:v>
                </c:pt>
                <c:pt idx="4345">
                  <c:v>22.08.2007</c:v>
                </c:pt>
                <c:pt idx="4346">
                  <c:v>21.08.2007</c:v>
                </c:pt>
                <c:pt idx="4347">
                  <c:v>20.08.2007</c:v>
                </c:pt>
                <c:pt idx="4348">
                  <c:v>17.08.2007</c:v>
                </c:pt>
                <c:pt idx="4349">
                  <c:v>16.08.2007</c:v>
                </c:pt>
                <c:pt idx="4350">
                  <c:v>15.08.2007</c:v>
                </c:pt>
                <c:pt idx="4351">
                  <c:v>14.08.2007</c:v>
                </c:pt>
                <c:pt idx="4352">
                  <c:v>13.08.2007</c:v>
                </c:pt>
                <c:pt idx="4353">
                  <c:v>10.08.2007</c:v>
                </c:pt>
                <c:pt idx="4354">
                  <c:v>09.08.2007</c:v>
                </c:pt>
                <c:pt idx="4355">
                  <c:v>08.08.2007</c:v>
                </c:pt>
                <c:pt idx="4356">
                  <c:v>07.08.2007</c:v>
                </c:pt>
                <c:pt idx="4357">
                  <c:v>06.08.2007</c:v>
                </c:pt>
                <c:pt idx="4358">
                  <c:v>03.08.2007</c:v>
                </c:pt>
                <c:pt idx="4359">
                  <c:v>02.08.2007</c:v>
                </c:pt>
                <c:pt idx="4360">
                  <c:v>01.08.2007</c:v>
                </c:pt>
                <c:pt idx="4361">
                  <c:v>31.07.2007</c:v>
                </c:pt>
                <c:pt idx="4362">
                  <c:v>30.07.2007</c:v>
                </c:pt>
                <c:pt idx="4363">
                  <c:v>27.07.2007</c:v>
                </c:pt>
                <c:pt idx="4364">
                  <c:v>26.07.2007</c:v>
                </c:pt>
                <c:pt idx="4365">
                  <c:v>25.07.2007</c:v>
                </c:pt>
                <c:pt idx="4366">
                  <c:v>24.07.2007</c:v>
                </c:pt>
                <c:pt idx="4367">
                  <c:v>23.07.2007</c:v>
                </c:pt>
                <c:pt idx="4368">
                  <c:v>20.07.2007</c:v>
                </c:pt>
                <c:pt idx="4369">
                  <c:v>19.07.2007</c:v>
                </c:pt>
                <c:pt idx="4370">
                  <c:v>18.07.2007</c:v>
                </c:pt>
                <c:pt idx="4371">
                  <c:v>17.07.2007</c:v>
                </c:pt>
                <c:pt idx="4372">
                  <c:v>16.07.2007</c:v>
                </c:pt>
                <c:pt idx="4373">
                  <c:v>13.07.2007</c:v>
                </c:pt>
                <c:pt idx="4374">
                  <c:v>12.07.2007</c:v>
                </c:pt>
                <c:pt idx="4375">
                  <c:v>11.07.2007</c:v>
                </c:pt>
                <c:pt idx="4376">
                  <c:v>10.07.2007</c:v>
                </c:pt>
                <c:pt idx="4377">
                  <c:v>09.07.2007</c:v>
                </c:pt>
                <c:pt idx="4378">
                  <c:v>06.07.2007</c:v>
                </c:pt>
                <c:pt idx="4379">
                  <c:v>05.07.2007</c:v>
                </c:pt>
                <c:pt idx="4380">
                  <c:v>03.07.2007</c:v>
                </c:pt>
                <c:pt idx="4381">
                  <c:v>02.07.2007</c:v>
                </c:pt>
                <c:pt idx="4382">
                  <c:v>29.06.2007</c:v>
                </c:pt>
                <c:pt idx="4383">
                  <c:v>28.06.2007</c:v>
                </c:pt>
                <c:pt idx="4384">
                  <c:v>27.06.2007</c:v>
                </c:pt>
                <c:pt idx="4385">
                  <c:v>26.06.2007</c:v>
                </c:pt>
                <c:pt idx="4386">
                  <c:v>25.06.2007</c:v>
                </c:pt>
                <c:pt idx="4387">
                  <c:v>22.06.2007</c:v>
                </c:pt>
                <c:pt idx="4388">
                  <c:v>21.06.2007</c:v>
                </c:pt>
                <c:pt idx="4389">
                  <c:v>20.06.2007</c:v>
                </c:pt>
                <c:pt idx="4390">
                  <c:v>19.06.2007</c:v>
                </c:pt>
                <c:pt idx="4391">
                  <c:v>18.06.2007</c:v>
                </c:pt>
                <c:pt idx="4392">
                  <c:v>15.06.2007</c:v>
                </c:pt>
                <c:pt idx="4393">
                  <c:v>14.06.2007</c:v>
                </c:pt>
                <c:pt idx="4394">
                  <c:v>13.06.2007</c:v>
                </c:pt>
                <c:pt idx="4395">
                  <c:v>12.06.2007</c:v>
                </c:pt>
                <c:pt idx="4396">
                  <c:v>11.06.2007</c:v>
                </c:pt>
                <c:pt idx="4397">
                  <c:v>08.06.2007</c:v>
                </c:pt>
                <c:pt idx="4398">
                  <c:v>07.06.2007</c:v>
                </c:pt>
                <c:pt idx="4399">
                  <c:v>06.06.2007</c:v>
                </c:pt>
                <c:pt idx="4400">
                  <c:v>05.06.2007</c:v>
                </c:pt>
                <c:pt idx="4401">
                  <c:v>04.06.2007</c:v>
                </c:pt>
                <c:pt idx="4402">
                  <c:v>01.06.2007</c:v>
                </c:pt>
                <c:pt idx="4403">
                  <c:v>31.05.2007</c:v>
                </c:pt>
                <c:pt idx="4404">
                  <c:v>30.05.2007</c:v>
                </c:pt>
                <c:pt idx="4405">
                  <c:v>29.05.2007</c:v>
                </c:pt>
                <c:pt idx="4406">
                  <c:v>25.05.2007</c:v>
                </c:pt>
                <c:pt idx="4407">
                  <c:v>24.05.2007</c:v>
                </c:pt>
                <c:pt idx="4408">
                  <c:v>23.05.2007</c:v>
                </c:pt>
                <c:pt idx="4409">
                  <c:v>22.05.2007</c:v>
                </c:pt>
                <c:pt idx="4410">
                  <c:v>21.05.2007</c:v>
                </c:pt>
                <c:pt idx="4411">
                  <c:v>18.05.2007</c:v>
                </c:pt>
                <c:pt idx="4412">
                  <c:v>17.05.2007</c:v>
                </c:pt>
                <c:pt idx="4413">
                  <c:v>16.05.2007</c:v>
                </c:pt>
                <c:pt idx="4414">
                  <c:v>15.05.2007</c:v>
                </c:pt>
                <c:pt idx="4415">
                  <c:v>14.05.2007</c:v>
                </c:pt>
                <c:pt idx="4416">
                  <c:v>11.05.2007</c:v>
                </c:pt>
                <c:pt idx="4417">
                  <c:v>10.05.2007</c:v>
                </c:pt>
                <c:pt idx="4418">
                  <c:v>09.05.2007</c:v>
                </c:pt>
                <c:pt idx="4419">
                  <c:v>08.05.2007</c:v>
                </c:pt>
                <c:pt idx="4420">
                  <c:v>07.05.2007</c:v>
                </c:pt>
                <c:pt idx="4421">
                  <c:v>04.05.2007</c:v>
                </c:pt>
                <c:pt idx="4422">
                  <c:v>03.05.2007</c:v>
                </c:pt>
                <c:pt idx="4423">
                  <c:v>02.05.2007</c:v>
                </c:pt>
                <c:pt idx="4424">
                  <c:v>01.05.2007</c:v>
                </c:pt>
                <c:pt idx="4425">
                  <c:v>30.04.2007</c:v>
                </c:pt>
                <c:pt idx="4426">
                  <c:v>27.04.2007</c:v>
                </c:pt>
                <c:pt idx="4427">
                  <c:v>26.04.2007</c:v>
                </c:pt>
                <c:pt idx="4428">
                  <c:v>25.04.2007</c:v>
                </c:pt>
                <c:pt idx="4429">
                  <c:v>24.04.2007</c:v>
                </c:pt>
                <c:pt idx="4430">
                  <c:v>23.04.2007</c:v>
                </c:pt>
                <c:pt idx="4431">
                  <c:v>20.04.2007</c:v>
                </c:pt>
                <c:pt idx="4432">
                  <c:v>19.04.2007</c:v>
                </c:pt>
                <c:pt idx="4433">
                  <c:v>18.04.2007</c:v>
                </c:pt>
                <c:pt idx="4434">
                  <c:v>17.04.2007</c:v>
                </c:pt>
                <c:pt idx="4435">
                  <c:v>16.04.2007</c:v>
                </c:pt>
                <c:pt idx="4436">
                  <c:v>13.04.2007</c:v>
                </c:pt>
                <c:pt idx="4437">
                  <c:v>12.04.2007</c:v>
                </c:pt>
                <c:pt idx="4438">
                  <c:v>11.04.2007</c:v>
                </c:pt>
                <c:pt idx="4439">
                  <c:v>10.04.2007</c:v>
                </c:pt>
                <c:pt idx="4440">
                  <c:v>09.04.2007</c:v>
                </c:pt>
                <c:pt idx="4441">
                  <c:v>05.04.2007</c:v>
                </c:pt>
                <c:pt idx="4442">
                  <c:v>04.04.2007</c:v>
                </c:pt>
                <c:pt idx="4443">
                  <c:v>03.04.2007</c:v>
                </c:pt>
                <c:pt idx="4444">
                  <c:v>02.04.2007</c:v>
                </c:pt>
                <c:pt idx="4445">
                  <c:v>30.03.2007</c:v>
                </c:pt>
                <c:pt idx="4446">
                  <c:v>29.03.2007</c:v>
                </c:pt>
                <c:pt idx="4447">
                  <c:v>28.03.2007</c:v>
                </c:pt>
                <c:pt idx="4448">
                  <c:v>27.03.2007</c:v>
                </c:pt>
                <c:pt idx="4449">
                  <c:v>26.03.2007</c:v>
                </c:pt>
                <c:pt idx="4450">
                  <c:v>23.03.2007</c:v>
                </c:pt>
                <c:pt idx="4451">
                  <c:v>22.03.2007</c:v>
                </c:pt>
                <c:pt idx="4452">
                  <c:v>21.03.2007</c:v>
                </c:pt>
                <c:pt idx="4453">
                  <c:v>20.03.2007</c:v>
                </c:pt>
                <c:pt idx="4454">
                  <c:v>19.03.2007</c:v>
                </c:pt>
                <c:pt idx="4455">
                  <c:v>16.03.2007</c:v>
                </c:pt>
                <c:pt idx="4456">
                  <c:v>15.03.2007</c:v>
                </c:pt>
                <c:pt idx="4457">
                  <c:v>14.03.2007</c:v>
                </c:pt>
                <c:pt idx="4458">
                  <c:v>13.03.2007</c:v>
                </c:pt>
                <c:pt idx="4459">
                  <c:v>12.03.2007</c:v>
                </c:pt>
                <c:pt idx="4460">
                  <c:v>09.03.2007</c:v>
                </c:pt>
                <c:pt idx="4461">
                  <c:v>08.03.2007</c:v>
                </c:pt>
                <c:pt idx="4462">
                  <c:v>07.03.2007</c:v>
                </c:pt>
                <c:pt idx="4463">
                  <c:v>06.03.2007</c:v>
                </c:pt>
                <c:pt idx="4464">
                  <c:v>05.03.2007</c:v>
                </c:pt>
                <c:pt idx="4465">
                  <c:v>02.03.2007</c:v>
                </c:pt>
                <c:pt idx="4466">
                  <c:v>01.03.2007</c:v>
                </c:pt>
                <c:pt idx="4467">
                  <c:v>28.02.2007</c:v>
                </c:pt>
                <c:pt idx="4468">
                  <c:v>27.02.2007</c:v>
                </c:pt>
                <c:pt idx="4469">
                  <c:v>26.02.2007</c:v>
                </c:pt>
                <c:pt idx="4470">
                  <c:v>23.02.2007</c:v>
                </c:pt>
                <c:pt idx="4471">
                  <c:v>22.02.2007</c:v>
                </c:pt>
                <c:pt idx="4472">
                  <c:v>21.02.2007</c:v>
                </c:pt>
                <c:pt idx="4473">
                  <c:v>20.02.2007</c:v>
                </c:pt>
                <c:pt idx="4474">
                  <c:v>16.02.2007</c:v>
                </c:pt>
                <c:pt idx="4475">
                  <c:v>15.02.2007</c:v>
                </c:pt>
                <c:pt idx="4476">
                  <c:v>14.02.2007</c:v>
                </c:pt>
                <c:pt idx="4477">
                  <c:v>13.02.2007</c:v>
                </c:pt>
                <c:pt idx="4478">
                  <c:v>12.02.2007</c:v>
                </c:pt>
                <c:pt idx="4479">
                  <c:v>09.02.2007</c:v>
                </c:pt>
                <c:pt idx="4480">
                  <c:v>08.02.2007</c:v>
                </c:pt>
                <c:pt idx="4481">
                  <c:v>07.02.2007</c:v>
                </c:pt>
                <c:pt idx="4482">
                  <c:v>06.02.2007</c:v>
                </c:pt>
                <c:pt idx="4483">
                  <c:v>05.02.2007</c:v>
                </c:pt>
                <c:pt idx="4484">
                  <c:v>02.02.2007</c:v>
                </c:pt>
                <c:pt idx="4485">
                  <c:v>01.02.2007</c:v>
                </c:pt>
                <c:pt idx="4486">
                  <c:v>31.01.2007</c:v>
                </c:pt>
                <c:pt idx="4487">
                  <c:v>30.01.2007</c:v>
                </c:pt>
                <c:pt idx="4488">
                  <c:v>29.01.2007</c:v>
                </c:pt>
                <c:pt idx="4489">
                  <c:v>26.01.2007</c:v>
                </c:pt>
                <c:pt idx="4490">
                  <c:v>25.01.2007</c:v>
                </c:pt>
                <c:pt idx="4491">
                  <c:v>24.01.2007</c:v>
                </c:pt>
                <c:pt idx="4492">
                  <c:v>23.01.2007</c:v>
                </c:pt>
                <c:pt idx="4493">
                  <c:v>22.01.2007</c:v>
                </c:pt>
                <c:pt idx="4494">
                  <c:v>19.01.2007</c:v>
                </c:pt>
                <c:pt idx="4495">
                  <c:v>18.01.2007</c:v>
                </c:pt>
                <c:pt idx="4496">
                  <c:v>17.01.2007</c:v>
                </c:pt>
                <c:pt idx="4497">
                  <c:v>16.01.2007</c:v>
                </c:pt>
                <c:pt idx="4498">
                  <c:v>12.01.2007</c:v>
                </c:pt>
                <c:pt idx="4499">
                  <c:v>11.01.2007</c:v>
                </c:pt>
                <c:pt idx="4500">
                  <c:v>10.01.2007</c:v>
                </c:pt>
                <c:pt idx="4501">
                  <c:v>09.01.2007</c:v>
                </c:pt>
                <c:pt idx="4502">
                  <c:v>08.01.2007</c:v>
                </c:pt>
                <c:pt idx="4503">
                  <c:v>05.01.2007</c:v>
                </c:pt>
                <c:pt idx="4504">
                  <c:v>04.01.2007</c:v>
                </c:pt>
                <c:pt idx="4505">
                  <c:v>03.01.2007</c:v>
                </c:pt>
                <c:pt idx="4506">
                  <c:v>29.12.2006</c:v>
                </c:pt>
                <c:pt idx="4507">
                  <c:v>28.12.2006</c:v>
                </c:pt>
                <c:pt idx="4508">
                  <c:v>27.12.2006</c:v>
                </c:pt>
                <c:pt idx="4509">
                  <c:v>26.12.2006</c:v>
                </c:pt>
                <c:pt idx="4510">
                  <c:v>22.12.2006</c:v>
                </c:pt>
                <c:pt idx="4511">
                  <c:v>21.12.2006</c:v>
                </c:pt>
                <c:pt idx="4512">
                  <c:v>20.12.2006</c:v>
                </c:pt>
                <c:pt idx="4513">
                  <c:v>19.12.2006</c:v>
                </c:pt>
                <c:pt idx="4514">
                  <c:v>18.12.2006</c:v>
                </c:pt>
                <c:pt idx="4515">
                  <c:v>15.12.2006</c:v>
                </c:pt>
                <c:pt idx="4516">
                  <c:v>14.12.2006</c:v>
                </c:pt>
                <c:pt idx="4517">
                  <c:v>13.12.2006</c:v>
                </c:pt>
                <c:pt idx="4518">
                  <c:v>12.12.2006</c:v>
                </c:pt>
                <c:pt idx="4519">
                  <c:v>11.12.2006</c:v>
                </c:pt>
                <c:pt idx="4520">
                  <c:v>08.12.2006</c:v>
                </c:pt>
                <c:pt idx="4521">
                  <c:v>07.12.2006</c:v>
                </c:pt>
                <c:pt idx="4522">
                  <c:v>06.12.2006</c:v>
                </c:pt>
                <c:pt idx="4523">
                  <c:v>05.12.2006</c:v>
                </c:pt>
                <c:pt idx="4524">
                  <c:v>04.12.2006</c:v>
                </c:pt>
                <c:pt idx="4525">
                  <c:v>01.12.2006</c:v>
                </c:pt>
                <c:pt idx="4526">
                  <c:v>30.11.2006</c:v>
                </c:pt>
                <c:pt idx="4527">
                  <c:v>29.11.2006</c:v>
                </c:pt>
                <c:pt idx="4528">
                  <c:v>28.11.2006</c:v>
                </c:pt>
                <c:pt idx="4529">
                  <c:v>27.11.2006</c:v>
                </c:pt>
                <c:pt idx="4530">
                  <c:v>24.11.2006</c:v>
                </c:pt>
                <c:pt idx="4531">
                  <c:v>22.11.2006</c:v>
                </c:pt>
                <c:pt idx="4532">
                  <c:v>21.11.2006</c:v>
                </c:pt>
                <c:pt idx="4533">
                  <c:v>20.11.2006</c:v>
                </c:pt>
                <c:pt idx="4534">
                  <c:v>17.11.2006</c:v>
                </c:pt>
                <c:pt idx="4535">
                  <c:v>16.11.2006</c:v>
                </c:pt>
                <c:pt idx="4536">
                  <c:v>15.11.2006</c:v>
                </c:pt>
                <c:pt idx="4537">
                  <c:v>14.11.2006</c:v>
                </c:pt>
                <c:pt idx="4538">
                  <c:v>13.11.2006</c:v>
                </c:pt>
                <c:pt idx="4539">
                  <c:v>10.11.2006</c:v>
                </c:pt>
                <c:pt idx="4540">
                  <c:v>09.11.2006</c:v>
                </c:pt>
                <c:pt idx="4541">
                  <c:v>08.11.2006</c:v>
                </c:pt>
                <c:pt idx="4542">
                  <c:v>07.11.2006</c:v>
                </c:pt>
                <c:pt idx="4543">
                  <c:v>06.11.2006</c:v>
                </c:pt>
                <c:pt idx="4544">
                  <c:v>03.11.2006</c:v>
                </c:pt>
                <c:pt idx="4545">
                  <c:v>02.11.2006</c:v>
                </c:pt>
                <c:pt idx="4546">
                  <c:v>01.11.2006</c:v>
                </c:pt>
                <c:pt idx="4547">
                  <c:v>31.10.2006</c:v>
                </c:pt>
                <c:pt idx="4548">
                  <c:v>30.10.2006</c:v>
                </c:pt>
                <c:pt idx="4549">
                  <c:v>27.10.2006</c:v>
                </c:pt>
                <c:pt idx="4550">
                  <c:v>26.10.2006</c:v>
                </c:pt>
                <c:pt idx="4551">
                  <c:v>25.10.2006</c:v>
                </c:pt>
                <c:pt idx="4552">
                  <c:v>24.10.2006</c:v>
                </c:pt>
                <c:pt idx="4553">
                  <c:v>23.10.2006</c:v>
                </c:pt>
                <c:pt idx="4554">
                  <c:v>20.10.2006</c:v>
                </c:pt>
                <c:pt idx="4555">
                  <c:v>19.10.2006</c:v>
                </c:pt>
                <c:pt idx="4556">
                  <c:v>18.10.2006</c:v>
                </c:pt>
                <c:pt idx="4557">
                  <c:v>17.10.2006</c:v>
                </c:pt>
                <c:pt idx="4558">
                  <c:v>16.10.2006</c:v>
                </c:pt>
                <c:pt idx="4559">
                  <c:v>13.10.2006</c:v>
                </c:pt>
                <c:pt idx="4560">
                  <c:v>12.10.2006</c:v>
                </c:pt>
                <c:pt idx="4561">
                  <c:v>11.10.2006</c:v>
                </c:pt>
                <c:pt idx="4562">
                  <c:v>10.10.2006</c:v>
                </c:pt>
                <c:pt idx="4563">
                  <c:v>09.10.2006</c:v>
                </c:pt>
                <c:pt idx="4564">
                  <c:v>06.10.2006</c:v>
                </c:pt>
                <c:pt idx="4565">
                  <c:v>05.10.2006</c:v>
                </c:pt>
                <c:pt idx="4566">
                  <c:v>04.10.2006</c:v>
                </c:pt>
                <c:pt idx="4567">
                  <c:v>03.10.2006</c:v>
                </c:pt>
                <c:pt idx="4568">
                  <c:v>02.10.2006</c:v>
                </c:pt>
                <c:pt idx="4569">
                  <c:v>29.09.2006</c:v>
                </c:pt>
                <c:pt idx="4570">
                  <c:v>28.09.2006</c:v>
                </c:pt>
                <c:pt idx="4571">
                  <c:v>27.09.2006</c:v>
                </c:pt>
                <c:pt idx="4572">
                  <c:v>26.09.2006</c:v>
                </c:pt>
                <c:pt idx="4573">
                  <c:v>25.09.2006</c:v>
                </c:pt>
                <c:pt idx="4574">
                  <c:v>22.09.2006</c:v>
                </c:pt>
                <c:pt idx="4575">
                  <c:v>21.09.2006</c:v>
                </c:pt>
                <c:pt idx="4576">
                  <c:v>20.09.2006</c:v>
                </c:pt>
                <c:pt idx="4577">
                  <c:v>19.09.2006</c:v>
                </c:pt>
                <c:pt idx="4578">
                  <c:v>18.09.2006</c:v>
                </c:pt>
                <c:pt idx="4579">
                  <c:v>15.09.2006</c:v>
                </c:pt>
                <c:pt idx="4580">
                  <c:v>14.09.2006</c:v>
                </c:pt>
                <c:pt idx="4581">
                  <c:v>13.09.2006</c:v>
                </c:pt>
                <c:pt idx="4582">
                  <c:v>12.09.2006</c:v>
                </c:pt>
                <c:pt idx="4583">
                  <c:v>11.09.2006</c:v>
                </c:pt>
                <c:pt idx="4584">
                  <c:v>08.09.2006</c:v>
                </c:pt>
                <c:pt idx="4585">
                  <c:v>07.09.2006</c:v>
                </c:pt>
                <c:pt idx="4586">
                  <c:v>06.09.2006</c:v>
                </c:pt>
                <c:pt idx="4587">
                  <c:v>05.09.2006</c:v>
                </c:pt>
                <c:pt idx="4588">
                  <c:v>01.09.2006</c:v>
                </c:pt>
                <c:pt idx="4589">
                  <c:v>31.08.2006</c:v>
                </c:pt>
                <c:pt idx="4590">
                  <c:v>30.08.2006</c:v>
                </c:pt>
                <c:pt idx="4591">
                  <c:v>29.08.2006</c:v>
                </c:pt>
                <c:pt idx="4592">
                  <c:v>28.08.2006</c:v>
                </c:pt>
                <c:pt idx="4593">
                  <c:v>25.08.2006</c:v>
                </c:pt>
                <c:pt idx="4594">
                  <c:v>24.08.2006</c:v>
                </c:pt>
                <c:pt idx="4595">
                  <c:v>23.08.2006</c:v>
                </c:pt>
                <c:pt idx="4596">
                  <c:v>22.08.2006</c:v>
                </c:pt>
                <c:pt idx="4597">
                  <c:v>21.08.2006</c:v>
                </c:pt>
                <c:pt idx="4598">
                  <c:v>18.08.2006</c:v>
                </c:pt>
                <c:pt idx="4599">
                  <c:v>17.08.2006</c:v>
                </c:pt>
                <c:pt idx="4600">
                  <c:v>16.08.2006</c:v>
                </c:pt>
                <c:pt idx="4601">
                  <c:v>15.08.2006</c:v>
                </c:pt>
                <c:pt idx="4602">
                  <c:v>14.08.2006</c:v>
                </c:pt>
                <c:pt idx="4603">
                  <c:v>11.08.2006</c:v>
                </c:pt>
                <c:pt idx="4604">
                  <c:v>10.08.2006</c:v>
                </c:pt>
                <c:pt idx="4605">
                  <c:v>09.08.2006</c:v>
                </c:pt>
                <c:pt idx="4606">
                  <c:v>08.08.2006</c:v>
                </c:pt>
                <c:pt idx="4607">
                  <c:v>07.08.2006</c:v>
                </c:pt>
                <c:pt idx="4608">
                  <c:v>04.08.2006</c:v>
                </c:pt>
                <c:pt idx="4609">
                  <c:v>03.08.2006</c:v>
                </c:pt>
                <c:pt idx="4610">
                  <c:v>02.08.2006</c:v>
                </c:pt>
                <c:pt idx="4611">
                  <c:v>01.08.2006</c:v>
                </c:pt>
                <c:pt idx="4612">
                  <c:v>31.07.2006</c:v>
                </c:pt>
                <c:pt idx="4613">
                  <c:v>28.07.2006</c:v>
                </c:pt>
                <c:pt idx="4614">
                  <c:v>27.07.2006</c:v>
                </c:pt>
                <c:pt idx="4615">
                  <c:v>26.07.2006</c:v>
                </c:pt>
                <c:pt idx="4616">
                  <c:v>25.07.2006</c:v>
                </c:pt>
                <c:pt idx="4617">
                  <c:v>24.07.2006</c:v>
                </c:pt>
                <c:pt idx="4618">
                  <c:v>21.07.2006</c:v>
                </c:pt>
                <c:pt idx="4619">
                  <c:v>20.07.2006</c:v>
                </c:pt>
                <c:pt idx="4620">
                  <c:v>19.07.2006</c:v>
                </c:pt>
                <c:pt idx="4621">
                  <c:v>18.07.2006</c:v>
                </c:pt>
                <c:pt idx="4622">
                  <c:v>17.07.2006</c:v>
                </c:pt>
                <c:pt idx="4623">
                  <c:v>14.07.2006</c:v>
                </c:pt>
                <c:pt idx="4624">
                  <c:v>13.07.2006</c:v>
                </c:pt>
                <c:pt idx="4625">
                  <c:v>12.07.2006</c:v>
                </c:pt>
                <c:pt idx="4626">
                  <c:v>11.07.2006</c:v>
                </c:pt>
                <c:pt idx="4627">
                  <c:v>10.07.2006</c:v>
                </c:pt>
                <c:pt idx="4628">
                  <c:v>07.07.2006</c:v>
                </c:pt>
                <c:pt idx="4629">
                  <c:v>06.07.2006</c:v>
                </c:pt>
                <c:pt idx="4630">
                  <c:v>05.07.2006</c:v>
                </c:pt>
                <c:pt idx="4631">
                  <c:v>03.07.2006</c:v>
                </c:pt>
                <c:pt idx="4632">
                  <c:v>30.06.2006</c:v>
                </c:pt>
                <c:pt idx="4633">
                  <c:v>29.06.2006</c:v>
                </c:pt>
                <c:pt idx="4634">
                  <c:v>28.06.2006</c:v>
                </c:pt>
                <c:pt idx="4635">
                  <c:v>27.06.2006</c:v>
                </c:pt>
                <c:pt idx="4636">
                  <c:v>26.06.2006</c:v>
                </c:pt>
                <c:pt idx="4637">
                  <c:v>23.06.2006</c:v>
                </c:pt>
                <c:pt idx="4638">
                  <c:v>22.06.2006</c:v>
                </c:pt>
                <c:pt idx="4639">
                  <c:v>21.06.2006</c:v>
                </c:pt>
                <c:pt idx="4640">
                  <c:v>20.06.2006</c:v>
                </c:pt>
                <c:pt idx="4641">
                  <c:v>19.06.2006</c:v>
                </c:pt>
                <c:pt idx="4642">
                  <c:v>16.06.2006</c:v>
                </c:pt>
                <c:pt idx="4643">
                  <c:v>15.06.2006</c:v>
                </c:pt>
                <c:pt idx="4644">
                  <c:v>14.06.2006</c:v>
                </c:pt>
                <c:pt idx="4645">
                  <c:v>13.06.2006</c:v>
                </c:pt>
                <c:pt idx="4646">
                  <c:v>12.06.2006</c:v>
                </c:pt>
                <c:pt idx="4647">
                  <c:v>09.06.2006</c:v>
                </c:pt>
                <c:pt idx="4648">
                  <c:v>08.06.2006</c:v>
                </c:pt>
                <c:pt idx="4649">
                  <c:v>07.06.2006</c:v>
                </c:pt>
                <c:pt idx="4650">
                  <c:v>06.06.2006</c:v>
                </c:pt>
                <c:pt idx="4651">
                  <c:v>05.06.2006</c:v>
                </c:pt>
                <c:pt idx="4652">
                  <c:v>02.06.2006</c:v>
                </c:pt>
                <c:pt idx="4653">
                  <c:v>01.06.2006</c:v>
                </c:pt>
                <c:pt idx="4654">
                  <c:v>31.05.2006</c:v>
                </c:pt>
                <c:pt idx="4655">
                  <c:v>30.05.2006</c:v>
                </c:pt>
                <c:pt idx="4656">
                  <c:v>26.05.2006</c:v>
                </c:pt>
                <c:pt idx="4657">
                  <c:v>25.05.2006</c:v>
                </c:pt>
                <c:pt idx="4658">
                  <c:v>24.05.2006</c:v>
                </c:pt>
                <c:pt idx="4659">
                  <c:v>23.05.2006</c:v>
                </c:pt>
                <c:pt idx="4660">
                  <c:v>22.05.2006</c:v>
                </c:pt>
                <c:pt idx="4661">
                  <c:v>19.05.2006</c:v>
                </c:pt>
                <c:pt idx="4662">
                  <c:v>18.05.2006</c:v>
                </c:pt>
                <c:pt idx="4663">
                  <c:v>17.05.2006</c:v>
                </c:pt>
                <c:pt idx="4664">
                  <c:v>16.05.2006</c:v>
                </c:pt>
                <c:pt idx="4665">
                  <c:v>15.05.2006</c:v>
                </c:pt>
                <c:pt idx="4666">
                  <c:v>12.05.2006</c:v>
                </c:pt>
                <c:pt idx="4667">
                  <c:v>11.05.2006</c:v>
                </c:pt>
                <c:pt idx="4668">
                  <c:v>10.05.2006</c:v>
                </c:pt>
                <c:pt idx="4669">
                  <c:v>09.05.2006</c:v>
                </c:pt>
                <c:pt idx="4670">
                  <c:v>08.05.2006</c:v>
                </c:pt>
                <c:pt idx="4671">
                  <c:v>05.05.2006</c:v>
                </c:pt>
                <c:pt idx="4672">
                  <c:v>04.05.2006</c:v>
                </c:pt>
                <c:pt idx="4673">
                  <c:v>03.05.2006</c:v>
                </c:pt>
                <c:pt idx="4674">
                  <c:v>02.05.2006</c:v>
                </c:pt>
                <c:pt idx="4675">
                  <c:v>01.05.2006</c:v>
                </c:pt>
                <c:pt idx="4676">
                  <c:v>28.04.2006</c:v>
                </c:pt>
                <c:pt idx="4677">
                  <c:v>27.04.2006</c:v>
                </c:pt>
                <c:pt idx="4678">
                  <c:v>26.04.2006</c:v>
                </c:pt>
                <c:pt idx="4679">
                  <c:v>25.04.2006</c:v>
                </c:pt>
                <c:pt idx="4680">
                  <c:v>24.04.2006</c:v>
                </c:pt>
                <c:pt idx="4681">
                  <c:v>21.04.2006</c:v>
                </c:pt>
                <c:pt idx="4682">
                  <c:v>20.04.2006</c:v>
                </c:pt>
                <c:pt idx="4683">
                  <c:v>19.04.2006</c:v>
                </c:pt>
                <c:pt idx="4684">
                  <c:v>18.04.2006</c:v>
                </c:pt>
                <c:pt idx="4685">
                  <c:v>17.04.2006</c:v>
                </c:pt>
                <c:pt idx="4686">
                  <c:v>13.04.2006</c:v>
                </c:pt>
                <c:pt idx="4687">
                  <c:v>12.04.2006</c:v>
                </c:pt>
                <c:pt idx="4688">
                  <c:v>11.04.2006</c:v>
                </c:pt>
                <c:pt idx="4689">
                  <c:v>10.04.2006</c:v>
                </c:pt>
                <c:pt idx="4690">
                  <c:v>07.04.2006</c:v>
                </c:pt>
                <c:pt idx="4691">
                  <c:v>06.04.2006</c:v>
                </c:pt>
                <c:pt idx="4692">
                  <c:v>05.04.2006</c:v>
                </c:pt>
                <c:pt idx="4693">
                  <c:v>04.04.2006</c:v>
                </c:pt>
                <c:pt idx="4694">
                  <c:v>03.04.2006</c:v>
                </c:pt>
                <c:pt idx="4695">
                  <c:v>31.03.2006</c:v>
                </c:pt>
                <c:pt idx="4696">
                  <c:v>30.03.2006</c:v>
                </c:pt>
                <c:pt idx="4697">
                  <c:v>29.03.2006</c:v>
                </c:pt>
                <c:pt idx="4698">
                  <c:v>28.03.2006</c:v>
                </c:pt>
                <c:pt idx="4699">
                  <c:v>27.03.2006</c:v>
                </c:pt>
                <c:pt idx="4700">
                  <c:v>24.03.2006</c:v>
                </c:pt>
                <c:pt idx="4701">
                  <c:v>23.03.2006</c:v>
                </c:pt>
                <c:pt idx="4702">
                  <c:v>22.03.2006</c:v>
                </c:pt>
                <c:pt idx="4703">
                  <c:v>21.03.2006</c:v>
                </c:pt>
                <c:pt idx="4704">
                  <c:v>20.03.2006</c:v>
                </c:pt>
                <c:pt idx="4705">
                  <c:v>17.03.2006</c:v>
                </c:pt>
                <c:pt idx="4706">
                  <c:v>16.03.2006</c:v>
                </c:pt>
                <c:pt idx="4707">
                  <c:v>15.03.2006</c:v>
                </c:pt>
                <c:pt idx="4708">
                  <c:v>14.03.2006</c:v>
                </c:pt>
                <c:pt idx="4709">
                  <c:v>13.03.2006</c:v>
                </c:pt>
                <c:pt idx="4710">
                  <c:v>10.03.2006</c:v>
                </c:pt>
                <c:pt idx="4711">
                  <c:v>09.03.2006</c:v>
                </c:pt>
                <c:pt idx="4712">
                  <c:v>08.03.2006</c:v>
                </c:pt>
                <c:pt idx="4713">
                  <c:v>07.03.2006</c:v>
                </c:pt>
                <c:pt idx="4714">
                  <c:v>06.03.2006</c:v>
                </c:pt>
                <c:pt idx="4715">
                  <c:v>03.03.2006</c:v>
                </c:pt>
                <c:pt idx="4716">
                  <c:v>02.03.2006</c:v>
                </c:pt>
                <c:pt idx="4717">
                  <c:v>01.03.2006</c:v>
                </c:pt>
                <c:pt idx="4718">
                  <c:v>28.02.2006</c:v>
                </c:pt>
                <c:pt idx="4719">
                  <c:v>27.02.2006</c:v>
                </c:pt>
                <c:pt idx="4720">
                  <c:v>24.02.2006</c:v>
                </c:pt>
                <c:pt idx="4721">
                  <c:v>23.02.2006</c:v>
                </c:pt>
                <c:pt idx="4722">
                  <c:v>22.02.2006</c:v>
                </c:pt>
                <c:pt idx="4723">
                  <c:v>21.02.2006</c:v>
                </c:pt>
                <c:pt idx="4724">
                  <c:v>17.02.2006</c:v>
                </c:pt>
                <c:pt idx="4725">
                  <c:v>16.02.2006</c:v>
                </c:pt>
                <c:pt idx="4726">
                  <c:v>15.02.2006</c:v>
                </c:pt>
                <c:pt idx="4727">
                  <c:v>14.02.2006</c:v>
                </c:pt>
                <c:pt idx="4728">
                  <c:v>13.02.2006</c:v>
                </c:pt>
                <c:pt idx="4729">
                  <c:v>10.02.2006</c:v>
                </c:pt>
                <c:pt idx="4730">
                  <c:v>09.02.2006</c:v>
                </c:pt>
                <c:pt idx="4731">
                  <c:v>08.02.2006</c:v>
                </c:pt>
                <c:pt idx="4732">
                  <c:v>07.02.2006</c:v>
                </c:pt>
                <c:pt idx="4733">
                  <c:v>06.02.2006</c:v>
                </c:pt>
                <c:pt idx="4734">
                  <c:v>03.02.2006</c:v>
                </c:pt>
                <c:pt idx="4735">
                  <c:v>02.02.2006</c:v>
                </c:pt>
                <c:pt idx="4736">
                  <c:v>01.02.2006</c:v>
                </c:pt>
                <c:pt idx="4737">
                  <c:v>31.01.2006</c:v>
                </c:pt>
                <c:pt idx="4738">
                  <c:v>30.01.2006</c:v>
                </c:pt>
                <c:pt idx="4739">
                  <c:v>27.01.2006</c:v>
                </c:pt>
                <c:pt idx="4740">
                  <c:v>26.01.2006</c:v>
                </c:pt>
                <c:pt idx="4741">
                  <c:v>25.01.2006</c:v>
                </c:pt>
                <c:pt idx="4742">
                  <c:v>24.01.2006</c:v>
                </c:pt>
                <c:pt idx="4743">
                  <c:v>23.01.2006</c:v>
                </c:pt>
                <c:pt idx="4744">
                  <c:v>20.01.2006</c:v>
                </c:pt>
                <c:pt idx="4745">
                  <c:v>19.01.2006</c:v>
                </c:pt>
                <c:pt idx="4746">
                  <c:v>18.01.2006</c:v>
                </c:pt>
                <c:pt idx="4747">
                  <c:v>17.01.2006</c:v>
                </c:pt>
                <c:pt idx="4748">
                  <c:v>13.01.2006</c:v>
                </c:pt>
                <c:pt idx="4749">
                  <c:v>12.01.2006</c:v>
                </c:pt>
                <c:pt idx="4750">
                  <c:v>11.01.2006</c:v>
                </c:pt>
                <c:pt idx="4751">
                  <c:v>10.01.2006</c:v>
                </c:pt>
                <c:pt idx="4752">
                  <c:v>09.01.2006</c:v>
                </c:pt>
                <c:pt idx="4753">
                  <c:v>06.01.2006</c:v>
                </c:pt>
                <c:pt idx="4754">
                  <c:v>05.01.2006</c:v>
                </c:pt>
                <c:pt idx="4755">
                  <c:v>04.01.2006</c:v>
                </c:pt>
                <c:pt idx="4756">
                  <c:v>03.01.2006</c:v>
                </c:pt>
                <c:pt idx="4757">
                  <c:v>30.12.2005</c:v>
                </c:pt>
                <c:pt idx="4758">
                  <c:v>29.12.2005</c:v>
                </c:pt>
                <c:pt idx="4759">
                  <c:v>28.12.2005</c:v>
                </c:pt>
                <c:pt idx="4760">
                  <c:v>27.12.2005</c:v>
                </c:pt>
                <c:pt idx="4761">
                  <c:v>23.12.2005</c:v>
                </c:pt>
                <c:pt idx="4762">
                  <c:v>22.12.2005</c:v>
                </c:pt>
                <c:pt idx="4763">
                  <c:v>21.12.2005</c:v>
                </c:pt>
                <c:pt idx="4764">
                  <c:v>20.12.2005</c:v>
                </c:pt>
                <c:pt idx="4765">
                  <c:v>19.12.2005</c:v>
                </c:pt>
                <c:pt idx="4766">
                  <c:v>16.12.2005</c:v>
                </c:pt>
                <c:pt idx="4767">
                  <c:v>15.12.2005</c:v>
                </c:pt>
                <c:pt idx="4768">
                  <c:v>14.12.2005</c:v>
                </c:pt>
                <c:pt idx="4769">
                  <c:v>13.12.2005</c:v>
                </c:pt>
                <c:pt idx="4770">
                  <c:v>12.12.2005</c:v>
                </c:pt>
                <c:pt idx="4771">
                  <c:v>09.12.2005</c:v>
                </c:pt>
                <c:pt idx="4772">
                  <c:v>08.12.2005</c:v>
                </c:pt>
                <c:pt idx="4773">
                  <c:v>07.12.2005</c:v>
                </c:pt>
                <c:pt idx="4774">
                  <c:v>06.12.2005</c:v>
                </c:pt>
                <c:pt idx="4775">
                  <c:v>05.12.2005</c:v>
                </c:pt>
                <c:pt idx="4776">
                  <c:v>02.12.2005</c:v>
                </c:pt>
                <c:pt idx="4777">
                  <c:v>01.12.2005</c:v>
                </c:pt>
                <c:pt idx="4778">
                  <c:v>30.11.2005</c:v>
                </c:pt>
                <c:pt idx="4779">
                  <c:v>29.11.2005</c:v>
                </c:pt>
                <c:pt idx="4780">
                  <c:v>28.11.2005</c:v>
                </c:pt>
                <c:pt idx="4781">
                  <c:v>25.11.2005</c:v>
                </c:pt>
                <c:pt idx="4782">
                  <c:v>23.11.2005</c:v>
                </c:pt>
                <c:pt idx="4783">
                  <c:v>22.11.2005</c:v>
                </c:pt>
                <c:pt idx="4784">
                  <c:v>21.11.2005</c:v>
                </c:pt>
                <c:pt idx="4785">
                  <c:v>18.11.2005</c:v>
                </c:pt>
                <c:pt idx="4786">
                  <c:v>17.11.2005</c:v>
                </c:pt>
                <c:pt idx="4787">
                  <c:v>16.11.2005</c:v>
                </c:pt>
                <c:pt idx="4788">
                  <c:v>15.11.2005</c:v>
                </c:pt>
                <c:pt idx="4789">
                  <c:v>14.11.2005</c:v>
                </c:pt>
                <c:pt idx="4790">
                  <c:v>11.11.2005</c:v>
                </c:pt>
                <c:pt idx="4791">
                  <c:v>10.11.2005</c:v>
                </c:pt>
                <c:pt idx="4792">
                  <c:v>09.11.2005</c:v>
                </c:pt>
                <c:pt idx="4793">
                  <c:v>08.11.2005</c:v>
                </c:pt>
                <c:pt idx="4794">
                  <c:v>07.11.2005</c:v>
                </c:pt>
                <c:pt idx="4795">
                  <c:v>04.11.2005</c:v>
                </c:pt>
                <c:pt idx="4796">
                  <c:v>03.11.2005</c:v>
                </c:pt>
                <c:pt idx="4797">
                  <c:v>02.11.2005</c:v>
                </c:pt>
                <c:pt idx="4798">
                  <c:v>01.11.2005</c:v>
                </c:pt>
                <c:pt idx="4799">
                  <c:v>31.10.2005</c:v>
                </c:pt>
                <c:pt idx="4800">
                  <c:v>28.10.2005</c:v>
                </c:pt>
                <c:pt idx="4801">
                  <c:v>27.10.2005</c:v>
                </c:pt>
                <c:pt idx="4802">
                  <c:v>26.10.2005</c:v>
                </c:pt>
                <c:pt idx="4803">
                  <c:v>25.10.2005</c:v>
                </c:pt>
                <c:pt idx="4804">
                  <c:v>24.10.2005</c:v>
                </c:pt>
                <c:pt idx="4805">
                  <c:v>21.10.2005</c:v>
                </c:pt>
                <c:pt idx="4806">
                  <c:v>20.10.2005</c:v>
                </c:pt>
                <c:pt idx="4807">
                  <c:v>19.10.2005</c:v>
                </c:pt>
                <c:pt idx="4808">
                  <c:v>18.10.2005</c:v>
                </c:pt>
                <c:pt idx="4809">
                  <c:v>17.10.2005</c:v>
                </c:pt>
                <c:pt idx="4810">
                  <c:v>14.10.2005</c:v>
                </c:pt>
                <c:pt idx="4811">
                  <c:v>13.10.2005</c:v>
                </c:pt>
                <c:pt idx="4812">
                  <c:v>12.10.2005</c:v>
                </c:pt>
                <c:pt idx="4813">
                  <c:v>11.10.2005</c:v>
                </c:pt>
                <c:pt idx="4814">
                  <c:v>10.10.2005</c:v>
                </c:pt>
                <c:pt idx="4815">
                  <c:v>07.10.2005</c:v>
                </c:pt>
                <c:pt idx="4816">
                  <c:v>06.10.2005</c:v>
                </c:pt>
                <c:pt idx="4817">
                  <c:v>05.10.2005</c:v>
                </c:pt>
                <c:pt idx="4818">
                  <c:v>04.10.2005</c:v>
                </c:pt>
                <c:pt idx="4819">
                  <c:v>03.10.2005</c:v>
                </c:pt>
                <c:pt idx="4820">
                  <c:v>30.09.2005</c:v>
                </c:pt>
                <c:pt idx="4821">
                  <c:v>29.09.2005</c:v>
                </c:pt>
                <c:pt idx="4822">
                  <c:v>28.09.2005</c:v>
                </c:pt>
                <c:pt idx="4823">
                  <c:v>27.09.2005</c:v>
                </c:pt>
                <c:pt idx="4824">
                  <c:v>26.09.2005</c:v>
                </c:pt>
                <c:pt idx="4825">
                  <c:v>23.09.2005</c:v>
                </c:pt>
                <c:pt idx="4826">
                  <c:v>22.09.2005</c:v>
                </c:pt>
                <c:pt idx="4827">
                  <c:v>21.09.2005</c:v>
                </c:pt>
                <c:pt idx="4828">
                  <c:v>20.09.2005</c:v>
                </c:pt>
                <c:pt idx="4829">
                  <c:v>19.09.2005</c:v>
                </c:pt>
                <c:pt idx="4830">
                  <c:v>16.09.2005</c:v>
                </c:pt>
                <c:pt idx="4831">
                  <c:v>15.09.2005</c:v>
                </c:pt>
                <c:pt idx="4832">
                  <c:v>14.09.2005</c:v>
                </c:pt>
                <c:pt idx="4833">
                  <c:v>13.09.2005</c:v>
                </c:pt>
                <c:pt idx="4834">
                  <c:v>12.09.2005</c:v>
                </c:pt>
                <c:pt idx="4835">
                  <c:v>09.09.2005</c:v>
                </c:pt>
                <c:pt idx="4836">
                  <c:v>08.09.2005</c:v>
                </c:pt>
                <c:pt idx="4837">
                  <c:v>07.09.2005</c:v>
                </c:pt>
                <c:pt idx="4838">
                  <c:v>06.09.2005</c:v>
                </c:pt>
                <c:pt idx="4839">
                  <c:v>02.09.2005</c:v>
                </c:pt>
                <c:pt idx="4840">
                  <c:v>01.09.2005</c:v>
                </c:pt>
                <c:pt idx="4841">
                  <c:v>31.08.2005</c:v>
                </c:pt>
                <c:pt idx="4842">
                  <c:v>30.08.2005</c:v>
                </c:pt>
                <c:pt idx="4843">
                  <c:v>29.08.2005</c:v>
                </c:pt>
                <c:pt idx="4844">
                  <c:v>26.08.2005</c:v>
                </c:pt>
                <c:pt idx="4845">
                  <c:v>25.08.2005</c:v>
                </c:pt>
                <c:pt idx="4846">
                  <c:v>24.08.2005</c:v>
                </c:pt>
                <c:pt idx="4847">
                  <c:v>23.08.2005</c:v>
                </c:pt>
                <c:pt idx="4848">
                  <c:v>22.08.2005</c:v>
                </c:pt>
                <c:pt idx="4849">
                  <c:v>19.08.2005</c:v>
                </c:pt>
                <c:pt idx="4850">
                  <c:v>18.08.2005</c:v>
                </c:pt>
                <c:pt idx="4851">
                  <c:v>17.08.2005</c:v>
                </c:pt>
                <c:pt idx="4852">
                  <c:v>16.08.2005</c:v>
                </c:pt>
                <c:pt idx="4853">
                  <c:v>15.08.2005</c:v>
                </c:pt>
                <c:pt idx="4854">
                  <c:v>12.08.2005</c:v>
                </c:pt>
                <c:pt idx="4855">
                  <c:v>11.08.2005</c:v>
                </c:pt>
                <c:pt idx="4856">
                  <c:v>10.08.2005</c:v>
                </c:pt>
                <c:pt idx="4857">
                  <c:v>09.08.2005</c:v>
                </c:pt>
                <c:pt idx="4858">
                  <c:v>08.08.2005</c:v>
                </c:pt>
                <c:pt idx="4859">
                  <c:v>05.08.2005</c:v>
                </c:pt>
                <c:pt idx="4860">
                  <c:v>04.08.2005</c:v>
                </c:pt>
                <c:pt idx="4861">
                  <c:v>03.08.2005</c:v>
                </c:pt>
                <c:pt idx="4862">
                  <c:v>02.08.2005</c:v>
                </c:pt>
                <c:pt idx="4863">
                  <c:v>01.08.2005</c:v>
                </c:pt>
                <c:pt idx="4864">
                  <c:v>29.07.2005</c:v>
                </c:pt>
                <c:pt idx="4865">
                  <c:v>28.07.2005</c:v>
                </c:pt>
                <c:pt idx="4866">
                  <c:v>27.07.2005</c:v>
                </c:pt>
                <c:pt idx="4867">
                  <c:v>26.07.2005</c:v>
                </c:pt>
                <c:pt idx="4868">
                  <c:v>25.07.2005</c:v>
                </c:pt>
                <c:pt idx="4869">
                  <c:v>22.07.2005</c:v>
                </c:pt>
                <c:pt idx="4870">
                  <c:v>21.07.2005</c:v>
                </c:pt>
                <c:pt idx="4871">
                  <c:v>20.07.2005</c:v>
                </c:pt>
                <c:pt idx="4872">
                  <c:v>19.07.2005</c:v>
                </c:pt>
                <c:pt idx="4873">
                  <c:v>18.07.2005</c:v>
                </c:pt>
                <c:pt idx="4874">
                  <c:v>15.07.2005</c:v>
                </c:pt>
                <c:pt idx="4875">
                  <c:v>14.07.2005</c:v>
                </c:pt>
                <c:pt idx="4876">
                  <c:v>13.07.2005</c:v>
                </c:pt>
                <c:pt idx="4877">
                  <c:v>12.07.2005</c:v>
                </c:pt>
                <c:pt idx="4878">
                  <c:v>11.07.2005</c:v>
                </c:pt>
                <c:pt idx="4879">
                  <c:v>08.07.2005</c:v>
                </c:pt>
                <c:pt idx="4880">
                  <c:v>07.07.2005</c:v>
                </c:pt>
                <c:pt idx="4881">
                  <c:v>06.07.2005</c:v>
                </c:pt>
                <c:pt idx="4882">
                  <c:v>05.07.2005</c:v>
                </c:pt>
                <c:pt idx="4883">
                  <c:v>01.07.2005</c:v>
                </c:pt>
                <c:pt idx="4884">
                  <c:v>30.06.2005</c:v>
                </c:pt>
                <c:pt idx="4885">
                  <c:v>29.06.2005</c:v>
                </c:pt>
                <c:pt idx="4886">
                  <c:v>28.06.2005</c:v>
                </c:pt>
                <c:pt idx="4887">
                  <c:v>27.06.2005</c:v>
                </c:pt>
                <c:pt idx="4888">
                  <c:v>24.06.2005</c:v>
                </c:pt>
                <c:pt idx="4889">
                  <c:v>23.06.2005</c:v>
                </c:pt>
                <c:pt idx="4890">
                  <c:v>22.06.2005</c:v>
                </c:pt>
                <c:pt idx="4891">
                  <c:v>21.06.2005</c:v>
                </c:pt>
                <c:pt idx="4892">
                  <c:v>20.06.2005</c:v>
                </c:pt>
                <c:pt idx="4893">
                  <c:v>17.06.2005</c:v>
                </c:pt>
                <c:pt idx="4894">
                  <c:v>16.06.2005</c:v>
                </c:pt>
                <c:pt idx="4895">
                  <c:v>15.06.2005</c:v>
                </c:pt>
                <c:pt idx="4896">
                  <c:v>14.06.2005</c:v>
                </c:pt>
                <c:pt idx="4897">
                  <c:v>13.06.2005</c:v>
                </c:pt>
                <c:pt idx="4898">
                  <c:v>10.06.2005</c:v>
                </c:pt>
                <c:pt idx="4899">
                  <c:v>09.06.2005</c:v>
                </c:pt>
                <c:pt idx="4900">
                  <c:v>08.06.2005</c:v>
                </c:pt>
                <c:pt idx="4901">
                  <c:v>07.06.2005</c:v>
                </c:pt>
                <c:pt idx="4902">
                  <c:v>06.06.2005</c:v>
                </c:pt>
                <c:pt idx="4903">
                  <c:v>03.06.2005</c:v>
                </c:pt>
                <c:pt idx="4904">
                  <c:v>02.06.2005</c:v>
                </c:pt>
                <c:pt idx="4905">
                  <c:v>01.06.2005</c:v>
                </c:pt>
                <c:pt idx="4906">
                  <c:v>31.05.2005</c:v>
                </c:pt>
                <c:pt idx="4907">
                  <c:v>27.05.2005</c:v>
                </c:pt>
                <c:pt idx="4908">
                  <c:v>26.05.2005</c:v>
                </c:pt>
                <c:pt idx="4909">
                  <c:v>25.05.2005</c:v>
                </c:pt>
                <c:pt idx="4910">
                  <c:v>24.05.2005</c:v>
                </c:pt>
                <c:pt idx="4911">
                  <c:v>23.05.2005</c:v>
                </c:pt>
                <c:pt idx="4912">
                  <c:v>20.05.2005</c:v>
                </c:pt>
                <c:pt idx="4913">
                  <c:v>19.05.2005</c:v>
                </c:pt>
                <c:pt idx="4914">
                  <c:v>18.05.2005</c:v>
                </c:pt>
                <c:pt idx="4915">
                  <c:v>17.05.2005</c:v>
                </c:pt>
                <c:pt idx="4916">
                  <c:v>16.05.2005</c:v>
                </c:pt>
                <c:pt idx="4917">
                  <c:v>13.05.2005</c:v>
                </c:pt>
                <c:pt idx="4918">
                  <c:v>12.05.2005</c:v>
                </c:pt>
                <c:pt idx="4919">
                  <c:v>11.05.2005</c:v>
                </c:pt>
                <c:pt idx="4920">
                  <c:v>10.05.2005</c:v>
                </c:pt>
                <c:pt idx="4921">
                  <c:v>09.05.2005</c:v>
                </c:pt>
                <c:pt idx="4922">
                  <c:v>06.05.2005</c:v>
                </c:pt>
                <c:pt idx="4923">
                  <c:v>05.05.2005</c:v>
                </c:pt>
                <c:pt idx="4924">
                  <c:v>04.05.2005</c:v>
                </c:pt>
                <c:pt idx="4925">
                  <c:v>03.05.2005</c:v>
                </c:pt>
                <c:pt idx="4926">
                  <c:v>02.05.2005</c:v>
                </c:pt>
                <c:pt idx="4927">
                  <c:v>29.04.2005</c:v>
                </c:pt>
                <c:pt idx="4928">
                  <c:v>28.04.2005</c:v>
                </c:pt>
                <c:pt idx="4929">
                  <c:v>27.04.2005</c:v>
                </c:pt>
                <c:pt idx="4930">
                  <c:v>26.04.2005</c:v>
                </c:pt>
                <c:pt idx="4931">
                  <c:v>25.04.2005</c:v>
                </c:pt>
                <c:pt idx="4932">
                  <c:v>22.04.2005</c:v>
                </c:pt>
                <c:pt idx="4933">
                  <c:v>21.04.2005</c:v>
                </c:pt>
                <c:pt idx="4934">
                  <c:v>20.04.2005</c:v>
                </c:pt>
                <c:pt idx="4935">
                  <c:v>19.04.2005</c:v>
                </c:pt>
                <c:pt idx="4936">
                  <c:v>18.04.2005</c:v>
                </c:pt>
                <c:pt idx="4937">
                  <c:v>15.04.2005</c:v>
                </c:pt>
                <c:pt idx="4938">
                  <c:v>14.04.2005</c:v>
                </c:pt>
                <c:pt idx="4939">
                  <c:v>13.04.2005</c:v>
                </c:pt>
                <c:pt idx="4940">
                  <c:v>12.04.2005</c:v>
                </c:pt>
                <c:pt idx="4941">
                  <c:v>11.04.2005</c:v>
                </c:pt>
                <c:pt idx="4942">
                  <c:v>08.04.2005</c:v>
                </c:pt>
                <c:pt idx="4943">
                  <c:v>07.04.2005</c:v>
                </c:pt>
                <c:pt idx="4944">
                  <c:v>06.04.2005</c:v>
                </c:pt>
                <c:pt idx="4945">
                  <c:v>05.04.2005</c:v>
                </c:pt>
                <c:pt idx="4946">
                  <c:v>04.04.2005</c:v>
                </c:pt>
                <c:pt idx="4947">
                  <c:v>01.04.2005</c:v>
                </c:pt>
                <c:pt idx="4948">
                  <c:v>31.03.2005</c:v>
                </c:pt>
                <c:pt idx="4949">
                  <c:v>30.03.2005</c:v>
                </c:pt>
                <c:pt idx="4950">
                  <c:v>29.03.2005</c:v>
                </c:pt>
                <c:pt idx="4951">
                  <c:v>28.03.2005</c:v>
                </c:pt>
                <c:pt idx="4952">
                  <c:v>24.03.2005</c:v>
                </c:pt>
                <c:pt idx="4953">
                  <c:v>23.03.2005</c:v>
                </c:pt>
                <c:pt idx="4954">
                  <c:v>22.03.2005</c:v>
                </c:pt>
                <c:pt idx="4955">
                  <c:v>21.03.2005</c:v>
                </c:pt>
                <c:pt idx="4956">
                  <c:v>18.03.2005</c:v>
                </c:pt>
                <c:pt idx="4957">
                  <c:v>17.03.2005</c:v>
                </c:pt>
                <c:pt idx="4958">
                  <c:v>16.03.2005</c:v>
                </c:pt>
                <c:pt idx="4959">
                  <c:v>15.03.2005</c:v>
                </c:pt>
                <c:pt idx="4960">
                  <c:v>14.03.2005</c:v>
                </c:pt>
                <c:pt idx="4961">
                  <c:v>11.03.2005</c:v>
                </c:pt>
                <c:pt idx="4962">
                  <c:v>10.03.2005</c:v>
                </c:pt>
                <c:pt idx="4963">
                  <c:v>09.03.2005</c:v>
                </c:pt>
                <c:pt idx="4964">
                  <c:v>08.03.2005</c:v>
                </c:pt>
                <c:pt idx="4965">
                  <c:v>07.03.2005</c:v>
                </c:pt>
                <c:pt idx="4966">
                  <c:v>04.03.2005</c:v>
                </c:pt>
                <c:pt idx="4967">
                  <c:v>03.03.2005</c:v>
                </c:pt>
                <c:pt idx="4968">
                  <c:v>02.03.2005</c:v>
                </c:pt>
                <c:pt idx="4969">
                  <c:v>01.03.2005</c:v>
                </c:pt>
                <c:pt idx="4970">
                  <c:v>28.02.2005</c:v>
                </c:pt>
                <c:pt idx="4971">
                  <c:v>25.02.2005</c:v>
                </c:pt>
                <c:pt idx="4972">
                  <c:v>24.02.2005</c:v>
                </c:pt>
                <c:pt idx="4973">
                  <c:v>23.02.2005</c:v>
                </c:pt>
                <c:pt idx="4974">
                  <c:v>22.02.2005</c:v>
                </c:pt>
                <c:pt idx="4975">
                  <c:v>18.02.2005</c:v>
                </c:pt>
                <c:pt idx="4976">
                  <c:v>17.02.2005</c:v>
                </c:pt>
                <c:pt idx="4977">
                  <c:v>16.02.2005</c:v>
                </c:pt>
                <c:pt idx="4978">
                  <c:v>15.02.2005</c:v>
                </c:pt>
                <c:pt idx="4979">
                  <c:v>14.02.2005</c:v>
                </c:pt>
                <c:pt idx="4980">
                  <c:v>11.02.2005</c:v>
                </c:pt>
                <c:pt idx="4981">
                  <c:v>10.02.2005</c:v>
                </c:pt>
                <c:pt idx="4982">
                  <c:v>09.02.2005</c:v>
                </c:pt>
                <c:pt idx="4983">
                  <c:v>08.02.2005</c:v>
                </c:pt>
                <c:pt idx="4984">
                  <c:v>07.02.2005</c:v>
                </c:pt>
                <c:pt idx="4985">
                  <c:v>04.02.2005</c:v>
                </c:pt>
                <c:pt idx="4986">
                  <c:v>03.02.2005</c:v>
                </c:pt>
                <c:pt idx="4987">
                  <c:v>02.02.2005</c:v>
                </c:pt>
                <c:pt idx="4988">
                  <c:v>01.02.2005</c:v>
                </c:pt>
                <c:pt idx="4989">
                  <c:v>31.01.2005</c:v>
                </c:pt>
                <c:pt idx="4990">
                  <c:v>28.01.2005</c:v>
                </c:pt>
                <c:pt idx="4991">
                  <c:v>27.01.2005</c:v>
                </c:pt>
                <c:pt idx="4992">
                  <c:v>26.01.2005</c:v>
                </c:pt>
                <c:pt idx="4993">
                  <c:v>25.01.2005</c:v>
                </c:pt>
                <c:pt idx="4994">
                  <c:v>24.01.2005</c:v>
                </c:pt>
                <c:pt idx="4995">
                  <c:v>21.01.2005</c:v>
                </c:pt>
                <c:pt idx="4996">
                  <c:v>20.01.2005</c:v>
                </c:pt>
                <c:pt idx="4997">
                  <c:v>19.01.2005</c:v>
                </c:pt>
                <c:pt idx="4998">
                  <c:v>18.01.2005</c:v>
                </c:pt>
                <c:pt idx="4999">
                  <c:v>14.01.2005</c:v>
                </c:pt>
                <c:pt idx="5000">
                  <c:v>13.01.2005</c:v>
                </c:pt>
                <c:pt idx="5001">
                  <c:v>12.01.2005</c:v>
                </c:pt>
                <c:pt idx="5002">
                  <c:v>11.01.2005</c:v>
                </c:pt>
                <c:pt idx="5003">
                  <c:v>10.01.2005</c:v>
                </c:pt>
                <c:pt idx="5004">
                  <c:v>07.01.2005</c:v>
                </c:pt>
                <c:pt idx="5005">
                  <c:v>06.01.2005</c:v>
                </c:pt>
                <c:pt idx="5006">
                  <c:v>05.01.2005</c:v>
                </c:pt>
                <c:pt idx="5007">
                  <c:v>04.01.2005</c:v>
                </c:pt>
                <c:pt idx="5008">
                  <c:v>03.01.2005</c:v>
                </c:pt>
                <c:pt idx="5009">
                  <c:v>31.12.2004</c:v>
                </c:pt>
                <c:pt idx="5010">
                  <c:v>30.12.2004</c:v>
                </c:pt>
                <c:pt idx="5011">
                  <c:v>29.12.2004</c:v>
                </c:pt>
                <c:pt idx="5012">
                  <c:v>28.12.2004</c:v>
                </c:pt>
                <c:pt idx="5013">
                  <c:v>27.12.2004</c:v>
                </c:pt>
                <c:pt idx="5014">
                  <c:v>23.12.2004</c:v>
                </c:pt>
                <c:pt idx="5015">
                  <c:v>22.12.2004</c:v>
                </c:pt>
                <c:pt idx="5016">
                  <c:v>21.12.2004</c:v>
                </c:pt>
                <c:pt idx="5017">
                  <c:v>20.12.2004</c:v>
                </c:pt>
                <c:pt idx="5018">
                  <c:v>17.12.2004</c:v>
                </c:pt>
                <c:pt idx="5019">
                  <c:v>16.12.2004</c:v>
                </c:pt>
                <c:pt idx="5020">
                  <c:v>15.12.2004</c:v>
                </c:pt>
                <c:pt idx="5021">
                  <c:v>14.12.2004</c:v>
                </c:pt>
                <c:pt idx="5022">
                  <c:v>13.12.2004</c:v>
                </c:pt>
                <c:pt idx="5023">
                  <c:v>10.12.2004</c:v>
                </c:pt>
                <c:pt idx="5024">
                  <c:v>09.12.2004</c:v>
                </c:pt>
                <c:pt idx="5025">
                  <c:v>08.12.2004</c:v>
                </c:pt>
                <c:pt idx="5026">
                  <c:v>07.12.2004</c:v>
                </c:pt>
                <c:pt idx="5027">
                  <c:v>06.12.2004</c:v>
                </c:pt>
                <c:pt idx="5028">
                  <c:v>03.12.2004</c:v>
                </c:pt>
                <c:pt idx="5029">
                  <c:v>02.12.2004</c:v>
                </c:pt>
                <c:pt idx="5030">
                  <c:v>01.12.2004</c:v>
                </c:pt>
                <c:pt idx="5031">
                  <c:v>30.11.2004</c:v>
                </c:pt>
                <c:pt idx="5032">
                  <c:v>29.11.2004</c:v>
                </c:pt>
                <c:pt idx="5033">
                  <c:v>26.11.2004</c:v>
                </c:pt>
                <c:pt idx="5034">
                  <c:v>24.11.2004</c:v>
                </c:pt>
                <c:pt idx="5035">
                  <c:v>23.11.2004</c:v>
                </c:pt>
                <c:pt idx="5036">
                  <c:v>22.11.2004</c:v>
                </c:pt>
                <c:pt idx="5037">
                  <c:v>19.11.2004</c:v>
                </c:pt>
                <c:pt idx="5038">
                  <c:v>18.11.2004</c:v>
                </c:pt>
                <c:pt idx="5039">
                  <c:v>17.11.2004</c:v>
                </c:pt>
                <c:pt idx="5040">
                  <c:v>16.11.2004</c:v>
                </c:pt>
                <c:pt idx="5041">
                  <c:v>15.11.2004</c:v>
                </c:pt>
                <c:pt idx="5042">
                  <c:v>12.11.2004</c:v>
                </c:pt>
                <c:pt idx="5043">
                  <c:v>11.11.2004</c:v>
                </c:pt>
                <c:pt idx="5044">
                  <c:v>10.11.2004</c:v>
                </c:pt>
                <c:pt idx="5045">
                  <c:v>09.11.2004</c:v>
                </c:pt>
                <c:pt idx="5046">
                  <c:v>08.11.2004</c:v>
                </c:pt>
                <c:pt idx="5047">
                  <c:v>05.11.2004</c:v>
                </c:pt>
                <c:pt idx="5048">
                  <c:v>04.11.2004</c:v>
                </c:pt>
                <c:pt idx="5049">
                  <c:v>03.11.2004</c:v>
                </c:pt>
                <c:pt idx="5050">
                  <c:v>02.11.2004</c:v>
                </c:pt>
                <c:pt idx="5051">
                  <c:v>01.11.2004</c:v>
                </c:pt>
                <c:pt idx="5052">
                  <c:v>29.10.2004</c:v>
                </c:pt>
                <c:pt idx="5053">
                  <c:v>28.10.2004</c:v>
                </c:pt>
                <c:pt idx="5054">
                  <c:v>27.10.2004</c:v>
                </c:pt>
                <c:pt idx="5055">
                  <c:v>26.10.2004</c:v>
                </c:pt>
                <c:pt idx="5056">
                  <c:v>25.10.2004</c:v>
                </c:pt>
                <c:pt idx="5057">
                  <c:v>22.10.2004</c:v>
                </c:pt>
                <c:pt idx="5058">
                  <c:v>21.10.2004</c:v>
                </c:pt>
                <c:pt idx="5059">
                  <c:v>20.10.2004</c:v>
                </c:pt>
                <c:pt idx="5060">
                  <c:v>19.10.2004</c:v>
                </c:pt>
                <c:pt idx="5061">
                  <c:v>18.10.2004</c:v>
                </c:pt>
                <c:pt idx="5062">
                  <c:v>15.10.2004</c:v>
                </c:pt>
                <c:pt idx="5063">
                  <c:v>14.10.2004</c:v>
                </c:pt>
                <c:pt idx="5064">
                  <c:v>13.10.2004</c:v>
                </c:pt>
                <c:pt idx="5065">
                  <c:v>12.10.2004</c:v>
                </c:pt>
                <c:pt idx="5066">
                  <c:v>11.10.2004</c:v>
                </c:pt>
                <c:pt idx="5067">
                  <c:v>08.10.2004</c:v>
                </c:pt>
                <c:pt idx="5068">
                  <c:v>07.10.2004</c:v>
                </c:pt>
                <c:pt idx="5069">
                  <c:v>06.10.2004</c:v>
                </c:pt>
                <c:pt idx="5070">
                  <c:v>05.10.2004</c:v>
                </c:pt>
                <c:pt idx="5071">
                  <c:v>04.10.2004</c:v>
                </c:pt>
                <c:pt idx="5072">
                  <c:v>01.10.2004</c:v>
                </c:pt>
                <c:pt idx="5073">
                  <c:v>30.09.2004</c:v>
                </c:pt>
                <c:pt idx="5074">
                  <c:v>29.09.2004</c:v>
                </c:pt>
                <c:pt idx="5075">
                  <c:v>28.09.2004</c:v>
                </c:pt>
                <c:pt idx="5076">
                  <c:v>27.09.2004</c:v>
                </c:pt>
                <c:pt idx="5077">
                  <c:v>24.09.2004</c:v>
                </c:pt>
                <c:pt idx="5078">
                  <c:v>23.09.2004</c:v>
                </c:pt>
                <c:pt idx="5079">
                  <c:v>22.09.2004</c:v>
                </c:pt>
                <c:pt idx="5080">
                  <c:v>21.09.2004</c:v>
                </c:pt>
                <c:pt idx="5081">
                  <c:v>20.09.2004</c:v>
                </c:pt>
                <c:pt idx="5082">
                  <c:v>17.09.2004</c:v>
                </c:pt>
                <c:pt idx="5083">
                  <c:v>16.09.2004</c:v>
                </c:pt>
                <c:pt idx="5084">
                  <c:v>15.09.2004</c:v>
                </c:pt>
                <c:pt idx="5085">
                  <c:v>14.09.2004</c:v>
                </c:pt>
                <c:pt idx="5086">
                  <c:v>13.09.2004</c:v>
                </c:pt>
                <c:pt idx="5087">
                  <c:v>10.09.2004</c:v>
                </c:pt>
                <c:pt idx="5088">
                  <c:v>09.09.2004</c:v>
                </c:pt>
                <c:pt idx="5089">
                  <c:v>08.09.2004</c:v>
                </c:pt>
                <c:pt idx="5090">
                  <c:v>07.09.2004</c:v>
                </c:pt>
                <c:pt idx="5091">
                  <c:v>03.09.2004</c:v>
                </c:pt>
                <c:pt idx="5092">
                  <c:v>02.09.2004</c:v>
                </c:pt>
                <c:pt idx="5093">
                  <c:v>01.09.2004</c:v>
                </c:pt>
                <c:pt idx="5094">
                  <c:v>31.08.2004</c:v>
                </c:pt>
                <c:pt idx="5095">
                  <c:v>30.08.2004</c:v>
                </c:pt>
                <c:pt idx="5096">
                  <c:v>27.08.2004</c:v>
                </c:pt>
                <c:pt idx="5097">
                  <c:v>26.08.2004</c:v>
                </c:pt>
                <c:pt idx="5098">
                  <c:v>25.08.2004</c:v>
                </c:pt>
                <c:pt idx="5099">
                  <c:v>24.08.2004</c:v>
                </c:pt>
                <c:pt idx="5100">
                  <c:v>23.08.2004</c:v>
                </c:pt>
                <c:pt idx="5101">
                  <c:v>20.08.2004</c:v>
                </c:pt>
                <c:pt idx="5102">
                  <c:v>19.08.2004</c:v>
                </c:pt>
                <c:pt idx="5103">
                  <c:v>18.08.2004</c:v>
                </c:pt>
                <c:pt idx="5104">
                  <c:v>17.08.2004</c:v>
                </c:pt>
                <c:pt idx="5105">
                  <c:v>16.08.2004</c:v>
                </c:pt>
                <c:pt idx="5106">
                  <c:v>13.08.2004</c:v>
                </c:pt>
                <c:pt idx="5107">
                  <c:v>12.08.2004</c:v>
                </c:pt>
                <c:pt idx="5108">
                  <c:v>11.08.2004</c:v>
                </c:pt>
                <c:pt idx="5109">
                  <c:v>10.08.2004</c:v>
                </c:pt>
                <c:pt idx="5110">
                  <c:v>09.08.2004</c:v>
                </c:pt>
                <c:pt idx="5111">
                  <c:v>06.08.2004</c:v>
                </c:pt>
                <c:pt idx="5112">
                  <c:v>05.08.2004</c:v>
                </c:pt>
                <c:pt idx="5113">
                  <c:v>04.08.2004</c:v>
                </c:pt>
                <c:pt idx="5114">
                  <c:v>03.08.2004</c:v>
                </c:pt>
                <c:pt idx="5115">
                  <c:v>02.08.2004</c:v>
                </c:pt>
                <c:pt idx="5116">
                  <c:v>30.07.2004</c:v>
                </c:pt>
                <c:pt idx="5117">
                  <c:v>29.07.2004</c:v>
                </c:pt>
                <c:pt idx="5118">
                  <c:v>28.07.2004</c:v>
                </c:pt>
                <c:pt idx="5119">
                  <c:v>27.07.2004</c:v>
                </c:pt>
                <c:pt idx="5120">
                  <c:v>26.07.2004</c:v>
                </c:pt>
                <c:pt idx="5121">
                  <c:v>23.07.2004</c:v>
                </c:pt>
                <c:pt idx="5122">
                  <c:v>22.07.2004</c:v>
                </c:pt>
                <c:pt idx="5123">
                  <c:v>21.07.2004</c:v>
                </c:pt>
                <c:pt idx="5124">
                  <c:v>20.07.2004</c:v>
                </c:pt>
                <c:pt idx="5125">
                  <c:v>19.07.2004</c:v>
                </c:pt>
                <c:pt idx="5126">
                  <c:v>16.07.2004</c:v>
                </c:pt>
                <c:pt idx="5127">
                  <c:v>15.07.2004</c:v>
                </c:pt>
                <c:pt idx="5128">
                  <c:v>14.07.2004</c:v>
                </c:pt>
                <c:pt idx="5129">
                  <c:v>13.07.2004</c:v>
                </c:pt>
                <c:pt idx="5130">
                  <c:v>12.07.2004</c:v>
                </c:pt>
                <c:pt idx="5131">
                  <c:v>09.07.2004</c:v>
                </c:pt>
                <c:pt idx="5132">
                  <c:v>08.07.2004</c:v>
                </c:pt>
                <c:pt idx="5133">
                  <c:v>07.07.2004</c:v>
                </c:pt>
                <c:pt idx="5134">
                  <c:v>06.07.2004</c:v>
                </c:pt>
                <c:pt idx="5135">
                  <c:v>02.07.2004</c:v>
                </c:pt>
                <c:pt idx="5136">
                  <c:v>01.07.2004</c:v>
                </c:pt>
                <c:pt idx="5137">
                  <c:v>30.06.2004</c:v>
                </c:pt>
                <c:pt idx="5138">
                  <c:v>29.06.2004</c:v>
                </c:pt>
                <c:pt idx="5139">
                  <c:v>28.06.2004</c:v>
                </c:pt>
                <c:pt idx="5140">
                  <c:v>25.06.2004</c:v>
                </c:pt>
                <c:pt idx="5141">
                  <c:v>24.06.2004</c:v>
                </c:pt>
                <c:pt idx="5142">
                  <c:v>23.06.2004</c:v>
                </c:pt>
                <c:pt idx="5143">
                  <c:v>22.06.2004</c:v>
                </c:pt>
                <c:pt idx="5144">
                  <c:v>21.06.2004</c:v>
                </c:pt>
                <c:pt idx="5145">
                  <c:v>18.06.2004</c:v>
                </c:pt>
                <c:pt idx="5146">
                  <c:v>17.06.2004</c:v>
                </c:pt>
                <c:pt idx="5147">
                  <c:v>16.06.2004</c:v>
                </c:pt>
                <c:pt idx="5148">
                  <c:v>15.06.2004</c:v>
                </c:pt>
                <c:pt idx="5149">
                  <c:v>14.06.2004</c:v>
                </c:pt>
                <c:pt idx="5150">
                  <c:v>10.06.2004</c:v>
                </c:pt>
                <c:pt idx="5151">
                  <c:v>09.06.2004</c:v>
                </c:pt>
                <c:pt idx="5152">
                  <c:v>08.06.2004</c:v>
                </c:pt>
                <c:pt idx="5153">
                  <c:v>07.06.2004</c:v>
                </c:pt>
                <c:pt idx="5154">
                  <c:v>04.06.2004</c:v>
                </c:pt>
                <c:pt idx="5155">
                  <c:v>03.06.2004</c:v>
                </c:pt>
                <c:pt idx="5156">
                  <c:v>02.06.2004</c:v>
                </c:pt>
                <c:pt idx="5157">
                  <c:v>01.06.2004</c:v>
                </c:pt>
                <c:pt idx="5158">
                  <c:v>28.05.2004</c:v>
                </c:pt>
                <c:pt idx="5159">
                  <c:v>27.05.2004</c:v>
                </c:pt>
                <c:pt idx="5160">
                  <c:v>26.05.2004</c:v>
                </c:pt>
                <c:pt idx="5161">
                  <c:v>25.05.2004</c:v>
                </c:pt>
                <c:pt idx="5162">
                  <c:v>24.05.2004</c:v>
                </c:pt>
                <c:pt idx="5163">
                  <c:v>21.05.2004</c:v>
                </c:pt>
                <c:pt idx="5164">
                  <c:v>20.05.2004</c:v>
                </c:pt>
                <c:pt idx="5165">
                  <c:v>19.05.2004</c:v>
                </c:pt>
                <c:pt idx="5166">
                  <c:v>18.05.2004</c:v>
                </c:pt>
                <c:pt idx="5167">
                  <c:v>17.05.2004</c:v>
                </c:pt>
                <c:pt idx="5168">
                  <c:v>14.05.2004</c:v>
                </c:pt>
                <c:pt idx="5169">
                  <c:v>13.05.2004</c:v>
                </c:pt>
                <c:pt idx="5170">
                  <c:v>12.05.2004</c:v>
                </c:pt>
                <c:pt idx="5171">
                  <c:v>11.05.2004</c:v>
                </c:pt>
                <c:pt idx="5172">
                  <c:v>10.05.2004</c:v>
                </c:pt>
                <c:pt idx="5173">
                  <c:v>07.05.2004</c:v>
                </c:pt>
                <c:pt idx="5174">
                  <c:v>06.05.2004</c:v>
                </c:pt>
                <c:pt idx="5175">
                  <c:v>05.05.2004</c:v>
                </c:pt>
                <c:pt idx="5176">
                  <c:v>04.05.2004</c:v>
                </c:pt>
                <c:pt idx="5177">
                  <c:v>03.05.2004</c:v>
                </c:pt>
                <c:pt idx="5178">
                  <c:v>30.04.2004</c:v>
                </c:pt>
                <c:pt idx="5179">
                  <c:v>29.04.2004</c:v>
                </c:pt>
                <c:pt idx="5180">
                  <c:v>28.04.2004</c:v>
                </c:pt>
                <c:pt idx="5181">
                  <c:v>27.04.2004</c:v>
                </c:pt>
                <c:pt idx="5182">
                  <c:v>26.04.2004</c:v>
                </c:pt>
                <c:pt idx="5183">
                  <c:v>23.04.2004</c:v>
                </c:pt>
                <c:pt idx="5184">
                  <c:v>22.04.2004</c:v>
                </c:pt>
                <c:pt idx="5185">
                  <c:v>21.04.2004</c:v>
                </c:pt>
                <c:pt idx="5186">
                  <c:v>20.04.2004</c:v>
                </c:pt>
                <c:pt idx="5187">
                  <c:v>19.04.2004</c:v>
                </c:pt>
                <c:pt idx="5188">
                  <c:v>16.04.2004</c:v>
                </c:pt>
                <c:pt idx="5189">
                  <c:v>15.04.2004</c:v>
                </c:pt>
                <c:pt idx="5190">
                  <c:v>14.04.2004</c:v>
                </c:pt>
                <c:pt idx="5191">
                  <c:v>13.04.2004</c:v>
                </c:pt>
                <c:pt idx="5192">
                  <c:v>12.04.2004</c:v>
                </c:pt>
                <c:pt idx="5193">
                  <c:v>08.04.2004</c:v>
                </c:pt>
                <c:pt idx="5194">
                  <c:v>07.04.2004</c:v>
                </c:pt>
                <c:pt idx="5195">
                  <c:v>06.04.2004</c:v>
                </c:pt>
                <c:pt idx="5196">
                  <c:v>05.04.2004</c:v>
                </c:pt>
                <c:pt idx="5197">
                  <c:v>02.04.2004</c:v>
                </c:pt>
                <c:pt idx="5198">
                  <c:v>01.04.2004</c:v>
                </c:pt>
                <c:pt idx="5199">
                  <c:v>31.03.2004</c:v>
                </c:pt>
                <c:pt idx="5200">
                  <c:v>30.03.2004</c:v>
                </c:pt>
                <c:pt idx="5201">
                  <c:v>29.03.2004</c:v>
                </c:pt>
                <c:pt idx="5202">
                  <c:v>26.03.2004</c:v>
                </c:pt>
                <c:pt idx="5203">
                  <c:v>25.03.2004</c:v>
                </c:pt>
                <c:pt idx="5204">
                  <c:v>24.03.2004</c:v>
                </c:pt>
                <c:pt idx="5205">
                  <c:v>23.03.2004</c:v>
                </c:pt>
                <c:pt idx="5206">
                  <c:v>22.03.2004</c:v>
                </c:pt>
                <c:pt idx="5207">
                  <c:v>19.03.2004</c:v>
                </c:pt>
                <c:pt idx="5208">
                  <c:v>18.03.2004</c:v>
                </c:pt>
                <c:pt idx="5209">
                  <c:v>17.03.2004</c:v>
                </c:pt>
                <c:pt idx="5210">
                  <c:v>16.03.2004</c:v>
                </c:pt>
                <c:pt idx="5211">
                  <c:v>15.03.2004</c:v>
                </c:pt>
                <c:pt idx="5212">
                  <c:v>12.03.2004</c:v>
                </c:pt>
                <c:pt idx="5213">
                  <c:v>11.03.2004</c:v>
                </c:pt>
                <c:pt idx="5214">
                  <c:v>10.03.2004</c:v>
                </c:pt>
                <c:pt idx="5215">
                  <c:v>09.03.2004</c:v>
                </c:pt>
                <c:pt idx="5216">
                  <c:v>08.03.2004</c:v>
                </c:pt>
                <c:pt idx="5217">
                  <c:v>05.03.2004</c:v>
                </c:pt>
                <c:pt idx="5218">
                  <c:v>04.03.2004</c:v>
                </c:pt>
                <c:pt idx="5219">
                  <c:v>03.03.2004</c:v>
                </c:pt>
                <c:pt idx="5220">
                  <c:v>02.03.2004</c:v>
                </c:pt>
                <c:pt idx="5221">
                  <c:v>01.03.2004</c:v>
                </c:pt>
                <c:pt idx="5222">
                  <c:v>27.02.2004</c:v>
                </c:pt>
                <c:pt idx="5223">
                  <c:v>26.02.2004</c:v>
                </c:pt>
                <c:pt idx="5224">
                  <c:v>25.02.2004</c:v>
                </c:pt>
                <c:pt idx="5225">
                  <c:v>24.02.2004</c:v>
                </c:pt>
                <c:pt idx="5226">
                  <c:v>23.02.2004</c:v>
                </c:pt>
                <c:pt idx="5227">
                  <c:v>20.02.2004</c:v>
                </c:pt>
                <c:pt idx="5228">
                  <c:v>19.02.2004</c:v>
                </c:pt>
                <c:pt idx="5229">
                  <c:v>18.02.2004</c:v>
                </c:pt>
                <c:pt idx="5230">
                  <c:v>17.02.2004</c:v>
                </c:pt>
                <c:pt idx="5231">
                  <c:v>13.02.2004</c:v>
                </c:pt>
                <c:pt idx="5232">
                  <c:v>12.02.2004</c:v>
                </c:pt>
                <c:pt idx="5233">
                  <c:v>11.02.2004</c:v>
                </c:pt>
                <c:pt idx="5234">
                  <c:v>10.02.2004</c:v>
                </c:pt>
                <c:pt idx="5235">
                  <c:v>09.02.2004</c:v>
                </c:pt>
                <c:pt idx="5236">
                  <c:v>06.02.2004</c:v>
                </c:pt>
                <c:pt idx="5237">
                  <c:v>05.02.2004</c:v>
                </c:pt>
                <c:pt idx="5238">
                  <c:v>04.02.2004</c:v>
                </c:pt>
                <c:pt idx="5239">
                  <c:v>03.02.2004</c:v>
                </c:pt>
                <c:pt idx="5240">
                  <c:v>02.02.2004</c:v>
                </c:pt>
                <c:pt idx="5241">
                  <c:v>30.01.2004</c:v>
                </c:pt>
                <c:pt idx="5242">
                  <c:v>29.01.2004</c:v>
                </c:pt>
                <c:pt idx="5243">
                  <c:v>28.01.2004</c:v>
                </c:pt>
                <c:pt idx="5244">
                  <c:v>27.01.2004</c:v>
                </c:pt>
                <c:pt idx="5245">
                  <c:v>26.01.2004</c:v>
                </c:pt>
                <c:pt idx="5246">
                  <c:v>23.01.2004</c:v>
                </c:pt>
                <c:pt idx="5247">
                  <c:v>22.01.2004</c:v>
                </c:pt>
                <c:pt idx="5248">
                  <c:v>21.01.2004</c:v>
                </c:pt>
                <c:pt idx="5249">
                  <c:v>20.01.2004</c:v>
                </c:pt>
                <c:pt idx="5250">
                  <c:v>16.01.2004</c:v>
                </c:pt>
                <c:pt idx="5251">
                  <c:v>15.01.2004</c:v>
                </c:pt>
                <c:pt idx="5252">
                  <c:v>14.01.2004</c:v>
                </c:pt>
                <c:pt idx="5253">
                  <c:v>13.01.2004</c:v>
                </c:pt>
                <c:pt idx="5254">
                  <c:v>12.01.2004</c:v>
                </c:pt>
                <c:pt idx="5255">
                  <c:v>09.01.2004</c:v>
                </c:pt>
                <c:pt idx="5256">
                  <c:v>08.01.2004</c:v>
                </c:pt>
                <c:pt idx="5257">
                  <c:v>07.01.2004</c:v>
                </c:pt>
                <c:pt idx="5258">
                  <c:v>06.01.2004</c:v>
                </c:pt>
                <c:pt idx="5259">
                  <c:v>05.01.2004</c:v>
                </c:pt>
                <c:pt idx="5260">
                  <c:v>02.01.2004</c:v>
                </c:pt>
                <c:pt idx="5261">
                  <c:v>31.12.2003</c:v>
                </c:pt>
                <c:pt idx="5262">
                  <c:v>30.12.2003</c:v>
                </c:pt>
                <c:pt idx="5263">
                  <c:v>29.12.2003</c:v>
                </c:pt>
                <c:pt idx="5264">
                  <c:v>26.12.2003</c:v>
                </c:pt>
                <c:pt idx="5265">
                  <c:v>24.12.2003</c:v>
                </c:pt>
                <c:pt idx="5266">
                  <c:v>23.12.2003</c:v>
                </c:pt>
                <c:pt idx="5267">
                  <c:v>22.12.2003</c:v>
                </c:pt>
                <c:pt idx="5268">
                  <c:v>19.12.2003</c:v>
                </c:pt>
                <c:pt idx="5269">
                  <c:v>18.12.2003</c:v>
                </c:pt>
                <c:pt idx="5270">
                  <c:v>17.12.2003</c:v>
                </c:pt>
                <c:pt idx="5271">
                  <c:v>16.12.2003</c:v>
                </c:pt>
                <c:pt idx="5272">
                  <c:v>15.12.2003</c:v>
                </c:pt>
                <c:pt idx="5273">
                  <c:v>12.12.2003</c:v>
                </c:pt>
                <c:pt idx="5274">
                  <c:v>11.12.2003</c:v>
                </c:pt>
                <c:pt idx="5275">
                  <c:v>10.12.2003</c:v>
                </c:pt>
                <c:pt idx="5276">
                  <c:v>09.12.2003</c:v>
                </c:pt>
                <c:pt idx="5277">
                  <c:v>08.12.2003</c:v>
                </c:pt>
                <c:pt idx="5278">
                  <c:v>05.12.2003</c:v>
                </c:pt>
                <c:pt idx="5279">
                  <c:v>04.12.2003</c:v>
                </c:pt>
                <c:pt idx="5280">
                  <c:v>03.12.2003</c:v>
                </c:pt>
                <c:pt idx="5281">
                  <c:v>02.12.2003</c:v>
                </c:pt>
                <c:pt idx="5282">
                  <c:v>01.12.2003</c:v>
                </c:pt>
                <c:pt idx="5283">
                  <c:v>28.11.2003</c:v>
                </c:pt>
                <c:pt idx="5284">
                  <c:v>26.11.2003</c:v>
                </c:pt>
                <c:pt idx="5285">
                  <c:v>25.11.2003</c:v>
                </c:pt>
                <c:pt idx="5286">
                  <c:v>24.11.2003</c:v>
                </c:pt>
                <c:pt idx="5287">
                  <c:v>21.11.2003</c:v>
                </c:pt>
                <c:pt idx="5288">
                  <c:v>20.11.2003</c:v>
                </c:pt>
                <c:pt idx="5289">
                  <c:v>19.11.2003</c:v>
                </c:pt>
                <c:pt idx="5290">
                  <c:v>18.11.2003</c:v>
                </c:pt>
                <c:pt idx="5291">
                  <c:v>17.11.2003</c:v>
                </c:pt>
                <c:pt idx="5292">
                  <c:v>14.11.2003</c:v>
                </c:pt>
                <c:pt idx="5293">
                  <c:v>13.11.2003</c:v>
                </c:pt>
                <c:pt idx="5294">
                  <c:v>12.11.2003</c:v>
                </c:pt>
                <c:pt idx="5295">
                  <c:v>11.11.2003</c:v>
                </c:pt>
                <c:pt idx="5296">
                  <c:v>10.11.2003</c:v>
                </c:pt>
                <c:pt idx="5297">
                  <c:v>07.11.2003</c:v>
                </c:pt>
                <c:pt idx="5298">
                  <c:v>06.11.2003</c:v>
                </c:pt>
                <c:pt idx="5299">
                  <c:v>05.11.2003</c:v>
                </c:pt>
                <c:pt idx="5300">
                  <c:v>04.11.2003</c:v>
                </c:pt>
                <c:pt idx="5301">
                  <c:v>03.11.2003</c:v>
                </c:pt>
                <c:pt idx="5302">
                  <c:v>31.10.2003</c:v>
                </c:pt>
                <c:pt idx="5303">
                  <c:v>30.10.2003</c:v>
                </c:pt>
                <c:pt idx="5304">
                  <c:v>29.10.2003</c:v>
                </c:pt>
                <c:pt idx="5305">
                  <c:v>28.10.2003</c:v>
                </c:pt>
                <c:pt idx="5306">
                  <c:v>27.10.2003</c:v>
                </c:pt>
                <c:pt idx="5307">
                  <c:v>24.10.2003</c:v>
                </c:pt>
                <c:pt idx="5308">
                  <c:v>23.10.2003</c:v>
                </c:pt>
                <c:pt idx="5309">
                  <c:v>22.10.2003</c:v>
                </c:pt>
                <c:pt idx="5310">
                  <c:v>21.10.2003</c:v>
                </c:pt>
                <c:pt idx="5311">
                  <c:v>20.10.2003</c:v>
                </c:pt>
                <c:pt idx="5312">
                  <c:v>17.10.2003</c:v>
                </c:pt>
                <c:pt idx="5313">
                  <c:v>16.10.2003</c:v>
                </c:pt>
                <c:pt idx="5314">
                  <c:v>15.10.2003</c:v>
                </c:pt>
                <c:pt idx="5315">
                  <c:v>14.10.2003</c:v>
                </c:pt>
                <c:pt idx="5316">
                  <c:v>13.10.2003</c:v>
                </c:pt>
                <c:pt idx="5317">
                  <c:v>10.10.2003</c:v>
                </c:pt>
                <c:pt idx="5318">
                  <c:v>09.10.2003</c:v>
                </c:pt>
                <c:pt idx="5319">
                  <c:v>08.10.2003</c:v>
                </c:pt>
                <c:pt idx="5320">
                  <c:v>07.10.2003</c:v>
                </c:pt>
                <c:pt idx="5321">
                  <c:v>06.10.2003</c:v>
                </c:pt>
                <c:pt idx="5322">
                  <c:v>03.10.2003</c:v>
                </c:pt>
                <c:pt idx="5323">
                  <c:v>02.10.2003</c:v>
                </c:pt>
                <c:pt idx="5324">
                  <c:v>01.10.2003</c:v>
                </c:pt>
                <c:pt idx="5325">
                  <c:v>30.09.2003</c:v>
                </c:pt>
                <c:pt idx="5326">
                  <c:v>29.09.2003</c:v>
                </c:pt>
                <c:pt idx="5327">
                  <c:v>26.09.2003</c:v>
                </c:pt>
                <c:pt idx="5328">
                  <c:v>25.09.2003</c:v>
                </c:pt>
                <c:pt idx="5329">
                  <c:v>24.09.2003</c:v>
                </c:pt>
                <c:pt idx="5330">
                  <c:v>23.09.2003</c:v>
                </c:pt>
                <c:pt idx="5331">
                  <c:v>22.09.2003</c:v>
                </c:pt>
                <c:pt idx="5332">
                  <c:v>19.09.2003</c:v>
                </c:pt>
                <c:pt idx="5333">
                  <c:v>18.09.2003</c:v>
                </c:pt>
                <c:pt idx="5334">
                  <c:v>17.09.2003</c:v>
                </c:pt>
                <c:pt idx="5335">
                  <c:v>16.09.2003</c:v>
                </c:pt>
                <c:pt idx="5336">
                  <c:v>15.09.2003</c:v>
                </c:pt>
                <c:pt idx="5337">
                  <c:v>12.09.2003</c:v>
                </c:pt>
                <c:pt idx="5338">
                  <c:v>11.09.2003</c:v>
                </c:pt>
                <c:pt idx="5339">
                  <c:v>10.09.2003</c:v>
                </c:pt>
                <c:pt idx="5340">
                  <c:v>09.09.2003</c:v>
                </c:pt>
                <c:pt idx="5341">
                  <c:v>08.09.2003</c:v>
                </c:pt>
                <c:pt idx="5342">
                  <c:v>05.09.2003</c:v>
                </c:pt>
                <c:pt idx="5343">
                  <c:v>04.09.2003</c:v>
                </c:pt>
                <c:pt idx="5344">
                  <c:v>03.09.2003</c:v>
                </c:pt>
                <c:pt idx="5345">
                  <c:v>02.09.2003</c:v>
                </c:pt>
                <c:pt idx="5346">
                  <c:v>29.08.2003</c:v>
                </c:pt>
                <c:pt idx="5347">
                  <c:v>28.08.2003</c:v>
                </c:pt>
                <c:pt idx="5348">
                  <c:v>27.08.2003</c:v>
                </c:pt>
                <c:pt idx="5349">
                  <c:v>26.08.2003</c:v>
                </c:pt>
                <c:pt idx="5350">
                  <c:v>25.08.2003</c:v>
                </c:pt>
                <c:pt idx="5351">
                  <c:v>22.08.2003</c:v>
                </c:pt>
                <c:pt idx="5352">
                  <c:v>21.08.2003</c:v>
                </c:pt>
                <c:pt idx="5353">
                  <c:v>20.08.2003</c:v>
                </c:pt>
                <c:pt idx="5354">
                  <c:v>19.08.2003</c:v>
                </c:pt>
                <c:pt idx="5355">
                  <c:v>18.08.2003</c:v>
                </c:pt>
                <c:pt idx="5356">
                  <c:v>15.08.2003</c:v>
                </c:pt>
                <c:pt idx="5357">
                  <c:v>14.08.2003</c:v>
                </c:pt>
                <c:pt idx="5358">
                  <c:v>13.08.2003</c:v>
                </c:pt>
                <c:pt idx="5359">
                  <c:v>12.08.2003</c:v>
                </c:pt>
                <c:pt idx="5360">
                  <c:v>11.08.2003</c:v>
                </c:pt>
                <c:pt idx="5361">
                  <c:v>08.08.2003</c:v>
                </c:pt>
                <c:pt idx="5362">
                  <c:v>07.08.2003</c:v>
                </c:pt>
                <c:pt idx="5363">
                  <c:v>06.08.2003</c:v>
                </c:pt>
                <c:pt idx="5364">
                  <c:v>05.08.2003</c:v>
                </c:pt>
                <c:pt idx="5365">
                  <c:v>04.08.2003</c:v>
                </c:pt>
                <c:pt idx="5366">
                  <c:v>01.08.2003</c:v>
                </c:pt>
                <c:pt idx="5367">
                  <c:v>31.07.2003</c:v>
                </c:pt>
                <c:pt idx="5368">
                  <c:v>30.07.2003</c:v>
                </c:pt>
                <c:pt idx="5369">
                  <c:v>29.07.2003</c:v>
                </c:pt>
                <c:pt idx="5370">
                  <c:v>28.07.2003</c:v>
                </c:pt>
                <c:pt idx="5371">
                  <c:v>25.07.2003</c:v>
                </c:pt>
                <c:pt idx="5372">
                  <c:v>24.07.2003</c:v>
                </c:pt>
                <c:pt idx="5373">
                  <c:v>23.07.2003</c:v>
                </c:pt>
                <c:pt idx="5374">
                  <c:v>22.07.2003</c:v>
                </c:pt>
                <c:pt idx="5375">
                  <c:v>21.07.2003</c:v>
                </c:pt>
                <c:pt idx="5376">
                  <c:v>18.07.2003</c:v>
                </c:pt>
                <c:pt idx="5377">
                  <c:v>17.07.2003</c:v>
                </c:pt>
                <c:pt idx="5378">
                  <c:v>16.07.2003</c:v>
                </c:pt>
                <c:pt idx="5379">
                  <c:v>15.07.2003</c:v>
                </c:pt>
                <c:pt idx="5380">
                  <c:v>14.07.2003</c:v>
                </c:pt>
                <c:pt idx="5381">
                  <c:v>11.07.2003</c:v>
                </c:pt>
                <c:pt idx="5382">
                  <c:v>10.07.2003</c:v>
                </c:pt>
                <c:pt idx="5383">
                  <c:v>09.07.2003</c:v>
                </c:pt>
                <c:pt idx="5384">
                  <c:v>08.07.2003</c:v>
                </c:pt>
                <c:pt idx="5385">
                  <c:v>07.07.2003</c:v>
                </c:pt>
                <c:pt idx="5386">
                  <c:v>03.07.2003</c:v>
                </c:pt>
                <c:pt idx="5387">
                  <c:v>02.07.2003</c:v>
                </c:pt>
                <c:pt idx="5388">
                  <c:v>01.07.2003</c:v>
                </c:pt>
                <c:pt idx="5389">
                  <c:v>30.06.2003</c:v>
                </c:pt>
                <c:pt idx="5390">
                  <c:v>27.06.2003</c:v>
                </c:pt>
                <c:pt idx="5391">
                  <c:v>26.06.2003</c:v>
                </c:pt>
                <c:pt idx="5392">
                  <c:v>25.06.2003</c:v>
                </c:pt>
                <c:pt idx="5393">
                  <c:v>24.06.2003</c:v>
                </c:pt>
                <c:pt idx="5394">
                  <c:v>23.06.2003</c:v>
                </c:pt>
                <c:pt idx="5395">
                  <c:v>20.06.2003</c:v>
                </c:pt>
                <c:pt idx="5396">
                  <c:v>19.06.2003</c:v>
                </c:pt>
                <c:pt idx="5397">
                  <c:v>18.06.2003</c:v>
                </c:pt>
                <c:pt idx="5398">
                  <c:v>17.06.2003</c:v>
                </c:pt>
                <c:pt idx="5399">
                  <c:v>16.06.2003</c:v>
                </c:pt>
                <c:pt idx="5400">
                  <c:v>13.06.2003</c:v>
                </c:pt>
                <c:pt idx="5401">
                  <c:v>12.06.2003</c:v>
                </c:pt>
                <c:pt idx="5402">
                  <c:v>11.06.2003</c:v>
                </c:pt>
                <c:pt idx="5403">
                  <c:v>10.06.2003</c:v>
                </c:pt>
                <c:pt idx="5404">
                  <c:v>09.06.2003</c:v>
                </c:pt>
                <c:pt idx="5405">
                  <c:v>06.06.2003</c:v>
                </c:pt>
                <c:pt idx="5406">
                  <c:v>05.06.2003</c:v>
                </c:pt>
                <c:pt idx="5407">
                  <c:v>04.06.2003</c:v>
                </c:pt>
                <c:pt idx="5408">
                  <c:v>03.06.2003</c:v>
                </c:pt>
                <c:pt idx="5409">
                  <c:v>02.06.2003</c:v>
                </c:pt>
                <c:pt idx="5410">
                  <c:v>30.05.2003</c:v>
                </c:pt>
                <c:pt idx="5411">
                  <c:v>29.05.2003</c:v>
                </c:pt>
                <c:pt idx="5412">
                  <c:v>28.05.2003</c:v>
                </c:pt>
                <c:pt idx="5413">
                  <c:v>27.05.2003</c:v>
                </c:pt>
                <c:pt idx="5414">
                  <c:v>23.05.2003</c:v>
                </c:pt>
                <c:pt idx="5415">
                  <c:v>22.05.2003</c:v>
                </c:pt>
                <c:pt idx="5416">
                  <c:v>21.05.2003</c:v>
                </c:pt>
                <c:pt idx="5417">
                  <c:v>20.05.2003</c:v>
                </c:pt>
                <c:pt idx="5418">
                  <c:v>19.05.2003</c:v>
                </c:pt>
                <c:pt idx="5419">
                  <c:v>16.05.2003</c:v>
                </c:pt>
                <c:pt idx="5420">
                  <c:v>15.05.2003</c:v>
                </c:pt>
                <c:pt idx="5421">
                  <c:v>14.05.2003</c:v>
                </c:pt>
                <c:pt idx="5422">
                  <c:v>13.05.2003</c:v>
                </c:pt>
                <c:pt idx="5423">
                  <c:v>12.05.2003</c:v>
                </c:pt>
                <c:pt idx="5424">
                  <c:v>09.05.2003</c:v>
                </c:pt>
                <c:pt idx="5425">
                  <c:v>08.05.2003</c:v>
                </c:pt>
                <c:pt idx="5426">
                  <c:v>07.05.2003</c:v>
                </c:pt>
                <c:pt idx="5427">
                  <c:v>06.05.2003</c:v>
                </c:pt>
                <c:pt idx="5428">
                  <c:v>05.05.2003</c:v>
                </c:pt>
                <c:pt idx="5429">
                  <c:v>02.05.2003</c:v>
                </c:pt>
                <c:pt idx="5430">
                  <c:v>01.05.2003</c:v>
                </c:pt>
                <c:pt idx="5431">
                  <c:v>30.04.2003</c:v>
                </c:pt>
                <c:pt idx="5432">
                  <c:v>29.04.2003</c:v>
                </c:pt>
                <c:pt idx="5433">
                  <c:v>28.04.2003</c:v>
                </c:pt>
                <c:pt idx="5434">
                  <c:v>25.04.2003</c:v>
                </c:pt>
                <c:pt idx="5435">
                  <c:v>24.04.2003</c:v>
                </c:pt>
                <c:pt idx="5436">
                  <c:v>23.04.2003</c:v>
                </c:pt>
                <c:pt idx="5437">
                  <c:v>22.04.2003</c:v>
                </c:pt>
                <c:pt idx="5438">
                  <c:v>21.04.2003</c:v>
                </c:pt>
                <c:pt idx="5439">
                  <c:v>17.04.2003</c:v>
                </c:pt>
                <c:pt idx="5440">
                  <c:v>16.04.2003</c:v>
                </c:pt>
                <c:pt idx="5441">
                  <c:v>15.04.2003</c:v>
                </c:pt>
                <c:pt idx="5442">
                  <c:v>14.04.2003</c:v>
                </c:pt>
                <c:pt idx="5443">
                  <c:v>11.04.2003</c:v>
                </c:pt>
                <c:pt idx="5444">
                  <c:v>10.04.2003</c:v>
                </c:pt>
                <c:pt idx="5445">
                  <c:v>09.04.2003</c:v>
                </c:pt>
                <c:pt idx="5446">
                  <c:v>08.04.2003</c:v>
                </c:pt>
                <c:pt idx="5447">
                  <c:v>07.04.2003</c:v>
                </c:pt>
                <c:pt idx="5448">
                  <c:v>04.04.2003</c:v>
                </c:pt>
                <c:pt idx="5449">
                  <c:v>03.04.2003</c:v>
                </c:pt>
                <c:pt idx="5450">
                  <c:v>02.04.2003</c:v>
                </c:pt>
                <c:pt idx="5451">
                  <c:v>01.04.2003</c:v>
                </c:pt>
                <c:pt idx="5452">
                  <c:v>31.03.2003</c:v>
                </c:pt>
                <c:pt idx="5453">
                  <c:v>28.03.2003</c:v>
                </c:pt>
                <c:pt idx="5454">
                  <c:v>27.03.2003</c:v>
                </c:pt>
                <c:pt idx="5455">
                  <c:v>26.03.2003</c:v>
                </c:pt>
                <c:pt idx="5456">
                  <c:v>25.03.2003</c:v>
                </c:pt>
                <c:pt idx="5457">
                  <c:v>24.03.2003</c:v>
                </c:pt>
                <c:pt idx="5458">
                  <c:v>21.03.2003</c:v>
                </c:pt>
                <c:pt idx="5459">
                  <c:v>20.03.2003</c:v>
                </c:pt>
                <c:pt idx="5460">
                  <c:v>19.03.2003</c:v>
                </c:pt>
                <c:pt idx="5461">
                  <c:v>18.03.2003</c:v>
                </c:pt>
                <c:pt idx="5462">
                  <c:v>17.03.2003</c:v>
                </c:pt>
                <c:pt idx="5463">
                  <c:v>14.03.2003</c:v>
                </c:pt>
                <c:pt idx="5464">
                  <c:v>13.03.2003</c:v>
                </c:pt>
                <c:pt idx="5465">
                  <c:v>12.03.2003</c:v>
                </c:pt>
                <c:pt idx="5466">
                  <c:v>11.03.2003</c:v>
                </c:pt>
                <c:pt idx="5467">
                  <c:v>10.03.2003</c:v>
                </c:pt>
                <c:pt idx="5468">
                  <c:v>07.03.2003</c:v>
                </c:pt>
                <c:pt idx="5469">
                  <c:v>06.03.2003</c:v>
                </c:pt>
                <c:pt idx="5470">
                  <c:v>05.03.2003</c:v>
                </c:pt>
                <c:pt idx="5471">
                  <c:v>04.03.2003</c:v>
                </c:pt>
                <c:pt idx="5472">
                  <c:v>03.03.2003</c:v>
                </c:pt>
                <c:pt idx="5473">
                  <c:v>28.02.2003</c:v>
                </c:pt>
                <c:pt idx="5474">
                  <c:v>27.02.2003</c:v>
                </c:pt>
                <c:pt idx="5475">
                  <c:v>26.02.2003</c:v>
                </c:pt>
                <c:pt idx="5476">
                  <c:v>25.02.2003</c:v>
                </c:pt>
                <c:pt idx="5477">
                  <c:v>24.02.2003</c:v>
                </c:pt>
                <c:pt idx="5478">
                  <c:v>21.02.2003</c:v>
                </c:pt>
                <c:pt idx="5479">
                  <c:v>20.02.2003</c:v>
                </c:pt>
                <c:pt idx="5480">
                  <c:v>19.02.2003</c:v>
                </c:pt>
                <c:pt idx="5481">
                  <c:v>18.02.2003</c:v>
                </c:pt>
                <c:pt idx="5482">
                  <c:v>14.02.2003</c:v>
                </c:pt>
                <c:pt idx="5483">
                  <c:v>13.02.2003</c:v>
                </c:pt>
                <c:pt idx="5484">
                  <c:v>12.02.2003</c:v>
                </c:pt>
                <c:pt idx="5485">
                  <c:v>11.02.2003</c:v>
                </c:pt>
                <c:pt idx="5486">
                  <c:v>10.02.2003</c:v>
                </c:pt>
                <c:pt idx="5487">
                  <c:v>07.02.2003</c:v>
                </c:pt>
                <c:pt idx="5488">
                  <c:v>06.02.2003</c:v>
                </c:pt>
                <c:pt idx="5489">
                  <c:v>05.02.2003</c:v>
                </c:pt>
                <c:pt idx="5490">
                  <c:v>04.02.2003</c:v>
                </c:pt>
                <c:pt idx="5491">
                  <c:v>03.02.2003</c:v>
                </c:pt>
                <c:pt idx="5492">
                  <c:v>31.01.2003</c:v>
                </c:pt>
                <c:pt idx="5493">
                  <c:v>30.01.2003</c:v>
                </c:pt>
                <c:pt idx="5494">
                  <c:v>29.01.2003</c:v>
                </c:pt>
                <c:pt idx="5495">
                  <c:v>28.01.2003</c:v>
                </c:pt>
                <c:pt idx="5496">
                  <c:v>27.01.2003</c:v>
                </c:pt>
                <c:pt idx="5497">
                  <c:v>24.01.2003</c:v>
                </c:pt>
                <c:pt idx="5498">
                  <c:v>23.01.2003</c:v>
                </c:pt>
                <c:pt idx="5499">
                  <c:v>22.01.2003</c:v>
                </c:pt>
                <c:pt idx="5500">
                  <c:v>21.01.2003</c:v>
                </c:pt>
                <c:pt idx="5501">
                  <c:v>17.01.2003</c:v>
                </c:pt>
                <c:pt idx="5502">
                  <c:v>16.01.2003</c:v>
                </c:pt>
                <c:pt idx="5503">
                  <c:v>15.01.2003</c:v>
                </c:pt>
                <c:pt idx="5504">
                  <c:v>14.01.2003</c:v>
                </c:pt>
                <c:pt idx="5505">
                  <c:v>13.01.2003</c:v>
                </c:pt>
                <c:pt idx="5506">
                  <c:v>10.01.2003</c:v>
                </c:pt>
                <c:pt idx="5507">
                  <c:v>09.01.2003</c:v>
                </c:pt>
                <c:pt idx="5508">
                  <c:v>08.01.2003</c:v>
                </c:pt>
                <c:pt idx="5509">
                  <c:v>07.01.2003</c:v>
                </c:pt>
                <c:pt idx="5510">
                  <c:v>06.01.2003</c:v>
                </c:pt>
                <c:pt idx="5511">
                  <c:v>03.01.2003</c:v>
                </c:pt>
                <c:pt idx="5512">
                  <c:v>02.01.2003</c:v>
                </c:pt>
                <c:pt idx="5513">
                  <c:v>31.12.2002</c:v>
                </c:pt>
                <c:pt idx="5514">
                  <c:v>30.12.2002</c:v>
                </c:pt>
                <c:pt idx="5515">
                  <c:v>27.12.2002</c:v>
                </c:pt>
                <c:pt idx="5516">
                  <c:v>26.12.2002</c:v>
                </c:pt>
                <c:pt idx="5517">
                  <c:v>24.12.2002</c:v>
                </c:pt>
                <c:pt idx="5518">
                  <c:v>23.12.2002</c:v>
                </c:pt>
                <c:pt idx="5519">
                  <c:v>20.12.2002</c:v>
                </c:pt>
                <c:pt idx="5520">
                  <c:v>19.12.2002</c:v>
                </c:pt>
                <c:pt idx="5521">
                  <c:v>18.12.2002</c:v>
                </c:pt>
                <c:pt idx="5522">
                  <c:v>17.12.2002</c:v>
                </c:pt>
                <c:pt idx="5523">
                  <c:v>16.12.2002</c:v>
                </c:pt>
                <c:pt idx="5524">
                  <c:v>13.12.2002</c:v>
                </c:pt>
                <c:pt idx="5525">
                  <c:v>12.12.2002</c:v>
                </c:pt>
                <c:pt idx="5526">
                  <c:v>11.12.2002</c:v>
                </c:pt>
                <c:pt idx="5527">
                  <c:v>10.12.2002</c:v>
                </c:pt>
                <c:pt idx="5528">
                  <c:v>09.12.2002</c:v>
                </c:pt>
                <c:pt idx="5529">
                  <c:v>06.12.2002</c:v>
                </c:pt>
                <c:pt idx="5530">
                  <c:v>05.12.2002</c:v>
                </c:pt>
                <c:pt idx="5531">
                  <c:v>04.12.2002</c:v>
                </c:pt>
                <c:pt idx="5532">
                  <c:v>03.12.2002</c:v>
                </c:pt>
                <c:pt idx="5533">
                  <c:v>02.12.2002</c:v>
                </c:pt>
                <c:pt idx="5534">
                  <c:v>29.11.2002</c:v>
                </c:pt>
                <c:pt idx="5535">
                  <c:v>27.11.2002</c:v>
                </c:pt>
                <c:pt idx="5536">
                  <c:v>26.11.2002</c:v>
                </c:pt>
                <c:pt idx="5537">
                  <c:v>25.11.2002</c:v>
                </c:pt>
                <c:pt idx="5538">
                  <c:v>22.11.2002</c:v>
                </c:pt>
                <c:pt idx="5539">
                  <c:v>21.11.2002</c:v>
                </c:pt>
                <c:pt idx="5540">
                  <c:v>20.11.2002</c:v>
                </c:pt>
                <c:pt idx="5541">
                  <c:v>19.11.2002</c:v>
                </c:pt>
                <c:pt idx="5542">
                  <c:v>18.11.2002</c:v>
                </c:pt>
                <c:pt idx="5543">
                  <c:v>15.11.2002</c:v>
                </c:pt>
                <c:pt idx="5544">
                  <c:v>14.11.2002</c:v>
                </c:pt>
                <c:pt idx="5545">
                  <c:v>13.11.2002</c:v>
                </c:pt>
                <c:pt idx="5546">
                  <c:v>12.11.2002</c:v>
                </c:pt>
                <c:pt idx="5547">
                  <c:v>11.11.2002</c:v>
                </c:pt>
                <c:pt idx="5548">
                  <c:v>08.11.2002</c:v>
                </c:pt>
                <c:pt idx="5549">
                  <c:v>07.11.2002</c:v>
                </c:pt>
                <c:pt idx="5550">
                  <c:v>06.11.2002</c:v>
                </c:pt>
                <c:pt idx="5551">
                  <c:v>05.11.2002</c:v>
                </c:pt>
                <c:pt idx="5552">
                  <c:v>04.11.2002</c:v>
                </c:pt>
                <c:pt idx="5553">
                  <c:v>01.11.2002</c:v>
                </c:pt>
                <c:pt idx="5554">
                  <c:v>31.10.2002</c:v>
                </c:pt>
                <c:pt idx="5555">
                  <c:v>30.10.2002</c:v>
                </c:pt>
                <c:pt idx="5556">
                  <c:v>29.10.2002</c:v>
                </c:pt>
                <c:pt idx="5557">
                  <c:v>28.10.2002</c:v>
                </c:pt>
                <c:pt idx="5558">
                  <c:v>25.10.2002</c:v>
                </c:pt>
                <c:pt idx="5559">
                  <c:v>24.10.2002</c:v>
                </c:pt>
                <c:pt idx="5560">
                  <c:v>23.10.2002</c:v>
                </c:pt>
                <c:pt idx="5561">
                  <c:v>22.10.2002</c:v>
                </c:pt>
                <c:pt idx="5562">
                  <c:v>21.10.2002</c:v>
                </c:pt>
                <c:pt idx="5563">
                  <c:v>18.10.2002</c:v>
                </c:pt>
                <c:pt idx="5564">
                  <c:v>17.10.2002</c:v>
                </c:pt>
                <c:pt idx="5565">
                  <c:v>16.10.2002</c:v>
                </c:pt>
                <c:pt idx="5566">
                  <c:v>15.10.2002</c:v>
                </c:pt>
                <c:pt idx="5567">
                  <c:v>14.10.2002</c:v>
                </c:pt>
                <c:pt idx="5568">
                  <c:v>11.10.2002</c:v>
                </c:pt>
                <c:pt idx="5569">
                  <c:v>10.10.2002</c:v>
                </c:pt>
                <c:pt idx="5570">
                  <c:v>09.10.2002</c:v>
                </c:pt>
                <c:pt idx="5571">
                  <c:v>08.10.2002</c:v>
                </c:pt>
                <c:pt idx="5572">
                  <c:v>07.10.2002</c:v>
                </c:pt>
                <c:pt idx="5573">
                  <c:v>04.10.2002</c:v>
                </c:pt>
                <c:pt idx="5574">
                  <c:v>03.10.2002</c:v>
                </c:pt>
                <c:pt idx="5575">
                  <c:v>02.10.2002</c:v>
                </c:pt>
                <c:pt idx="5576">
                  <c:v>01.10.2002</c:v>
                </c:pt>
                <c:pt idx="5577">
                  <c:v>30.09.2002</c:v>
                </c:pt>
                <c:pt idx="5578">
                  <c:v>27.09.2002</c:v>
                </c:pt>
                <c:pt idx="5579">
                  <c:v>26.09.2002</c:v>
                </c:pt>
                <c:pt idx="5580">
                  <c:v>25.09.2002</c:v>
                </c:pt>
                <c:pt idx="5581">
                  <c:v>24.09.2002</c:v>
                </c:pt>
                <c:pt idx="5582">
                  <c:v>23.09.2002</c:v>
                </c:pt>
                <c:pt idx="5583">
                  <c:v>20.09.2002</c:v>
                </c:pt>
                <c:pt idx="5584">
                  <c:v>19.09.2002</c:v>
                </c:pt>
                <c:pt idx="5585">
                  <c:v>18.09.2002</c:v>
                </c:pt>
                <c:pt idx="5586">
                  <c:v>17.09.2002</c:v>
                </c:pt>
                <c:pt idx="5587">
                  <c:v>16.09.2002</c:v>
                </c:pt>
                <c:pt idx="5588">
                  <c:v>13.09.2002</c:v>
                </c:pt>
                <c:pt idx="5589">
                  <c:v>12.09.2002</c:v>
                </c:pt>
                <c:pt idx="5590">
                  <c:v>11.09.2002</c:v>
                </c:pt>
                <c:pt idx="5591">
                  <c:v>10.09.2002</c:v>
                </c:pt>
                <c:pt idx="5592">
                  <c:v>09.09.2002</c:v>
                </c:pt>
                <c:pt idx="5593">
                  <c:v>06.09.2002</c:v>
                </c:pt>
                <c:pt idx="5594">
                  <c:v>05.09.2002</c:v>
                </c:pt>
                <c:pt idx="5595">
                  <c:v>04.09.2002</c:v>
                </c:pt>
                <c:pt idx="5596">
                  <c:v>03.09.2002</c:v>
                </c:pt>
                <c:pt idx="5597">
                  <c:v>30.08.2002</c:v>
                </c:pt>
                <c:pt idx="5598">
                  <c:v>29.08.2002</c:v>
                </c:pt>
                <c:pt idx="5599">
                  <c:v>28.08.2002</c:v>
                </c:pt>
                <c:pt idx="5600">
                  <c:v>27.08.2002</c:v>
                </c:pt>
                <c:pt idx="5601">
                  <c:v>26.08.2002</c:v>
                </c:pt>
                <c:pt idx="5602">
                  <c:v>23.08.2002</c:v>
                </c:pt>
                <c:pt idx="5603">
                  <c:v>22.08.2002</c:v>
                </c:pt>
                <c:pt idx="5604">
                  <c:v>21.08.2002</c:v>
                </c:pt>
                <c:pt idx="5605">
                  <c:v>20.08.2002</c:v>
                </c:pt>
                <c:pt idx="5606">
                  <c:v>19.08.2002</c:v>
                </c:pt>
                <c:pt idx="5607">
                  <c:v>16.08.2002</c:v>
                </c:pt>
                <c:pt idx="5608">
                  <c:v>15.08.2002</c:v>
                </c:pt>
                <c:pt idx="5609">
                  <c:v>14.08.2002</c:v>
                </c:pt>
                <c:pt idx="5610">
                  <c:v>13.08.2002</c:v>
                </c:pt>
                <c:pt idx="5611">
                  <c:v>12.08.2002</c:v>
                </c:pt>
                <c:pt idx="5612">
                  <c:v>09.08.2002</c:v>
                </c:pt>
                <c:pt idx="5613">
                  <c:v>08.08.2002</c:v>
                </c:pt>
                <c:pt idx="5614">
                  <c:v>07.08.2002</c:v>
                </c:pt>
                <c:pt idx="5615">
                  <c:v>06.08.2002</c:v>
                </c:pt>
                <c:pt idx="5616">
                  <c:v>05.08.2002</c:v>
                </c:pt>
                <c:pt idx="5617">
                  <c:v>02.08.2002</c:v>
                </c:pt>
                <c:pt idx="5618">
                  <c:v>01.08.2002</c:v>
                </c:pt>
                <c:pt idx="5619">
                  <c:v>31.07.2002</c:v>
                </c:pt>
                <c:pt idx="5620">
                  <c:v>30.07.2002</c:v>
                </c:pt>
                <c:pt idx="5621">
                  <c:v>29.07.2002</c:v>
                </c:pt>
                <c:pt idx="5622">
                  <c:v>26.07.2002</c:v>
                </c:pt>
                <c:pt idx="5623">
                  <c:v>25.07.2002</c:v>
                </c:pt>
                <c:pt idx="5624">
                  <c:v>24.07.2002</c:v>
                </c:pt>
                <c:pt idx="5625">
                  <c:v>23.07.2002</c:v>
                </c:pt>
                <c:pt idx="5626">
                  <c:v>22.07.2002</c:v>
                </c:pt>
                <c:pt idx="5627">
                  <c:v>19.07.2002</c:v>
                </c:pt>
                <c:pt idx="5628">
                  <c:v>18.07.2002</c:v>
                </c:pt>
                <c:pt idx="5629">
                  <c:v>17.07.2002</c:v>
                </c:pt>
                <c:pt idx="5630">
                  <c:v>16.07.2002</c:v>
                </c:pt>
                <c:pt idx="5631">
                  <c:v>15.07.2002</c:v>
                </c:pt>
                <c:pt idx="5632">
                  <c:v>12.07.2002</c:v>
                </c:pt>
                <c:pt idx="5633">
                  <c:v>11.07.2002</c:v>
                </c:pt>
                <c:pt idx="5634">
                  <c:v>10.07.2002</c:v>
                </c:pt>
                <c:pt idx="5635">
                  <c:v>09.07.2002</c:v>
                </c:pt>
                <c:pt idx="5636">
                  <c:v>08.07.2002</c:v>
                </c:pt>
                <c:pt idx="5637">
                  <c:v>05.07.2002</c:v>
                </c:pt>
                <c:pt idx="5638">
                  <c:v>03.07.2002</c:v>
                </c:pt>
                <c:pt idx="5639">
                  <c:v>02.07.2002</c:v>
                </c:pt>
                <c:pt idx="5640">
                  <c:v>01.07.2002</c:v>
                </c:pt>
                <c:pt idx="5641">
                  <c:v>28.06.2002</c:v>
                </c:pt>
                <c:pt idx="5642">
                  <c:v>27.06.2002</c:v>
                </c:pt>
                <c:pt idx="5643">
                  <c:v>26.06.2002</c:v>
                </c:pt>
                <c:pt idx="5644">
                  <c:v>25.06.2002</c:v>
                </c:pt>
                <c:pt idx="5645">
                  <c:v>24.06.2002</c:v>
                </c:pt>
                <c:pt idx="5646">
                  <c:v>21.06.2002</c:v>
                </c:pt>
                <c:pt idx="5647">
                  <c:v>20.06.2002</c:v>
                </c:pt>
                <c:pt idx="5648">
                  <c:v>19.06.2002</c:v>
                </c:pt>
                <c:pt idx="5649">
                  <c:v>18.06.2002</c:v>
                </c:pt>
                <c:pt idx="5650">
                  <c:v>17.06.2002</c:v>
                </c:pt>
                <c:pt idx="5651">
                  <c:v>14.06.2002</c:v>
                </c:pt>
                <c:pt idx="5652">
                  <c:v>13.06.2002</c:v>
                </c:pt>
                <c:pt idx="5653">
                  <c:v>12.06.2002</c:v>
                </c:pt>
                <c:pt idx="5654">
                  <c:v>11.06.2002</c:v>
                </c:pt>
                <c:pt idx="5655">
                  <c:v>10.06.2002</c:v>
                </c:pt>
                <c:pt idx="5656">
                  <c:v>07.06.2002</c:v>
                </c:pt>
                <c:pt idx="5657">
                  <c:v>06.06.2002</c:v>
                </c:pt>
                <c:pt idx="5658">
                  <c:v>05.06.2002</c:v>
                </c:pt>
                <c:pt idx="5659">
                  <c:v>04.06.2002</c:v>
                </c:pt>
                <c:pt idx="5660">
                  <c:v>03.06.2002</c:v>
                </c:pt>
                <c:pt idx="5661">
                  <c:v>31.05.2002</c:v>
                </c:pt>
                <c:pt idx="5662">
                  <c:v>30.05.2002</c:v>
                </c:pt>
                <c:pt idx="5663">
                  <c:v>29.05.2002</c:v>
                </c:pt>
                <c:pt idx="5664">
                  <c:v>28.05.2002</c:v>
                </c:pt>
                <c:pt idx="5665">
                  <c:v>24.05.2002</c:v>
                </c:pt>
                <c:pt idx="5666">
                  <c:v>23.05.2002</c:v>
                </c:pt>
                <c:pt idx="5667">
                  <c:v>22.05.2002</c:v>
                </c:pt>
                <c:pt idx="5668">
                  <c:v>21.05.2002</c:v>
                </c:pt>
                <c:pt idx="5669">
                  <c:v>20.05.2002</c:v>
                </c:pt>
                <c:pt idx="5670">
                  <c:v>17.05.2002</c:v>
                </c:pt>
                <c:pt idx="5671">
                  <c:v>16.05.2002</c:v>
                </c:pt>
                <c:pt idx="5672">
                  <c:v>15.05.2002</c:v>
                </c:pt>
                <c:pt idx="5673">
                  <c:v>14.05.2002</c:v>
                </c:pt>
                <c:pt idx="5674">
                  <c:v>13.05.2002</c:v>
                </c:pt>
                <c:pt idx="5675">
                  <c:v>10.05.2002</c:v>
                </c:pt>
                <c:pt idx="5676">
                  <c:v>09.05.2002</c:v>
                </c:pt>
                <c:pt idx="5677">
                  <c:v>08.05.2002</c:v>
                </c:pt>
                <c:pt idx="5678">
                  <c:v>07.05.2002</c:v>
                </c:pt>
                <c:pt idx="5679">
                  <c:v>06.05.2002</c:v>
                </c:pt>
                <c:pt idx="5680">
                  <c:v>03.05.2002</c:v>
                </c:pt>
                <c:pt idx="5681">
                  <c:v>02.05.2002</c:v>
                </c:pt>
                <c:pt idx="5682">
                  <c:v>01.05.2002</c:v>
                </c:pt>
                <c:pt idx="5683">
                  <c:v>30.04.2002</c:v>
                </c:pt>
                <c:pt idx="5684">
                  <c:v>29.04.2002</c:v>
                </c:pt>
                <c:pt idx="5685">
                  <c:v>26.04.2002</c:v>
                </c:pt>
                <c:pt idx="5686">
                  <c:v>25.04.2002</c:v>
                </c:pt>
                <c:pt idx="5687">
                  <c:v>24.04.2002</c:v>
                </c:pt>
                <c:pt idx="5688">
                  <c:v>23.04.2002</c:v>
                </c:pt>
                <c:pt idx="5689">
                  <c:v>22.04.2002</c:v>
                </c:pt>
                <c:pt idx="5690">
                  <c:v>19.04.2002</c:v>
                </c:pt>
                <c:pt idx="5691">
                  <c:v>18.04.2002</c:v>
                </c:pt>
                <c:pt idx="5692">
                  <c:v>17.04.2002</c:v>
                </c:pt>
                <c:pt idx="5693">
                  <c:v>16.04.2002</c:v>
                </c:pt>
                <c:pt idx="5694">
                  <c:v>15.04.2002</c:v>
                </c:pt>
                <c:pt idx="5695">
                  <c:v>12.04.2002</c:v>
                </c:pt>
                <c:pt idx="5696">
                  <c:v>11.04.2002</c:v>
                </c:pt>
                <c:pt idx="5697">
                  <c:v>10.04.2002</c:v>
                </c:pt>
                <c:pt idx="5698">
                  <c:v>09.04.2002</c:v>
                </c:pt>
                <c:pt idx="5699">
                  <c:v>08.04.2002</c:v>
                </c:pt>
                <c:pt idx="5700">
                  <c:v>05.04.2002</c:v>
                </c:pt>
                <c:pt idx="5701">
                  <c:v>04.04.2002</c:v>
                </c:pt>
                <c:pt idx="5702">
                  <c:v>03.04.2002</c:v>
                </c:pt>
                <c:pt idx="5703">
                  <c:v>02.04.2002</c:v>
                </c:pt>
                <c:pt idx="5704">
                  <c:v>01.04.2002</c:v>
                </c:pt>
                <c:pt idx="5705">
                  <c:v>28.03.2002</c:v>
                </c:pt>
                <c:pt idx="5706">
                  <c:v>27.03.2002</c:v>
                </c:pt>
                <c:pt idx="5707">
                  <c:v>26.03.2002</c:v>
                </c:pt>
                <c:pt idx="5708">
                  <c:v>25.03.2002</c:v>
                </c:pt>
                <c:pt idx="5709">
                  <c:v>22.03.2002</c:v>
                </c:pt>
                <c:pt idx="5710">
                  <c:v>21.03.2002</c:v>
                </c:pt>
                <c:pt idx="5711">
                  <c:v>20.03.2002</c:v>
                </c:pt>
                <c:pt idx="5712">
                  <c:v>19.03.2002</c:v>
                </c:pt>
                <c:pt idx="5713">
                  <c:v>18.03.2002</c:v>
                </c:pt>
                <c:pt idx="5714">
                  <c:v>15.03.2002</c:v>
                </c:pt>
                <c:pt idx="5715">
                  <c:v>14.03.2002</c:v>
                </c:pt>
                <c:pt idx="5716">
                  <c:v>13.03.2002</c:v>
                </c:pt>
                <c:pt idx="5717">
                  <c:v>12.03.2002</c:v>
                </c:pt>
                <c:pt idx="5718">
                  <c:v>11.03.2002</c:v>
                </c:pt>
                <c:pt idx="5719">
                  <c:v>08.03.2002</c:v>
                </c:pt>
                <c:pt idx="5720">
                  <c:v>07.03.2002</c:v>
                </c:pt>
                <c:pt idx="5721">
                  <c:v>06.03.2002</c:v>
                </c:pt>
                <c:pt idx="5722">
                  <c:v>05.03.2002</c:v>
                </c:pt>
                <c:pt idx="5723">
                  <c:v>04.03.2002</c:v>
                </c:pt>
                <c:pt idx="5724">
                  <c:v>01.03.2002</c:v>
                </c:pt>
                <c:pt idx="5725">
                  <c:v>28.02.2002</c:v>
                </c:pt>
                <c:pt idx="5726">
                  <c:v>27.02.2002</c:v>
                </c:pt>
                <c:pt idx="5727">
                  <c:v>26.02.2002</c:v>
                </c:pt>
                <c:pt idx="5728">
                  <c:v>25.02.2002</c:v>
                </c:pt>
                <c:pt idx="5729">
                  <c:v>22.02.2002</c:v>
                </c:pt>
                <c:pt idx="5730">
                  <c:v>21.02.2002</c:v>
                </c:pt>
                <c:pt idx="5731">
                  <c:v>20.02.2002</c:v>
                </c:pt>
                <c:pt idx="5732">
                  <c:v>19.02.2002</c:v>
                </c:pt>
                <c:pt idx="5733">
                  <c:v>15.02.2002</c:v>
                </c:pt>
                <c:pt idx="5734">
                  <c:v>14.02.2002</c:v>
                </c:pt>
                <c:pt idx="5735">
                  <c:v>13.02.2002</c:v>
                </c:pt>
                <c:pt idx="5736">
                  <c:v>12.02.2002</c:v>
                </c:pt>
                <c:pt idx="5737">
                  <c:v>11.02.2002</c:v>
                </c:pt>
                <c:pt idx="5738">
                  <c:v>08.02.2002</c:v>
                </c:pt>
                <c:pt idx="5739">
                  <c:v>07.02.2002</c:v>
                </c:pt>
                <c:pt idx="5740">
                  <c:v>06.02.2002</c:v>
                </c:pt>
                <c:pt idx="5741">
                  <c:v>05.02.2002</c:v>
                </c:pt>
                <c:pt idx="5742">
                  <c:v>04.02.2002</c:v>
                </c:pt>
                <c:pt idx="5743">
                  <c:v>01.02.2002</c:v>
                </c:pt>
                <c:pt idx="5744">
                  <c:v>31.01.2002</c:v>
                </c:pt>
                <c:pt idx="5745">
                  <c:v>30.01.2002</c:v>
                </c:pt>
                <c:pt idx="5746">
                  <c:v>29.01.2002</c:v>
                </c:pt>
                <c:pt idx="5747">
                  <c:v>28.01.2002</c:v>
                </c:pt>
                <c:pt idx="5748">
                  <c:v>25.01.2002</c:v>
                </c:pt>
                <c:pt idx="5749">
                  <c:v>24.01.2002</c:v>
                </c:pt>
                <c:pt idx="5750">
                  <c:v>23.01.2002</c:v>
                </c:pt>
                <c:pt idx="5751">
                  <c:v>22.01.2002</c:v>
                </c:pt>
                <c:pt idx="5752">
                  <c:v>18.01.2002</c:v>
                </c:pt>
                <c:pt idx="5753">
                  <c:v>17.01.2002</c:v>
                </c:pt>
                <c:pt idx="5754">
                  <c:v>16.01.2002</c:v>
                </c:pt>
                <c:pt idx="5755">
                  <c:v>15.01.2002</c:v>
                </c:pt>
                <c:pt idx="5756">
                  <c:v>14.01.2002</c:v>
                </c:pt>
                <c:pt idx="5757">
                  <c:v>11.01.2002</c:v>
                </c:pt>
                <c:pt idx="5758">
                  <c:v>10.01.2002</c:v>
                </c:pt>
                <c:pt idx="5759">
                  <c:v>09.01.2002</c:v>
                </c:pt>
                <c:pt idx="5760">
                  <c:v>08.01.2002</c:v>
                </c:pt>
                <c:pt idx="5761">
                  <c:v>07.01.2002</c:v>
                </c:pt>
                <c:pt idx="5762">
                  <c:v>04.01.2002</c:v>
                </c:pt>
                <c:pt idx="5763">
                  <c:v>03.01.2002</c:v>
                </c:pt>
                <c:pt idx="5764">
                  <c:v>02.01.2002</c:v>
                </c:pt>
                <c:pt idx="5765">
                  <c:v>31.12.2001</c:v>
                </c:pt>
                <c:pt idx="5766">
                  <c:v>28.12.2001</c:v>
                </c:pt>
                <c:pt idx="5767">
                  <c:v>27.12.2001</c:v>
                </c:pt>
                <c:pt idx="5768">
                  <c:v>26.12.2001</c:v>
                </c:pt>
                <c:pt idx="5769">
                  <c:v>24.12.2001</c:v>
                </c:pt>
                <c:pt idx="5770">
                  <c:v>21.12.2001</c:v>
                </c:pt>
                <c:pt idx="5771">
                  <c:v>20.12.2001</c:v>
                </c:pt>
                <c:pt idx="5772">
                  <c:v>19.12.2001</c:v>
                </c:pt>
                <c:pt idx="5773">
                  <c:v>18.12.2001</c:v>
                </c:pt>
                <c:pt idx="5774">
                  <c:v>17.12.2001</c:v>
                </c:pt>
                <c:pt idx="5775">
                  <c:v>14.12.2001</c:v>
                </c:pt>
                <c:pt idx="5776">
                  <c:v>13.12.2001</c:v>
                </c:pt>
                <c:pt idx="5777">
                  <c:v>12.12.2001</c:v>
                </c:pt>
                <c:pt idx="5778">
                  <c:v>11.12.2001</c:v>
                </c:pt>
                <c:pt idx="5779">
                  <c:v>10.12.2001</c:v>
                </c:pt>
                <c:pt idx="5780">
                  <c:v>07.12.2001</c:v>
                </c:pt>
                <c:pt idx="5781">
                  <c:v>06.12.2001</c:v>
                </c:pt>
                <c:pt idx="5782">
                  <c:v>05.12.2001</c:v>
                </c:pt>
                <c:pt idx="5783">
                  <c:v>04.12.2001</c:v>
                </c:pt>
                <c:pt idx="5784">
                  <c:v>03.12.2001</c:v>
                </c:pt>
                <c:pt idx="5785">
                  <c:v>30.11.2001</c:v>
                </c:pt>
                <c:pt idx="5786">
                  <c:v>29.11.2001</c:v>
                </c:pt>
                <c:pt idx="5787">
                  <c:v>28.11.2001</c:v>
                </c:pt>
                <c:pt idx="5788">
                  <c:v>27.11.2001</c:v>
                </c:pt>
                <c:pt idx="5789">
                  <c:v>26.11.2001</c:v>
                </c:pt>
                <c:pt idx="5790">
                  <c:v>23.11.2001</c:v>
                </c:pt>
                <c:pt idx="5791">
                  <c:v>21.11.2001</c:v>
                </c:pt>
                <c:pt idx="5792">
                  <c:v>20.11.2001</c:v>
                </c:pt>
                <c:pt idx="5793">
                  <c:v>19.11.2001</c:v>
                </c:pt>
                <c:pt idx="5794">
                  <c:v>16.11.2001</c:v>
                </c:pt>
                <c:pt idx="5795">
                  <c:v>15.11.2001</c:v>
                </c:pt>
                <c:pt idx="5796">
                  <c:v>14.11.2001</c:v>
                </c:pt>
                <c:pt idx="5797">
                  <c:v>13.11.2001</c:v>
                </c:pt>
                <c:pt idx="5798">
                  <c:v>12.11.2001</c:v>
                </c:pt>
                <c:pt idx="5799">
                  <c:v>09.11.2001</c:v>
                </c:pt>
                <c:pt idx="5800">
                  <c:v>08.11.2001</c:v>
                </c:pt>
                <c:pt idx="5801">
                  <c:v>07.11.2001</c:v>
                </c:pt>
                <c:pt idx="5802">
                  <c:v>06.11.2001</c:v>
                </c:pt>
                <c:pt idx="5803">
                  <c:v>05.11.2001</c:v>
                </c:pt>
                <c:pt idx="5804">
                  <c:v>02.11.2001</c:v>
                </c:pt>
                <c:pt idx="5805">
                  <c:v>01.11.2001</c:v>
                </c:pt>
                <c:pt idx="5806">
                  <c:v>31.10.2001</c:v>
                </c:pt>
                <c:pt idx="5807">
                  <c:v>30.10.2001</c:v>
                </c:pt>
                <c:pt idx="5808">
                  <c:v>29.10.2001</c:v>
                </c:pt>
                <c:pt idx="5809">
                  <c:v>26.10.2001</c:v>
                </c:pt>
                <c:pt idx="5810">
                  <c:v>25.10.2001</c:v>
                </c:pt>
                <c:pt idx="5811">
                  <c:v>24.10.2001</c:v>
                </c:pt>
                <c:pt idx="5812">
                  <c:v>23.10.2001</c:v>
                </c:pt>
                <c:pt idx="5813">
                  <c:v>22.10.2001</c:v>
                </c:pt>
                <c:pt idx="5814">
                  <c:v>19.10.2001</c:v>
                </c:pt>
                <c:pt idx="5815">
                  <c:v>18.10.2001</c:v>
                </c:pt>
                <c:pt idx="5816">
                  <c:v>17.10.2001</c:v>
                </c:pt>
                <c:pt idx="5817">
                  <c:v>16.10.2001</c:v>
                </c:pt>
                <c:pt idx="5818">
                  <c:v>15.10.2001</c:v>
                </c:pt>
                <c:pt idx="5819">
                  <c:v>12.10.2001</c:v>
                </c:pt>
                <c:pt idx="5820">
                  <c:v>11.10.2001</c:v>
                </c:pt>
                <c:pt idx="5821">
                  <c:v>10.10.2001</c:v>
                </c:pt>
                <c:pt idx="5822">
                  <c:v>09.10.2001</c:v>
                </c:pt>
                <c:pt idx="5823">
                  <c:v>08.10.2001</c:v>
                </c:pt>
                <c:pt idx="5824">
                  <c:v>05.10.2001</c:v>
                </c:pt>
                <c:pt idx="5825">
                  <c:v>04.10.2001</c:v>
                </c:pt>
                <c:pt idx="5826">
                  <c:v>03.10.2001</c:v>
                </c:pt>
                <c:pt idx="5827">
                  <c:v>02.10.2001</c:v>
                </c:pt>
                <c:pt idx="5828">
                  <c:v>01.10.2001</c:v>
                </c:pt>
                <c:pt idx="5829">
                  <c:v>28.09.2001</c:v>
                </c:pt>
                <c:pt idx="5830">
                  <c:v>27.09.2001</c:v>
                </c:pt>
                <c:pt idx="5831">
                  <c:v>26.09.2001</c:v>
                </c:pt>
                <c:pt idx="5832">
                  <c:v>25.09.2001</c:v>
                </c:pt>
                <c:pt idx="5833">
                  <c:v>24.09.2001</c:v>
                </c:pt>
                <c:pt idx="5834">
                  <c:v>21.09.2001</c:v>
                </c:pt>
                <c:pt idx="5835">
                  <c:v>20.09.2001</c:v>
                </c:pt>
                <c:pt idx="5836">
                  <c:v>19.09.2001</c:v>
                </c:pt>
                <c:pt idx="5837">
                  <c:v>18.09.2001</c:v>
                </c:pt>
                <c:pt idx="5838">
                  <c:v>17.09.2001</c:v>
                </c:pt>
                <c:pt idx="5839">
                  <c:v>10.09.2001</c:v>
                </c:pt>
                <c:pt idx="5840">
                  <c:v>07.09.2001</c:v>
                </c:pt>
                <c:pt idx="5841">
                  <c:v>06.09.2001</c:v>
                </c:pt>
                <c:pt idx="5842">
                  <c:v>05.09.2001</c:v>
                </c:pt>
                <c:pt idx="5843">
                  <c:v>04.09.2001</c:v>
                </c:pt>
                <c:pt idx="5844">
                  <c:v>31.08.2001</c:v>
                </c:pt>
                <c:pt idx="5845">
                  <c:v>30.08.2001</c:v>
                </c:pt>
                <c:pt idx="5846">
                  <c:v>29.08.2001</c:v>
                </c:pt>
                <c:pt idx="5847">
                  <c:v>28.08.2001</c:v>
                </c:pt>
                <c:pt idx="5848">
                  <c:v>27.08.2001</c:v>
                </c:pt>
                <c:pt idx="5849">
                  <c:v>24.08.2001</c:v>
                </c:pt>
                <c:pt idx="5850">
                  <c:v>23.08.2001</c:v>
                </c:pt>
                <c:pt idx="5851">
                  <c:v>22.08.2001</c:v>
                </c:pt>
                <c:pt idx="5852">
                  <c:v>21.08.2001</c:v>
                </c:pt>
                <c:pt idx="5853">
                  <c:v>20.08.2001</c:v>
                </c:pt>
                <c:pt idx="5854">
                  <c:v>17.08.2001</c:v>
                </c:pt>
                <c:pt idx="5855">
                  <c:v>16.08.2001</c:v>
                </c:pt>
                <c:pt idx="5856">
                  <c:v>15.08.2001</c:v>
                </c:pt>
                <c:pt idx="5857">
                  <c:v>14.08.2001</c:v>
                </c:pt>
                <c:pt idx="5858">
                  <c:v>13.08.2001</c:v>
                </c:pt>
                <c:pt idx="5859">
                  <c:v>10.08.2001</c:v>
                </c:pt>
                <c:pt idx="5860">
                  <c:v>09.08.2001</c:v>
                </c:pt>
                <c:pt idx="5861">
                  <c:v>08.08.2001</c:v>
                </c:pt>
                <c:pt idx="5862">
                  <c:v>07.08.2001</c:v>
                </c:pt>
                <c:pt idx="5863">
                  <c:v>06.08.2001</c:v>
                </c:pt>
                <c:pt idx="5864">
                  <c:v>03.08.2001</c:v>
                </c:pt>
                <c:pt idx="5865">
                  <c:v>02.08.2001</c:v>
                </c:pt>
                <c:pt idx="5866">
                  <c:v>01.08.2001</c:v>
                </c:pt>
                <c:pt idx="5867">
                  <c:v>31.07.2001</c:v>
                </c:pt>
                <c:pt idx="5868">
                  <c:v>30.07.2001</c:v>
                </c:pt>
                <c:pt idx="5869">
                  <c:v>27.07.2001</c:v>
                </c:pt>
                <c:pt idx="5870">
                  <c:v>26.07.2001</c:v>
                </c:pt>
                <c:pt idx="5871">
                  <c:v>25.07.2001</c:v>
                </c:pt>
                <c:pt idx="5872">
                  <c:v>24.07.2001</c:v>
                </c:pt>
                <c:pt idx="5873">
                  <c:v>23.07.2001</c:v>
                </c:pt>
                <c:pt idx="5874">
                  <c:v>20.07.2001</c:v>
                </c:pt>
                <c:pt idx="5875">
                  <c:v>19.07.2001</c:v>
                </c:pt>
                <c:pt idx="5876">
                  <c:v>18.07.2001</c:v>
                </c:pt>
                <c:pt idx="5877">
                  <c:v>17.07.2001</c:v>
                </c:pt>
                <c:pt idx="5878">
                  <c:v>16.07.2001</c:v>
                </c:pt>
                <c:pt idx="5879">
                  <c:v>13.07.2001</c:v>
                </c:pt>
                <c:pt idx="5880">
                  <c:v>12.07.2001</c:v>
                </c:pt>
                <c:pt idx="5881">
                  <c:v>11.07.2001</c:v>
                </c:pt>
                <c:pt idx="5882">
                  <c:v>10.07.2001</c:v>
                </c:pt>
                <c:pt idx="5883">
                  <c:v>09.07.2001</c:v>
                </c:pt>
                <c:pt idx="5884">
                  <c:v>06.07.2001</c:v>
                </c:pt>
                <c:pt idx="5885">
                  <c:v>05.07.2001</c:v>
                </c:pt>
                <c:pt idx="5886">
                  <c:v>03.07.2001</c:v>
                </c:pt>
                <c:pt idx="5887">
                  <c:v>02.07.2001</c:v>
                </c:pt>
                <c:pt idx="5888">
                  <c:v>29.06.2001</c:v>
                </c:pt>
                <c:pt idx="5889">
                  <c:v>28.06.2001</c:v>
                </c:pt>
                <c:pt idx="5890">
                  <c:v>27.06.2001</c:v>
                </c:pt>
                <c:pt idx="5891">
                  <c:v>26.06.2001</c:v>
                </c:pt>
                <c:pt idx="5892">
                  <c:v>25.06.2001</c:v>
                </c:pt>
                <c:pt idx="5893">
                  <c:v>22.06.2001</c:v>
                </c:pt>
                <c:pt idx="5894">
                  <c:v>21.06.2001</c:v>
                </c:pt>
                <c:pt idx="5895">
                  <c:v>20.06.2001</c:v>
                </c:pt>
                <c:pt idx="5896">
                  <c:v>19.06.2001</c:v>
                </c:pt>
                <c:pt idx="5897">
                  <c:v>18.06.2001</c:v>
                </c:pt>
                <c:pt idx="5898">
                  <c:v>15.06.2001</c:v>
                </c:pt>
                <c:pt idx="5899">
                  <c:v>14.06.2001</c:v>
                </c:pt>
                <c:pt idx="5900">
                  <c:v>13.06.2001</c:v>
                </c:pt>
                <c:pt idx="5901">
                  <c:v>12.06.2001</c:v>
                </c:pt>
                <c:pt idx="5902">
                  <c:v>11.06.2001</c:v>
                </c:pt>
                <c:pt idx="5903">
                  <c:v>08.06.2001</c:v>
                </c:pt>
                <c:pt idx="5904">
                  <c:v>07.06.2001</c:v>
                </c:pt>
                <c:pt idx="5905">
                  <c:v>06.06.2001</c:v>
                </c:pt>
                <c:pt idx="5906">
                  <c:v>05.06.2001</c:v>
                </c:pt>
                <c:pt idx="5907">
                  <c:v>04.06.2001</c:v>
                </c:pt>
                <c:pt idx="5908">
                  <c:v>01.06.2001</c:v>
                </c:pt>
                <c:pt idx="5909">
                  <c:v>31.05.2001</c:v>
                </c:pt>
                <c:pt idx="5910">
                  <c:v>30.05.2001</c:v>
                </c:pt>
                <c:pt idx="5911">
                  <c:v>29.05.2001</c:v>
                </c:pt>
                <c:pt idx="5912">
                  <c:v>25.05.2001</c:v>
                </c:pt>
                <c:pt idx="5913">
                  <c:v>24.05.2001</c:v>
                </c:pt>
                <c:pt idx="5914">
                  <c:v>23.05.2001</c:v>
                </c:pt>
                <c:pt idx="5915">
                  <c:v>22.05.2001</c:v>
                </c:pt>
                <c:pt idx="5916">
                  <c:v>21.05.2001</c:v>
                </c:pt>
                <c:pt idx="5917">
                  <c:v>18.05.2001</c:v>
                </c:pt>
                <c:pt idx="5918">
                  <c:v>17.05.2001</c:v>
                </c:pt>
                <c:pt idx="5919">
                  <c:v>16.05.2001</c:v>
                </c:pt>
                <c:pt idx="5920">
                  <c:v>15.05.2001</c:v>
                </c:pt>
                <c:pt idx="5921">
                  <c:v>14.05.2001</c:v>
                </c:pt>
                <c:pt idx="5922">
                  <c:v>11.05.2001</c:v>
                </c:pt>
                <c:pt idx="5923">
                  <c:v>10.05.2001</c:v>
                </c:pt>
                <c:pt idx="5924">
                  <c:v>09.05.2001</c:v>
                </c:pt>
                <c:pt idx="5925">
                  <c:v>08.05.2001</c:v>
                </c:pt>
                <c:pt idx="5926">
                  <c:v>07.05.2001</c:v>
                </c:pt>
                <c:pt idx="5927">
                  <c:v>04.05.2001</c:v>
                </c:pt>
                <c:pt idx="5928">
                  <c:v>03.05.2001</c:v>
                </c:pt>
                <c:pt idx="5929">
                  <c:v>02.05.2001</c:v>
                </c:pt>
                <c:pt idx="5930">
                  <c:v>01.05.2001</c:v>
                </c:pt>
                <c:pt idx="5931">
                  <c:v>30.04.2001</c:v>
                </c:pt>
                <c:pt idx="5932">
                  <c:v>27.04.2001</c:v>
                </c:pt>
                <c:pt idx="5933">
                  <c:v>26.04.2001</c:v>
                </c:pt>
                <c:pt idx="5934">
                  <c:v>25.04.2001</c:v>
                </c:pt>
                <c:pt idx="5935">
                  <c:v>24.04.2001</c:v>
                </c:pt>
                <c:pt idx="5936">
                  <c:v>23.04.2001</c:v>
                </c:pt>
                <c:pt idx="5937">
                  <c:v>20.04.2001</c:v>
                </c:pt>
                <c:pt idx="5938">
                  <c:v>19.04.2001</c:v>
                </c:pt>
                <c:pt idx="5939">
                  <c:v>18.04.2001</c:v>
                </c:pt>
                <c:pt idx="5940">
                  <c:v>17.04.2001</c:v>
                </c:pt>
                <c:pt idx="5941">
                  <c:v>16.04.2001</c:v>
                </c:pt>
                <c:pt idx="5942">
                  <c:v>12.04.2001</c:v>
                </c:pt>
                <c:pt idx="5943">
                  <c:v>11.04.2001</c:v>
                </c:pt>
                <c:pt idx="5944">
                  <c:v>10.04.2001</c:v>
                </c:pt>
                <c:pt idx="5945">
                  <c:v>09.04.2001</c:v>
                </c:pt>
                <c:pt idx="5946">
                  <c:v>06.04.2001</c:v>
                </c:pt>
                <c:pt idx="5947">
                  <c:v>05.04.2001</c:v>
                </c:pt>
                <c:pt idx="5948">
                  <c:v>04.04.2001</c:v>
                </c:pt>
                <c:pt idx="5949">
                  <c:v>03.04.2001</c:v>
                </c:pt>
                <c:pt idx="5950">
                  <c:v>02.04.2001</c:v>
                </c:pt>
                <c:pt idx="5951">
                  <c:v>30.03.2001</c:v>
                </c:pt>
                <c:pt idx="5952">
                  <c:v>29.03.2001</c:v>
                </c:pt>
                <c:pt idx="5953">
                  <c:v>28.03.2001</c:v>
                </c:pt>
                <c:pt idx="5954">
                  <c:v>27.03.2001</c:v>
                </c:pt>
                <c:pt idx="5955">
                  <c:v>26.03.2001</c:v>
                </c:pt>
                <c:pt idx="5956">
                  <c:v>23.03.2001</c:v>
                </c:pt>
                <c:pt idx="5957">
                  <c:v>22.03.2001</c:v>
                </c:pt>
                <c:pt idx="5958">
                  <c:v>21.03.2001</c:v>
                </c:pt>
                <c:pt idx="5959">
                  <c:v>20.03.2001</c:v>
                </c:pt>
                <c:pt idx="5960">
                  <c:v>19.03.2001</c:v>
                </c:pt>
                <c:pt idx="5961">
                  <c:v>16.03.2001</c:v>
                </c:pt>
                <c:pt idx="5962">
                  <c:v>15.03.2001</c:v>
                </c:pt>
                <c:pt idx="5963">
                  <c:v>14.03.2001</c:v>
                </c:pt>
                <c:pt idx="5964">
                  <c:v>13.03.2001</c:v>
                </c:pt>
                <c:pt idx="5965">
                  <c:v>12.03.2001</c:v>
                </c:pt>
                <c:pt idx="5966">
                  <c:v>09.03.2001</c:v>
                </c:pt>
                <c:pt idx="5967">
                  <c:v>08.03.2001</c:v>
                </c:pt>
                <c:pt idx="5968">
                  <c:v>07.03.2001</c:v>
                </c:pt>
                <c:pt idx="5969">
                  <c:v>06.03.2001</c:v>
                </c:pt>
                <c:pt idx="5970">
                  <c:v>05.03.2001</c:v>
                </c:pt>
                <c:pt idx="5971">
                  <c:v>02.03.2001</c:v>
                </c:pt>
                <c:pt idx="5972">
                  <c:v>01.03.2001</c:v>
                </c:pt>
                <c:pt idx="5973">
                  <c:v>28.02.2001</c:v>
                </c:pt>
                <c:pt idx="5974">
                  <c:v>27.02.2001</c:v>
                </c:pt>
                <c:pt idx="5975">
                  <c:v>26.02.2001</c:v>
                </c:pt>
                <c:pt idx="5976">
                  <c:v>23.02.2001</c:v>
                </c:pt>
                <c:pt idx="5977">
                  <c:v>22.02.2001</c:v>
                </c:pt>
                <c:pt idx="5978">
                  <c:v>21.02.2001</c:v>
                </c:pt>
                <c:pt idx="5979">
                  <c:v>20.02.2001</c:v>
                </c:pt>
                <c:pt idx="5980">
                  <c:v>16.02.2001</c:v>
                </c:pt>
                <c:pt idx="5981">
                  <c:v>15.02.2001</c:v>
                </c:pt>
                <c:pt idx="5982">
                  <c:v>14.02.2001</c:v>
                </c:pt>
                <c:pt idx="5983">
                  <c:v>13.02.2001</c:v>
                </c:pt>
                <c:pt idx="5984">
                  <c:v>12.02.2001</c:v>
                </c:pt>
                <c:pt idx="5985">
                  <c:v>09.02.2001</c:v>
                </c:pt>
                <c:pt idx="5986">
                  <c:v>08.02.2001</c:v>
                </c:pt>
                <c:pt idx="5987">
                  <c:v>07.02.2001</c:v>
                </c:pt>
                <c:pt idx="5988">
                  <c:v>06.02.2001</c:v>
                </c:pt>
                <c:pt idx="5989">
                  <c:v>05.02.2001</c:v>
                </c:pt>
                <c:pt idx="5990">
                  <c:v>02.02.2001</c:v>
                </c:pt>
                <c:pt idx="5991">
                  <c:v>01.02.2001</c:v>
                </c:pt>
                <c:pt idx="5992">
                  <c:v>31.01.2001</c:v>
                </c:pt>
                <c:pt idx="5993">
                  <c:v>30.01.2001</c:v>
                </c:pt>
                <c:pt idx="5994">
                  <c:v>29.01.2001</c:v>
                </c:pt>
                <c:pt idx="5995">
                  <c:v>26.01.2001</c:v>
                </c:pt>
                <c:pt idx="5996">
                  <c:v>25.01.2001</c:v>
                </c:pt>
                <c:pt idx="5997">
                  <c:v>24.01.2001</c:v>
                </c:pt>
                <c:pt idx="5998">
                  <c:v>23.01.2001</c:v>
                </c:pt>
                <c:pt idx="5999">
                  <c:v>22.01.2001</c:v>
                </c:pt>
                <c:pt idx="6000">
                  <c:v>19.01.2001</c:v>
                </c:pt>
                <c:pt idx="6001">
                  <c:v>18.01.2001</c:v>
                </c:pt>
                <c:pt idx="6002">
                  <c:v>17.01.2001</c:v>
                </c:pt>
                <c:pt idx="6003">
                  <c:v>16.01.2001</c:v>
                </c:pt>
                <c:pt idx="6004">
                  <c:v>12.01.2001</c:v>
                </c:pt>
                <c:pt idx="6005">
                  <c:v>11.01.2001</c:v>
                </c:pt>
                <c:pt idx="6006">
                  <c:v>10.01.2001</c:v>
                </c:pt>
                <c:pt idx="6007">
                  <c:v>09.01.2001</c:v>
                </c:pt>
                <c:pt idx="6008">
                  <c:v>08.01.2001</c:v>
                </c:pt>
                <c:pt idx="6009">
                  <c:v>05.01.2001</c:v>
                </c:pt>
                <c:pt idx="6010">
                  <c:v>04.01.2001</c:v>
                </c:pt>
                <c:pt idx="6011">
                  <c:v>03.01.2001</c:v>
                </c:pt>
                <c:pt idx="6012">
                  <c:v>02.01.2001</c:v>
                </c:pt>
                <c:pt idx="6013">
                  <c:v>29.12.2000</c:v>
                </c:pt>
                <c:pt idx="6014">
                  <c:v>28.12.2000</c:v>
                </c:pt>
                <c:pt idx="6015">
                  <c:v>27.12.2000</c:v>
                </c:pt>
                <c:pt idx="6016">
                  <c:v>26.12.2000</c:v>
                </c:pt>
                <c:pt idx="6017">
                  <c:v>22.12.2000</c:v>
                </c:pt>
                <c:pt idx="6018">
                  <c:v>21.12.2000</c:v>
                </c:pt>
                <c:pt idx="6019">
                  <c:v>20.12.2000</c:v>
                </c:pt>
                <c:pt idx="6020">
                  <c:v>19.12.2000</c:v>
                </c:pt>
                <c:pt idx="6021">
                  <c:v>18.12.2000</c:v>
                </c:pt>
                <c:pt idx="6022">
                  <c:v>15.12.2000</c:v>
                </c:pt>
                <c:pt idx="6023">
                  <c:v>14.12.2000</c:v>
                </c:pt>
                <c:pt idx="6024">
                  <c:v>13.12.2000</c:v>
                </c:pt>
                <c:pt idx="6025">
                  <c:v>12.12.2000</c:v>
                </c:pt>
                <c:pt idx="6026">
                  <c:v>11.12.2000</c:v>
                </c:pt>
                <c:pt idx="6027">
                  <c:v>08.12.2000</c:v>
                </c:pt>
                <c:pt idx="6028">
                  <c:v>07.12.2000</c:v>
                </c:pt>
                <c:pt idx="6029">
                  <c:v>06.12.2000</c:v>
                </c:pt>
                <c:pt idx="6030">
                  <c:v>05.12.2000</c:v>
                </c:pt>
                <c:pt idx="6031">
                  <c:v>04.12.2000</c:v>
                </c:pt>
                <c:pt idx="6032">
                  <c:v>01.12.2000</c:v>
                </c:pt>
                <c:pt idx="6033">
                  <c:v>30.11.2000</c:v>
                </c:pt>
                <c:pt idx="6034">
                  <c:v>29.11.2000</c:v>
                </c:pt>
                <c:pt idx="6035">
                  <c:v>28.11.2000</c:v>
                </c:pt>
                <c:pt idx="6036">
                  <c:v>27.11.2000</c:v>
                </c:pt>
                <c:pt idx="6037">
                  <c:v>24.11.2000</c:v>
                </c:pt>
                <c:pt idx="6038">
                  <c:v>22.11.2000</c:v>
                </c:pt>
                <c:pt idx="6039">
                  <c:v>21.11.2000</c:v>
                </c:pt>
                <c:pt idx="6040">
                  <c:v>20.11.2000</c:v>
                </c:pt>
                <c:pt idx="6041">
                  <c:v>17.11.2000</c:v>
                </c:pt>
                <c:pt idx="6042">
                  <c:v>16.11.2000</c:v>
                </c:pt>
                <c:pt idx="6043">
                  <c:v>15.11.2000</c:v>
                </c:pt>
                <c:pt idx="6044">
                  <c:v>14.11.2000</c:v>
                </c:pt>
                <c:pt idx="6045">
                  <c:v>13.11.2000</c:v>
                </c:pt>
                <c:pt idx="6046">
                  <c:v>10.11.2000</c:v>
                </c:pt>
                <c:pt idx="6047">
                  <c:v>09.11.2000</c:v>
                </c:pt>
                <c:pt idx="6048">
                  <c:v>08.11.2000</c:v>
                </c:pt>
                <c:pt idx="6049">
                  <c:v>07.11.2000</c:v>
                </c:pt>
                <c:pt idx="6050">
                  <c:v>06.11.2000</c:v>
                </c:pt>
                <c:pt idx="6051">
                  <c:v>03.11.2000</c:v>
                </c:pt>
                <c:pt idx="6052">
                  <c:v>02.11.2000</c:v>
                </c:pt>
                <c:pt idx="6053">
                  <c:v>01.11.2000</c:v>
                </c:pt>
                <c:pt idx="6054">
                  <c:v>31.10.2000</c:v>
                </c:pt>
                <c:pt idx="6055">
                  <c:v>30.10.2000</c:v>
                </c:pt>
                <c:pt idx="6056">
                  <c:v>27.10.2000</c:v>
                </c:pt>
                <c:pt idx="6057">
                  <c:v>26.10.2000</c:v>
                </c:pt>
                <c:pt idx="6058">
                  <c:v>25.10.2000</c:v>
                </c:pt>
                <c:pt idx="6059">
                  <c:v>24.10.2000</c:v>
                </c:pt>
                <c:pt idx="6060">
                  <c:v>23.10.2000</c:v>
                </c:pt>
                <c:pt idx="6061">
                  <c:v>20.10.2000</c:v>
                </c:pt>
                <c:pt idx="6062">
                  <c:v>19.10.2000</c:v>
                </c:pt>
                <c:pt idx="6063">
                  <c:v>18.10.2000</c:v>
                </c:pt>
                <c:pt idx="6064">
                  <c:v>17.10.2000</c:v>
                </c:pt>
                <c:pt idx="6065">
                  <c:v>16.10.2000</c:v>
                </c:pt>
                <c:pt idx="6066">
                  <c:v>13.10.2000</c:v>
                </c:pt>
                <c:pt idx="6067">
                  <c:v>12.10.2000</c:v>
                </c:pt>
                <c:pt idx="6068">
                  <c:v>11.10.2000</c:v>
                </c:pt>
                <c:pt idx="6069">
                  <c:v>10.10.2000</c:v>
                </c:pt>
                <c:pt idx="6070">
                  <c:v>09.10.2000</c:v>
                </c:pt>
                <c:pt idx="6071">
                  <c:v>06.10.2000</c:v>
                </c:pt>
                <c:pt idx="6072">
                  <c:v>05.10.2000</c:v>
                </c:pt>
                <c:pt idx="6073">
                  <c:v>04.10.2000</c:v>
                </c:pt>
                <c:pt idx="6074">
                  <c:v>03.10.2000</c:v>
                </c:pt>
                <c:pt idx="6075">
                  <c:v>02.10.2000</c:v>
                </c:pt>
                <c:pt idx="6076">
                  <c:v>29.09.2000</c:v>
                </c:pt>
                <c:pt idx="6077">
                  <c:v>28.09.2000</c:v>
                </c:pt>
                <c:pt idx="6078">
                  <c:v>27.09.2000</c:v>
                </c:pt>
                <c:pt idx="6079">
                  <c:v>26.09.2000</c:v>
                </c:pt>
                <c:pt idx="6080">
                  <c:v>25.09.2000</c:v>
                </c:pt>
                <c:pt idx="6081">
                  <c:v>22.09.2000</c:v>
                </c:pt>
                <c:pt idx="6082">
                  <c:v>21.09.2000</c:v>
                </c:pt>
                <c:pt idx="6083">
                  <c:v>20.09.2000</c:v>
                </c:pt>
                <c:pt idx="6084">
                  <c:v>19.09.2000</c:v>
                </c:pt>
                <c:pt idx="6085">
                  <c:v>18.09.2000</c:v>
                </c:pt>
                <c:pt idx="6086">
                  <c:v>15.09.2000</c:v>
                </c:pt>
                <c:pt idx="6087">
                  <c:v>14.09.2000</c:v>
                </c:pt>
                <c:pt idx="6088">
                  <c:v>13.09.2000</c:v>
                </c:pt>
                <c:pt idx="6089">
                  <c:v>12.09.2000</c:v>
                </c:pt>
                <c:pt idx="6090">
                  <c:v>11.09.2000</c:v>
                </c:pt>
                <c:pt idx="6091">
                  <c:v>08.09.2000</c:v>
                </c:pt>
                <c:pt idx="6092">
                  <c:v>07.09.2000</c:v>
                </c:pt>
                <c:pt idx="6093">
                  <c:v>06.09.2000</c:v>
                </c:pt>
                <c:pt idx="6094">
                  <c:v>05.09.2000</c:v>
                </c:pt>
                <c:pt idx="6095">
                  <c:v>01.09.2000</c:v>
                </c:pt>
                <c:pt idx="6096">
                  <c:v>31.08.2000</c:v>
                </c:pt>
                <c:pt idx="6097">
                  <c:v>30.08.2000</c:v>
                </c:pt>
                <c:pt idx="6098">
                  <c:v>29.08.2000</c:v>
                </c:pt>
                <c:pt idx="6099">
                  <c:v>28.08.2000</c:v>
                </c:pt>
                <c:pt idx="6100">
                  <c:v>25.08.2000</c:v>
                </c:pt>
                <c:pt idx="6101">
                  <c:v>24.08.2000</c:v>
                </c:pt>
                <c:pt idx="6102">
                  <c:v>23.08.2000</c:v>
                </c:pt>
                <c:pt idx="6103">
                  <c:v>22.08.2000</c:v>
                </c:pt>
                <c:pt idx="6104">
                  <c:v>21.08.2000</c:v>
                </c:pt>
                <c:pt idx="6105">
                  <c:v>18.08.2000</c:v>
                </c:pt>
                <c:pt idx="6106">
                  <c:v>17.08.2000</c:v>
                </c:pt>
                <c:pt idx="6107">
                  <c:v>16.08.2000</c:v>
                </c:pt>
                <c:pt idx="6108">
                  <c:v>15.08.2000</c:v>
                </c:pt>
                <c:pt idx="6109">
                  <c:v>14.08.2000</c:v>
                </c:pt>
                <c:pt idx="6110">
                  <c:v>11.08.2000</c:v>
                </c:pt>
                <c:pt idx="6111">
                  <c:v>10.08.2000</c:v>
                </c:pt>
                <c:pt idx="6112">
                  <c:v>09.08.2000</c:v>
                </c:pt>
                <c:pt idx="6113">
                  <c:v>08.08.2000</c:v>
                </c:pt>
                <c:pt idx="6114">
                  <c:v>07.08.2000</c:v>
                </c:pt>
                <c:pt idx="6115">
                  <c:v>04.08.2000</c:v>
                </c:pt>
                <c:pt idx="6116">
                  <c:v>03.08.2000</c:v>
                </c:pt>
                <c:pt idx="6117">
                  <c:v>02.08.2000</c:v>
                </c:pt>
                <c:pt idx="6118">
                  <c:v>01.08.2000</c:v>
                </c:pt>
                <c:pt idx="6119">
                  <c:v>31.07.2000</c:v>
                </c:pt>
                <c:pt idx="6120">
                  <c:v>28.07.2000</c:v>
                </c:pt>
                <c:pt idx="6121">
                  <c:v>27.07.2000</c:v>
                </c:pt>
                <c:pt idx="6122">
                  <c:v>26.07.2000</c:v>
                </c:pt>
                <c:pt idx="6123">
                  <c:v>25.07.2000</c:v>
                </c:pt>
                <c:pt idx="6124">
                  <c:v>24.07.2000</c:v>
                </c:pt>
                <c:pt idx="6125">
                  <c:v>21.07.2000</c:v>
                </c:pt>
                <c:pt idx="6126">
                  <c:v>20.07.2000</c:v>
                </c:pt>
                <c:pt idx="6127">
                  <c:v>19.07.2000</c:v>
                </c:pt>
                <c:pt idx="6128">
                  <c:v>18.07.2000</c:v>
                </c:pt>
                <c:pt idx="6129">
                  <c:v>17.07.2000</c:v>
                </c:pt>
                <c:pt idx="6130">
                  <c:v>14.07.2000</c:v>
                </c:pt>
                <c:pt idx="6131">
                  <c:v>13.07.2000</c:v>
                </c:pt>
                <c:pt idx="6132">
                  <c:v>12.07.2000</c:v>
                </c:pt>
                <c:pt idx="6133">
                  <c:v>11.07.2000</c:v>
                </c:pt>
                <c:pt idx="6134">
                  <c:v>10.07.2000</c:v>
                </c:pt>
                <c:pt idx="6135">
                  <c:v>07.07.2000</c:v>
                </c:pt>
                <c:pt idx="6136">
                  <c:v>06.07.2000</c:v>
                </c:pt>
                <c:pt idx="6137">
                  <c:v>05.07.2000</c:v>
                </c:pt>
                <c:pt idx="6138">
                  <c:v>03.07.2000</c:v>
                </c:pt>
                <c:pt idx="6139">
                  <c:v>30.06.2000</c:v>
                </c:pt>
                <c:pt idx="6140">
                  <c:v>29.06.2000</c:v>
                </c:pt>
                <c:pt idx="6141">
                  <c:v>28.06.2000</c:v>
                </c:pt>
                <c:pt idx="6142">
                  <c:v>27.06.2000</c:v>
                </c:pt>
                <c:pt idx="6143">
                  <c:v>26.06.2000</c:v>
                </c:pt>
                <c:pt idx="6144">
                  <c:v>23.06.2000</c:v>
                </c:pt>
                <c:pt idx="6145">
                  <c:v>22.06.2000</c:v>
                </c:pt>
                <c:pt idx="6146">
                  <c:v>21.06.2000</c:v>
                </c:pt>
                <c:pt idx="6147">
                  <c:v>20.06.2000</c:v>
                </c:pt>
                <c:pt idx="6148">
                  <c:v>19.06.2000</c:v>
                </c:pt>
                <c:pt idx="6149">
                  <c:v>16.06.2000</c:v>
                </c:pt>
                <c:pt idx="6150">
                  <c:v>15.06.2000</c:v>
                </c:pt>
                <c:pt idx="6151">
                  <c:v>14.06.2000</c:v>
                </c:pt>
                <c:pt idx="6152">
                  <c:v>13.06.2000</c:v>
                </c:pt>
                <c:pt idx="6153">
                  <c:v>12.06.2000</c:v>
                </c:pt>
                <c:pt idx="6154">
                  <c:v>09.06.2000</c:v>
                </c:pt>
                <c:pt idx="6155">
                  <c:v>08.06.2000</c:v>
                </c:pt>
                <c:pt idx="6156">
                  <c:v>07.06.2000</c:v>
                </c:pt>
                <c:pt idx="6157">
                  <c:v>06.06.2000</c:v>
                </c:pt>
                <c:pt idx="6158">
                  <c:v>05.06.2000</c:v>
                </c:pt>
                <c:pt idx="6159">
                  <c:v>02.06.2000</c:v>
                </c:pt>
                <c:pt idx="6160">
                  <c:v>01.06.2000</c:v>
                </c:pt>
                <c:pt idx="6161">
                  <c:v>31.05.2000</c:v>
                </c:pt>
                <c:pt idx="6162">
                  <c:v>30.05.2000</c:v>
                </c:pt>
                <c:pt idx="6163">
                  <c:v>26.05.2000</c:v>
                </c:pt>
                <c:pt idx="6164">
                  <c:v>25.05.2000</c:v>
                </c:pt>
                <c:pt idx="6165">
                  <c:v>24.05.2000</c:v>
                </c:pt>
                <c:pt idx="6166">
                  <c:v>23.05.2000</c:v>
                </c:pt>
                <c:pt idx="6167">
                  <c:v>22.05.2000</c:v>
                </c:pt>
                <c:pt idx="6168">
                  <c:v>19.05.2000</c:v>
                </c:pt>
                <c:pt idx="6169">
                  <c:v>18.05.2000</c:v>
                </c:pt>
                <c:pt idx="6170">
                  <c:v>17.05.2000</c:v>
                </c:pt>
                <c:pt idx="6171">
                  <c:v>16.05.2000</c:v>
                </c:pt>
                <c:pt idx="6172">
                  <c:v>15.05.2000</c:v>
                </c:pt>
                <c:pt idx="6173">
                  <c:v>12.05.2000</c:v>
                </c:pt>
                <c:pt idx="6174">
                  <c:v>11.05.2000</c:v>
                </c:pt>
                <c:pt idx="6175">
                  <c:v>10.05.2000</c:v>
                </c:pt>
                <c:pt idx="6176">
                  <c:v>09.05.2000</c:v>
                </c:pt>
                <c:pt idx="6177">
                  <c:v>08.05.2000</c:v>
                </c:pt>
                <c:pt idx="6178">
                  <c:v>05.05.2000</c:v>
                </c:pt>
                <c:pt idx="6179">
                  <c:v>04.05.2000</c:v>
                </c:pt>
                <c:pt idx="6180">
                  <c:v>03.05.2000</c:v>
                </c:pt>
                <c:pt idx="6181">
                  <c:v>02.05.2000</c:v>
                </c:pt>
                <c:pt idx="6182">
                  <c:v>01.05.2000</c:v>
                </c:pt>
                <c:pt idx="6183">
                  <c:v>28.04.2000</c:v>
                </c:pt>
                <c:pt idx="6184">
                  <c:v>27.04.2000</c:v>
                </c:pt>
                <c:pt idx="6185">
                  <c:v>26.04.2000</c:v>
                </c:pt>
                <c:pt idx="6186">
                  <c:v>25.04.2000</c:v>
                </c:pt>
                <c:pt idx="6187">
                  <c:v>24.04.2000</c:v>
                </c:pt>
                <c:pt idx="6188">
                  <c:v>20.04.2000</c:v>
                </c:pt>
                <c:pt idx="6189">
                  <c:v>19.04.2000</c:v>
                </c:pt>
                <c:pt idx="6190">
                  <c:v>18.04.2000</c:v>
                </c:pt>
                <c:pt idx="6191">
                  <c:v>17.04.2000</c:v>
                </c:pt>
                <c:pt idx="6192">
                  <c:v>14.04.2000</c:v>
                </c:pt>
                <c:pt idx="6193">
                  <c:v>13.04.2000</c:v>
                </c:pt>
                <c:pt idx="6194">
                  <c:v>12.04.2000</c:v>
                </c:pt>
                <c:pt idx="6195">
                  <c:v>11.04.2000</c:v>
                </c:pt>
                <c:pt idx="6196">
                  <c:v>10.04.2000</c:v>
                </c:pt>
                <c:pt idx="6197">
                  <c:v>07.04.2000</c:v>
                </c:pt>
                <c:pt idx="6198">
                  <c:v>06.04.2000</c:v>
                </c:pt>
                <c:pt idx="6199">
                  <c:v>05.04.2000</c:v>
                </c:pt>
                <c:pt idx="6200">
                  <c:v>04.04.2000</c:v>
                </c:pt>
                <c:pt idx="6201">
                  <c:v>03.04.2000</c:v>
                </c:pt>
                <c:pt idx="6202">
                  <c:v>31.03.2000</c:v>
                </c:pt>
                <c:pt idx="6203">
                  <c:v>30.03.2000</c:v>
                </c:pt>
                <c:pt idx="6204">
                  <c:v>29.03.2000</c:v>
                </c:pt>
                <c:pt idx="6205">
                  <c:v>28.03.2000</c:v>
                </c:pt>
                <c:pt idx="6206">
                  <c:v>27.03.2000</c:v>
                </c:pt>
                <c:pt idx="6207">
                  <c:v>24.03.2000</c:v>
                </c:pt>
                <c:pt idx="6208">
                  <c:v>23.03.2000</c:v>
                </c:pt>
                <c:pt idx="6209">
                  <c:v>22.03.2000</c:v>
                </c:pt>
                <c:pt idx="6210">
                  <c:v>21.03.2000</c:v>
                </c:pt>
                <c:pt idx="6211">
                  <c:v>20.03.2000</c:v>
                </c:pt>
                <c:pt idx="6212">
                  <c:v>17.03.2000</c:v>
                </c:pt>
                <c:pt idx="6213">
                  <c:v>16.03.2000</c:v>
                </c:pt>
                <c:pt idx="6214">
                  <c:v>15.03.2000</c:v>
                </c:pt>
                <c:pt idx="6215">
                  <c:v>14.03.2000</c:v>
                </c:pt>
                <c:pt idx="6216">
                  <c:v>13.03.2000</c:v>
                </c:pt>
                <c:pt idx="6217">
                  <c:v>10.03.2000</c:v>
                </c:pt>
                <c:pt idx="6218">
                  <c:v>09.03.2000</c:v>
                </c:pt>
                <c:pt idx="6219">
                  <c:v>08.03.2000</c:v>
                </c:pt>
                <c:pt idx="6220">
                  <c:v>07.03.2000</c:v>
                </c:pt>
                <c:pt idx="6221">
                  <c:v>06.03.2000</c:v>
                </c:pt>
                <c:pt idx="6222">
                  <c:v>03.03.2000</c:v>
                </c:pt>
                <c:pt idx="6223">
                  <c:v>02.03.2000</c:v>
                </c:pt>
                <c:pt idx="6224">
                  <c:v>01.03.2000</c:v>
                </c:pt>
                <c:pt idx="6225">
                  <c:v>29.02.2000</c:v>
                </c:pt>
                <c:pt idx="6226">
                  <c:v>28.02.2000</c:v>
                </c:pt>
                <c:pt idx="6227">
                  <c:v>25.02.2000</c:v>
                </c:pt>
                <c:pt idx="6228">
                  <c:v>24.02.2000</c:v>
                </c:pt>
                <c:pt idx="6229">
                  <c:v>23.02.2000</c:v>
                </c:pt>
                <c:pt idx="6230">
                  <c:v>22.02.2000</c:v>
                </c:pt>
                <c:pt idx="6231">
                  <c:v>18.02.2000</c:v>
                </c:pt>
                <c:pt idx="6232">
                  <c:v>17.02.2000</c:v>
                </c:pt>
                <c:pt idx="6233">
                  <c:v>16.02.2000</c:v>
                </c:pt>
                <c:pt idx="6234">
                  <c:v>15.02.2000</c:v>
                </c:pt>
                <c:pt idx="6235">
                  <c:v>14.02.2000</c:v>
                </c:pt>
                <c:pt idx="6236">
                  <c:v>11.02.2000</c:v>
                </c:pt>
                <c:pt idx="6237">
                  <c:v>10.02.2000</c:v>
                </c:pt>
                <c:pt idx="6238">
                  <c:v>09.02.2000</c:v>
                </c:pt>
                <c:pt idx="6239">
                  <c:v>08.02.2000</c:v>
                </c:pt>
                <c:pt idx="6240">
                  <c:v>07.02.2000</c:v>
                </c:pt>
                <c:pt idx="6241">
                  <c:v>04.02.2000</c:v>
                </c:pt>
                <c:pt idx="6242">
                  <c:v>03.02.2000</c:v>
                </c:pt>
                <c:pt idx="6243">
                  <c:v>02.02.2000</c:v>
                </c:pt>
                <c:pt idx="6244">
                  <c:v>01.02.2000</c:v>
                </c:pt>
                <c:pt idx="6245">
                  <c:v>31.01.2000</c:v>
                </c:pt>
                <c:pt idx="6246">
                  <c:v>28.01.2000</c:v>
                </c:pt>
                <c:pt idx="6247">
                  <c:v>27.01.2000</c:v>
                </c:pt>
                <c:pt idx="6248">
                  <c:v>26.01.2000</c:v>
                </c:pt>
                <c:pt idx="6249">
                  <c:v>25.01.2000</c:v>
                </c:pt>
                <c:pt idx="6250">
                  <c:v>24.01.2000</c:v>
                </c:pt>
                <c:pt idx="6251">
                  <c:v>21.01.2000</c:v>
                </c:pt>
                <c:pt idx="6252">
                  <c:v>20.01.2000</c:v>
                </c:pt>
                <c:pt idx="6253">
                  <c:v>19.01.2000</c:v>
                </c:pt>
                <c:pt idx="6254">
                  <c:v>18.01.2000</c:v>
                </c:pt>
                <c:pt idx="6255">
                  <c:v>14.01.2000</c:v>
                </c:pt>
                <c:pt idx="6256">
                  <c:v>13.01.2000</c:v>
                </c:pt>
                <c:pt idx="6257">
                  <c:v>12.01.2000</c:v>
                </c:pt>
                <c:pt idx="6258">
                  <c:v>11.01.2000</c:v>
                </c:pt>
                <c:pt idx="6259">
                  <c:v>10.01.2000</c:v>
                </c:pt>
                <c:pt idx="6260">
                  <c:v>07.01.2000</c:v>
                </c:pt>
                <c:pt idx="6261">
                  <c:v>06.01.2000</c:v>
                </c:pt>
                <c:pt idx="6262">
                  <c:v>05.01.2000</c:v>
                </c:pt>
                <c:pt idx="6263">
                  <c:v>04.01.2000</c:v>
                </c:pt>
                <c:pt idx="6264">
                  <c:v>03.01.2000</c:v>
                </c:pt>
                <c:pt idx="6265">
                  <c:v>31.12.1999</c:v>
                </c:pt>
                <c:pt idx="6266">
                  <c:v>30.12.1999</c:v>
                </c:pt>
                <c:pt idx="6267">
                  <c:v>29.12.1999</c:v>
                </c:pt>
                <c:pt idx="6268">
                  <c:v>28.12.1999</c:v>
                </c:pt>
                <c:pt idx="6269">
                  <c:v>27.12.1999</c:v>
                </c:pt>
                <c:pt idx="6270">
                  <c:v>23.12.1999</c:v>
                </c:pt>
                <c:pt idx="6271">
                  <c:v>22.12.1999</c:v>
                </c:pt>
                <c:pt idx="6272">
                  <c:v>21.12.1999</c:v>
                </c:pt>
                <c:pt idx="6273">
                  <c:v>20.12.1999</c:v>
                </c:pt>
                <c:pt idx="6274">
                  <c:v>17.12.1999</c:v>
                </c:pt>
                <c:pt idx="6275">
                  <c:v>16.12.1999</c:v>
                </c:pt>
                <c:pt idx="6276">
                  <c:v>15.12.1999</c:v>
                </c:pt>
                <c:pt idx="6277">
                  <c:v>14.12.1999</c:v>
                </c:pt>
                <c:pt idx="6278">
                  <c:v>13.12.1999</c:v>
                </c:pt>
                <c:pt idx="6279">
                  <c:v>10.12.1999</c:v>
                </c:pt>
                <c:pt idx="6280">
                  <c:v>09.12.1999</c:v>
                </c:pt>
                <c:pt idx="6281">
                  <c:v>08.12.1999</c:v>
                </c:pt>
                <c:pt idx="6282">
                  <c:v>07.12.1999</c:v>
                </c:pt>
                <c:pt idx="6283">
                  <c:v>06.12.1999</c:v>
                </c:pt>
                <c:pt idx="6284">
                  <c:v>03.12.1999</c:v>
                </c:pt>
                <c:pt idx="6285">
                  <c:v>02.12.1999</c:v>
                </c:pt>
                <c:pt idx="6286">
                  <c:v>01.12.1999</c:v>
                </c:pt>
                <c:pt idx="6287">
                  <c:v>30.11.1999</c:v>
                </c:pt>
                <c:pt idx="6288">
                  <c:v>29.11.1999</c:v>
                </c:pt>
                <c:pt idx="6289">
                  <c:v>26.11.1999</c:v>
                </c:pt>
                <c:pt idx="6290">
                  <c:v>24.11.1999</c:v>
                </c:pt>
                <c:pt idx="6291">
                  <c:v>23.11.1999</c:v>
                </c:pt>
                <c:pt idx="6292">
                  <c:v>22.11.1999</c:v>
                </c:pt>
                <c:pt idx="6293">
                  <c:v>19.11.1999</c:v>
                </c:pt>
                <c:pt idx="6294">
                  <c:v>18.11.1999</c:v>
                </c:pt>
                <c:pt idx="6295">
                  <c:v>17.11.1999</c:v>
                </c:pt>
                <c:pt idx="6296">
                  <c:v>16.11.1999</c:v>
                </c:pt>
                <c:pt idx="6297">
                  <c:v>15.11.1999</c:v>
                </c:pt>
                <c:pt idx="6298">
                  <c:v>12.11.1999</c:v>
                </c:pt>
                <c:pt idx="6299">
                  <c:v>11.11.1999</c:v>
                </c:pt>
                <c:pt idx="6300">
                  <c:v>10.11.1999</c:v>
                </c:pt>
                <c:pt idx="6301">
                  <c:v>09.11.1999</c:v>
                </c:pt>
                <c:pt idx="6302">
                  <c:v>08.11.1999</c:v>
                </c:pt>
                <c:pt idx="6303">
                  <c:v>05.11.1999</c:v>
                </c:pt>
                <c:pt idx="6304">
                  <c:v>04.11.1999</c:v>
                </c:pt>
                <c:pt idx="6305">
                  <c:v>03.11.1999</c:v>
                </c:pt>
                <c:pt idx="6306">
                  <c:v>02.11.1999</c:v>
                </c:pt>
                <c:pt idx="6307">
                  <c:v>01.11.1999</c:v>
                </c:pt>
                <c:pt idx="6308">
                  <c:v>29.10.1999</c:v>
                </c:pt>
                <c:pt idx="6309">
                  <c:v>28.10.1999</c:v>
                </c:pt>
                <c:pt idx="6310">
                  <c:v>27.10.1999</c:v>
                </c:pt>
                <c:pt idx="6311">
                  <c:v>26.10.1999</c:v>
                </c:pt>
                <c:pt idx="6312">
                  <c:v>25.10.1999</c:v>
                </c:pt>
                <c:pt idx="6313">
                  <c:v>22.10.1999</c:v>
                </c:pt>
                <c:pt idx="6314">
                  <c:v>21.10.1999</c:v>
                </c:pt>
                <c:pt idx="6315">
                  <c:v>20.10.1999</c:v>
                </c:pt>
                <c:pt idx="6316">
                  <c:v>19.10.1999</c:v>
                </c:pt>
                <c:pt idx="6317">
                  <c:v>18.10.1999</c:v>
                </c:pt>
                <c:pt idx="6318">
                  <c:v>15.10.1999</c:v>
                </c:pt>
                <c:pt idx="6319">
                  <c:v>14.10.1999</c:v>
                </c:pt>
                <c:pt idx="6320">
                  <c:v>13.10.1999</c:v>
                </c:pt>
                <c:pt idx="6321">
                  <c:v>12.10.1999</c:v>
                </c:pt>
                <c:pt idx="6322">
                  <c:v>11.10.1999</c:v>
                </c:pt>
                <c:pt idx="6323">
                  <c:v>08.10.1999</c:v>
                </c:pt>
                <c:pt idx="6324">
                  <c:v>07.10.1999</c:v>
                </c:pt>
                <c:pt idx="6325">
                  <c:v>06.10.1999</c:v>
                </c:pt>
                <c:pt idx="6326">
                  <c:v>05.10.1999</c:v>
                </c:pt>
                <c:pt idx="6327">
                  <c:v>04.10.1999</c:v>
                </c:pt>
                <c:pt idx="6328">
                  <c:v>01.10.1999</c:v>
                </c:pt>
                <c:pt idx="6329">
                  <c:v>30.09.1999</c:v>
                </c:pt>
                <c:pt idx="6330">
                  <c:v>29.09.1999</c:v>
                </c:pt>
                <c:pt idx="6331">
                  <c:v>28.09.1999</c:v>
                </c:pt>
                <c:pt idx="6332">
                  <c:v>27.09.1999</c:v>
                </c:pt>
                <c:pt idx="6333">
                  <c:v>24.09.1999</c:v>
                </c:pt>
                <c:pt idx="6334">
                  <c:v>23.09.1999</c:v>
                </c:pt>
                <c:pt idx="6335">
                  <c:v>22.09.1999</c:v>
                </c:pt>
                <c:pt idx="6336">
                  <c:v>21.09.1999</c:v>
                </c:pt>
                <c:pt idx="6337">
                  <c:v>20.09.1999</c:v>
                </c:pt>
                <c:pt idx="6338">
                  <c:v>17.09.1999</c:v>
                </c:pt>
                <c:pt idx="6339">
                  <c:v>16.09.1999</c:v>
                </c:pt>
                <c:pt idx="6340">
                  <c:v>15.09.1999</c:v>
                </c:pt>
                <c:pt idx="6341">
                  <c:v>14.09.1999</c:v>
                </c:pt>
                <c:pt idx="6342">
                  <c:v>13.09.1999</c:v>
                </c:pt>
                <c:pt idx="6343">
                  <c:v>10.09.1999</c:v>
                </c:pt>
                <c:pt idx="6344">
                  <c:v>09.09.1999</c:v>
                </c:pt>
                <c:pt idx="6345">
                  <c:v>08.09.1999</c:v>
                </c:pt>
                <c:pt idx="6346">
                  <c:v>07.09.1999</c:v>
                </c:pt>
                <c:pt idx="6347">
                  <c:v>03.09.1999</c:v>
                </c:pt>
                <c:pt idx="6348">
                  <c:v>02.09.1999</c:v>
                </c:pt>
                <c:pt idx="6349">
                  <c:v>01.09.1999</c:v>
                </c:pt>
                <c:pt idx="6350">
                  <c:v>31.08.1999</c:v>
                </c:pt>
                <c:pt idx="6351">
                  <c:v>30.08.1999</c:v>
                </c:pt>
                <c:pt idx="6352">
                  <c:v>27.08.1999</c:v>
                </c:pt>
                <c:pt idx="6353">
                  <c:v>26.08.1999</c:v>
                </c:pt>
                <c:pt idx="6354">
                  <c:v>25.08.1999</c:v>
                </c:pt>
                <c:pt idx="6355">
                  <c:v>24.08.1999</c:v>
                </c:pt>
                <c:pt idx="6356">
                  <c:v>23.08.1999</c:v>
                </c:pt>
                <c:pt idx="6357">
                  <c:v>20.08.1999</c:v>
                </c:pt>
                <c:pt idx="6358">
                  <c:v>19.08.1999</c:v>
                </c:pt>
                <c:pt idx="6359">
                  <c:v>18.08.1999</c:v>
                </c:pt>
                <c:pt idx="6360">
                  <c:v>17.08.1999</c:v>
                </c:pt>
                <c:pt idx="6361">
                  <c:v>16.08.1999</c:v>
                </c:pt>
                <c:pt idx="6362">
                  <c:v>13.08.1999</c:v>
                </c:pt>
                <c:pt idx="6363">
                  <c:v>12.08.1999</c:v>
                </c:pt>
                <c:pt idx="6364">
                  <c:v>11.08.1999</c:v>
                </c:pt>
                <c:pt idx="6365">
                  <c:v>10.08.1999</c:v>
                </c:pt>
                <c:pt idx="6366">
                  <c:v>09.08.1999</c:v>
                </c:pt>
                <c:pt idx="6367">
                  <c:v>06.08.1999</c:v>
                </c:pt>
                <c:pt idx="6368">
                  <c:v>05.08.1999</c:v>
                </c:pt>
                <c:pt idx="6369">
                  <c:v>04.08.1999</c:v>
                </c:pt>
                <c:pt idx="6370">
                  <c:v>03.08.1999</c:v>
                </c:pt>
                <c:pt idx="6371">
                  <c:v>02.08.1999</c:v>
                </c:pt>
                <c:pt idx="6372">
                  <c:v>30.07.1999</c:v>
                </c:pt>
                <c:pt idx="6373">
                  <c:v>29.07.1999</c:v>
                </c:pt>
                <c:pt idx="6374">
                  <c:v>28.07.1999</c:v>
                </c:pt>
                <c:pt idx="6375">
                  <c:v>27.07.1999</c:v>
                </c:pt>
                <c:pt idx="6376">
                  <c:v>26.07.1999</c:v>
                </c:pt>
                <c:pt idx="6377">
                  <c:v>23.07.1999</c:v>
                </c:pt>
                <c:pt idx="6378">
                  <c:v>22.07.1999</c:v>
                </c:pt>
                <c:pt idx="6379">
                  <c:v>21.07.1999</c:v>
                </c:pt>
                <c:pt idx="6380">
                  <c:v>20.07.1999</c:v>
                </c:pt>
                <c:pt idx="6381">
                  <c:v>19.07.1999</c:v>
                </c:pt>
                <c:pt idx="6382">
                  <c:v>16.07.1999</c:v>
                </c:pt>
                <c:pt idx="6383">
                  <c:v>15.07.1999</c:v>
                </c:pt>
                <c:pt idx="6384">
                  <c:v>14.07.1999</c:v>
                </c:pt>
                <c:pt idx="6385">
                  <c:v>13.07.1999</c:v>
                </c:pt>
                <c:pt idx="6386">
                  <c:v>12.07.1999</c:v>
                </c:pt>
                <c:pt idx="6387">
                  <c:v>09.07.1999</c:v>
                </c:pt>
                <c:pt idx="6388">
                  <c:v>08.07.1999</c:v>
                </c:pt>
                <c:pt idx="6389">
                  <c:v>07.07.1999</c:v>
                </c:pt>
                <c:pt idx="6390">
                  <c:v>06.07.1999</c:v>
                </c:pt>
                <c:pt idx="6391">
                  <c:v>02.07.1999</c:v>
                </c:pt>
                <c:pt idx="6392">
                  <c:v>01.07.1999</c:v>
                </c:pt>
                <c:pt idx="6393">
                  <c:v>30.06.1999</c:v>
                </c:pt>
                <c:pt idx="6394">
                  <c:v>29.06.1999</c:v>
                </c:pt>
                <c:pt idx="6395">
                  <c:v>28.06.1999</c:v>
                </c:pt>
                <c:pt idx="6396">
                  <c:v>25.06.1999</c:v>
                </c:pt>
                <c:pt idx="6397">
                  <c:v>24.06.1999</c:v>
                </c:pt>
                <c:pt idx="6398">
                  <c:v>23.06.1999</c:v>
                </c:pt>
                <c:pt idx="6399">
                  <c:v>22.06.1999</c:v>
                </c:pt>
                <c:pt idx="6400">
                  <c:v>21.06.1999</c:v>
                </c:pt>
                <c:pt idx="6401">
                  <c:v>18.06.1999</c:v>
                </c:pt>
                <c:pt idx="6402">
                  <c:v>17.06.1999</c:v>
                </c:pt>
                <c:pt idx="6403">
                  <c:v>16.06.1999</c:v>
                </c:pt>
                <c:pt idx="6404">
                  <c:v>15.06.1999</c:v>
                </c:pt>
                <c:pt idx="6405">
                  <c:v>14.06.1999</c:v>
                </c:pt>
                <c:pt idx="6406">
                  <c:v>11.06.1999</c:v>
                </c:pt>
                <c:pt idx="6407">
                  <c:v>10.06.1999</c:v>
                </c:pt>
                <c:pt idx="6408">
                  <c:v>09.06.1999</c:v>
                </c:pt>
                <c:pt idx="6409">
                  <c:v>08.06.1999</c:v>
                </c:pt>
                <c:pt idx="6410">
                  <c:v>07.06.1999</c:v>
                </c:pt>
                <c:pt idx="6411">
                  <c:v>04.06.1999</c:v>
                </c:pt>
                <c:pt idx="6412">
                  <c:v>03.06.1999</c:v>
                </c:pt>
                <c:pt idx="6413">
                  <c:v>02.06.1999</c:v>
                </c:pt>
                <c:pt idx="6414">
                  <c:v>01.06.1999</c:v>
                </c:pt>
                <c:pt idx="6415">
                  <c:v>28.05.1999</c:v>
                </c:pt>
                <c:pt idx="6416">
                  <c:v>27.05.1999</c:v>
                </c:pt>
                <c:pt idx="6417">
                  <c:v>26.05.1999</c:v>
                </c:pt>
                <c:pt idx="6418">
                  <c:v>25.05.1999</c:v>
                </c:pt>
                <c:pt idx="6419">
                  <c:v>24.05.1999</c:v>
                </c:pt>
                <c:pt idx="6420">
                  <c:v>21.05.1999</c:v>
                </c:pt>
                <c:pt idx="6421">
                  <c:v>20.05.1999</c:v>
                </c:pt>
                <c:pt idx="6422">
                  <c:v>19.05.1999</c:v>
                </c:pt>
                <c:pt idx="6423">
                  <c:v>18.05.1999</c:v>
                </c:pt>
                <c:pt idx="6424">
                  <c:v>17.05.1999</c:v>
                </c:pt>
                <c:pt idx="6425">
                  <c:v>14.05.1999</c:v>
                </c:pt>
                <c:pt idx="6426">
                  <c:v>13.05.1999</c:v>
                </c:pt>
                <c:pt idx="6427">
                  <c:v>12.05.1999</c:v>
                </c:pt>
                <c:pt idx="6428">
                  <c:v>11.05.1999</c:v>
                </c:pt>
                <c:pt idx="6429">
                  <c:v>10.05.1999</c:v>
                </c:pt>
                <c:pt idx="6430">
                  <c:v>07.05.1999</c:v>
                </c:pt>
                <c:pt idx="6431">
                  <c:v>06.05.1999</c:v>
                </c:pt>
                <c:pt idx="6432">
                  <c:v>05.05.1999</c:v>
                </c:pt>
                <c:pt idx="6433">
                  <c:v>04.05.1999</c:v>
                </c:pt>
                <c:pt idx="6434">
                  <c:v>03.05.1999</c:v>
                </c:pt>
                <c:pt idx="6435">
                  <c:v>30.04.1999</c:v>
                </c:pt>
                <c:pt idx="6436">
                  <c:v>29.04.1999</c:v>
                </c:pt>
                <c:pt idx="6437">
                  <c:v>28.04.1999</c:v>
                </c:pt>
                <c:pt idx="6438">
                  <c:v>27.04.1999</c:v>
                </c:pt>
                <c:pt idx="6439">
                  <c:v>26.04.1999</c:v>
                </c:pt>
                <c:pt idx="6440">
                  <c:v>23.04.1999</c:v>
                </c:pt>
                <c:pt idx="6441">
                  <c:v>22.04.1999</c:v>
                </c:pt>
                <c:pt idx="6442">
                  <c:v>21.04.1999</c:v>
                </c:pt>
                <c:pt idx="6443">
                  <c:v>20.04.1999</c:v>
                </c:pt>
                <c:pt idx="6444">
                  <c:v>19.04.1999</c:v>
                </c:pt>
                <c:pt idx="6445">
                  <c:v>16.04.1999</c:v>
                </c:pt>
                <c:pt idx="6446">
                  <c:v>15.04.1999</c:v>
                </c:pt>
                <c:pt idx="6447">
                  <c:v>14.04.1999</c:v>
                </c:pt>
                <c:pt idx="6448">
                  <c:v>13.04.1999</c:v>
                </c:pt>
                <c:pt idx="6449">
                  <c:v>12.04.1999</c:v>
                </c:pt>
                <c:pt idx="6450">
                  <c:v>09.04.1999</c:v>
                </c:pt>
                <c:pt idx="6451">
                  <c:v>08.04.1999</c:v>
                </c:pt>
                <c:pt idx="6452">
                  <c:v>07.04.1999</c:v>
                </c:pt>
                <c:pt idx="6453">
                  <c:v>06.04.1999</c:v>
                </c:pt>
                <c:pt idx="6454">
                  <c:v>05.04.1999</c:v>
                </c:pt>
                <c:pt idx="6455">
                  <c:v>01.04.1999</c:v>
                </c:pt>
                <c:pt idx="6456">
                  <c:v>31.03.1999</c:v>
                </c:pt>
                <c:pt idx="6457">
                  <c:v>30.03.1999</c:v>
                </c:pt>
                <c:pt idx="6458">
                  <c:v>29.03.1999</c:v>
                </c:pt>
                <c:pt idx="6459">
                  <c:v>26.03.1999</c:v>
                </c:pt>
                <c:pt idx="6460">
                  <c:v>25.03.1999</c:v>
                </c:pt>
                <c:pt idx="6461">
                  <c:v>24.03.1999</c:v>
                </c:pt>
                <c:pt idx="6462">
                  <c:v>23.03.1999</c:v>
                </c:pt>
                <c:pt idx="6463">
                  <c:v>22.03.1999</c:v>
                </c:pt>
                <c:pt idx="6464">
                  <c:v>19.03.1999</c:v>
                </c:pt>
                <c:pt idx="6465">
                  <c:v>18.03.1999</c:v>
                </c:pt>
                <c:pt idx="6466">
                  <c:v>17.03.1999</c:v>
                </c:pt>
                <c:pt idx="6467">
                  <c:v>16.03.1999</c:v>
                </c:pt>
                <c:pt idx="6468">
                  <c:v>15.03.1999</c:v>
                </c:pt>
                <c:pt idx="6469">
                  <c:v>12.03.1999</c:v>
                </c:pt>
                <c:pt idx="6470">
                  <c:v>11.03.1999</c:v>
                </c:pt>
                <c:pt idx="6471">
                  <c:v>10.03.1999</c:v>
                </c:pt>
                <c:pt idx="6472">
                  <c:v>09.03.1999</c:v>
                </c:pt>
                <c:pt idx="6473">
                  <c:v>08.03.1999</c:v>
                </c:pt>
                <c:pt idx="6474">
                  <c:v>05.03.1999</c:v>
                </c:pt>
                <c:pt idx="6475">
                  <c:v>04.03.1999</c:v>
                </c:pt>
                <c:pt idx="6476">
                  <c:v>03.03.1999</c:v>
                </c:pt>
                <c:pt idx="6477">
                  <c:v>02.03.1999</c:v>
                </c:pt>
                <c:pt idx="6478">
                  <c:v>01.03.1999</c:v>
                </c:pt>
                <c:pt idx="6479">
                  <c:v>26.02.1999</c:v>
                </c:pt>
                <c:pt idx="6480">
                  <c:v>25.02.1999</c:v>
                </c:pt>
                <c:pt idx="6481">
                  <c:v>24.02.1999</c:v>
                </c:pt>
                <c:pt idx="6482">
                  <c:v>23.02.1999</c:v>
                </c:pt>
                <c:pt idx="6483">
                  <c:v>22.02.1999</c:v>
                </c:pt>
                <c:pt idx="6484">
                  <c:v>19.02.1999</c:v>
                </c:pt>
                <c:pt idx="6485">
                  <c:v>18.02.1999</c:v>
                </c:pt>
                <c:pt idx="6486">
                  <c:v>17.02.1999</c:v>
                </c:pt>
                <c:pt idx="6487">
                  <c:v>16.02.1999</c:v>
                </c:pt>
                <c:pt idx="6488">
                  <c:v>12.02.1999</c:v>
                </c:pt>
                <c:pt idx="6489">
                  <c:v>11.02.1999</c:v>
                </c:pt>
                <c:pt idx="6490">
                  <c:v>10.02.1999</c:v>
                </c:pt>
                <c:pt idx="6491">
                  <c:v>09.02.1999</c:v>
                </c:pt>
                <c:pt idx="6492">
                  <c:v>08.02.1999</c:v>
                </c:pt>
                <c:pt idx="6493">
                  <c:v>05.02.1999</c:v>
                </c:pt>
                <c:pt idx="6494">
                  <c:v>04.02.1999</c:v>
                </c:pt>
                <c:pt idx="6495">
                  <c:v>03.02.1999</c:v>
                </c:pt>
                <c:pt idx="6496">
                  <c:v>02.02.1999</c:v>
                </c:pt>
                <c:pt idx="6497">
                  <c:v>01.02.1999</c:v>
                </c:pt>
                <c:pt idx="6498">
                  <c:v>29.01.1999</c:v>
                </c:pt>
                <c:pt idx="6499">
                  <c:v>28.01.1999</c:v>
                </c:pt>
                <c:pt idx="6500">
                  <c:v>27.01.1999</c:v>
                </c:pt>
                <c:pt idx="6501">
                  <c:v>26.01.1999</c:v>
                </c:pt>
                <c:pt idx="6502">
                  <c:v>25.01.1999</c:v>
                </c:pt>
                <c:pt idx="6503">
                  <c:v>22.01.1999</c:v>
                </c:pt>
                <c:pt idx="6504">
                  <c:v>21.01.1999</c:v>
                </c:pt>
                <c:pt idx="6505">
                  <c:v>20.01.1999</c:v>
                </c:pt>
                <c:pt idx="6506">
                  <c:v>19.01.1999</c:v>
                </c:pt>
                <c:pt idx="6507">
                  <c:v>15.01.1999</c:v>
                </c:pt>
                <c:pt idx="6508">
                  <c:v>14.01.1999</c:v>
                </c:pt>
                <c:pt idx="6509">
                  <c:v>13.01.1999</c:v>
                </c:pt>
                <c:pt idx="6510">
                  <c:v>12.01.1999</c:v>
                </c:pt>
                <c:pt idx="6511">
                  <c:v>11.01.1999</c:v>
                </c:pt>
                <c:pt idx="6512">
                  <c:v>08.01.1999</c:v>
                </c:pt>
                <c:pt idx="6513">
                  <c:v>07.01.1999</c:v>
                </c:pt>
                <c:pt idx="6514">
                  <c:v>06.01.1999</c:v>
                </c:pt>
                <c:pt idx="6515">
                  <c:v>05.01.1999</c:v>
                </c:pt>
                <c:pt idx="6516">
                  <c:v>04.01.1999</c:v>
                </c:pt>
                <c:pt idx="6517">
                  <c:v>31.12.1998</c:v>
                </c:pt>
                <c:pt idx="6518">
                  <c:v>30.12.1998</c:v>
                </c:pt>
                <c:pt idx="6519">
                  <c:v>29.12.1998</c:v>
                </c:pt>
                <c:pt idx="6520">
                  <c:v>28.12.1998</c:v>
                </c:pt>
                <c:pt idx="6521">
                  <c:v>24.12.1998</c:v>
                </c:pt>
                <c:pt idx="6522">
                  <c:v>23.12.1998</c:v>
                </c:pt>
                <c:pt idx="6523">
                  <c:v>22.12.1998</c:v>
                </c:pt>
                <c:pt idx="6524">
                  <c:v>21.12.1998</c:v>
                </c:pt>
                <c:pt idx="6525">
                  <c:v>18.12.1998</c:v>
                </c:pt>
                <c:pt idx="6526">
                  <c:v>17.12.1998</c:v>
                </c:pt>
                <c:pt idx="6527">
                  <c:v>16.12.1998</c:v>
                </c:pt>
                <c:pt idx="6528">
                  <c:v>15.12.1998</c:v>
                </c:pt>
                <c:pt idx="6529">
                  <c:v>14.12.1998</c:v>
                </c:pt>
                <c:pt idx="6530">
                  <c:v>11.12.1998</c:v>
                </c:pt>
                <c:pt idx="6531">
                  <c:v>10.12.1998</c:v>
                </c:pt>
                <c:pt idx="6532">
                  <c:v>09.12.1998</c:v>
                </c:pt>
                <c:pt idx="6533">
                  <c:v>08.12.1998</c:v>
                </c:pt>
                <c:pt idx="6534">
                  <c:v>07.12.1998</c:v>
                </c:pt>
                <c:pt idx="6535">
                  <c:v>04.12.1998</c:v>
                </c:pt>
                <c:pt idx="6536">
                  <c:v>03.12.1998</c:v>
                </c:pt>
                <c:pt idx="6537">
                  <c:v>02.12.1998</c:v>
                </c:pt>
                <c:pt idx="6538">
                  <c:v>01.12.1998</c:v>
                </c:pt>
                <c:pt idx="6539">
                  <c:v>30.11.1998</c:v>
                </c:pt>
                <c:pt idx="6540">
                  <c:v>27.11.1998</c:v>
                </c:pt>
                <c:pt idx="6541">
                  <c:v>25.11.1998</c:v>
                </c:pt>
                <c:pt idx="6542">
                  <c:v>24.11.1998</c:v>
                </c:pt>
                <c:pt idx="6543">
                  <c:v>23.11.1998</c:v>
                </c:pt>
                <c:pt idx="6544">
                  <c:v>20.11.1998</c:v>
                </c:pt>
                <c:pt idx="6545">
                  <c:v>19.11.1998</c:v>
                </c:pt>
                <c:pt idx="6546">
                  <c:v>18.11.1998</c:v>
                </c:pt>
                <c:pt idx="6547">
                  <c:v>17.11.1998</c:v>
                </c:pt>
                <c:pt idx="6548">
                  <c:v>16.11.1998</c:v>
                </c:pt>
                <c:pt idx="6549">
                  <c:v>13.11.1998</c:v>
                </c:pt>
                <c:pt idx="6550">
                  <c:v>12.11.1998</c:v>
                </c:pt>
                <c:pt idx="6551">
                  <c:v>11.11.1998</c:v>
                </c:pt>
                <c:pt idx="6552">
                  <c:v>10.11.1998</c:v>
                </c:pt>
                <c:pt idx="6553">
                  <c:v>09.11.1998</c:v>
                </c:pt>
                <c:pt idx="6554">
                  <c:v>06.11.1998</c:v>
                </c:pt>
                <c:pt idx="6555">
                  <c:v>05.11.1998</c:v>
                </c:pt>
                <c:pt idx="6556">
                  <c:v>04.11.1998</c:v>
                </c:pt>
                <c:pt idx="6557">
                  <c:v>03.11.1998</c:v>
                </c:pt>
                <c:pt idx="6558">
                  <c:v>02.11.1998</c:v>
                </c:pt>
                <c:pt idx="6559">
                  <c:v>30.10.1998</c:v>
                </c:pt>
                <c:pt idx="6560">
                  <c:v>29.10.1998</c:v>
                </c:pt>
                <c:pt idx="6561">
                  <c:v>28.10.1998</c:v>
                </c:pt>
                <c:pt idx="6562">
                  <c:v>27.10.1998</c:v>
                </c:pt>
                <c:pt idx="6563">
                  <c:v>26.10.1998</c:v>
                </c:pt>
                <c:pt idx="6564">
                  <c:v>23.10.1998</c:v>
                </c:pt>
                <c:pt idx="6565">
                  <c:v>22.10.1998</c:v>
                </c:pt>
                <c:pt idx="6566">
                  <c:v>21.10.1998</c:v>
                </c:pt>
                <c:pt idx="6567">
                  <c:v>20.10.1998</c:v>
                </c:pt>
                <c:pt idx="6568">
                  <c:v>19.10.1998</c:v>
                </c:pt>
                <c:pt idx="6569">
                  <c:v>16.10.1998</c:v>
                </c:pt>
                <c:pt idx="6570">
                  <c:v>15.10.1998</c:v>
                </c:pt>
                <c:pt idx="6571">
                  <c:v>14.10.1998</c:v>
                </c:pt>
                <c:pt idx="6572">
                  <c:v>13.10.1998</c:v>
                </c:pt>
                <c:pt idx="6573">
                  <c:v>12.10.1998</c:v>
                </c:pt>
                <c:pt idx="6574">
                  <c:v>09.10.1998</c:v>
                </c:pt>
                <c:pt idx="6575">
                  <c:v>08.10.1998</c:v>
                </c:pt>
                <c:pt idx="6576">
                  <c:v>07.10.1998</c:v>
                </c:pt>
                <c:pt idx="6577">
                  <c:v>06.10.1998</c:v>
                </c:pt>
                <c:pt idx="6578">
                  <c:v>05.10.1998</c:v>
                </c:pt>
                <c:pt idx="6579">
                  <c:v>02.10.1998</c:v>
                </c:pt>
                <c:pt idx="6580">
                  <c:v>01.10.1998</c:v>
                </c:pt>
                <c:pt idx="6581">
                  <c:v>30.09.1998</c:v>
                </c:pt>
                <c:pt idx="6582">
                  <c:v>29.09.1998</c:v>
                </c:pt>
                <c:pt idx="6583">
                  <c:v>28.09.1998</c:v>
                </c:pt>
                <c:pt idx="6584">
                  <c:v>25.09.1998</c:v>
                </c:pt>
                <c:pt idx="6585">
                  <c:v>24.09.1998</c:v>
                </c:pt>
                <c:pt idx="6586">
                  <c:v>23.09.1998</c:v>
                </c:pt>
                <c:pt idx="6587">
                  <c:v>22.09.1998</c:v>
                </c:pt>
                <c:pt idx="6588">
                  <c:v>21.09.1998</c:v>
                </c:pt>
                <c:pt idx="6589">
                  <c:v>18.09.1998</c:v>
                </c:pt>
                <c:pt idx="6590">
                  <c:v>17.09.1998</c:v>
                </c:pt>
                <c:pt idx="6591">
                  <c:v>16.09.1998</c:v>
                </c:pt>
                <c:pt idx="6592">
                  <c:v>15.09.1998</c:v>
                </c:pt>
                <c:pt idx="6593">
                  <c:v>14.09.1998</c:v>
                </c:pt>
                <c:pt idx="6594">
                  <c:v>11.09.1998</c:v>
                </c:pt>
                <c:pt idx="6595">
                  <c:v>10.09.1998</c:v>
                </c:pt>
                <c:pt idx="6596">
                  <c:v>09.09.1998</c:v>
                </c:pt>
                <c:pt idx="6597">
                  <c:v>08.09.1998</c:v>
                </c:pt>
                <c:pt idx="6598">
                  <c:v>04.09.1998</c:v>
                </c:pt>
                <c:pt idx="6599">
                  <c:v>03.09.1998</c:v>
                </c:pt>
                <c:pt idx="6600">
                  <c:v>02.09.1998</c:v>
                </c:pt>
                <c:pt idx="6601">
                  <c:v>01.09.1998</c:v>
                </c:pt>
                <c:pt idx="6602">
                  <c:v>31.08.1998</c:v>
                </c:pt>
                <c:pt idx="6603">
                  <c:v>28.08.1998</c:v>
                </c:pt>
                <c:pt idx="6604">
                  <c:v>27.08.1998</c:v>
                </c:pt>
                <c:pt idx="6605">
                  <c:v>26.08.1998</c:v>
                </c:pt>
                <c:pt idx="6606">
                  <c:v>25.08.1998</c:v>
                </c:pt>
                <c:pt idx="6607">
                  <c:v>24.08.1998</c:v>
                </c:pt>
                <c:pt idx="6608">
                  <c:v>21.08.1998</c:v>
                </c:pt>
                <c:pt idx="6609">
                  <c:v>20.08.1998</c:v>
                </c:pt>
                <c:pt idx="6610">
                  <c:v>19.08.1998</c:v>
                </c:pt>
                <c:pt idx="6611">
                  <c:v>18.08.1998</c:v>
                </c:pt>
                <c:pt idx="6612">
                  <c:v>17.08.1998</c:v>
                </c:pt>
                <c:pt idx="6613">
                  <c:v>14.08.1998</c:v>
                </c:pt>
                <c:pt idx="6614">
                  <c:v>13.08.1998</c:v>
                </c:pt>
                <c:pt idx="6615">
                  <c:v>12.08.1998</c:v>
                </c:pt>
                <c:pt idx="6616">
                  <c:v>11.08.1998</c:v>
                </c:pt>
                <c:pt idx="6617">
                  <c:v>10.08.1998</c:v>
                </c:pt>
                <c:pt idx="6618">
                  <c:v>07.08.1998</c:v>
                </c:pt>
                <c:pt idx="6619">
                  <c:v>06.08.1998</c:v>
                </c:pt>
                <c:pt idx="6620">
                  <c:v>05.08.1998</c:v>
                </c:pt>
                <c:pt idx="6621">
                  <c:v>04.08.1998</c:v>
                </c:pt>
                <c:pt idx="6622">
                  <c:v>03.08.1998</c:v>
                </c:pt>
                <c:pt idx="6623">
                  <c:v>31.07.1998</c:v>
                </c:pt>
                <c:pt idx="6624">
                  <c:v>30.07.1998</c:v>
                </c:pt>
                <c:pt idx="6625">
                  <c:v>29.07.1998</c:v>
                </c:pt>
                <c:pt idx="6626">
                  <c:v>28.07.1998</c:v>
                </c:pt>
                <c:pt idx="6627">
                  <c:v>27.07.1998</c:v>
                </c:pt>
                <c:pt idx="6628">
                  <c:v>24.07.1998</c:v>
                </c:pt>
                <c:pt idx="6629">
                  <c:v>23.07.1998</c:v>
                </c:pt>
                <c:pt idx="6630">
                  <c:v>22.07.1998</c:v>
                </c:pt>
                <c:pt idx="6631">
                  <c:v>21.07.1998</c:v>
                </c:pt>
                <c:pt idx="6632">
                  <c:v>20.07.1998</c:v>
                </c:pt>
                <c:pt idx="6633">
                  <c:v>17.07.1998</c:v>
                </c:pt>
                <c:pt idx="6634">
                  <c:v>16.07.1998</c:v>
                </c:pt>
                <c:pt idx="6635">
                  <c:v>15.07.1998</c:v>
                </c:pt>
                <c:pt idx="6636">
                  <c:v>14.07.1998</c:v>
                </c:pt>
                <c:pt idx="6637">
                  <c:v>13.07.1998</c:v>
                </c:pt>
                <c:pt idx="6638">
                  <c:v>10.07.1998</c:v>
                </c:pt>
                <c:pt idx="6639">
                  <c:v>09.07.1998</c:v>
                </c:pt>
                <c:pt idx="6640">
                  <c:v>08.07.1998</c:v>
                </c:pt>
                <c:pt idx="6641">
                  <c:v>07.07.1998</c:v>
                </c:pt>
                <c:pt idx="6642">
                  <c:v>06.07.1998</c:v>
                </c:pt>
                <c:pt idx="6643">
                  <c:v>02.07.1998</c:v>
                </c:pt>
                <c:pt idx="6644">
                  <c:v>01.07.1998</c:v>
                </c:pt>
                <c:pt idx="6645">
                  <c:v>30.06.1998</c:v>
                </c:pt>
                <c:pt idx="6646">
                  <c:v>29.06.1998</c:v>
                </c:pt>
                <c:pt idx="6647">
                  <c:v>26.06.1998</c:v>
                </c:pt>
                <c:pt idx="6648">
                  <c:v>25.06.1998</c:v>
                </c:pt>
                <c:pt idx="6649">
                  <c:v>24.06.1998</c:v>
                </c:pt>
                <c:pt idx="6650">
                  <c:v>23.06.1998</c:v>
                </c:pt>
                <c:pt idx="6651">
                  <c:v>22.06.1998</c:v>
                </c:pt>
                <c:pt idx="6652">
                  <c:v>19.06.1998</c:v>
                </c:pt>
                <c:pt idx="6653">
                  <c:v>18.06.1998</c:v>
                </c:pt>
                <c:pt idx="6654">
                  <c:v>17.06.1998</c:v>
                </c:pt>
                <c:pt idx="6655">
                  <c:v>16.06.1998</c:v>
                </c:pt>
                <c:pt idx="6656">
                  <c:v>15.06.1998</c:v>
                </c:pt>
                <c:pt idx="6657">
                  <c:v>12.06.1998</c:v>
                </c:pt>
                <c:pt idx="6658">
                  <c:v>11.06.1998</c:v>
                </c:pt>
                <c:pt idx="6659">
                  <c:v>10.06.1998</c:v>
                </c:pt>
                <c:pt idx="6660">
                  <c:v>09.06.1998</c:v>
                </c:pt>
                <c:pt idx="6661">
                  <c:v>08.06.1998</c:v>
                </c:pt>
                <c:pt idx="6662">
                  <c:v>05.06.1998</c:v>
                </c:pt>
                <c:pt idx="6663">
                  <c:v>04.06.1998</c:v>
                </c:pt>
                <c:pt idx="6664">
                  <c:v>03.06.1998</c:v>
                </c:pt>
                <c:pt idx="6665">
                  <c:v>02.06.1998</c:v>
                </c:pt>
                <c:pt idx="6666">
                  <c:v>01.06.1998</c:v>
                </c:pt>
                <c:pt idx="6667">
                  <c:v>29.05.1998</c:v>
                </c:pt>
                <c:pt idx="6668">
                  <c:v>28.05.1998</c:v>
                </c:pt>
                <c:pt idx="6669">
                  <c:v>27.05.1998</c:v>
                </c:pt>
                <c:pt idx="6670">
                  <c:v>26.05.1998</c:v>
                </c:pt>
                <c:pt idx="6671">
                  <c:v>22.05.1998</c:v>
                </c:pt>
                <c:pt idx="6672">
                  <c:v>21.05.1998</c:v>
                </c:pt>
                <c:pt idx="6673">
                  <c:v>20.05.1998</c:v>
                </c:pt>
                <c:pt idx="6674">
                  <c:v>19.05.1998</c:v>
                </c:pt>
                <c:pt idx="6675">
                  <c:v>18.05.1998</c:v>
                </c:pt>
                <c:pt idx="6676">
                  <c:v>15.05.1998</c:v>
                </c:pt>
                <c:pt idx="6677">
                  <c:v>14.05.1998</c:v>
                </c:pt>
                <c:pt idx="6678">
                  <c:v>13.05.1998</c:v>
                </c:pt>
                <c:pt idx="6679">
                  <c:v>12.05.1998</c:v>
                </c:pt>
                <c:pt idx="6680">
                  <c:v>11.05.1998</c:v>
                </c:pt>
                <c:pt idx="6681">
                  <c:v>08.05.1998</c:v>
                </c:pt>
                <c:pt idx="6682">
                  <c:v>07.05.1998</c:v>
                </c:pt>
                <c:pt idx="6683">
                  <c:v>06.05.1998</c:v>
                </c:pt>
                <c:pt idx="6684">
                  <c:v>05.05.1998</c:v>
                </c:pt>
                <c:pt idx="6685">
                  <c:v>04.05.1998</c:v>
                </c:pt>
                <c:pt idx="6686">
                  <c:v>01.05.1998</c:v>
                </c:pt>
                <c:pt idx="6687">
                  <c:v>30.04.1998</c:v>
                </c:pt>
                <c:pt idx="6688">
                  <c:v>29.04.1998</c:v>
                </c:pt>
                <c:pt idx="6689">
                  <c:v>28.04.1998</c:v>
                </c:pt>
                <c:pt idx="6690">
                  <c:v>27.04.1998</c:v>
                </c:pt>
                <c:pt idx="6691">
                  <c:v>24.04.1998</c:v>
                </c:pt>
                <c:pt idx="6692">
                  <c:v>23.04.1998</c:v>
                </c:pt>
                <c:pt idx="6693">
                  <c:v>22.04.1998</c:v>
                </c:pt>
                <c:pt idx="6694">
                  <c:v>21.04.1998</c:v>
                </c:pt>
                <c:pt idx="6695">
                  <c:v>20.04.1998</c:v>
                </c:pt>
                <c:pt idx="6696">
                  <c:v>17.04.1998</c:v>
                </c:pt>
                <c:pt idx="6697">
                  <c:v>16.04.1998</c:v>
                </c:pt>
                <c:pt idx="6698">
                  <c:v>15.04.1998</c:v>
                </c:pt>
                <c:pt idx="6699">
                  <c:v>14.04.1998</c:v>
                </c:pt>
                <c:pt idx="6700">
                  <c:v>13.04.1998</c:v>
                </c:pt>
                <c:pt idx="6701">
                  <c:v>09.04.1998</c:v>
                </c:pt>
                <c:pt idx="6702">
                  <c:v>08.04.1998</c:v>
                </c:pt>
                <c:pt idx="6703">
                  <c:v>07.04.1998</c:v>
                </c:pt>
                <c:pt idx="6704">
                  <c:v>06.04.1998</c:v>
                </c:pt>
                <c:pt idx="6705">
                  <c:v>03.04.1998</c:v>
                </c:pt>
                <c:pt idx="6706">
                  <c:v>02.04.1998</c:v>
                </c:pt>
                <c:pt idx="6707">
                  <c:v>01.04.1998</c:v>
                </c:pt>
                <c:pt idx="6708">
                  <c:v>31.03.1998</c:v>
                </c:pt>
                <c:pt idx="6709">
                  <c:v>30.03.1998</c:v>
                </c:pt>
                <c:pt idx="6710">
                  <c:v>27.03.1998</c:v>
                </c:pt>
                <c:pt idx="6711">
                  <c:v>26.03.1998</c:v>
                </c:pt>
                <c:pt idx="6712">
                  <c:v>25.03.1998</c:v>
                </c:pt>
                <c:pt idx="6713">
                  <c:v>24.03.1998</c:v>
                </c:pt>
                <c:pt idx="6714">
                  <c:v>23.03.1998</c:v>
                </c:pt>
                <c:pt idx="6715">
                  <c:v>20.03.1998</c:v>
                </c:pt>
                <c:pt idx="6716">
                  <c:v>19.03.1998</c:v>
                </c:pt>
                <c:pt idx="6717">
                  <c:v>18.03.1998</c:v>
                </c:pt>
                <c:pt idx="6718">
                  <c:v>17.03.1998</c:v>
                </c:pt>
                <c:pt idx="6719">
                  <c:v>16.03.1998</c:v>
                </c:pt>
                <c:pt idx="6720">
                  <c:v>13.03.1998</c:v>
                </c:pt>
                <c:pt idx="6721">
                  <c:v>12.03.1998</c:v>
                </c:pt>
                <c:pt idx="6722">
                  <c:v>11.03.1998</c:v>
                </c:pt>
                <c:pt idx="6723">
                  <c:v>10.03.1998</c:v>
                </c:pt>
                <c:pt idx="6724">
                  <c:v>09.03.1998</c:v>
                </c:pt>
                <c:pt idx="6725">
                  <c:v>06.03.1998</c:v>
                </c:pt>
                <c:pt idx="6726">
                  <c:v>05.03.1998</c:v>
                </c:pt>
                <c:pt idx="6727">
                  <c:v>04.03.1998</c:v>
                </c:pt>
                <c:pt idx="6728">
                  <c:v>03.03.1998</c:v>
                </c:pt>
                <c:pt idx="6729">
                  <c:v>02.03.1998</c:v>
                </c:pt>
                <c:pt idx="6730">
                  <c:v>27.02.1998</c:v>
                </c:pt>
                <c:pt idx="6731">
                  <c:v>26.02.1998</c:v>
                </c:pt>
                <c:pt idx="6732">
                  <c:v>25.02.1998</c:v>
                </c:pt>
                <c:pt idx="6733">
                  <c:v>24.02.1998</c:v>
                </c:pt>
                <c:pt idx="6734">
                  <c:v>23.02.1998</c:v>
                </c:pt>
                <c:pt idx="6735">
                  <c:v>20.02.1998</c:v>
                </c:pt>
                <c:pt idx="6736">
                  <c:v>19.02.1998</c:v>
                </c:pt>
                <c:pt idx="6737">
                  <c:v>18.02.1998</c:v>
                </c:pt>
                <c:pt idx="6738">
                  <c:v>17.02.1998</c:v>
                </c:pt>
                <c:pt idx="6739">
                  <c:v>13.02.1998</c:v>
                </c:pt>
                <c:pt idx="6740">
                  <c:v>12.02.1998</c:v>
                </c:pt>
                <c:pt idx="6741">
                  <c:v>11.02.1998</c:v>
                </c:pt>
                <c:pt idx="6742">
                  <c:v>10.02.1998</c:v>
                </c:pt>
                <c:pt idx="6743">
                  <c:v>09.02.1998</c:v>
                </c:pt>
                <c:pt idx="6744">
                  <c:v>06.02.1998</c:v>
                </c:pt>
                <c:pt idx="6745">
                  <c:v>05.02.1998</c:v>
                </c:pt>
                <c:pt idx="6746">
                  <c:v>04.02.1998</c:v>
                </c:pt>
                <c:pt idx="6747">
                  <c:v>03.02.1998</c:v>
                </c:pt>
                <c:pt idx="6748">
                  <c:v>02.02.1998</c:v>
                </c:pt>
                <c:pt idx="6749">
                  <c:v>30.01.1998</c:v>
                </c:pt>
                <c:pt idx="6750">
                  <c:v>29.01.1998</c:v>
                </c:pt>
                <c:pt idx="6751">
                  <c:v>28.01.1998</c:v>
                </c:pt>
                <c:pt idx="6752">
                  <c:v>27.01.1998</c:v>
                </c:pt>
                <c:pt idx="6753">
                  <c:v>26.01.1998</c:v>
                </c:pt>
                <c:pt idx="6754">
                  <c:v>23.01.1998</c:v>
                </c:pt>
                <c:pt idx="6755">
                  <c:v>22.01.1998</c:v>
                </c:pt>
                <c:pt idx="6756">
                  <c:v>21.01.1998</c:v>
                </c:pt>
                <c:pt idx="6757">
                  <c:v>20.01.1998</c:v>
                </c:pt>
                <c:pt idx="6758">
                  <c:v>16.01.1998</c:v>
                </c:pt>
                <c:pt idx="6759">
                  <c:v>15.01.1998</c:v>
                </c:pt>
                <c:pt idx="6760">
                  <c:v>14.01.1998</c:v>
                </c:pt>
                <c:pt idx="6761">
                  <c:v>13.01.1998</c:v>
                </c:pt>
                <c:pt idx="6762">
                  <c:v>12.01.1998</c:v>
                </c:pt>
                <c:pt idx="6763">
                  <c:v>09.01.1998</c:v>
                </c:pt>
                <c:pt idx="6764">
                  <c:v>08.01.1998</c:v>
                </c:pt>
                <c:pt idx="6765">
                  <c:v>07.01.1998</c:v>
                </c:pt>
                <c:pt idx="6766">
                  <c:v>06.01.1998</c:v>
                </c:pt>
                <c:pt idx="6767">
                  <c:v>05.01.1998</c:v>
                </c:pt>
                <c:pt idx="6768">
                  <c:v>02.01.1998</c:v>
                </c:pt>
                <c:pt idx="6769">
                  <c:v>31.12.1997</c:v>
                </c:pt>
                <c:pt idx="6770">
                  <c:v>30.12.1997</c:v>
                </c:pt>
                <c:pt idx="6771">
                  <c:v>29.12.1997</c:v>
                </c:pt>
                <c:pt idx="6772">
                  <c:v>26.12.1997</c:v>
                </c:pt>
                <c:pt idx="6773">
                  <c:v>24.12.1997</c:v>
                </c:pt>
                <c:pt idx="6774">
                  <c:v>23.12.1997</c:v>
                </c:pt>
                <c:pt idx="6775">
                  <c:v>22.12.1997</c:v>
                </c:pt>
                <c:pt idx="6776">
                  <c:v>19.12.1997</c:v>
                </c:pt>
                <c:pt idx="6777">
                  <c:v>18.12.1997</c:v>
                </c:pt>
                <c:pt idx="6778">
                  <c:v>17.12.1997</c:v>
                </c:pt>
                <c:pt idx="6779">
                  <c:v>16.12.1997</c:v>
                </c:pt>
                <c:pt idx="6780">
                  <c:v>15.12.1997</c:v>
                </c:pt>
                <c:pt idx="6781">
                  <c:v>12.12.1997</c:v>
                </c:pt>
                <c:pt idx="6782">
                  <c:v>11.12.1997</c:v>
                </c:pt>
                <c:pt idx="6783">
                  <c:v>10.12.1997</c:v>
                </c:pt>
                <c:pt idx="6784">
                  <c:v>09.12.1997</c:v>
                </c:pt>
                <c:pt idx="6785">
                  <c:v>08.12.1997</c:v>
                </c:pt>
                <c:pt idx="6786">
                  <c:v>05.12.1997</c:v>
                </c:pt>
                <c:pt idx="6787">
                  <c:v>04.12.1997</c:v>
                </c:pt>
                <c:pt idx="6788">
                  <c:v>03.12.1997</c:v>
                </c:pt>
                <c:pt idx="6789">
                  <c:v>02.12.1997</c:v>
                </c:pt>
                <c:pt idx="6790">
                  <c:v>01.12.1997</c:v>
                </c:pt>
                <c:pt idx="6791">
                  <c:v>28.11.1997</c:v>
                </c:pt>
                <c:pt idx="6792">
                  <c:v>26.11.1997</c:v>
                </c:pt>
                <c:pt idx="6793">
                  <c:v>25.11.1997</c:v>
                </c:pt>
                <c:pt idx="6794">
                  <c:v>24.11.1997</c:v>
                </c:pt>
                <c:pt idx="6795">
                  <c:v>21.11.1997</c:v>
                </c:pt>
                <c:pt idx="6796">
                  <c:v>20.11.1997</c:v>
                </c:pt>
                <c:pt idx="6797">
                  <c:v>19.11.1997</c:v>
                </c:pt>
                <c:pt idx="6798">
                  <c:v>18.11.1997</c:v>
                </c:pt>
                <c:pt idx="6799">
                  <c:v>17.11.1997</c:v>
                </c:pt>
                <c:pt idx="6800">
                  <c:v>14.11.1997</c:v>
                </c:pt>
                <c:pt idx="6801">
                  <c:v>13.11.1997</c:v>
                </c:pt>
                <c:pt idx="6802">
                  <c:v>12.11.1997</c:v>
                </c:pt>
                <c:pt idx="6803">
                  <c:v>11.11.1997</c:v>
                </c:pt>
                <c:pt idx="6804">
                  <c:v>10.11.1997</c:v>
                </c:pt>
                <c:pt idx="6805">
                  <c:v>07.11.1997</c:v>
                </c:pt>
                <c:pt idx="6806">
                  <c:v>06.11.1997</c:v>
                </c:pt>
                <c:pt idx="6807">
                  <c:v>05.11.1997</c:v>
                </c:pt>
                <c:pt idx="6808">
                  <c:v>04.11.1997</c:v>
                </c:pt>
                <c:pt idx="6809">
                  <c:v>03.11.1997</c:v>
                </c:pt>
                <c:pt idx="6810">
                  <c:v>31.10.1997</c:v>
                </c:pt>
                <c:pt idx="6811">
                  <c:v>30.10.1997</c:v>
                </c:pt>
                <c:pt idx="6812">
                  <c:v>29.10.1997</c:v>
                </c:pt>
                <c:pt idx="6813">
                  <c:v>28.10.1997</c:v>
                </c:pt>
                <c:pt idx="6814">
                  <c:v>27.10.1997</c:v>
                </c:pt>
                <c:pt idx="6815">
                  <c:v>24.10.1997</c:v>
                </c:pt>
                <c:pt idx="6816">
                  <c:v>23.10.1997</c:v>
                </c:pt>
                <c:pt idx="6817">
                  <c:v>22.10.1997</c:v>
                </c:pt>
                <c:pt idx="6818">
                  <c:v>21.10.1997</c:v>
                </c:pt>
                <c:pt idx="6819">
                  <c:v>20.10.1997</c:v>
                </c:pt>
                <c:pt idx="6820">
                  <c:v>17.10.1997</c:v>
                </c:pt>
                <c:pt idx="6821">
                  <c:v>16.10.1997</c:v>
                </c:pt>
                <c:pt idx="6822">
                  <c:v>15.10.1997</c:v>
                </c:pt>
                <c:pt idx="6823">
                  <c:v>14.10.1997</c:v>
                </c:pt>
                <c:pt idx="6824">
                  <c:v>13.10.1997</c:v>
                </c:pt>
                <c:pt idx="6825">
                  <c:v>10.10.1997</c:v>
                </c:pt>
                <c:pt idx="6826">
                  <c:v>09.10.1997</c:v>
                </c:pt>
                <c:pt idx="6827">
                  <c:v>08.10.1997</c:v>
                </c:pt>
                <c:pt idx="6828">
                  <c:v>07.10.1997</c:v>
                </c:pt>
                <c:pt idx="6829">
                  <c:v>06.10.1997</c:v>
                </c:pt>
                <c:pt idx="6830">
                  <c:v>03.10.1997</c:v>
                </c:pt>
                <c:pt idx="6831">
                  <c:v>02.10.1997</c:v>
                </c:pt>
                <c:pt idx="6832">
                  <c:v>01.10.1997</c:v>
                </c:pt>
                <c:pt idx="6833">
                  <c:v>30.09.1997</c:v>
                </c:pt>
                <c:pt idx="6834">
                  <c:v>29.09.1997</c:v>
                </c:pt>
                <c:pt idx="6835">
                  <c:v>26.09.1997</c:v>
                </c:pt>
                <c:pt idx="6836">
                  <c:v>25.09.1997</c:v>
                </c:pt>
                <c:pt idx="6837">
                  <c:v>24.09.1997</c:v>
                </c:pt>
                <c:pt idx="6838">
                  <c:v>23.09.1997</c:v>
                </c:pt>
                <c:pt idx="6839">
                  <c:v>22.09.1997</c:v>
                </c:pt>
                <c:pt idx="6840">
                  <c:v>19.09.1997</c:v>
                </c:pt>
                <c:pt idx="6841">
                  <c:v>18.09.1997</c:v>
                </c:pt>
                <c:pt idx="6842">
                  <c:v>17.09.1997</c:v>
                </c:pt>
                <c:pt idx="6843">
                  <c:v>16.09.1997</c:v>
                </c:pt>
                <c:pt idx="6844">
                  <c:v>15.09.1997</c:v>
                </c:pt>
                <c:pt idx="6845">
                  <c:v>12.09.1997</c:v>
                </c:pt>
                <c:pt idx="6846">
                  <c:v>11.09.1997</c:v>
                </c:pt>
                <c:pt idx="6847">
                  <c:v>10.09.1997</c:v>
                </c:pt>
                <c:pt idx="6848">
                  <c:v>09.09.1997</c:v>
                </c:pt>
                <c:pt idx="6849">
                  <c:v>08.09.1997</c:v>
                </c:pt>
                <c:pt idx="6850">
                  <c:v>05.09.1997</c:v>
                </c:pt>
                <c:pt idx="6851">
                  <c:v>04.09.1997</c:v>
                </c:pt>
                <c:pt idx="6852">
                  <c:v>03.09.1997</c:v>
                </c:pt>
                <c:pt idx="6853">
                  <c:v>02.09.1997</c:v>
                </c:pt>
                <c:pt idx="6854">
                  <c:v>29.08.1997</c:v>
                </c:pt>
                <c:pt idx="6855">
                  <c:v>28.08.1997</c:v>
                </c:pt>
                <c:pt idx="6856">
                  <c:v>27.08.1997</c:v>
                </c:pt>
                <c:pt idx="6857">
                  <c:v>26.08.1997</c:v>
                </c:pt>
                <c:pt idx="6858">
                  <c:v>25.08.1997</c:v>
                </c:pt>
                <c:pt idx="6859">
                  <c:v>22.08.1997</c:v>
                </c:pt>
                <c:pt idx="6860">
                  <c:v>21.08.1997</c:v>
                </c:pt>
                <c:pt idx="6861">
                  <c:v>20.08.1997</c:v>
                </c:pt>
                <c:pt idx="6862">
                  <c:v>19.08.1997</c:v>
                </c:pt>
                <c:pt idx="6863">
                  <c:v>18.08.1997</c:v>
                </c:pt>
                <c:pt idx="6864">
                  <c:v>15.08.1997</c:v>
                </c:pt>
                <c:pt idx="6865">
                  <c:v>14.08.1997</c:v>
                </c:pt>
                <c:pt idx="6866">
                  <c:v>13.08.1997</c:v>
                </c:pt>
                <c:pt idx="6867">
                  <c:v>12.08.1997</c:v>
                </c:pt>
                <c:pt idx="6868">
                  <c:v>11.08.1997</c:v>
                </c:pt>
                <c:pt idx="6869">
                  <c:v>08.08.1997</c:v>
                </c:pt>
                <c:pt idx="6870">
                  <c:v>07.08.1997</c:v>
                </c:pt>
                <c:pt idx="6871">
                  <c:v>06.08.1997</c:v>
                </c:pt>
                <c:pt idx="6872">
                  <c:v>05.08.1997</c:v>
                </c:pt>
                <c:pt idx="6873">
                  <c:v>04.08.1997</c:v>
                </c:pt>
                <c:pt idx="6874">
                  <c:v>01.08.1997</c:v>
                </c:pt>
                <c:pt idx="6875">
                  <c:v>31.07.1997</c:v>
                </c:pt>
                <c:pt idx="6876">
                  <c:v>30.07.1997</c:v>
                </c:pt>
                <c:pt idx="6877">
                  <c:v>29.07.1997</c:v>
                </c:pt>
                <c:pt idx="6878">
                  <c:v>28.07.1997</c:v>
                </c:pt>
                <c:pt idx="6879">
                  <c:v>25.07.1997</c:v>
                </c:pt>
                <c:pt idx="6880">
                  <c:v>24.07.1997</c:v>
                </c:pt>
                <c:pt idx="6881">
                  <c:v>23.07.1997</c:v>
                </c:pt>
                <c:pt idx="6882">
                  <c:v>22.07.1997</c:v>
                </c:pt>
                <c:pt idx="6883">
                  <c:v>21.07.1997</c:v>
                </c:pt>
                <c:pt idx="6884">
                  <c:v>18.07.1997</c:v>
                </c:pt>
                <c:pt idx="6885">
                  <c:v>17.07.1997</c:v>
                </c:pt>
                <c:pt idx="6886">
                  <c:v>16.07.1997</c:v>
                </c:pt>
                <c:pt idx="6887">
                  <c:v>15.07.1997</c:v>
                </c:pt>
                <c:pt idx="6888">
                  <c:v>14.07.1997</c:v>
                </c:pt>
                <c:pt idx="6889">
                  <c:v>11.07.1997</c:v>
                </c:pt>
                <c:pt idx="6890">
                  <c:v>10.07.1997</c:v>
                </c:pt>
                <c:pt idx="6891">
                  <c:v>09.07.1997</c:v>
                </c:pt>
                <c:pt idx="6892">
                  <c:v>08.07.1997</c:v>
                </c:pt>
                <c:pt idx="6893">
                  <c:v>07.07.1997</c:v>
                </c:pt>
                <c:pt idx="6894">
                  <c:v>03.07.1997</c:v>
                </c:pt>
                <c:pt idx="6895">
                  <c:v>02.07.1997</c:v>
                </c:pt>
                <c:pt idx="6896">
                  <c:v>01.07.1997</c:v>
                </c:pt>
                <c:pt idx="6897">
                  <c:v>30.06.1997</c:v>
                </c:pt>
                <c:pt idx="6898">
                  <c:v>27.06.1997</c:v>
                </c:pt>
                <c:pt idx="6899">
                  <c:v>26.06.1997</c:v>
                </c:pt>
                <c:pt idx="6900">
                  <c:v>25.06.1997</c:v>
                </c:pt>
                <c:pt idx="6901">
                  <c:v>24.06.1997</c:v>
                </c:pt>
                <c:pt idx="6902">
                  <c:v>23.06.1997</c:v>
                </c:pt>
                <c:pt idx="6903">
                  <c:v>20.06.1997</c:v>
                </c:pt>
                <c:pt idx="6904">
                  <c:v>19.06.1997</c:v>
                </c:pt>
                <c:pt idx="6905">
                  <c:v>18.06.1997</c:v>
                </c:pt>
                <c:pt idx="6906">
                  <c:v>17.06.1997</c:v>
                </c:pt>
                <c:pt idx="6907">
                  <c:v>16.06.1997</c:v>
                </c:pt>
                <c:pt idx="6908">
                  <c:v>13.06.1997</c:v>
                </c:pt>
                <c:pt idx="6909">
                  <c:v>12.06.1997</c:v>
                </c:pt>
                <c:pt idx="6910">
                  <c:v>11.06.1997</c:v>
                </c:pt>
                <c:pt idx="6911">
                  <c:v>10.06.1997</c:v>
                </c:pt>
                <c:pt idx="6912">
                  <c:v>09.06.1997</c:v>
                </c:pt>
                <c:pt idx="6913">
                  <c:v>06.06.1997</c:v>
                </c:pt>
                <c:pt idx="6914">
                  <c:v>05.06.1997</c:v>
                </c:pt>
                <c:pt idx="6915">
                  <c:v>04.06.1997</c:v>
                </c:pt>
                <c:pt idx="6916">
                  <c:v>03.06.1997</c:v>
                </c:pt>
                <c:pt idx="6917">
                  <c:v>02.06.1997</c:v>
                </c:pt>
                <c:pt idx="6918">
                  <c:v>30.05.1997</c:v>
                </c:pt>
                <c:pt idx="6919">
                  <c:v>29.05.1997</c:v>
                </c:pt>
                <c:pt idx="6920">
                  <c:v>28.05.1997</c:v>
                </c:pt>
                <c:pt idx="6921">
                  <c:v>27.05.1997</c:v>
                </c:pt>
                <c:pt idx="6922">
                  <c:v>23.05.1997</c:v>
                </c:pt>
                <c:pt idx="6923">
                  <c:v>22.05.1997</c:v>
                </c:pt>
                <c:pt idx="6924">
                  <c:v>21.05.1997</c:v>
                </c:pt>
                <c:pt idx="6925">
                  <c:v>20.05.1997</c:v>
                </c:pt>
                <c:pt idx="6926">
                  <c:v>19.05.1997</c:v>
                </c:pt>
                <c:pt idx="6927">
                  <c:v>16.05.1997</c:v>
                </c:pt>
                <c:pt idx="6928">
                  <c:v>15.05.1997</c:v>
                </c:pt>
                <c:pt idx="6929">
                  <c:v>14.05.1997</c:v>
                </c:pt>
                <c:pt idx="6930">
                  <c:v>13.05.1997</c:v>
                </c:pt>
                <c:pt idx="6931">
                  <c:v>12.05.1997</c:v>
                </c:pt>
                <c:pt idx="6932">
                  <c:v>09.05.1997</c:v>
                </c:pt>
                <c:pt idx="6933">
                  <c:v>08.05.1997</c:v>
                </c:pt>
                <c:pt idx="6934">
                  <c:v>07.05.1997</c:v>
                </c:pt>
                <c:pt idx="6935">
                  <c:v>06.05.1997</c:v>
                </c:pt>
                <c:pt idx="6936">
                  <c:v>05.05.1997</c:v>
                </c:pt>
                <c:pt idx="6937">
                  <c:v>02.05.1997</c:v>
                </c:pt>
                <c:pt idx="6938">
                  <c:v>01.05.1997</c:v>
                </c:pt>
                <c:pt idx="6939">
                  <c:v>30.04.1997</c:v>
                </c:pt>
                <c:pt idx="6940">
                  <c:v>29.04.1997</c:v>
                </c:pt>
                <c:pt idx="6941">
                  <c:v>28.04.1997</c:v>
                </c:pt>
                <c:pt idx="6942">
                  <c:v>25.04.1997</c:v>
                </c:pt>
                <c:pt idx="6943">
                  <c:v>24.04.1997</c:v>
                </c:pt>
                <c:pt idx="6944">
                  <c:v>23.04.1997</c:v>
                </c:pt>
                <c:pt idx="6945">
                  <c:v>22.04.1997</c:v>
                </c:pt>
                <c:pt idx="6946">
                  <c:v>21.04.1997</c:v>
                </c:pt>
                <c:pt idx="6947">
                  <c:v>18.04.1997</c:v>
                </c:pt>
                <c:pt idx="6948">
                  <c:v>17.04.1997</c:v>
                </c:pt>
                <c:pt idx="6949">
                  <c:v>16.04.1997</c:v>
                </c:pt>
                <c:pt idx="6950">
                  <c:v>15.04.1997</c:v>
                </c:pt>
                <c:pt idx="6951">
                  <c:v>14.04.1997</c:v>
                </c:pt>
                <c:pt idx="6952">
                  <c:v>11.04.1997</c:v>
                </c:pt>
                <c:pt idx="6953">
                  <c:v>10.04.1997</c:v>
                </c:pt>
                <c:pt idx="6954">
                  <c:v>09.04.1997</c:v>
                </c:pt>
                <c:pt idx="6955">
                  <c:v>08.04.1997</c:v>
                </c:pt>
                <c:pt idx="6956">
                  <c:v>07.04.1997</c:v>
                </c:pt>
                <c:pt idx="6957">
                  <c:v>04.04.1997</c:v>
                </c:pt>
                <c:pt idx="6958">
                  <c:v>03.04.1997</c:v>
                </c:pt>
                <c:pt idx="6959">
                  <c:v>02.04.1997</c:v>
                </c:pt>
                <c:pt idx="6960">
                  <c:v>01.04.1997</c:v>
                </c:pt>
                <c:pt idx="6961">
                  <c:v>31.03.1997</c:v>
                </c:pt>
                <c:pt idx="6962">
                  <c:v>27.03.1997</c:v>
                </c:pt>
                <c:pt idx="6963">
                  <c:v>26.03.1997</c:v>
                </c:pt>
                <c:pt idx="6964">
                  <c:v>25.03.1997</c:v>
                </c:pt>
                <c:pt idx="6965">
                  <c:v>24.03.1997</c:v>
                </c:pt>
                <c:pt idx="6966">
                  <c:v>21.03.1997</c:v>
                </c:pt>
                <c:pt idx="6967">
                  <c:v>20.03.1997</c:v>
                </c:pt>
                <c:pt idx="6968">
                  <c:v>19.03.1997</c:v>
                </c:pt>
                <c:pt idx="6969">
                  <c:v>18.03.1997</c:v>
                </c:pt>
                <c:pt idx="6970">
                  <c:v>17.03.1997</c:v>
                </c:pt>
                <c:pt idx="6971">
                  <c:v>14.03.1997</c:v>
                </c:pt>
                <c:pt idx="6972">
                  <c:v>13.03.1997</c:v>
                </c:pt>
                <c:pt idx="6973">
                  <c:v>12.03.1997</c:v>
                </c:pt>
                <c:pt idx="6974">
                  <c:v>11.03.1997</c:v>
                </c:pt>
                <c:pt idx="6975">
                  <c:v>10.03.1997</c:v>
                </c:pt>
                <c:pt idx="6976">
                  <c:v>07.03.1997</c:v>
                </c:pt>
                <c:pt idx="6977">
                  <c:v>06.03.1997</c:v>
                </c:pt>
                <c:pt idx="6978">
                  <c:v>05.03.1997</c:v>
                </c:pt>
                <c:pt idx="6979">
                  <c:v>04.03.1997</c:v>
                </c:pt>
                <c:pt idx="6980">
                  <c:v>03.03.1997</c:v>
                </c:pt>
                <c:pt idx="6981">
                  <c:v>28.02.1997</c:v>
                </c:pt>
                <c:pt idx="6982">
                  <c:v>27.02.1997</c:v>
                </c:pt>
                <c:pt idx="6983">
                  <c:v>26.02.1997</c:v>
                </c:pt>
                <c:pt idx="6984">
                  <c:v>25.02.1997</c:v>
                </c:pt>
                <c:pt idx="6985">
                  <c:v>24.02.1997</c:v>
                </c:pt>
                <c:pt idx="6986">
                  <c:v>21.02.1997</c:v>
                </c:pt>
                <c:pt idx="6987">
                  <c:v>20.02.1997</c:v>
                </c:pt>
                <c:pt idx="6988">
                  <c:v>19.02.1997</c:v>
                </c:pt>
                <c:pt idx="6989">
                  <c:v>18.02.1997</c:v>
                </c:pt>
                <c:pt idx="6990">
                  <c:v>14.02.1997</c:v>
                </c:pt>
                <c:pt idx="6991">
                  <c:v>13.02.1997</c:v>
                </c:pt>
                <c:pt idx="6992">
                  <c:v>12.02.1997</c:v>
                </c:pt>
                <c:pt idx="6993">
                  <c:v>11.02.1997</c:v>
                </c:pt>
                <c:pt idx="6994">
                  <c:v>10.02.1997</c:v>
                </c:pt>
                <c:pt idx="6995">
                  <c:v>07.02.1997</c:v>
                </c:pt>
                <c:pt idx="6996">
                  <c:v>06.02.1997</c:v>
                </c:pt>
                <c:pt idx="6997">
                  <c:v>05.02.1997</c:v>
                </c:pt>
                <c:pt idx="6998">
                  <c:v>04.02.1997</c:v>
                </c:pt>
                <c:pt idx="6999">
                  <c:v>03.02.1997</c:v>
                </c:pt>
                <c:pt idx="7000">
                  <c:v>31.01.1997</c:v>
                </c:pt>
                <c:pt idx="7001">
                  <c:v>30.01.1997</c:v>
                </c:pt>
                <c:pt idx="7002">
                  <c:v>29.01.1997</c:v>
                </c:pt>
                <c:pt idx="7003">
                  <c:v>28.01.1997</c:v>
                </c:pt>
                <c:pt idx="7004">
                  <c:v>27.01.1997</c:v>
                </c:pt>
                <c:pt idx="7005">
                  <c:v>24.01.1997</c:v>
                </c:pt>
                <c:pt idx="7006">
                  <c:v>23.01.1997</c:v>
                </c:pt>
                <c:pt idx="7007">
                  <c:v>22.01.1997</c:v>
                </c:pt>
                <c:pt idx="7008">
                  <c:v>21.01.1997</c:v>
                </c:pt>
                <c:pt idx="7009">
                  <c:v>20.01.1997</c:v>
                </c:pt>
                <c:pt idx="7010">
                  <c:v>17.01.1997</c:v>
                </c:pt>
                <c:pt idx="7011">
                  <c:v>16.01.1997</c:v>
                </c:pt>
                <c:pt idx="7012">
                  <c:v>15.01.1997</c:v>
                </c:pt>
                <c:pt idx="7013">
                  <c:v>14.01.1997</c:v>
                </c:pt>
                <c:pt idx="7014">
                  <c:v>13.01.1997</c:v>
                </c:pt>
                <c:pt idx="7015">
                  <c:v>10.01.1997</c:v>
                </c:pt>
                <c:pt idx="7016">
                  <c:v>09.01.1997</c:v>
                </c:pt>
                <c:pt idx="7017">
                  <c:v>08.01.1997</c:v>
                </c:pt>
                <c:pt idx="7018">
                  <c:v>07.01.1997</c:v>
                </c:pt>
                <c:pt idx="7019">
                  <c:v>06.01.1997</c:v>
                </c:pt>
                <c:pt idx="7020">
                  <c:v>03.01.1997</c:v>
                </c:pt>
                <c:pt idx="7021">
                  <c:v>02.01.1997</c:v>
                </c:pt>
                <c:pt idx="7022">
                  <c:v>31.12.1996</c:v>
                </c:pt>
                <c:pt idx="7023">
                  <c:v>30.12.1996</c:v>
                </c:pt>
                <c:pt idx="7024">
                  <c:v>27.12.1996</c:v>
                </c:pt>
                <c:pt idx="7025">
                  <c:v>26.12.1996</c:v>
                </c:pt>
                <c:pt idx="7026">
                  <c:v>24.12.1996</c:v>
                </c:pt>
                <c:pt idx="7027">
                  <c:v>23.12.1996</c:v>
                </c:pt>
                <c:pt idx="7028">
                  <c:v>20.12.1996</c:v>
                </c:pt>
                <c:pt idx="7029">
                  <c:v>19.12.1996</c:v>
                </c:pt>
                <c:pt idx="7030">
                  <c:v>18.12.1996</c:v>
                </c:pt>
                <c:pt idx="7031">
                  <c:v>17.12.1996</c:v>
                </c:pt>
                <c:pt idx="7032">
                  <c:v>16.12.1996</c:v>
                </c:pt>
                <c:pt idx="7033">
                  <c:v>13.12.1996</c:v>
                </c:pt>
                <c:pt idx="7034">
                  <c:v>12.12.1996</c:v>
                </c:pt>
                <c:pt idx="7035">
                  <c:v>11.12.1996</c:v>
                </c:pt>
                <c:pt idx="7036">
                  <c:v>10.12.1996</c:v>
                </c:pt>
                <c:pt idx="7037">
                  <c:v>09.12.1996</c:v>
                </c:pt>
                <c:pt idx="7038">
                  <c:v>06.12.1996</c:v>
                </c:pt>
                <c:pt idx="7039">
                  <c:v>05.12.1996</c:v>
                </c:pt>
                <c:pt idx="7040">
                  <c:v>04.12.1996</c:v>
                </c:pt>
                <c:pt idx="7041">
                  <c:v>03.12.1996</c:v>
                </c:pt>
                <c:pt idx="7042">
                  <c:v>02.12.1996</c:v>
                </c:pt>
                <c:pt idx="7043">
                  <c:v>29.11.1996</c:v>
                </c:pt>
                <c:pt idx="7044">
                  <c:v>27.11.1996</c:v>
                </c:pt>
                <c:pt idx="7045">
                  <c:v>26.11.1996</c:v>
                </c:pt>
                <c:pt idx="7046">
                  <c:v>25.11.1996</c:v>
                </c:pt>
                <c:pt idx="7047">
                  <c:v>22.11.1996</c:v>
                </c:pt>
                <c:pt idx="7048">
                  <c:v>21.11.1996</c:v>
                </c:pt>
                <c:pt idx="7049">
                  <c:v>20.11.1996</c:v>
                </c:pt>
                <c:pt idx="7050">
                  <c:v>19.11.1996</c:v>
                </c:pt>
                <c:pt idx="7051">
                  <c:v>18.11.1996</c:v>
                </c:pt>
                <c:pt idx="7052">
                  <c:v>15.11.1996</c:v>
                </c:pt>
                <c:pt idx="7053">
                  <c:v>14.11.1996</c:v>
                </c:pt>
                <c:pt idx="7054">
                  <c:v>13.11.1996</c:v>
                </c:pt>
                <c:pt idx="7055">
                  <c:v>12.11.1996</c:v>
                </c:pt>
                <c:pt idx="7056">
                  <c:v>11.11.1996</c:v>
                </c:pt>
                <c:pt idx="7057">
                  <c:v>08.11.1996</c:v>
                </c:pt>
                <c:pt idx="7058">
                  <c:v>07.11.1996</c:v>
                </c:pt>
                <c:pt idx="7059">
                  <c:v>06.11.1996</c:v>
                </c:pt>
                <c:pt idx="7060">
                  <c:v>05.11.1996</c:v>
                </c:pt>
                <c:pt idx="7061">
                  <c:v>04.11.1996</c:v>
                </c:pt>
                <c:pt idx="7062">
                  <c:v>01.11.1996</c:v>
                </c:pt>
                <c:pt idx="7063">
                  <c:v>31.10.1996</c:v>
                </c:pt>
                <c:pt idx="7064">
                  <c:v>30.10.1996</c:v>
                </c:pt>
                <c:pt idx="7065">
                  <c:v>29.10.1996</c:v>
                </c:pt>
                <c:pt idx="7066">
                  <c:v>28.10.1996</c:v>
                </c:pt>
                <c:pt idx="7067">
                  <c:v>25.10.1996</c:v>
                </c:pt>
                <c:pt idx="7068">
                  <c:v>24.10.1996</c:v>
                </c:pt>
                <c:pt idx="7069">
                  <c:v>23.10.1996</c:v>
                </c:pt>
                <c:pt idx="7070">
                  <c:v>22.10.1996</c:v>
                </c:pt>
                <c:pt idx="7071">
                  <c:v>21.10.1996</c:v>
                </c:pt>
                <c:pt idx="7072">
                  <c:v>18.10.1996</c:v>
                </c:pt>
                <c:pt idx="7073">
                  <c:v>17.10.1996</c:v>
                </c:pt>
                <c:pt idx="7074">
                  <c:v>16.10.1996</c:v>
                </c:pt>
                <c:pt idx="7075">
                  <c:v>15.10.1996</c:v>
                </c:pt>
                <c:pt idx="7076">
                  <c:v>14.10.1996</c:v>
                </c:pt>
                <c:pt idx="7077">
                  <c:v>11.10.1996</c:v>
                </c:pt>
                <c:pt idx="7078">
                  <c:v>10.10.1996</c:v>
                </c:pt>
                <c:pt idx="7079">
                  <c:v>09.10.1996</c:v>
                </c:pt>
                <c:pt idx="7080">
                  <c:v>08.10.1996</c:v>
                </c:pt>
                <c:pt idx="7081">
                  <c:v>07.10.1996</c:v>
                </c:pt>
                <c:pt idx="7082">
                  <c:v>04.10.1996</c:v>
                </c:pt>
                <c:pt idx="7083">
                  <c:v>03.10.1996</c:v>
                </c:pt>
                <c:pt idx="7084">
                  <c:v>02.10.1996</c:v>
                </c:pt>
                <c:pt idx="7085">
                  <c:v>01.10.1996</c:v>
                </c:pt>
                <c:pt idx="7086">
                  <c:v>30.09.1996</c:v>
                </c:pt>
                <c:pt idx="7087">
                  <c:v>27.09.1996</c:v>
                </c:pt>
                <c:pt idx="7088">
                  <c:v>26.09.1996</c:v>
                </c:pt>
                <c:pt idx="7089">
                  <c:v>25.09.1996</c:v>
                </c:pt>
                <c:pt idx="7090">
                  <c:v>24.09.1996</c:v>
                </c:pt>
                <c:pt idx="7091">
                  <c:v>23.09.1996</c:v>
                </c:pt>
                <c:pt idx="7092">
                  <c:v>20.09.1996</c:v>
                </c:pt>
                <c:pt idx="7093">
                  <c:v>19.09.1996</c:v>
                </c:pt>
                <c:pt idx="7094">
                  <c:v>18.09.1996</c:v>
                </c:pt>
                <c:pt idx="7095">
                  <c:v>17.09.1996</c:v>
                </c:pt>
                <c:pt idx="7096">
                  <c:v>16.09.1996</c:v>
                </c:pt>
                <c:pt idx="7097">
                  <c:v>13.09.1996</c:v>
                </c:pt>
                <c:pt idx="7098">
                  <c:v>12.09.1996</c:v>
                </c:pt>
                <c:pt idx="7099">
                  <c:v>11.09.1996</c:v>
                </c:pt>
                <c:pt idx="7100">
                  <c:v>10.09.1996</c:v>
                </c:pt>
                <c:pt idx="7101">
                  <c:v>09.09.1996</c:v>
                </c:pt>
                <c:pt idx="7102">
                  <c:v>06.09.1996</c:v>
                </c:pt>
                <c:pt idx="7103">
                  <c:v>05.09.1996</c:v>
                </c:pt>
                <c:pt idx="7104">
                  <c:v>04.09.1996</c:v>
                </c:pt>
                <c:pt idx="7105">
                  <c:v>03.09.1996</c:v>
                </c:pt>
                <c:pt idx="7106">
                  <c:v>30.08.1996</c:v>
                </c:pt>
                <c:pt idx="7107">
                  <c:v>29.08.1996</c:v>
                </c:pt>
                <c:pt idx="7108">
                  <c:v>28.08.1996</c:v>
                </c:pt>
                <c:pt idx="7109">
                  <c:v>27.08.1996</c:v>
                </c:pt>
                <c:pt idx="7110">
                  <c:v>26.08.1996</c:v>
                </c:pt>
                <c:pt idx="7111">
                  <c:v>23.08.1996</c:v>
                </c:pt>
                <c:pt idx="7112">
                  <c:v>22.08.1996</c:v>
                </c:pt>
                <c:pt idx="7113">
                  <c:v>21.08.1996</c:v>
                </c:pt>
                <c:pt idx="7114">
                  <c:v>20.08.1996</c:v>
                </c:pt>
                <c:pt idx="7115">
                  <c:v>19.08.1996</c:v>
                </c:pt>
                <c:pt idx="7116">
                  <c:v>16.08.1996</c:v>
                </c:pt>
                <c:pt idx="7117">
                  <c:v>15.08.1996</c:v>
                </c:pt>
                <c:pt idx="7118">
                  <c:v>14.08.1996</c:v>
                </c:pt>
                <c:pt idx="7119">
                  <c:v>13.08.1996</c:v>
                </c:pt>
                <c:pt idx="7120">
                  <c:v>12.08.1996</c:v>
                </c:pt>
                <c:pt idx="7121">
                  <c:v>09.08.1996</c:v>
                </c:pt>
                <c:pt idx="7122">
                  <c:v>08.08.1996</c:v>
                </c:pt>
                <c:pt idx="7123">
                  <c:v>07.08.1996</c:v>
                </c:pt>
                <c:pt idx="7124">
                  <c:v>06.08.1996</c:v>
                </c:pt>
                <c:pt idx="7125">
                  <c:v>05.08.1996</c:v>
                </c:pt>
                <c:pt idx="7126">
                  <c:v>02.08.1996</c:v>
                </c:pt>
                <c:pt idx="7127">
                  <c:v>01.08.1996</c:v>
                </c:pt>
                <c:pt idx="7128">
                  <c:v>31.07.1996</c:v>
                </c:pt>
                <c:pt idx="7129">
                  <c:v>30.07.1996</c:v>
                </c:pt>
                <c:pt idx="7130">
                  <c:v>29.07.1996</c:v>
                </c:pt>
                <c:pt idx="7131">
                  <c:v>26.07.1996</c:v>
                </c:pt>
                <c:pt idx="7132">
                  <c:v>25.07.1996</c:v>
                </c:pt>
                <c:pt idx="7133">
                  <c:v>24.07.1996</c:v>
                </c:pt>
                <c:pt idx="7134">
                  <c:v>23.07.1996</c:v>
                </c:pt>
                <c:pt idx="7135">
                  <c:v>22.07.1996</c:v>
                </c:pt>
                <c:pt idx="7136">
                  <c:v>19.07.1996</c:v>
                </c:pt>
                <c:pt idx="7137">
                  <c:v>18.07.1996</c:v>
                </c:pt>
                <c:pt idx="7138">
                  <c:v>17.07.1996</c:v>
                </c:pt>
                <c:pt idx="7139">
                  <c:v>16.07.1996</c:v>
                </c:pt>
                <c:pt idx="7140">
                  <c:v>15.07.1996</c:v>
                </c:pt>
                <c:pt idx="7141">
                  <c:v>12.07.1996</c:v>
                </c:pt>
                <c:pt idx="7142">
                  <c:v>11.07.1996</c:v>
                </c:pt>
                <c:pt idx="7143">
                  <c:v>10.07.1996</c:v>
                </c:pt>
                <c:pt idx="7144">
                  <c:v>09.07.1996</c:v>
                </c:pt>
                <c:pt idx="7145">
                  <c:v>08.07.1996</c:v>
                </c:pt>
                <c:pt idx="7146">
                  <c:v>05.07.1996</c:v>
                </c:pt>
                <c:pt idx="7147">
                  <c:v>03.07.1996</c:v>
                </c:pt>
                <c:pt idx="7148">
                  <c:v>02.07.1996</c:v>
                </c:pt>
                <c:pt idx="7149">
                  <c:v>01.07.1996</c:v>
                </c:pt>
                <c:pt idx="7150">
                  <c:v>28.06.1996</c:v>
                </c:pt>
                <c:pt idx="7151">
                  <c:v>27.06.1996</c:v>
                </c:pt>
                <c:pt idx="7152">
                  <c:v>26.06.1996</c:v>
                </c:pt>
                <c:pt idx="7153">
                  <c:v>25.06.1996</c:v>
                </c:pt>
                <c:pt idx="7154">
                  <c:v>24.06.1996</c:v>
                </c:pt>
                <c:pt idx="7155">
                  <c:v>21.06.1996</c:v>
                </c:pt>
                <c:pt idx="7156">
                  <c:v>20.06.1996</c:v>
                </c:pt>
                <c:pt idx="7157">
                  <c:v>19.06.1996</c:v>
                </c:pt>
                <c:pt idx="7158">
                  <c:v>18.06.1996</c:v>
                </c:pt>
                <c:pt idx="7159">
                  <c:v>17.06.1996</c:v>
                </c:pt>
                <c:pt idx="7160">
                  <c:v>14.06.1996</c:v>
                </c:pt>
                <c:pt idx="7161">
                  <c:v>13.06.1996</c:v>
                </c:pt>
                <c:pt idx="7162">
                  <c:v>12.06.1996</c:v>
                </c:pt>
                <c:pt idx="7163">
                  <c:v>11.06.1996</c:v>
                </c:pt>
                <c:pt idx="7164">
                  <c:v>10.06.1996</c:v>
                </c:pt>
                <c:pt idx="7165">
                  <c:v>07.06.1996</c:v>
                </c:pt>
                <c:pt idx="7166">
                  <c:v>06.06.1996</c:v>
                </c:pt>
                <c:pt idx="7167">
                  <c:v>05.06.1996</c:v>
                </c:pt>
                <c:pt idx="7168">
                  <c:v>04.06.1996</c:v>
                </c:pt>
                <c:pt idx="7169">
                  <c:v>03.06.1996</c:v>
                </c:pt>
                <c:pt idx="7170">
                  <c:v>31.05.1996</c:v>
                </c:pt>
                <c:pt idx="7171">
                  <c:v>30.05.1996</c:v>
                </c:pt>
                <c:pt idx="7172">
                  <c:v>29.05.1996</c:v>
                </c:pt>
                <c:pt idx="7173">
                  <c:v>28.05.1996</c:v>
                </c:pt>
                <c:pt idx="7174">
                  <c:v>24.05.1996</c:v>
                </c:pt>
                <c:pt idx="7175">
                  <c:v>23.05.1996</c:v>
                </c:pt>
                <c:pt idx="7176">
                  <c:v>22.05.1996</c:v>
                </c:pt>
                <c:pt idx="7177">
                  <c:v>21.05.1996</c:v>
                </c:pt>
                <c:pt idx="7178">
                  <c:v>20.05.1996</c:v>
                </c:pt>
                <c:pt idx="7179">
                  <c:v>17.05.1996</c:v>
                </c:pt>
                <c:pt idx="7180">
                  <c:v>16.05.1996</c:v>
                </c:pt>
                <c:pt idx="7181">
                  <c:v>15.05.1996</c:v>
                </c:pt>
                <c:pt idx="7182">
                  <c:v>14.05.1996</c:v>
                </c:pt>
                <c:pt idx="7183">
                  <c:v>13.05.1996</c:v>
                </c:pt>
                <c:pt idx="7184">
                  <c:v>10.05.1996</c:v>
                </c:pt>
                <c:pt idx="7185">
                  <c:v>09.05.1996</c:v>
                </c:pt>
                <c:pt idx="7186">
                  <c:v>08.05.1996</c:v>
                </c:pt>
                <c:pt idx="7187">
                  <c:v>07.05.1996</c:v>
                </c:pt>
                <c:pt idx="7188">
                  <c:v>06.05.1996</c:v>
                </c:pt>
                <c:pt idx="7189">
                  <c:v>03.05.1996</c:v>
                </c:pt>
                <c:pt idx="7190">
                  <c:v>02.05.1996</c:v>
                </c:pt>
                <c:pt idx="7191">
                  <c:v>01.05.1996</c:v>
                </c:pt>
                <c:pt idx="7192">
                  <c:v>30.04.1996</c:v>
                </c:pt>
                <c:pt idx="7193">
                  <c:v>29.04.1996</c:v>
                </c:pt>
                <c:pt idx="7194">
                  <c:v>26.04.1996</c:v>
                </c:pt>
                <c:pt idx="7195">
                  <c:v>25.04.1996</c:v>
                </c:pt>
                <c:pt idx="7196">
                  <c:v>24.04.1996</c:v>
                </c:pt>
                <c:pt idx="7197">
                  <c:v>23.04.1996</c:v>
                </c:pt>
                <c:pt idx="7198">
                  <c:v>22.04.1996</c:v>
                </c:pt>
                <c:pt idx="7199">
                  <c:v>19.04.1996</c:v>
                </c:pt>
                <c:pt idx="7200">
                  <c:v>18.04.1996</c:v>
                </c:pt>
                <c:pt idx="7201">
                  <c:v>17.04.1996</c:v>
                </c:pt>
                <c:pt idx="7202">
                  <c:v>16.04.1996</c:v>
                </c:pt>
                <c:pt idx="7203">
                  <c:v>15.04.1996</c:v>
                </c:pt>
                <c:pt idx="7204">
                  <c:v>12.04.1996</c:v>
                </c:pt>
                <c:pt idx="7205">
                  <c:v>11.04.1996</c:v>
                </c:pt>
                <c:pt idx="7206">
                  <c:v>10.04.1996</c:v>
                </c:pt>
                <c:pt idx="7207">
                  <c:v>09.04.1996</c:v>
                </c:pt>
                <c:pt idx="7208">
                  <c:v>08.04.1996</c:v>
                </c:pt>
                <c:pt idx="7209">
                  <c:v>04.04.1996</c:v>
                </c:pt>
                <c:pt idx="7210">
                  <c:v>03.04.1996</c:v>
                </c:pt>
                <c:pt idx="7211">
                  <c:v>02.04.1996</c:v>
                </c:pt>
                <c:pt idx="7212">
                  <c:v>01.04.1996</c:v>
                </c:pt>
                <c:pt idx="7213">
                  <c:v>29.03.1996</c:v>
                </c:pt>
                <c:pt idx="7214">
                  <c:v>28.03.1996</c:v>
                </c:pt>
                <c:pt idx="7215">
                  <c:v>27.03.1996</c:v>
                </c:pt>
                <c:pt idx="7216">
                  <c:v>26.03.1996</c:v>
                </c:pt>
                <c:pt idx="7217">
                  <c:v>25.03.1996</c:v>
                </c:pt>
                <c:pt idx="7218">
                  <c:v>22.03.1996</c:v>
                </c:pt>
                <c:pt idx="7219">
                  <c:v>21.03.1996</c:v>
                </c:pt>
                <c:pt idx="7220">
                  <c:v>20.03.1996</c:v>
                </c:pt>
                <c:pt idx="7221">
                  <c:v>19.03.1996</c:v>
                </c:pt>
                <c:pt idx="7222">
                  <c:v>18.03.1996</c:v>
                </c:pt>
                <c:pt idx="7223">
                  <c:v>15.03.1996</c:v>
                </c:pt>
                <c:pt idx="7224">
                  <c:v>14.03.1996</c:v>
                </c:pt>
                <c:pt idx="7225">
                  <c:v>13.03.1996</c:v>
                </c:pt>
                <c:pt idx="7226">
                  <c:v>12.03.1996</c:v>
                </c:pt>
                <c:pt idx="7227">
                  <c:v>11.03.1996</c:v>
                </c:pt>
                <c:pt idx="7228">
                  <c:v>08.03.1996</c:v>
                </c:pt>
                <c:pt idx="7229">
                  <c:v>07.03.1996</c:v>
                </c:pt>
                <c:pt idx="7230">
                  <c:v>06.03.1996</c:v>
                </c:pt>
                <c:pt idx="7231">
                  <c:v>05.03.1996</c:v>
                </c:pt>
                <c:pt idx="7232">
                  <c:v>04.03.1996</c:v>
                </c:pt>
                <c:pt idx="7233">
                  <c:v>01.03.1996</c:v>
                </c:pt>
                <c:pt idx="7234">
                  <c:v>29.02.1996</c:v>
                </c:pt>
                <c:pt idx="7235">
                  <c:v>28.02.1996</c:v>
                </c:pt>
                <c:pt idx="7236">
                  <c:v>27.02.1996</c:v>
                </c:pt>
                <c:pt idx="7237">
                  <c:v>26.02.1996</c:v>
                </c:pt>
                <c:pt idx="7238">
                  <c:v>23.02.1996</c:v>
                </c:pt>
                <c:pt idx="7239">
                  <c:v>22.02.1996</c:v>
                </c:pt>
                <c:pt idx="7240">
                  <c:v>21.02.1996</c:v>
                </c:pt>
                <c:pt idx="7241">
                  <c:v>20.02.1996</c:v>
                </c:pt>
                <c:pt idx="7242">
                  <c:v>16.02.1996</c:v>
                </c:pt>
                <c:pt idx="7243">
                  <c:v>15.02.1996</c:v>
                </c:pt>
                <c:pt idx="7244">
                  <c:v>14.02.1996</c:v>
                </c:pt>
                <c:pt idx="7245">
                  <c:v>13.02.1996</c:v>
                </c:pt>
                <c:pt idx="7246">
                  <c:v>12.02.1996</c:v>
                </c:pt>
                <c:pt idx="7247">
                  <c:v>09.02.1996</c:v>
                </c:pt>
                <c:pt idx="7248">
                  <c:v>08.02.1996</c:v>
                </c:pt>
                <c:pt idx="7249">
                  <c:v>07.02.1996</c:v>
                </c:pt>
                <c:pt idx="7250">
                  <c:v>06.02.1996</c:v>
                </c:pt>
                <c:pt idx="7251">
                  <c:v>05.02.1996</c:v>
                </c:pt>
                <c:pt idx="7252">
                  <c:v>02.02.1996</c:v>
                </c:pt>
                <c:pt idx="7253">
                  <c:v>01.02.1996</c:v>
                </c:pt>
                <c:pt idx="7254">
                  <c:v>31.01.1996</c:v>
                </c:pt>
                <c:pt idx="7255">
                  <c:v>30.01.1996</c:v>
                </c:pt>
                <c:pt idx="7256">
                  <c:v>29.01.1996</c:v>
                </c:pt>
                <c:pt idx="7257">
                  <c:v>26.01.1996</c:v>
                </c:pt>
                <c:pt idx="7258">
                  <c:v>25.01.1996</c:v>
                </c:pt>
                <c:pt idx="7259">
                  <c:v>24.01.1996</c:v>
                </c:pt>
                <c:pt idx="7260">
                  <c:v>23.01.1996</c:v>
                </c:pt>
                <c:pt idx="7261">
                  <c:v>22.01.1996</c:v>
                </c:pt>
                <c:pt idx="7262">
                  <c:v>19.01.1996</c:v>
                </c:pt>
                <c:pt idx="7263">
                  <c:v>18.01.1996</c:v>
                </c:pt>
                <c:pt idx="7264">
                  <c:v>17.01.1996</c:v>
                </c:pt>
                <c:pt idx="7265">
                  <c:v>16.01.1996</c:v>
                </c:pt>
                <c:pt idx="7266">
                  <c:v>15.01.1996</c:v>
                </c:pt>
                <c:pt idx="7267">
                  <c:v>12.01.1996</c:v>
                </c:pt>
                <c:pt idx="7268">
                  <c:v>11.01.1996</c:v>
                </c:pt>
                <c:pt idx="7269">
                  <c:v>10.01.1996</c:v>
                </c:pt>
                <c:pt idx="7270">
                  <c:v>09.01.1996</c:v>
                </c:pt>
                <c:pt idx="7271">
                  <c:v>08.01.1996</c:v>
                </c:pt>
                <c:pt idx="7272">
                  <c:v>05.01.1996</c:v>
                </c:pt>
                <c:pt idx="7273">
                  <c:v>04.01.1996</c:v>
                </c:pt>
                <c:pt idx="7274">
                  <c:v>03.01.1996</c:v>
                </c:pt>
                <c:pt idx="7275">
                  <c:v>02.01.1996</c:v>
                </c:pt>
                <c:pt idx="7276">
                  <c:v>29.12.1995</c:v>
                </c:pt>
                <c:pt idx="7277">
                  <c:v>28.12.1995</c:v>
                </c:pt>
                <c:pt idx="7278">
                  <c:v>27.12.1995</c:v>
                </c:pt>
                <c:pt idx="7279">
                  <c:v>26.12.1995</c:v>
                </c:pt>
                <c:pt idx="7280">
                  <c:v>22.12.1995</c:v>
                </c:pt>
                <c:pt idx="7281">
                  <c:v>21.12.1995</c:v>
                </c:pt>
                <c:pt idx="7282">
                  <c:v>20.12.1995</c:v>
                </c:pt>
                <c:pt idx="7283">
                  <c:v>19.12.1995</c:v>
                </c:pt>
                <c:pt idx="7284">
                  <c:v>18.12.1995</c:v>
                </c:pt>
                <c:pt idx="7285">
                  <c:v>15.12.1995</c:v>
                </c:pt>
                <c:pt idx="7286">
                  <c:v>14.12.1995</c:v>
                </c:pt>
                <c:pt idx="7287">
                  <c:v>13.12.1995</c:v>
                </c:pt>
                <c:pt idx="7288">
                  <c:v>12.12.1995</c:v>
                </c:pt>
                <c:pt idx="7289">
                  <c:v>11.12.1995</c:v>
                </c:pt>
                <c:pt idx="7290">
                  <c:v>08.12.1995</c:v>
                </c:pt>
                <c:pt idx="7291">
                  <c:v>07.12.1995</c:v>
                </c:pt>
                <c:pt idx="7292">
                  <c:v>06.12.1995</c:v>
                </c:pt>
                <c:pt idx="7293">
                  <c:v>05.12.1995</c:v>
                </c:pt>
                <c:pt idx="7294">
                  <c:v>04.12.1995</c:v>
                </c:pt>
                <c:pt idx="7295">
                  <c:v>01.12.1995</c:v>
                </c:pt>
                <c:pt idx="7296">
                  <c:v>30.11.1995</c:v>
                </c:pt>
                <c:pt idx="7297">
                  <c:v>29.11.1995</c:v>
                </c:pt>
                <c:pt idx="7298">
                  <c:v>28.11.1995</c:v>
                </c:pt>
                <c:pt idx="7299">
                  <c:v>27.11.1995</c:v>
                </c:pt>
                <c:pt idx="7300">
                  <c:v>24.11.1995</c:v>
                </c:pt>
                <c:pt idx="7301">
                  <c:v>22.11.1995</c:v>
                </c:pt>
                <c:pt idx="7302">
                  <c:v>21.11.1995</c:v>
                </c:pt>
                <c:pt idx="7303">
                  <c:v>20.11.1995</c:v>
                </c:pt>
                <c:pt idx="7304">
                  <c:v>17.11.1995</c:v>
                </c:pt>
                <c:pt idx="7305">
                  <c:v>16.11.1995</c:v>
                </c:pt>
                <c:pt idx="7306">
                  <c:v>15.11.1995</c:v>
                </c:pt>
                <c:pt idx="7307">
                  <c:v>14.11.1995</c:v>
                </c:pt>
                <c:pt idx="7308">
                  <c:v>13.11.1995</c:v>
                </c:pt>
                <c:pt idx="7309">
                  <c:v>10.11.1995</c:v>
                </c:pt>
                <c:pt idx="7310">
                  <c:v>09.11.1995</c:v>
                </c:pt>
                <c:pt idx="7311">
                  <c:v>08.11.1995</c:v>
                </c:pt>
                <c:pt idx="7312">
                  <c:v>07.11.1995</c:v>
                </c:pt>
                <c:pt idx="7313">
                  <c:v>06.11.1995</c:v>
                </c:pt>
                <c:pt idx="7314">
                  <c:v>03.11.1995</c:v>
                </c:pt>
                <c:pt idx="7315">
                  <c:v>02.11.1995</c:v>
                </c:pt>
                <c:pt idx="7316">
                  <c:v>01.11.1995</c:v>
                </c:pt>
                <c:pt idx="7317">
                  <c:v>31.10.1995</c:v>
                </c:pt>
                <c:pt idx="7318">
                  <c:v>30.10.1995</c:v>
                </c:pt>
                <c:pt idx="7319">
                  <c:v>27.10.1995</c:v>
                </c:pt>
                <c:pt idx="7320">
                  <c:v>26.10.1995</c:v>
                </c:pt>
                <c:pt idx="7321">
                  <c:v>25.10.1995</c:v>
                </c:pt>
                <c:pt idx="7322">
                  <c:v>24.10.1995</c:v>
                </c:pt>
                <c:pt idx="7323">
                  <c:v>23.10.1995</c:v>
                </c:pt>
                <c:pt idx="7324">
                  <c:v>20.10.1995</c:v>
                </c:pt>
                <c:pt idx="7325">
                  <c:v>19.10.1995</c:v>
                </c:pt>
                <c:pt idx="7326">
                  <c:v>18.10.1995</c:v>
                </c:pt>
                <c:pt idx="7327">
                  <c:v>17.10.1995</c:v>
                </c:pt>
                <c:pt idx="7328">
                  <c:v>16.10.1995</c:v>
                </c:pt>
                <c:pt idx="7329">
                  <c:v>13.10.1995</c:v>
                </c:pt>
                <c:pt idx="7330">
                  <c:v>12.10.1995</c:v>
                </c:pt>
                <c:pt idx="7331">
                  <c:v>11.10.1995</c:v>
                </c:pt>
                <c:pt idx="7332">
                  <c:v>10.10.1995</c:v>
                </c:pt>
                <c:pt idx="7333">
                  <c:v>09.10.1995</c:v>
                </c:pt>
                <c:pt idx="7334">
                  <c:v>06.10.1995</c:v>
                </c:pt>
                <c:pt idx="7335">
                  <c:v>05.10.1995</c:v>
                </c:pt>
                <c:pt idx="7336">
                  <c:v>04.10.1995</c:v>
                </c:pt>
                <c:pt idx="7337">
                  <c:v>03.10.1995</c:v>
                </c:pt>
                <c:pt idx="7338">
                  <c:v>02.10.1995</c:v>
                </c:pt>
                <c:pt idx="7339">
                  <c:v>29.09.1995</c:v>
                </c:pt>
                <c:pt idx="7340">
                  <c:v>28.09.1995</c:v>
                </c:pt>
                <c:pt idx="7341">
                  <c:v>27.09.1995</c:v>
                </c:pt>
                <c:pt idx="7342">
                  <c:v>26.09.1995</c:v>
                </c:pt>
                <c:pt idx="7343">
                  <c:v>25.09.1995</c:v>
                </c:pt>
                <c:pt idx="7344">
                  <c:v>22.09.1995</c:v>
                </c:pt>
                <c:pt idx="7345">
                  <c:v>21.09.1995</c:v>
                </c:pt>
                <c:pt idx="7346">
                  <c:v>20.09.1995</c:v>
                </c:pt>
                <c:pt idx="7347">
                  <c:v>19.09.1995</c:v>
                </c:pt>
                <c:pt idx="7348">
                  <c:v>18.09.1995</c:v>
                </c:pt>
                <c:pt idx="7349">
                  <c:v>15.09.1995</c:v>
                </c:pt>
                <c:pt idx="7350">
                  <c:v>14.09.1995</c:v>
                </c:pt>
                <c:pt idx="7351">
                  <c:v>13.09.1995</c:v>
                </c:pt>
                <c:pt idx="7352">
                  <c:v>12.09.1995</c:v>
                </c:pt>
                <c:pt idx="7353">
                  <c:v>11.09.1995</c:v>
                </c:pt>
                <c:pt idx="7354">
                  <c:v>08.09.1995</c:v>
                </c:pt>
                <c:pt idx="7355">
                  <c:v>07.09.1995</c:v>
                </c:pt>
                <c:pt idx="7356">
                  <c:v>06.09.1995</c:v>
                </c:pt>
                <c:pt idx="7357">
                  <c:v>05.09.1995</c:v>
                </c:pt>
                <c:pt idx="7358">
                  <c:v>01.09.1995</c:v>
                </c:pt>
                <c:pt idx="7359">
                  <c:v>31.08.1995</c:v>
                </c:pt>
                <c:pt idx="7360">
                  <c:v>30.08.1995</c:v>
                </c:pt>
                <c:pt idx="7361">
                  <c:v>29.08.1995</c:v>
                </c:pt>
                <c:pt idx="7362">
                  <c:v>28.08.1995</c:v>
                </c:pt>
                <c:pt idx="7363">
                  <c:v>25.08.1995</c:v>
                </c:pt>
                <c:pt idx="7364">
                  <c:v>24.08.1995</c:v>
                </c:pt>
                <c:pt idx="7365">
                  <c:v>23.08.1995</c:v>
                </c:pt>
                <c:pt idx="7366">
                  <c:v>22.08.1995</c:v>
                </c:pt>
                <c:pt idx="7367">
                  <c:v>21.08.1995</c:v>
                </c:pt>
                <c:pt idx="7368">
                  <c:v>18.08.1995</c:v>
                </c:pt>
                <c:pt idx="7369">
                  <c:v>17.08.1995</c:v>
                </c:pt>
                <c:pt idx="7370">
                  <c:v>16.08.1995</c:v>
                </c:pt>
                <c:pt idx="7371">
                  <c:v>15.08.1995</c:v>
                </c:pt>
                <c:pt idx="7372">
                  <c:v>14.08.1995</c:v>
                </c:pt>
                <c:pt idx="7373">
                  <c:v>11.08.1995</c:v>
                </c:pt>
                <c:pt idx="7374">
                  <c:v>10.08.1995</c:v>
                </c:pt>
                <c:pt idx="7375">
                  <c:v>09.08.1995</c:v>
                </c:pt>
                <c:pt idx="7376">
                  <c:v>08.08.1995</c:v>
                </c:pt>
                <c:pt idx="7377">
                  <c:v>07.08.1995</c:v>
                </c:pt>
                <c:pt idx="7378">
                  <c:v>04.08.1995</c:v>
                </c:pt>
                <c:pt idx="7379">
                  <c:v>03.08.1995</c:v>
                </c:pt>
                <c:pt idx="7380">
                  <c:v>02.08.1995</c:v>
                </c:pt>
                <c:pt idx="7381">
                  <c:v>01.08.1995</c:v>
                </c:pt>
                <c:pt idx="7382">
                  <c:v>31.07.1995</c:v>
                </c:pt>
                <c:pt idx="7383">
                  <c:v>28.07.1995</c:v>
                </c:pt>
                <c:pt idx="7384">
                  <c:v>27.07.1995</c:v>
                </c:pt>
                <c:pt idx="7385">
                  <c:v>26.07.1995</c:v>
                </c:pt>
                <c:pt idx="7386">
                  <c:v>25.07.1995</c:v>
                </c:pt>
                <c:pt idx="7387">
                  <c:v>24.07.1995</c:v>
                </c:pt>
                <c:pt idx="7388">
                  <c:v>21.07.1995</c:v>
                </c:pt>
                <c:pt idx="7389">
                  <c:v>20.07.1995</c:v>
                </c:pt>
                <c:pt idx="7390">
                  <c:v>19.07.1995</c:v>
                </c:pt>
                <c:pt idx="7391">
                  <c:v>18.07.1995</c:v>
                </c:pt>
                <c:pt idx="7392">
                  <c:v>17.07.1995</c:v>
                </c:pt>
                <c:pt idx="7393">
                  <c:v>14.07.1995</c:v>
                </c:pt>
                <c:pt idx="7394">
                  <c:v>13.07.1995</c:v>
                </c:pt>
                <c:pt idx="7395">
                  <c:v>12.07.1995</c:v>
                </c:pt>
                <c:pt idx="7396">
                  <c:v>11.07.1995</c:v>
                </c:pt>
                <c:pt idx="7397">
                  <c:v>10.07.1995</c:v>
                </c:pt>
                <c:pt idx="7398">
                  <c:v>07.07.1995</c:v>
                </c:pt>
                <c:pt idx="7399">
                  <c:v>06.07.1995</c:v>
                </c:pt>
                <c:pt idx="7400">
                  <c:v>05.07.1995</c:v>
                </c:pt>
                <c:pt idx="7401">
                  <c:v>03.07.1995</c:v>
                </c:pt>
                <c:pt idx="7402">
                  <c:v>30.06.1995</c:v>
                </c:pt>
                <c:pt idx="7403">
                  <c:v>29.06.1995</c:v>
                </c:pt>
                <c:pt idx="7404">
                  <c:v>28.06.1995</c:v>
                </c:pt>
                <c:pt idx="7405">
                  <c:v>27.06.1995</c:v>
                </c:pt>
                <c:pt idx="7406">
                  <c:v>26.06.1995</c:v>
                </c:pt>
                <c:pt idx="7407">
                  <c:v>23.06.1995</c:v>
                </c:pt>
                <c:pt idx="7408">
                  <c:v>22.06.1995</c:v>
                </c:pt>
                <c:pt idx="7409">
                  <c:v>21.06.1995</c:v>
                </c:pt>
                <c:pt idx="7410">
                  <c:v>20.06.1995</c:v>
                </c:pt>
                <c:pt idx="7411">
                  <c:v>19.06.1995</c:v>
                </c:pt>
                <c:pt idx="7412">
                  <c:v>16.06.1995</c:v>
                </c:pt>
                <c:pt idx="7413">
                  <c:v>15.06.1995</c:v>
                </c:pt>
                <c:pt idx="7414">
                  <c:v>14.06.1995</c:v>
                </c:pt>
                <c:pt idx="7415">
                  <c:v>13.06.1995</c:v>
                </c:pt>
                <c:pt idx="7416">
                  <c:v>12.06.1995</c:v>
                </c:pt>
                <c:pt idx="7417">
                  <c:v>09.06.1995</c:v>
                </c:pt>
                <c:pt idx="7418">
                  <c:v>08.06.1995</c:v>
                </c:pt>
                <c:pt idx="7419">
                  <c:v>07.06.1995</c:v>
                </c:pt>
                <c:pt idx="7420">
                  <c:v>06.06.1995</c:v>
                </c:pt>
                <c:pt idx="7421">
                  <c:v>05.06.1995</c:v>
                </c:pt>
                <c:pt idx="7422">
                  <c:v>02.06.1995</c:v>
                </c:pt>
                <c:pt idx="7423">
                  <c:v>01.06.1995</c:v>
                </c:pt>
                <c:pt idx="7424">
                  <c:v>31.05.1995</c:v>
                </c:pt>
                <c:pt idx="7425">
                  <c:v>30.05.1995</c:v>
                </c:pt>
                <c:pt idx="7426">
                  <c:v>26.05.1995</c:v>
                </c:pt>
                <c:pt idx="7427">
                  <c:v>25.05.1995</c:v>
                </c:pt>
                <c:pt idx="7428">
                  <c:v>24.05.1995</c:v>
                </c:pt>
                <c:pt idx="7429">
                  <c:v>23.05.1995</c:v>
                </c:pt>
                <c:pt idx="7430">
                  <c:v>22.05.1995</c:v>
                </c:pt>
                <c:pt idx="7431">
                  <c:v>19.05.1995</c:v>
                </c:pt>
                <c:pt idx="7432">
                  <c:v>18.05.1995</c:v>
                </c:pt>
                <c:pt idx="7433">
                  <c:v>17.05.1995</c:v>
                </c:pt>
                <c:pt idx="7434">
                  <c:v>16.05.1995</c:v>
                </c:pt>
                <c:pt idx="7435">
                  <c:v>15.05.1995</c:v>
                </c:pt>
                <c:pt idx="7436">
                  <c:v>12.05.1995</c:v>
                </c:pt>
                <c:pt idx="7437">
                  <c:v>11.05.1995</c:v>
                </c:pt>
                <c:pt idx="7438">
                  <c:v>10.05.1995</c:v>
                </c:pt>
                <c:pt idx="7439">
                  <c:v>09.05.1995</c:v>
                </c:pt>
                <c:pt idx="7440">
                  <c:v>08.05.1995</c:v>
                </c:pt>
                <c:pt idx="7441">
                  <c:v>05.05.1995</c:v>
                </c:pt>
                <c:pt idx="7442">
                  <c:v>04.05.1995</c:v>
                </c:pt>
                <c:pt idx="7443">
                  <c:v>03.05.1995</c:v>
                </c:pt>
                <c:pt idx="7444">
                  <c:v>02.05.1995</c:v>
                </c:pt>
                <c:pt idx="7445">
                  <c:v>01.05.1995</c:v>
                </c:pt>
                <c:pt idx="7446">
                  <c:v>28.04.1995</c:v>
                </c:pt>
                <c:pt idx="7447">
                  <c:v>27.04.1995</c:v>
                </c:pt>
                <c:pt idx="7448">
                  <c:v>26.04.1995</c:v>
                </c:pt>
                <c:pt idx="7449">
                  <c:v>25.04.1995</c:v>
                </c:pt>
                <c:pt idx="7450">
                  <c:v>24.04.1995</c:v>
                </c:pt>
                <c:pt idx="7451">
                  <c:v>21.04.1995</c:v>
                </c:pt>
                <c:pt idx="7452">
                  <c:v>20.04.1995</c:v>
                </c:pt>
                <c:pt idx="7453">
                  <c:v>19.04.1995</c:v>
                </c:pt>
                <c:pt idx="7454">
                  <c:v>18.04.1995</c:v>
                </c:pt>
                <c:pt idx="7455">
                  <c:v>17.04.1995</c:v>
                </c:pt>
                <c:pt idx="7456">
                  <c:v>13.04.1995</c:v>
                </c:pt>
                <c:pt idx="7457">
                  <c:v>12.04.1995</c:v>
                </c:pt>
                <c:pt idx="7458">
                  <c:v>11.04.1995</c:v>
                </c:pt>
                <c:pt idx="7459">
                  <c:v>10.04.1995</c:v>
                </c:pt>
                <c:pt idx="7460">
                  <c:v>07.04.1995</c:v>
                </c:pt>
                <c:pt idx="7461">
                  <c:v>06.04.1995</c:v>
                </c:pt>
                <c:pt idx="7462">
                  <c:v>05.04.1995</c:v>
                </c:pt>
                <c:pt idx="7463">
                  <c:v>04.04.1995</c:v>
                </c:pt>
                <c:pt idx="7464">
                  <c:v>03.04.1995</c:v>
                </c:pt>
                <c:pt idx="7465">
                  <c:v>31.03.1995</c:v>
                </c:pt>
                <c:pt idx="7466">
                  <c:v>30.03.1995</c:v>
                </c:pt>
                <c:pt idx="7467">
                  <c:v>29.03.1995</c:v>
                </c:pt>
                <c:pt idx="7468">
                  <c:v>28.03.1995</c:v>
                </c:pt>
                <c:pt idx="7469">
                  <c:v>27.03.1995</c:v>
                </c:pt>
                <c:pt idx="7470">
                  <c:v>24.03.1995</c:v>
                </c:pt>
                <c:pt idx="7471">
                  <c:v>23.03.1995</c:v>
                </c:pt>
                <c:pt idx="7472">
                  <c:v>22.03.1995</c:v>
                </c:pt>
                <c:pt idx="7473">
                  <c:v>21.03.1995</c:v>
                </c:pt>
                <c:pt idx="7474">
                  <c:v>20.03.1995</c:v>
                </c:pt>
                <c:pt idx="7475">
                  <c:v>17.03.1995</c:v>
                </c:pt>
                <c:pt idx="7476">
                  <c:v>16.03.1995</c:v>
                </c:pt>
                <c:pt idx="7477">
                  <c:v>15.03.1995</c:v>
                </c:pt>
                <c:pt idx="7478">
                  <c:v>14.03.1995</c:v>
                </c:pt>
                <c:pt idx="7479">
                  <c:v>13.03.1995</c:v>
                </c:pt>
                <c:pt idx="7480">
                  <c:v>10.03.1995</c:v>
                </c:pt>
                <c:pt idx="7481">
                  <c:v>09.03.1995</c:v>
                </c:pt>
                <c:pt idx="7482">
                  <c:v>08.03.1995</c:v>
                </c:pt>
                <c:pt idx="7483">
                  <c:v>07.03.1995</c:v>
                </c:pt>
                <c:pt idx="7484">
                  <c:v>06.03.1995</c:v>
                </c:pt>
                <c:pt idx="7485">
                  <c:v>03.03.1995</c:v>
                </c:pt>
                <c:pt idx="7486">
                  <c:v>02.03.1995</c:v>
                </c:pt>
                <c:pt idx="7487">
                  <c:v>01.03.1995</c:v>
                </c:pt>
                <c:pt idx="7488">
                  <c:v>28.02.1995</c:v>
                </c:pt>
                <c:pt idx="7489">
                  <c:v>27.02.1995</c:v>
                </c:pt>
                <c:pt idx="7490">
                  <c:v>24.02.1995</c:v>
                </c:pt>
                <c:pt idx="7491">
                  <c:v>23.02.1995</c:v>
                </c:pt>
                <c:pt idx="7492">
                  <c:v>22.02.1995</c:v>
                </c:pt>
                <c:pt idx="7493">
                  <c:v>21.02.1995</c:v>
                </c:pt>
                <c:pt idx="7494">
                  <c:v>17.02.1995</c:v>
                </c:pt>
                <c:pt idx="7495">
                  <c:v>16.02.1995</c:v>
                </c:pt>
                <c:pt idx="7496">
                  <c:v>15.02.1995</c:v>
                </c:pt>
                <c:pt idx="7497">
                  <c:v>14.02.1995</c:v>
                </c:pt>
                <c:pt idx="7498">
                  <c:v>13.02.1995</c:v>
                </c:pt>
                <c:pt idx="7499">
                  <c:v>10.02.1995</c:v>
                </c:pt>
                <c:pt idx="7500">
                  <c:v>09.02.1995</c:v>
                </c:pt>
                <c:pt idx="7501">
                  <c:v>08.02.1995</c:v>
                </c:pt>
                <c:pt idx="7502">
                  <c:v>07.02.1995</c:v>
                </c:pt>
                <c:pt idx="7503">
                  <c:v>06.02.1995</c:v>
                </c:pt>
                <c:pt idx="7504">
                  <c:v>03.02.1995</c:v>
                </c:pt>
                <c:pt idx="7505">
                  <c:v>02.02.1995</c:v>
                </c:pt>
                <c:pt idx="7506">
                  <c:v>01.02.1995</c:v>
                </c:pt>
                <c:pt idx="7507">
                  <c:v>31.01.1995</c:v>
                </c:pt>
                <c:pt idx="7508">
                  <c:v>30.01.1995</c:v>
                </c:pt>
                <c:pt idx="7509">
                  <c:v>27.01.1995</c:v>
                </c:pt>
                <c:pt idx="7510">
                  <c:v>26.01.1995</c:v>
                </c:pt>
                <c:pt idx="7511">
                  <c:v>25.01.1995</c:v>
                </c:pt>
                <c:pt idx="7512">
                  <c:v>24.01.1995</c:v>
                </c:pt>
                <c:pt idx="7513">
                  <c:v>23.01.1995</c:v>
                </c:pt>
                <c:pt idx="7514">
                  <c:v>20.01.1995</c:v>
                </c:pt>
                <c:pt idx="7515">
                  <c:v>19.01.1995</c:v>
                </c:pt>
                <c:pt idx="7516">
                  <c:v>18.01.1995</c:v>
                </c:pt>
                <c:pt idx="7517">
                  <c:v>17.01.1995</c:v>
                </c:pt>
                <c:pt idx="7518">
                  <c:v>16.01.1995</c:v>
                </c:pt>
                <c:pt idx="7519">
                  <c:v>13.01.1995</c:v>
                </c:pt>
                <c:pt idx="7520">
                  <c:v>12.01.1995</c:v>
                </c:pt>
                <c:pt idx="7521">
                  <c:v>11.01.1995</c:v>
                </c:pt>
                <c:pt idx="7522">
                  <c:v>10.01.1995</c:v>
                </c:pt>
                <c:pt idx="7523">
                  <c:v>09.01.1995</c:v>
                </c:pt>
                <c:pt idx="7524">
                  <c:v>06.01.1995</c:v>
                </c:pt>
                <c:pt idx="7525">
                  <c:v>05.01.1995</c:v>
                </c:pt>
                <c:pt idx="7526">
                  <c:v>04.01.1995</c:v>
                </c:pt>
                <c:pt idx="7527">
                  <c:v>03.01.1995</c:v>
                </c:pt>
                <c:pt idx="7528">
                  <c:v>30.12.1994</c:v>
                </c:pt>
                <c:pt idx="7529">
                  <c:v>29.12.1994</c:v>
                </c:pt>
                <c:pt idx="7530">
                  <c:v>28.12.1994</c:v>
                </c:pt>
                <c:pt idx="7531">
                  <c:v>27.12.1994</c:v>
                </c:pt>
                <c:pt idx="7532">
                  <c:v>23.12.1994</c:v>
                </c:pt>
                <c:pt idx="7533">
                  <c:v>22.12.1994</c:v>
                </c:pt>
                <c:pt idx="7534">
                  <c:v>21.12.1994</c:v>
                </c:pt>
                <c:pt idx="7535">
                  <c:v>20.12.1994</c:v>
                </c:pt>
                <c:pt idx="7536">
                  <c:v>19.12.1994</c:v>
                </c:pt>
                <c:pt idx="7537">
                  <c:v>16.12.1994</c:v>
                </c:pt>
                <c:pt idx="7538">
                  <c:v>15.12.1994</c:v>
                </c:pt>
                <c:pt idx="7539">
                  <c:v>14.12.1994</c:v>
                </c:pt>
                <c:pt idx="7540">
                  <c:v>13.12.1994</c:v>
                </c:pt>
                <c:pt idx="7541">
                  <c:v>12.12.1994</c:v>
                </c:pt>
                <c:pt idx="7542">
                  <c:v>09.12.1994</c:v>
                </c:pt>
                <c:pt idx="7543">
                  <c:v>08.12.1994</c:v>
                </c:pt>
                <c:pt idx="7544">
                  <c:v>07.12.1994</c:v>
                </c:pt>
                <c:pt idx="7545">
                  <c:v>06.12.1994</c:v>
                </c:pt>
                <c:pt idx="7546">
                  <c:v>05.12.1994</c:v>
                </c:pt>
                <c:pt idx="7547">
                  <c:v>02.12.1994</c:v>
                </c:pt>
                <c:pt idx="7548">
                  <c:v>01.12.1994</c:v>
                </c:pt>
                <c:pt idx="7549">
                  <c:v>30.11.1994</c:v>
                </c:pt>
                <c:pt idx="7550">
                  <c:v>29.11.1994</c:v>
                </c:pt>
                <c:pt idx="7551">
                  <c:v>28.11.1994</c:v>
                </c:pt>
                <c:pt idx="7552">
                  <c:v>25.11.1994</c:v>
                </c:pt>
                <c:pt idx="7553">
                  <c:v>23.11.1994</c:v>
                </c:pt>
                <c:pt idx="7554">
                  <c:v>22.11.1994</c:v>
                </c:pt>
                <c:pt idx="7555">
                  <c:v>21.11.1994</c:v>
                </c:pt>
                <c:pt idx="7556">
                  <c:v>18.11.1994</c:v>
                </c:pt>
                <c:pt idx="7557">
                  <c:v>17.11.1994</c:v>
                </c:pt>
                <c:pt idx="7558">
                  <c:v>16.11.1994</c:v>
                </c:pt>
                <c:pt idx="7559">
                  <c:v>15.11.1994</c:v>
                </c:pt>
                <c:pt idx="7560">
                  <c:v>14.11.1994</c:v>
                </c:pt>
                <c:pt idx="7561">
                  <c:v>11.11.1994</c:v>
                </c:pt>
                <c:pt idx="7562">
                  <c:v>10.11.1994</c:v>
                </c:pt>
                <c:pt idx="7563">
                  <c:v>09.11.1994</c:v>
                </c:pt>
                <c:pt idx="7564">
                  <c:v>08.11.1994</c:v>
                </c:pt>
                <c:pt idx="7565">
                  <c:v>07.11.1994</c:v>
                </c:pt>
                <c:pt idx="7566">
                  <c:v>04.11.1994</c:v>
                </c:pt>
                <c:pt idx="7567">
                  <c:v>03.11.1994</c:v>
                </c:pt>
                <c:pt idx="7568">
                  <c:v>02.11.1994</c:v>
                </c:pt>
                <c:pt idx="7569">
                  <c:v>01.11.1994</c:v>
                </c:pt>
                <c:pt idx="7570">
                  <c:v>31.10.1994</c:v>
                </c:pt>
                <c:pt idx="7571">
                  <c:v>28.10.1994</c:v>
                </c:pt>
                <c:pt idx="7572">
                  <c:v>27.10.1994</c:v>
                </c:pt>
                <c:pt idx="7573">
                  <c:v>26.10.1994</c:v>
                </c:pt>
                <c:pt idx="7574">
                  <c:v>25.10.1994</c:v>
                </c:pt>
                <c:pt idx="7575">
                  <c:v>24.10.1994</c:v>
                </c:pt>
                <c:pt idx="7576">
                  <c:v>21.10.1994</c:v>
                </c:pt>
                <c:pt idx="7577">
                  <c:v>20.10.1994</c:v>
                </c:pt>
                <c:pt idx="7578">
                  <c:v>19.10.1994</c:v>
                </c:pt>
                <c:pt idx="7579">
                  <c:v>18.10.1994</c:v>
                </c:pt>
                <c:pt idx="7580">
                  <c:v>17.10.1994</c:v>
                </c:pt>
                <c:pt idx="7581">
                  <c:v>14.10.1994</c:v>
                </c:pt>
                <c:pt idx="7582">
                  <c:v>13.10.1994</c:v>
                </c:pt>
                <c:pt idx="7583">
                  <c:v>12.10.1994</c:v>
                </c:pt>
                <c:pt idx="7584">
                  <c:v>11.10.1994</c:v>
                </c:pt>
                <c:pt idx="7585">
                  <c:v>10.10.1994</c:v>
                </c:pt>
                <c:pt idx="7586">
                  <c:v>07.10.1994</c:v>
                </c:pt>
                <c:pt idx="7587">
                  <c:v>06.10.1994</c:v>
                </c:pt>
                <c:pt idx="7588">
                  <c:v>05.10.1994</c:v>
                </c:pt>
                <c:pt idx="7589">
                  <c:v>04.10.1994</c:v>
                </c:pt>
                <c:pt idx="7590">
                  <c:v>03.10.1994</c:v>
                </c:pt>
                <c:pt idx="7591">
                  <c:v>30.09.1994</c:v>
                </c:pt>
                <c:pt idx="7592">
                  <c:v>29.09.1994</c:v>
                </c:pt>
                <c:pt idx="7593">
                  <c:v>28.09.1994</c:v>
                </c:pt>
                <c:pt idx="7594">
                  <c:v>27.09.1994</c:v>
                </c:pt>
                <c:pt idx="7595">
                  <c:v>26.09.1994</c:v>
                </c:pt>
                <c:pt idx="7596">
                  <c:v>23.09.1994</c:v>
                </c:pt>
                <c:pt idx="7597">
                  <c:v>22.09.1994</c:v>
                </c:pt>
                <c:pt idx="7598">
                  <c:v>21.09.1994</c:v>
                </c:pt>
                <c:pt idx="7599">
                  <c:v>20.09.1994</c:v>
                </c:pt>
                <c:pt idx="7600">
                  <c:v>19.09.1994</c:v>
                </c:pt>
                <c:pt idx="7601">
                  <c:v>16.09.1994</c:v>
                </c:pt>
                <c:pt idx="7602">
                  <c:v>15.09.1994</c:v>
                </c:pt>
                <c:pt idx="7603">
                  <c:v>14.09.1994</c:v>
                </c:pt>
                <c:pt idx="7604">
                  <c:v>13.09.1994</c:v>
                </c:pt>
                <c:pt idx="7605">
                  <c:v>12.09.1994</c:v>
                </c:pt>
                <c:pt idx="7606">
                  <c:v>09.09.1994</c:v>
                </c:pt>
                <c:pt idx="7607">
                  <c:v>08.09.1994</c:v>
                </c:pt>
                <c:pt idx="7608">
                  <c:v>07.09.1994</c:v>
                </c:pt>
                <c:pt idx="7609">
                  <c:v>06.09.1994</c:v>
                </c:pt>
                <c:pt idx="7610">
                  <c:v>02.09.1994</c:v>
                </c:pt>
                <c:pt idx="7611">
                  <c:v>01.09.1994</c:v>
                </c:pt>
                <c:pt idx="7612">
                  <c:v>31.08.1994</c:v>
                </c:pt>
                <c:pt idx="7613">
                  <c:v>30.08.1994</c:v>
                </c:pt>
                <c:pt idx="7614">
                  <c:v>29.08.1994</c:v>
                </c:pt>
                <c:pt idx="7615">
                  <c:v>26.08.1994</c:v>
                </c:pt>
                <c:pt idx="7616">
                  <c:v>25.08.1994</c:v>
                </c:pt>
                <c:pt idx="7617">
                  <c:v>24.08.1994</c:v>
                </c:pt>
                <c:pt idx="7618">
                  <c:v>23.08.1994</c:v>
                </c:pt>
                <c:pt idx="7619">
                  <c:v>22.08.1994</c:v>
                </c:pt>
                <c:pt idx="7620">
                  <c:v>19.08.1994</c:v>
                </c:pt>
                <c:pt idx="7621">
                  <c:v>18.08.1994</c:v>
                </c:pt>
                <c:pt idx="7622">
                  <c:v>17.08.1994</c:v>
                </c:pt>
                <c:pt idx="7623">
                  <c:v>16.08.1994</c:v>
                </c:pt>
                <c:pt idx="7624">
                  <c:v>15.08.1994</c:v>
                </c:pt>
                <c:pt idx="7625">
                  <c:v>12.08.1994</c:v>
                </c:pt>
                <c:pt idx="7626">
                  <c:v>11.08.1994</c:v>
                </c:pt>
                <c:pt idx="7627">
                  <c:v>10.08.1994</c:v>
                </c:pt>
                <c:pt idx="7628">
                  <c:v>09.08.1994</c:v>
                </c:pt>
                <c:pt idx="7629">
                  <c:v>08.08.1994</c:v>
                </c:pt>
                <c:pt idx="7630">
                  <c:v>05.08.1994</c:v>
                </c:pt>
                <c:pt idx="7631">
                  <c:v>04.08.1994</c:v>
                </c:pt>
                <c:pt idx="7632">
                  <c:v>03.08.1994</c:v>
                </c:pt>
                <c:pt idx="7633">
                  <c:v>02.08.1994</c:v>
                </c:pt>
                <c:pt idx="7634">
                  <c:v>01.08.1994</c:v>
                </c:pt>
                <c:pt idx="7635">
                  <c:v>29.07.1994</c:v>
                </c:pt>
                <c:pt idx="7636">
                  <c:v>28.07.1994</c:v>
                </c:pt>
                <c:pt idx="7637">
                  <c:v>27.07.1994</c:v>
                </c:pt>
                <c:pt idx="7638">
                  <c:v>26.07.1994</c:v>
                </c:pt>
                <c:pt idx="7639">
                  <c:v>25.07.1994</c:v>
                </c:pt>
                <c:pt idx="7640">
                  <c:v>22.07.1994</c:v>
                </c:pt>
                <c:pt idx="7641">
                  <c:v>21.07.1994</c:v>
                </c:pt>
                <c:pt idx="7642">
                  <c:v>20.07.1994</c:v>
                </c:pt>
                <c:pt idx="7643">
                  <c:v>19.07.1994</c:v>
                </c:pt>
                <c:pt idx="7644">
                  <c:v>18.07.1994</c:v>
                </c:pt>
                <c:pt idx="7645">
                  <c:v>15.07.1994</c:v>
                </c:pt>
                <c:pt idx="7646">
                  <c:v>14.07.1994</c:v>
                </c:pt>
                <c:pt idx="7647">
                  <c:v>13.07.1994</c:v>
                </c:pt>
                <c:pt idx="7648">
                  <c:v>12.07.1994</c:v>
                </c:pt>
                <c:pt idx="7649">
                  <c:v>11.07.1994</c:v>
                </c:pt>
                <c:pt idx="7650">
                  <c:v>08.07.1994</c:v>
                </c:pt>
                <c:pt idx="7651">
                  <c:v>07.07.1994</c:v>
                </c:pt>
                <c:pt idx="7652">
                  <c:v>06.07.1994</c:v>
                </c:pt>
                <c:pt idx="7653">
                  <c:v>05.07.1994</c:v>
                </c:pt>
                <c:pt idx="7654">
                  <c:v>01.07.1994</c:v>
                </c:pt>
                <c:pt idx="7655">
                  <c:v>30.06.1994</c:v>
                </c:pt>
                <c:pt idx="7656">
                  <c:v>29.06.1994</c:v>
                </c:pt>
                <c:pt idx="7657">
                  <c:v>28.06.1994</c:v>
                </c:pt>
                <c:pt idx="7658">
                  <c:v>27.06.1994</c:v>
                </c:pt>
                <c:pt idx="7659">
                  <c:v>24.06.1994</c:v>
                </c:pt>
                <c:pt idx="7660">
                  <c:v>23.06.1994</c:v>
                </c:pt>
                <c:pt idx="7661">
                  <c:v>22.06.1994</c:v>
                </c:pt>
                <c:pt idx="7662">
                  <c:v>21.06.1994</c:v>
                </c:pt>
                <c:pt idx="7663">
                  <c:v>20.06.1994</c:v>
                </c:pt>
                <c:pt idx="7664">
                  <c:v>17.06.1994</c:v>
                </c:pt>
                <c:pt idx="7665">
                  <c:v>16.06.1994</c:v>
                </c:pt>
                <c:pt idx="7666">
                  <c:v>15.06.1994</c:v>
                </c:pt>
                <c:pt idx="7667">
                  <c:v>14.06.1994</c:v>
                </c:pt>
                <c:pt idx="7668">
                  <c:v>13.06.1994</c:v>
                </c:pt>
                <c:pt idx="7669">
                  <c:v>10.06.1994</c:v>
                </c:pt>
                <c:pt idx="7670">
                  <c:v>09.06.1994</c:v>
                </c:pt>
                <c:pt idx="7671">
                  <c:v>08.06.1994</c:v>
                </c:pt>
                <c:pt idx="7672">
                  <c:v>07.06.1994</c:v>
                </c:pt>
                <c:pt idx="7673">
                  <c:v>06.06.1994</c:v>
                </c:pt>
                <c:pt idx="7674">
                  <c:v>03.06.1994</c:v>
                </c:pt>
                <c:pt idx="7675">
                  <c:v>02.06.1994</c:v>
                </c:pt>
                <c:pt idx="7676">
                  <c:v>01.06.1994</c:v>
                </c:pt>
                <c:pt idx="7677">
                  <c:v>31.05.1994</c:v>
                </c:pt>
                <c:pt idx="7678">
                  <c:v>27.05.1994</c:v>
                </c:pt>
                <c:pt idx="7679">
                  <c:v>26.05.1994</c:v>
                </c:pt>
                <c:pt idx="7680">
                  <c:v>25.05.1994</c:v>
                </c:pt>
                <c:pt idx="7681">
                  <c:v>24.05.1994</c:v>
                </c:pt>
                <c:pt idx="7682">
                  <c:v>23.05.1994</c:v>
                </c:pt>
                <c:pt idx="7683">
                  <c:v>20.05.1994</c:v>
                </c:pt>
                <c:pt idx="7684">
                  <c:v>19.05.1994</c:v>
                </c:pt>
                <c:pt idx="7685">
                  <c:v>18.05.1994</c:v>
                </c:pt>
                <c:pt idx="7686">
                  <c:v>17.05.1994</c:v>
                </c:pt>
                <c:pt idx="7687">
                  <c:v>16.05.1994</c:v>
                </c:pt>
                <c:pt idx="7688">
                  <c:v>13.05.1994</c:v>
                </c:pt>
                <c:pt idx="7689">
                  <c:v>12.05.1994</c:v>
                </c:pt>
                <c:pt idx="7690">
                  <c:v>11.05.1994</c:v>
                </c:pt>
                <c:pt idx="7691">
                  <c:v>10.05.1994</c:v>
                </c:pt>
                <c:pt idx="7692">
                  <c:v>09.05.1994</c:v>
                </c:pt>
                <c:pt idx="7693">
                  <c:v>06.05.1994</c:v>
                </c:pt>
                <c:pt idx="7694">
                  <c:v>05.05.1994</c:v>
                </c:pt>
                <c:pt idx="7695">
                  <c:v>04.05.1994</c:v>
                </c:pt>
                <c:pt idx="7696">
                  <c:v>03.05.1994</c:v>
                </c:pt>
                <c:pt idx="7697">
                  <c:v>02.05.1994</c:v>
                </c:pt>
                <c:pt idx="7698">
                  <c:v>29.04.1994</c:v>
                </c:pt>
                <c:pt idx="7699">
                  <c:v>28.04.1994</c:v>
                </c:pt>
                <c:pt idx="7700">
                  <c:v>26.04.1994</c:v>
                </c:pt>
                <c:pt idx="7701">
                  <c:v>25.04.1994</c:v>
                </c:pt>
                <c:pt idx="7702">
                  <c:v>22.04.1994</c:v>
                </c:pt>
                <c:pt idx="7703">
                  <c:v>21.04.1994</c:v>
                </c:pt>
                <c:pt idx="7704">
                  <c:v>20.04.1994</c:v>
                </c:pt>
                <c:pt idx="7705">
                  <c:v>19.04.1994</c:v>
                </c:pt>
                <c:pt idx="7706">
                  <c:v>18.04.1994</c:v>
                </c:pt>
                <c:pt idx="7707">
                  <c:v>15.04.1994</c:v>
                </c:pt>
                <c:pt idx="7708">
                  <c:v>14.04.1994</c:v>
                </c:pt>
                <c:pt idx="7709">
                  <c:v>13.04.1994</c:v>
                </c:pt>
                <c:pt idx="7710">
                  <c:v>12.04.1994</c:v>
                </c:pt>
                <c:pt idx="7711">
                  <c:v>11.04.1994</c:v>
                </c:pt>
                <c:pt idx="7712">
                  <c:v>08.04.1994</c:v>
                </c:pt>
                <c:pt idx="7713">
                  <c:v>07.04.1994</c:v>
                </c:pt>
                <c:pt idx="7714">
                  <c:v>06.04.1994</c:v>
                </c:pt>
                <c:pt idx="7715">
                  <c:v>05.04.1994</c:v>
                </c:pt>
                <c:pt idx="7716">
                  <c:v>04.04.1994</c:v>
                </c:pt>
                <c:pt idx="7717">
                  <c:v>31.03.1994</c:v>
                </c:pt>
                <c:pt idx="7718">
                  <c:v>30.03.1994</c:v>
                </c:pt>
                <c:pt idx="7719">
                  <c:v>29.03.1994</c:v>
                </c:pt>
                <c:pt idx="7720">
                  <c:v>28.03.1994</c:v>
                </c:pt>
                <c:pt idx="7721">
                  <c:v>25.03.1994</c:v>
                </c:pt>
                <c:pt idx="7722">
                  <c:v>24.03.1994</c:v>
                </c:pt>
                <c:pt idx="7723">
                  <c:v>23.03.1994</c:v>
                </c:pt>
                <c:pt idx="7724">
                  <c:v>22.03.1994</c:v>
                </c:pt>
                <c:pt idx="7725">
                  <c:v>21.03.1994</c:v>
                </c:pt>
                <c:pt idx="7726">
                  <c:v>18.03.1994</c:v>
                </c:pt>
                <c:pt idx="7727">
                  <c:v>17.03.1994</c:v>
                </c:pt>
                <c:pt idx="7728">
                  <c:v>16.03.1994</c:v>
                </c:pt>
                <c:pt idx="7729">
                  <c:v>15.03.1994</c:v>
                </c:pt>
                <c:pt idx="7730">
                  <c:v>14.03.1994</c:v>
                </c:pt>
                <c:pt idx="7731">
                  <c:v>11.03.1994</c:v>
                </c:pt>
                <c:pt idx="7732">
                  <c:v>10.03.1994</c:v>
                </c:pt>
                <c:pt idx="7733">
                  <c:v>09.03.1994</c:v>
                </c:pt>
                <c:pt idx="7734">
                  <c:v>08.03.1994</c:v>
                </c:pt>
                <c:pt idx="7735">
                  <c:v>07.03.1994</c:v>
                </c:pt>
                <c:pt idx="7736">
                  <c:v>04.03.1994</c:v>
                </c:pt>
                <c:pt idx="7737">
                  <c:v>03.03.1994</c:v>
                </c:pt>
                <c:pt idx="7738">
                  <c:v>02.03.1994</c:v>
                </c:pt>
                <c:pt idx="7739">
                  <c:v>01.03.1994</c:v>
                </c:pt>
                <c:pt idx="7740">
                  <c:v>28.02.1994</c:v>
                </c:pt>
                <c:pt idx="7741">
                  <c:v>25.02.1994</c:v>
                </c:pt>
                <c:pt idx="7742">
                  <c:v>24.02.1994</c:v>
                </c:pt>
                <c:pt idx="7743">
                  <c:v>23.02.1994</c:v>
                </c:pt>
                <c:pt idx="7744">
                  <c:v>22.02.1994</c:v>
                </c:pt>
                <c:pt idx="7745">
                  <c:v>18.02.1994</c:v>
                </c:pt>
                <c:pt idx="7746">
                  <c:v>17.02.1994</c:v>
                </c:pt>
                <c:pt idx="7747">
                  <c:v>16.02.1994</c:v>
                </c:pt>
                <c:pt idx="7748">
                  <c:v>15.02.1994</c:v>
                </c:pt>
                <c:pt idx="7749">
                  <c:v>14.02.1994</c:v>
                </c:pt>
                <c:pt idx="7750">
                  <c:v>11.02.1994</c:v>
                </c:pt>
                <c:pt idx="7751">
                  <c:v>10.02.1994</c:v>
                </c:pt>
                <c:pt idx="7752">
                  <c:v>09.02.1994</c:v>
                </c:pt>
                <c:pt idx="7753">
                  <c:v>08.02.1994</c:v>
                </c:pt>
                <c:pt idx="7754">
                  <c:v>07.02.1994</c:v>
                </c:pt>
                <c:pt idx="7755">
                  <c:v>04.02.1994</c:v>
                </c:pt>
                <c:pt idx="7756">
                  <c:v>03.02.1994</c:v>
                </c:pt>
                <c:pt idx="7757">
                  <c:v>02.02.1994</c:v>
                </c:pt>
                <c:pt idx="7758">
                  <c:v>01.02.1994</c:v>
                </c:pt>
                <c:pt idx="7759">
                  <c:v>31.01.1994</c:v>
                </c:pt>
                <c:pt idx="7760">
                  <c:v>28.01.1994</c:v>
                </c:pt>
                <c:pt idx="7761">
                  <c:v>27.01.1994</c:v>
                </c:pt>
                <c:pt idx="7762">
                  <c:v>26.01.1994</c:v>
                </c:pt>
                <c:pt idx="7763">
                  <c:v>25.01.1994</c:v>
                </c:pt>
                <c:pt idx="7764">
                  <c:v>24.01.1994</c:v>
                </c:pt>
                <c:pt idx="7765">
                  <c:v>21.01.1994</c:v>
                </c:pt>
                <c:pt idx="7766">
                  <c:v>20.01.1994</c:v>
                </c:pt>
                <c:pt idx="7767">
                  <c:v>19.01.1994</c:v>
                </c:pt>
                <c:pt idx="7768">
                  <c:v>18.01.1994</c:v>
                </c:pt>
                <c:pt idx="7769">
                  <c:v>17.01.1994</c:v>
                </c:pt>
                <c:pt idx="7770">
                  <c:v>14.01.1994</c:v>
                </c:pt>
                <c:pt idx="7771">
                  <c:v>13.01.1994</c:v>
                </c:pt>
                <c:pt idx="7772">
                  <c:v>12.01.1994</c:v>
                </c:pt>
                <c:pt idx="7773">
                  <c:v>11.01.1994</c:v>
                </c:pt>
                <c:pt idx="7774">
                  <c:v>10.01.1994</c:v>
                </c:pt>
                <c:pt idx="7775">
                  <c:v>07.01.1994</c:v>
                </c:pt>
                <c:pt idx="7776">
                  <c:v>06.01.1994</c:v>
                </c:pt>
                <c:pt idx="7777">
                  <c:v>05.01.1994</c:v>
                </c:pt>
                <c:pt idx="7778">
                  <c:v>04.01.1994</c:v>
                </c:pt>
                <c:pt idx="7779">
                  <c:v>03.01.1994</c:v>
                </c:pt>
                <c:pt idx="7780">
                  <c:v>31.12.1993</c:v>
                </c:pt>
                <c:pt idx="7781">
                  <c:v>30.12.1993</c:v>
                </c:pt>
                <c:pt idx="7782">
                  <c:v>29.12.1993</c:v>
                </c:pt>
                <c:pt idx="7783">
                  <c:v>28.12.1993</c:v>
                </c:pt>
                <c:pt idx="7784">
                  <c:v>27.12.1993</c:v>
                </c:pt>
                <c:pt idx="7785">
                  <c:v>23.12.1993</c:v>
                </c:pt>
                <c:pt idx="7786">
                  <c:v>22.12.1993</c:v>
                </c:pt>
                <c:pt idx="7787">
                  <c:v>21.12.1993</c:v>
                </c:pt>
                <c:pt idx="7788">
                  <c:v>20.12.1993</c:v>
                </c:pt>
                <c:pt idx="7789">
                  <c:v>17.12.1993</c:v>
                </c:pt>
                <c:pt idx="7790">
                  <c:v>16.12.1993</c:v>
                </c:pt>
                <c:pt idx="7791">
                  <c:v>15.12.1993</c:v>
                </c:pt>
                <c:pt idx="7792">
                  <c:v>14.12.1993</c:v>
                </c:pt>
                <c:pt idx="7793">
                  <c:v>13.12.1993</c:v>
                </c:pt>
                <c:pt idx="7794">
                  <c:v>10.12.1993</c:v>
                </c:pt>
                <c:pt idx="7795">
                  <c:v>09.12.1993</c:v>
                </c:pt>
                <c:pt idx="7796">
                  <c:v>08.12.1993</c:v>
                </c:pt>
                <c:pt idx="7797">
                  <c:v>07.12.1993</c:v>
                </c:pt>
                <c:pt idx="7798">
                  <c:v>06.12.1993</c:v>
                </c:pt>
                <c:pt idx="7799">
                  <c:v>03.12.1993</c:v>
                </c:pt>
                <c:pt idx="7800">
                  <c:v>02.12.1993</c:v>
                </c:pt>
                <c:pt idx="7801">
                  <c:v>01.12.1993</c:v>
                </c:pt>
                <c:pt idx="7802">
                  <c:v>30.11.1993</c:v>
                </c:pt>
                <c:pt idx="7803">
                  <c:v>29.11.1993</c:v>
                </c:pt>
                <c:pt idx="7804">
                  <c:v>26.11.1993</c:v>
                </c:pt>
                <c:pt idx="7805">
                  <c:v>24.11.1993</c:v>
                </c:pt>
                <c:pt idx="7806">
                  <c:v>23.11.1993</c:v>
                </c:pt>
                <c:pt idx="7807">
                  <c:v>22.11.1993</c:v>
                </c:pt>
                <c:pt idx="7808">
                  <c:v>19.11.1993</c:v>
                </c:pt>
                <c:pt idx="7809">
                  <c:v>18.11.1993</c:v>
                </c:pt>
                <c:pt idx="7810">
                  <c:v>17.11.1993</c:v>
                </c:pt>
                <c:pt idx="7811">
                  <c:v>16.11.1993</c:v>
                </c:pt>
                <c:pt idx="7812">
                  <c:v>15.11.1993</c:v>
                </c:pt>
                <c:pt idx="7813">
                  <c:v>12.11.1993</c:v>
                </c:pt>
                <c:pt idx="7814">
                  <c:v>11.11.1993</c:v>
                </c:pt>
                <c:pt idx="7815">
                  <c:v>10.11.1993</c:v>
                </c:pt>
                <c:pt idx="7816">
                  <c:v>09.11.1993</c:v>
                </c:pt>
                <c:pt idx="7817">
                  <c:v>08.11.1993</c:v>
                </c:pt>
                <c:pt idx="7818">
                  <c:v>05.11.1993</c:v>
                </c:pt>
                <c:pt idx="7819">
                  <c:v>04.11.1993</c:v>
                </c:pt>
                <c:pt idx="7820">
                  <c:v>03.11.1993</c:v>
                </c:pt>
                <c:pt idx="7821">
                  <c:v>02.11.1993</c:v>
                </c:pt>
                <c:pt idx="7822">
                  <c:v>01.11.1993</c:v>
                </c:pt>
                <c:pt idx="7823">
                  <c:v>29.10.1993</c:v>
                </c:pt>
                <c:pt idx="7824">
                  <c:v>28.10.1993</c:v>
                </c:pt>
                <c:pt idx="7825">
                  <c:v>27.10.1993</c:v>
                </c:pt>
                <c:pt idx="7826">
                  <c:v>26.10.1993</c:v>
                </c:pt>
                <c:pt idx="7827">
                  <c:v>25.10.1993</c:v>
                </c:pt>
                <c:pt idx="7828">
                  <c:v>22.10.1993</c:v>
                </c:pt>
                <c:pt idx="7829">
                  <c:v>21.10.1993</c:v>
                </c:pt>
                <c:pt idx="7830">
                  <c:v>20.10.1993</c:v>
                </c:pt>
                <c:pt idx="7831">
                  <c:v>19.10.1993</c:v>
                </c:pt>
                <c:pt idx="7832">
                  <c:v>18.10.1993</c:v>
                </c:pt>
                <c:pt idx="7833">
                  <c:v>15.10.1993</c:v>
                </c:pt>
                <c:pt idx="7834">
                  <c:v>14.10.1993</c:v>
                </c:pt>
                <c:pt idx="7835">
                  <c:v>13.10.1993</c:v>
                </c:pt>
                <c:pt idx="7836">
                  <c:v>12.10.1993</c:v>
                </c:pt>
                <c:pt idx="7837">
                  <c:v>11.10.1993</c:v>
                </c:pt>
                <c:pt idx="7838">
                  <c:v>08.10.1993</c:v>
                </c:pt>
                <c:pt idx="7839">
                  <c:v>07.10.1993</c:v>
                </c:pt>
                <c:pt idx="7840">
                  <c:v>06.10.1993</c:v>
                </c:pt>
                <c:pt idx="7841">
                  <c:v>05.10.1993</c:v>
                </c:pt>
                <c:pt idx="7842">
                  <c:v>04.10.1993</c:v>
                </c:pt>
                <c:pt idx="7843">
                  <c:v>01.10.1993</c:v>
                </c:pt>
                <c:pt idx="7844">
                  <c:v>30.09.1993</c:v>
                </c:pt>
                <c:pt idx="7845">
                  <c:v>29.09.1993</c:v>
                </c:pt>
                <c:pt idx="7846">
                  <c:v>28.09.1993</c:v>
                </c:pt>
                <c:pt idx="7847">
                  <c:v>27.09.1993</c:v>
                </c:pt>
                <c:pt idx="7848">
                  <c:v>24.09.1993</c:v>
                </c:pt>
                <c:pt idx="7849">
                  <c:v>23.09.1993</c:v>
                </c:pt>
                <c:pt idx="7850">
                  <c:v>22.09.1993</c:v>
                </c:pt>
                <c:pt idx="7851">
                  <c:v>21.09.1993</c:v>
                </c:pt>
                <c:pt idx="7852">
                  <c:v>20.09.1993</c:v>
                </c:pt>
                <c:pt idx="7853">
                  <c:v>17.09.1993</c:v>
                </c:pt>
                <c:pt idx="7854">
                  <c:v>16.09.1993</c:v>
                </c:pt>
                <c:pt idx="7855">
                  <c:v>15.09.1993</c:v>
                </c:pt>
                <c:pt idx="7856">
                  <c:v>14.09.1993</c:v>
                </c:pt>
                <c:pt idx="7857">
                  <c:v>13.09.1993</c:v>
                </c:pt>
                <c:pt idx="7858">
                  <c:v>10.09.1993</c:v>
                </c:pt>
                <c:pt idx="7859">
                  <c:v>09.09.1993</c:v>
                </c:pt>
                <c:pt idx="7860">
                  <c:v>08.09.1993</c:v>
                </c:pt>
                <c:pt idx="7861">
                  <c:v>07.09.1993</c:v>
                </c:pt>
                <c:pt idx="7862">
                  <c:v>03.09.1993</c:v>
                </c:pt>
                <c:pt idx="7863">
                  <c:v>02.09.1993</c:v>
                </c:pt>
                <c:pt idx="7864">
                  <c:v>01.09.1993</c:v>
                </c:pt>
                <c:pt idx="7865">
                  <c:v>31.08.1993</c:v>
                </c:pt>
                <c:pt idx="7866">
                  <c:v>30.08.1993</c:v>
                </c:pt>
                <c:pt idx="7867">
                  <c:v>27.08.1993</c:v>
                </c:pt>
                <c:pt idx="7868">
                  <c:v>26.08.1993</c:v>
                </c:pt>
                <c:pt idx="7869">
                  <c:v>25.08.1993</c:v>
                </c:pt>
                <c:pt idx="7870">
                  <c:v>24.08.1993</c:v>
                </c:pt>
                <c:pt idx="7871">
                  <c:v>23.08.1993</c:v>
                </c:pt>
                <c:pt idx="7872">
                  <c:v>20.08.1993</c:v>
                </c:pt>
                <c:pt idx="7873">
                  <c:v>19.08.1993</c:v>
                </c:pt>
                <c:pt idx="7874">
                  <c:v>18.08.1993</c:v>
                </c:pt>
                <c:pt idx="7875">
                  <c:v>17.08.1993</c:v>
                </c:pt>
                <c:pt idx="7876">
                  <c:v>16.08.1993</c:v>
                </c:pt>
                <c:pt idx="7877">
                  <c:v>13.08.1993</c:v>
                </c:pt>
                <c:pt idx="7878">
                  <c:v>12.08.1993</c:v>
                </c:pt>
                <c:pt idx="7879">
                  <c:v>11.08.1993</c:v>
                </c:pt>
                <c:pt idx="7880">
                  <c:v>10.08.1993</c:v>
                </c:pt>
                <c:pt idx="7881">
                  <c:v>09.08.1993</c:v>
                </c:pt>
                <c:pt idx="7882">
                  <c:v>06.08.1993</c:v>
                </c:pt>
                <c:pt idx="7883">
                  <c:v>05.08.1993</c:v>
                </c:pt>
                <c:pt idx="7884">
                  <c:v>04.08.1993</c:v>
                </c:pt>
                <c:pt idx="7885">
                  <c:v>03.08.1993</c:v>
                </c:pt>
                <c:pt idx="7886">
                  <c:v>02.08.1993</c:v>
                </c:pt>
                <c:pt idx="7887">
                  <c:v>30.07.1993</c:v>
                </c:pt>
                <c:pt idx="7888">
                  <c:v>29.07.1993</c:v>
                </c:pt>
                <c:pt idx="7889">
                  <c:v>28.07.1993</c:v>
                </c:pt>
                <c:pt idx="7890">
                  <c:v>27.07.1993</c:v>
                </c:pt>
                <c:pt idx="7891">
                  <c:v>26.07.1993</c:v>
                </c:pt>
                <c:pt idx="7892">
                  <c:v>23.07.1993</c:v>
                </c:pt>
                <c:pt idx="7893">
                  <c:v>22.07.1993</c:v>
                </c:pt>
                <c:pt idx="7894">
                  <c:v>21.07.1993</c:v>
                </c:pt>
                <c:pt idx="7895">
                  <c:v>20.07.1993</c:v>
                </c:pt>
                <c:pt idx="7896">
                  <c:v>19.07.1993</c:v>
                </c:pt>
                <c:pt idx="7897">
                  <c:v>16.07.1993</c:v>
                </c:pt>
                <c:pt idx="7898">
                  <c:v>15.07.1993</c:v>
                </c:pt>
                <c:pt idx="7899">
                  <c:v>14.07.1993</c:v>
                </c:pt>
                <c:pt idx="7900">
                  <c:v>13.07.1993</c:v>
                </c:pt>
                <c:pt idx="7901">
                  <c:v>12.07.1993</c:v>
                </c:pt>
                <c:pt idx="7902">
                  <c:v>09.07.1993</c:v>
                </c:pt>
                <c:pt idx="7903">
                  <c:v>08.07.1993</c:v>
                </c:pt>
                <c:pt idx="7904">
                  <c:v>07.07.1993</c:v>
                </c:pt>
                <c:pt idx="7905">
                  <c:v>06.07.1993</c:v>
                </c:pt>
                <c:pt idx="7906">
                  <c:v>02.07.1993</c:v>
                </c:pt>
                <c:pt idx="7907">
                  <c:v>01.07.1993</c:v>
                </c:pt>
                <c:pt idx="7908">
                  <c:v>30.06.1993</c:v>
                </c:pt>
                <c:pt idx="7909">
                  <c:v>29.06.1993</c:v>
                </c:pt>
                <c:pt idx="7910">
                  <c:v>28.06.1993</c:v>
                </c:pt>
                <c:pt idx="7911">
                  <c:v>25.06.1993</c:v>
                </c:pt>
                <c:pt idx="7912">
                  <c:v>24.06.1993</c:v>
                </c:pt>
                <c:pt idx="7913">
                  <c:v>23.06.1993</c:v>
                </c:pt>
                <c:pt idx="7914">
                  <c:v>22.06.1993</c:v>
                </c:pt>
                <c:pt idx="7915">
                  <c:v>21.06.1993</c:v>
                </c:pt>
                <c:pt idx="7916">
                  <c:v>18.06.1993</c:v>
                </c:pt>
                <c:pt idx="7917">
                  <c:v>17.06.1993</c:v>
                </c:pt>
                <c:pt idx="7918">
                  <c:v>16.06.1993</c:v>
                </c:pt>
                <c:pt idx="7919">
                  <c:v>15.06.1993</c:v>
                </c:pt>
                <c:pt idx="7920">
                  <c:v>14.06.1993</c:v>
                </c:pt>
                <c:pt idx="7921">
                  <c:v>11.06.1993</c:v>
                </c:pt>
                <c:pt idx="7922">
                  <c:v>10.06.1993</c:v>
                </c:pt>
                <c:pt idx="7923">
                  <c:v>09.06.1993</c:v>
                </c:pt>
                <c:pt idx="7924">
                  <c:v>08.06.1993</c:v>
                </c:pt>
                <c:pt idx="7925">
                  <c:v>07.06.1993</c:v>
                </c:pt>
                <c:pt idx="7926">
                  <c:v>04.06.1993</c:v>
                </c:pt>
                <c:pt idx="7927">
                  <c:v>03.06.1993</c:v>
                </c:pt>
                <c:pt idx="7928">
                  <c:v>02.06.1993</c:v>
                </c:pt>
                <c:pt idx="7929">
                  <c:v>01.06.1993</c:v>
                </c:pt>
                <c:pt idx="7930">
                  <c:v>28.05.1993</c:v>
                </c:pt>
                <c:pt idx="7931">
                  <c:v>27.05.1993</c:v>
                </c:pt>
                <c:pt idx="7932">
                  <c:v>26.05.1993</c:v>
                </c:pt>
                <c:pt idx="7933">
                  <c:v>25.05.1993</c:v>
                </c:pt>
                <c:pt idx="7934">
                  <c:v>24.05.1993</c:v>
                </c:pt>
                <c:pt idx="7935">
                  <c:v>21.05.1993</c:v>
                </c:pt>
                <c:pt idx="7936">
                  <c:v>20.05.1993</c:v>
                </c:pt>
                <c:pt idx="7937">
                  <c:v>19.05.1993</c:v>
                </c:pt>
                <c:pt idx="7938">
                  <c:v>18.05.1993</c:v>
                </c:pt>
                <c:pt idx="7939">
                  <c:v>17.05.1993</c:v>
                </c:pt>
                <c:pt idx="7940">
                  <c:v>14.05.1993</c:v>
                </c:pt>
                <c:pt idx="7941">
                  <c:v>13.05.1993</c:v>
                </c:pt>
                <c:pt idx="7942">
                  <c:v>12.05.1993</c:v>
                </c:pt>
                <c:pt idx="7943">
                  <c:v>11.05.1993</c:v>
                </c:pt>
                <c:pt idx="7944">
                  <c:v>10.05.1993</c:v>
                </c:pt>
                <c:pt idx="7945">
                  <c:v>07.05.1993</c:v>
                </c:pt>
                <c:pt idx="7946">
                  <c:v>06.05.1993</c:v>
                </c:pt>
                <c:pt idx="7947">
                  <c:v>05.05.1993</c:v>
                </c:pt>
                <c:pt idx="7948">
                  <c:v>04.05.1993</c:v>
                </c:pt>
                <c:pt idx="7949">
                  <c:v>03.05.1993</c:v>
                </c:pt>
                <c:pt idx="7950">
                  <c:v>30.04.1993</c:v>
                </c:pt>
                <c:pt idx="7951">
                  <c:v>29.04.1993</c:v>
                </c:pt>
                <c:pt idx="7952">
                  <c:v>28.04.1993</c:v>
                </c:pt>
                <c:pt idx="7953">
                  <c:v>27.04.1993</c:v>
                </c:pt>
                <c:pt idx="7954">
                  <c:v>26.04.1993</c:v>
                </c:pt>
                <c:pt idx="7955">
                  <c:v>23.04.1993</c:v>
                </c:pt>
                <c:pt idx="7956">
                  <c:v>22.04.1993</c:v>
                </c:pt>
                <c:pt idx="7957">
                  <c:v>21.04.1993</c:v>
                </c:pt>
                <c:pt idx="7958">
                  <c:v>20.04.1993</c:v>
                </c:pt>
                <c:pt idx="7959">
                  <c:v>19.04.1993</c:v>
                </c:pt>
                <c:pt idx="7960">
                  <c:v>16.04.1993</c:v>
                </c:pt>
                <c:pt idx="7961">
                  <c:v>15.04.1993</c:v>
                </c:pt>
                <c:pt idx="7962">
                  <c:v>14.04.1993</c:v>
                </c:pt>
                <c:pt idx="7963">
                  <c:v>13.04.1993</c:v>
                </c:pt>
                <c:pt idx="7964">
                  <c:v>12.04.1993</c:v>
                </c:pt>
                <c:pt idx="7965">
                  <c:v>08.04.1993</c:v>
                </c:pt>
                <c:pt idx="7966">
                  <c:v>07.04.1993</c:v>
                </c:pt>
                <c:pt idx="7967">
                  <c:v>06.04.1993</c:v>
                </c:pt>
                <c:pt idx="7968">
                  <c:v>05.04.1993</c:v>
                </c:pt>
                <c:pt idx="7969">
                  <c:v>02.04.1993</c:v>
                </c:pt>
                <c:pt idx="7970">
                  <c:v>01.04.1993</c:v>
                </c:pt>
                <c:pt idx="7971">
                  <c:v>31.03.1993</c:v>
                </c:pt>
                <c:pt idx="7972">
                  <c:v>30.03.1993</c:v>
                </c:pt>
                <c:pt idx="7973">
                  <c:v>29.03.1993</c:v>
                </c:pt>
                <c:pt idx="7974">
                  <c:v>26.03.1993</c:v>
                </c:pt>
                <c:pt idx="7975">
                  <c:v>25.03.1993</c:v>
                </c:pt>
                <c:pt idx="7976">
                  <c:v>24.03.1993</c:v>
                </c:pt>
                <c:pt idx="7977">
                  <c:v>23.03.1993</c:v>
                </c:pt>
                <c:pt idx="7978">
                  <c:v>22.03.1993</c:v>
                </c:pt>
                <c:pt idx="7979">
                  <c:v>19.03.1993</c:v>
                </c:pt>
                <c:pt idx="7980">
                  <c:v>18.03.1993</c:v>
                </c:pt>
                <c:pt idx="7981">
                  <c:v>17.03.1993</c:v>
                </c:pt>
                <c:pt idx="7982">
                  <c:v>16.03.1993</c:v>
                </c:pt>
                <c:pt idx="7983">
                  <c:v>15.03.1993</c:v>
                </c:pt>
                <c:pt idx="7984">
                  <c:v>12.03.1993</c:v>
                </c:pt>
                <c:pt idx="7985">
                  <c:v>11.03.1993</c:v>
                </c:pt>
                <c:pt idx="7986">
                  <c:v>10.03.1993</c:v>
                </c:pt>
                <c:pt idx="7987">
                  <c:v>09.03.1993</c:v>
                </c:pt>
                <c:pt idx="7988">
                  <c:v>08.03.1993</c:v>
                </c:pt>
                <c:pt idx="7989">
                  <c:v>05.03.1993</c:v>
                </c:pt>
                <c:pt idx="7990">
                  <c:v>04.03.1993</c:v>
                </c:pt>
                <c:pt idx="7991">
                  <c:v>03.03.1993</c:v>
                </c:pt>
                <c:pt idx="7992">
                  <c:v>02.03.1993</c:v>
                </c:pt>
                <c:pt idx="7993">
                  <c:v>01.03.1993</c:v>
                </c:pt>
                <c:pt idx="7994">
                  <c:v>26.02.1993</c:v>
                </c:pt>
                <c:pt idx="7995">
                  <c:v>25.02.1993</c:v>
                </c:pt>
                <c:pt idx="7996">
                  <c:v>24.02.1993</c:v>
                </c:pt>
                <c:pt idx="7997">
                  <c:v>23.02.1993</c:v>
                </c:pt>
                <c:pt idx="7998">
                  <c:v>22.02.1993</c:v>
                </c:pt>
                <c:pt idx="7999">
                  <c:v>19.02.1993</c:v>
                </c:pt>
                <c:pt idx="8000">
                  <c:v>18.02.1993</c:v>
                </c:pt>
                <c:pt idx="8001">
                  <c:v>17.02.1993</c:v>
                </c:pt>
                <c:pt idx="8002">
                  <c:v>16.02.1993</c:v>
                </c:pt>
                <c:pt idx="8003">
                  <c:v>12.02.1993</c:v>
                </c:pt>
                <c:pt idx="8004">
                  <c:v>11.02.1993</c:v>
                </c:pt>
                <c:pt idx="8005">
                  <c:v>10.02.1993</c:v>
                </c:pt>
                <c:pt idx="8006">
                  <c:v>09.02.1993</c:v>
                </c:pt>
                <c:pt idx="8007">
                  <c:v>08.02.1993</c:v>
                </c:pt>
                <c:pt idx="8008">
                  <c:v>05.02.1993</c:v>
                </c:pt>
                <c:pt idx="8009">
                  <c:v>04.02.1993</c:v>
                </c:pt>
                <c:pt idx="8010">
                  <c:v>03.02.1993</c:v>
                </c:pt>
                <c:pt idx="8011">
                  <c:v>02.02.1993</c:v>
                </c:pt>
                <c:pt idx="8012">
                  <c:v>01.02.1993</c:v>
                </c:pt>
                <c:pt idx="8013">
                  <c:v>29.01.1993</c:v>
                </c:pt>
                <c:pt idx="8014">
                  <c:v>28.01.1993</c:v>
                </c:pt>
                <c:pt idx="8015">
                  <c:v>27.01.1993</c:v>
                </c:pt>
                <c:pt idx="8016">
                  <c:v>26.01.1993</c:v>
                </c:pt>
                <c:pt idx="8017">
                  <c:v>25.01.1993</c:v>
                </c:pt>
                <c:pt idx="8018">
                  <c:v>22.01.1993</c:v>
                </c:pt>
                <c:pt idx="8019">
                  <c:v>21.01.1993</c:v>
                </c:pt>
                <c:pt idx="8020">
                  <c:v>20.01.1993</c:v>
                </c:pt>
                <c:pt idx="8021">
                  <c:v>19.01.1993</c:v>
                </c:pt>
                <c:pt idx="8022">
                  <c:v>18.01.1993</c:v>
                </c:pt>
                <c:pt idx="8023">
                  <c:v>15.01.1993</c:v>
                </c:pt>
                <c:pt idx="8024">
                  <c:v>14.01.1993</c:v>
                </c:pt>
                <c:pt idx="8025">
                  <c:v>13.01.1993</c:v>
                </c:pt>
                <c:pt idx="8026">
                  <c:v>12.01.1993</c:v>
                </c:pt>
                <c:pt idx="8027">
                  <c:v>11.01.1993</c:v>
                </c:pt>
                <c:pt idx="8028">
                  <c:v>08.01.1993</c:v>
                </c:pt>
                <c:pt idx="8029">
                  <c:v>07.01.1993</c:v>
                </c:pt>
                <c:pt idx="8030">
                  <c:v>06.01.1993</c:v>
                </c:pt>
                <c:pt idx="8031">
                  <c:v>05.01.1993</c:v>
                </c:pt>
                <c:pt idx="8032">
                  <c:v>04.01.1993</c:v>
                </c:pt>
                <c:pt idx="8033">
                  <c:v>31.12.1992</c:v>
                </c:pt>
                <c:pt idx="8034">
                  <c:v>30.12.1992</c:v>
                </c:pt>
                <c:pt idx="8035">
                  <c:v>29.12.1992</c:v>
                </c:pt>
                <c:pt idx="8036">
                  <c:v>28.12.1992</c:v>
                </c:pt>
                <c:pt idx="8037">
                  <c:v>24.12.1992</c:v>
                </c:pt>
                <c:pt idx="8038">
                  <c:v>23.12.1992</c:v>
                </c:pt>
                <c:pt idx="8039">
                  <c:v>22.12.1992</c:v>
                </c:pt>
                <c:pt idx="8040">
                  <c:v>21.12.1992</c:v>
                </c:pt>
                <c:pt idx="8041">
                  <c:v>18.12.1992</c:v>
                </c:pt>
                <c:pt idx="8042">
                  <c:v>17.12.1992</c:v>
                </c:pt>
                <c:pt idx="8043">
                  <c:v>16.12.1992</c:v>
                </c:pt>
                <c:pt idx="8044">
                  <c:v>15.12.1992</c:v>
                </c:pt>
                <c:pt idx="8045">
                  <c:v>14.12.1992</c:v>
                </c:pt>
                <c:pt idx="8046">
                  <c:v>11.12.1992</c:v>
                </c:pt>
                <c:pt idx="8047">
                  <c:v>10.12.1992</c:v>
                </c:pt>
                <c:pt idx="8048">
                  <c:v>09.12.1992</c:v>
                </c:pt>
                <c:pt idx="8049">
                  <c:v>08.12.1992</c:v>
                </c:pt>
                <c:pt idx="8050">
                  <c:v>07.12.1992</c:v>
                </c:pt>
                <c:pt idx="8051">
                  <c:v>04.12.1992</c:v>
                </c:pt>
                <c:pt idx="8052">
                  <c:v>03.12.1992</c:v>
                </c:pt>
                <c:pt idx="8053">
                  <c:v>02.12.1992</c:v>
                </c:pt>
                <c:pt idx="8054">
                  <c:v>01.12.1992</c:v>
                </c:pt>
                <c:pt idx="8055">
                  <c:v>30.11.1992</c:v>
                </c:pt>
                <c:pt idx="8056">
                  <c:v>27.11.1992</c:v>
                </c:pt>
                <c:pt idx="8057">
                  <c:v>25.11.1992</c:v>
                </c:pt>
                <c:pt idx="8058">
                  <c:v>24.11.1992</c:v>
                </c:pt>
                <c:pt idx="8059">
                  <c:v>23.11.1992</c:v>
                </c:pt>
                <c:pt idx="8060">
                  <c:v>20.11.1992</c:v>
                </c:pt>
                <c:pt idx="8061">
                  <c:v>19.11.1992</c:v>
                </c:pt>
                <c:pt idx="8062">
                  <c:v>18.11.1992</c:v>
                </c:pt>
                <c:pt idx="8063">
                  <c:v>17.11.1992</c:v>
                </c:pt>
                <c:pt idx="8064">
                  <c:v>16.11.1992</c:v>
                </c:pt>
                <c:pt idx="8065">
                  <c:v>13.11.1992</c:v>
                </c:pt>
                <c:pt idx="8066">
                  <c:v>12.11.1992</c:v>
                </c:pt>
                <c:pt idx="8067">
                  <c:v>11.11.1992</c:v>
                </c:pt>
                <c:pt idx="8068">
                  <c:v>10.11.1992</c:v>
                </c:pt>
                <c:pt idx="8069">
                  <c:v>09.11.1992</c:v>
                </c:pt>
                <c:pt idx="8070">
                  <c:v>06.11.1992</c:v>
                </c:pt>
                <c:pt idx="8071">
                  <c:v>05.11.1992</c:v>
                </c:pt>
                <c:pt idx="8072">
                  <c:v>04.11.1992</c:v>
                </c:pt>
                <c:pt idx="8073">
                  <c:v>03.11.1992</c:v>
                </c:pt>
                <c:pt idx="8074">
                  <c:v>02.11.1992</c:v>
                </c:pt>
                <c:pt idx="8075">
                  <c:v>30.10.1992</c:v>
                </c:pt>
                <c:pt idx="8076">
                  <c:v>29.10.1992</c:v>
                </c:pt>
                <c:pt idx="8077">
                  <c:v>28.10.1992</c:v>
                </c:pt>
                <c:pt idx="8078">
                  <c:v>27.10.1992</c:v>
                </c:pt>
                <c:pt idx="8079">
                  <c:v>26.10.1992</c:v>
                </c:pt>
                <c:pt idx="8080">
                  <c:v>23.10.1992</c:v>
                </c:pt>
                <c:pt idx="8081">
                  <c:v>22.10.1992</c:v>
                </c:pt>
                <c:pt idx="8082">
                  <c:v>21.10.1992</c:v>
                </c:pt>
                <c:pt idx="8083">
                  <c:v>20.10.1992</c:v>
                </c:pt>
                <c:pt idx="8084">
                  <c:v>19.10.1992</c:v>
                </c:pt>
                <c:pt idx="8085">
                  <c:v>16.10.1992</c:v>
                </c:pt>
                <c:pt idx="8086">
                  <c:v>15.10.1992</c:v>
                </c:pt>
                <c:pt idx="8087">
                  <c:v>14.10.1992</c:v>
                </c:pt>
                <c:pt idx="8088">
                  <c:v>13.10.1992</c:v>
                </c:pt>
                <c:pt idx="8089">
                  <c:v>12.10.1992</c:v>
                </c:pt>
                <c:pt idx="8090">
                  <c:v>09.10.1992</c:v>
                </c:pt>
                <c:pt idx="8091">
                  <c:v>08.10.1992</c:v>
                </c:pt>
                <c:pt idx="8092">
                  <c:v>07.10.1992</c:v>
                </c:pt>
                <c:pt idx="8093">
                  <c:v>06.10.1992</c:v>
                </c:pt>
                <c:pt idx="8094">
                  <c:v>05.10.1992</c:v>
                </c:pt>
                <c:pt idx="8095">
                  <c:v>02.10.1992</c:v>
                </c:pt>
                <c:pt idx="8096">
                  <c:v>01.10.1992</c:v>
                </c:pt>
                <c:pt idx="8097">
                  <c:v>30.09.1992</c:v>
                </c:pt>
                <c:pt idx="8098">
                  <c:v>29.09.1992</c:v>
                </c:pt>
                <c:pt idx="8099">
                  <c:v>28.09.1992</c:v>
                </c:pt>
                <c:pt idx="8100">
                  <c:v>25.09.1992</c:v>
                </c:pt>
                <c:pt idx="8101">
                  <c:v>24.09.1992</c:v>
                </c:pt>
                <c:pt idx="8102">
                  <c:v>23.09.1992</c:v>
                </c:pt>
                <c:pt idx="8103">
                  <c:v>22.09.1992</c:v>
                </c:pt>
                <c:pt idx="8104">
                  <c:v>21.09.1992</c:v>
                </c:pt>
                <c:pt idx="8105">
                  <c:v>18.09.1992</c:v>
                </c:pt>
                <c:pt idx="8106">
                  <c:v>17.09.1992</c:v>
                </c:pt>
                <c:pt idx="8107">
                  <c:v>16.09.1992</c:v>
                </c:pt>
                <c:pt idx="8108">
                  <c:v>15.09.1992</c:v>
                </c:pt>
                <c:pt idx="8109">
                  <c:v>14.09.1992</c:v>
                </c:pt>
                <c:pt idx="8110">
                  <c:v>11.09.1992</c:v>
                </c:pt>
                <c:pt idx="8111">
                  <c:v>10.09.1992</c:v>
                </c:pt>
                <c:pt idx="8112">
                  <c:v>09.09.1992</c:v>
                </c:pt>
                <c:pt idx="8113">
                  <c:v>08.09.1992</c:v>
                </c:pt>
                <c:pt idx="8114">
                  <c:v>04.09.1992</c:v>
                </c:pt>
                <c:pt idx="8115">
                  <c:v>03.09.1992</c:v>
                </c:pt>
                <c:pt idx="8116">
                  <c:v>02.09.1992</c:v>
                </c:pt>
                <c:pt idx="8117">
                  <c:v>01.09.1992</c:v>
                </c:pt>
                <c:pt idx="8118">
                  <c:v>31.08.1992</c:v>
                </c:pt>
                <c:pt idx="8119">
                  <c:v>28.08.1992</c:v>
                </c:pt>
                <c:pt idx="8120">
                  <c:v>27.08.1992</c:v>
                </c:pt>
                <c:pt idx="8121">
                  <c:v>26.08.1992</c:v>
                </c:pt>
                <c:pt idx="8122">
                  <c:v>25.08.1992</c:v>
                </c:pt>
                <c:pt idx="8123">
                  <c:v>24.08.1992</c:v>
                </c:pt>
                <c:pt idx="8124">
                  <c:v>21.08.1992</c:v>
                </c:pt>
                <c:pt idx="8125">
                  <c:v>20.08.1992</c:v>
                </c:pt>
                <c:pt idx="8126">
                  <c:v>19.08.1992</c:v>
                </c:pt>
                <c:pt idx="8127">
                  <c:v>18.08.1992</c:v>
                </c:pt>
                <c:pt idx="8128">
                  <c:v>17.08.1992</c:v>
                </c:pt>
                <c:pt idx="8129">
                  <c:v>14.08.1992</c:v>
                </c:pt>
                <c:pt idx="8130">
                  <c:v>13.08.1992</c:v>
                </c:pt>
                <c:pt idx="8131">
                  <c:v>12.08.1992</c:v>
                </c:pt>
                <c:pt idx="8132">
                  <c:v>11.08.1992</c:v>
                </c:pt>
                <c:pt idx="8133">
                  <c:v>10.08.1992</c:v>
                </c:pt>
                <c:pt idx="8134">
                  <c:v>07.08.1992</c:v>
                </c:pt>
                <c:pt idx="8135">
                  <c:v>06.08.1992</c:v>
                </c:pt>
                <c:pt idx="8136">
                  <c:v>05.08.1992</c:v>
                </c:pt>
                <c:pt idx="8137">
                  <c:v>04.08.1992</c:v>
                </c:pt>
                <c:pt idx="8138">
                  <c:v>03.08.1992</c:v>
                </c:pt>
                <c:pt idx="8139">
                  <c:v>31.07.1992</c:v>
                </c:pt>
                <c:pt idx="8140">
                  <c:v>30.07.1992</c:v>
                </c:pt>
                <c:pt idx="8141">
                  <c:v>29.07.1992</c:v>
                </c:pt>
                <c:pt idx="8142">
                  <c:v>28.07.1992</c:v>
                </c:pt>
                <c:pt idx="8143">
                  <c:v>27.07.1992</c:v>
                </c:pt>
                <c:pt idx="8144">
                  <c:v>24.07.1992</c:v>
                </c:pt>
                <c:pt idx="8145">
                  <c:v>23.07.1992</c:v>
                </c:pt>
                <c:pt idx="8146">
                  <c:v>22.07.1992</c:v>
                </c:pt>
                <c:pt idx="8147">
                  <c:v>21.07.1992</c:v>
                </c:pt>
                <c:pt idx="8148">
                  <c:v>20.07.1992</c:v>
                </c:pt>
                <c:pt idx="8149">
                  <c:v>17.07.1992</c:v>
                </c:pt>
                <c:pt idx="8150">
                  <c:v>16.07.1992</c:v>
                </c:pt>
                <c:pt idx="8151">
                  <c:v>15.07.1992</c:v>
                </c:pt>
                <c:pt idx="8152">
                  <c:v>14.07.1992</c:v>
                </c:pt>
                <c:pt idx="8153">
                  <c:v>13.07.1992</c:v>
                </c:pt>
                <c:pt idx="8154">
                  <c:v>10.07.1992</c:v>
                </c:pt>
                <c:pt idx="8155">
                  <c:v>09.07.1992</c:v>
                </c:pt>
                <c:pt idx="8156">
                  <c:v>08.07.1992</c:v>
                </c:pt>
                <c:pt idx="8157">
                  <c:v>07.07.1992</c:v>
                </c:pt>
                <c:pt idx="8158">
                  <c:v>06.07.1992</c:v>
                </c:pt>
                <c:pt idx="8159">
                  <c:v>02.07.1992</c:v>
                </c:pt>
                <c:pt idx="8160">
                  <c:v>01.07.1992</c:v>
                </c:pt>
                <c:pt idx="8161">
                  <c:v>30.06.1992</c:v>
                </c:pt>
                <c:pt idx="8162">
                  <c:v>29.06.1992</c:v>
                </c:pt>
                <c:pt idx="8163">
                  <c:v>26.06.1992</c:v>
                </c:pt>
                <c:pt idx="8164">
                  <c:v>25.06.1992</c:v>
                </c:pt>
                <c:pt idx="8165">
                  <c:v>24.06.1992</c:v>
                </c:pt>
                <c:pt idx="8166">
                  <c:v>23.06.1992</c:v>
                </c:pt>
                <c:pt idx="8167">
                  <c:v>22.06.1992</c:v>
                </c:pt>
                <c:pt idx="8168">
                  <c:v>19.06.1992</c:v>
                </c:pt>
                <c:pt idx="8169">
                  <c:v>18.06.1992</c:v>
                </c:pt>
                <c:pt idx="8170">
                  <c:v>17.06.1992</c:v>
                </c:pt>
                <c:pt idx="8171">
                  <c:v>16.06.1992</c:v>
                </c:pt>
                <c:pt idx="8172">
                  <c:v>15.06.1992</c:v>
                </c:pt>
                <c:pt idx="8173">
                  <c:v>12.06.1992</c:v>
                </c:pt>
                <c:pt idx="8174">
                  <c:v>11.06.1992</c:v>
                </c:pt>
                <c:pt idx="8175">
                  <c:v>10.06.1992</c:v>
                </c:pt>
                <c:pt idx="8176">
                  <c:v>09.06.1992</c:v>
                </c:pt>
                <c:pt idx="8177">
                  <c:v>08.06.1992</c:v>
                </c:pt>
                <c:pt idx="8178">
                  <c:v>05.06.1992</c:v>
                </c:pt>
                <c:pt idx="8179">
                  <c:v>04.06.1992</c:v>
                </c:pt>
                <c:pt idx="8180">
                  <c:v>03.06.1992</c:v>
                </c:pt>
                <c:pt idx="8181">
                  <c:v>02.06.1992</c:v>
                </c:pt>
                <c:pt idx="8182">
                  <c:v>01.06.1992</c:v>
                </c:pt>
                <c:pt idx="8183">
                  <c:v>29.05.1992</c:v>
                </c:pt>
                <c:pt idx="8184">
                  <c:v>28.05.1992</c:v>
                </c:pt>
                <c:pt idx="8185">
                  <c:v>27.05.1992</c:v>
                </c:pt>
                <c:pt idx="8186">
                  <c:v>26.05.1992</c:v>
                </c:pt>
                <c:pt idx="8187">
                  <c:v>22.05.1992</c:v>
                </c:pt>
                <c:pt idx="8188">
                  <c:v>21.05.1992</c:v>
                </c:pt>
                <c:pt idx="8189">
                  <c:v>20.05.1992</c:v>
                </c:pt>
                <c:pt idx="8190">
                  <c:v>19.05.1992</c:v>
                </c:pt>
                <c:pt idx="8191">
                  <c:v>18.05.1992</c:v>
                </c:pt>
                <c:pt idx="8192">
                  <c:v>15.05.1992</c:v>
                </c:pt>
                <c:pt idx="8193">
                  <c:v>14.05.1992</c:v>
                </c:pt>
                <c:pt idx="8194">
                  <c:v>13.05.1992</c:v>
                </c:pt>
                <c:pt idx="8195">
                  <c:v>12.05.1992</c:v>
                </c:pt>
                <c:pt idx="8196">
                  <c:v>11.05.1992</c:v>
                </c:pt>
                <c:pt idx="8197">
                  <c:v>08.05.1992</c:v>
                </c:pt>
                <c:pt idx="8198">
                  <c:v>07.05.1992</c:v>
                </c:pt>
                <c:pt idx="8199">
                  <c:v>06.05.1992</c:v>
                </c:pt>
                <c:pt idx="8200">
                  <c:v>05.05.1992</c:v>
                </c:pt>
                <c:pt idx="8201">
                  <c:v>04.05.1992</c:v>
                </c:pt>
                <c:pt idx="8202">
                  <c:v>01.05.1992</c:v>
                </c:pt>
                <c:pt idx="8203">
                  <c:v>30.04.1992</c:v>
                </c:pt>
                <c:pt idx="8204">
                  <c:v>29.04.1992</c:v>
                </c:pt>
                <c:pt idx="8205">
                  <c:v>28.04.1992</c:v>
                </c:pt>
                <c:pt idx="8206">
                  <c:v>27.04.1992</c:v>
                </c:pt>
                <c:pt idx="8207">
                  <c:v>24.04.1992</c:v>
                </c:pt>
                <c:pt idx="8208">
                  <c:v>23.04.1992</c:v>
                </c:pt>
                <c:pt idx="8209">
                  <c:v>22.04.1992</c:v>
                </c:pt>
                <c:pt idx="8210">
                  <c:v>21.04.1992</c:v>
                </c:pt>
                <c:pt idx="8211">
                  <c:v>20.04.1992</c:v>
                </c:pt>
                <c:pt idx="8212">
                  <c:v>16.04.1992</c:v>
                </c:pt>
                <c:pt idx="8213">
                  <c:v>15.04.1992</c:v>
                </c:pt>
                <c:pt idx="8214">
                  <c:v>14.04.1992</c:v>
                </c:pt>
                <c:pt idx="8215">
                  <c:v>13.04.1992</c:v>
                </c:pt>
                <c:pt idx="8216">
                  <c:v>10.04.1992</c:v>
                </c:pt>
                <c:pt idx="8217">
                  <c:v>09.04.1992</c:v>
                </c:pt>
                <c:pt idx="8218">
                  <c:v>08.04.1992</c:v>
                </c:pt>
                <c:pt idx="8219">
                  <c:v>07.04.1992</c:v>
                </c:pt>
                <c:pt idx="8220">
                  <c:v>06.04.1992</c:v>
                </c:pt>
                <c:pt idx="8221">
                  <c:v>03.04.1992</c:v>
                </c:pt>
                <c:pt idx="8222">
                  <c:v>02.04.1992</c:v>
                </c:pt>
                <c:pt idx="8223">
                  <c:v>01.04.1992</c:v>
                </c:pt>
                <c:pt idx="8224">
                  <c:v>31.03.1992</c:v>
                </c:pt>
                <c:pt idx="8225">
                  <c:v>30.03.1992</c:v>
                </c:pt>
                <c:pt idx="8226">
                  <c:v>27.03.1992</c:v>
                </c:pt>
                <c:pt idx="8227">
                  <c:v>26.03.1992</c:v>
                </c:pt>
                <c:pt idx="8228">
                  <c:v>25.03.1992</c:v>
                </c:pt>
                <c:pt idx="8229">
                  <c:v>24.03.1992</c:v>
                </c:pt>
                <c:pt idx="8230">
                  <c:v>23.03.1992</c:v>
                </c:pt>
                <c:pt idx="8231">
                  <c:v>20.03.1992</c:v>
                </c:pt>
                <c:pt idx="8232">
                  <c:v>19.03.1992</c:v>
                </c:pt>
                <c:pt idx="8233">
                  <c:v>18.03.1992</c:v>
                </c:pt>
                <c:pt idx="8234">
                  <c:v>17.03.1992</c:v>
                </c:pt>
                <c:pt idx="8235">
                  <c:v>16.03.1992</c:v>
                </c:pt>
                <c:pt idx="8236">
                  <c:v>13.03.1992</c:v>
                </c:pt>
                <c:pt idx="8237">
                  <c:v>12.03.1992</c:v>
                </c:pt>
                <c:pt idx="8238">
                  <c:v>11.03.1992</c:v>
                </c:pt>
                <c:pt idx="8239">
                  <c:v>10.03.1992</c:v>
                </c:pt>
                <c:pt idx="8240">
                  <c:v>09.03.1992</c:v>
                </c:pt>
                <c:pt idx="8241">
                  <c:v>06.03.1992</c:v>
                </c:pt>
                <c:pt idx="8242">
                  <c:v>05.03.1992</c:v>
                </c:pt>
                <c:pt idx="8243">
                  <c:v>04.03.1992</c:v>
                </c:pt>
                <c:pt idx="8244">
                  <c:v>03.03.1992</c:v>
                </c:pt>
                <c:pt idx="8245">
                  <c:v>02.03.1992</c:v>
                </c:pt>
                <c:pt idx="8246">
                  <c:v>28.02.1992</c:v>
                </c:pt>
                <c:pt idx="8247">
                  <c:v>27.02.1992</c:v>
                </c:pt>
                <c:pt idx="8248">
                  <c:v>26.02.1992</c:v>
                </c:pt>
                <c:pt idx="8249">
                  <c:v>25.02.1992</c:v>
                </c:pt>
                <c:pt idx="8250">
                  <c:v>24.02.1992</c:v>
                </c:pt>
                <c:pt idx="8251">
                  <c:v>21.02.1992</c:v>
                </c:pt>
                <c:pt idx="8252">
                  <c:v>20.02.1992</c:v>
                </c:pt>
                <c:pt idx="8253">
                  <c:v>19.02.1992</c:v>
                </c:pt>
                <c:pt idx="8254">
                  <c:v>18.02.1992</c:v>
                </c:pt>
                <c:pt idx="8255">
                  <c:v>14.02.1992</c:v>
                </c:pt>
                <c:pt idx="8256">
                  <c:v>13.02.1992</c:v>
                </c:pt>
                <c:pt idx="8257">
                  <c:v>12.02.1992</c:v>
                </c:pt>
                <c:pt idx="8258">
                  <c:v>11.02.1992</c:v>
                </c:pt>
                <c:pt idx="8259">
                  <c:v>10.02.1992</c:v>
                </c:pt>
                <c:pt idx="8260">
                  <c:v>07.02.1992</c:v>
                </c:pt>
                <c:pt idx="8261">
                  <c:v>06.02.1992</c:v>
                </c:pt>
                <c:pt idx="8262">
                  <c:v>05.02.1992</c:v>
                </c:pt>
                <c:pt idx="8263">
                  <c:v>04.02.1992</c:v>
                </c:pt>
                <c:pt idx="8264">
                  <c:v>03.02.1992</c:v>
                </c:pt>
                <c:pt idx="8265">
                  <c:v>31.01.1992</c:v>
                </c:pt>
                <c:pt idx="8266">
                  <c:v>30.01.1992</c:v>
                </c:pt>
                <c:pt idx="8267">
                  <c:v>29.01.1992</c:v>
                </c:pt>
                <c:pt idx="8268">
                  <c:v>28.01.1992</c:v>
                </c:pt>
                <c:pt idx="8269">
                  <c:v>27.01.1992</c:v>
                </c:pt>
                <c:pt idx="8270">
                  <c:v>24.01.1992</c:v>
                </c:pt>
                <c:pt idx="8271">
                  <c:v>23.01.1992</c:v>
                </c:pt>
                <c:pt idx="8272">
                  <c:v>22.01.1992</c:v>
                </c:pt>
                <c:pt idx="8273">
                  <c:v>21.01.1992</c:v>
                </c:pt>
                <c:pt idx="8274">
                  <c:v>20.01.1992</c:v>
                </c:pt>
                <c:pt idx="8275">
                  <c:v>17.01.1992</c:v>
                </c:pt>
                <c:pt idx="8276">
                  <c:v>16.01.1992</c:v>
                </c:pt>
                <c:pt idx="8277">
                  <c:v>15.01.1992</c:v>
                </c:pt>
                <c:pt idx="8278">
                  <c:v>14.01.1992</c:v>
                </c:pt>
                <c:pt idx="8279">
                  <c:v>13.01.1992</c:v>
                </c:pt>
                <c:pt idx="8280">
                  <c:v>10.01.1992</c:v>
                </c:pt>
                <c:pt idx="8281">
                  <c:v>09.01.1992</c:v>
                </c:pt>
                <c:pt idx="8282">
                  <c:v>08.01.1992</c:v>
                </c:pt>
                <c:pt idx="8283">
                  <c:v>07.01.1992</c:v>
                </c:pt>
                <c:pt idx="8284">
                  <c:v>06.01.1992</c:v>
                </c:pt>
                <c:pt idx="8285">
                  <c:v>03.01.1992</c:v>
                </c:pt>
                <c:pt idx="8286">
                  <c:v>02.01.1992</c:v>
                </c:pt>
                <c:pt idx="8287">
                  <c:v>31.12.1991</c:v>
                </c:pt>
                <c:pt idx="8288">
                  <c:v>30.12.1991</c:v>
                </c:pt>
                <c:pt idx="8289">
                  <c:v>27.12.1991</c:v>
                </c:pt>
                <c:pt idx="8290">
                  <c:v>26.12.1991</c:v>
                </c:pt>
                <c:pt idx="8291">
                  <c:v>24.12.1991</c:v>
                </c:pt>
                <c:pt idx="8292">
                  <c:v>23.12.1991</c:v>
                </c:pt>
                <c:pt idx="8293">
                  <c:v>20.12.1991</c:v>
                </c:pt>
                <c:pt idx="8294">
                  <c:v>19.12.1991</c:v>
                </c:pt>
                <c:pt idx="8295">
                  <c:v>18.12.1991</c:v>
                </c:pt>
                <c:pt idx="8296">
                  <c:v>17.12.1991</c:v>
                </c:pt>
                <c:pt idx="8297">
                  <c:v>16.12.1991</c:v>
                </c:pt>
                <c:pt idx="8298">
                  <c:v>13.12.1991</c:v>
                </c:pt>
                <c:pt idx="8299">
                  <c:v>12.12.1991</c:v>
                </c:pt>
                <c:pt idx="8300">
                  <c:v>11.12.1991</c:v>
                </c:pt>
                <c:pt idx="8301">
                  <c:v>10.12.1991</c:v>
                </c:pt>
                <c:pt idx="8302">
                  <c:v>09.12.1991</c:v>
                </c:pt>
                <c:pt idx="8303">
                  <c:v>06.12.1991</c:v>
                </c:pt>
                <c:pt idx="8304">
                  <c:v>05.12.1991</c:v>
                </c:pt>
                <c:pt idx="8305">
                  <c:v>04.12.1991</c:v>
                </c:pt>
                <c:pt idx="8306">
                  <c:v>03.12.1991</c:v>
                </c:pt>
                <c:pt idx="8307">
                  <c:v>02.12.1991</c:v>
                </c:pt>
                <c:pt idx="8308">
                  <c:v>29.11.1991</c:v>
                </c:pt>
                <c:pt idx="8309">
                  <c:v>27.11.1991</c:v>
                </c:pt>
                <c:pt idx="8310">
                  <c:v>26.11.1991</c:v>
                </c:pt>
                <c:pt idx="8311">
                  <c:v>25.11.1991</c:v>
                </c:pt>
                <c:pt idx="8312">
                  <c:v>22.11.1991</c:v>
                </c:pt>
                <c:pt idx="8313">
                  <c:v>21.11.1991</c:v>
                </c:pt>
                <c:pt idx="8314">
                  <c:v>20.11.1991</c:v>
                </c:pt>
                <c:pt idx="8315">
                  <c:v>19.11.1991</c:v>
                </c:pt>
                <c:pt idx="8316">
                  <c:v>18.11.1991</c:v>
                </c:pt>
                <c:pt idx="8317">
                  <c:v>15.11.1991</c:v>
                </c:pt>
                <c:pt idx="8318">
                  <c:v>14.11.1991</c:v>
                </c:pt>
                <c:pt idx="8319">
                  <c:v>13.11.1991</c:v>
                </c:pt>
                <c:pt idx="8320">
                  <c:v>12.11.1991</c:v>
                </c:pt>
                <c:pt idx="8321">
                  <c:v>11.11.1991</c:v>
                </c:pt>
                <c:pt idx="8322">
                  <c:v>08.11.1991</c:v>
                </c:pt>
                <c:pt idx="8323">
                  <c:v>07.11.1991</c:v>
                </c:pt>
                <c:pt idx="8324">
                  <c:v>06.11.1991</c:v>
                </c:pt>
                <c:pt idx="8325">
                  <c:v>05.11.1991</c:v>
                </c:pt>
                <c:pt idx="8326">
                  <c:v>04.11.1991</c:v>
                </c:pt>
                <c:pt idx="8327">
                  <c:v>01.11.1991</c:v>
                </c:pt>
                <c:pt idx="8328">
                  <c:v>31.10.1991</c:v>
                </c:pt>
                <c:pt idx="8329">
                  <c:v>30.10.1991</c:v>
                </c:pt>
                <c:pt idx="8330">
                  <c:v>29.10.1991</c:v>
                </c:pt>
                <c:pt idx="8331">
                  <c:v>28.10.1991</c:v>
                </c:pt>
                <c:pt idx="8332">
                  <c:v>25.10.1991</c:v>
                </c:pt>
                <c:pt idx="8333">
                  <c:v>24.10.1991</c:v>
                </c:pt>
                <c:pt idx="8334">
                  <c:v>23.10.1991</c:v>
                </c:pt>
                <c:pt idx="8335">
                  <c:v>22.10.1991</c:v>
                </c:pt>
                <c:pt idx="8336">
                  <c:v>21.10.1991</c:v>
                </c:pt>
                <c:pt idx="8337">
                  <c:v>18.10.1991</c:v>
                </c:pt>
                <c:pt idx="8338">
                  <c:v>17.10.1991</c:v>
                </c:pt>
                <c:pt idx="8339">
                  <c:v>16.10.1991</c:v>
                </c:pt>
                <c:pt idx="8340">
                  <c:v>15.10.1991</c:v>
                </c:pt>
                <c:pt idx="8341">
                  <c:v>14.10.1991</c:v>
                </c:pt>
                <c:pt idx="8342">
                  <c:v>11.10.1991</c:v>
                </c:pt>
                <c:pt idx="8343">
                  <c:v>10.10.1991</c:v>
                </c:pt>
                <c:pt idx="8344">
                  <c:v>09.10.1991</c:v>
                </c:pt>
                <c:pt idx="8345">
                  <c:v>08.10.1991</c:v>
                </c:pt>
                <c:pt idx="8346">
                  <c:v>07.10.1991</c:v>
                </c:pt>
                <c:pt idx="8347">
                  <c:v>04.10.1991</c:v>
                </c:pt>
                <c:pt idx="8348">
                  <c:v>03.10.1991</c:v>
                </c:pt>
                <c:pt idx="8349">
                  <c:v>02.10.1991</c:v>
                </c:pt>
                <c:pt idx="8350">
                  <c:v>01.10.1991</c:v>
                </c:pt>
                <c:pt idx="8351">
                  <c:v>30.09.1991</c:v>
                </c:pt>
                <c:pt idx="8352">
                  <c:v>27.09.1991</c:v>
                </c:pt>
                <c:pt idx="8353">
                  <c:v>26.09.1991</c:v>
                </c:pt>
                <c:pt idx="8354">
                  <c:v>25.09.1991</c:v>
                </c:pt>
                <c:pt idx="8355">
                  <c:v>24.09.1991</c:v>
                </c:pt>
                <c:pt idx="8356">
                  <c:v>23.09.1991</c:v>
                </c:pt>
                <c:pt idx="8357">
                  <c:v>20.09.1991</c:v>
                </c:pt>
                <c:pt idx="8358">
                  <c:v>19.09.1991</c:v>
                </c:pt>
                <c:pt idx="8359">
                  <c:v>18.09.1991</c:v>
                </c:pt>
                <c:pt idx="8360">
                  <c:v>17.09.1991</c:v>
                </c:pt>
                <c:pt idx="8361">
                  <c:v>16.09.1991</c:v>
                </c:pt>
                <c:pt idx="8362">
                  <c:v>13.09.1991</c:v>
                </c:pt>
                <c:pt idx="8363">
                  <c:v>12.09.1991</c:v>
                </c:pt>
                <c:pt idx="8364">
                  <c:v>11.09.1991</c:v>
                </c:pt>
                <c:pt idx="8365">
                  <c:v>10.09.1991</c:v>
                </c:pt>
                <c:pt idx="8366">
                  <c:v>09.09.1991</c:v>
                </c:pt>
                <c:pt idx="8367">
                  <c:v>06.09.1991</c:v>
                </c:pt>
                <c:pt idx="8368">
                  <c:v>05.09.1991</c:v>
                </c:pt>
                <c:pt idx="8369">
                  <c:v>04.09.1991</c:v>
                </c:pt>
                <c:pt idx="8370">
                  <c:v>03.09.1991</c:v>
                </c:pt>
                <c:pt idx="8371">
                  <c:v>30.08.1991</c:v>
                </c:pt>
                <c:pt idx="8372">
                  <c:v>29.08.1991</c:v>
                </c:pt>
                <c:pt idx="8373">
                  <c:v>28.08.1991</c:v>
                </c:pt>
                <c:pt idx="8374">
                  <c:v>27.08.1991</c:v>
                </c:pt>
                <c:pt idx="8375">
                  <c:v>26.08.1991</c:v>
                </c:pt>
                <c:pt idx="8376">
                  <c:v>23.08.1991</c:v>
                </c:pt>
                <c:pt idx="8377">
                  <c:v>22.08.1991</c:v>
                </c:pt>
                <c:pt idx="8378">
                  <c:v>21.08.1991</c:v>
                </c:pt>
                <c:pt idx="8379">
                  <c:v>20.08.1991</c:v>
                </c:pt>
                <c:pt idx="8380">
                  <c:v>19.08.1991</c:v>
                </c:pt>
                <c:pt idx="8381">
                  <c:v>16.08.1991</c:v>
                </c:pt>
                <c:pt idx="8382">
                  <c:v>15.08.1991</c:v>
                </c:pt>
                <c:pt idx="8383">
                  <c:v>14.08.1991</c:v>
                </c:pt>
                <c:pt idx="8384">
                  <c:v>13.08.1991</c:v>
                </c:pt>
                <c:pt idx="8385">
                  <c:v>12.08.1991</c:v>
                </c:pt>
                <c:pt idx="8386">
                  <c:v>09.08.1991</c:v>
                </c:pt>
                <c:pt idx="8387">
                  <c:v>08.08.1991</c:v>
                </c:pt>
                <c:pt idx="8388">
                  <c:v>07.08.1991</c:v>
                </c:pt>
                <c:pt idx="8389">
                  <c:v>06.08.1991</c:v>
                </c:pt>
                <c:pt idx="8390">
                  <c:v>05.08.1991</c:v>
                </c:pt>
                <c:pt idx="8391">
                  <c:v>02.08.1991</c:v>
                </c:pt>
                <c:pt idx="8392">
                  <c:v>01.08.1991</c:v>
                </c:pt>
                <c:pt idx="8393">
                  <c:v>31.07.1991</c:v>
                </c:pt>
                <c:pt idx="8394">
                  <c:v>30.07.1991</c:v>
                </c:pt>
                <c:pt idx="8395">
                  <c:v>29.07.1991</c:v>
                </c:pt>
                <c:pt idx="8396">
                  <c:v>26.07.1991</c:v>
                </c:pt>
                <c:pt idx="8397">
                  <c:v>25.07.1991</c:v>
                </c:pt>
                <c:pt idx="8398">
                  <c:v>24.07.1991</c:v>
                </c:pt>
                <c:pt idx="8399">
                  <c:v>23.07.1991</c:v>
                </c:pt>
                <c:pt idx="8400">
                  <c:v>22.07.1991</c:v>
                </c:pt>
                <c:pt idx="8401">
                  <c:v>19.07.1991</c:v>
                </c:pt>
                <c:pt idx="8402">
                  <c:v>18.07.1991</c:v>
                </c:pt>
                <c:pt idx="8403">
                  <c:v>17.07.1991</c:v>
                </c:pt>
                <c:pt idx="8404">
                  <c:v>16.07.1991</c:v>
                </c:pt>
                <c:pt idx="8405">
                  <c:v>15.07.1991</c:v>
                </c:pt>
                <c:pt idx="8406">
                  <c:v>12.07.1991</c:v>
                </c:pt>
                <c:pt idx="8407">
                  <c:v>11.07.1991</c:v>
                </c:pt>
                <c:pt idx="8408">
                  <c:v>10.07.1991</c:v>
                </c:pt>
                <c:pt idx="8409">
                  <c:v>09.07.1991</c:v>
                </c:pt>
                <c:pt idx="8410">
                  <c:v>08.07.1991</c:v>
                </c:pt>
                <c:pt idx="8411">
                  <c:v>05.07.1991</c:v>
                </c:pt>
                <c:pt idx="8412">
                  <c:v>03.07.1991</c:v>
                </c:pt>
                <c:pt idx="8413">
                  <c:v>02.07.1991</c:v>
                </c:pt>
                <c:pt idx="8414">
                  <c:v>01.07.1991</c:v>
                </c:pt>
                <c:pt idx="8415">
                  <c:v>28.06.1991</c:v>
                </c:pt>
                <c:pt idx="8416">
                  <c:v>27.06.1991</c:v>
                </c:pt>
                <c:pt idx="8417">
                  <c:v>26.06.1991</c:v>
                </c:pt>
                <c:pt idx="8418">
                  <c:v>25.06.1991</c:v>
                </c:pt>
                <c:pt idx="8419">
                  <c:v>24.06.1991</c:v>
                </c:pt>
                <c:pt idx="8420">
                  <c:v>21.06.1991</c:v>
                </c:pt>
                <c:pt idx="8421">
                  <c:v>20.06.1991</c:v>
                </c:pt>
                <c:pt idx="8422">
                  <c:v>19.06.1991</c:v>
                </c:pt>
                <c:pt idx="8423">
                  <c:v>18.06.1991</c:v>
                </c:pt>
                <c:pt idx="8424">
                  <c:v>17.06.1991</c:v>
                </c:pt>
                <c:pt idx="8425">
                  <c:v>14.06.1991</c:v>
                </c:pt>
                <c:pt idx="8426">
                  <c:v>13.06.1991</c:v>
                </c:pt>
                <c:pt idx="8427">
                  <c:v>12.06.1991</c:v>
                </c:pt>
                <c:pt idx="8428">
                  <c:v>11.06.1991</c:v>
                </c:pt>
                <c:pt idx="8429">
                  <c:v>10.06.1991</c:v>
                </c:pt>
                <c:pt idx="8430">
                  <c:v>07.06.1991</c:v>
                </c:pt>
                <c:pt idx="8431">
                  <c:v>06.06.1991</c:v>
                </c:pt>
                <c:pt idx="8432">
                  <c:v>05.06.1991</c:v>
                </c:pt>
                <c:pt idx="8433">
                  <c:v>04.06.1991</c:v>
                </c:pt>
                <c:pt idx="8434">
                  <c:v>03.06.1991</c:v>
                </c:pt>
                <c:pt idx="8435">
                  <c:v>31.05.1991</c:v>
                </c:pt>
                <c:pt idx="8436">
                  <c:v>30.05.1991</c:v>
                </c:pt>
                <c:pt idx="8437">
                  <c:v>29.05.1991</c:v>
                </c:pt>
                <c:pt idx="8438">
                  <c:v>28.05.1991</c:v>
                </c:pt>
                <c:pt idx="8439">
                  <c:v>24.05.1991</c:v>
                </c:pt>
                <c:pt idx="8440">
                  <c:v>23.05.1991</c:v>
                </c:pt>
                <c:pt idx="8441">
                  <c:v>22.05.1991</c:v>
                </c:pt>
                <c:pt idx="8442">
                  <c:v>21.05.1991</c:v>
                </c:pt>
                <c:pt idx="8443">
                  <c:v>20.05.1991</c:v>
                </c:pt>
                <c:pt idx="8444">
                  <c:v>17.05.1991</c:v>
                </c:pt>
                <c:pt idx="8445">
                  <c:v>16.05.1991</c:v>
                </c:pt>
                <c:pt idx="8446">
                  <c:v>15.05.1991</c:v>
                </c:pt>
                <c:pt idx="8447">
                  <c:v>14.05.1991</c:v>
                </c:pt>
                <c:pt idx="8448">
                  <c:v>13.05.1991</c:v>
                </c:pt>
                <c:pt idx="8449">
                  <c:v>10.05.1991</c:v>
                </c:pt>
                <c:pt idx="8450">
                  <c:v>09.05.1991</c:v>
                </c:pt>
                <c:pt idx="8451">
                  <c:v>08.05.1991</c:v>
                </c:pt>
                <c:pt idx="8452">
                  <c:v>07.05.1991</c:v>
                </c:pt>
                <c:pt idx="8453">
                  <c:v>06.05.1991</c:v>
                </c:pt>
                <c:pt idx="8454">
                  <c:v>03.05.1991</c:v>
                </c:pt>
                <c:pt idx="8455">
                  <c:v>02.05.1991</c:v>
                </c:pt>
                <c:pt idx="8456">
                  <c:v>01.05.1991</c:v>
                </c:pt>
                <c:pt idx="8457">
                  <c:v>30.04.1991</c:v>
                </c:pt>
                <c:pt idx="8458">
                  <c:v>29.04.1991</c:v>
                </c:pt>
                <c:pt idx="8459">
                  <c:v>26.04.1991</c:v>
                </c:pt>
                <c:pt idx="8460">
                  <c:v>25.04.1991</c:v>
                </c:pt>
                <c:pt idx="8461">
                  <c:v>24.04.1991</c:v>
                </c:pt>
                <c:pt idx="8462">
                  <c:v>23.04.1991</c:v>
                </c:pt>
                <c:pt idx="8463">
                  <c:v>22.04.1991</c:v>
                </c:pt>
                <c:pt idx="8464">
                  <c:v>19.04.1991</c:v>
                </c:pt>
                <c:pt idx="8465">
                  <c:v>18.04.1991</c:v>
                </c:pt>
                <c:pt idx="8466">
                  <c:v>17.04.1991</c:v>
                </c:pt>
                <c:pt idx="8467">
                  <c:v>16.04.1991</c:v>
                </c:pt>
                <c:pt idx="8468">
                  <c:v>15.04.1991</c:v>
                </c:pt>
                <c:pt idx="8469">
                  <c:v>12.04.1991</c:v>
                </c:pt>
                <c:pt idx="8470">
                  <c:v>11.04.1991</c:v>
                </c:pt>
                <c:pt idx="8471">
                  <c:v>10.04.1991</c:v>
                </c:pt>
                <c:pt idx="8472">
                  <c:v>09.04.1991</c:v>
                </c:pt>
                <c:pt idx="8473">
                  <c:v>08.04.1991</c:v>
                </c:pt>
                <c:pt idx="8474">
                  <c:v>05.04.1991</c:v>
                </c:pt>
                <c:pt idx="8475">
                  <c:v>04.04.1991</c:v>
                </c:pt>
                <c:pt idx="8476">
                  <c:v>03.04.1991</c:v>
                </c:pt>
                <c:pt idx="8477">
                  <c:v>02.04.1991</c:v>
                </c:pt>
                <c:pt idx="8478">
                  <c:v>01.04.1991</c:v>
                </c:pt>
                <c:pt idx="8479">
                  <c:v>28.03.1991</c:v>
                </c:pt>
                <c:pt idx="8480">
                  <c:v>27.03.1991</c:v>
                </c:pt>
                <c:pt idx="8481">
                  <c:v>26.03.1991</c:v>
                </c:pt>
                <c:pt idx="8482">
                  <c:v>25.03.1991</c:v>
                </c:pt>
                <c:pt idx="8483">
                  <c:v>22.03.1991</c:v>
                </c:pt>
                <c:pt idx="8484">
                  <c:v>21.03.1991</c:v>
                </c:pt>
                <c:pt idx="8485">
                  <c:v>20.03.1991</c:v>
                </c:pt>
                <c:pt idx="8486">
                  <c:v>19.03.1991</c:v>
                </c:pt>
                <c:pt idx="8487">
                  <c:v>18.03.1991</c:v>
                </c:pt>
                <c:pt idx="8488">
                  <c:v>15.03.1991</c:v>
                </c:pt>
                <c:pt idx="8489">
                  <c:v>14.03.1991</c:v>
                </c:pt>
                <c:pt idx="8490">
                  <c:v>13.03.1991</c:v>
                </c:pt>
                <c:pt idx="8491">
                  <c:v>12.03.1991</c:v>
                </c:pt>
                <c:pt idx="8492">
                  <c:v>11.03.1991</c:v>
                </c:pt>
                <c:pt idx="8493">
                  <c:v>08.03.1991</c:v>
                </c:pt>
                <c:pt idx="8494">
                  <c:v>07.03.1991</c:v>
                </c:pt>
                <c:pt idx="8495">
                  <c:v>06.03.1991</c:v>
                </c:pt>
                <c:pt idx="8496">
                  <c:v>05.03.1991</c:v>
                </c:pt>
                <c:pt idx="8497">
                  <c:v>04.03.1991</c:v>
                </c:pt>
                <c:pt idx="8498">
                  <c:v>01.03.1991</c:v>
                </c:pt>
                <c:pt idx="8499">
                  <c:v>28.02.1991</c:v>
                </c:pt>
                <c:pt idx="8500">
                  <c:v>27.02.1991</c:v>
                </c:pt>
                <c:pt idx="8501">
                  <c:v>26.02.1991</c:v>
                </c:pt>
                <c:pt idx="8502">
                  <c:v>25.02.1991</c:v>
                </c:pt>
                <c:pt idx="8503">
                  <c:v>22.02.1991</c:v>
                </c:pt>
                <c:pt idx="8504">
                  <c:v>21.02.1991</c:v>
                </c:pt>
                <c:pt idx="8505">
                  <c:v>20.02.1991</c:v>
                </c:pt>
                <c:pt idx="8506">
                  <c:v>19.02.1991</c:v>
                </c:pt>
                <c:pt idx="8507">
                  <c:v>15.02.1991</c:v>
                </c:pt>
                <c:pt idx="8508">
                  <c:v>14.02.1991</c:v>
                </c:pt>
                <c:pt idx="8509">
                  <c:v>13.02.1991</c:v>
                </c:pt>
                <c:pt idx="8510">
                  <c:v>12.02.1991</c:v>
                </c:pt>
                <c:pt idx="8511">
                  <c:v>11.02.1991</c:v>
                </c:pt>
                <c:pt idx="8512">
                  <c:v>08.02.1991</c:v>
                </c:pt>
                <c:pt idx="8513">
                  <c:v>07.02.1991</c:v>
                </c:pt>
                <c:pt idx="8514">
                  <c:v>06.02.1991</c:v>
                </c:pt>
                <c:pt idx="8515">
                  <c:v>05.02.1991</c:v>
                </c:pt>
                <c:pt idx="8516">
                  <c:v>04.02.1991</c:v>
                </c:pt>
                <c:pt idx="8517">
                  <c:v>01.02.1991</c:v>
                </c:pt>
                <c:pt idx="8518">
                  <c:v>31.01.1991</c:v>
                </c:pt>
                <c:pt idx="8519">
                  <c:v>30.01.1991</c:v>
                </c:pt>
                <c:pt idx="8520">
                  <c:v>29.01.1991</c:v>
                </c:pt>
                <c:pt idx="8521">
                  <c:v>28.01.1991</c:v>
                </c:pt>
                <c:pt idx="8522">
                  <c:v>25.01.1991</c:v>
                </c:pt>
                <c:pt idx="8523">
                  <c:v>24.01.1991</c:v>
                </c:pt>
                <c:pt idx="8524">
                  <c:v>23.01.1991</c:v>
                </c:pt>
                <c:pt idx="8525">
                  <c:v>22.01.1991</c:v>
                </c:pt>
                <c:pt idx="8526">
                  <c:v>21.01.1991</c:v>
                </c:pt>
                <c:pt idx="8527">
                  <c:v>18.01.1991</c:v>
                </c:pt>
                <c:pt idx="8528">
                  <c:v>17.01.1991</c:v>
                </c:pt>
                <c:pt idx="8529">
                  <c:v>16.01.1991</c:v>
                </c:pt>
                <c:pt idx="8530">
                  <c:v>15.01.1991</c:v>
                </c:pt>
                <c:pt idx="8531">
                  <c:v>14.01.1991</c:v>
                </c:pt>
                <c:pt idx="8532">
                  <c:v>11.01.1991</c:v>
                </c:pt>
                <c:pt idx="8533">
                  <c:v>10.01.1991</c:v>
                </c:pt>
                <c:pt idx="8534">
                  <c:v>09.01.1991</c:v>
                </c:pt>
                <c:pt idx="8535">
                  <c:v>08.01.1991</c:v>
                </c:pt>
                <c:pt idx="8536">
                  <c:v>07.01.1991</c:v>
                </c:pt>
                <c:pt idx="8537">
                  <c:v>04.01.1991</c:v>
                </c:pt>
                <c:pt idx="8538">
                  <c:v>03.01.1991</c:v>
                </c:pt>
                <c:pt idx="8539">
                  <c:v>02.01.1991</c:v>
                </c:pt>
                <c:pt idx="8540">
                  <c:v>31.12.1990</c:v>
                </c:pt>
                <c:pt idx="8541">
                  <c:v>28.12.1990</c:v>
                </c:pt>
                <c:pt idx="8542">
                  <c:v>27.12.1990</c:v>
                </c:pt>
                <c:pt idx="8543">
                  <c:v>26.12.1990</c:v>
                </c:pt>
                <c:pt idx="8544">
                  <c:v>24.12.1990</c:v>
                </c:pt>
                <c:pt idx="8545">
                  <c:v>21.12.1990</c:v>
                </c:pt>
                <c:pt idx="8546">
                  <c:v>20.12.1990</c:v>
                </c:pt>
                <c:pt idx="8547">
                  <c:v>19.12.1990</c:v>
                </c:pt>
                <c:pt idx="8548">
                  <c:v>18.12.1990</c:v>
                </c:pt>
                <c:pt idx="8549">
                  <c:v>17.12.1990</c:v>
                </c:pt>
                <c:pt idx="8550">
                  <c:v>14.12.1990</c:v>
                </c:pt>
                <c:pt idx="8551">
                  <c:v>13.12.1990</c:v>
                </c:pt>
                <c:pt idx="8552">
                  <c:v>12.12.1990</c:v>
                </c:pt>
                <c:pt idx="8553">
                  <c:v>11.12.1990</c:v>
                </c:pt>
                <c:pt idx="8554">
                  <c:v>10.12.1990</c:v>
                </c:pt>
                <c:pt idx="8555">
                  <c:v>07.12.1990</c:v>
                </c:pt>
                <c:pt idx="8556">
                  <c:v>06.12.1990</c:v>
                </c:pt>
                <c:pt idx="8557">
                  <c:v>05.12.1990</c:v>
                </c:pt>
                <c:pt idx="8558">
                  <c:v>04.12.1990</c:v>
                </c:pt>
                <c:pt idx="8559">
                  <c:v>03.12.1990</c:v>
                </c:pt>
                <c:pt idx="8560">
                  <c:v>30.11.1990</c:v>
                </c:pt>
                <c:pt idx="8561">
                  <c:v>29.11.1990</c:v>
                </c:pt>
                <c:pt idx="8562">
                  <c:v>28.11.1990</c:v>
                </c:pt>
                <c:pt idx="8563">
                  <c:v>27.11.1990</c:v>
                </c:pt>
                <c:pt idx="8564">
                  <c:v>26.11.1990</c:v>
                </c:pt>
                <c:pt idx="8565">
                  <c:v>23.11.1990</c:v>
                </c:pt>
                <c:pt idx="8566">
                  <c:v>21.11.1990</c:v>
                </c:pt>
                <c:pt idx="8567">
                  <c:v>20.11.1990</c:v>
                </c:pt>
                <c:pt idx="8568">
                  <c:v>19.11.1990</c:v>
                </c:pt>
                <c:pt idx="8569">
                  <c:v>16.11.1990</c:v>
                </c:pt>
                <c:pt idx="8570">
                  <c:v>15.11.1990</c:v>
                </c:pt>
                <c:pt idx="8571">
                  <c:v>14.11.1990</c:v>
                </c:pt>
                <c:pt idx="8572">
                  <c:v>13.11.1990</c:v>
                </c:pt>
                <c:pt idx="8573">
                  <c:v>12.11.1990</c:v>
                </c:pt>
                <c:pt idx="8574">
                  <c:v>09.11.1990</c:v>
                </c:pt>
                <c:pt idx="8575">
                  <c:v>08.11.1990</c:v>
                </c:pt>
                <c:pt idx="8576">
                  <c:v>07.11.1990</c:v>
                </c:pt>
                <c:pt idx="8577">
                  <c:v>06.11.1990</c:v>
                </c:pt>
                <c:pt idx="8578">
                  <c:v>05.11.1990</c:v>
                </c:pt>
                <c:pt idx="8579">
                  <c:v>02.11.1990</c:v>
                </c:pt>
                <c:pt idx="8580">
                  <c:v>01.11.1990</c:v>
                </c:pt>
                <c:pt idx="8581">
                  <c:v>31.10.1990</c:v>
                </c:pt>
                <c:pt idx="8582">
                  <c:v>30.10.1990</c:v>
                </c:pt>
                <c:pt idx="8583">
                  <c:v>29.10.1990</c:v>
                </c:pt>
                <c:pt idx="8584">
                  <c:v>26.10.1990</c:v>
                </c:pt>
                <c:pt idx="8585">
                  <c:v>25.10.1990</c:v>
                </c:pt>
                <c:pt idx="8586">
                  <c:v>24.10.1990</c:v>
                </c:pt>
                <c:pt idx="8587">
                  <c:v>23.10.1990</c:v>
                </c:pt>
                <c:pt idx="8588">
                  <c:v>22.10.1990</c:v>
                </c:pt>
                <c:pt idx="8589">
                  <c:v>19.10.1990</c:v>
                </c:pt>
                <c:pt idx="8590">
                  <c:v>18.10.1990</c:v>
                </c:pt>
                <c:pt idx="8591">
                  <c:v>17.10.1990</c:v>
                </c:pt>
                <c:pt idx="8592">
                  <c:v>16.10.1990</c:v>
                </c:pt>
                <c:pt idx="8593">
                  <c:v>15.10.1990</c:v>
                </c:pt>
                <c:pt idx="8594">
                  <c:v>12.10.1990</c:v>
                </c:pt>
                <c:pt idx="8595">
                  <c:v>11.10.1990</c:v>
                </c:pt>
                <c:pt idx="8596">
                  <c:v>10.10.1990</c:v>
                </c:pt>
                <c:pt idx="8597">
                  <c:v>09.10.1990</c:v>
                </c:pt>
                <c:pt idx="8598">
                  <c:v>08.10.1990</c:v>
                </c:pt>
                <c:pt idx="8599">
                  <c:v>05.10.1990</c:v>
                </c:pt>
                <c:pt idx="8600">
                  <c:v>04.10.1990</c:v>
                </c:pt>
                <c:pt idx="8601">
                  <c:v>03.10.1990</c:v>
                </c:pt>
                <c:pt idx="8602">
                  <c:v>02.10.1990</c:v>
                </c:pt>
                <c:pt idx="8603">
                  <c:v>01.10.1990</c:v>
                </c:pt>
                <c:pt idx="8604">
                  <c:v>28.09.1990</c:v>
                </c:pt>
                <c:pt idx="8605">
                  <c:v>27.09.1990</c:v>
                </c:pt>
                <c:pt idx="8606">
                  <c:v>26.09.1990</c:v>
                </c:pt>
                <c:pt idx="8607">
                  <c:v>25.09.1990</c:v>
                </c:pt>
                <c:pt idx="8608">
                  <c:v>24.09.1990</c:v>
                </c:pt>
                <c:pt idx="8609">
                  <c:v>21.09.1990</c:v>
                </c:pt>
                <c:pt idx="8610">
                  <c:v>20.09.1990</c:v>
                </c:pt>
                <c:pt idx="8611">
                  <c:v>19.09.1990</c:v>
                </c:pt>
                <c:pt idx="8612">
                  <c:v>18.09.1990</c:v>
                </c:pt>
                <c:pt idx="8613">
                  <c:v>17.09.1990</c:v>
                </c:pt>
                <c:pt idx="8614">
                  <c:v>14.09.1990</c:v>
                </c:pt>
                <c:pt idx="8615">
                  <c:v>13.09.1990</c:v>
                </c:pt>
                <c:pt idx="8616">
                  <c:v>12.09.1990</c:v>
                </c:pt>
                <c:pt idx="8617">
                  <c:v>11.09.1990</c:v>
                </c:pt>
                <c:pt idx="8618">
                  <c:v>10.09.1990</c:v>
                </c:pt>
                <c:pt idx="8619">
                  <c:v>07.09.1990</c:v>
                </c:pt>
                <c:pt idx="8620">
                  <c:v>06.09.1990</c:v>
                </c:pt>
                <c:pt idx="8621">
                  <c:v>05.09.1990</c:v>
                </c:pt>
                <c:pt idx="8622">
                  <c:v>04.09.1990</c:v>
                </c:pt>
                <c:pt idx="8623">
                  <c:v>31.08.1990</c:v>
                </c:pt>
                <c:pt idx="8624">
                  <c:v>30.08.1990</c:v>
                </c:pt>
                <c:pt idx="8625">
                  <c:v>29.08.1990</c:v>
                </c:pt>
                <c:pt idx="8626">
                  <c:v>28.08.1990</c:v>
                </c:pt>
                <c:pt idx="8627">
                  <c:v>27.08.1990</c:v>
                </c:pt>
                <c:pt idx="8628">
                  <c:v>24.08.1990</c:v>
                </c:pt>
                <c:pt idx="8629">
                  <c:v>23.08.1990</c:v>
                </c:pt>
                <c:pt idx="8630">
                  <c:v>22.08.1990</c:v>
                </c:pt>
                <c:pt idx="8631">
                  <c:v>21.08.1990</c:v>
                </c:pt>
                <c:pt idx="8632">
                  <c:v>20.08.1990</c:v>
                </c:pt>
                <c:pt idx="8633">
                  <c:v>17.08.1990</c:v>
                </c:pt>
                <c:pt idx="8634">
                  <c:v>16.08.1990</c:v>
                </c:pt>
                <c:pt idx="8635">
                  <c:v>15.08.1990</c:v>
                </c:pt>
                <c:pt idx="8636">
                  <c:v>14.08.1990</c:v>
                </c:pt>
                <c:pt idx="8637">
                  <c:v>13.08.1990</c:v>
                </c:pt>
                <c:pt idx="8638">
                  <c:v>10.08.1990</c:v>
                </c:pt>
                <c:pt idx="8639">
                  <c:v>09.08.1990</c:v>
                </c:pt>
                <c:pt idx="8640">
                  <c:v>08.08.1990</c:v>
                </c:pt>
                <c:pt idx="8641">
                  <c:v>07.08.1990</c:v>
                </c:pt>
                <c:pt idx="8642">
                  <c:v>06.08.1990</c:v>
                </c:pt>
                <c:pt idx="8643">
                  <c:v>03.08.1990</c:v>
                </c:pt>
                <c:pt idx="8644">
                  <c:v>02.08.1990</c:v>
                </c:pt>
                <c:pt idx="8645">
                  <c:v>01.08.1990</c:v>
                </c:pt>
                <c:pt idx="8646">
                  <c:v>31.07.1990</c:v>
                </c:pt>
                <c:pt idx="8647">
                  <c:v>30.07.1990</c:v>
                </c:pt>
                <c:pt idx="8648">
                  <c:v>27.07.1990</c:v>
                </c:pt>
                <c:pt idx="8649">
                  <c:v>26.07.1990</c:v>
                </c:pt>
                <c:pt idx="8650">
                  <c:v>25.07.1990</c:v>
                </c:pt>
                <c:pt idx="8651">
                  <c:v>24.07.1990</c:v>
                </c:pt>
                <c:pt idx="8652">
                  <c:v>23.07.1990</c:v>
                </c:pt>
                <c:pt idx="8653">
                  <c:v>20.07.1990</c:v>
                </c:pt>
                <c:pt idx="8654">
                  <c:v>19.07.1990</c:v>
                </c:pt>
                <c:pt idx="8655">
                  <c:v>18.07.1990</c:v>
                </c:pt>
                <c:pt idx="8656">
                  <c:v>17.07.1990</c:v>
                </c:pt>
                <c:pt idx="8657">
                  <c:v>16.07.1990</c:v>
                </c:pt>
                <c:pt idx="8658">
                  <c:v>13.07.1990</c:v>
                </c:pt>
                <c:pt idx="8659">
                  <c:v>12.07.1990</c:v>
                </c:pt>
                <c:pt idx="8660">
                  <c:v>11.07.1990</c:v>
                </c:pt>
                <c:pt idx="8661">
                  <c:v>10.07.1990</c:v>
                </c:pt>
                <c:pt idx="8662">
                  <c:v>09.07.1990</c:v>
                </c:pt>
                <c:pt idx="8663">
                  <c:v>06.07.1990</c:v>
                </c:pt>
                <c:pt idx="8664">
                  <c:v>05.07.1990</c:v>
                </c:pt>
                <c:pt idx="8665">
                  <c:v>03.07.1990</c:v>
                </c:pt>
                <c:pt idx="8666">
                  <c:v>02.07.1990</c:v>
                </c:pt>
                <c:pt idx="8667">
                  <c:v>29.06.1990</c:v>
                </c:pt>
                <c:pt idx="8668">
                  <c:v>28.06.1990</c:v>
                </c:pt>
                <c:pt idx="8669">
                  <c:v>27.06.1990</c:v>
                </c:pt>
                <c:pt idx="8670">
                  <c:v>26.06.1990</c:v>
                </c:pt>
                <c:pt idx="8671">
                  <c:v>25.06.1990</c:v>
                </c:pt>
                <c:pt idx="8672">
                  <c:v>22.06.1990</c:v>
                </c:pt>
                <c:pt idx="8673">
                  <c:v>21.06.1990</c:v>
                </c:pt>
                <c:pt idx="8674">
                  <c:v>20.06.1990</c:v>
                </c:pt>
                <c:pt idx="8675">
                  <c:v>19.06.1990</c:v>
                </c:pt>
                <c:pt idx="8676">
                  <c:v>18.06.1990</c:v>
                </c:pt>
                <c:pt idx="8677">
                  <c:v>15.06.1990</c:v>
                </c:pt>
                <c:pt idx="8678">
                  <c:v>14.06.1990</c:v>
                </c:pt>
                <c:pt idx="8679">
                  <c:v>13.06.1990</c:v>
                </c:pt>
                <c:pt idx="8680">
                  <c:v>12.06.1990</c:v>
                </c:pt>
                <c:pt idx="8681">
                  <c:v>11.06.1990</c:v>
                </c:pt>
                <c:pt idx="8682">
                  <c:v>08.06.1990</c:v>
                </c:pt>
                <c:pt idx="8683">
                  <c:v>07.06.1990</c:v>
                </c:pt>
                <c:pt idx="8684">
                  <c:v>06.06.1990</c:v>
                </c:pt>
                <c:pt idx="8685">
                  <c:v>05.06.1990</c:v>
                </c:pt>
                <c:pt idx="8686">
                  <c:v>04.06.1990</c:v>
                </c:pt>
                <c:pt idx="8687">
                  <c:v>01.06.1990</c:v>
                </c:pt>
                <c:pt idx="8688">
                  <c:v>31.05.1990</c:v>
                </c:pt>
                <c:pt idx="8689">
                  <c:v>30.05.1990</c:v>
                </c:pt>
                <c:pt idx="8690">
                  <c:v>29.05.1990</c:v>
                </c:pt>
                <c:pt idx="8691">
                  <c:v>25.05.1990</c:v>
                </c:pt>
                <c:pt idx="8692">
                  <c:v>24.05.1990</c:v>
                </c:pt>
                <c:pt idx="8693">
                  <c:v>23.05.1990</c:v>
                </c:pt>
                <c:pt idx="8694">
                  <c:v>22.05.1990</c:v>
                </c:pt>
                <c:pt idx="8695">
                  <c:v>21.05.1990</c:v>
                </c:pt>
                <c:pt idx="8696">
                  <c:v>18.05.1990</c:v>
                </c:pt>
                <c:pt idx="8697">
                  <c:v>17.05.1990</c:v>
                </c:pt>
                <c:pt idx="8698">
                  <c:v>16.05.1990</c:v>
                </c:pt>
                <c:pt idx="8699">
                  <c:v>15.05.1990</c:v>
                </c:pt>
                <c:pt idx="8700">
                  <c:v>14.05.1990</c:v>
                </c:pt>
                <c:pt idx="8701">
                  <c:v>11.05.1990</c:v>
                </c:pt>
                <c:pt idx="8702">
                  <c:v>10.05.1990</c:v>
                </c:pt>
                <c:pt idx="8703">
                  <c:v>09.05.1990</c:v>
                </c:pt>
                <c:pt idx="8704">
                  <c:v>08.05.1990</c:v>
                </c:pt>
                <c:pt idx="8705">
                  <c:v>07.05.1990</c:v>
                </c:pt>
                <c:pt idx="8706">
                  <c:v>04.05.1990</c:v>
                </c:pt>
                <c:pt idx="8707">
                  <c:v>03.05.1990</c:v>
                </c:pt>
                <c:pt idx="8708">
                  <c:v>02.05.1990</c:v>
                </c:pt>
                <c:pt idx="8709">
                  <c:v>01.05.1990</c:v>
                </c:pt>
                <c:pt idx="8710">
                  <c:v>30.04.1990</c:v>
                </c:pt>
                <c:pt idx="8711">
                  <c:v>27.04.1990</c:v>
                </c:pt>
                <c:pt idx="8712">
                  <c:v>26.04.1990</c:v>
                </c:pt>
                <c:pt idx="8713">
                  <c:v>25.04.1990</c:v>
                </c:pt>
                <c:pt idx="8714">
                  <c:v>24.04.1990</c:v>
                </c:pt>
                <c:pt idx="8715">
                  <c:v>23.04.1990</c:v>
                </c:pt>
                <c:pt idx="8716">
                  <c:v>20.04.1990</c:v>
                </c:pt>
                <c:pt idx="8717">
                  <c:v>19.04.1990</c:v>
                </c:pt>
                <c:pt idx="8718">
                  <c:v>18.04.1990</c:v>
                </c:pt>
                <c:pt idx="8719">
                  <c:v>17.04.1990</c:v>
                </c:pt>
                <c:pt idx="8720">
                  <c:v>16.04.1990</c:v>
                </c:pt>
                <c:pt idx="8721">
                  <c:v>12.04.1990</c:v>
                </c:pt>
                <c:pt idx="8722">
                  <c:v>11.04.1990</c:v>
                </c:pt>
                <c:pt idx="8723">
                  <c:v>10.04.1990</c:v>
                </c:pt>
                <c:pt idx="8724">
                  <c:v>09.04.1990</c:v>
                </c:pt>
                <c:pt idx="8725">
                  <c:v>06.04.1990</c:v>
                </c:pt>
                <c:pt idx="8726">
                  <c:v>05.04.1990</c:v>
                </c:pt>
                <c:pt idx="8727">
                  <c:v>04.04.1990</c:v>
                </c:pt>
                <c:pt idx="8728">
                  <c:v>03.04.1990</c:v>
                </c:pt>
                <c:pt idx="8729">
                  <c:v>02.04.1990</c:v>
                </c:pt>
                <c:pt idx="8730">
                  <c:v>30.03.1990</c:v>
                </c:pt>
                <c:pt idx="8731">
                  <c:v>29.03.1990</c:v>
                </c:pt>
                <c:pt idx="8732">
                  <c:v>28.03.1990</c:v>
                </c:pt>
                <c:pt idx="8733">
                  <c:v>27.03.1990</c:v>
                </c:pt>
                <c:pt idx="8734">
                  <c:v>26.03.1990</c:v>
                </c:pt>
                <c:pt idx="8735">
                  <c:v>23.03.1990</c:v>
                </c:pt>
                <c:pt idx="8736">
                  <c:v>22.03.1990</c:v>
                </c:pt>
                <c:pt idx="8737">
                  <c:v>21.03.1990</c:v>
                </c:pt>
                <c:pt idx="8738">
                  <c:v>20.03.1990</c:v>
                </c:pt>
                <c:pt idx="8739">
                  <c:v>19.03.1990</c:v>
                </c:pt>
                <c:pt idx="8740">
                  <c:v>16.03.1990</c:v>
                </c:pt>
                <c:pt idx="8741">
                  <c:v>15.03.1990</c:v>
                </c:pt>
                <c:pt idx="8742">
                  <c:v>14.03.1990</c:v>
                </c:pt>
                <c:pt idx="8743">
                  <c:v>13.03.1990</c:v>
                </c:pt>
                <c:pt idx="8744">
                  <c:v>12.03.1990</c:v>
                </c:pt>
                <c:pt idx="8745">
                  <c:v>09.03.1990</c:v>
                </c:pt>
                <c:pt idx="8746">
                  <c:v>08.03.1990</c:v>
                </c:pt>
                <c:pt idx="8747">
                  <c:v>07.03.1990</c:v>
                </c:pt>
                <c:pt idx="8748">
                  <c:v>06.03.1990</c:v>
                </c:pt>
                <c:pt idx="8749">
                  <c:v>05.03.1990</c:v>
                </c:pt>
                <c:pt idx="8750">
                  <c:v>02.03.1990</c:v>
                </c:pt>
                <c:pt idx="8751">
                  <c:v>01.03.1990</c:v>
                </c:pt>
                <c:pt idx="8752">
                  <c:v>28.02.1990</c:v>
                </c:pt>
                <c:pt idx="8753">
                  <c:v>27.02.1990</c:v>
                </c:pt>
                <c:pt idx="8754">
                  <c:v>26.02.1990</c:v>
                </c:pt>
                <c:pt idx="8755">
                  <c:v>23.02.1990</c:v>
                </c:pt>
                <c:pt idx="8756">
                  <c:v>22.02.1990</c:v>
                </c:pt>
                <c:pt idx="8757">
                  <c:v>21.02.1990</c:v>
                </c:pt>
                <c:pt idx="8758">
                  <c:v>20.02.1990</c:v>
                </c:pt>
                <c:pt idx="8759">
                  <c:v>16.02.1990</c:v>
                </c:pt>
                <c:pt idx="8760">
                  <c:v>15.02.1990</c:v>
                </c:pt>
                <c:pt idx="8761">
                  <c:v>14.02.1990</c:v>
                </c:pt>
                <c:pt idx="8762">
                  <c:v>13.02.1990</c:v>
                </c:pt>
                <c:pt idx="8763">
                  <c:v>12.02.1990</c:v>
                </c:pt>
                <c:pt idx="8764">
                  <c:v>09.02.1990</c:v>
                </c:pt>
                <c:pt idx="8765">
                  <c:v>08.02.1990</c:v>
                </c:pt>
                <c:pt idx="8766">
                  <c:v>07.02.1990</c:v>
                </c:pt>
                <c:pt idx="8767">
                  <c:v>06.02.1990</c:v>
                </c:pt>
                <c:pt idx="8768">
                  <c:v>05.02.1990</c:v>
                </c:pt>
                <c:pt idx="8769">
                  <c:v>02.02.1990</c:v>
                </c:pt>
                <c:pt idx="8770">
                  <c:v>01.02.1990</c:v>
                </c:pt>
                <c:pt idx="8771">
                  <c:v>31.01.1990</c:v>
                </c:pt>
                <c:pt idx="8772">
                  <c:v>30.01.1990</c:v>
                </c:pt>
                <c:pt idx="8773">
                  <c:v>29.01.1990</c:v>
                </c:pt>
                <c:pt idx="8774">
                  <c:v>26.01.1990</c:v>
                </c:pt>
                <c:pt idx="8775">
                  <c:v>25.01.1990</c:v>
                </c:pt>
                <c:pt idx="8776">
                  <c:v>24.01.1990</c:v>
                </c:pt>
                <c:pt idx="8777">
                  <c:v>23.01.1990</c:v>
                </c:pt>
                <c:pt idx="8778">
                  <c:v>22.01.1990</c:v>
                </c:pt>
                <c:pt idx="8779">
                  <c:v>19.01.1990</c:v>
                </c:pt>
                <c:pt idx="8780">
                  <c:v>18.01.1990</c:v>
                </c:pt>
                <c:pt idx="8781">
                  <c:v>17.01.1990</c:v>
                </c:pt>
                <c:pt idx="8782">
                  <c:v>16.01.1990</c:v>
                </c:pt>
                <c:pt idx="8783">
                  <c:v>15.01.1990</c:v>
                </c:pt>
                <c:pt idx="8784">
                  <c:v>12.01.1990</c:v>
                </c:pt>
                <c:pt idx="8785">
                  <c:v>11.01.1990</c:v>
                </c:pt>
                <c:pt idx="8786">
                  <c:v>10.01.1990</c:v>
                </c:pt>
                <c:pt idx="8787">
                  <c:v>09.01.1990</c:v>
                </c:pt>
                <c:pt idx="8788">
                  <c:v>08.01.1990</c:v>
                </c:pt>
                <c:pt idx="8789">
                  <c:v>05.01.1990</c:v>
                </c:pt>
                <c:pt idx="8790">
                  <c:v>04.01.1990</c:v>
                </c:pt>
                <c:pt idx="8791">
                  <c:v>03.01.1990</c:v>
                </c:pt>
                <c:pt idx="8792">
                  <c:v>02.01.1990</c:v>
                </c:pt>
                <c:pt idx="8793">
                  <c:v>29.12.1989</c:v>
                </c:pt>
                <c:pt idx="8794">
                  <c:v>28.12.1989</c:v>
                </c:pt>
                <c:pt idx="8795">
                  <c:v>27.12.1989</c:v>
                </c:pt>
                <c:pt idx="8796">
                  <c:v>26.12.1989</c:v>
                </c:pt>
                <c:pt idx="8797">
                  <c:v>22.12.1989</c:v>
                </c:pt>
                <c:pt idx="8798">
                  <c:v>21.12.1989</c:v>
                </c:pt>
                <c:pt idx="8799">
                  <c:v>20.12.1989</c:v>
                </c:pt>
                <c:pt idx="8800">
                  <c:v>19.12.1989</c:v>
                </c:pt>
                <c:pt idx="8801">
                  <c:v>18.12.1989</c:v>
                </c:pt>
                <c:pt idx="8802">
                  <c:v>15.12.1989</c:v>
                </c:pt>
                <c:pt idx="8803">
                  <c:v>14.12.1989</c:v>
                </c:pt>
                <c:pt idx="8804">
                  <c:v>13.12.1989</c:v>
                </c:pt>
                <c:pt idx="8805">
                  <c:v>12.12.1989</c:v>
                </c:pt>
                <c:pt idx="8806">
                  <c:v>11.12.1989</c:v>
                </c:pt>
                <c:pt idx="8807">
                  <c:v>08.12.1989</c:v>
                </c:pt>
                <c:pt idx="8808">
                  <c:v>07.12.1989</c:v>
                </c:pt>
                <c:pt idx="8809">
                  <c:v>06.12.1989</c:v>
                </c:pt>
                <c:pt idx="8810">
                  <c:v>05.12.1989</c:v>
                </c:pt>
                <c:pt idx="8811">
                  <c:v>04.12.1989</c:v>
                </c:pt>
                <c:pt idx="8812">
                  <c:v>01.12.1989</c:v>
                </c:pt>
                <c:pt idx="8813">
                  <c:v>30.11.1989</c:v>
                </c:pt>
                <c:pt idx="8814">
                  <c:v>29.11.1989</c:v>
                </c:pt>
                <c:pt idx="8815">
                  <c:v>28.11.1989</c:v>
                </c:pt>
                <c:pt idx="8816">
                  <c:v>27.11.1989</c:v>
                </c:pt>
                <c:pt idx="8817">
                  <c:v>24.11.1989</c:v>
                </c:pt>
                <c:pt idx="8818">
                  <c:v>22.11.1989</c:v>
                </c:pt>
                <c:pt idx="8819">
                  <c:v>21.11.1989</c:v>
                </c:pt>
                <c:pt idx="8820">
                  <c:v>20.11.1989</c:v>
                </c:pt>
                <c:pt idx="8821">
                  <c:v>17.11.1989</c:v>
                </c:pt>
                <c:pt idx="8822">
                  <c:v>16.11.1989</c:v>
                </c:pt>
                <c:pt idx="8823">
                  <c:v>15.11.1989</c:v>
                </c:pt>
                <c:pt idx="8824">
                  <c:v>14.11.1989</c:v>
                </c:pt>
                <c:pt idx="8825">
                  <c:v>13.11.1989</c:v>
                </c:pt>
                <c:pt idx="8826">
                  <c:v>10.11.1989</c:v>
                </c:pt>
                <c:pt idx="8827">
                  <c:v>09.11.1989</c:v>
                </c:pt>
                <c:pt idx="8828">
                  <c:v>08.11.1989</c:v>
                </c:pt>
                <c:pt idx="8829">
                  <c:v>07.11.1989</c:v>
                </c:pt>
                <c:pt idx="8830">
                  <c:v>06.11.1989</c:v>
                </c:pt>
                <c:pt idx="8831">
                  <c:v>03.11.1989</c:v>
                </c:pt>
                <c:pt idx="8832">
                  <c:v>02.11.1989</c:v>
                </c:pt>
                <c:pt idx="8833">
                  <c:v>01.11.1989</c:v>
                </c:pt>
                <c:pt idx="8834">
                  <c:v>31.10.1989</c:v>
                </c:pt>
                <c:pt idx="8835">
                  <c:v>30.10.1989</c:v>
                </c:pt>
                <c:pt idx="8836">
                  <c:v>27.10.1989</c:v>
                </c:pt>
                <c:pt idx="8837">
                  <c:v>26.10.1989</c:v>
                </c:pt>
                <c:pt idx="8838">
                  <c:v>25.10.1989</c:v>
                </c:pt>
                <c:pt idx="8839">
                  <c:v>24.10.1989</c:v>
                </c:pt>
                <c:pt idx="8840">
                  <c:v>23.10.1989</c:v>
                </c:pt>
                <c:pt idx="8841">
                  <c:v>20.10.1989</c:v>
                </c:pt>
                <c:pt idx="8842">
                  <c:v>19.10.1989</c:v>
                </c:pt>
                <c:pt idx="8843">
                  <c:v>18.10.1989</c:v>
                </c:pt>
                <c:pt idx="8844">
                  <c:v>17.10.1989</c:v>
                </c:pt>
                <c:pt idx="8845">
                  <c:v>16.10.1989</c:v>
                </c:pt>
                <c:pt idx="8846">
                  <c:v>13.10.1989</c:v>
                </c:pt>
                <c:pt idx="8847">
                  <c:v>12.10.1989</c:v>
                </c:pt>
                <c:pt idx="8848">
                  <c:v>11.10.1989</c:v>
                </c:pt>
                <c:pt idx="8849">
                  <c:v>10.10.1989</c:v>
                </c:pt>
                <c:pt idx="8850">
                  <c:v>09.10.1989</c:v>
                </c:pt>
                <c:pt idx="8851">
                  <c:v>06.10.1989</c:v>
                </c:pt>
                <c:pt idx="8852">
                  <c:v>05.10.1989</c:v>
                </c:pt>
                <c:pt idx="8853">
                  <c:v>04.10.1989</c:v>
                </c:pt>
                <c:pt idx="8854">
                  <c:v>03.10.1989</c:v>
                </c:pt>
                <c:pt idx="8855">
                  <c:v>02.10.1989</c:v>
                </c:pt>
                <c:pt idx="8856">
                  <c:v>29.09.1989</c:v>
                </c:pt>
                <c:pt idx="8857">
                  <c:v>28.09.1989</c:v>
                </c:pt>
                <c:pt idx="8858">
                  <c:v>27.09.1989</c:v>
                </c:pt>
                <c:pt idx="8859">
                  <c:v>26.09.1989</c:v>
                </c:pt>
                <c:pt idx="8860">
                  <c:v>25.09.1989</c:v>
                </c:pt>
                <c:pt idx="8861">
                  <c:v>22.09.1989</c:v>
                </c:pt>
                <c:pt idx="8862">
                  <c:v>21.09.1989</c:v>
                </c:pt>
                <c:pt idx="8863">
                  <c:v>20.09.1989</c:v>
                </c:pt>
                <c:pt idx="8864">
                  <c:v>19.09.1989</c:v>
                </c:pt>
                <c:pt idx="8865">
                  <c:v>18.09.1989</c:v>
                </c:pt>
                <c:pt idx="8866">
                  <c:v>15.09.1989</c:v>
                </c:pt>
                <c:pt idx="8867">
                  <c:v>14.09.1989</c:v>
                </c:pt>
                <c:pt idx="8868">
                  <c:v>13.09.1989</c:v>
                </c:pt>
                <c:pt idx="8869">
                  <c:v>12.09.1989</c:v>
                </c:pt>
                <c:pt idx="8870">
                  <c:v>11.09.1989</c:v>
                </c:pt>
                <c:pt idx="8871">
                  <c:v>08.09.1989</c:v>
                </c:pt>
                <c:pt idx="8872">
                  <c:v>07.09.1989</c:v>
                </c:pt>
                <c:pt idx="8873">
                  <c:v>06.09.1989</c:v>
                </c:pt>
                <c:pt idx="8874">
                  <c:v>05.09.1989</c:v>
                </c:pt>
                <c:pt idx="8875">
                  <c:v>01.09.1989</c:v>
                </c:pt>
                <c:pt idx="8876">
                  <c:v>31.08.1989</c:v>
                </c:pt>
                <c:pt idx="8877">
                  <c:v>30.08.1989</c:v>
                </c:pt>
                <c:pt idx="8878">
                  <c:v>29.08.1989</c:v>
                </c:pt>
                <c:pt idx="8879">
                  <c:v>28.08.1989</c:v>
                </c:pt>
                <c:pt idx="8880">
                  <c:v>25.08.1989</c:v>
                </c:pt>
                <c:pt idx="8881">
                  <c:v>24.08.1989</c:v>
                </c:pt>
                <c:pt idx="8882">
                  <c:v>23.08.1989</c:v>
                </c:pt>
                <c:pt idx="8883">
                  <c:v>22.08.1989</c:v>
                </c:pt>
                <c:pt idx="8884">
                  <c:v>21.08.1989</c:v>
                </c:pt>
                <c:pt idx="8885">
                  <c:v>18.08.1989</c:v>
                </c:pt>
                <c:pt idx="8886">
                  <c:v>17.08.1989</c:v>
                </c:pt>
                <c:pt idx="8887">
                  <c:v>16.08.1989</c:v>
                </c:pt>
                <c:pt idx="8888">
                  <c:v>15.08.1989</c:v>
                </c:pt>
                <c:pt idx="8889">
                  <c:v>14.08.1989</c:v>
                </c:pt>
                <c:pt idx="8890">
                  <c:v>11.08.1989</c:v>
                </c:pt>
                <c:pt idx="8891">
                  <c:v>10.08.1989</c:v>
                </c:pt>
                <c:pt idx="8892">
                  <c:v>09.08.1989</c:v>
                </c:pt>
                <c:pt idx="8893">
                  <c:v>08.08.1989</c:v>
                </c:pt>
                <c:pt idx="8894">
                  <c:v>07.08.1989</c:v>
                </c:pt>
                <c:pt idx="8895">
                  <c:v>04.08.1989</c:v>
                </c:pt>
                <c:pt idx="8896">
                  <c:v>03.08.1989</c:v>
                </c:pt>
                <c:pt idx="8897">
                  <c:v>02.08.1989</c:v>
                </c:pt>
                <c:pt idx="8898">
                  <c:v>01.08.1989</c:v>
                </c:pt>
                <c:pt idx="8899">
                  <c:v>31.07.1989</c:v>
                </c:pt>
                <c:pt idx="8900">
                  <c:v>28.07.1989</c:v>
                </c:pt>
                <c:pt idx="8901">
                  <c:v>27.07.1989</c:v>
                </c:pt>
                <c:pt idx="8902">
                  <c:v>26.07.1989</c:v>
                </c:pt>
                <c:pt idx="8903">
                  <c:v>25.07.1989</c:v>
                </c:pt>
                <c:pt idx="8904">
                  <c:v>24.07.1989</c:v>
                </c:pt>
                <c:pt idx="8905">
                  <c:v>21.07.1989</c:v>
                </c:pt>
                <c:pt idx="8906">
                  <c:v>20.07.1989</c:v>
                </c:pt>
                <c:pt idx="8907">
                  <c:v>19.07.1989</c:v>
                </c:pt>
                <c:pt idx="8908">
                  <c:v>18.07.1989</c:v>
                </c:pt>
                <c:pt idx="8909">
                  <c:v>17.07.1989</c:v>
                </c:pt>
                <c:pt idx="8910">
                  <c:v>14.07.1989</c:v>
                </c:pt>
                <c:pt idx="8911">
                  <c:v>13.07.1989</c:v>
                </c:pt>
                <c:pt idx="8912">
                  <c:v>12.07.1989</c:v>
                </c:pt>
                <c:pt idx="8913">
                  <c:v>11.07.1989</c:v>
                </c:pt>
                <c:pt idx="8914">
                  <c:v>10.07.1989</c:v>
                </c:pt>
                <c:pt idx="8915">
                  <c:v>07.07.1989</c:v>
                </c:pt>
                <c:pt idx="8916">
                  <c:v>06.07.1989</c:v>
                </c:pt>
                <c:pt idx="8917">
                  <c:v>05.07.1989</c:v>
                </c:pt>
                <c:pt idx="8918">
                  <c:v>03.07.1989</c:v>
                </c:pt>
                <c:pt idx="8919">
                  <c:v>30.06.1989</c:v>
                </c:pt>
                <c:pt idx="8920">
                  <c:v>29.06.1989</c:v>
                </c:pt>
                <c:pt idx="8921">
                  <c:v>28.06.1989</c:v>
                </c:pt>
                <c:pt idx="8922">
                  <c:v>27.06.1989</c:v>
                </c:pt>
                <c:pt idx="8923">
                  <c:v>26.06.1989</c:v>
                </c:pt>
                <c:pt idx="8924">
                  <c:v>23.06.1989</c:v>
                </c:pt>
                <c:pt idx="8925">
                  <c:v>22.06.1989</c:v>
                </c:pt>
                <c:pt idx="8926">
                  <c:v>21.06.1989</c:v>
                </c:pt>
                <c:pt idx="8927">
                  <c:v>20.06.1989</c:v>
                </c:pt>
                <c:pt idx="8928">
                  <c:v>19.06.1989</c:v>
                </c:pt>
                <c:pt idx="8929">
                  <c:v>16.06.1989</c:v>
                </c:pt>
                <c:pt idx="8930">
                  <c:v>15.06.1989</c:v>
                </c:pt>
                <c:pt idx="8931">
                  <c:v>14.06.1989</c:v>
                </c:pt>
                <c:pt idx="8932">
                  <c:v>13.06.1989</c:v>
                </c:pt>
                <c:pt idx="8933">
                  <c:v>12.06.1989</c:v>
                </c:pt>
                <c:pt idx="8934">
                  <c:v>09.06.1989</c:v>
                </c:pt>
                <c:pt idx="8935">
                  <c:v>08.06.1989</c:v>
                </c:pt>
                <c:pt idx="8936">
                  <c:v>07.06.1989</c:v>
                </c:pt>
                <c:pt idx="8937">
                  <c:v>06.06.1989</c:v>
                </c:pt>
                <c:pt idx="8938">
                  <c:v>05.06.1989</c:v>
                </c:pt>
                <c:pt idx="8939">
                  <c:v>02.06.1989</c:v>
                </c:pt>
                <c:pt idx="8940">
                  <c:v>01.06.1989</c:v>
                </c:pt>
                <c:pt idx="8941">
                  <c:v>31.05.1989</c:v>
                </c:pt>
                <c:pt idx="8942">
                  <c:v>30.05.1989</c:v>
                </c:pt>
                <c:pt idx="8943">
                  <c:v>26.05.1989</c:v>
                </c:pt>
                <c:pt idx="8944">
                  <c:v>25.05.1989</c:v>
                </c:pt>
                <c:pt idx="8945">
                  <c:v>24.05.1989</c:v>
                </c:pt>
                <c:pt idx="8946">
                  <c:v>23.05.1989</c:v>
                </c:pt>
                <c:pt idx="8947">
                  <c:v>22.05.1989</c:v>
                </c:pt>
                <c:pt idx="8948">
                  <c:v>19.05.1989</c:v>
                </c:pt>
                <c:pt idx="8949">
                  <c:v>18.05.1989</c:v>
                </c:pt>
                <c:pt idx="8950">
                  <c:v>17.05.1989</c:v>
                </c:pt>
                <c:pt idx="8951">
                  <c:v>16.05.1989</c:v>
                </c:pt>
                <c:pt idx="8952">
                  <c:v>15.05.1989</c:v>
                </c:pt>
                <c:pt idx="8953">
                  <c:v>12.05.1989</c:v>
                </c:pt>
                <c:pt idx="8954">
                  <c:v>11.05.1989</c:v>
                </c:pt>
                <c:pt idx="8955">
                  <c:v>10.05.1989</c:v>
                </c:pt>
                <c:pt idx="8956">
                  <c:v>09.05.1989</c:v>
                </c:pt>
                <c:pt idx="8957">
                  <c:v>08.05.1989</c:v>
                </c:pt>
                <c:pt idx="8958">
                  <c:v>05.05.1989</c:v>
                </c:pt>
                <c:pt idx="8959">
                  <c:v>04.05.1989</c:v>
                </c:pt>
                <c:pt idx="8960">
                  <c:v>03.05.1989</c:v>
                </c:pt>
                <c:pt idx="8961">
                  <c:v>02.05.1989</c:v>
                </c:pt>
                <c:pt idx="8962">
                  <c:v>01.05.1989</c:v>
                </c:pt>
                <c:pt idx="8963">
                  <c:v>28.04.1989</c:v>
                </c:pt>
                <c:pt idx="8964">
                  <c:v>27.04.1989</c:v>
                </c:pt>
                <c:pt idx="8965">
                  <c:v>26.04.1989</c:v>
                </c:pt>
                <c:pt idx="8966">
                  <c:v>25.04.1989</c:v>
                </c:pt>
                <c:pt idx="8967">
                  <c:v>24.04.1989</c:v>
                </c:pt>
                <c:pt idx="8968">
                  <c:v>21.04.1989</c:v>
                </c:pt>
                <c:pt idx="8969">
                  <c:v>20.04.1989</c:v>
                </c:pt>
                <c:pt idx="8970">
                  <c:v>19.04.1989</c:v>
                </c:pt>
                <c:pt idx="8971">
                  <c:v>18.04.1989</c:v>
                </c:pt>
                <c:pt idx="8972">
                  <c:v>17.04.1989</c:v>
                </c:pt>
                <c:pt idx="8973">
                  <c:v>14.04.1989</c:v>
                </c:pt>
                <c:pt idx="8974">
                  <c:v>13.04.1989</c:v>
                </c:pt>
                <c:pt idx="8975">
                  <c:v>12.04.1989</c:v>
                </c:pt>
                <c:pt idx="8976">
                  <c:v>11.04.1989</c:v>
                </c:pt>
                <c:pt idx="8977">
                  <c:v>10.04.1989</c:v>
                </c:pt>
                <c:pt idx="8978">
                  <c:v>07.04.1989</c:v>
                </c:pt>
                <c:pt idx="8979">
                  <c:v>06.04.1989</c:v>
                </c:pt>
                <c:pt idx="8980">
                  <c:v>05.04.1989</c:v>
                </c:pt>
                <c:pt idx="8981">
                  <c:v>04.04.1989</c:v>
                </c:pt>
                <c:pt idx="8982">
                  <c:v>03.04.1989</c:v>
                </c:pt>
                <c:pt idx="8983">
                  <c:v>31.03.1989</c:v>
                </c:pt>
                <c:pt idx="8984">
                  <c:v>30.03.1989</c:v>
                </c:pt>
                <c:pt idx="8985">
                  <c:v>29.03.1989</c:v>
                </c:pt>
                <c:pt idx="8986">
                  <c:v>28.03.1989</c:v>
                </c:pt>
                <c:pt idx="8987">
                  <c:v>27.03.1989</c:v>
                </c:pt>
                <c:pt idx="8988">
                  <c:v>23.03.1989</c:v>
                </c:pt>
                <c:pt idx="8989">
                  <c:v>22.03.1989</c:v>
                </c:pt>
                <c:pt idx="8990">
                  <c:v>21.03.1989</c:v>
                </c:pt>
                <c:pt idx="8991">
                  <c:v>20.03.1989</c:v>
                </c:pt>
                <c:pt idx="8992">
                  <c:v>17.03.1989</c:v>
                </c:pt>
                <c:pt idx="8993">
                  <c:v>16.03.1989</c:v>
                </c:pt>
                <c:pt idx="8994">
                  <c:v>15.03.1989</c:v>
                </c:pt>
                <c:pt idx="8995">
                  <c:v>14.03.1989</c:v>
                </c:pt>
                <c:pt idx="8996">
                  <c:v>13.03.1989</c:v>
                </c:pt>
                <c:pt idx="8997">
                  <c:v>10.03.1989</c:v>
                </c:pt>
                <c:pt idx="8998">
                  <c:v>09.03.1989</c:v>
                </c:pt>
                <c:pt idx="8999">
                  <c:v>08.03.1989</c:v>
                </c:pt>
                <c:pt idx="9000">
                  <c:v>07.03.1989</c:v>
                </c:pt>
                <c:pt idx="9001">
                  <c:v>06.03.1989</c:v>
                </c:pt>
                <c:pt idx="9002">
                  <c:v>03.03.1989</c:v>
                </c:pt>
                <c:pt idx="9003">
                  <c:v>02.03.1989</c:v>
                </c:pt>
                <c:pt idx="9004">
                  <c:v>01.03.1989</c:v>
                </c:pt>
                <c:pt idx="9005">
                  <c:v>28.02.1989</c:v>
                </c:pt>
                <c:pt idx="9006">
                  <c:v>27.02.1989</c:v>
                </c:pt>
                <c:pt idx="9007">
                  <c:v>24.02.1989</c:v>
                </c:pt>
                <c:pt idx="9008">
                  <c:v>23.02.1989</c:v>
                </c:pt>
                <c:pt idx="9009">
                  <c:v>22.02.1989</c:v>
                </c:pt>
                <c:pt idx="9010">
                  <c:v>21.02.1989</c:v>
                </c:pt>
                <c:pt idx="9011">
                  <c:v>17.02.1989</c:v>
                </c:pt>
                <c:pt idx="9012">
                  <c:v>16.02.1989</c:v>
                </c:pt>
                <c:pt idx="9013">
                  <c:v>15.02.1989</c:v>
                </c:pt>
                <c:pt idx="9014">
                  <c:v>14.02.1989</c:v>
                </c:pt>
                <c:pt idx="9015">
                  <c:v>13.02.1989</c:v>
                </c:pt>
                <c:pt idx="9016">
                  <c:v>10.02.1989</c:v>
                </c:pt>
                <c:pt idx="9017">
                  <c:v>09.02.1989</c:v>
                </c:pt>
                <c:pt idx="9018">
                  <c:v>08.02.1989</c:v>
                </c:pt>
                <c:pt idx="9019">
                  <c:v>07.02.1989</c:v>
                </c:pt>
                <c:pt idx="9020">
                  <c:v>06.02.1989</c:v>
                </c:pt>
                <c:pt idx="9021">
                  <c:v>03.02.1989</c:v>
                </c:pt>
                <c:pt idx="9022">
                  <c:v>02.02.1989</c:v>
                </c:pt>
                <c:pt idx="9023">
                  <c:v>01.02.1989</c:v>
                </c:pt>
                <c:pt idx="9024">
                  <c:v>31.01.1989</c:v>
                </c:pt>
                <c:pt idx="9025">
                  <c:v>30.01.1989</c:v>
                </c:pt>
                <c:pt idx="9026">
                  <c:v>27.01.1989</c:v>
                </c:pt>
                <c:pt idx="9027">
                  <c:v>26.01.1989</c:v>
                </c:pt>
                <c:pt idx="9028">
                  <c:v>25.01.1989</c:v>
                </c:pt>
                <c:pt idx="9029">
                  <c:v>24.01.1989</c:v>
                </c:pt>
                <c:pt idx="9030">
                  <c:v>23.01.1989</c:v>
                </c:pt>
                <c:pt idx="9031">
                  <c:v>20.01.1989</c:v>
                </c:pt>
                <c:pt idx="9032">
                  <c:v>19.01.1989</c:v>
                </c:pt>
                <c:pt idx="9033">
                  <c:v>18.01.1989</c:v>
                </c:pt>
                <c:pt idx="9034">
                  <c:v>17.01.1989</c:v>
                </c:pt>
                <c:pt idx="9035">
                  <c:v>16.01.1989</c:v>
                </c:pt>
                <c:pt idx="9036">
                  <c:v>13.01.1989</c:v>
                </c:pt>
                <c:pt idx="9037">
                  <c:v>12.01.1989</c:v>
                </c:pt>
                <c:pt idx="9038">
                  <c:v>11.01.1989</c:v>
                </c:pt>
                <c:pt idx="9039">
                  <c:v>10.01.1989</c:v>
                </c:pt>
                <c:pt idx="9040">
                  <c:v>09.01.1989</c:v>
                </c:pt>
                <c:pt idx="9041">
                  <c:v>06.01.1989</c:v>
                </c:pt>
                <c:pt idx="9042">
                  <c:v>05.01.1989</c:v>
                </c:pt>
                <c:pt idx="9043">
                  <c:v>04.01.1989</c:v>
                </c:pt>
                <c:pt idx="9044">
                  <c:v>03.01.1989</c:v>
                </c:pt>
                <c:pt idx="9045">
                  <c:v>30.12.1988</c:v>
                </c:pt>
                <c:pt idx="9046">
                  <c:v>29.12.1988</c:v>
                </c:pt>
                <c:pt idx="9047">
                  <c:v>28.12.1988</c:v>
                </c:pt>
                <c:pt idx="9048">
                  <c:v>27.12.1988</c:v>
                </c:pt>
                <c:pt idx="9049">
                  <c:v>23.12.1988</c:v>
                </c:pt>
                <c:pt idx="9050">
                  <c:v>22.12.1988</c:v>
                </c:pt>
                <c:pt idx="9051">
                  <c:v>21.12.1988</c:v>
                </c:pt>
                <c:pt idx="9052">
                  <c:v>20.12.1988</c:v>
                </c:pt>
                <c:pt idx="9053">
                  <c:v>19.12.1988</c:v>
                </c:pt>
                <c:pt idx="9054">
                  <c:v>16.12.1988</c:v>
                </c:pt>
                <c:pt idx="9055">
                  <c:v>15.12.1988</c:v>
                </c:pt>
                <c:pt idx="9056">
                  <c:v>14.12.1988</c:v>
                </c:pt>
                <c:pt idx="9057">
                  <c:v>13.12.1988</c:v>
                </c:pt>
                <c:pt idx="9058">
                  <c:v>12.12.1988</c:v>
                </c:pt>
                <c:pt idx="9059">
                  <c:v>09.12.1988</c:v>
                </c:pt>
                <c:pt idx="9060">
                  <c:v>08.12.1988</c:v>
                </c:pt>
                <c:pt idx="9061">
                  <c:v>07.12.1988</c:v>
                </c:pt>
                <c:pt idx="9062">
                  <c:v>06.12.1988</c:v>
                </c:pt>
                <c:pt idx="9063">
                  <c:v>05.12.1988</c:v>
                </c:pt>
                <c:pt idx="9064">
                  <c:v>02.12.1988</c:v>
                </c:pt>
                <c:pt idx="9065">
                  <c:v>01.12.1988</c:v>
                </c:pt>
                <c:pt idx="9066">
                  <c:v>30.11.1988</c:v>
                </c:pt>
                <c:pt idx="9067">
                  <c:v>29.11.1988</c:v>
                </c:pt>
                <c:pt idx="9068">
                  <c:v>28.11.1988</c:v>
                </c:pt>
                <c:pt idx="9069">
                  <c:v>25.11.1988</c:v>
                </c:pt>
                <c:pt idx="9070">
                  <c:v>23.11.1988</c:v>
                </c:pt>
                <c:pt idx="9071">
                  <c:v>22.11.1988</c:v>
                </c:pt>
                <c:pt idx="9072">
                  <c:v>21.11.1988</c:v>
                </c:pt>
                <c:pt idx="9073">
                  <c:v>18.11.1988</c:v>
                </c:pt>
                <c:pt idx="9074">
                  <c:v>17.11.1988</c:v>
                </c:pt>
                <c:pt idx="9075">
                  <c:v>16.11.1988</c:v>
                </c:pt>
                <c:pt idx="9076">
                  <c:v>15.11.1988</c:v>
                </c:pt>
                <c:pt idx="9077">
                  <c:v>14.11.1988</c:v>
                </c:pt>
                <c:pt idx="9078">
                  <c:v>11.11.1988</c:v>
                </c:pt>
                <c:pt idx="9079">
                  <c:v>10.11.1988</c:v>
                </c:pt>
                <c:pt idx="9080">
                  <c:v>09.11.1988</c:v>
                </c:pt>
                <c:pt idx="9081">
                  <c:v>08.11.1988</c:v>
                </c:pt>
                <c:pt idx="9082">
                  <c:v>07.11.1988</c:v>
                </c:pt>
                <c:pt idx="9083">
                  <c:v>04.11.1988</c:v>
                </c:pt>
                <c:pt idx="9084">
                  <c:v>03.11.1988</c:v>
                </c:pt>
                <c:pt idx="9085">
                  <c:v>02.11.1988</c:v>
                </c:pt>
                <c:pt idx="9086">
                  <c:v>01.11.1988</c:v>
                </c:pt>
                <c:pt idx="9087">
                  <c:v>31.10.1988</c:v>
                </c:pt>
                <c:pt idx="9088">
                  <c:v>28.10.1988</c:v>
                </c:pt>
                <c:pt idx="9089">
                  <c:v>27.10.1988</c:v>
                </c:pt>
                <c:pt idx="9090">
                  <c:v>26.10.1988</c:v>
                </c:pt>
                <c:pt idx="9091">
                  <c:v>25.10.1988</c:v>
                </c:pt>
                <c:pt idx="9092">
                  <c:v>24.10.1988</c:v>
                </c:pt>
                <c:pt idx="9093">
                  <c:v>21.10.1988</c:v>
                </c:pt>
                <c:pt idx="9094">
                  <c:v>20.10.1988</c:v>
                </c:pt>
                <c:pt idx="9095">
                  <c:v>19.10.1988</c:v>
                </c:pt>
                <c:pt idx="9096">
                  <c:v>18.10.1988</c:v>
                </c:pt>
                <c:pt idx="9097">
                  <c:v>17.10.1988</c:v>
                </c:pt>
                <c:pt idx="9098">
                  <c:v>14.10.1988</c:v>
                </c:pt>
                <c:pt idx="9099">
                  <c:v>13.10.1988</c:v>
                </c:pt>
                <c:pt idx="9100">
                  <c:v>12.10.1988</c:v>
                </c:pt>
                <c:pt idx="9101">
                  <c:v>11.10.1988</c:v>
                </c:pt>
                <c:pt idx="9102">
                  <c:v>10.10.1988</c:v>
                </c:pt>
                <c:pt idx="9103">
                  <c:v>07.10.1988</c:v>
                </c:pt>
                <c:pt idx="9104">
                  <c:v>06.10.1988</c:v>
                </c:pt>
                <c:pt idx="9105">
                  <c:v>05.10.1988</c:v>
                </c:pt>
                <c:pt idx="9106">
                  <c:v>04.10.1988</c:v>
                </c:pt>
                <c:pt idx="9107">
                  <c:v>03.10.1988</c:v>
                </c:pt>
                <c:pt idx="9108">
                  <c:v>30.09.1988</c:v>
                </c:pt>
                <c:pt idx="9109">
                  <c:v>29.09.1988</c:v>
                </c:pt>
                <c:pt idx="9110">
                  <c:v>28.09.1988</c:v>
                </c:pt>
                <c:pt idx="9111">
                  <c:v>27.09.1988</c:v>
                </c:pt>
                <c:pt idx="9112">
                  <c:v>26.09.1988</c:v>
                </c:pt>
                <c:pt idx="9113">
                  <c:v>23.09.1988</c:v>
                </c:pt>
                <c:pt idx="9114">
                  <c:v>22.09.1988</c:v>
                </c:pt>
                <c:pt idx="9115">
                  <c:v>21.09.1988</c:v>
                </c:pt>
                <c:pt idx="9116">
                  <c:v>20.09.1988</c:v>
                </c:pt>
                <c:pt idx="9117">
                  <c:v>19.09.1988</c:v>
                </c:pt>
                <c:pt idx="9118">
                  <c:v>16.09.1988</c:v>
                </c:pt>
                <c:pt idx="9119">
                  <c:v>15.09.1988</c:v>
                </c:pt>
                <c:pt idx="9120">
                  <c:v>14.09.1988</c:v>
                </c:pt>
                <c:pt idx="9121">
                  <c:v>13.09.1988</c:v>
                </c:pt>
                <c:pt idx="9122">
                  <c:v>12.09.1988</c:v>
                </c:pt>
                <c:pt idx="9123">
                  <c:v>09.09.1988</c:v>
                </c:pt>
                <c:pt idx="9124">
                  <c:v>08.09.1988</c:v>
                </c:pt>
                <c:pt idx="9125">
                  <c:v>07.09.1988</c:v>
                </c:pt>
                <c:pt idx="9126">
                  <c:v>06.09.1988</c:v>
                </c:pt>
                <c:pt idx="9127">
                  <c:v>02.09.1988</c:v>
                </c:pt>
                <c:pt idx="9128">
                  <c:v>01.09.1988</c:v>
                </c:pt>
                <c:pt idx="9129">
                  <c:v>31.08.1988</c:v>
                </c:pt>
                <c:pt idx="9130">
                  <c:v>30.08.1988</c:v>
                </c:pt>
                <c:pt idx="9131">
                  <c:v>29.08.1988</c:v>
                </c:pt>
                <c:pt idx="9132">
                  <c:v>26.08.1988</c:v>
                </c:pt>
                <c:pt idx="9133">
                  <c:v>25.08.1988</c:v>
                </c:pt>
                <c:pt idx="9134">
                  <c:v>24.08.1988</c:v>
                </c:pt>
                <c:pt idx="9135">
                  <c:v>23.08.1988</c:v>
                </c:pt>
                <c:pt idx="9136">
                  <c:v>22.08.1988</c:v>
                </c:pt>
                <c:pt idx="9137">
                  <c:v>19.08.1988</c:v>
                </c:pt>
                <c:pt idx="9138">
                  <c:v>18.08.1988</c:v>
                </c:pt>
                <c:pt idx="9139">
                  <c:v>17.08.1988</c:v>
                </c:pt>
                <c:pt idx="9140">
                  <c:v>16.08.1988</c:v>
                </c:pt>
                <c:pt idx="9141">
                  <c:v>15.08.1988</c:v>
                </c:pt>
                <c:pt idx="9142">
                  <c:v>12.08.1988</c:v>
                </c:pt>
                <c:pt idx="9143">
                  <c:v>11.08.1988</c:v>
                </c:pt>
                <c:pt idx="9144">
                  <c:v>10.08.1988</c:v>
                </c:pt>
                <c:pt idx="9145">
                  <c:v>09.08.1988</c:v>
                </c:pt>
                <c:pt idx="9146">
                  <c:v>08.08.1988</c:v>
                </c:pt>
                <c:pt idx="9147">
                  <c:v>05.08.1988</c:v>
                </c:pt>
                <c:pt idx="9148">
                  <c:v>04.08.1988</c:v>
                </c:pt>
                <c:pt idx="9149">
                  <c:v>03.08.1988</c:v>
                </c:pt>
                <c:pt idx="9150">
                  <c:v>02.08.1988</c:v>
                </c:pt>
                <c:pt idx="9151">
                  <c:v>01.08.1988</c:v>
                </c:pt>
                <c:pt idx="9152">
                  <c:v>29.07.1988</c:v>
                </c:pt>
                <c:pt idx="9153">
                  <c:v>28.07.1988</c:v>
                </c:pt>
                <c:pt idx="9154">
                  <c:v>27.07.1988</c:v>
                </c:pt>
                <c:pt idx="9155">
                  <c:v>26.07.1988</c:v>
                </c:pt>
                <c:pt idx="9156">
                  <c:v>25.07.1988</c:v>
                </c:pt>
                <c:pt idx="9157">
                  <c:v>22.07.1988</c:v>
                </c:pt>
                <c:pt idx="9158">
                  <c:v>21.07.1988</c:v>
                </c:pt>
                <c:pt idx="9159">
                  <c:v>20.07.1988</c:v>
                </c:pt>
                <c:pt idx="9160">
                  <c:v>19.07.1988</c:v>
                </c:pt>
                <c:pt idx="9161">
                  <c:v>18.07.1988</c:v>
                </c:pt>
                <c:pt idx="9162">
                  <c:v>15.07.1988</c:v>
                </c:pt>
                <c:pt idx="9163">
                  <c:v>14.07.1988</c:v>
                </c:pt>
                <c:pt idx="9164">
                  <c:v>13.07.1988</c:v>
                </c:pt>
                <c:pt idx="9165">
                  <c:v>12.07.1988</c:v>
                </c:pt>
                <c:pt idx="9166">
                  <c:v>11.07.1988</c:v>
                </c:pt>
                <c:pt idx="9167">
                  <c:v>08.07.1988</c:v>
                </c:pt>
                <c:pt idx="9168">
                  <c:v>07.07.1988</c:v>
                </c:pt>
                <c:pt idx="9169">
                  <c:v>06.07.1988</c:v>
                </c:pt>
                <c:pt idx="9170">
                  <c:v>05.07.1988</c:v>
                </c:pt>
                <c:pt idx="9171">
                  <c:v>01.07.1988</c:v>
                </c:pt>
                <c:pt idx="9172">
                  <c:v>30.06.1988</c:v>
                </c:pt>
                <c:pt idx="9173">
                  <c:v>29.06.1988</c:v>
                </c:pt>
                <c:pt idx="9174">
                  <c:v>28.06.1988</c:v>
                </c:pt>
                <c:pt idx="9175">
                  <c:v>27.06.1988</c:v>
                </c:pt>
                <c:pt idx="9176">
                  <c:v>24.06.1988</c:v>
                </c:pt>
                <c:pt idx="9177">
                  <c:v>23.06.1988</c:v>
                </c:pt>
                <c:pt idx="9178">
                  <c:v>22.06.1988</c:v>
                </c:pt>
                <c:pt idx="9179">
                  <c:v>21.06.1988</c:v>
                </c:pt>
                <c:pt idx="9180">
                  <c:v>20.06.1988</c:v>
                </c:pt>
                <c:pt idx="9181">
                  <c:v>17.06.1988</c:v>
                </c:pt>
                <c:pt idx="9182">
                  <c:v>16.06.1988</c:v>
                </c:pt>
                <c:pt idx="9183">
                  <c:v>15.06.1988</c:v>
                </c:pt>
                <c:pt idx="9184">
                  <c:v>14.06.1988</c:v>
                </c:pt>
                <c:pt idx="9185">
                  <c:v>13.06.1988</c:v>
                </c:pt>
                <c:pt idx="9186">
                  <c:v>10.06.1988</c:v>
                </c:pt>
                <c:pt idx="9187">
                  <c:v>09.06.1988</c:v>
                </c:pt>
                <c:pt idx="9188">
                  <c:v>08.06.1988</c:v>
                </c:pt>
                <c:pt idx="9189">
                  <c:v>07.06.1988</c:v>
                </c:pt>
                <c:pt idx="9190">
                  <c:v>06.06.1988</c:v>
                </c:pt>
                <c:pt idx="9191">
                  <c:v>03.06.1988</c:v>
                </c:pt>
                <c:pt idx="9192">
                  <c:v>02.06.1988</c:v>
                </c:pt>
                <c:pt idx="9193">
                  <c:v>01.06.1988</c:v>
                </c:pt>
                <c:pt idx="9194">
                  <c:v>31.05.1988</c:v>
                </c:pt>
                <c:pt idx="9195">
                  <c:v>27.05.1988</c:v>
                </c:pt>
                <c:pt idx="9196">
                  <c:v>26.05.1988</c:v>
                </c:pt>
                <c:pt idx="9197">
                  <c:v>25.05.1988</c:v>
                </c:pt>
                <c:pt idx="9198">
                  <c:v>24.05.1988</c:v>
                </c:pt>
                <c:pt idx="9199">
                  <c:v>23.05.1988</c:v>
                </c:pt>
                <c:pt idx="9200">
                  <c:v>20.05.1988</c:v>
                </c:pt>
                <c:pt idx="9201">
                  <c:v>19.05.1988</c:v>
                </c:pt>
                <c:pt idx="9202">
                  <c:v>18.05.1988</c:v>
                </c:pt>
                <c:pt idx="9203">
                  <c:v>17.05.1988</c:v>
                </c:pt>
                <c:pt idx="9204">
                  <c:v>16.05.1988</c:v>
                </c:pt>
                <c:pt idx="9205">
                  <c:v>13.05.1988</c:v>
                </c:pt>
                <c:pt idx="9206">
                  <c:v>12.05.1988</c:v>
                </c:pt>
                <c:pt idx="9207">
                  <c:v>11.05.1988</c:v>
                </c:pt>
                <c:pt idx="9208">
                  <c:v>10.05.1988</c:v>
                </c:pt>
                <c:pt idx="9209">
                  <c:v>09.05.1988</c:v>
                </c:pt>
                <c:pt idx="9210">
                  <c:v>06.05.1988</c:v>
                </c:pt>
                <c:pt idx="9211">
                  <c:v>05.05.1988</c:v>
                </c:pt>
                <c:pt idx="9212">
                  <c:v>04.05.1988</c:v>
                </c:pt>
                <c:pt idx="9213">
                  <c:v>03.05.1988</c:v>
                </c:pt>
                <c:pt idx="9214">
                  <c:v>02.05.1988</c:v>
                </c:pt>
                <c:pt idx="9215">
                  <c:v>29.04.1988</c:v>
                </c:pt>
                <c:pt idx="9216">
                  <c:v>28.04.1988</c:v>
                </c:pt>
                <c:pt idx="9217">
                  <c:v>27.04.1988</c:v>
                </c:pt>
                <c:pt idx="9218">
                  <c:v>26.04.1988</c:v>
                </c:pt>
                <c:pt idx="9219">
                  <c:v>25.04.1988</c:v>
                </c:pt>
                <c:pt idx="9220">
                  <c:v>22.04.1988</c:v>
                </c:pt>
                <c:pt idx="9221">
                  <c:v>21.04.1988</c:v>
                </c:pt>
                <c:pt idx="9222">
                  <c:v>20.04.1988</c:v>
                </c:pt>
                <c:pt idx="9223">
                  <c:v>19.04.1988</c:v>
                </c:pt>
                <c:pt idx="9224">
                  <c:v>18.04.1988</c:v>
                </c:pt>
                <c:pt idx="9225">
                  <c:v>15.04.1988</c:v>
                </c:pt>
                <c:pt idx="9226">
                  <c:v>14.04.1988</c:v>
                </c:pt>
                <c:pt idx="9227">
                  <c:v>13.04.1988</c:v>
                </c:pt>
                <c:pt idx="9228">
                  <c:v>12.04.1988</c:v>
                </c:pt>
                <c:pt idx="9229">
                  <c:v>11.04.1988</c:v>
                </c:pt>
                <c:pt idx="9230">
                  <c:v>08.04.1988</c:v>
                </c:pt>
                <c:pt idx="9231">
                  <c:v>07.04.1988</c:v>
                </c:pt>
                <c:pt idx="9232">
                  <c:v>06.04.1988</c:v>
                </c:pt>
                <c:pt idx="9233">
                  <c:v>05.04.1988</c:v>
                </c:pt>
                <c:pt idx="9234">
                  <c:v>04.04.1988</c:v>
                </c:pt>
                <c:pt idx="9235">
                  <c:v>31.03.1988</c:v>
                </c:pt>
                <c:pt idx="9236">
                  <c:v>30.03.1988</c:v>
                </c:pt>
                <c:pt idx="9237">
                  <c:v>29.03.1988</c:v>
                </c:pt>
                <c:pt idx="9238">
                  <c:v>28.03.1988</c:v>
                </c:pt>
                <c:pt idx="9239">
                  <c:v>25.03.1988</c:v>
                </c:pt>
                <c:pt idx="9240">
                  <c:v>24.03.1988</c:v>
                </c:pt>
                <c:pt idx="9241">
                  <c:v>23.03.1988</c:v>
                </c:pt>
                <c:pt idx="9242">
                  <c:v>22.03.1988</c:v>
                </c:pt>
                <c:pt idx="9243">
                  <c:v>21.03.1988</c:v>
                </c:pt>
                <c:pt idx="9244">
                  <c:v>18.03.1988</c:v>
                </c:pt>
                <c:pt idx="9245">
                  <c:v>17.03.1988</c:v>
                </c:pt>
                <c:pt idx="9246">
                  <c:v>16.03.1988</c:v>
                </c:pt>
                <c:pt idx="9247">
                  <c:v>15.03.1988</c:v>
                </c:pt>
                <c:pt idx="9248">
                  <c:v>14.03.1988</c:v>
                </c:pt>
                <c:pt idx="9249">
                  <c:v>11.03.1988</c:v>
                </c:pt>
                <c:pt idx="9250">
                  <c:v>10.03.1988</c:v>
                </c:pt>
                <c:pt idx="9251">
                  <c:v>09.03.1988</c:v>
                </c:pt>
                <c:pt idx="9252">
                  <c:v>08.03.1988</c:v>
                </c:pt>
                <c:pt idx="9253">
                  <c:v>07.03.1988</c:v>
                </c:pt>
                <c:pt idx="9254">
                  <c:v>04.03.1988</c:v>
                </c:pt>
                <c:pt idx="9255">
                  <c:v>03.03.1988</c:v>
                </c:pt>
                <c:pt idx="9256">
                  <c:v>02.03.1988</c:v>
                </c:pt>
                <c:pt idx="9257">
                  <c:v>01.03.1988</c:v>
                </c:pt>
                <c:pt idx="9258">
                  <c:v>29.02.1988</c:v>
                </c:pt>
                <c:pt idx="9259">
                  <c:v>26.02.1988</c:v>
                </c:pt>
                <c:pt idx="9260">
                  <c:v>25.02.1988</c:v>
                </c:pt>
                <c:pt idx="9261">
                  <c:v>24.02.1988</c:v>
                </c:pt>
                <c:pt idx="9262">
                  <c:v>23.02.1988</c:v>
                </c:pt>
                <c:pt idx="9263">
                  <c:v>22.02.1988</c:v>
                </c:pt>
                <c:pt idx="9264">
                  <c:v>19.02.1988</c:v>
                </c:pt>
                <c:pt idx="9265">
                  <c:v>18.02.1988</c:v>
                </c:pt>
                <c:pt idx="9266">
                  <c:v>17.02.1988</c:v>
                </c:pt>
                <c:pt idx="9267">
                  <c:v>16.02.1988</c:v>
                </c:pt>
                <c:pt idx="9268">
                  <c:v>12.02.1988</c:v>
                </c:pt>
                <c:pt idx="9269">
                  <c:v>11.02.1988</c:v>
                </c:pt>
                <c:pt idx="9270">
                  <c:v>10.02.1988</c:v>
                </c:pt>
                <c:pt idx="9271">
                  <c:v>09.02.1988</c:v>
                </c:pt>
                <c:pt idx="9272">
                  <c:v>08.02.1988</c:v>
                </c:pt>
                <c:pt idx="9273">
                  <c:v>05.02.1988</c:v>
                </c:pt>
                <c:pt idx="9274">
                  <c:v>04.02.1988</c:v>
                </c:pt>
                <c:pt idx="9275">
                  <c:v>03.02.1988</c:v>
                </c:pt>
                <c:pt idx="9276">
                  <c:v>02.02.1988</c:v>
                </c:pt>
                <c:pt idx="9277">
                  <c:v>01.02.1988</c:v>
                </c:pt>
                <c:pt idx="9278">
                  <c:v>29.01.1988</c:v>
                </c:pt>
                <c:pt idx="9279">
                  <c:v>28.01.1988</c:v>
                </c:pt>
                <c:pt idx="9280">
                  <c:v>27.01.1988</c:v>
                </c:pt>
                <c:pt idx="9281">
                  <c:v>26.01.1988</c:v>
                </c:pt>
                <c:pt idx="9282">
                  <c:v>25.01.1988</c:v>
                </c:pt>
                <c:pt idx="9283">
                  <c:v>22.01.1988</c:v>
                </c:pt>
                <c:pt idx="9284">
                  <c:v>21.01.1988</c:v>
                </c:pt>
                <c:pt idx="9285">
                  <c:v>20.01.1988</c:v>
                </c:pt>
                <c:pt idx="9286">
                  <c:v>19.01.1988</c:v>
                </c:pt>
                <c:pt idx="9287">
                  <c:v>18.01.1988</c:v>
                </c:pt>
                <c:pt idx="9288">
                  <c:v>15.01.1988</c:v>
                </c:pt>
                <c:pt idx="9289">
                  <c:v>14.01.1988</c:v>
                </c:pt>
                <c:pt idx="9290">
                  <c:v>13.01.1988</c:v>
                </c:pt>
                <c:pt idx="9291">
                  <c:v>12.01.1988</c:v>
                </c:pt>
                <c:pt idx="9292">
                  <c:v>11.01.1988</c:v>
                </c:pt>
                <c:pt idx="9293">
                  <c:v>08.01.1988</c:v>
                </c:pt>
                <c:pt idx="9294">
                  <c:v>07.01.1988</c:v>
                </c:pt>
                <c:pt idx="9295">
                  <c:v>06.01.1988</c:v>
                </c:pt>
                <c:pt idx="9296">
                  <c:v>05.01.1988</c:v>
                </c:pt>
                <c:pt idx="9297">
                  <c:v>04.01.1988</c:v>
                </c:pt>
                <c:pt idx="9298">
                  <c:v>31.12.1987</c:v>
                </c:pt>
                <c:pt idx="9299">
                  <c:v>30.12.1987</c:v>
                </c:pt>
                <c:pt idx="9300">
                  <c:v>29.12.1987</c:v>
                </c:pt>
                <c:pt idx="9301">
                  <c:v>28.12.1987</c:v>
                </c:pt>
                <c:pt idx="9302">
                  <c:v>24.12.1987</c:v>
                </c:pt>
                <c:pt idx="9303">
                  <c:v>23.12.1987</c:v>
                </c:pt>
                <c:pt idx="9304">
                  <c:v>22.12.1987</c:v>
                </c:pt>
                <c:pt idx="9305">
                  <c:v>21.12.1987</c:v>
                </c:pt>
                <c:pt idx="9306">
                  <c:v>18.12.1987</c:v>
                </c:pt>
                <c:pt idx="9307">
                  <c:v>17.12.1987</c:v>
                </c:pt>
                <c:pt idx="9308">
                  <c:v>16.12.1987</c:v>
                </c:pt>
                <c:pt idx="9309">
                  <c:v>15.12.1987</c:v>
                </c:pt>
                <c:pt idx="9310">
                  <c:v>14.12.1987</c:v>
                </c:pt>
                <c:pt idx="9311">
                  <c:v>11.12.1987</c:v>
                </c:pt>
                <c:pt idx="9312">
                  <c:v>10.12.1987</c:v>
                </c:pt>
                <c:pt idx="9313">
                  <c:v>09.12.1987</c:v>
                </c:pt>
                <c:pt idx="9314">
                  <c:v>08.12.1987</c:v>
                </c:pt>
                <c:pt idx="9315">
                  <c:v>07.12.1987</c:v>
                </c:pt>
                <c:pt idx="9316">
                  <c:v>04.12.1987</c:v>
                </c:pt>
                <c:pt idx="9317">
                  <c:v>03.12.1987</c:v>
                </c:pt>
                <c:pt idx="9318">
                  <c:v>02.12.1987</c:v>
                </c:pt>
                <c:pt idx="9319">
                  <c:v>01.12.1987</c:v>
                </c:pt>
                <c:pt idx="9320">
                  <c:v>30.11.1987</c:v>
                </c:pt>
                <c:pt idx="9321">
                  <c:v>27.11.1987</c:v>
                </c:pt>
                <c:pt idx="9322">
                  <c:v>25.11.1987</c:v>
                </c:pt>
                <c:pt idx="9323">
                  <c:v>24.11.1987</c:v>
                </c:pt>
                <c:pt idx="9324">
                  <c:v>23.11.1987</c:v>
                </c:pt>
                <c:pt idx="9325">
                  <c:v>20.11.1987</c:v>
                </c:pt>
                <c:pt idx="9326">
                  <c:v>19.11.1987</c:v>
                </c:pt>
                <c:pt idx="9327">
                  <c:v>18.11.1987</c:v>
                </c:pt>
                <c:pt idx="9328">
                  <c:v>17.11.1987</c:v>
                </c:pt>
                <c:pt idx="9329">
                  <c:v>16.11.1987</c:v>
                </c:pt>
                <c:pt idx="9330">
                  <c:v>13.11.1987</c:v>
                </c:pt>
                <c:pt idx="9331">
                  <c:v>12.11.1987</c:v>
                </c:pt>
                <c:pt idx="9332">
                  <c:v>11.11.1987</c:v>
                </c:pt>
                <c:pt idx="9333">
                  <c:v>10.11.1987</c:v>
                </c:pt>
                <c:pt idx="9334">
                  <c:v>09.11.1987</c:v>
                </c:pt>
                <c:pt idx="9335">
                  <c:v>06.11.1987</c:v>
                </c:pt>
                <c:pt idx="9336">
                  <c:v>05.11.1987</c:v>
                </c:pt>
                <c:pt idx="9337">
                  <c:v>04.11.1987</c:v>
                </c:pt>
                <c:pt idx="9338">
                  <c:v>03.11.1987</c:v>
                </c:pt>
                <c:pt idx="9339">
                  <c:v>02.11.1987</c:v>
                </c:pt>
                <c:pt idx="9340">
                  <c:v>30.10.1987</c:v>
                </c:pt>
                <c:pt idx="9341">
                  <c:v>29.10.1987</c:v>
                </c:pt>
                <c:pt idx="9342">
                  <c:v>28.10.1987</c:v>
                </c:pt>
                <c:pt idx="9343">
                  <c:v>27.10.1987</c:v>
                </c:pt>
                <c:pt idx="9344">
                  <c:v>26.10.1987</c:v>
                </c:pt>
                <c:pt idx="9345">
                  <c:v>23.10.1987</c:v>
                </c:pt>
                <c:pt idx="9346">
                  <c:v>22.10.1987</c:v>
                </c:pt>
                <c:pt idx="9347">
                  <c:v>21.10.1987</c:v>
                </c:pt>
                <c:pt idx="9348">
                  <c:v>20.10.1987</c:v>
                </c:pt>
                <c:pt idx="9349">
                  <c:v>19.10.1987</c:v>
                </c:pt>
                <c:pt idx="9350">
                  <c:v>16.10.1987</c:v>
                </c:pt>
                <c:pt idx="9351">
                  <c:v>15.10.1987</c:v>
                </c:pt>
                <c:pt idx="9352">
                  <c:v>14.10.1987</c:v>
                </c:pt>
                <c:pt idx="9353">
                  <c:v>13.10.1987</c:v>
                </c:pt>
                <c:pt idx="9354">
                  <c:v>12.10.1987</c:v>
                </c:pt>
                <c:pt idx="9355">
                  <c:v>09.10.1987</c:v>
                </c:pt>
                <c:pt idx="9356">
                  <c:v>08.10.1987</c:v>
                </c:pt>
                <c:pt idx="9357">
                  <c:v>07.10.1987</c:v>
                </c:pt>
                <c:pt idx="9358">
                  <c:v>06.10.1987</c:v>
                </c:pt>
                <c:pt idx="9359">
                  <c:v>05.10.1987</c:v>
                </c:pt>
                <c:pt idx="9360">
                  <c:v>02.10.1987</c:v>
                </c:pt>
                <c:pt idx="9361">
                  <c:v>01.10.1987</c:v>
                </c:pt>
                <c:pt idx="9362">
                  <c:v>30.09.1987</c:v>
                </c:pt>
                <c:pt idx="9363">
                  <c:v>29.09.1987</c:v>
                </c:pt>
                <c:pt idx="9364">
                  <c:v>28.09.1987</c:v>
                </c:pt>
                <c:pt idx="9365">
                  <c:v>25.09.1987</c:v>
                </c:pt>
                <c:pt idx="9366">
                  <c:v>24.09.1987</c:v>
                </c:pt>
                <c:pt idx="9367">
                  <c:v>23.09.1987</c:v>
                </c:pt>
                <c:pt idx="9368">
                  <c:v>22.09.1987</c:v>
                </c:pt>
                <c:pt idx="9369">
                  <c:v>21.09.1987</c:v>
                </c:pt>
                <c:pt idx="9370">
                  <c:v>18.09.1987</c:v>
                </c:pt>
                <c:pt idx="9371">
                  <c:v>17.09.1987</c:v>
                </c:pt>
                <c:pt idx="9372">
                  <c:v>16.09.1987</c:v>
                </c:pt>
                <c:pt idx="9373">
                  <c:v>15.09.1987</c:v>
                </c:pt>
                <c:pt idx="9374">
                  <c:v>14.09.1987</c:v>
                </c:pt>
                <c:pt idx="9375">
                  <c:v>11.09.1987</c:v>
                </c:pt>
                <c:pt idx="9376">
                  <c:v>10.09.1987</c:v>
                </c:pt>
                <c:pt idx="9377">
                  <c:v>09.09.1987</c:v>
                </c:pt>
                <c:pt idx="9378">
                  <c:v>08.09.1987</c:v>
                </c:pt>
                <c:pt idx="9379">
                  <c:v>04.09.1987</c:v>
                </c:pt>
                <c:pt idx="9380">
                  <c:v>03.09.1987</c:v>
                </c:pt>
                <c:pt idx="9381">
                  <c:v>02.09.1987</c:v>
                </c:pt>
                <c:pt idx="9382">
                  <c:v>01.09.1987</c:v>
                </c:pt>
                <c:pt idx="9383">
                  <c:v>31.08.1987</c:v>
                </c:pt>
                <c:pt idx="9384">
                  <c:v>28.08.1987</c:v>
                </c:pt>
                <c:pt idx="9385">
                  <c:v>27.08.1987</c:v>
                </c:pt>
                <c:pt idx="9386">
                  <c:v>26.08.1987</c:v>
                </c:pt>
                <c:pt idx="9387">
                  <c:v>25.08.1987</c:v>
                </c:pt>
                <c:pt idx="9388">
                  <c:v>24.08.1987</c:v>
                </c:pt>
                <c:pt idx="9389">
                  <c:v>21.08.1987</c:v>
                </c:pt>
                <c:pt idx="9390">
                  <c:v>20.08.1987</c:v>
                </c:pt>
                <c:pt idx="9391">
                  <c:v>19.08.1987</c:v>
                </c:pt>
                <c:pt idx="9392">
                  <c:v>18.08.1987</c:v>
                </c:pt>
                <c:pt idx="9393">
                  <c:v>17.08.1987</c:v>
                </c:pt>
                <c:pt idx="9394">
                  <c:v>14.08.1987</c:v>
                </c:pt>
                <c:pt idx="9395">
                  <c:v>13.08.1987</c:v>
                </c:pt>
                <c:pt idx="9396">
                  <c:v>12.08.1987</c:v>
                </c:pt>
                <c:pt idx="9397">
                  <c:v>11.08.1987</c:v>
                </c:pt>
                <c:pt idx="9398">
                  <c:v>10.08.1987</c:v>
                </c:pt>
                <c:pt idx="9399">
                  <c:v>07.08.1987</c:v>
                </c:pt>
                <c:pt idx="9400">
                  <c:v>06.08.1987</c:v>
                </c:pt>
                <c:pt idx="9401">
                  <c:v>05.08.1987</c:v>
                </c:pt>
                <c:pt idx="9402">
                  <c:v>04.08.1987</c:v>
                </c:pt>
                <c:pt idx="9403">
                  <c:v>03.08.1987</c:v>
                </c:pt>
                <c:pt idx="9404">
                  <c:v>31.07.1987</c:v>
                </c:pt>
                <c:pt idx="9405">
                  <c:v>30.07.1987</c:v>
                </c:pt>
                <c:pt idx="9406">
                  <c:v>29.07.1987</c:v>
                </c:pt>
                <c:pt idx="9407">
                  <c:v>28.07.1987</c:v>
                </c:pt>
                <c:pt idx="9408">
                  <c:v>27.07.1987</c:v>
                </c:pt>
                <c:pt idx="9409">
                  <c:v>24.07.1987</c:v>
                </c:pt>
                <c:pt idx="9410">
                  <c:v>23.07.1987</c:v>
                </c:pt>
                <c:pt idx="9411">
                  <c:v>22.07.1987</c:v>
                </c:pt>
                <c:pt idx="9412">
                  <c:v>21.07.1987</c:v>
                </c:pt>
                <c:pt idx="9413">
                  <c:v>20.07.1987</c:v>
                </c:pt>
                <c:pt idx="9414">
                  <c:v>17.07.1987</c:v>
                </c:pt>
                <c:pt idx="9415">
                  <c:v>16.07.1987</c:v>
                </c:pt>
                <c:pt idx="9416">
                  <c:v>15.07.1987</c:v>
                </c:pt>
                <c:pt idx="9417">
                  <c:v>14.07.1987</c:v>
                </c:pt>
                <c:pt idx="9418">
                  <c:v>13.07.1987</c:v>
                </c:pt>
                <c:pt idx="9419">
                  <c:v>10.07.1987</c:v>
                </c:pt>
                <c:pt idx="9420">
                  <c:v>09.07.1987</c:v>
                </c:pt>
                <c:pt idx="9421">
                  <c:v>08.07.1987</c:v>
                </c:pt>
                <c:pt idx="9422">
                  <c:v>07.07.1987</c:v>
                </c:pt>
                <c:pt idx="9423">
                  <c:v>06.07.1987</c:v>
                </c:pt>
                <c:pt idx="9424">
                  <c:v>02.07.1987</c:v>
                </c:pt>
                <c:pt idx="9425">
                  <c:v>01.07.1987</c:v>
                </c:pt>
                <c:pt idx="9426">
                  <c:v>30.06.1987</c:v>
                </c:pt>
                <c:pt idx="9427">
                  <c:v>29.06.1987</c:v>
                </c:pt>
                <c:pt idx="9428">
                  <c:v>26.06.1987</c:v>
                </c:pt>
                <c:pt idx="9429">
                  <c:v>25.06.1987</c:v>
                </c:pt>
                <c:pt idx="9430">
                  <c:v>24.06.1987</c:v>
                </c:pt>
                <c:pt idx="9431">
                  <c:v>23.06.1987</c:v>
                </c:pt>
                <c:pt idx="9432">
                  <c:v>22.06.1987</c:v>
                </c:pt>
                <c:pt idx="9433">
                  <c:v>19.06.1987</c:v>
                </c:pt>
                <c:pt idx="9434">
                  <c:v>18.06.1987</c:v>
                </c:pt>
                <c:pt idx="9435">
                  <c:v>17.06.1987</c:v>
                </c:pt>
                <c:pt idx="9436">
                  <c:v>16.06.1987</c:v>
                </c:pt>
                <c:pt idx="9437">
                  <c:v>15.06.1987</c:v>
                </c:pt>
                <c:pt idx="9438">
                  <c:v>12.06.1987</c:v>
                </c:pt>
                <c:pt idx="9439">
                  <c:v>11.06.1987</c:v>
                </c:pt>
                <c:pt idx="9440">
                  <c:v>10.06.1987</c:v>
                </c:pt>
                <c:pt idx="9441">
                  <c:v>09.06.1987</c:v>
                </c:pt>
                <c:pt idx="9442">
                  <c:v>08.06.1987</c:v>
                </c:pt>
                <c:pt idx="9443">
                  <c:v>05.06.1987</c:v>
                </c:pt>
                <c:pt idx="9444">
                  <c:v>04.06.1987</c:v>
                </c:pt>
                <c:pt idx="9445">
                  <c:v>03.06.1987</c:v>
                </c:pt>
                <c:pt idx="9446">
                  <c:v>02.06.1987</c:v>
                </c:pt>
                <c:pt idx="9447">
                  <c:v>01.06.1987</c:v>
                </c:pt>
                <c:pt idx="9448">
                  <c:v>29.05.1987</c:v>
                </c:pt>
                <c:pt idx="9449">
                  <c:v>28.05.1987</c:v>
                </c:pt>
                <c:pt idx="9450">
                  <c:v>27.05.1987</c:v>
                </c:pt>
                <c:pt idx="9451">
                  <c:v>26.05.1987</c:v>
                </c:pt>
                <c:pt idx="9452">
                  <c:v>22.05.1987</c:v>
                </c:pt>
                <c:pt idx="9453">
                  <c:v>21.05.1987</c:v>
                </c:pt>
                <c:pt idx="9454">
                  <c:v>20.05.1987</c:v>
                </c:pt>
                <c:pt idx="9455">
                  <c:v>19.05.1987</c:v>
                </c:pt>
                <c:pt idx="9456">
                  <c:v>18.05.1987</c:v>
                </c:pt>
                <c:pt idx="9457">
                  <c:v>15.05.1987</c:v>
                </c:pt>
                <c:pt idx="9458">
                  <c:v>14.05.1987</c:v>
                </c:pt>
                <c:pt idx="9459">
                  <c:v>13.05.1987</c:v>
                </c:pt>
                <c:pt idx="9460">
                  <c:v>12.05.1987</c:v>
                </c:pt>
                <c:pt idx="9461">
                  <c:v>11.05.1987</c:v>
                </c:pt>
                <c:pt idx="9462">
                  <c:v>08.05.1987</c:v>
                </c:pt>
                <c:pt idx="9463">
                  <c:v>07.05.1987</c:v>
                </c:pt>
                <c:pt idx="9464">
                  <c:v>06.05.1987</c:v>
                </c:pt>
                <c:pt idx="9465">
                  <c:v>05.05.1987</c:v>
                </c:pt>
                <c:pt idx="9466">
                  <c:v>04.05.1987</c:v>
                </c:pt>
                <c:pt idx="9467">
                  <c:v>01.05.1987</c:v>
                </c:pt>
                <c:pt idx="9468">
                  <c:v>30.04.1987</c:v>
                </c:pt>
                <c:pt idx="9469">
                  <c:v>29.04.1987</c:v>
                </c:pt>
                <c:pt idx="9470">
                  <c:v>28.04.1987</c:v>
                </c:pt>
                <c:pt idx="9471">
                  <c:v>27.04.1987</c:v>
                </c:pt>
                <c:pt idx="9472">
                  <c:v>24.04.1987</c:v>
                </c:pt>
                <c:pt idx="9473">
                  <c:v>23.04.1987</c:v>
                </c:pt>
                <c:pt idx="9474">
                  <c:v>22.04.1987</c:v>
                </c:pt>
                <c:pt idx="9475">
                  <c:v>21.04.1987</c:v>
                </c:pt>
                <c:pt idx="9476">
                  <c:v>20.04.1987</c:v>
                </c:pt>
                <c:pt idx="9477">
                  <c:v>16.04.1987</c:v>
                </c:pt>
                <c:pt idx="9478">
                  <c:v>15.04.1987</c:v>
                </c:pt>
                <c:pt idx="9479">
                  <c:v>14.04.1987</c:v>
                </c:pt>
                <c:pt idx="9480">
                  <c:v>13.04.1987</c:v>
                </c:pt>
                <c:pt idx="9481">
                  <c:v>10.04.1987</c:v>
                </c:pt>
                <c:pt idx="9482">
                  <c:v>09.04.1987</c:v>
                </c:pt>
                <c:pt idx="9483">
                  <c:v>08.04.1987</c:v>
                </c:pt>
                <c:pt idx="9484">
                  <c:v>07.04.1987</c:v>
                </c:pt>
                <c:pt idx="9485">
                  <c:v>06.04.1987</c:v>
                </c:pt>
                <c:pt idx="9486">
                  <c:v>03.04.1987</c:v>
                </c:pt>
                <c:pt idx="9487">
                  <c:v>02.04.1987</c:v>
                </c:pt>
                <c:pt idx="9488">
                  <c:v>01.04.1987</c:v>
                </c:pt>
                <c:pt idx="9489">
                  <c:v>31.03.1987</c:v>
                </c:pt>
                <c:pt idx="9490">
                  <c:v>30.03.1987</c:v>
                </c:pt>
                <c:pt idx="9491">
                  <c:v>27.03.1987</c:v>
                </c:pt>
                <c:pt idx="9492">
                  <c:v>26.03.1987</c:v>
                </c:pt>
                <c:pt idx="9493">
                  <c:v>25.03.1987</c:v>
                </c:pt>
                <c:pt idx="9494">
                  <c:v>24.03.1987</c:v>
                </c:pt>
                <c:pt idx="9495">
                  <c:v>23.03.1987</c:v>
                </c:pt>
                <c:pt idx="9496">
                  <c:v>20.03.1987</c:v>
                </c:pt>
                <c:pt idx="9497">
                  <c:v>19.03.1987</c:v>
                </c:pt>
                <c:pt idx="9498">
                  <c:v>18.03.1987</c:v>
                </c:pt>
                <c:pt idx="9499">
                  <c:v>17.03.1987</c:v>
                </c:pt>
                <c:pt idx="9500">
                  <c:v>16.03.1987</c:v>
                </c:pt>
                <c:pt idx="9501">
                  <c:v>13.03.1987</c:v>
                </c:pt>
                <c:pt idx="9502">
                  <c:v>12.03.1987</c:v>
                </c:pt>
                <c:pt idx="9503">
                  <c:v>11.03.1987</c:v>
                </c:pt>
                <c:pt idx="9504">
                  <c:v>10.03.1987</c:v>
                </c:pt>
                <c:pt idx="9505">
                  <c:v>09.03.1987</c:v>
                </c:pt>
                <c:pt idx="9506">
                  <c:v>06.03.1987</c:v>
                </c:pt>
                <c:pt idx="9507">
                  <c:v>05.03.1987</c:v>
                </c:pt>
                <c:pt idx="9508">
                  <c:v>04.03.1987</c:v>
                </c:pt>
                <c:pt idx="9509">
                  <c:v>03.03.1987</c:v>
                </c:pt>
                <c:pt idx="9510">
                  <c:v>02.03.1987</c:v>
                </c:pt>
                <c:pt idx="9511">
                  <c:v>27.02.1987</c:v>
                </c:pt>
                <c:pt idx="9512">
                  <c:v>26.02.1987</c:v>
                </c:pt>
                <c:pt idx="9513">
                  <c:v>25.02.1987</c:v>
                </c:pt>
                <c:pt idx="9514">
                  <c:v>24.02.1987</c:v>
                </c:pt>
                <c:pt idx="9515">
                  <c:v>23.02.1987</c:v>
                </c:pt>
                <c:pt idx="9516">
                  <c:v>20.02.1987</c:v>
                </c:pt>
                <c:pt idx="9517">
                  <c:v>19.02.1987</c:v>
                </c:pt>
                <c:pt idx="9518">
                  <c:v>18.02.1987</c:v>
                </c:pt>
                <c:pt idx="9519">
                  <c:v>17.02.1987</c:v>
                </c:pt>
                <c:pt idx="9520">
                  <c:v>13.02.1987</c:v>
                </c:pt>
                <c:pt idx="9521">
                  <c:v>12.02.1987</c:v>
                </c:pt>
                <c:pt idx="9522">
                  <c:v>11.02.1987</c:v>
                </c:pt>
                <c:pt idx="9523">
                  <c:v>10.02.1987</c:v>
                </c:pt>
                <c:pt idx="9524">
                  <c:v>09.02.1987</c:v>
                </c:pt>
                <c:pt idx="9525">
                  <c:v>06.02.1987</c:v>
                </c:pt>
                <c:pt idx="9526">
                  <c:v>05.02.1987</c:v>
                </c:pt>
                <c:pt idx="9527">
                  <c:v>04.02.1987</c:v>
                </c:pt>
                <c:pt idx="9528">
                  <c:v>03.02.1987</c:v>
                </c:pt>
                <c:pt idx="9529">
                  <c:v>02.02.1987</c:v>
                </c:pt>
                <c:pt idx="9530">
                  <c:v>30.01.1987</c:v>
                </c:pt>
                <c:pt idx="9531">
                  <c:v>29.01.1987</c:v>
                </c:pt>
                <c:pt idx="9532">
                  <c:v>28.01.1987</c:v>
                </c:pt>
                <c:pt idx="9533">
                  <c:v>27.01.1987</c:v>
                </c:pt>
                <c:pt idx="9534">
                  <c:v>26.01.1987</c:v>
                </c:pt>
                <c:pt idx="9535">
                  <c:v>23.01.1987</c:v>
                </c:pt>
                <c:pt idx="9536">
                  <c:v>22.01.1987</c:v>
                </c:pt>
                <c:pt idx="9537">
                  <c:v>21.01.1987</c:v>
                </c:pt>
                <c:pt idx="9538">
                  <c:v>20.01.1987</c:v>
                </c:pt>
                <c:pt idx="9539">
                  <c:v>19.01.1987</c:v>
                </c:pt>
                <c:pt idx="9540">
                  <c:v>16.01.1987</c:v>
                </c:pt>
                <c:pt idx="9541">
                  <c:v>15.01.1987</c:v>
                </c:pt>
                <c:pt idx="9542">
                  <c:v>14.01.1987</c:v>
                </c:pt>
                <c:pt idx="9543">
                  <c:v>13.01.1987</c:v>
                </c:pt>
                <c:pt idx="9544">
                  <c:v>12.01.1987</c:v>
                </c:pt>
                <c:pt idx="9545">
                  <c:v>09.01.1987</c:v>
                </c:pt>
                <c:pt idx="9546">
                  <c:v>08.01.1987</c:v>
                </c:pt>
                <c:pt idx="9547">
                  <c:v>07.01.1987</c:v>
                </c:pt>
                <c:pt idx="9548">
                  <c:v>06.01.1987</c:v>
                </c:pt>
                <c:pt idx="9549">
                  <c:v>05.01.1987</c:v>
                </c:pt>
                <c:pt idx="9550">
                  <c:v>02.01.1987</c:v>
                </c:pt>
                <c:pt idx="9551">
                  <c:v>31.12.1986</c:v>
                </c:pt>
                <c:pt idx="9552">
                  <c:v>30.12.1986</c:v>
                </c:pt>
                <c:pt idx="9553">
                  <c:v>29.12.1986</c:v>
                </c:pt>
                <c:pt idx="9554">
                  <c:v>26.12.1986</c:v>
                </c:pt>
                <c:pt idx="9555">
                  <c:v>24.12.1986</c:v>
                </c:pt>
                <c:pt idx="9556">
                  <c:v>23.12.1986</c:v>
                </c:pt>
                <c:pt idx="9557">
                  <c:v>22.12.1986</c:v>
                </c:pt>
                <c:pt idx="9558">
                  <c:v>19.12.1986</c:v>
                </c:pt>
                <c:pt idx="9559">
                  <c:v>18.12.1986</c:v>
                </c:pt>
                <c:pt idx="9560">
                  <c:v>17.12.1986</c:v>
                </c:pt>
                <c:pt idx="9561">
                  <c:v>16.12.1986</c:v>
                </c:pt>
                <c:pt idx="9562">
                  <c:v>15.12.1986</c:v>
                </c:pt>
                <c:pt idx="9563">
                  <c:v>12.12.1986</c:v>
                </c:pt>
                <c:pt idx="9564">
                  <c:v>11.12.1986</c:v>
                </c:pt>
                <c:pt idx="9565">
                  <c:v>10.12.1986</c:v>
                </c:pt>
                <c:pt idx="9566">
                  <c:v>09.12.1986</c:v>
                </c:pt>
                <c:pt idx="9567">
                  <c:v>08.12.1986</c:v>
                </c:pt>
                <c:pt idx="9568">
                  <c:v>05.12.1986</c:v>
                </c:pt>
                <c:pt idx="9569">
                  <c:v>04.12.1986</c:v>
                </c:pt>
                <c:pt idx="9570">
                  <c:v>03.12.1986</c:v>
                </c:pt>
                <c:pt idx="9571">
                  <c:v>02.12.1986</c:v>
                </c:pt>
                <c:pt idx="9572">
                  <c:v>01.12.1986</c:v>
                </c:pt>
                <c:pt idx="9573">
                  <c:v>28.11.1986</c:v>
                </c:pt>
                <c:pt idx="9574">
                  <c:v>26.11.1986</c:v>
                </c:pt>
                <c:pt idx="9575">
                  <c:v>25.11.1986</c:v>
                </c:pt>
                <c:pt idx="9576">
                  <c:v>24.11.1986</c:v>
                </c:pt>
                <c:pt idx="9577">
                  <c:v>21.11.1986</c:v>
                </c:pt>
                <c:pt idx="9578">
                  <c:v>20.11.1986</c:v>
                </c:pt>
                <c:pt idx="9579">
                  <c:v>19.11.1986</c:v>
                </c:pt>
                <c:pt idx="9580">
                  <c:v>18.11.1986</c:v>
                </c:pt>
                <c:pt idx="9581">
                  <c:v>17.11.1986</c:v>
                </c:pt>
                <c:pt idx="9582">
                  <c:v>14.11.1986</c:v>
                </c:pt>
                <c:pt idx="9583">
                  <c:v>13.11.1986</c:v>
                </c:pt>
                <c:pt idx="9584">
                  <c:v>12.11.1986</c:v>
                </c:pt>
                <c:pt idx="9585">
                  <c:v>11.11.1986</c:v>
                </c:pt>
                <c:pt idx="9586">
                  <c:v>10.11.1986</c:v>
                </c:pt>
                <c:pt idx="9587">
                  <c:v>07.11.1986</c:v>
                </c:pt>
                <c:pt idx="9588">
                  <c:v>06.11.1986</c:v>
                </c:pt>
                <c:pt idx="9589">
                  <c:v>05.11.1986</c:v>
                </c:pt>
                <c:pt idx="9590">
                  <c:v>04.11.1986</c:v>
                </c:pt>
                <c:pt idx="9591">
                  <c:v>03.11.1986</c:v>
                </c:pt>
                <c:pt idx="9592">
                  <c:v>31.10.1986</c:v>
                </c:pt>
                <c:pt idx="9593">
                  <c:v>30.10.1986</c:v>
                </c:pt>
                <c:pt idx="9594">
                  <c:v>29.10.1986</c:v>
                </c:pt>
                <c:pt idx="9595">
                  <c:v>28.10.1986</c:v>
                </c:pt>
                <c:pt idx="9596">
                  <c:v>27.10.1986</c:v>
                </c:pt>
                <c:pt idx="9597">
                  <c:v>24.10.1986</c:v>
                </c:pt>
                <c:pt idx="9598">
                  <c:v>23.10.1986</c:v>
                </c:pt>
                <c:pt idx="9599">
                  <c:v>22.10.1986</c:v>
                </c:pt>
                <c:pt idx="9600">
                  <c:v>21.10.1986</c:v>
                </c:pt>
                <c:pt idx="9601">
                  <c:v>20.10.1986</c:v>
                </c:pt>
                <c:pt idx="9602">
                  <c:v>17.10.1986</c:v>
                </c:pt>
                <c:pt idx="9603">
                  <c:v>16.10.1986</c:v>
                </c:pt>
                <c:pt idx="9604">
                  <c:v>15.10.1986</c:v>
                </c:pt>
                <c:pt idx="9605">
                  <c:v>14.10.1986</c:v>
                </c:pt>
                <c:pt idx="9606">
                  <c:v>13.10.1986</c:v>
                </c:pt>
                <c:pt idx="9607">
                  <c:v>10.10.1986</c:v>
                </c:pt>
                <c:pt idx="9608">
                  <c:v>09.10.1986</c:v>
                </c:pt>
                <c:pt idx="9609">
                  <c:v>08.10.1986</c:v>
                </c:pt>
                <c:pt idx="9610">
                  <c:v>07.10.1986</c:v>
                </c:pt>
                <c:pt idx="9611">
                  <c:v>06.10.1986</c:v>
                </c:pt>
                <c:pt idx="9612">
                  <c:v>03.10.1986</c:v>
                </c:pt>
                <c:pt idx="9613">
                  <c:v>02.10.1986</c:v>
                </c:pt>
                <c:pt idx="9614">
                  <c:v>01.10.1986</c:v>
                </c:pt>
                <c:pt idx="9615">
                  <c:v>30.09.1986</c:v>
                </c:pt>
                <c:pt idx="9616">
                  <c:v>29.09.1986</c:v>
                </c:pt>
                <c:pt idx="9617">
                  <c:v>26.09.1986</c:v>
                </c:pt>
                <c:pt idx="9618">
                  <c:v>25.09.1986</c:v>
                </c:pt>
                <c:pt idx="9619">
                  <c:v>24.09.1986</c:v>
                </c:pt>
                <c:pt idx="9620">
                  <c:v>23.09.1986</c:v>
                </c:pt>
                <c:pt idx="9621">
                  <c:v>22.09.1986</c:v>
                </c:pt>
                <c:pt idx="9622">
                  <c:v>19.09.1986</c:v>
                </c:pt>
                <c:pt idx="9623">
                  <c:v>18.09.1986</c:v>
                </c:pt>
                <c:pt idx="9624">
                  <c:v>17.09.1986</c:v>
                </c:pt>
                <c:pt idx="9625">
                  <c:v>16.09.1986</c:v>
                </c:pt>
                <c:pt idx="9626">
                  <c:v>15.09.1986</c:v>
                </c:pt>
                <c:pt idx="9627">
                  <c:v>12.09.1986</c:v>
                </c:pt>
                <c:pt idx="9628">
                  <c:v>11.09.1986</c:v>
                </c:pt>
                <c:pt idx="9629">
                  <c:v>10.09.1986</c:v>
                </c:pt>
                <c:pt idx="9630">
                  <c:v>09.09.1986</c:v>
                </c:pt>
                <c:pt idx="9631">
                  <c:v>08.09.1986</c:v>
                </c:pt>
                <c:pt idx="9632">
                  <c:v>05.09.1986</c:v>
                </c:pt>
                <c:pt idx="9633">
                  <c:v>04.09.1986</c:v>
                </c:pt>
                <c:pt idx="9634">
                  <c:v>03.09.1986</c:v>
                </c:pt>
                <c:pt idx="9635">
                  <c:v>02.09.1986</c:v>
                </c:pt>
                <c:pt idx="9636">
                  <c:v>29.08.1986</c:v>
                </c:pt>
                <c:pt idx="9637">
                  <c:v>28.08.1986</c:v>
                </c:pt>
                <c:pt idx="9638">
                  <c:v>27.08.1986</c:v>
                </c:pt>
                <c:pt idx="9639">
                  <c:v>26.08.1986</c:v>
                </c:pt>
                <c:pt idx="9640">
                  <c:v>25.08.1986</c:v>
                </c:pt>
                <c:pt idx="9641">
                  <c:v>22.08.1986</c:v>
                </c:pt>
                <c:pt idx="9642">
                  <c:v>21.08.1986</c:v>
                </c:pt>
                <c:pt idx="9643">
                  <c:v>20.08.1986</c:v>
                </c:pt>
                <c:pt idx="9644">
                  <c:v>19.08.1986</c:v>
                </c:pt>
                <c:pt idx="9645">
                  <c:v>18.08.1986</c:v>
                </c:pt>
                <c:pt idx="9646">
                  <c:v>15.08.1986</c:v>
                </c:pt>
                <c:pt idx="9647">
                  <c:v>14.08.1986</c:v>
                </c:pt>
                <c:pt idx="9648">
                  <c:v>13.08.1986</c:v>
                </c:pt>
                <c:pt idx="9649">
                  <c:v>12.08.1986</c:v>
                </c:pt>
                <c:pt idx="9650">
                  <c:v>11.08.1986</c:v>
                </c:pt>
                <c:pt idx="9651">
                  <c:v>08.08.1986</c:v>
                </c:pt>
                <c:pt idx="9652">
                  <c:v>07.08.1986</c:v>
                </c:pt>
                <c:pt idx="9653">
                  <c:v>06.08.1986</c:v>
                </c:pt>
                <c:pt idx="9654">
                  <c:v>05.08.1986</c:v>
                </c:pt>
                <c:pt idx="9655">
                  <c:v>04.08.1986</c:v>
                </c:pt>
                <c:pt idx="9656">
                  <c:v>01.08.1986</c:v>
                </c:pt>
                <c:pt idx="9657">
                  <c:v>31.07.1986</c:v>
                </c:pt>
                <c:pt idx="9658">
                  <c:v>30.07.1986</c:v>
                </c:pt>
                <c:pt idx="9659">
                  <c:v>29.07.1986</c:v>
                </c:pt>
                <c:pt idx="9660">
                  <c:v>28.07.1986</c:v>
                </c:pt>
                <c:pt idx="9661">
                  <c:v>25.07.1986</c:v>
                </c:pt>
                <c:pt idx="9662">
                  <c:v>24.07.1986</c:v>
                </c:pt>
                <c:pt idx="9663">
                  <c:v>23.07.1986</c:v>
                </c:pt>
                <c:pt idx="9664">
                  <c:v>22.07.1986</c:v>
                </c:pt>
                <c:pt idx="9665">
                  <c:v>21.07.1986</c:v>
                </c:pt>
                <c:pt idx="9666">
                  <c:v>18.07.1986</c:v>
                </c:pt>
                <c:pt idx="9667">
                  <c:v>17.07.1986</c:v>
                </c:pt>
                <c:pt idx="9668">
                  <c:v>16.07.1986</c:v>
                </c:pt>
                <c:pt idx="9669">
                  <c:v>15.07.1986</c:v>
                </c:pt>
                <c:pt idx="9670">
                  <c:v>14.07.1986</c:v>
                </c:pt>
                <c:pt idx="9671">
                  <c:v>11.07.1986</c:v>
                </c:pt>
                <c:pt idx="9672">
                  <c:v>10.07.1986</c:v>
                </c:pt>
                <c:pt idx="9673">
                  <c:v>09.07.1986</c:v>
                </c:pt>
                <c:pt idx="9674">
                  <c:v>08.07.1986</c:v>
                </c:pt>
                <c:pt idx="9675">
                  <c:v>07.07.1986</c:v>
                </c:pt>
                <c:pt idx="9676">
                  <c:v>03.07.1986</c:v>
                </c:pt>
                <c:pt idx="9677">
                  <c:v>02.07.1986</c:v>
                </c:pt>
                <c:pt idx="9678">
                  <c:v>01.07.1986</c:v>
                </c:pt>
                <c:pt idx="9679">
                  <c:v>30.06.1986</c:v>
                </c:pt>
                <c:pt idx="9680">
                  <c:v>27.06.1986</c:v>
                </c:pt>
                <c:pt idx="9681">
                  <c:v>26.06.1986</c:v>
                </c:pt>
                <c:pt idx="9682">
                  <c:v>25.06.1986</c:v>
                </c:pt>
                <c:pt idx="9683">
                  <c:v>24.06.1986</c:v>
                </c:pt>
                <c:pt idx="9684">
                  <c:v>23.06.1986</c:v>
                </c:pt>
                <c:pt idx="9685">
                  <c:v>20.06.1986</c:v>
                </c:pt>
                <c:pt idx="9686">
                  <c:v>19.06.1986</c:v>
                </c:pt>
                <c:pt idx="9687">
                  <c:v>18.06.1986</c:v>
                </c:pt>
                <c:pt idx="9688">
                  <c:v>17.06.1986</c:v>
                </c:pt>
                <c:pt idx="9689">
                  <c:v>16.06.1986</c:v>
                </c:pt>
                <c:pt idx="9690">
                  <c:v>13.06.1986</c:v>
                </c:pt>
                <c:pt idx="9691">
                  <c:v>12.06.1986</c:v>
                </c:pt>
                <c:pt idx="9692">
                  <c:v>11.06.1986</c:v>
                </c:pt>
                <c:pt idx="9693">
                  <c:v>10.06.1986</c:v>
                </c:pt>
                <c:pt idx="9694">
                  <c:v>09.06.1986</c:v>
                </c:pt>
                <c:pt idx="9695">
                  <c:v>06.06.1986</c:v>
                </c:pt>
                <c:pt idx="9696">
                  <c:v>05.06.1986</c:v>
                </c:pt>
                <c:pt idx="9697">
                  <c:v>04.06.1986</c:v>
                </c:pt>
                <c:pt idx="9698">
                  <c:v>03.06.1986</c:v>
                </c:pt>
                <c:pt idx="9699">
                  <c:v>02.06.1986</c:v>
                </c:pt>
                <c:pt idx="9700">
                  <c:v>30.05.1986</c:v>
                </c:pt>
                <c:pt idx="9701">
                  <c:v>29.05.1986</c:v>
                </c:pt>
                <c:pt idx="9702">
                  <c:v>28.05.1986</c:v>
                </c:pt>
                <c:pt idx="9703">
                  <c:v>27.05.1986</c:v>
                </c:pt>
                <c:pt idx="9704">
                  <c:v>23.05.1986</c:v>
                </c:pt>
                <c:pt idx="9705">
                  <c:v>22.05.1986</c:v>
                </c:pt>
                <c:pt idx="9706">
                  <c:v>21.05.1986</c:v>
                </c:pt>
                <c:pt idx="9707">
                  <c:v>20.05.1986</c:v>
                </c:pt>
                <c:pt idx="9708">
                  <c:v>19.05.1986</c:v>
                </c:pt>
                <c:pt idx="9709">
                  <c:v>16.05.1986</c:v>
                </c:pt>
                <c:pt idx="9710">
                  <c:v>15.05.1986</c:v>
                </c:pt>
                <c:pt idx="9711">
                  <c:v>14.05.1986</c:v>
                </c:pt>
                <c:pt idx="9712">
                  <c:v>13.05.1986</c:v>
                </c:pt>
                <c:pt idx="9713">
                  <c:v>12.05.1986</c:v>
                </c:pt>
                <c:pt idx="9714">
                  <c:v>09.05.1986</c:v>
                </c:pt>
                <c:pt idx="9715">
                  <c:v>08.05.1986</c:v>
                </c:pt>
                <c:pt idx="9716">
                  <c:v>07.05.1986</c:v>
                </c:pt>
                <c:pt idx="9717">
                  <c:v>06.05.1986</c:v>
                </c:pt>
                <c:pt idx="9718">
                  <c:v>05.05.1986</c:v>
                </c:pt>
                <c:pt idx="9719">
                  <c:v>02.05.1986</c:v>
                </c:pt>
                <c:pt idx="9720">
                  <c:v>01.05.1986</c:v>
                </c:pt>
                <c:pt idx="9721">
                  <c:v>30.04.1986</c:v>
                </c:pt>
                <c:pt idx="9722">
                  <c:v>29.04.1986</c:v>
                </c:pt>
                <c:pt idx="9723">
                  <c:v>28.04.1986</c:v>
                </c:pt>
                <c:pt idx="9724">
                  <c:v>25.04.1986</c:v>
                </c:pt>
                <c:pt idx="9725">
                  <c:v>24.04.1986</c:v>
                </c:pt>
                <c:pt idx="9726">
                  <c:v>23.04.1986</c:v>
                </c:pt>
                <c:pt idx="9727">
                  <c:v>22.04.1986</c:v>
                </c:pt>
                <c:pt idx="9728">
                  <c:v>21.04.1986</c:v>
                </c:pt>
                <c:pt idx="9729">
                  <c:v>18.04.1986</c:v>
                </c:pt>
                <c:pt idx="9730">
                  <c:v>17.04.1986</c:v>
                </c:pt>
                <c:pt idx="9731">
                  <c:v>16.04.1986</c:v>
                </c:pt>
                <c:pt idx="9732">
                  <c:v>15.04.1986</c:v>
                </c:pt>
                <c:pt idx="9733">
                  <c:v>14.04.1986</c:v>
                </c:pt>
                <c:pt idx="9734">
                  <c:v>11.04.1986</c:v>
                </c:pt>
                <c:pt idx="9735">
                  <c:v>10.04.1986</c:v>
                </c:pt>
                <c:pt idx="9736">
                  <c:v>09.04.1986</c:v>
                </c:pt>
                <c:pt idx="9737">
                  <c:v>08.04.1986</c:v>
                </c:pt>
                <c:pt idx="9738">
                  <c:v>07.04.1986</c:v>
                </c:pt>
                <c:pt idx="9739">
                  <c:v>04.04.1986</c:v>
                </c:pt>
                <c:pt idx="9740">
                  <c:v>03.04.1986</c:v>
                </c:pt>
                <c:pt idx="9741">
                  <c:v>02.04.1986</c:v>
                </c:pt>
                <c:pt idx="9742">
                  <c:v>01.04.1986</c:v>
                </c:pt>
                <c:pt idx="9743">
                  <c:v>31.03.1986</c:v>
                </c:pt>
                <c:pt idx="9744">
                  <c:v>27.03.1986</c:v>
                </c:pt>
                <c:pt idx="9745">
                  <c:v>26.03.1986</c:v>
                </c:pt>
                <c:pt idx="9746">
                  <c:v>25.03.1986</c:v>
                </c:pt>
                <c:pt idx="9747">
                  <c:v>24.03.1986</c:v>
                </c:pt>
                <c:pt idx="9748">
                  <c:v>21.03.1986</c:v>
                </c:pt>
                <c:pt idx="9749">
                  <c:v>20.03.1986</c:v>
                </c:pt>
                <c:pt idx="9750">
                  <c:v>19.03.1986</c:v>
                </c:pt>
                <c:pt idx="9751">
                  <c:v>18.03.1986</c:v>
                </c:pt>
                <c:pt idx="9752">
                  <c:v>17.03.1986</c:v>
                </c:pt>
                <c:pt idx="9753">
                  <c:v>14.03.1986</c:v>
                </c:pt>
                <c:pt idx="9754">
                  <c:v>13.03.1986</c:v>
                </c:pt>
                <c:pt idx="9755">
                  <c:v>12.03.1986</c:v>
                </c:pt>
                <c:pt idx="9756">
                  <c:v>11.03.1986</c:v>
                </c:pt>
                <c:pt idx="9757">
                  <c:v>10.03.1986</c:v>
                </c:pt>
                <c:pt idx="9758">
                  <c:v>07.03.1986</c:v>
                </c:pt>
                <c:pt idx="9759">
                  <c:v>06.03.1986</c:v>
                </c:pt>
                <c:pt idx="9760">
                  <c:v>05.03.1986</c:v>
                </c:pt>
                <c:pt idx="9761">
                  <c:v>04.03.1986</c:v>
                </c:pt>
                <c:pt idx="9762">
                  <c:v>03.03.1986</c:v>
                </c:pt>
                <c:pt idx="9763">
                  <c:v>28.02.1986</c:v>
                </c:pt>
                <c:pt idx="9764">
                  <c:v>27.02.1986</c:v>
                </c:pt>
                <c:pt idx="9765">
                  <c:v>26.02.1986</c:v>
                </c:pt>
                <c:pt idx="9766">
                  <c:v>25.02.1986</c:v>
                </c:pt>
                <c:pt idx="9767">
                  <c:v>24.02.1986</c:v>
                </c:pt>
                <c:pt idx="9768">
                  <c:v>21.02.1986</c:v>
                </c:pt>
                <c:pt idx="9769">
                  <c:v>20.02.1986</c:v>
                </c:pt>
                <c:pt idx="9770">
                  <c:v>19.02.1986</c:v>
                </c:pt>
                <c:pt idx="9771">
                  <c:v>18.02.1986</c:v>
                </c:pt>
                <c:pt idx="9772">
                  <c:v>14.02.1986</c:v>
                </c:pt>
                <c:pt idx="9773">
                  <c:v>13.02.1986</c:v>
                </c:pt>
                <c:pt idx="9774">
                  <c:v>12.02.1986</c:v>
                </c:pt>
                <c:pt idx="9775">
                  <c:v>11.02.1986</c:v>
                </c:pt>
                <c:pt idx="9776">
                  <c:v>10.02.1986</c:v>
                </c:pt>
                <c:pt idx="9777">
                  <c:v>07.02.1986</c:v>
                </c:pt>
                <c:pt idx="9778">
                  <c:v>06.02.1986</c:v>
                </c:pt>
                <c:pt idx="9779">
                  <c:v>05.02.1986</c:v>
                </c:pt>
                <c:pt idx="9780">
                  <c:v>04.02.1986</c:v>
                </c:pt>
                <c:pt idx="9781">
                  <c:v>03.02.1986</c:v>
                </c:pt>
                <c:pt idx="9782">
                  <c:v>31.01.1986</c:v>
                </c:pt>
                <c:pt idx="9783">
                  <c:v>30.01.1986</c:v>
                </c:pt>
                <c:pt idx="9784">
                  <c:v>29.01.1986</c:v>
                </c:pt>
                <c:pt idx="9785">
                  <c:v>28.01.1986</c:v>
                </c:pt>
                <c:pt idx="9786">
                  <c:v>27.01.1986</c:v>
                </c:pt>
                <c:pt idx="9787">
                  <c:v>24.01.1986</c:v>
                </c:pt>
                <c:pt idx="9788">
                  <c:v>23.01.1986</c:v>
                </c:pt>
                <c:pt idx="9789">
                  <c:v>22.01.1986</c:v>
                </c:pt>
                <c:pt idx="9790">
                  <c:v>21.01.1986</c:v>
                </c:pt>
                <c:pt idx="9791">
                  <c:v>20.01.1986</c:v>
                </c:pt>
                <c:pt idx="9792">
                  <c:v>17.01.1986</c:v>
                </c:pt>
                <c:pt idx="9793">
                  <c:v>16.01.1986</c:v>
                </c:pt>
                <c:pt idx="9794">
                  <c:v>15.01.1986</c:v>
                </c:pt>
                <c:pt idx="9795">
                  <c:v>14.01.1986</c:v>
                </c:pt>
                <c:pt idx="9796">
                  <c:v>13.01.1986</c:v>
                </c:pt>
                <c:pt idx="9797">
                  <c:v>10.01.1986</c:v>
                </c:pt>
                <c:pt idx="9798">
                  <c:v>09.01.1986</c:v>
                </c:pt>
                <c:pt idx="9799">
                  <c:v>08.01.1986</c:v>
                </c:pt>
                <c:pt idx="9800">
                  <c:v>07.01.1986</c:v>
                </c:pt>
                <c:pt idx="9801">
                  <c:v>06.01.1986</c:v>
                </c:pt>
                <c:pt idx="9802">
                  <c:v>03.01.1986</c:v>
                </c:pt>
                <c:pt idx="9803">
                  <c:v>02.01.1986</c:v>
                </c:pt>
                <c:pt idx="9804">
                  <c:v>31.12.1985</c:v>
                </c:pt>
                <c:pt idx="9805">
                  <c:v>30.12.1985</c:v>
                </c:pt>
                <c:pt idx="9806">
                  <c:v>27.12.1985</c:v>
                </c:pt>
                <c:pt idx="9807">
                  <c:v>26.12.1985</c:v>
                </c:pt>
                <c:pt idx="9808">
                  <c:v>24.12.1985</c:v>
                </c:pt>
                <c:pt idx="9809">
                  <c:v>23.12.1985</c:v>
                </c:pt>
                <c:pt idx="9810">
                  <c:v>20.12.1985</c:v>
                </c:pt>
                <c:pt idx="9811">
                  <c:v>19.12.1985</c:v>
                </c:pt>
                <c:pt idx="9812">
                  <c:v>18.12.1985</c:v>
                </c:pt>
                <c:pt idx="9813">
                  <c:v>17.12.1985</c:v>
                </c:pt>
                <c:pt idx="9814">
                  <c:v>16.12.1985</c:v>
                </c:pt>
                <c:pt idx="9815">
                  <c:v>13.12.1985</c:v>
                </c:pt>
                <c:pt idx="9816">
                  <c:v>12.12.1985</c:v>
                </c:pt>
                <c:pt idx="9817">
                  <c:v>11.12.1985</c:v>
                </c:pt>
                <c:pt idx="9818">
                  <c:v>10.12.1985</c:v>
                </c:pt>
                <c:pt idx="9819">
                  <c:v>09.12.1985</c:v>
                </c:pt>
                <c:pt idx="9820">
                  <c:v>06.12.1985</c:v>
                </c:pt>
                <c:pt idx="9821">
                  <c:v>05.12.1985</c:v>
                </c:pt>
                <c:pt idx="9822">
                  <c:v>04.12.1985</c:v>
                </c:pt>
                <c:pt idx="9823">
                  <c:v>03.12.1985</c:v>
                </c:pt>
                <c:pt idx="9824">
                  <c:v>02.12.1985</c:v>
                </c:pt>
                <c:pt idx="9825">
                  <c:v>29.11.1985</c:v>
                </c:pt>
                <c:pt idx="9826">
                  <c:v>27.11.1985</c:v>
                </c:pt>
                <c:pt idx="9827">
                  <c:v>26.11.1985</c:v>
                </c:pt>
                <c:pt idx="9828">
                  <c:v>25.11.1985</c:v>
                </c:pt>
                <c:pt idx="9829">
                  <c:v>22.11.1985</c:v>
                </c:pt>
                <c:pt idx="9830">
                  <c:v>21.11.1985</c:v>
                </c:pt>
                <c:pt idx="9831">
                  <c:v>20.11.1985</c:v>
                </c:pt>
                <c:pt idx="9832">
                  <c:v>19.11.1985</c:v>
                </c:pt>
                <c:pt idx="9833">
                  <c:v>18.11.1985</c:v>
                </c:pt>
                <c:pt idx="9834">
                  <c:v>15.11.1985</c:v>
                </c:pt>
                <c:pt idx="9835">
                  <c:v>14.11.1985</c:v>
                </c:pt>
                <c:pt idx="9836">
                  <c:v>13.11.1985</c:v>
                </c:pt>
                <c:pt idx="9837">
                  <c:v>12.11.1985</c:v>
                </c:pt>
                <c:pt idx="9838">
                  <c:v>11.11.1985</c:v>
                </c:pt>
                <c:pt idx="9839">
                  <c:v>08.11.1985</c:v>
                </c:pt>
                <c:pt idx="9840">
                  <c:v>07.11.1985</c:v>
                </c:pt>
                <c:pt idx="9841">
                  <c:v>06.11.1985</c:v>
                </c:pt>
                <c:pt idx="9842">
                  <c:v>05.11.1985</c:v>
                </c:pt>
                <c:pt idx="9843">
                  <c:v>04.11.1985</c:v>
                </c:pt>
                <c:pt idx="9844">
                  <c:v>01.11.1985</c:v>
                </c:pt>
                <c:pt idx="9845">
                  <c:v>31.10.1985</c:v>
                </c:pt>
                <c:pt idx="9846">
                  <c:v>30.10.1985</c:v>
                </c:pt>
                <c:pt idx="9847">
                  <c:v>29.10.1985</c:v>
                </c:pt>
                <c:pt idx="9848">
                  <c:v>28.10.1985</c:v>
                </c:pt>
                <c:pt idx="9849">
                  <c:v>25.10.1985</c:v>
                </c:pt>
                <c:pt idx="9850">
                  <c:v>24.10.1985</c:v>
                </c:pt>
                <c:pt idx="9851">
                  <c:v>23.10.1985</c:v>
                </c:pt>
                <c:pt idx="9852">
                  <c:v>22.10.1985</c:v>
                </c:pt>
                <c:pt idx="9853">
                  <c:v>21.10.1985</c:v>
                </c:pt>
                <c:pt idx="9854">
                  <c:v>18.10.1985</c:v>
                </c:pt>
                <c:pt idx="9855">
                  <c:v>17.10.1985</c:v>
                </c:pt>
                <c:pt idx="9856">
                  <c:v>16.10.1985</c:v>
                </c:pt>
                <c:pt idx="9857">
                  <c:v>15.10.1985</c:v>
                </c:pt>
                <c:pt idx="9858">
                  <c:v>14.10.1985</c:v>
                </c:pt>
                <c:pt idx="9859">
                  <c:v>11.10.1985</c:v>
                </c:pt>
                <c:pt idx="9860">
                  <c:v>10.10.1985</c:v>
                </c:pt>
                <c:pt idx="9861">
                  <c:v>09.10.1985</c:v>
                </c:pt>
                <c:pt idx="9862">
                  <c:v>08.10.1985</c:v>
                </c:pt>
                <c:pt idx="9863">
                  <c:v>07.10.1985</c:v>
                </c:pt>
                <c:pt idx="9864">
                  <c:v>04.10.1985</c:v>
                </c:pt>
                <c:pt idx="9865">
                  <c:v>03.10.1985</c:v>
                </c:pt>
                <c:pt idx="9866">
                  <c:v>02.10.1985</c:v>
                </c:pt>
                <c:pt idx="9867">
                  <c:v>01.10.1985</c:v>
                </c:pt>
                <c:pt idx="9868">
                  <c:v>30.09.1985</c:v>
                </c:pt>
                <c:pt idx="9869">
                  <c:v>27.09.1985</c:v>
                </c:pt>
                <c:pt idx="9870">
                  <c:v>26.09.1985</c:v>
                </c:pt>
                <c:pt idx="9871">
                  <c:v>25.09.1985</c:v>
                </c:pt>
                <c:pt idx="9872">
                  <c:v>24.09.1985</c:v>
                </c:pt>
                <c:pt idx="9873">
                  <c:v>23.09.1985</c:v>
                </c:pt>
                <c:pt idx="9874">
                  <c:v>20.09.1985</c:v>
                </c:pt>
                <c:pt idx="9875">
                  <c:v>19.09.1985</c:v>
                </c:pt>
                <c:pt idx="9876">
                  <c:v>18.09.1985</c:v>
                </c:pt>
                <c:pt idx="9877">
                  <c:v>17.09.1985</c:v>
                </c:pt>
                <c:pt idx="9878">
                  <c:v>16.09.1985</c:v>
                </c:pt>
                <c:pt idx="9879">
                  <c:v>13.09.1985</c:v>
                </c:pt>
                <c:pt idx="9880">
                  <c:v>12.09.1985</c:v>
                </c:pt>
                <c:pt idx="9881">
                  <c:v>11.09.1985</c:v>
                </c:pt>
                <c:pt idx="9882">
                  <c:v>10.09.1985</c:v>
                </c:pt>
                <c:pt idx="9883">
                  <c:v>09.09.1985</c:v>
                </c:pt>
                <c:pt idx="9884">
                  <c:v>06.09.1985</c:v>
                </c:pt>
                <c:pt idx="9885">
                  <c:v>05.09.1985</c:v>
                </c:pt>
                <c:pt idx="9886">
                  <c:v>04.09.1985</c:v>
                </c:pt>
                <c:pt idx="9887">
                  <c:v>03.09.1985</c:v>
                </c:pt>
                <c:pt idx="9888">
                  <c:v>30.08.1985</c:v>
                </c:pt>
                <c:pt idx="9889">
                  <c:v>29.08.1985</c:v>
                </c:pt>
                <c:pt idx="9890">
                  <c:v>28.08.1985</c:v>
                </c:pt>
                <c:pt idx="9891">
                  <c:v>27.08.1985</c:v>
                </c:pt>
                <c:pt idx="9892">
                  <c:v>26.08.1985</c:v>
                </c:pt>
                <c:pt idx="9893">
                  <c:v>23.08.1985</c:v>
                </c:pt>
                <c:pt idx="9894">
                  <c:v>22.08.1985</c:v>
                </c:pt>
                <c:pt idx="9895">
                  <c:v>21.08.1985</c:v>
                </c:pt>
                <c:pt idx="9896">
                  <c:v>20.08.1985</c:v>
                </c:pt>
                <c:pt idx="9897">
                  <c:v>19.08.1985</c:v>
                </c:pt>
                <c:pt idx="9898">
                  <c:v>16.08.1985</c:v>
                </c:pt>
                <c:pt idx="9899">
                  <c:v>15.08.1985</c:v>
                </c:pt>
                <c:pt idx="9900">
                  <c:v>14.08.1985</c:v>
                </c:pt>
                <c:pt idx="9901">
                  <c:v>13.08.1985</c:v>
                </c:pt>
                <c:pt idx="9902">
                  <c:v>12.08.1985</c:v>
                </c:pt>
                <c:pt idx="9903">
                  <c:v>09.08.1985</c:v>
                </c:pt>
                <c:pt idx="9904">
                  <c:v>08.08.1985</c:v>
                </c:pt>
                <c:pt idx="9905">
                  <c:v>07.08.1985</c:v>
                </c:pt>
                <c:pt idx="9906">
                  <c:v>06.08.1985</c:v>
                </c:pt>
                <c:pt idx="9907">
                  <c:v>05.08.1985</c:v>
                </c:pt>
                <c:pt idx="9908">
                  <c:v>02.08.1985</c:v>
                </c:pt>
                <c:pt idx="9909">
                  <c:v>01.08.1985</c:v>
                </c:pt>
                <c:pt idx="9910">
                  <c:v>31.07.1985</c:v>
                </c:pt>
                <c:pt idx="9911">
                  <c:v>30.07.1985</c:v>
                </c:pt>
                <c:pt idx="9912">
                  <c:v>29.07.1985</c:v>
                </c:pt>
                <c:pt idx="9913">
                  <c:v>26.07.1985</c:v>
                </c:pt>
                <c:pt idx="9914">
                  <c:v>25.07.1985</c:v>
                </c:pt>
                <c:pt idx="9915">
                  <c:v>24.07.1985</c:v>
                </c:pt>
                <c:pt idx="9916">
                  <c:v>23.07.1985</c:v>
                </c:pt>
                <c:pt idx="9917">
                  <c:v>22.07.1985</c:v>
                </c:pt>
                <c:pt idx="9918">
                  <c:v>19.07.1985</c:v>
                </c:pt>
                <c:pt idx="9919">
                  <c:v>18.07.1985</c:v>
                </c:pt>
                <c:pt idx="9920">
                  <c:v>17.07.1985</c:v>
                </c:pt>
                <c:pt idx="9921">
                  <c:v>16.07.1985</c:v>
                </c:pt>
                <c:pt idx="9922">
                  <c:v>15.07.1985</c:v>
                </c:pt>
                <c:pt idx="9923">
                  <c:v>12.07.1985</c:v>
                </c:pt>
                <c:pt idx="9924">
                  <c:v>11.07.1985</c:v>
                </c:pt>
                <c:pt idx="9925">
                  <c:v>10.07.1985</c:v>
                </c:pt>
                <c:pt idx="9926">
                  <c:v>09.07.1985</c:v>
                </c:pt>
                <c:pt idx="9927">
                  <c:v>08.07.1985</c:v>
                </c:pt>
                <c:pt idx="9928">
                  <c:v>05.07.1985</c:v>
                </c:pt>
                <c:pt idx="9929">
                  <c:v>03.07.1985</c:v>
                </c:pt>
                <c:pt idx="9930">
                  <c:v>02.07.1985</c:v>
                </c:pt>
                <c:pt idx="9931">
                  <c:v>01.07.1985</c:v>
                </c:pt>
                <c:pt idx="9932">
                  <c:v>28.06.1985</c:v>
                </c:pt>
                <c:pt idx="9933">
                  <c:v>27.06.1985</c:v>
                </c:pt>
                <c:pt idx="9934">
                  <c:v>26.06.1985</c:v>
                </c:pt>
                <c:pt idx="9935">
                  <c:v>25.06.1985</c:v>
                </c:pt>
                <c:pt idx="9936">
                  <c:v>24.06.1985</c:v>
                </c:pt>
                <c:pt idx="9937">
                  <c:v>21.06.1985</c:v>
                </c:pt>
                <c:pt idx="9938">
                  <c:v>20.06.1985</c:v>
                </c:pt>
                <c:pt idx="9939">
                  <c:v>19.06.1985</c:v>
                </c:pt>
                <c:pt idx="9940">
                  <c:v>18.06.1985</c:v>
                </c:pt>
                <c:pt idx="9941">
                  <c:v>17.06.1985</c:v>
                </c:pt>
                <c:pt idx="9942">
                  <c:v>14.06.1985</c:v>
                </c:pt>
                <c:pt idx="9943">
                  <c:v>13.06.1985</c:v>
                </c:pt>
                <c:pt idx="9944">
                  <c:v>12.06.1985</c:v>
                </c:pt>
                <c:pt idx="9945">
                  <c:v>11.06.1985</c:v>
                </c:pt>
                <c:pt idx="9946">
                  <c:v>10.06.1985</c:v>
                </c:pt>
                <c:pt idx="9947">
                  <c:v>07.06.1985</c:v>
                </c:pt>
                <c:pt idx="9948">
                  <c:v>06.06.1985</c:v>
                </c:pt>
                <c:pt idx="9949">
                  <c:v>05.06.1985</c:v>
                </c:pt>
                <c:pt idx="9950">
                  <c:v>04.06.1985</c:v>
                </c:pt>
                <c:pt idx="9951">
                  <c:v>03.06.1985</c:v>
                </c:pt>
                <c:pt idx="9952">
                  <c:v>31.05.1985</c:v>
                </c:pt>
                <c:pt idx="9953">
                  <c:v>30.05.1985</c:v>
                </c:pt>
                <c:pt idx="9954">
                  <c:v>29.05.1985</c:v>
                </c:pt>
                <c:pt idx="9955">
                  <c:v>28.05.1985</c:v>
                </c:pt>
                <c:pt idx="9956">
                  <c:v>24.05.1985</c:v>
                </c:pt>
                <c:pt idx="9957">
                  <c:v>23.05.1985</c:v>
                </c:pt>
                <c:pt idx="9958">
                  <c:v>22.05.1985</c:v>
                </c:pt>
                <c:pt idx="9959">
                  <c:v>21.05.1985</c:v>
                </c:pt>
                <c:pt idx="9960">
                  <c:v>20.05.1985</c:v>
                </c:pt>
                <c:pt idx="9961">
                  <c:v>17.05.1985</c:v>
                </c:pt>
                <c:pt idx="9962">
                  <c:v>16.05.1985</c:v>
                </c:pt>
                <c:pt idx="9963">
                  <c:v>15.05.1985</c:v>
                </c:pt>
                <c:pt idx="9964">
                  <c:v>14.05.1985</c:v>
                </c:pt>
                <c:pt idx="9965">
                  <c:v>13.05.1985</c:v>
                </c:pt>
                <c:pt idx="9966">
                  <c:v>10.05.1985</c:v>
                </c:pt>
                <c:pt idx="9967">
                  <c:v>09.05.1985</c:v>
                </c:pt>
                <c:pt idx="9968">
                  <c:v>08.05.1985</c:v>
                </c:pt>
                <c:pt idx="9969">
                  <c:v>07.05.1985</c:v>
                </c:pt>
                <c:pt idx="9970">
                  <c:v>06.05.1985</c:v>
                </c:pt>
                <c:pt idx="9971">
                  <c:v>03.05.1985</c:v>
                </c:pt>
                <c:pt idx="9972">
                  <c:v>02.05.1985</c:v>
                </c:pt>
                <c:pt idx="9973">
                  <c:v>01.05.1985</c:v>
                </c:pt>
                <c:pt idx="9974">
                  <c:v>30.04.1985</c:v>
                </c:pt>
                <c:pt idx="9975">
                  <c:v>29.04.1985</c:v>
                </c:pt>
                <c:pt idx="9976">
                  <c:v>26.04.1985</c:v>
                </c:pt>
                <c:pt idx="9977">
                  <c:v>25.04.1985</c:v>
                </c:pt>
                <c:pt idx="9978">
                  <c:v>24.04.1985</c:v>
                </c:pt>
                <c:pt idx="9979">
                  <c:v>23.04.1985</c:v>
                </c:pt>
                <c:pt idx="9980">
                  <c:v>22.04.1985</c:v>
                </c:pt>
                <c:pt idx="9981">
                  <c:v>19.04.1985</c:v>
                </c:pt>
                <c:pt idx="9982">
                  <c:v>18.04.1985</c:v>
                </c:pt>
                <c:pt idx="9983">
                  <c:v>17.04.1985</c:v>
                </c:pt>
                <c:pt idx="9984">
                  <c:v>16.04.1985</c:v>
                </c:pt>
                <c:pt idx="9985">
                  <c:v>15.04.1985</c:v>
                </c:pt>
                <c:pt idx="9986">
                  <c:v>12.04.1985</c:v>
                </c:pt>
                <c:pt idx="9987">
                  <c:v>11.04.1985</c:v>
                </c:pt>
                <c:pt idx="9988">
                  <c:v>10.04.1985</c:v>
                </c:pt>
                <c:pt idx="9989">
                  <c:v>09.04.1985</c:v>
                </c:pt>
                <c:pt idx="9990">
                  <c:v>08.04.1985</c:v>
                </c:pt>
                <c:pt idx="9991">
                  <c:v>04.04.1985</c:v>
                </c:pt>
                <c:pt idx="9992">
                  <c:v>03.04.1985</c:v>
                </c:pt>
                <c:pt idx="9993">
                  <c:v>02.04.1985</c:v>
                </c:pt>
                <c:pt idx="9994">
                  <c:v>01.04.1985</c:v>
                </c:pt>
                <c:pt idx="9995">
                  <c:v>29.03.1985</c:v>
                </c:pt>
                <c:pt idx="9996">
                  <c:v>28.03.1985</c:v>
                </c:pt>
                <c:pt idx="9997">
                  <c:v>27.03.1985</c:v>
                </c:pt>
                <c:pt idx="9998">
                  <c:v>26.03.1985</c:v>
                </c:pt>
                <c:pt idx="9999">
                  <c:v>25.03.1985</c:v>
                </c:pt>
                <c:pt idx="10000">
                  <c:v>22.03.1985</c:v>
                </c:pt>
                <c:pt idx="10001">
                  <c:v>21.03.1985</c:v>
                </c:pt>
                <c:pt idx="10002">
                  <c:v>20.03.1985</c:v>
                </c:pt>
                <c:pt idx="10003">
                  <c:v>19.03.1985</c:v>
                </c:pt>
                <c:pt idx="10004">
                  <c:v>18.03.1985</c:v>
                </c:pt>
                <c:pt idx="10005">
                  <c:v>15.03.1985</c:v>
                </c:pt>
                <c:pt idx="10006">
                  <c:v>14.03.1985</c:v>
                </c:pt>
                <c:pt idx="10007">
                  <c:v>13.03.1985</c:v>
                </c:pt>
                <c:pt idx="10008">
                  <c:v>12.03.1985</c:v>
                </c:pt>
                <c:pt idx="10009">
                  <c:v>11.03.1985</c:v>
                </c:pt>
                <c:pt idx="10010">
                  <c:v>08.03.1985</c:v>
                </c:pt>
                <c:pt idx="10011">
                  <c:v>07.03.1985</c:v>
                </c:pt>
                <c:pt idx="10012">
                  <c:v>06.03.1985</c:v>
                </c:pt>
                <c:pt idx="10013">
                  <c:v>05.03.1985</c:v>
                </c:pt>
                <c:pt idx="10014">
                  <c:v>04.03.1985</c:v>
                </c:pt>
                <c:pt idx="10015">
                  <c:v>01.03.1985</c:v>
                </c:pt>
                <c:pt idx="10016">
                  <c:v>28.02.1985</c:v>
                </c:pt>
                <c:pt idx="10017">
                  <c:v>27.02.1985</c:v>
                </c:pt>
                <c:pt idx="10018">
                  <c:v>26.02.1985</c:v>
                </c:pt>
                <c:pt idx="10019">
                  <c:v>25.02.1985</c:v>
                </c:pt>
                <c:pt idx="10020">
                  <c:v>22.02.1985</c:v>
                </c:pt>
                <c:pt idx="10021">
                  <c:v>21.02.1985</c:v>
                </c:pt>
                <c:pt idx="10022">
                  <c:v>20.02.1985</c:v>
                </c:pt>
                <c:pt idx="10023">
                  <c:v>19.02.1985</c:v>
                </c:pt>
                <c:pt idx="10024">
                  <c:v>15.02.1985</c:v>
                </c:pt>
                <c:pt idx="10025">
                  <c:v>14.02.1985</c:v>
                </c:pt>
                <c:pt idx="10026">
                  <c:v>13.02.1985</c:v>
                </c:pt>
                <c:pt idx="10027">
                  <c:v>12.02.1985</c:v>
                </c:pt>
                <c:pt idx="10028">
                  <c:v>11.02.1985</c:v>
                </c:pt>
                <c:pt idx="10029">
                  <c:v>08.02.1985</c:v>
                </c:pt>
                <c:pt idx="10030">
                  <c:v>07.02.1985</c:v>
                </c:pt>
                <c:pt idx="10031">
                  <c:v>06.02.1985</c:v>
                </c:pt>
                <c:pt idx="10032">
                  <c:v>05.02.1985</c:v>
                </c:pt>
                <c:pt idx="10033">
                  <c:v>04.02.1985</c:v>
                </c:pt>
                <c:pt idx="10034">
                  <c:v>01.02.1985</c:v>
                </c:pt>
                <c:pt idx="10035">
                  <c:v>31.01.1985</c:v>
                </c:pt>
                <c:pt idx="10036">
                  <c:v>30.01.1985</c:v>
                </c:pt>
                <c:pt idx="10037">
                  <c:v>29.01.1985</c:v>
                </c:pt>
                <c:pt idx="10038">
                  <c:v>28.01.1985</c:v>
                </c:pt>
                <c:pt idx="10039">
                  <c:v>25.01.1985</c:v>
                </c:pt>
                <c:pt idx="10040">
                  <c:v>24.01.1985</c:v>
                </c:pt>
                <c:pt idx="10041">
                  <c:v>23.01.1985</c:v>
                </c:pt>
                <c:pt idx="10042">
                  <c:v>22.01.1985</c:v>
                </c:pt>
                <c:pt idx="10043">
                  <c:v>21.01.1985</c:v>
                </c:pt>
                <c:pt idx="10044">
                  <c:v>18.01.1985</c:v>
                </c:pt>
                <c:pt idx="10045">
                  <c:v>17.01.1985</c:v>
                </c:pt>
                <c:pt idx="10046">
                  <c:v>16.01.1985</c:v>
                </c:pt>
                <c:pt idx="10047">
                  <c:v>15.01.1985</c:v>
                </c:pt>
                <c:pt idx="10048">
                  <c:v>14.01.1985</c:v>
                </c:pt>
                <c:pt idx="10049">
                  <c:v>11.01.1985</c:v>
                </c:pt>
                <c:pt idx="10050">
                  <c:v>10.01.1985</c:v>
                </c:pt>
                <c:pt idx="10051">
                  <c:v>09.01.1985</c:v>
                </c:pt>
                <c:pt idx="10052">
                  <c:v>08.01.1985</c:v>
                </c:pt>
                <c:pt idx="10053">
                  <c:v>07.01.1985</c:v>
                </c:pt>
                <c:pt idx="10054">
                  <c:v>04.01.1985</c:v>
                </c:pt>
                <c:pt idx="10055">
                  <c:v>03.01.1985</c:v>
                </c:pt>
                <c:pt idx="10056">
                  <c:v>02.01.1985</c:v>
                </c:pt>
                <c:pt idx="10057">
                  <c:v>31.12.1984</c:v>
                </c:pt>
                <c:pt idx="10058">
                  <c:v>28.12.1984</c:v>
                </c:pt>
                <c:pt idx="10059">
                  <c:v>27.12.1984</c:v>
                </c:pt>
                <c:pt idx="10060">
                  <c:v>26.12.1984</c:v>
                </c:pt>
                <c:pt idx="10061">
                  <c:v>24.12.1984</c:v>
                </c:pt>
                <c:pt idx="10062">
                  <c:v>21.12.1984</c:v>
                </c:pt>
                <c:pt idx="10063">
                  <c:v>20.12.1984</c:v>
                </c:pt>
                <c:pt idx="10064">
                  <c:v>19.12.1984</c:v>
                </c:pt>
                <c:pt idx="10065">
                  <c:v>18.12.1984</c:v>
                </c:pt>
                <c:pt idx="10066">
                  <c:v>17.12.1984</c:v>
                </c:pt>
                <c:pt idx="10067">
                  <c:v>14.12.1984</c:v>
                </c:pt>
                <c:pt idx="10068">
                  <c:v>13.12.1984</c:v>
                </c:pt>
                <c:pt idx="10069">
                  <c:v>12.12.1984</c:v>
                </c:pt>
                <c:pt idx="10070">
                  <c:v>11.12.1984</c:v>
                </c:pt>
                <c:pt idx="10071">
                  <c:v>10.12.1984</c:v>
                </c:pt>
                <c:pt idx="10072">
                  <c:v>07.12.1984</c:v>
                </c:pt>
                <c:pt idx="10073">
                  <c:v>06.12.1984</c:v>
                </c:pt>
                <c:pt idx="10074">
                  <c:v>05.12.1984</c:v>
                </c:pt>
                <c:pt idx="10075">
                  <c:v>04.12.1984</c:v>
                </c:pt>
                <c:pt idx="10076">
                  <c:v>03.12.1984</c:v>
                </c:pt>
                <c:pt idx="10077">
                  <c:v>30.11.1984</c:v>
                </c:pt>
                <c:pt idx="10078">
                  <c:v>29.11.1984</c:v>
                </c:pt>
                <c:pt idx="10079">
                  <c:v>28.11.1984</c:v>
                </c:pt>
                <c:pt idx="10080">
                  <c:v>27.11.1984</c:v>
                </c:pt>
                <c:pt idx="10081">
                  <c:v>26.11.1984</c:v>
                </c:pt>
                <c:pt idx="10082">
                  <c:v>23.11.1984</c:v>
                </c:pt>
                <c:pt idx="10083">
                  <c:v>21.11.1984</c:v>
                </c:pt>
                <c:pt idx="10084">
                  <c:v>20.11.1984</c:v>
                </c:pt>
                <c:pt idx="10085">
                  <c:v>19.11.1984</c:v>
                </c:pt>
                <c:pt idx="10086">
                  <c:v>16.11.1984</c:v>
                </c:pt>
                <c:pt idx="10087">
                  <c:v>15.11.1984</c:v>
                </c:pt>
                <c:pt idx="10088">
                  <c:v>14.11.1984</c:v>
                </c:pt>
                <c:pt idx="10089">
                  <c:v>13.11.1984</c:v>
                </c:pt>
                <c:pt idx="10090">
                  <c:v>12.11.1984</c:v>
                </c:pt>
                <c:pt idx="10091">
                  <c:v>09.11.1984</c:v>
                </c:pt>
                <c:pt idx="10092">
                  <c:v>08.11.1984</c:v>
                </c:pt>
                <c:pt idx="10093">
                  <c:v>07.11.1984</c:v>
                </c:pt>
                <c:pt idx="10094">
                  <c:v>06.11.1984</c:v>
                </c:pt>
                <c:pt idx="10095">
                  <c:v>05.11.1984</c:v>
                </c:pt>
                <c:pt idx="10096">
                  <c:v>02.11.1984</c:v>
                </c:pt>
                <c:pt idx="10097">
                  <c:v>01.11.1984</c:v>
                </c:pt>
                <c:pt idx="10098">
                  <c:v>31.10.1984</c:v>
                </c:pt>
                <c:pt idx="10099">
                  <c:v>30.10.1984</c:v>
                </c:pt>
                <c:pt idx="10100">
                  <c:v>29.10.1984</c:v>
                </c:pt>
                <c:pt idx="10101">
                  <c:v>26.10.1984</c:v>
                </c:pt>
                <c:pt idx="10102">
                  <c:v>25.10.1984</c:v>
                </c:pt>
                <c:pt idx="10103">
                  <c:v>24.10.1984</c:v>
                </c:pt>
                <c:pt idx="10104">
                  <c:v>23.10.1984</c:v>
                </c:pt>
                <c:pt idx="10105">
                  <c:v>22.10.1984</c:v>
                </c:pt>
                <c:pt idx="10106">
                  <c:v>19.10.1984</c:v>
                </c:pt>
                <c:pt idx="10107">
                  <c:v>18.10.1984</c:v>
                </c:pt>
                <c:pt idx="10108">
                  <c:v>17.10.1984</c:v>
                </c:pt>
                <c:pt idx="10109">
                  <c:v>16.10.1984</c:v>
                </c:pt>
                <c:pt idx="10110">
                  <c:v>15.10.1984</c:v>
                </c:pt>
                <c:pt idx="10111">
                  <c:v>12.10.1984</c:v>
                </c:pt>
                <c:pt idx="10112">
                  <c:v>11.10.1984</c:v>
                </c:pt>
                <c:pt idx="10113">
                  <c:v>10.10.1984</c:v>
                </c:pt>
                <c:pt idx="10114">
                  <c:v>09.10.1984</c:v>
                </c:pt>
                <c:pt idx="10115">
                  <c:v>08.10.1984</c:v>
                </c:pt>
                <c:pt idx="10116">
                  <c:v>05.10.1984</c:v>
                </c:pt>
                <c:pt idx="10117">
                  <c:v>04.10.1984</c:v>
                </c:pt>
                <c:pt idx="10118">
                  <c:v>03.10.1984</c:v>
                </c:pt>
                <c:pt idx="10119">
                  <c:v>02.10.1984</c:v>
                </c:pt>
                <c:pt idx="10120">
                  <c:v>01.10.1984</c:v>
                </c:pt>
                <c:pt idx="10121">
                  <c:v>28.09.1984</c:v>
                </c:pt>
                <c:pt idx="10122">
                  <c:v>27.09.1984</c:v>
                </c:pt>
                <c:pt idx="10123">
                  <c:v>26.09.1984</c:v>
                </c:pt>
                <c:pt idx="10124">
                  <c:v>25.09.1984</c:v>
                </c:pt>
                <c:pt idx="10125">
                  <c:v>24.09.1984</c:v>
                </c:pt>
                <c:pt idx="10126">
                  <c:v>21.09.1984</c:v>
                </c:pt>
                <c:pt idx="10127">
                  <c:v>20.09.1984</c:v>
                </c:pt>
                <c:pt idx="10128">
                  <c:v>19.09.1984</c:v>
                </c:pt>
                <c:pt idx="10129">
                  <c:v>18.09.1984</c:v>
                </c:pt>
                <c:pt idx="10130">
                  <c:v>17.09.1984</c:v>
                </c:pt>
                <c:pt idx="10131">
                  <c:v>14.09.1984</c:v>
                </c:pt>
                <c:pt idx="10132">
                  <c:v>13.09.1984</c:v>
                </c:pt>
                <c:pt idx="10133">
                  <c:v>12.09.1984</c:v>
                </c:pt>
                <c:pt idx="10134">
                  <c:v>11.09.1984</c:v>
                </c:pt>
                <c:pt idx="10135">
                  <c:v>10.09.1984</c:v>
                </c:pt>
                <c:pt idx="10136">
                  <c:v>07.09.1984</c:v>
                </c:pt>
                <c:pt idx="10137">
                  <c:v>06.09.1984</c:v>
                </c:pt>
                <c:pt idx="10138">
                  <c:v>05.09.1984</c:v>
                </c:pt>
                <c:pt idx="10139">
                  <c:v>04.09.1984</c:v>
                </c:pt>
                <c:pt idx="10140">
                  <c:v>31.08.1984</c:v>
                </c:pt>
                <c:pt idx="10141">
                  <c:v>30.08.1984</c:v>
                </c:pt>
                <c:pt idx="10142">
                  <c:v>29.08.1984</c:v>
                </c:pt>
                <c:pt idx="10143">
                  <c:v>28.08.1984</c:v>
                </c:pt>
                <c:pt idx="10144">
                  <c:v>27.08.1984</c:v>
                </c:pt>
                <c:pt idx="10145">
                  <c:v>24.08.1984</c:v>
                </c:pt>
                <c:pt idx="10146">
                  <c:v>23.08.1984</c:v>
                </c:pt>
                <c:pt idx="10147">
                  <c:v>22.08.1984</c:v>
                </c:pt>
                <c:pt idx="10148">
                  <c:v>21.08.1984</c:v>
                </c:pt>
                <c:pt idx="10149">
                  <c:v>20.08.1984</c:v>
                </c:pt>
                <c:pt idx="10150">
                  <c:v>17.08.1984</c:v>
                </c:pt>
                <c:pt idx="10151">
                  <c:v>16.08.1984</c:v>
                </c:pt>
                <c:pt idx="10152">
                  <c:v>15.08.1984</c:v>
                </c:pt>
                <c:pt idx="10153">
                  <c:v>14.08.1984</c:v>
                </c:pt>
                <c:pt idx="10154">
                  <c:v>13.08.1984</c:v>
                </c:pt>
                <c:pt idx="10155">
                  <c:v>10.08.1984</c:v>
                </c:pt>
                <c:pt idx="10156">
                  <c:v>09.08.1984</c:v>
                </c:pt>
                <c:pt idx="10157">
                  <c:v>08.08.1984</c:v>
                </c:pt>
                <c:pt idx="10158">
                  <c:v>07.08.1984</c:v>
                </c:pt>
                <c:pt idx="10159">
                  <c:v>06.08.1984</c:v>
                </c:pt>
                <c:pt idx="10160">
                  <c:v>03.08.1984</c:v>
                </c:pt>
                <c:pt idx="10161">
                  <c:v>02.08.1984</c:v>
                </c:pt>
                <c:pt idx="10162">
                  <c:v>01.08.1984</c:v>
                </c:pt>
                <c:pt idx="10163">
                  <c:v>31.07.1984</c:v>
                </c:pt>
                <c:pt idx="10164">
                  <c:v>30.07.1984</c:v>
                </c:pt>
                <c:pt idx="10165">
                  <c:v>27.07.1984</c:v>
                </c:pt>
                <c:pt idx="10166">
                  <c:v>26.07.1984</c:v>
                </c:pt>
                <c:pt idx="10167">
                  <c:v>25.07.1984</c:v>
                </c:pt>
                <c:pt idx="10168">
                  <c:v>24.07.1984</c:v>
                </c:pt>
                <c:pt idx="10169">
                  <c:v>23.07.1984</c:v>
                </c:pt>
                <c:pt idx="10170">
                  <c:v>20.07.1984</c:v>
                </c:pt>
                <c:pt idx="10171">
                  <c:v>19.07.1984</c:v>
                </c:pt>
                <c:pt idx="10172">
                  <c:v>18.07.1984</c:v>
                </c:pt>
                <c:pt idx="10173">
                  <c:v>17.07.1984</c:v>
                </c:pt>
                <c:pt idx="10174">
                  <c:v>16.07.1984</c:v>
                </c:pt>
                <c:pt idx="10175">
                  <c:v>13.07.1984</c:v>
                </c:pt>
                <c:pt idx="10176">
                  <c:v>12.07.1984</c:v>
                </c:pt>
                <c:pt idx="10177">
                  <c:v>11.07.1984</c:v>
                </c:pt>
                <c:pt idx="10178">
                  <c:v>10.07.1984</c:v>
                </c:pt>
                <c:pt idx="10179">
                  <c:v>09.07.1984</c:v>
                </c:pt>
                <c:pt idx="10180">
                  <c:v>06.07.1984</c:v>
                </c:pt>
                <c:pt idx="10181">
                  <c:v>05.07.1984</c:v>
                </c:pt>
                <c:pt idx="10182">
                  <c:v>03.07.1984</c:v>
                </c:pt>
                <c:pt idx="10183">
                  <c:v>02.07.1984</c:v>
                </c:pt>
                <c:pt idx="10184">
                  <c:v>29.06.1984</c:v>
                </c:pt>
                <c:pt idx="10185">
                  <c:v>28.06.1984</c:v>
                </c:pt>
                <c:pt idx="10186">
                  <c:v>27.06.1984</c:v>
                </c:pt>
                <c:pt idx="10187">
                  <c:v>26.06.1984</c:v>
                </c:pt>
                <c:pt idx="10188">
                  <c:v>25.06.1984</c:v>
                </c:pt>
                <c:pt idx="10189">
                  <c:v>22.06.1984</c:v>
                </c:pt>
                <c:pt idx="10190">
                  <c:v>21.06.1984</c:v>
                </c:pt>
                <c:pt idx="10191">
                  <c:v>20.06.1984</c:v>
                </c:pt>
                <c:pt idx="10192">
                  <c:v>19.06.1984</c:v>
                </c:pt>
                <c:pt idx="10193">
                  <c:v>18.06.1984</c:v>
                </c:pt>
                <c:pt idx="10194">
                  <c:v>15.06.1984</c:v>
                </c:pt>
                <c:pt idx="10195">
                  <c:v>14.06.1984</c:v>
                </c:pt>
                <c:pt idx="10196">
                  <c:v>13.06.1984</c:v>
                </c:pt>
                <c:pt idx="10197">
                  <c:v>12.06.1984</c:v>
                </c:pt>
                <c:pt idx="10198">
                  <c:v>11.06.1984</c:v>
                </c:pt>
                <c:pt idx="10199">
                  <c:v>08.06.1984</c:v>
                </c:pt>
                <c:pt idx="10200">
                  <c:v>07.06.1984</c:v>
                </c:pt>
                <c:pt idx="10201">
                  <c:v>06.06.1984</c:v>
                </c:pt>
                <c:pt idx="10202">
                  <c:v>05.06.1984</c:v>
                </c:pt>
                <c:pt idx="10203">
                  <c:v>04.06.1984</c:v>
                </c:pt>
                <c:pt idx="10204">
                  <c:v>01.06.1984</c:v>
                </c:pt>
                <c:pt idx="10205">
                  <c:v>31.05.1984</c:v>
                </c:pt>
                <c:pt idx="10206">
                  <c:v>30.05.1984</c:v>
                </c:pt>
                <c:pt idx="10207">
                  <c:v>29.05.1984</c:v>
                </c:pt>
                <c:pt idx="10208">
                  <c:v>25.05.1984</c:v>
                </c:pt>
                <c:pt idx="10209">
                  <c:v>24.05.1984</c:v>
                </c:pt>
                <c:pt idx="10210">
                  <c:v>23.05.1984</c:v>
                </c:pt>
                <c:pt idx="10211">
                  <c:v>22.05.1984</c:v>
                </c:pt>
                <c:pt idx="10212">
                  <c:v>21.05.1984</c:v>
                </c:pt>
                <c:pt idx="10213">
                  <c:v>18.05.1984</c:v>
                </c:pt>
                <c:pt idx="10214">
                  <c:v>17.05.1984</c:v>
                </c:pt>
                <c:pt idx="10215">
                  <c:v>16.05.1984</c:v>
                </c:pt>
                <c:pt idx="10216">
                  <c:v>15.05.1984</c:v>
                </c:pt>
                <c:pt idx="10217">
                  <c:v>14.05.1984</c:v>
                </c:pt>
                <c:pt idx="10218">
                  <c:v>11.05.1984</c:v>
                </c:pt>
                <c:pt idx="10219">
                  <c:v>10.05.1984</c:v>
                </c:pt>
                <c:pt idx="10220">
                  <c:v>09.05.1984</c:v>
                </c:pt>
                <c:pt idx="10221">
                  <c:v>08.05.1984</c:v>
                </c:pt>
                <c:pt idx="10222">
                  <c:v>07.05.1984</c:v>
                </c:pt>
                <c:pt idx="10223">
                  <c:v>04.05.1984</c:v>
                </c:pt>
                <c:pt idx="10224">
                  <c:v>03.05.1984</c:v>
                </c:pt>
                <c:pt idx="10225">
                  <c:v>02.05.1984</c:v>
                </c:pt>
                <c:pt idx="10226">
                  <c:v>01.05.1984</c:v>
                </c:pt>
                <c:pt idx="10227">
                  <c:v>30.04.1984</c:v>
                </c:pt>
                <c:pt idx="10228">
                  <c:v>27.04.1984</c:v>
                </c:pt>
                <c:pt idx="10229">
                  <c:v>26.04.1984</c:v>
                </c:pt>
                <c:pt idx="10230">
                  <c:v>25.04.1984</c:v>
                </c:pt>
                <c:pt idx="10231">
                  <c:v>24.04.1984</c:v>
                </c:pt>
                <c:pt idx="10232">
                  <c:v>23.04.1984</c:v>
                </c:pt>
                <c:pt idx="10233">
                  <c:v>19.04.1984</c:v>
                </c:pt>
                <c:pt idx="10234">
                  <c:v>18.04.1984</c:v>
                </c:pt>
                <c:pt idx="10235">
                  <c:v>17.04.1984</c:v>
                </c:pt>
                <c:pt idx="10236">
                  <c:v>16.04.1984</c:v>
                </c:pt>
                <c:pt idx="10237">
                  <c:v>13.04.1984</c:v>
                </c:pt>
                <c:pt idx="10238">
                  <c:v>12.04.1984</c:v>
                </c:pt>
                <c:pt idx="10239">
                  <c:v>11.04.1984</c:v>
                </c:pt>
                <c:pt idx="10240">
                  <c:v>10.04.1984</c:v>
                </c:pt>
                <c:pt idx="10241">
                  <c:v>09.04.1984</c:v>
                </c:pt>
                <c:pt idx="10242">
                  <c:v>06.04.1984</c:v>
                </c:pt>
                <c:pt idx="10243">
                  <c:v>05.04.1984</c:v>
                </c:pt>
                <c:pt idx="10244">
                  <c:v>04.04.1984</c:v>
                </c:pt>
                <c:pt idx="10245">
                  <c:v>03.04.1984</c:v>
                </c:pt>
                <c:pt idx="10246">
                  <c:v>02.04.1984</c:v>
                </c:pt>
                <c:pt idx="10247">
                  <c:v>30.03.1984</c:v>
                </c:pt>
                <c:pt idx="10248">
                  <c:v>29.03.1984</c:v>
                </c:pt>
                <c:pt idx="10249">
                  <c:v>28.03.1984</c:v>
                </c:pt>
                <c:pt idx="10250">
                  <c:v>27.03.1984</c:v>
                </c:pt>
                <c:pt idx="10251">
                  <c:v>26.03.1984</c:v>
                </c:pt>
                <c:pt idx="10252">
                  <c:v>23.03.1984</c:v>
                </c:pt>
                <c:pt idx="10253">
                  <c:v>22.03.1984</c:v>
                </c:pt>
                <c:pt idx="10254">
                  <c:v>21.03.1984</c:v>
                </c:pt>
                <c:pt idx="10255">
                  <c:v>20.03.1984</c:v>
                </c:pt>
                <c:pt idx="10256">
                  <c:v>19.03.1984</c:v>
                </c:pt>
                <c:pt idx="10257">
                  <c:v>16.03.1984</c:v>
                </c:pt>
                <c:pt idx="10258">
                  <c:v>15.03.1984</c:v>
                </c:pt>
                <c:pt idx="10259">
                  <c:v>14.03.1984</c:v>
                </c:pt>
                <c:pt idx="10260">
                  <c:v>13.03.1984</c:v>
                </c:pt>
                <c:pt idx="10261">
                  <c:v>12.03.1984</c:v>
                </c:pt>
                <c:pt idx="10262">
                  <c:v>09.03.1984</c:v>
                </c:pt>
                <c:pt idx="10263">
                  <c:v>08.03.1984</c:v>
                </c:pt>
                <c:pt idx="10264">
                  <c:v>07.03.1984</c:v>
                </c:pt>
                <c:pt idx="10265">
                  <c:v>06.03.1984</c:v>
                </c:pt>
                <c:pt idx="10266">
                  <c:v>05.03.1984</c:v>
                </c:pt>
                <c:pt idx="10267">
                  <c:v>02.03.1984</c:v>
                </c:pt>
                <c:pt idx="10268">
                  <c:v>01.03.1984</c:v>
                </c:pt>
                <c:pt idx="10269">
                  <c:v>29.02.1984</c:v>
                </c:pt>
                <c:pt idx="10270">
                  <c:v>28.02.1984</c:v>
                </c:pt>
                <c:pt idx="10271">
                  <c:v>27.02.1984</c:v>
                </c:pt>
                <c:pt idx="10272">
                  <c:v>24.02.1984</c:v>
                </c:pt>
                <c:pt idx="10273">
                  <c:v>23.02.1984</c:v>
                </c:pt>
                <c:pt idx="10274">
                  <c:v>22.02.1984</c:v>
                </c:pt>
                <c:pt idx="10275">
                  <c:v>21.02.1984</c:v>
                </c:pt>
                <c:pt idx="10276">
                  <c:v>17.02.1984</c:v>
                </c:pt>
                <c:pt idx="10277">
                  <c:v>16.02.1984</c:v>
                </c:pt>
                <c:pt idx="10278">
                  <c:v>15.02.1984</c:v>
                </c:pt>
                <c:pt idx="10279">
                  <c:v>14.02.1984</c:v>
                </c:pt>
                <c:pt idx="10280">
                  <c:v>13.02.1984</c:v>
                </c:pt>
                <c:pt idx="10281">
                  <c:v>10.02.1984</c:v>
                </c:pt>
                <c:pt idx="10282">
                  <c:v>09.02.1984</c:v>
                </c:pt>
                <c:pt idx="10283">
                  <c:v>08.02.1984</c:v>
                </c:pt>
                <c:pt idx="10284">
                  <c:v>07.02.1984</c:v>
                </c:pt>
                <c:pt idx="10285">
                  <c:v>06.02.1984</c:v>
                </c:pt>
                <c:pt idx="10286">
                  <c:v>03.02.1984</c:v>
                </c:pt>
                <c:pt idx="10287">
                  <c:v>02.02.1984</c:v>
                </c:pt>
                <c:pt idx="10288">
                  <c:v>01.02.1984</c:v>
                </c:pt>
                <c:pt idx="10289">
                  <c:v>31.01.1984</c:v>
                </c:pt>
                <c:pt idx="10290">
                  <c:v>30.01.1984</c:v>
                </c:pt>
                <c:pt idx="10291">
                  <c:v>27.01.1984</c:v>
                </c:pt>
                <c:pt idx="10292">
                  <c:v>26.01.1984</c:v>
                </c:pt>
                <c:pt idx="10293">
                  <c:v>25.01.1984</c:v>
                </c:pt>
                <c:pt idx="10294">
                  <c:v>24.01.1984</c:v>
                </c:pt>
                <c:pt idx="10295">
                  <c:v>23.01.1984</c:v>
                </c:pt>
                <c:pt idx="10296">
                  <c:v>20.01.1984</c:v>
                </c:pt>
                <c:pt idx="10297">
                  <c:v>19.01.1984</c:v>
                </c:pt>
                <c:pt idx="10298">
                  <c:v>18.01.1984</c:v>
                </c:pt>
                <c:pt idx="10299">
                  <c:v>17.01.1984</c:v>
                </c:pt>
                <c:pt idx="10300">
                  <c:v>16.01.1984</c:v>
                </c:pt>
                <c:pt idx="10301">
                  <c:v>13.01.1984</c:v>
                </c:pt>
                <c:pt idx="10302">
                  <c:v>12.01.1984</c:v>
                </c:pt>
                <c:pt idx="10303">
                  <c:v>11.01.1984</c:v>
                </c:pt>
                <c:pt idx="10304">
                  <c:v>10.01.1984</c:v>
                </c:pt>
                <c:pt idx="10305">
                  <c:v>09.01.1984</c:v>
                </c:pt>
                <c:pt idx="10306">
                  <c:v>06.01.1984</c:v>
                </c:pt>
                <c:pt idx="10307">
                  <c:v>05.01.1984</c:v>
                </c:pt>
                <c:pt idx="10308">
                  <c:v>04.01.1984</c:v>
                </c:pt>
                <c:pt idx="10309">
                  <c:v>03.01.1984</c:v>
                </c:pt>
                <c:pt idx="10310">
                  <c:v>30.12.1983</c:v>
                </c:pt>
                <c:pt idx="10311">
                  <c:v>29.12.1983</c:v>
                </c:pt>
                <c:pt idx="10312">
                  <c:v>28.12.1983</c:v>
                </c:pt>
                <c:pt idx="10313">
                  <c:v>27.12.1983</c:v>
                </c:pt>
                <c:pt idx="10314">
                  <c:v>23.12.1983</c:v>
                </c:pt>
                <c:pt idx="10315">
                  <c:v>22.12.1983</c:v>
                </c:pt>
                <c:pt idx="10316">
                  <c:v>21.12.1983</c:v>
                </c:pt>
                <c:pt idx="10317">
                  <c:v>20.12.1983</c:v>
                </c:pt>
                <c:pt idx="10318">
                  <c:v>19.12.1983</c:v>
                </c:pt>
                <c:pt idx="10319">
                  <c:v>16.12.1983</c:v>
                </c:pt>
                <c:pt idx="10320">
                  <c:v>15.12.1983</c:v>
                </c:pt>
                <c:pt idx="10321">
                  <c:v>14.12.1983</c:v>
                </c:pt>
                <c:pt idx="10322">
                  <c:v>13.12.1983</c:v>
                </c:pt>
                <c:pt idx="10323">
                  <c:v>12.12.1983</c:v>
                </c:pt>
                <c:pt idx="10324">
                  <c:v>09.12.1983</c:v>
                </c:pt>
                <c:pt idx="10325">
                  <c:v>08.12.1983</c:v>
                </c:pt>
                <c:pt idx="10326">
                  <c:v>07.12.1983</c:v>
                </c:pt>
                <c:pt idx="10327">
                  <c:v>06.12.1983</c:v>
                </c:pt>
                <c:pt idx="10328">
                  <c:v>05.12.1983</c:v>
                </c:pt>
                <c:pt idx="10329">
                  <c:v>02.12.1983</c:v>
                </c:pt>
                <c:pt idx="10330">
                  <c:v>01.12.1983</c:v>
                </c:pt>
                <c:pt idx="10331">
                  <c:v>30.11.1983</c:v>
                </c:pt>
                <c:pt idx="10332">
                  <c:v>29.11.1983</c:v>
                </c:pt>
                <c:pt idx="10333">
                  <c:v>28.11.1983</c:v>
                </c:pt>
                <c:pt idx="10334">
                  <c:v>25.11.1983</c:v>
                </c:pt>
                <c:pt idx="10335">
                  <c:v>23.11.1983</c:v>
                </c:pt>
                <c:pt idx="10336">
                  <c:v>22.11.1983</c:v>
                </c:pt>
                <c:pt idx="10337">
                  <c:v>21.11.1983</c:v>
                </c:pt>
                <c:pt idx="10338">
                  <c:v>18.11.1983</c:v>
                </c:pt>
                <c:pt idx="10339">
                  <c:v>17.11.1983</c:v>
                </c:pt>
                <c:pt idx="10340">
                  <c:v>16.11.1983</c:v>
                </c:pt>
                <c:pt idx="10341">
                  <c:v>15.11.1983</c:v>
                </c:pt>
                <c:pt idx="10342">
                  <c:v>14.11.1983</c:v>
                </c:pt>
                <c:pt idx="10343">
                  <c:v>11.11.1983</c:v>
                </c:pt>
                <c:pt idx="10344">
                  <c:v>10.11.1983</c:v>
                </c:pt>
                <c:pt idx="10345">
                  <c:v>09.11.1983</c:v>
                </c:pt>
                <c:pt idx="10346">
                  <c:v>08.11.1983</c:v>
                </c:pt>
                <c:pt idx="10347">
                  <c:v>07.11.1983</c:v>
                </c:pt>
                <c:pt idx="10348">
                  <c:v>04.11.1983</c:v>
                </c:pt>
                <c:pt idx="10349">
                  <c:v>03.11.1983</c:v>
                </c:pt>
                <c:pt idx="10350">
                  <c:v>02.11.1983</c:v>
                </c:pt>
                <c:pt idx="10351">
                  <c:v>01.11.1983</c:v>
                </c:pt>
                <c:pt idx="10352">
                  <c:v>31.10.1983</c:v>
                </c:pt>
                <c:pt idx="10353">
                  <c:v>28.10.1983</c:v>
                </c:pt>
                <c:pt idx="10354">
                  <c:v>27.10.1983</c:v>
                </c:pt>
                <c:pt idx="10355">
                  <c:v>26.10.1983</c:v>
                </c:pt>
                <c:pt idx="10356">
                  <c:v>25.10.1983</c:v>
                </c:pt>
                <c:pt idx="10357">
                  <c:v>24.10.1983</c:v>
                </c:pt>
                <c:pt idx="10358">
                  <c:v>21.10.1983</c:v>
                </c:pt>
                <c:pt idx="10359">
                  <c:v>20.10.1983</c:v>
                </c:pt>
                <c:pt idx="10360">
                  <c:v>19.10.1983</c:v>
                </c:pt>
                <c:pt idx="10361">
                  <c:v>18.10.1983</c:v>
                </c:pt>
                <c:pt idx="10362">
                  <c:v>17.10.1983</c:v>
                </c:pt>
                <c:pt idx="10363">
                  <c:v>14.10.1983</c:v>
                </c:pt>
                <c:pt idx="10364">
                  <c:v>13.10.1983</c:v>
                </c:pt>
                <c:pt idx="10365">
                  <c:v>12.10.1983</c:v>
                </c:pt>
                <c:pt idx="10366">
                  <c:v>11.10.1983</c:v>
                </c:pt>
                <c:pt idx="10367">
                  <c:v>10.10.1983</c:v>
                </c:pt>
                <c:pt idx="10368">
                  <c:v>07.10.1983</c:v>
                </c:pt>
                <c:pt idx="10369">
                  <c:v>06.10.1983</c:v>
                </c:pt>
                <c:pt idx="10370">
                  <c:v>05.10.1983</c:v>
                </c:pt>
                <c:pt idx="10371">
                  <c:v>04.10.1983</c:v>
                </c:pt>
                <c:pt idx="10372">
                  <c:v>03.10.1983</c:v>
                </c:pt>
                <c:pt idx="10373">
                  <c:v>30.09.1983</c:v>
                </c:pt>
                <c:pt idx="10374">
                  <c:v>29.09.1983</c:v>
                </c:pt>
                <c:pt idx="10375">
                  <c:v>28.09.1983</c:v>
                </c:pt>
                <c:pt idx="10376">
                  <c:v>27.09.1983</c:v>
                </c:pt>
                <c:pt idx="10377">
                  <c:v>26.09.1983</c:v>
                </c:pt>
                <c:pt idx="10378">
                  <c:v>23.09.1983</c:v>
                </c:pt>
                <c:pt idx="10379">
                  <c:v>22.09.1983</c:v>
                </c:pt>
                <c:pt idx="10380">
                  <c:v>21.09.1983</c:v>
                </c:pt>
                <c:pt idx="10381">
                  <c:v>20.09.1983</c:v>
                </c:pt>
                <c:pt idx="10382">
                  <c:v>19.09.1983</c:v>
                </c:pt>
                <c:pt idx="10383">
                  <c:v>16.09.1983</c:v>
                </c:pt>
                <c:pt idx="10384">
                  <c:v>15.09.1983</c:v>
                </c:pt>
                <c:pt idx="10385">
                  <c:v>14.09.1983</c:v>
                </c:pt>
                <c:pt idx="10386">
                  <c:v>13.09.1983</c:v>
                </c:pt>
                <c:pt idx="10387">
                  <c:v>12.09.1983</c:v>
                </c:pt>
                <c:pt idx="10388">
                  <c:v>09.09.1983</c:v>
                </c:pt>
                <c:pt idx="10389">
                  <c:v>08.09.1983</c:v>
                </c:pt>
                <c:pt idx="10390">
                  <c:v>07.09.1983</c:v>
                </c:pt>
                <c:pt idx="10391">
                  <c:v>06.09.1983</c:v>
                </c:pt>
                <c:pt idx="10392">
                  <c:v>02.09.1983</c:v>
                </c:pt>
                <c:pt idx="10393">
                  <c:v>01.09.1983</c:v>
                </c:pt>
                <c:pt idx="10394">
                  <c:v>31.08.1983</c:v>
                </c:pt>
                <c:pt idx="10395">
                  <c:v>30.08.1983</c:v>
                </c:pt>
                <c:pt idx="10396">
                  <c:v>29.08.1983</c:v>
                </c:pt>
                <c:pt idx="10397">
                  <c:v>26.08.1983</c:v>
                </c:pt>
                <c:pt idx="10398">
                  <c:v>25.08.1983</c:v>
                </c:pt>
                <c:pt idx="10399">
                  <c:v>24.08.1983</c:v>
                </c:pt>
                <c:pt idx="10400">
                  <c:v>23.08.1983</c:v>
                </c:pt>
                <c:pt idx="10401">
                  <c:v>22.08.1983</c:v>
                </c:pt>
                <c:pt idx="10402">
                  <c:v>19.08.1983</c:v>
                </c:pt>
                <c:pt idx="10403">
                  <c:v>18.08.1983</c:v>
                </c:pt>
                <c:pt idx="10404">
                  <c:v>17.08.1983</c:v>
                </c:pt>
                <c:pt idx="10405">
                  <c:v>16.08.1983</c:v>
                </c:pt>
                <c:pt idx="10406">
                  <c:v>15.08.1983</c:v>
                </c:pt>
                <c:pt idx="10407">
                  <c:v>12.08.1983</c:v>
                </c:pt>
                <c:pt idx="10408">
                  <c:v>11.08.1983</c:v>
                </c:pt>
                <c:pt idx="10409">
                  <c:v>10.08.1983</c:v>
                </c:pt>
                <c:pt idx="10410">
                  <c:v>09.08.1983</c:v>
                </c:pt>
                <c:pt idx="10411">
                  <c:v>08.08.1983</c:v>
                </c:pt>
                <c:pt idx="10412">
                  <c:v>05.08.1983</c:v>
                </c:pt>
                <c:pt idx="10413">
                  <c:v>04.08.1983</c:v>
                </c:pt>
                <c:pt idx="10414">
                  <c:v>03.08.1983</c:v>
                </c:pt>
                <c:pt idx="10415">
                  <c:v>02.08.1983</c:v>
                </c:pt>
                <c:pt idx="10416">
                  <c:v>01.08.1983</c:v>
                </c:pt>
                <c:pt idx="10417">
                  <c:v>29.07.1983</c:v>
                </c:pt>
                <c:pt idx="10418">
                  <c:v>28.07.1983</c:v>
                </c:pt>
                <c:pt idx="10419">
                  <c:v>27.07.1983</c:v>
                </c:pt>
                <c:pt idx="10420">
                  <c:v>26.07.1983</c:v>
                </c:pt>
                <c:pt idx="10421">
                  <c:v>25.07.1983</c:v>
                </c:pt>
                <c:pt idx="10422">
                  <c:v>22.07.1983</c:v>
                </c:pt>
                <c:pt idx="10423">
                  <c:v>21.07.1983</c:v>
                </c:pt>
                <c:pt idx="10424">
                  <c:v>20.07.1983</c:v>
                </c:pt>
                <c:pt idx="10425">
                  <c:v>19.07.1983</c:v>
                </c:pt>
                <c:pt idx="10426">
                  <c:v>18.07.1983</c:v>
                </c:pt>
                <c:pt idx="10427">
                  <c:v>15.07.1983</c:v>
                </c:pt>
                <c:pt idx="10428">
                  <c:v>14.07.1983</c:v>
                </c:pt>
                <c:pt idx="10429">
                  <c:v>13.07.1983</c:v>
                </c:pt>
                <c:pt idx="10430">
                  <c:v>12.07.1983</c:v>
                </c:pt>
                <c:pt idx="10431">
                  <c:v>11.07.1983</c:v>
                </c:pt>
                <c:pt idx="10432">
                  <c:v>08.07.1983</c:v>
                </c:pt>
                <c:pt idx="10433">
                  <c:v>07.07.1983</c:v>
                </c:pt>
                <c:pt idx="10434">
                  <c:v>06.07.1983</c:v>
                </c:pt>
                <c:pt idx="10435">
                  <c:v>05.07.1983</c:v>
                </c:pt>
                <c:pt idx="10436">
                  <c:v>01.07.1983</c:v>
                </c:pt>
                <c:pt idx="10437">
                  <c:v>30.06.1983</c:v>
                </c:pt>
                <c:pt idx="10438">
                  <c:v>29.06.1983</c:v>
                </c:pt>
                <c:pt idx="10439">
                  <c:v>28.06.1983</c:v>
                </c:pt>
                <c:pt idx="10440">
                  <c:v>27.06.1983</c:v>
                </c:pt>
                <c:pt idx="10441">
                  <c:v>24.06.1983</c:v>
                </c:pt>
                <c:pt idx="10442">
                  <c:v>23.06.1983</c:v>
                </c:pt>
                <c:pt idx="10443">
                  <c:v>22.06.1983</c:v>
                </c:pt>
                <c:pt idx="10444">
                  <c:v>21.06.1983</c:v>
                </c:pt>
                <c:pt idx="10445">
                  <c:v>20.06.1983</c:v>
                </c:pt>
                <c:pt idx="10446">
                  <c:v>17.06.1983</c:v>
                </c:pt>
                <c:pt idx="10447">
                  <c:v>16.06.1983</c:v>
                </c:pt>
                <c:pt idx="10448">
                  <c:v>15.06.1983</c:v>
                </c:pt>
                <c:pt idx="10449">
                  <c:v>14.06.1983</c:v>
                </c:pt>
                <c:pt idx="10450">
                  <c:v>13.06.1983</c:v>
                </c:pt>
                <c:pt idx="10451">
                  <c:v>10.06.1983</c:v>
                </c:pt>
                <c:pt idx="10452">
                  <c:v>09.06.1983</c:v>
                </c:pt>
                <c:pt idx="10453">
                  <c:v>08.06.1983</c:v>
                </c:pt>
                <c:pt idx="10454">
                  <c:v>07.06.1983</c:v>
                </c:pt>
                <c:pt idx="10455">
                  <c:v>06.06.1983</c:v>
                </c:pt>
                <c:pt idx="10456">
                  <c:v>03.06.1983</c:v>
                </c:pt>
                <c:pt idx="10457">
                  <c:v>02.06.1983</c:v>
                </c:pt>
                <c:pt idx="10458">
                  <c:v>01.06.1983</c:v>
                </c:pt>
                <c:pt idx="10459">
                  <c:v>31.05.1983</c:v>
                </c:pt>
                <c:pt idx="10460">
                  <c:v>27.05.1983</c:v>
                </c:pt>
                <c:pt idx="10461">
                  <c:v>26.05.1983</c:v>
                </c:pt>
                <c:pt idx="10462">
                  <c:v>25.05.1983</c:v>
                </c:pt>
                <c:pt idx="10463">
                  <c:v>24.05.1983</c:v>
                </c:pt>
                <c:pt idx="10464">
                  <c:v>23.05.1983</c:v>
                </c:pt>
                <c:pt idx="10465">
                  <c:v>20.05.1983</c:v>
                </c:pt>
                <c:pt idx="10466">
                  <c:v>19.05.1983</c:v>
                </c:pt>
                <c:pt idx="10467">
                  <c:v>18.05.1983</c:v>
                </c:pt>
                <c:pt idx="10468">
                  <c:v>17.05.1983</c:v>
                </c:pt>
                <c:pt idx="10469">
                  <c:v>16.05.1983</c:v>
                </c:pt>
                <c:pt idx="10470">
                  <c:v>13.05.1983</c:v>
                </c:pt>
                <c:pt idx="10471">
                  <c:v>12.05.1983</c:v>
                </c:pt>
                <c:pt idx="10472">
                  <c:v>11.05.1983</c:v>
                </c:pt>
                <c:pt idx="10473">
                  <c:v>10.05.1983</c:v>
                </c:pt>
                <c:pt idx="10474">
                  <c:v>09.05.1983</c:v>
                </c:pt>
                <c:pt idx="10475">
                  <c:v>06.05.1983</c:v>
                </c:pt>
                <c:pt idx="10476">
                  <c:v>05.05.1983</c:v>
                </c:pt>
                <c:pt idx="10477">
                  <c:v>04.05.1983</c:v>
                </c:pt>
                <c:pt idx="10478">
                  <c:v>03.05.1983</c:v>
                </c:pt>
                <c:pt idx="10479">
                  <c:v>02.05.1983</c:v>
                </c:pt>
                <c:pt idx="10480">
                  <c:v>29.04.1983</c:v>
                </c:pt>
                <c:pt idx="10481">
                  <c:v>28.04.1983</c:v>
                </c:pt>
                <c:pt idx="10482">
                  <c:v>27.04.1983</c:v>
                </c:pt>
                <c:pt idx="10483">
                  <c:v>26.04.1983</c:v>
                </c:pt>
                <c:pt idx="10484">
                  <c:v>25.04.1983</c:v>
                </c:pt>
                <c:pt idx="10485">
                  <c:v>22.04.1983</c:v>
                </c:pt>
                <c:pt idx="10486">
                  <c:v>21.04.1983</c:v>
                </c:pt>
                <c:pt idx="10487">
                  <c:v>20.04.1983</c:v>
                </c:pt>
                <c:pt idx="10488">
                  <c:v>19.04.1983</c:v>
                </c:pt>
                <c:pt idx="10489">
                  <c:v>18.04.1983</c:v>
                </c:pt>
                <c:pt idx="10490">
                  <c:v>15.04.1983</c:v>
                </c:pt>
                <c:pt idx="10491">
                  <c:v>14.04.1983</c:v>
                </c:pt>
                <c:pt idx="10492">
                  <c:v>13.04.1983</c:v>
                </c:pt>
                <c:pt idx="10493">
                  <c:v>12.04.1983</c:v>
                </c:pt>
                <c:pt idx="10494">
                  <c:v>11.04.1983</c:v>
                </c:pt>
                <c:pt idx="10495">
                  <c:v>08.04.1983</c:v>
                </c:pt>
                <c:pt idx="10496">
                  <c:v>07.04.1983</c:v>
                </c:pt>
                <c:pt idx="10497">
                  <c:v>06.04.1983</c:v>
                </c:pt>
                <c:pt idx="10498">
                  <c:v>05.04.1983</c:v>
                </c:pt>
                <c:pt idx="10499">
                  <c:v>04.04.1983</c:v>
                </c:pt>
                <c:pt idx="10500">
                  <c:v>31.03.1983</c:v>
                </c:pt>
                <c:pt idx="10501">
                  <c:v>30.03.1983</c:v>
                </c:pt>
                <c:pt idx="10502">
                  <c:v>29.03.1983</c:v>
                </c:pt>
                <c:pt idx="10503">
                  <c:v>28.03.1983</c:v>
                </c:pt>
                <c:pt idx="10504">
                  <c:v>25.03.1983</c:v>
                </c:pt>
                <c:pt idx="10505">
                  <c:v>24.03.1983</c:v>
                </c:pt>
                <c:pt idx="10506">
                  <c:v>23.03.1983</c:v>
                </c:pt>
                <c:pt idx="10507">
                  <c:v>22.03.1983</c:v>
                </c:pt>
                <c:pt idx="10508">
                  <c:v>21.03.1983</c:v>
                </c:pt>
                <c:pt idx="10509">
                  <c:v>18.03.1983</c:v>
                </c:pt>
                <c:pt idx="10510">
                  <c:v>17.03.1983</c:v>
                </c:pt>
                <c:pt idx="10511">
                  <c:v>16.03.1983</c:v>
                </c:pt>
                <c:pt idx="10512">
                  <c:v>15.03.1983</c:v>
                </c:pt>
                <c:pt idx="10513">
                  <c:v>14.03.1983</c:v>
                </c:pt>
                <c:pt idx="10514">
                  <c:v>11.03.1983</c:v>
                </c:pt>
                <c:pt idx="10515">
                  <c:v>10.03.1983</c:v>
                </c:pt>
                <c:pt idx="10516">
                  <c:v>09.03.1983</c:v>
                </c:pt>
                <c:pt idx="10517">
                  <c:v>08.03.1983</c:v>
                </c:pt>
                <c:pt idx="10518">
                  <c:v>07.03.1983</c:v>
                </c:pt>
                <c:pt idx="10519">
                  <c:v>04.03.1983</c:v>
                </c:pt>
                <c:pt idx="10520">
                  <c:v>03.03.1983</c:v>
                </c:pt>
                <c:pt idx="10521">
                  <c:v>02.03.1983</c:v>
                </c:pt>
                <c:pt idx="10522">
                  <c:v>01.03.1983</c:v>
                </c:pt>
                <c:pt idx="10523">
                  <c:v>28.02.1983</c:v>
                </c:pt>
                <c:pt idx="10524">
                  <c:v>25.02.1983</c:v>
                </c:pt>
                <c:pt idx="10525">
                  <c:v>24.02.1983</c:v>
                </c:pt>
                <c:pt idx="10526">
                  <c:v>23.02.1983</c:v>
                </c:pt>
                <c:pt idx="10527">
                  <c:v>22.02.1983</c:v>
                </c:pt>
                <c:pt idx="10528">
                  <c:v>18.02.1983</c:v>
                </c:pt>
                <c:pt idx="10529">
                  <c:v>17.02.1983</c:v>
                </c:pt>
                <c:pt idx="10530">
                  <c:v>16.02.1983</c:v>
                </c:pt>
                <c:pt idx="10531">
                  <c:v>15.02.1983</c:v>
                </c:pt>
                <c:pt idx="10532">
                  <c:v>14.02.1983</c:v>
                </c:pt>
                <c:pt idx="10533">
                  <c:v>11.02.1983</c:v>
                </c:pt>
                <c:pt idx="10534">
                  <c:v>10.02.1983</c:v>
                </c:pt>
                <c:pt idx="10535">
                  <c:v>09.02.1983</c:v>
                </c:pt>
                <c:pt idx="10536">
                  <c:v>08.02.1983</c:v>
                </c:pt>
                <c:pt idx="10537">
                  <c:v>07.02.1983</c:v>
                </c:pt>
                <c:pt idx="10538">
                  <c:v>04.02.1983</c:v>
                </c:pt>
                <c:pt idx="10539">
                  <c:v>03.02.1983</c:v>
                </c:pt>
                <c:pt idx="10540">
                  <c:v>02.02.1983</c:v>
                </c:pt>
                <c:pt idx="10541">
                  <c:v>01.02.1983</c:v>
                </c:pt>
                <c:pt idx="10542">
                  <c:v>31.01.1983</c:v>
                </c:pt>
                <c:pt idx="10543">
                  <c:v>28.01.1983</c:v>
                </c:pt>
                <c:pt idx="10544">
                  <c:v>27.01.1983</c:v>
                </c:pt>
                <c:pt idx="10545">
                  <c:v>26.01.1983</c:v>
                </c:pt>
                <c:pt idx="10546">
                  <c:v>25.01.1983</c:v>
                </c:pt>
                <c:pt idx="10547">
                  <c:v>24.01.1983</c:v>
                </c:pt>
                <c:pt idx="10548">
                  <c:v>21.01.1983</c:v>
                </c:pt>
                <c:pt idx="10549">
                  <c:v>20.01.1983</c:v>
                </c:pt>
                <c:pt idx="10550">
                  <c:v>19.01.1983</c:v>
                </c:pt>
                <c:pt idx="10551">
                  <c:v>18.01.1983</c:v>
                </c:pt>
                <c:pt idx="10552">
                  <c:v>17.01.1983</c:v>
                </c:pt>
                <c:pt idx="10553">
                  <c:v>14.01.1983</c:v>
                </c:pt>
                <c:pt idx="10554">
                  <c:v>13.01.1983</c:v>
                </c:pt>
                <c:pt idx="10555">
                  <c:v>12.01.1983</c:v>
                </c:pt>
                <c:pt idx="10556">
                  <c:v>11.01.1983</c:v>
                </c:pt>
                <c:pt idx="10557">
                  <c:v>10.01.1983</c:v>
                </c:pt>
                <c:pt idx="10558">
                  <c:v>07.01.1983</c:v>
                </c:pt>
                <c:pt idx="10559">
                  <c:v>06.01.1983</c:v>
                </c:pt>
                <c:pt idx="10560">
                  <c:v>05.01.1983</c:v>
                </c:pt>
                <c:pt idx="10561">
                  <c:v>04.01.1983</c:v>
                </c:pt>
                <c:pt idx="10562">
                  <c:v>03.01.1983</c:v>
                </c:pt>
                <c:pt idx="10563">
                  <c:v>31.12.1982</c:v>
                </c:pt>
                <c:pt idx="10564">
                  <c:v>30.12.1982</c:v>
                </c:pt>
                <c:pt idx="10565">
                  <c:v>29.12.1982</c:v>
                </c:pt>
                <c:pt idx="10566">
                  <c:v>28.12.1982</c:v>
                </c:pt>
                <c:pt idx="10567">
                  <c:v>27.12.1982</c:v>
                </c:pt>
                <c:pt idx="10568">
                  <c:v>23.12.1982</c:v>
                </c:pt>
                <c:pt idx="10569">
                  <c:v>22.12.1982</c:v>
                </c:pt>
                <c:pt idx="10570">
                  <c:v>21.12.1982</c:v>
                </c:pt>
                <c:pt idx="10571">
                  <c:v>20.12.1982</c:v>
                </c:pt>
                <c:pt idx="10572">
                  <c:v>17.12.1982</c:v>
                </c:pt>
                <c:pt idx="10573">
                  <c:v>16.12.1982</c:v>
                </c:pt>
                <c:pt idx="10574">
                  <c:v>15.12.1982</c:v>
                </c:pt>
                <c:pt idx="10575">
                  <c:v>14.12.1982</c:v>
                </c:pt>
                <c:pt idx="10576">
                  <c:v>13.12.1982</c:v>
                </c:pt>
                <c:pt idx="10577">
                  <c:v>10.12.1982</c:v>
                </c:pt>
                <c:pt idx="10578">
                  <c:v>09.12.1982</c:v>
                </c:pt>
                <c:pt idx="10579">
                  <c:v>08.12.1982</c:v>
                </c:pt>
                <c:pt idx="10580">
                  <c:v>07.12.1982</c:v>
                </c:pt>
                <c:pt idx="10581">
                  <c:v>06.12.1982</c:v>
                </c:pt>
                <c:pt idx="10582">
                  <c:v>03.12.1982</c:v>
                </c:pt>
                <c:pt idx="10583">
                  <c:v>02.12.1982</c:v>
                </c:pt>
                <c:pt idx="10584">
                  <c:v>01.12.1982</c:v>
                </c:pt>
                <c:pt idx="10585">
                  <c:v>30.11.1982</c:v>
                </c:pt>
                <c:pt idx="10586">
                  <c:v>29.11.1982</c:v>
                </c:pt>
                <c:pt idx="10587">
                  <c:v>26.11.1982</c:v>
                </c:pt>
                <c:pt idx="10588">
                  <c:v>24.11.1982</c:v>
                </c:pt>
                <c:pt idx="10589">
                  <c:v>23.11.1982</c:v>
                </c:pt>
                <c:pt idx="10590">
                  <c:v>22.11.1982</c:v>
                </c:pt>
                <c:pt idx="10591">
                  <c:v>19.11.1982</c:v>
                </c:pt>
                <c:pt idx="10592">
                  <c:v>18.11.1982</c:v>
                </c:pt>
                <c:pt idx="10593">
                  <c:v>17.11.1982</c:v>
                </c:pt>
                <c:pt idx="10594">
                  <c:v>16.11.1982</c:v>
                </c:pt>
                <c:pt idx="10595">
                  <c:v>15.11.1982</c:v>
                </c:pt>
                <c:pt idx="10596">
                  <c:v>12.11.1982</c:v>
                </c:pt>
                <c:pt idx="10597">
                  <c:v>11.11.1982</c:v>
                </c:pt>
                <c:pt idx="10598">
                  <c:v>10.11.1982</c:v>
                </c:pt>
                <c:pt idx="10599">
                  <c:v>09.11.1982</c:v>
                </c:pt>
                <c:pt idx="10600">
                  <c:v>08.11.1982</c:v>
                </c:pt>
                <c:pt idx="10601">
                  <c:v>05.11.1982</c:v>
                </c:pt>
                <c:pt idx="10602">
                  <c:v>04.11.1982</c:v>
                </c:pt>
                <c:pt idx="10603">
                  <c:v>03.11.1982</c:v>
                </c:pt>
                <c:pt idx="10604">
                  <c:v>02.11.1982</c:v>
                </c:pt>
                <c:pt idx="10605">
                  <c:v>01.11.1982</c:v>
                </c:pt>
                <c:pt idx="10606">
                  <c:v>29.10.1982</c:v>
                </c:pt>
                <c:pt idx="10607">
                  <c:v>28.10.1982</c:v>
                </c:pt>
                <c:pt idx="10608">
                  <c:v>27.10.1982</c:v>
                </c:pt>
                <c:pt idx="10609">
                  <c:v>26.10.1982</c:v>
                </c:pt>
                <c:pt idx="10610">
                  <c:v>25.10.1982</c:v>
                </c:pt>
                <c:pt idx="10611">
                  <c:v>22.10.1982</c:v>
                </c:pt>
                <c:pt idx="10612">
                  <c:v>21.10.1982</c:v>
                </c:pt>
                <c:pt idx="10613">
                  <c:v>20.10.1982</c:v>
                </c:pt>
                <c:pt idx="10614">
                  <c:v>19.10.1982</c:v>
                </c:pt>
                <c:pt idx="10615">
                  <c:v>18.10.1982</c:v>
                </c:pt>
                <c:pt idx="10616">
                  <c:v>15.10.1982</c:v>
                </c:pt>
                <c:pt idx="10617">
                  <c:v>14.10.1982</c:v>
                </c:pt>
                <c:pt idx="10618">
                  <c:v>13.10.1982</c:v>
                </c:pt>
                <c:pt idx="10619">
                  <c:v>12.10.1982</c:v>
                </c:pt>
                <c:pt idx="10620">
                  <c:v>11.10.1982</c:v>
                </c:pt>
                <c:pt idx="10621">
                  <c:v>08.10.1982</c:v>
                </c:pt>
                <c:pt idx="10622">
                  <c:v>07.10.1982</c:v>
                </c:pt>
                <c:pt idx="10623">
                  <c:v>06.10.1982</c:v>
                </c:pt>
                <c:pt idx="10624">
                  <c:v>05.10.1982</c:v>
                </c:pt>
                <c:pt idx="10625">
                  <c:v>04.10.1982</c:v>
                </c:pt>
                <c:pt idx="10626">
                  <c:v>01.10.1982</c:v>
                </c:pt>
                <c:pt idx="10627">
                  <c:v>30.09.1982</c:v>
                </c:pt>
                <c:pt idx="10628">
                  <c:v>29.09.1982</c:v>
                </c:pt>
                <c:pt idx="10629">
                  <c:v>28.09.1982</c:v>
                </c:pt>
                <c:pt idx="10630">
                  <c:v>27.09.1982</c:v>
                </c:pt>
                <c:pt idx="10631">
                  <c:v>24.09.1982</c:v>
                </c:pt>
                <c:pt idx="10632">
                  <c:v>23.09.1982</c:v>
                </c:pt>
                <c:pt idx="10633">
                  <c:v>22.09.1982</c:v>
                </c:pt>
                <c:pt idx="10634">
                  <c:v>21.09.1982</c:v>
                </c:pt>
                <c:pt idx="10635">
                  <c:v>20.09.1982</c:v>
                </c:pt>
                <c:pt idx="10636">
                  <c:v>17.09.1982</c:v>
                </c:pt>
                <c:pt idx="10637">
                  <c:v>16.09.1982</c:v>
                </c:pt>
                <c:pt idx="10638">
                  <c:v>15.09.1982</c:v>
                </c:pt>
                <c:pt idx="10639">
                  <c:v>14.09.1982</c:v>
                </c:pt>
                <c:pt idx="10640">
                  <c:v>13.09.1982</c:v>
                </c:pt>
                <c:pt idx="10641">
                  <c:v>10.09.1982</c:v>
                </c:pt>
                <c:pt idx="10642">
                  <c:v>09.09.1982</c:v>
                </c:pt>
                <c:pt idx="10643">
                  <c:v>08.09.1982</c:v>
                </c:pt>
                <c:pt idx="10644">
                  <c:v>07.09.1982</c:v>
                </c:pt>
                <c:pt idx="10645">
                  <c:v>03.09.1982</c:v>
                </c:pt>
                <c:pt idx="10646">
                  <c:v>02.09.1982</c:v>
                </c:pt>
                <c:pt idx="10647">
                  <c:v>01.09.1982</c:v>
                </c:pt>
                <c:pt idx="10648">
                  <c:v>31.08.1982</c:v>
                </c:pt>
                <c:pt idx="10649">
                  <c:v>30.08.1982</c:v>
                </c:pt>
                <c:pt idx="10650">
                  <c:v>27.08.1982</c:v>
                </c:pt>
                <c:pt idx="10651">
                  <c:v>26.08.1982</c:v>
                </c:pt>
                <c:pt idx="10652">
                  <c:v>25.08.1982</c:v>
                </c:pt>
                <c:pt idx="10653">
                  <c:v>24.08.1982</c:v>
                </c:pt>
                <c:pt idx="10654">
                  <c:v>23.08.1982</c:v>
                </c:pt>
                <c:pt idx="10655">
                  <c:v>20.08.1982</c:v>
                </c:pt>
                <c:pt idx="10656">
                  <c:v>19.08.1982</c:v>
                </c:pt>
                <c:pt idx="10657">
                  <c:v>18.08.1982</c:v>
                </c:pt>
                <c:pt idx="10658">
                  <c:v>17.08.1982</c:v>
                </c:pt>
                <c:pt idx="10659">
                  <c:v>16.08.1982</c:v>
                </c:pt>
                <c:pt idx="10660">
                  <c:v>13.08.1982</c:v>
                </c:pt>
                <c:pt idx="10661">
                  <c:v>12.08.1982</c:v>
                </c:pt>
                <c:pt idx="10662">
                  <c:v>11.08.1982</c:v>
                </c:pt>
                <c:pt idx="10663">
                  <c:v>10.08.1982</c:v>
                </c:pt>
                <c:pt idx="10664">
                  <c:v>09.08.1982</c:v>
                </c:pt>
                <c:pt idx="10665">
                  <c:v>06.08.1982</c:v>
                </c:pt>
                <c:pt idx="10666">
                  <c:v>05.08.1982</c:v>
                </c:pt>
                <c:pt idx="10667">
                  <c:v>04.08.1982</c:v>
                </c:pt>
                <c:pt idx="10668">
                  <c:v>03.08.1982</c:v>
                </c:pt>
                <c:pt idx="10669">
                  <c:v>02.08.1982</c:v>
                </c:pt>
                <c:pt idx="10670">
                  <c:v>30.07.1982</c:v>
                </c:pt>
                <c:pt idx="10671">
                  <c:v>29.07.1982</c:v>
                </c:pt>
                <c:pt idx="10672">
                  <c:v>28.07.1982</c:v>
                </c:pt>
                <c:pt idx="10673">
                  <c:v>27.07.1982</c:v>
                </c:pt>
                <c:pt idx="10674">
                  <c:v>26.07.1982</c:v>
                </c:pt>
                <c:pt idx="10675">
                  <c:v>23.07.1982</c:v>
                </c:pt>
                <c:pt idx="10676">
                  <c:v>22.07.1982</c:v>
                </c:pt>
                <c:pt idx="10677">
                  <c:v>21.07.1982</c:v>
                </c:pt>
                <c:pt idx="10678">
                  <c:v>20.07.1982</c:v>
                </c:pt>
                <c:pt idx="10679">
                  <c:v>19.07.1982</c:v>
                </c:pt>
                <c:pt idx="10680">
                  <c:v>16.07.1982</c:v>
                </c:pt>
                <c:pt idx="10681">
                  <c:v>15.07.1982</c:v>
                </c:pt>
                <c:pt idx="10682">
                  <c:v>14.07.1982</c:v>
                </c:pt>
                <c:pt idx="10683">
                  <c:v>13.07.1982</c:v>
                </c:pt>
                <c:pt idx="10684">
                  <c:v>12.07.1982</c:v>
                </c:pt>
                <c:pt idx="10685">
                  <c:v>09.07.1982</c:v>
                </c:pt>
                <c:pt idx="10686">
                  <c:v>08.07.1982</c:v>
                </c:pt>
                <c:pt idx="10687">
                  <c:v>07.07.1982</c:v>
                </c:pt>
                <c:pt idx="10688">
                  <c:v>06.07.1982</c:v>
                </c:pt>
                <c:pt idx="10689">
                  <c:v>02.07.1982</c:v>
                </c:pt>
                <c:pt idx="10690">
                  <c:v>01.07.1982</c:v>
                </c:pt>
                <c:pt idx="10691">
                  <c:v>30.06.1982</c:v>
                </c:pt>
                <c:pt idx="10692">
                  <c:v>29.06.1982</c:v>
                </c:pt>
                <c:pt idx="10693">
                  <c:v>28.06.1982</c:v>
                </c:pt>
                <c:pt idx="10694">
                  <c:v>25.06.1982</c:v>
                </c:pt>
                <c:pt idx="10695">
                  <c:v>24.06.1982</c:v>
                </c:pt>
                <c:pt idx="10696">
                  <c:v>23.06.1982</c:v>
                </c:pt>
                <c:pt idx="10697">
                  <c:v>22.06.1982</c:v>
                </c:pt>
                <c:pt idx="10698">
                  <c:v>21.06.1982</c:v>
                </c:pt>
                <c:pt idx="10699">
                  <c:v>18.06.1982</c:v>
                </c:pt>
                <c:pt idx="10700">
                  <c:v>17.06.1982</c:v>
                </c:pt>
                <c:pt idx="10701">
                  <c:v>16.06.1982</c:v>
                </c:pt>
                <c:pt idx="10702">
                  <c:v>15.06.1982</c:v>
                </c:pt>
                <c:pt idx="10703">
                  <c:v>14.06.1982</c:v>
                </c:pt>
                <c:pt idx="10704">
                  <c:v>11.06.1982</c:v>
                </c:pt>
                <c:pt idx="10705">
                  <c:v>10.06.1982</c:v>
                </c:pt>
                <c:pt idx="10706">
                  <c:v>09.06.1982</c:v>
                </c:pt>
                <c:pt idx="10707">
                  <c:v>08.06.1982</c:v>
                </c:pt>
                <c:pt idx="10708">
                  <c:v>07.06.1982</c:v>
                </c:pt>
                <c:pt idx="10709">
                  <c:v>04.06.1982</c:v>
                </c:pt>
                <c:pt idx="10710">
                  <c:v>03.06.1982</c:v>
                </c:pt>
                <c:pt idx="10711">
                  <c:v>02.06.1982</c:v>
                </c:pt>
                <c:pt idx="10712">
                  <c:v>01.06.1982</c:v>
                </c:pt>
                <c:pt idx="10713">
                  <c:v>28.05.1982</c:v>
                </c:pt>
                <c:pt idx="10714">
                  <c:v>27.05.1982</c:v>
                </c:pt>
                <c:pt idx="10715">
                  <c:v>26.05.1982</c:v>
                </c:pt>
                <c:pt idx="10716">
                  <c:v>25.05.1982</c:v>
                </c:pt>
                <c:pt idx="10717">
                  <c:v>24.05.1982</c:v>
                </c:pt>
                <c:pt idx="10718">
                  <c:v>21.05.1982</c:v>
                </c:pt>
                <c:pt idx="10719">
                  <c:v>20.05.1982</c:v>
                </c:pt>
                <c:pt idx="10720">
                  <c:v>19.05.1982</c:v>
                </c:pt>
                <c:pt idx="10721">
                  <c:v>18.05.1982</c:v>
                </c:pt>
                <c:pt idx="10722">
                  <c:v>17.05.1982</c:v>
                </c:pt>
                <c:pt idx="10723">
                  <c:v>14.05.1982</c:v>
                </c:pt>
                <c:pt idx="10724">
                  <c:v>13.05.1982</c:v>
                </c:pt>
                <c:pt idx="10725">
                  <c:v>12.05.1982</c:v>
                </c:pt>
                <c:pt idx="10726">
                  <c:v>11.05.1982</c:v>
                </c:pt>
                <c:pt idx="10727">
                  <c:v>10.05.1982</c:v>
                </c:pt>
                <c:pt idx="10728">
                  <c:v>07.05.1982</c:v>
                </c:pt>
                <c:pt idx="10729">
                  <c:v>06.05.1982</c:v>
                </c:pt>
                <c:pt idx="10730">
                  <c:v>05.05.1982</c:v>
                </c:pt>
                <c:pt idx="10731">
                  <c:v>04.05.1982</c:v>
                </c:pt>
                <c:pt idx="10732">
                  <c:v>03.05.1982</c:v>
                </c:pt>
                <c:pt idx="10733">
                  <c:v>30.04.1982</c:v>
                </c:pt>
                <c:pt idx="10734">
                  <c:v>29.04.1982</c:v>
                </c:pt>
                <c:pt idx="10735">
                  <c:v>28.04.1982</c:v>
                </c:pt>
                <c:pt idx="10736">
                  <c:v>27.04.1982</c:v>
                </c:pt>
                <c:pt idx="10737">
                  <c:v>26.04.1982</c:v>
                </c:pt>
                <c:pt idx="10738">
                  <c:v>23.04.1982</c:v>
                </c:pt>
                <c:pt idx="10739">
                  <c:v>22.04.1982</c:v>
                </c:pt>
                <c:pt idx="10740">
                  <c:v>21.04.1982</c:v>
                </c:pt>
                <c:pt idx="10741">
                  <c:v>20.04.1982</c:v>
                </c:pt>
                <c:pt idx="10742">
                  <c:v>19.04.1982</c:v>
                </c:pt>
                <c:pt idx="10743">
                  <c:v>16.04.1982</c:v>
                </c:pt>
                <c:pt idx="10744">
                  <c:v>15.04.1982</c:v>
                </c:pt>
                <c:pt idx="10745">
                  <c:v>14.04.1982</c:v>
                </c:pt>
                <c:pt idx="10746">
                  <c:v>13.04.1982</c:v>
                </c:pt>
                <c:pt idx="10747">
                  <c:v>12.04.1982</c:v>
                </c:pt>
                <c:pt idx="10748">
                  <c:v>08.04.1982</c:v>
                </c:pt>
                <c:pt idx="10749">
                  <c:v>07.04.1982</c:v>
                </c:pt>
                <c:pt idx="10750">
                  <c:v>06.04.1982</c:v>
                </c:pt>
                <c:pt idx="10751">
                  <c:v>05.04.1982</c:v>
                </c:pt>
                <c:pt idx="10752">
                  <c:v>02.04.1982</c:v>
                </c:pt>
                <c:pt idx="10753">
                  <c:v>01.04.1982</c:v>
                </c:pt>
                <c:pt idx="10754">
                  <c:v>31.03.1982</c:v>
                </c:pt>
                <c:pt idx="10755">
                  <c:v>30.03.1982</c:v>
                </c:pt>
                <c:pt idx="10756">
                  <c:v>29.03.1982</c:v>
                </c:pt>
                <c:pt idx="10757">
                  <c:v>26.03.1982</c:v>
                </c:pt>
                <c:pt idx="10758">
                  <c:v>25.03.1982</c:v>
                </c:pt>
                <c:pt idx="10759">
                  <c:v>24.03.1982</c:v>
                </c:pt>
                <c:pt idx="10760">
                  <c:v>23.03.1982</c:v>
                </c:pt>
                <c:pt idx="10761">
                  <c:v>22.03.1982</c:v>
                </c:pt>
                <c:pt idx="10762">
                  <c:v>19.03.1982</c:v>
                </c:pt>
                <c:pt idx="10763">
                  <c:v>18.03.1982</c:v>
                </c:pt>
                <c:pt idx="10764">
                  <c:v>17.03.1982</c:v>
                </c:pt>
                <c:pt idx="10765">
                  <c:v>16.03.1982</c:v>
                </c:pt>
                <c:pt idx="10766">
                  <c:v>15.03.1982</c:v>
                </c:pt>
                <c:pt idx="10767">
                  <c:v>12.03.1982</c:v>
                </c:pt>
                <c:pt idx="10768">
                  <c:v>11.03.1982</c:v>
                </c:pt>
                <c:pt idx="10769">
                  <c:v>10.03.1982</c:v>
                </c:pt>
                <c:pt idx="10770">
                  <c:v>09.03.1982</c:v>
                </c:pt>
                <c:pt idx="10771">
                  <c:v>08.03.1982</c:v>
                </c:pt>
                <c:pt idx="10772">
                  <c:v>05.03.1982</c:v>
                </c:pt>
                <c:pt idx="10773">
                  <c:v>04.03.1982</c:v>
                </c:pt>
                <c:pt idx="10774">
                  <c:v>03.03.1982</c:v>
                </c:pt>
                <c:pt idx="10775">
                  <c:v>02.03.1982</c:v>
                </c:pt>
                <c:pt idx="10776">
                  <c:v>01.03.1982</c:v>
                </c:pt>
                <c:pt idx="10777">
                  <c:v>26.02.1982</c:v>
                </c:pt>
                <c:pt idx="10778">
                  <c:v>25.02.1982</c:v>
                </c:pt>
                <c:pt idx="10779">
                  <c:v>24.02.1982</c:v>
                </c:pt>
                <c:pt idx="10780">
                  <c:v>23.02.1982</c:v>
                </c:pt>
                <c:pt idx="10781">
                  <c:v>22.02.1982</c:v>
                </c:pt>
                <c:pt idx="10782">
                  <c:v>19.02.1982</c:v>
                </c:pt>
                <c:pt idx="10783">
                  <c:v>18.02.1982</c:v>
                </c:pt>
                <c:pt idx="10784">
                  <c:v>17.02.1982</c:v>
                </c:pt>
                <c:pt idx="10785">
                  <c:v>16.02.1982</c:v>
                </c:pt>
                <c:pt idx="10786">
                  <c:v>12.02.1982</c:v>
                </c:pt>
                <c:pt idx="10787">
                  <c:v>11.02.1982</c:v>
                </c:pt>
                <c:pt idx="10788">
                  <c:v>10.02.1982</c:v>
                </c:pt>
                <c:pt idx="10789">
                  <c:v>09.02.1982</c:v>
                </c:pt>
                <c:pt idx="10790">
                  <c:v>08.02.1982</c:v>
                </c:pt>
                <c:pt idx="10791">
                  <c:v>05.02.1982</c:v>
                </c:pt>
                <c:pt idx="10792">
                  <c:v>04.02.1982</c:v>
                </c:pt>
                <c:pt idx="10793">
                  <c:v>03.02.1982</c:v>
                </c:pt>
                <c:pt idx="10794">
                  <c:v>02.02.1982</c:v>
                </c:pt>
                <c:pt idx="10795">
                  <c:v>01.02.1982</c:v>
                </c:pt>
                <c:pt idx="10796">
                  <c:v>29.01.1982</c:v>
                </c:pt>
                <c:pt idx="10797">
                  <c:v>28.01.1982</c:v>
                </c:pt>
                <c:pt idx="10798">
                  <c:v>27.01.1982</c:v>
                </c:pt>
                <c:pt idx="10799">
                  <c:v>26.01.1982</c:v>
                </c:pt>
                <c:pt idx="10800">
                  <c:v>25.01.1982</c:v>
                </c:pt>
                <c:pt idx="10801">
                  <c:v>22.01.1982</c:v>
                </c:pt>
                <c:pt idx="10802">
                  <c:v>21.01.1982</c:v>
                </c:pt>
                <c:pt idx="10803">
                  <c:v>20.01.1982</c:v>
                </c:pt>
                <c:pt idx="10804">
                  <c:v>19.01.1982</c:v>
                </c:pt>
                <c:pt idx="10805">
                  <c:v>18.01.1982</c:v>
                </c:pt>
                <c:pt idx="10806">
                  <c:v>15.01.1982</c:v>
                </c:pt>
                <c:pt idx="10807">
                  <c:v>14.01.1982</c:v>
                </c:pt>
                <c:pt idx="10808">
                  <c:v>13.01.1982</c:v>
                </c:pt>
                <c:pt idx="10809">
                  <c:v>12.01.1982</c:v>
                </c:pt>
                <c:pt idx="10810">
                  <c:v>11.01.1982</c:v>
                </c:pt>
                <c:pt idx="10811">
                  <c:v>08.01.1982</c:v>
                </c:pt>
                <c:pt idx="10812">
                  <c:v>07.01.1982</c:v>
                </c:pt>
                <c:pt idx="10813">
                  <c:v>06.01.1982</c:v>
                </c:pt>
                <c:pt idx="10814">
                  <c:v>05.01.1982</c:v>
                </c:pt>
                <c:pt idx="10815">
                  <c:v>04.01.1982</c:v>
                </c:pt>
                <c:pt idx="10816">
                  <c:v>31.12.1981</c:v>
                </c:pt>
                <c:pt idx="10817">
                  <c:v>30.12.1981</c:v>
                </c:pt>
                <c:pt idx="10818">
                  <c:v>29.12.1981</c:v>
                </c:pt>
                <c:pt idx="10819">
                  <c:v>28.12.1981</c:v>
                </c:pt>
                <c:pt idx="10820">
                  <c:v>24.12.1981</c:v>
                </c:pt>
                <c:pt idx="10821">
                  <c:v>23.12.1981</c:v>
                </c:pt>
                <c:pt idx="10822">
                  <c:v>22.12.1981</c:v>
                </c:pt>
                <c:pt idx="10823">
                  <c:v>21.12.1981</c:v>
                </c:pt>
                <c:pt idx="10824">
                  <c:v>18.12.1981</c:v>
                </c:pt>
                <c:pt idx="10825">
                  <c:v>17.12.1981</c:v>
                </c:pt>
                <c:pt idx="10826">
                  <c:v>16.12.1981</c:v>
                </c:pt>
                <c:pt idx="10827">
                  <c:v>15.12.1981</c:v>
                </c:pt>
                <c:pt idx="10828">
                  <c:v>14.12.1981</c:v>
                </c:pt>
                <c:pt idx="10829">
                  <c:v>11.12.1981</c:v>
                </c:pt>
                <c:pt idx="10830">
                  <c:v>10.12.1981</c:v>
                </c:pt>
                <c:pt idx="10831">
                  <c:v>09.12.1981</c:v>
                </c:pt>
                <c:pt idx="10832">
                  <c:v>08.12.1981</c:v>
                </c:pt>
                <c:pt idx="10833">
                  <c:v>07.12.1981</c:v>
                </c:pt>
                <c:pt idx="10834">
                  <c:v>04.12.1981</c:v>
                </c:pt>
                <c:pt idx="10835">
                  <c:v>03.12.1981</c:v>
                </c:pt>
                <c:pt idx="10836">
                  <c:v>02.12.1981</c:v>
                </c:pt>
                <c:pt idx="10837">
                  <c:v>01.12.1981</c:v>
                </c:pt>
                <c:pt idx="10838">
                  <c:v>30.11.1981</c:v>
                </c:pt>
                <c:pt idx="10839">
                  <c:v>27.11.1981</c:v>
                </c:pt>
                <c:pt idx="10840">
                  <c:v>25.11.1981</c:v>
                </c:pt>
                <c:pt idx="10841">
                  <c:v>24.11.1981</c:v>
                </c:pt>
                <c:pt idx="10842">
                  <c:v>23.11.1981</c:v>
                </c:pt>
                <c:pt idx="10843">
                  <c:v>20.11.1981</c:v>
                </c:pt>
                <c:pt idx="10844">
                  <c:v>19.11.1981</c:v>
                </c:pt>
                <c:pt idx="10845">
                  <c:v>18.11.1981</c:v>
                </c:pt>
                <c:pt idx="10846">
                  <c:v>17.11.1981</c:v>
                </c:pt>
                <c:pt idx="10847">
                  <c:v>16.11.1981</c:v>
                </c:pt>
                <c:pt idx="10848">
                  <c:v>13.11.1981</c:v>
                </c:pt>
                <c:pt idx="10849">
                  <c:v>12.11.1981</c:v>
                </c:pt>
                <c:pt idx="10850">
                  <c:v>11.11.1981</c:v>
                </c:pt>
                <c:pt idx="10851">
                  <c:v>10.11.1981</c:v>
                </c:pt>
                <c:pt idx="10852">
                  <c:v>09.11.1981</c:v>
                </c:pt>
                <c:pt idx="10853">
                  <c:v>06.11.1981</c:v>
                </c:pt>
                <c:pt idx="10854">
                  <c:v>05.11.1981</c:v>
                </c:pt>
                <c:pt idx="10855">
                  <c:v>04.11.1981</c:v>
                </c:pt>
                <c:pt idx="10856">
                  <c:v>03.11.1981</c:v>
                </c:pt>
                <c:pt idx="10857">
                  <c:v>02.11.1981</c:v>
                </c:pt>
                <c:pt idx="10858">
                  <c:v>30.10.1981</c:v>
                </c:pt>
                <c:pt idx="10859">
                  <c:v>29.10.1981</c:v>
                </c:pt>
                <c:pt idx="10860">
                  <c:v>28.10.1981</c:v>
                </c:pt>
                <c:pt idx="10861">
                  <c:v>27.10.1981</c:v>
                </c:pt>
                <c:pt idx="10862">
                  <c:v>26.10.1981</c:v>
                </c:pt>
                <c:pt idx="10863">
                  <c:v>23.10.1981</c:v>
                </c:pt>
                <c:pt idx="10864">
                  <c:v>22.10.1981</c:v>
                </c:pt>
                <c:pt idx="10865">
                  <c:v>21.10.1981</c:v>
                </c:pt>
                <c:pt idx="10866">
                  <c:v>20.10.1981</c:v>
                </c:pt>
                <c:pt idx="10867">
                  <c:v>19.10.1981</c:v>
                </c:pt>
                <c:pt idx="10868">
                  <c:v>16.10.1981</c:v>
                </c:pt>
                <c:pt idx="10869">
                  <c:v>15.10.1981</c:v>
                </c:pt>
                <c:pt idx="10870">
                  <c:v>14.10.1981</c:v>
                </c:pt>
                <c:pt idx="10871">
                  <c:v>13.10.1981</c:v>
                </c:pt>
                <c:pt idx="10872">
                  <c:v>12.10.1981</c:v>
                </c:pt>
                <c:pt idx="10873">
                  <c:v>09.10.1981</c:v>
                </c:pt>
                <c:pt idx="10874">
                  <c:v>08.10.1981</c:v>
                </c:pt>
                <c:pt idx="10875">
                  <c:v>07.10.1981</c:v>
                </c:pt>
                <c:pt idx="10876">
                  <c:v>06.10.1981</c:v>
                </c:pt>
                <c:pt idx="10877">
                  <c:v>05.10.1981</c:v>
                </c:pt>
                <c:pt idx="10878">
                  <c:v>02.10.1981</c:v>
                </c:pt>
                <c:pt idx="10879">
                  <c:v>01.10.1981</c:v>
                </c:pt>
                <c:pt idx="10880">
                  <c:v>30.09.1981</c:v>
                </c:pt>
                <c:pt idx="10881">
                  <c:v>29.09.1981</c:v>
                </c:pt>
                <c:pt idx="10882">
                  <c:v>28.09.1981</c:v>
                </c:pt>
                <c:pt idx="10883">
                  <c:v>25.09.1981</c:v>
                </c:pt>
                <c:pt idx="10884">
                  <c:v>24.09.1981</c:v>
                </c:pt>
                <c:pt idx="10885">
                  <c:v>23.09.1981</c:v>
                </c:pt>
                <c:pt idx="10886">
                  <c:v>22.09.1981</c:v>
                </c:pt>
                <c:pt idx="10887">
                  <c:v>21.09.1981</c:v>
                </c:pt>
                <c:pt idx="10888">
                  <c:v>18.09.1981</c:v>
                </c:pt>
                <c:pt idx="10889">
                  <c:v>17.09.1981</c:v>
                </c:pt>
                <c:pt idx="10890">
                  <c:v>16.09.1981</c:v>
                </c:pt>
                <c:pt idx="10891">
                  <c:v>15.09.1981</c:v>
                </c:pt>
                <c:pt idx="10892">
                  <c:v>14.09.1981</c:v>
                </c:pt>
                <c:pt idx="10893">
                  <c:v>11.09.1981</c:v>
                </c:pt>
                <c:pt idx="10894">
                  <c:v>10.09.1981</c:v>
                </c:pt>
                <c:pt idx="10895">
                  <c:v>09.09.1981</c:v>
                </c:pt>
                <c:pt idx="10896">
                  <c:v>08.09.1981</c:v>
                </c:pt>
                <c:pt idx="10897">
                  <c:v>04.09.1981</c:v>
                </c:pt>
                <c:pt idx="10898">
                  <c:v>03.09.1981</c:v>
                </c:pt>
                <c:pt idx="10899">
                  <c:v>02.09.1981</c:v>
                </c:pt>
                <c:pt idx="10900">
                  <c:v>01.09.1981</c:v>
                </c:pt>
                <c:pt idx="10901">
                  <c:v>31.08.1981</c:v>
                </c:pt>
                <c:pt idx="10902">
                  <c:v>28.08.1981</c:v>
                </c:pt>
                <c:pt idx="10903">
                  <c:v>27.08.1981</c:v>
                </c:pt>
                <c:pt idx="10904">
                  <c:v>26.08.1981</c:v>
                </c:pt>
                <c:pt idx="10905">
                  <c:v>25.08.1981</c:v>
                </c:pt>
                <c:pt idx="10906">
                  <c:v>24.08.1981</c:v>
                </c:pt>
                <c:pt idx="10907">
                  <c:v>21.08.1981</c:v>
                </c:pt>
                <c:pt idx="10908">
                  <c:v>20.08.1981</c:v>
                </c:pt>
                <c:pt idx="10909">
                  <c:v>19.08.1981</c:v>
                </c:pt>
                <c:pt idx="10910">
                  <c:v>18.08.1981</c:v>
                </c:pt>
                <c:pt idx="10911">
                  <c:v>17.08.1981</c:v>
                </c:pt>
                <c:pt idx="10912">
                  <c:v>14.08.1981</c:v>
                </c:pt>
                <c:pt idx="10913">
                  <c:v>13.08.1981</c:v>
                </c:pt>
                <c:pt idx="10914">
                  <c:v>12.08.1981</c:v>
                </c:pt>
                <c:pt idx="10915">
                  <c:v>11.08.1981</c:v>
                </c:pt>
                <c:pt idx="10916">
                  <c:v>10.08.1981</c:v>
                </c:pt>
                <c:pt idx="10917">
                  <c:v>07.08.1981</c:v>
                </c:pt>
                <c:pt idx="10918">
                  <c:v>06.08.1981</c:v>
                </c:pt>
                <c:pt idx="10919">
                  <c:v>05.08.1981</c:v>
                </c:pt>
                <c:pt idx="10920">
                  <c:v>04.08.1981</c:v>
                </c:pt>
                <c:pt idx="10921">
                  <c:v>03.08.1981</c:v>
                </c:pt>
                <c:pt idx="10922">
                  <c:v>31.07.1981</c:v>
                </c:pt>
                <c:pt idx="10923">
                  <c:v>30.07.1981</c:v>
                </c:pt>
                <c:pt idx="10924">
                  <c:v>29.07.1981</c:v>
                </c:pt>
                <c:pt idx="10925">
                  <c:v>28.07.1981</c:v>
                </c:pt>
                <c:pt idx="10926">
                  <c:v>27.07.1981</c:v>
                </c:pt>
                <c:pt idx="10927">
                  <c:v>24.07.1981</c:v>
                </c:pt>
                <c:pt idx="10928">
                  <c:v>23.07.1981</c:v>
                </c:pt>
                <c:pt idx="10929">
                  <c:v>22.07.1981</c:v>
                </c:pt>
                <c:pt idx="10930">
                  <c:v>21.07.1981</c:v>
                </c:pt>
                <c:pt idx="10931">
                  <c:v>20.07.1981</c:v>
                </c:pt>
                <c:pt idx="10932">
                  <c:v>17.07.1981</c:v>
                </c:pt>
                <c:pt idx="10933">
                  <c:v>16.07.1981</c:v>
                </c:pt>
                <c:pt idx="10934">
                  <c:v>15.07.1981</c:v>
                </c:pt>
                <c:pt idx="10935">
                  <c:v>14.07.1981</c:v>
                </c:pt>
                <c:pt idx="10936">
                  <c:v>13.07.1981</c:v>
                </c:pt>
                <c:pt idx="10937">
                  <c:v>10.07.1981</c:v>
                </c:pt>
                <c:pt idx="10938">
                  <c:v>09.07.1981</c:v>
                </c:pt>
                <c:pt idx="10939">
                  <c:v>08.07.1981</c:v>
                </c:pt>
                <c:pt idx="10940">
                  <c:v>07.07.1981</c:v>
                </c:pt>
                <c:pt idx="10941">
                  <c:v>06.07.1981</c:v>
                </c:pt>
                <c:pt idx="10942">
                  <c:v>02.07.1981</c:v>
                </c:pt>
                <c:pt idx="10943">
                  <c:v>01.07.1981</c:v>
                </c:pt>
                <c:pt idx="10944">
                  <c:v>30.06.1981</c:v>
                </c:pt>
                <c:pt idx="10945">
                  <c:v>29.06.1981</c:v>
                </c:pt>
                <c:pt idx="10946">
                  <c:v>26.06.1981</c:v>
                </c:pt>
                <c:pt idx="10947">
                  <c:v>25.06.1981</c:v>
                </c:pt>
                <c:pt idx="10948">
                  <c:v>24.06.1981</c:v>
                </c:pt>
                <c:pt idx="10949">
                  <c:v>23.06.1981</c:v>
                </c:pt>
                <c:pt idx="10950">
                  <c:v>22.06.1981</c:v>
                </c:pt>
                <c:pt idx="10951">
                  <c:v>19.06.1981</c:v>
                </c:pt>
                <c:pt idx="10952">
                  <c:v>18.06.1981</c:v>
                </c:pt>
                <c:pt idx="10953">
                  <c:v>17.06.1981</c:v>
                </c:pt>
                <c:pt idx="10954">
                  <c:v>16.06.1981</c:v>
                </c:pt>
                <c:pt idx="10955">
                  <c:v>15.06.1981</c:v>
                </c:pt>
                <c:pt idx="10956">
                  <c:v>12.06.1981</c:v>
                </c:pt>
                <c:pt idx="10957">
                  <c:v>11.06.1981</c:v>
                </c:pt>
                <c:pt idx="10958">
                  <c:v>10.06.1981</c:v>
                </c:pt>
                <c:pt idx="10959">
                  <c:v>09.06.1981</c:v>
                </c:pt>
                <c:pt idx="10960">
                  <c:v>08.06.1981</c:v>
                </c:pt>
                <c:pt idx="10961">
                  <c:v>05.06.1981</c:v>
                </c:pt>
                <c:pt idx="10962">
                  <c:v>04.06.1981</c:v>
                </c:pt>
                <c:pt idx="10963">
                  <c:v>03.06.1981</c:v>
                </c:pt>
                <c:pt idx="10964">
                  <c:v>02.06.1981</c:v>
                </c:pt>
                <c:pt idx="10965">
                  <c:v>01.06.1981</c:v>
                </c:pt>
                <c:pt idx="10966">
                  <c:v>29.05.1981</c:v>
                </c:pt>
                <c:pt idx="10967">
                  <c:v>28.05.1981</c:v>
                </c:pt>
                <c:pt idx="10968">
                  <c:v>27.05.1981</c:v>
                </c:pt>
                <c:pt idx="10969">
                  <c:v>26.05.1981</c:v>
                </c:pt>
                <c:pt idx="10970">
                  <c:v>22.05.1981</c:v>
                </c:pt>
                <c:pt idx="10971">
                  <c:v>21.05.1981</c:v>
                </c:pt>
                <c:pt idx="10972">
                  <c:v>20.05.1981</c:v>
                </c:pt>
                <c:pt idx="10973">
                  <c:v>19.05.1981</c:v>
                </c:pt>
                <c:pt idx="10974">
                  <c:v>18.05.1981</c:v>
                </c:pt>
                <c:pt idx="10975">
                  <c:v>15.05.1981</c:v>
                </c:pt>
                <c:pt idx="10976">
                  <c:v>14.05.1981</c:v>
                </c:pt>
                <c:pt idx="10977">
                  <c:v>13.05.1981</c:v>
                </c:pt>
                <c:pt idx="10978">
                  <c:v>12.05.1981</c:v>
                </c:pt>
                <c:pt idx="10979">
                  <c:v>11.05.1981</c:v>
                </c:pt>
                <c:pt idx="10980">
                  <c:v>08.05.1981</c:v>
                </c:pt>
                <c:pt idx="10981">
                  <c:v>07.05.1981</c:v>
                </c:pt>
                <c:pt idx="10982">
                  <c:v>06.05.1981</c:v>
                </c:pt>
                <c:pt idx="10983">
                  <c:v>05.05.1981</c:v>
                </c:pt>
                <c:pt idx="10984">
                  <c:v>04.05.1981</c:v>
                </c:pt>
                <c:pt idx="10985">
                  <c:v>01.05.1981</c:v>
                </c:pt>
                <c:pt idx="10986">
                  <c:v>30.04.1981</c:v>
                </c:pt>
                <c:pt idx="10987">
                  <c:v>29.04.1981</c:v>
                </c:pt>
                <c:pt idx="10988">
                  <c:v>28.04.1981</c:v>
                </c:pt>
                <c:pt idx="10989">
                  <c:v>27.04.1981</c:v>
                </c:pt>
                <c:pt idx="10990">
                  <c:v>24.04.1981</c:v>
                </c:pt>
                <c:pt idx="10991">
                  <c:v>23.04.1981</c:v>
                </c:pt>
                <c:pt idx="10992">
                  <c:v>22.04.1981</c:v>
                </c:pt>
                <c:pt idx="10993">
                  <c:v>21.04.1981</c:v>
                </c:pt>
                <c:pt idx="10994">
                  <c:v>20.04.1981</c:v>
                </c:pt>
                <c:pt idx="10995">
                  <c:v>16.04.1981</c:v>
                </c:pt>
                <c:pt idx="10996">
                  <c:v>15.04.1981</c:v>
                </c:pt>
                <c:pt idx="10997">
                  <c:v>14.04.1981</c:v>
                </c:pt>
                <c:pt idx="10998">
                  <c:v>13.04.1981</c:v>
                </c:pt>
                <c:pt idx="10999">
                  <c:v>10.04.1981</c:v>
                </c:pt>
                <c:pt idx="11000">
                  <c:v>09.04.1981</c:v>
                </c:pt>
                <c:pt idx="11001">
                  <c:v>08.04.1981</c:v>
                </c:pt>
                <c:pt idx="11002">
                  <c:v>07.04.1981</c:v>
                </c:pt>
                <c:pt idx="11003">
                  <c:v>06.04.1981</c:v>
                </c:pt>
                <c:pt idx="11004">
                  <c:v>03.04.1981</c:v>
                </c:pt>
                <c:pt idx="11005">
                  <c:v>02.04.1981</c:v>
                </c:pt>
                <c:pt idx="11006">
                  <c:v>01.04.1981</c:v>
                </c:pt>
                <c:pt idx="11007">
                  <c:v>31.03.1981</c:v>
                </c:pt>
                <c:pt idx="11008">
                  <c:v>30.03.1981</c:v>
                </c:pt>
                <c:pt idx="11009">
                  <c:v>27.03.1981</c:v>
                </c:pt>
                <c:pt idx="11010">
                  <c:v>26.03.1981</c:v>
                </c:pt>
                <c:pt idx="11011">
                  <c:v>25.03.1981</c:v>
                </c:pt>
                <c:pt idx="11012">
                  <c:v>24.03.1981</c:v>
                </c:pt>
                <c:pt idx="11013">
                  <c:v>23.03.1981</c:v>
                </c:pt>
                <c:pt idx="11014">
                  <c:v>20.03.1981</c:v>
                </c:pt>
                <c:pt idx="11015">
                  <c:v>19.03.1981</c:v>
                </c:pt>
                <c:pt idx="11016">
                  <c:v>18.03.1981</c:v>
                </c:pt>
                <c:pt idx="11017">
                  <c:v>17.03.1981</c:v>
                </c:pt>
                <c:pt idx="11018">
                  <c:v>16.03.1981</c:v>
                </c:pt>
                <c:pt idx="11019">
                  <c:v>13.03.1981</c:v>
                </c:pt>
                <c:pt idx="11020">
                  <c:v>12.03.1981</c:v>
                </c:pt>
                <c:pt idx="11021">
                  <c:v>11.03.1981</c:v>
                </c:pt>
                <c:pt idx="11022">
                  <c:v>10.03.1981</c:v>
                </c:pt>
                <c:pt idx="11023">
                  <c:v>09.03.1981</c:v>
                </c:pt>
                <c:pt idx="11024">
                  <c:v>06.03.1981</c:v>
                </c:pt>
                <c:pt idx="11025">
                  <c:v>05.03.1981</c:v>
                </c:pt>
                <c:pt idx="11026">
                  <c:v>04.03.1981</c:v>
                </c:pt>
                <c:pt idx="11027">
                  <c:v>03.03.1981</c:v>
                </c:pt>
                <c:pt idx="11028">
                  <c:v>02.03.1981</c:v>
                </c:pt>
                <c:pt idx="11029">
                  <c:v>27.02.1981</c:v>
                </c:pt>
                <c:pt idx="11030">
                  <c:v>26.02.1981</c:v>
                </c:pt>
                <c:pt idx="11031">
                  <c:v>25.02.1981</c:v>
                </c:pt>
                <c:pt idx="11032">
                  <c:v>24.02.1981</c:v>
                </c:pt>
                <c:pt idx="11033">
                  <c:v>23.02.1981</c:v>
                </c:pt>
                <c:pt idx="11034">
                  <c:v>20.02.1981</c:v>
                </c:pt>
                <c:pt idx="11035">
                  <c:v>19.02.1981</c:v>
                </c:pt>
                <c:pt idx="11036">
                  <c:v>18.02.1981</c:v>
                </c:pt>
                <c:pt idx="11037">
                  <c:v>17.02.1981</c:v>
                </c:pt>
                <c:pt idx="11038">
                  <c:v>13.02.1981</c:v>
                </c:pt>
                <c:pt idx="11039">
                  <c:v>12.02.1981</c:v>
                </c:pt>
                <c:pt idx="11040">
                  <c:v>11.02.1981</c:v>
                </c:pt>
                <c:pt idx="11041">
                  <c:v>10.02.1981</c:v>
                </c:pt>
                <c:pt idx="11042">
                  <c:v>09.02.1981</c:v>
                </c:pt>
                <c:pt idx="11043">
                  <c:v>06.02.1981</c:v>
                </c:pt>
                <c:pt idx="11044">
                  <c:v>05.02.1981</c:v>
                </c:pt>
                <c:pt idx="11045">
                  <c:v>04.02.1981</c:v>
                </c:pt>
                <c:pt idx="11046">
                  <c:v>03.02.1981</c:v>
                </c:pt>
                <c:pt idx="11047">
                  <c:v>02.02.1981</c:v>
                </c:pt>
                <c:pt idx="11048">
                  <c:v>30.01.1981</c:v>
                </c:pt>
                <c:pt idx="11049">
                  <c:v>29.01.1981</c:v>
                </c:pt>
                <c:pt idx="11050">
                  <c:v>28.01.1981</c:v>
                </c:pt>
                <c:pt idx="11051">
                  <c:v>27.01.1981</c:v>
                </c:pt>
                <c:pt idx="11052">
                  <c:v>26.01.1981</c:v>
                </c:pt>
                <c:pt idx="11053">
                  <c:v>23.01.1981</c:v>
                </c:pt>
                <c:pt idx="11054">
                  <c:v>22.01.1981</c:v>
                </c:pt>
                <c:pt idx="11055">
                  <c:v>21.01.1981</c:v>
                </c:pt>
                <c:pt idx="11056">
                  <c:v>20.01.1981</c:v>
                </c:pt>
                <c:pt idx="11057">
                  <c:v>19.01.1981</c:v>
                </c:pt>
                <c:pt idx="11058">
                  <c:v>16.01.1981</c:v>
                </c:pt>
                <c:pt idx="11059">
                  <c:v>15.01.1981</c:v>
                </c:pt>
                <c:pt idx="11060">
                  <c:v>14.01.1981</c:v>
                </c:pt>
                <c:pt idx="11061">
                  <c:v>13.01.1981</c:v>
                </c:pt>
                <c:pt idx="11062">
                  <c:v>12.01.1981</c:v>
                </c:pt>
                <c:pt idx="11063">
                  <c:v>09.01.1981</c:v>
                </c:pt>
                <c:pt idx="11064">
                  <c:v>08.01.1981</c:v>
                </c:pt>
                <c:pt idx="11065">
                  <c:v>07.01.1981</c:v>
                </c:pt>
                <c:pt idx="11066">
                  <c:v>06.01.1981</c:v>
                </c:pt>
                <c:pt idx="11067">
                  <c:v>05.01.1981</c:v>
                </c:pt>
                <c:pt idx="11068">
                  <c:v>02.01.1981</c:v>
                </c:pt>
                <c:pt idx="11069">
                  <c:v>31.12.1980</c:v>
                </c:pt>
                <c:pt idx="11070">
                  <c:v>30.12.1980</c:v>
                </c:pt>
                <c:pt idx="11071">
                  <c:v>29.12.1980</c:v>
                </c:pt>
                <c:pt idx="11072">
                  <c:v>26.12.1980</c:v>
                </c:pt>
                <c:pt idx="11073">
                  <c:v>24.12.1980</c:v>
                </c:pt>
                <c:pt idx="11074">
                  <c:v>23.12.1980</c:v>
                </c:pt>
                <c:pt idx="11075">
                  <c:v>22.12.1980</c:v>
                </c:pt>
                <c:pt idx="11076">
                  <c:v>19.12.1980</c:v>
                </c:pt>
                <c:pt idx="11077">
                  <c:v>18.12.1980</c:v>
                </c:pt>
                <c:pt idx="11078">
                  <c:v>17.12.1980</c:v>
                </c:pt>
                <c:pt idx="11079">
                  <c:v>16.12.1980</c:v>
                </c:pt>
                <c:pt idx="11080">
                  <c:v>15.12.1980</c:v>
                </c:pt>
                <c:pt idx="11081">
                  <c:v>12.12.1980</c:v>
                </c:pt>
                <c:pt idx="11082">
                  <c:v>11.12.1980</c:v>
                </c:pt>
                <c:pt idx="11083">
                  <c:v>10.12.1980</c:v>
                </c:pt>
                <c:pt idx="11084">
                  <c:v>09.12.1980</c:v>
                </c:pt>
                <c:pt idx="11085">
                  <c:v>08.12.1980</c:v>
                </c:pt>
                <c:pt idx="11086">
                  <c:v>05.12.1980</c:v>
                </c:pt>
                <c:pt idx="11087">
                  <c:v>04.12.1980</c:v>
                </c:pt>
                <c:pt idx="11088">
                  <c:v>03.12.1980</c:v>
                </c:pt>
                <c:pt idx="11089">
                  <c:v>02.12.1980</c:v>
                </c:pt>
                <c:pt idx="11090">
                  <c:v>01.12.1980</c:v>
                </c:pt>
                <c:pt idx="11091">
                  <c:v>28.11.1980</c:v>
                </c:pt>
                <c:pt idx="11092">
                  <c:v>26.11.1980</c:v>
                </c:pt>
                <c:pt idx="11093">
                  <c:v>25.11.1980</c:v>
                </c:pt>
                <c:pt idx="11094">
                  <c:v>24.11.1980</c:v>
                </c:pt>
                <c:pt idx="11095">
                  <c:v>21.11.1980</c:v>
                </c:pt>
                <c:pt idx="11096">
                  <c:v>20.11.1980</c:v>
                </c:pt>
                <c:pt idx="11097">
                  <c:v>19.11.1980</c:v>
                </c:pt>
                <c:pt idx="11098">
                  <c:v>18.11.1980</c:v>
                </c:pt>
                <c:pt idx="11099">
                  <c:v>17.11.1980</c:v>
                </c:pt>
                <c:pt idx="11100">
                  <c:v>14.11.1980</c:v>
                </c:pt>
                <c:pt idx="11101">
                  <c:v>13.11.1980</c:v>
                </c:pt>
                <c:pt idx="11102">
                  <c:v>12.11.1980</c:v>
                </c:pt>
                <c:pt idx="11103">
                  <c:v>11.11.1980</c:v>
                </c:pt>
                <c:pt idx="11104">
                  <c:v>10.11.1980</c:v>
                </c:pt>
                <c:pt idx="11105">
                  <c:v>07.11.1980</c:v>
                </c:pt>
                <c:pt idx="11106">
                  <c:v>06.11.1980</c:v>
                </c:pt>
                <c:pt idx="11107">
                  <c:v>05.11.1980</c:v>
                </c:pt>
                <c:pt idx="11108">
                  <c:v>03.11.1980</c:v>
                </c:pt>
                <c:pt idx="11109">
                  <c:v>31.10.1980</c:v>
                </c:pt>
                <c:pt idx="11110">
                  <c:v>30.10.1980</c:v>
                </c:pt>
                <c:pt idx="11111">
                  <c:v>29.10.1980</c:v>
                </c:pt>
                <c:pt idx="11112">
                  <c:v>28.10.1980</c:v>
                </c:pt>
                <c:pt idx="11113">
                  <c:v>27.10.1980</c:v>
                </c:pt>
                <c:pt idx="11114">
                  <c:v>24.10.1980</c:v>
                </c:pt>
                <c:pt idx="11115">
                  <c:v>23.10.1980</c:v>
                </c:pt>
                <c:pt idx="11116">
                  <c:v>22.10.1980</c:v>
                </c:pt>
                <c:pt idx="11117">
                  <c:v>21.10.1980</c:v>
                </c:pt>
                <c:pt idx="11118">
                  <c:v>20.10.1980</c:v>
                </c:pt>
                <c:pt idx="11119">
                  <c:v>17.10.1980</c:v>
                </c:pt>
                <c:pt idx="11120">
                  <c:v>16.10.1980</c:v>
                </c:pt>
                <c:pt idx="11121">
                  <c:v>15.10.1980</c:v>
                </c:pt>
                <c:pt idx="11122">
                  <c:v>14.10.1980</c:v>
                </c:pt>
                <c:pt idx="11123">
                  <c:v>13.10.1980</c:v>
                </c:pt>
                <c:pt idx="11124">
                  <c:v>10.10.1980</c:v>
                </c:pt>
                <c:pt idx="11125">
                  <c:v>09.10.1980</c:v>
                </c:pt>
                <c:pt idx="11126">
                  <c:v>08.10.1980</c:v>
                </c:pt>
                <c:pt idx="11127">
                  <c:v>07.10.1980</c:v>
                </c:pt>
                <c:pt idx="11128">
                  <c:v>06.10.1980</c:v>
                </c:pt>
                <c:pt idx="11129">
                  <c:v>03.10.1980</c:v>
                </c:pt>
                <c:pt idx="11130">
                  <c:v>02.10.1980</c:v>
                </c:pt>
                <c:pt idx="11131">
                  <c:v>01.10.1980</c:v>
                </c:pt>
                <c:pt idx="11132">
                  <c:v>30.09.1980</c:v>
                </c:pt>
                <c:pt idx="11133">
                  <c:v>29.09.1980</c:v>
                </c:pt>
                <c:pt idx="11134">
                  <c:v>26.09.1980</c:v>
                </c:pt>
                <c:pt idx="11135">
                  <c:v>25.09.1980</c:v>
                </c:pt>
                <c:pt idx="11136">
                  <c:v>24.09.1980</c:v>
                </c:pt>
                <c:pt idx="11137">
                  <c:v>23.09.1980</c:v>
                </c:pt>
                <c:pt idx="11138">
                  <c:v>22.09.1980</c:v>
                </c:pt>
                <c:pt idx="11139">
                  <c:v>19.09.1980</c:v>
                </c:pt>
                <c:pt idx="11140">
                  <c:v>18.09.1980</c:v>
                </c:pt>
                <c:pt idx="11141">
                  <c:v>17.09.1980</c:v>
                </c:pt>
                <c:pt idx="11142">
                  <c:v>16.09.1980</c:v>
                </c:pt>
                <c:pt idx="11143">
                  <c:v>15.09.1980</c:v>
                </c:pt>
                <c:pt idx="11144">
                  <c:v>12.09.1980</c:v>
                </c:pt>
                <c:pt idx="11145">
                  <c:v>11.09.1980</c:v>
                </c:pt>
                <c:pt idx="11146">
                  <c:v>10.09.1980</c:v>
                </c:pt>
                <c:pt idx="11147">
                  <c:v>09.09.1980</c:v>
                </c:pt>
                <c:pt idx="11148">
                  <c:v>08.09.1980</c:v>
                </c:pt>
                <c:pt idx="11149">
                  <c:v>05.09.1980</c:v>
                </c:pt>
                <c:pt idx="11150">
                  <c:v>04.09.1980</c:v>
                </c:pt>
                <c:pt idx="11151">
                  <c:v>03.09.1980</c:v>
                </c:pt>
                <c:pt idx="11152">
                  <c:v>02.09.1980</c:v>
                </c:pt>
                <c:pt idx="11153">
                  <c:v>29.08.1980</c:v>
                </c:pt>
                <c:pt idx="11154">
                  <c:v>28.08.1980</c:v>
                </c:pt>
                <c:pt idx="11155">
                  <c:v>27.08.1980</c:v>
                </c:pt>
                <c:pt idx="11156">
                  <c:v>26.08.1980</c:v>
                </c:pt>
                <c:pt idx="11157">
                  <c:v>25.08.1980</c:v>
                </c:pt>
                <c:pt idx="11158">
                  <c:v>22.08.1980</c:v>
                </c:pt>
                <c:pt idx="11159">
                  <c:v>21.08.1980</c:v>
                </c:pt>
                <c:pt idx="11160">
                  <c:v>20.08.1980</c:v>
                </c:pt>
                <c:pt idx="11161">
                  <c:v>19.08.1980</c:v>
                </c:pt>
                <c:pt idx="11162">
                  <c:v>18.08.1980</c:v>
                </c:pt>
                <c:pt idx="11163">
                  <c:v>15.08.1980</c:v>
                </c:pt>
                <c:pt idx="11164">
                  <c:v>14.08.1980</c:v>
                </c:pt>
                <c:pt idx="11165">
                  <c:v>13.08.1980</c:v>
                </c:pt>
                <c:pt idx="11166">
                  <c:v>12.08.1980</c:v>
                </c:pt>
                <c:pt idx="11167">
                  <c:v>11.08.1980</c:v>
                </c:pt>
                <c:pt idx="11168">
                  <c:v>08.08.1980</c:v>
                </c:pt>
                <c:pt idx="11169">
                  <c:v>07.08.1980</c:v>
                </c:pt>
                <c:pt idx="11170">
                  <c:v>06.08.1980</c:v>
                </c:pt>
                <c:pt idx="11171">
                  <c:v>05.08.1980</c:v>
                </c:pt>
                <c:pt idx="11172">
                  <c:v>04.08.1980</c:v>
                </c:pt>
                <c:pt idx="11173">
                  <c:v>01.08.1980</c:v>
                </c:pt>
                <c:pt idx="11174">
                  <c:v>31.07.1980</c:v>
                </c:pt>
                <c:pt idx="11175">
                  <c:v>30.07.1980</c:v>
                </c:pt>
                <c:pt idx="11176">
                  <c:v>29.07.1980</c:v>
                </c:pt>
                <c:pt idx="11177">
                  <c:v>28.07.1980</c:v>
                </c:pt>
                <c:pt idx="11178">
                  <c:v>25.07.1980</c:v>
                </c:pt>
                <c:pt idx="11179">
                  <c:v>24.07.1980</c:v>
                </c:pt>
                <c:pt idx="11180">
                  <c:v>23.07.1980</c:v>
                </c:pt>
                <c:pt idx="11181">
                  <c:v>22.07.1980</c:v>
                </c:pt>
                <c:pt idx="11182">
                  <c:v>21.07.1980</c:v>
                </c:pt>
                <c:pt idx="11183">
                  <c:v>18.07.1980</c:v>
                </c:pt>
                <c:pt idx="11184">
                  <c:v>17.07.1980</c:v>
                </c:pt>
                <c:pt idx="11185">
                  <c:v>16.07.1980</c:v>
                </c:pt>
                <c:pt idx="11186">
                  <c:v>15.07.1980</c:v>
                </c:pt>
                <c:pt idx="11187">
                  <c:v>14.07.1980</c:v>
                </c:pt>
                <c:pt idx="11188">
                  <c:v>11.07.1980</c:v>
                </c:pt>
                <c:pt idx="11189">
                  <c:v>10.07.1980</c:v>
                </c:pt>
                <c:pt idx="11190">
                  <c:v>09.07.1980</c:v>
                </c:pt>
                <c:pt idx="11191">
                  <c:v>08.07.1980</c:v>
                </c:pt>
                <c:pt idx="11192">
                  <c:v>07.07.1980</c:v>
                </c:pt>
                <c:pt idx="11193">
                  <c:v>03.07.1980</c:v>
                </c:pt>
                <c:pt idx="11194">
                  <c:v>02.07.1980</c:v>
                </c:pt>
                <c:pt idx="11195">
                  <c:v>01.07.1980</c:v>
                </c:pt>
                <c:pt idx="11196">
                  <c:v>30.06.1980</c:v>
                </c:pt>
                <c:pt idx="11197">
                  <c:v>27.06.1980</c:v>
                </c:pt>
                <c:pt idx="11198">
                  <c:v>26.06.1980</c:v>
                </c:pt>
                <c:pt idx="11199">
                  <c:v>25.06.1980</c:v>
                </c:pt>
                <c:pt idx="11200">
                  <c:v>24.06.1980</c:v>
                </c:pt>
                <c:pt idx="11201">
                  <c:v>23.06.1980</c:v>
                </c:pt>
                <c:pt idx="11202">
                  <c:v>20.06.1980</c:v>
                </c:pt>
                <c:pt idx="11203">
                  <c:v>19.06.1980</c:v>
                </c:pt>
                <c:pt idx="11204">
                  <c:v>18.06.1980</c:v>
                </c:pt>
                <c:pt idx="11205">
                  <c:v>17.06.1980</c:v>
                </c:pt>
                <c:pt idx="11206">
                  <c:v>16.06.1980</c:v>
                </c:pt>
                <c:pt idx="11207">
                  <c:v>13.06.1980</c:v>
                </c:pt>
                <c:pt idx="11208">
                  <c:v>12.06.1980</c:v>
                </c:pt>
                <c:pt idx="11209">
                  <c:v>11.06.1980</c:v>
                </c:pt>
                <c:pt idx="11210">
                  <c:v>10.06.1980</c:v>
                </c:pt>
                <c:pt idx="11211">
                  <c:v>09.06.1980</c:v>
                </c:pt>
                <c:pt idx="11212">
                  <c:v>06.06.1980</c:v>
                </c:pt>
                <c:pt idx="11213">
                  <c:v>05.06.1980</c:v>
                </c:pt>
                <c:pt idx="11214">
                  <c:v>04.06.1980</c:v>
                </c:pt>
                <c:pt idx="11215">
                  <c:v>03.06.1980</c:v>
                </c:pt>
                <c:pt idx="11216">
                  <c:v>02.06.1980</c:v>
                </c:pt>
                <c:pt idx="11217">
                  <c:v>30.05.1980</c:v>
                </c:pt>
                <c:pt idx="11218">
                  <c:v>29.05.1980</c:v>
                </c:pt>
                <c:pt idx="11219">
                  <c:v>28.05.1980</c:v>
                </c:pt>
                <c:pt idx="11220">
                  <c:v>27.05.1980</c:v>
                </c:pt>
                <c:pt idx="11221">
                  <c:v>23.05.1980</c:v>
                </c:pt>
                <c:pt idx="11222">
                  <c:v>22.05.1980</c:v>
                </c:pt>
                <c:pt idx="11223">
                  <c:v>21.05.1980</c:v>
                </c:pt>
                <c:pt idx="11224">
                  <c:v>20.05.1980</c:v>
                </c:pt>
                <c:pt idx="11225">
                  <c:v>19.05.1980</c:v>
                </c:pt>
                <c:pt idx="11226">
                  <c:v>16.05.1980</c:v>
                </c:pt>
                <c:pt idx="11227">
                  <c:v>15.05.1980</c:v>
                </c:pt>
                <c:pt idx="11228">
                  <c:v>14.05.1980</c:v>
                </c:pt>
                <c:pt idx="11229">
                  <c:v>13.05.1980</c:v>
                </c:pt>
                <c:pt idx="11230">
                  <c:v>12.05.1980</c:v>
                </c:pt>
                <c:pt idx="11231">
                  <c:v>09.05.1980</c:v>
                </c:pt>
                <c:pt idx="11232">
                  <c:v>08.05.1980</c:v>
                </c:pt>
                <c:pt idx="11233">
                  <c:v>07.05.1980</c:v>
                </c:pt>
                <c:pt idx="11234">
                  <c:v>06.05.1980</c:v>
                </c:pt>
                <c:pt idx="11235">
                  <c:v>05.05.1980</c:v>
                </c:pt>
                <c:pt idx="11236">
                  <c:v>02.05.1980</c:v>
                </c:pt>
                <c:pt idx="11237">
                  <c:v>01.05.1980</c:v>
                </c:pt>
                <c:pt idx="11238">
                  <c:v>30.04.1980</c:v>
                </c:pt>
                <c:pt idx="11239">
                  <c:v>29.04.1980</c:v>
                </c:pt>
                <c:pt idx="11240">
                  <c:v>28.04.1980</c:v>
                </c:pt>
                <c:pt idx="11241">
                  <c:v>25.04.1980</c:v>
                </c:pt>
                <c:pt idx="11242">
                  <c:v>24.04.1980</c:v>
                </c:pt>
                <c:pt idx="11243">
                  <c:v>23.04.1980</c:v>
                </c:pt>
                <c:pt idx="11244">
                  <c:v>22.04.1980</c:v>
                </c:pt>
                <c:pt idx="11245">
                  <c:v>21.04.1980</c:v>
                </c:pt>
                <c:pt idx="11246">
                  <c:v>18.04.1980</c:v>
                </c:pt>
                <c:pt idx="11247">
                  <c:v>17.04.1980</c:v>
                </c:pt>
                <c:pt idx="11248">
                  <c:v>16.04.1980</c:v>
                </c:pt>
                <c:pt idx="11249">
                  <c:v>15.04.1980</c:v>
                </c:pt>
                <c:pt idx="11250">
                  <c:v>14.04.1980</c:v>
                </c:pt>
                <c:pt idx="11251">
                  <c:v>11.04.1980</c:v>
                </c:pt>
                <c:pt idx="11252">
                  <c:v>10.04.1980</c:v>
                </c:pt>
                <c:pt idx="11253">
                  <c:v>09.04.1980</c:v>
                </c:pt>
                <c:pt idx="11254">
                  <c:v>08.04.1980</c:v>
                </c:pt>
                <c:pt idx="11255">
                  <c:v>07.04.1980</c:v>
                </c:pt>
                <c:pt idx="11256">
                  <c:v>03.04.1980</c:v>
                </c:pt>
                <c:pt idx="11257">
                  <c:v>02.04.1980</c:v>
                </c:pt>
                <c:pt idx="11258">
                  <c:v>01.04.1980</c:v>
                </c:pt>
                <c:pt idx="11259">
                  <c:v>31.03.1980</c:v>
                </c:pt>
                <c:pt idx="11260">
                  <c:v>28.03.1980</c:v>
                </c:pt>
                <c:pt idx="11261">
                  <c:v>27.03.1980</c:v>
                </c:pt>
                <c:pt idx="11262">
                  <c:v>26.03.1980</c:v>
                </c:pt>
                <c:pt idx="11263">
                  <c:v>25.03.1980</c:v>
                </c:pt>
                <c:pt idx="11264">
                  <c:v>24.03.1980</c:v>
                </c:pt>
                <c:pt idx="11265">
                  <c:v>21.03.1980</c:v>
                </c:pt>
                <c:pt idx="11266">
                  <c:v>20.03.1980</c:v>
                </c:pt>
                <c:pt idx="11267">
                  <c:v>19.03.1980</c:v>
                </c:pt>
                <c:pt idx="11268">
                  <c:v>18.03.1980</c:v>
                </c:pt>
                <c:pt idx="11269">
                  <c:v>17.03.1980</c:v>
                </c:pt>
                <c:pt idx="11270">
                  <c:v>14.03.1980</c:v>
                </c:pt>
                <c:pt idx="11271">
                  <c:v>13.03.1980</c:v>
                </c:pt>
                <c:pt idx="11272">
                  <c:v>12.03.1980</c:v>
                </c:pt>
                <c:pt idx="11273">
                  <c:v>11.03.1980</c:v>
                </c:pt>
                <c:pt idx="11274">
                  <c:v>10.03.1980</c:v>
                </c:pt>
                <c:pt idx="11275">
                  <c:v>07.03.1980</c:v>
                </c:pt>
                <c:pt idx="11276">
                  <c:v>06.03.1980</c:v>
                </c:pt>
                <c:pt idx="11277">
                  <c:v>05.03.1980</c:v>
                </c:pt>
                <c:pt idx="11278">
                  <c:v>04.03.1980</c:v>
                </c:pt>
                <c:pt idx="11279">
                  <c:v>03.03.1980</c:v>
                </c:pt>
                <c:pt idx="11280">
                  <c:v>29.02.1980</c:v>
                </c:pt>
                <c:pt idx="11281">
                  <c:v>28.02.1980</c:v>
                </c:pt>
                <c:pt idx="11282">
                  <c:v>27.02.1980</c:v>
                </c:pt>
                <c:pt idx="11283">
                  <c:v>26.02.1980</c:v>
                </c:pt>
                <c:pt idx="11284">
                  <c:v>25.02.1980</c:v>
                </c:pt>
                <c:pt idx="11285">
                  <c:v>22.02.1980</c:v>
                </c:pt>
                <c:pt idx="11286">
                  <c:v>21.02.1980</c:v>
                </c:pt>
                <c:pt idx="11287">
                  <c:v>20.02.1980</c:v>
                </c:pt>
                <c:pt idx="11288">
                  <c:v>19.02.1980</c:v>
                </c:pt>
                <c:pt idx="11289">
                  <c:v>18.02.1980</c:v>
                </c:pt>
                <c:pt idx="11290">
                  <c:v>15.02.1980</c:v>
                </c:pt>
                <c:pt idx="11291">
                  <c:v>14.02.1980</c:v>
                </c:pt>
                <c:pt idx="11292">
                  <c:v>13.02.1980</c:v>
                </c:pt>
                <c:pt idx="11293">
                  <c:v>12.02.1980</c:v>
                </c:pt>
                <c:pt idx="11294">
                  <c:v>11.02.1980</c:v>
                </c:pt>
                <c:pt idx="11295">
                  <c:v>08.02.1980</c:v>
                </c:pt>
                <c:pt idx="11296">
                  <c:v>07.02.1980</c:v>
                </c:pt>
                <c:pt idx="11297">
                  <c:v>06.02.1980</c:v>
                </c:pt>
                <c:pt idx="11298">
                  <c:v>05.02.1980</c:v>
                </c:pt>
                <c:pt idx="11299">
                  <c:v>04.02.1980</c:v>
                </c:pt>
                <c:pt idx="11300">
                  <c:v>01.02.1980</c:v>
                </c:pt>
                <c:pt idx="11301">
                  <c:v>31.01.1980</c:v>
                </c:pt>
                <c:pt idx="11302">
                  <c:v>30.01.1980</c:v>
                </c:pt>
                <c:pt idx="11303">
                  <c:v>29.01.1980</c:v>
                </c:pt>
                <c:pt idx="11304">
                  <c:v>28.01.1980</c:v>
                </c:pt>
                <c:pt idx="11305">
                  <c:v>25.01.1980</c:v>
                </c:pt>
                <c:pt idx="11306">
                  <c:v>24.01.1980</c:v>
                </c:pt>
                <c:pt idx="11307">
                  <c:v>23.01.1980</c:v>
                </c:pt>
                <c:pt idx="11308">
                  <c:v>22.01.1980</c:v>
                </c:pt>
                <c:pt idx="11309">
                  <c:v>21.01.1980</c:v>
                </c:pt>
                <c:pt idx="11310">
                  <c:v>18.01.1980</c:v>
                </c:pt>
                <c:pt idx="11311">
                  <c:v>17.01.1980</c:v>
                </c:pt>
                <c:pt idx="11312">
                  <c:v>16.01.1980</c:v>
                </c:pt>
                <c:pt idx="11313">
                  <c:v>15.01.1980</c:v>
                </c:pt>
                <c:pt idx="11314">
                  <c:v>14.01.1980</c:v>
                </c:pt>
                <c:pt idx="11315">
                  <c:v>11.01.1980</c:v>
                </c:pt>
                <c:pt idx="11316">
                  <c:v>10.01.1980</c:v>
                </c:pt>
                <c:pt idx="11317">
                  <c:v>09.01.1980</c:v>
                </c:pt>
                <c:pt idx="11318">
                  <c:v>08.01.1980</c:v>
                </c:pt>
                <c:pt idx="11319">
                  <c:v>07.01.1980</c:v>
                </c:pt>
                <c:pt idx="11320">
                  <c:v>04.01.1980</c:v>
                </c:pt>
                <c:pt idx="11321">
                  <c:v>03.01.1980</c:v>
                </c:pt>
                <c:pt idx="11322">
                  <c:v>02.01.1980</c:v>
                </c:pt>
                <c:pt idx="11323">
                  <c:v>01.01.1980</c:v>
                </c:pt>
                <c:pt idx="11324">
                  <c:v>31.12.1979</c:v>
                </c:pt>
                <c:pt idx="11325">
                  <c:v>28.12.1979</c:v>
                </c:pt>
                <c:pt idx="11326">
                  <c:v>27.12.1979</c:v>
                </c:pt>
                <c:pt idx="11327">
                  <c:v>26.12.1979</c:v>
                </c:pt>
                <c:pt idx="11328">
                  <c:v>24.12.1979</c:v>
                </c:pt>
                <c:pt idx="11329">
                  <c:v>21.12.1979</c:v>
                </c:pt>
                <c:pt idx="11330">
                  <c:v>20.12.1979</c:v>
                </c:pt>
                <c:pt idx="11331">
                  <c:v>19.12.1979</c:v>
                </c:pt>
                <c:pt idx="11332">
                  <c:v>18.12.1979</c:v>
                </c:pt>
                <c:pt idx="11333">
                  <c:v>17.12.1979</c:v>
                </c:pt>
                <c:pt idx="11334">
                  <c:v>14.12.1979</c:v>
                </c:pt>
                <c:pt idx="11335">
                  <c:v>13.12.1979</c:v>
                </c:pt>
                <c:pt idx="11336">
                  <c:v>12.12.1979</c:v>
                </c:pt>
                <c:pt idx="11337">
                  <c:v>11.12.1979</c:v>
                </c:pt>
                <c:pt idx="11338">
                  <c:v>10.12.1979</c:v>
                </c:pt>
                <c:pt idx="11339">
                  <c:v>07.12.1979</c:v>
                </c:pt>
                <c:pt idx="11340">
                  <c:v>06.12.1979</c:v>
                </c:pt>
                <c:pt idx="11341">
                  <c:v>05.12.1979</c:v>
                </c:pt>
                <c:pt idx="11342">
                  <c:v>04.12.1979</c:v>
                </c:pt>
                <c:pt idx="11343">
                  <c:v>03.12.1979</c:v>
                </c:pt>
                <c:pt idx="11344">
                  <c:v>30.11.1979</c:v>
                </c:pt>
                <c:pt idx="11345">
                  <c:v>29.11.1979</c:v>
                </c:pt>
                <c:pt idx="11346">
                  <c:v>28.11.1979</c:v>
                </c:pt>
                <c:pt idx="11347">
                  <c:v>27.11.1979</c:v>
                </c:pt>
                <c:pt idx="11348">
                  <c:v>26.11.1979</c:v>
                </c:pt>
                <c:pt idx="11349">
                  <c:v>23.11.1979</c:v>
                </c:pt>
                <c:pt idx="11350">
                  <c:v>21.11.1979</c:v>
                </c:pt>
                <c:pt idx="11351">
                  <c:v>20.11.1979</c:v>
                </c:pt>
                <c:pt idx="11352">
                  <c:v>19.11.1979</c:v>
                </c:pt>
                <c:pt idx="11353">
                  <c:v>16.11.1979</c:v>
                </c:pt>
                <c:pt idx="11354">
                  <c:v>15.11.1979</c:v>
                </c:pt>
                <c:pt idx="11355">
                  <c:v>14.11.1979</c:v>
                </c:pt>
                <c:pt idx="11356">
                  <c:v>13.11.1979</c:v>
                </c:pt>
                <c:pt idx="11357">
                  <c:v>12.11.1979</c:v>
                </c:pt>
                <c:pt idx="11358">
                  <c:v>09.11.1979</c:v>
                </c:pt>
                <c:pt idx="11359">
                  <c:v>08.11.1979</c:v>
                </c:pt>
                <c:pt idx="11360">
                  <c:v>07.11.1979</c:v>
                </c:pt>
                <c:pt idx="11361">
                  <c:v>06.11.1979</c:v>
                </c:pt>
                <c:pt idx="11362">
                  <c:v>05.11.1979</c:v>
                </c:pt>
                <c:pt idx="11363">
                  <c:v>02.11.1979</c:v>
                </c:pt>
                <c:pt idx="11364">
                  <c:v>01.11.1979</c:v>
                </c:pt>
                <c:pt idx="11365">
                  <c:v>31.10.1979</c:v>
                </c:pt>
                <c:pt idx="11366">
                  <c:v>30.10.1979</c:v>
                </c:pt>
                <c:pt idx="11367">
                  <c:v>29.10.1979</c:v>
                </c:pt>
                <c:pt idx="11368">
                  <c:v>26.10.1979</c:v>
                </c:pt>
                <c:pt idx="11369">
                  <c:v>25.10.1979</c:v>
                </c:pt>
                <c:pt idx="11370">
                  <c:v>24.10.1979</c:v>
                </c:pt>
                <c:pt idx="11371">
                  <c:v>23.10.1979</c:v>
                </c:pt>
                <c:pt idx="11372">
                  <c:v>22.10.1979</c:v>
                </c:pt>
                <c:pt idx="11373">
                  <c:v>19.10.1979</c:v>
                </c:pt>
                <c:pt idx="11374">
                  <c:v>18.10.1979</c:v>
                </c:pt>
                <c:pt idx="11375">
                  <c:v>17.10.1979</c:v>
                </c:pt>
                <c:pt idx="11376">
                  <c:v>16.10.1979</c:v>
                </c:pt>
                <c:pt idx="11377">
                  <c:v>15.10.1979</c:v>
                </c:pt>
                <c:pt idx="11378">
                  <c:v>12.10.1979</c:v>
                </c:pt>
                <c:pt idx="11379">
                  <c:v>11.10.1979</c:v>
                </c:pt>
                <c:pt idx="11380">
                  <c:v>10.10.1979</c:v>
                </c:pt>
                <c:pt idx="11381">
                  <c:v>09.10.1979</c:v>
                </c:pt>
                <c:pt idx="11382">
                  <c:v>08.10.1979</c:v>
                </c:pt>
                <c:pt idx="11383">
                  <c:v>05.10.1979</c:v>
                </c:pt>
                <c:pt idx="11384">
                  <c:v>04.10.1979</c:v>
                </c:pt>
                <c:pt idx="11385">
                  <c:v>03.10.1979</c:v>
                </c:pt>
                <c:pt idx="11386">
                  <c:v>02.10.1979</c:v>
                </c:pt>
                <c:pt idx="11387">
                  <c:v>01.10.1979</c:v>
                </c:pt>
                <c:pt idx="11388">
                  <c:v>28.09.1979</c:v>
                </c:pt>
                <c:pt idx="11389">
                  <c:v>27.09.1979</c:v>
                </c:pt>
                <c:pt idx="11390">
                  <c:v>26.09.1979</c:v>
                </c:pt>
                <c:pt idx="11391">
                  <c:v>25.09.1979</c:v>
                </c:pt>
                <c:pt idx="11392">
                  <c:v>24.09.1979</c:v>
                </c:pt>
                <c:pt idx="11393">
                  <c:v>21.09.1979</c:v>
                </c:pt>
                <c:pt idx="11394">
                  <c:v>20.09.1979</c:v>
                </c:pt>
                <c:pt idx="11395">
                  <c:v>19.09.1979</c:v>
                </c:pt>
                <c:pt idx="11396">
                  <c:v>18.09.1979</c:v>
                </c:pt>
                <c:pt idx="11397">
                  <c:v>17.09.1979</c:v>
                </c:pt>
                <c:pt idx="11398">
                  <c:v>14.09.1979</c:v>
                </c:pt>
                <c:pt idx="11399">
                  <c:v>13.09.1979</c:v>
                </c:pt>
                <c:pt idx="11400">
                  <c:v>12.09.1979</c:v>
                </c:pt>
                <c:pt idx="11401">
                  <c:v>11.09.1979</c:v>
                </c:pt>
                <c:pt idx="11402">
                  <c:v>10.09.1979</c:v>
                </c:pt>
                <c:pt idx="11403">
                  <c:v>07.09.1979</c:v>
                </c:pt>
                <c:pt idx="11404">
                  <c:v>06.09.1979</c:v>
                </c:pt>
                <c:pt idx="11405">
                  <c:v>05.09.1979</c:v>
                </c:pt>
                <c:pt idx="11406">
                  <c:v>04.09.1979</c:v>
                </c:pt>
                <c:pt idx="11407">
                  <c:v>31.08.1979</c:v>
                </c:pt>
                <c:pt idx="11408">
                  <c:v>30.08.1979</c:v>
                </c:pt>
                <c:pt idx="11409">
                  <c:v>29.08.1979</c:v>
                </c:pt>
                <c:pt idx="11410">
                  <c:v>28.08.1979</c:v>
                </c:pt>
                <c:pt idx="11411">
                  <c:v>27.08.1979</c:v>
                </c:pt>
                <c:pt idx="11412">
                  <c:v>24.08.1979</c:v>
                </c:pt>
                <c:pt idx="11413">
                  <c:v>23.08.1979</c:v>
                </c:pt>
                <c:pt idx="11414">
                  <c:v>22.08.1979</c:v>
                </c:pt>
                <c:pt idx="11415">
                  <c:v>21.08.1979</c:v>
                </c:pt>
                <c:pt idx="11416">
                  <c:v>20.08.1979</c:v>
                </c:pt>
                <c:pt idx="11417">
                  <c:v>17.08.1979</c:v>
                </c:pt>
                <c:pt idx="11418">
                  <c:v>16.08.1979</c:v>
                </c:pt>
                <c:pt idx="11419">
                  <c:v>15.08.1979</c:v>
                </c:pt>
                <c:pt idx="11420">
                  <c:v>14.08.1979</c:v>
                </c:pt>
                <c:pt idx="11421">
                  <c:v>13.08.1979</c:v>
                </c:pt>
                <c:pt idx="11422">
                  <c:v>10.08.1979</c:v>
                </c:pt>
                <c:pt idx="11423">
                  <c:v>09.08.1979</c:v>
                </c:pt>
                <c:pt idx="11424">
                  <c:v>08.08.1979</c:v>
                </c:pt>
                <c:pt idx="11425">
                  <c:v>07.08.1979</c:v>
                </c:pt>
                <c:pt idx="11426">
                  <c:v>06.08.1979</c:v>
                </c:pt>
                <c:pt idx="11427">
                  <c:v>03.08.1979</c:v>
                </c:pt>
                <c:pt idx="11428">
                  <c:v>02.08.1979</c:v>
                </c:pt>
                <c:pt idx="11429">
                  <c:v>01.08.1979</c:v>
                </c:pt>
                <c:pt idx="11430">
                  <c:v>31.07.1979</c:v>
                </c:pt>
                <c:pt idx="11431">
                  <c:v>30.07.1979</c:v>
                </c:pt>
                <c:pt idx="11432">
                  <c:v>27.07.1979</c:v>
                </c:pt>
                <c:pt idx="11433">
                  <c:v>26.07.1979</c:v>
                </c:pt>
                <c:pt idx="11434">
                  <c:v>25.07.1979</c:v>
                </c:pt>
                <c:pt idx="11435">
                  <c:v>24.07.1979</c:v>
                </c:pt>
                <c:pt idx="11436">
                  <c:v>23.07.1979</c:v>
                </c:pt>
                <c:pt idx="11437">
                  <c:v>20.07.1979</c:v>
                </c:pt>
                <c:pt idx="11438">
                  <c:v>19.07.1979</c:v>
                </c:pt>
                <c:pt idx="11439">
                  <c:v>18.07.1979</c:v>
                </c:pt>
                <c:pt idx="11440">
                  <c:v>17.07.1979</c:v>
                </c:pt>
                <c:pt idx="11441">
                  <c:v>16.07.1979</c:v>
                </c:pt>
                <c:pt idx="11442">
                  <c:v>13.07.1979</c:v>
                </c:pt>
                <c:pt idx="11443">
                  <c:v>12.07.1979</c:v>
                </c:pt>
                <c:pt idx="11444">
                  <c:v>11.07.1979</c:v>
                </c:pt>
                <c:pt idx="11445">
                  <c:v>10.07.1979</c:v>
                </c:pt>
                <c:pt idx="11446">
                  <c:v>09.07.1979</c:v>
                </c:pt>
                <c:pt idx="11447">
                  <c:v>06.07.1979</c:v>
                </c:pt>
                <c:pt idx="11448">
                  <c:v>05.07.1979</c:v>
                </c:pt>
                <c:pt idx="11449">
                  <c:v>03.07.1979</c:v>
                </c:pt>
                <c:pt idx="11450">
                  <c:v>02.07.1979</c:v>
                </c:pt>
                <c:pt idx="11451">
                  <c:v>29.06.1979</c:v>
                </c:pt>
                <c:pt idx="11452">
                  <c:v>28.06.1979</c:v>
                </c:pt>
                <c:pt idx="11453">
                  <c:v>27.06.1979</c:v>
                </c:pt>
                <c:pt idx="11454">
                  <c:v>26.06.1979</c:v>
                </c:pt>
                <c:pt idx="11455">
                  <c:v>25.06.1979</c:v>
                </c:pt>
                <c:pt idx="11456">
                  <c:v>22.06.1979</c:v>
                </c:pt>
                <c:pt idx="11457">
                  <c:v>21.06.1979</c:v>
                </c:pt>
                <c:pt idx="11458">
                  <c:v>20.06.1979</c:v>
                </c:pt>
                <c:pt idx="11459">
                  <c:v>19.06.1979</c:v>
                </c:pt>
                <c:pt idx="11460">
                  <c:v>18.06.1979</c:v>
                </c:pt>
                <c:pt idx="11461">
                  <c:v>15.06.1979</c:v>
                </c:pt>
                <c:pt idx="11462">
                  <c:v>14.06.1979</c:v>
                </c:pt>
                <c:pt idx="11463">
                  <c:v>13.06.1979</c:v>
                </c:pt>
                <c:pt idx="11464">
                  <c:v>12.06.1979</c:v>
                </c:pt>
                <c:pt idx="11465">
                  <c:v>11.06.1979</c:v>
                </c:pt>
                <c:pt idx="11466">
                  <c:v>08.06.1979</c:v>
                </c:pt>
                <c:pt idx="11467">
                  <c:v>07.06.1979</c:v>
                </c:pt>
                <c:pt idx="11468">
                  <c:v>06.06.1979</c:v>
                </c:pt>
                <c:pt idx="11469">
                  <c:v>05.06.1979</c:v>
                </c:pt>
                <c:pt idx="11470">
                  <c:v>04.06.1979</c:v>
                </c:pt>
                <c:pt idx="11471">
                  <c:v>01.06.1979</c:v>
                </c:pt>
                <c:pt idx="11472">
                  <c:v>31.05.1979</c:v>
                </c:pt>
                <c:pt idx="11473">
                  <c:v>30.05.1979</c:v>
                </c:pt>
                <c:pt idx="11474">
                  <c:v>29.05.1979</c:v>
                </c:pt>
                <c:pt idx="11475">
                  <c:v>25.05.1979</c:v>
                </c:pt>
                <c:pt idx="11476">
                  <c:v>24.05.1979</c:v>
                </c:pt>
                <c:pt idx="11477">
                  <c:v>23.05.1979</c:v>
                </c:pt>
                <c:pt idx="11478">
                  <c:v>22.05.1979</c:v>
                </c:pt>
                <c:pt idx="11479">
                  <c:v>21.05.1979</c:v>
                </c:pt>
                <c:pt idx="11480">
                  <c:v>18.05.1979</c:v>
                </c:pt>
                <c:pt idx="11481">
                  <c:v>17.05.1979</c:v>
                </c:pt>
                <c:pt idx="11482">
                  <c:v>16.05.1979</c:v>
                </c:pt>
                <c:pt idx="11483">
                  <c:v>15.05.1979</c:v>
                </c:pt>
                <c:pt idx="11484">
                  <c:v>14.05.1979</c:v>
                </c:pt>
                <c:pt idx="11485">
                  <c:v>11.05.1979</c:v>
                </c:pt>
                <c:pt idx="11486">
                  <c:v>10.05.1979</c:v>
                </c:pt>
                <c:pt idx="11487">
                  <c:v>09.05.1979</c:v>
                </c:pt>
                <c:pt idx="11488">
                  <c:v>08.05.1979</c:v>
                </c:pt>
                <c:pt idx="11489">
                  <c:v>07.05.1979</c:v>
                </c:pt>
                <c:pt idx="11490">
                  <c:v>04.05.1979</c:v>
                </c:pt>
                <c:pt idx="11491">
                  <c:v>03.05.1979</c:v>
                </c:pt>
                <c:pt idx="11492">
                  <c:v>02.05.1979</c:v>
                </c:pt>
                <c:pt idx="11493">
                  <c:v>01.05.1979</c:v>
                </c:pt>
                <c:pt idx="11494">
                  <c:v>30.04.1979</c:v>
                </c:pt>
                <c:pt idx="11495">
                  <c:v>27.04.1979</c:v>
                </c:pt>
                <c:pt idx="11496">
                  <c:v>26.04.1979</c:v>
                </c:pt>
                <c:pt idx="11497">
                  <c:v>25.04.1979</c:v>
                </c:pt>
                <c:pt idx="11498">
                  <c:v>24.04.1979</c:v>
                </c:pt>
                <c:pt idx="11499">
                  <c:v>23.04.1979</c:v>
                </c:pt>
                <c:pt idx="11500">
                  <c:v>20.04.1979</c:v>
                </c:pt>
                <c:pt idx="11501">
                  <c:v>19.04.1979</c:v>
                </c:pt>
                <c:pt idx="11502">
                  <c:v>18.04.1979</c:v>
                </c:pt>
                <c:pt idx="11503">
                  <c:v>17.04.1979</c:v>
                </c:pt>
                <c:pt idx="11504">
                  <c:v>16.04.1979</c:v>
                </c:pt>
                <c:pt idx="11505">
                  <c:v>12.04.1979</c:v>
                </c:pt>
                <c:pt idx="11506">
                  <c:v>11.04.1979</c:v>
                </c:pt>
                <c:pt idx="11507">
                  <c:v>10.04.1979</c:v>
                </c:pt>
                <c:pt idx="11508">
                  <c:v>09.04.1979</c:v>
                </c:pt>
                <c:pt idx="11509">
                  <c:v>06.04.1979</c:v>
                </c:pt>
                <c:pt idx="11510">
                  <c:v>05.04.1979</c:v>
                </c:pt>
                <c:pt idx="11511">
                  <c:v>04.04.1979</c:v>
                </c:pt>
                <c:pt idx="11512">
                  <c:v>03.04.1979</c:v>
                </c:pt>
                <c:pt idx="11513">
                  <c:v>02.04.1979</c:v>
                </c:pt>
                <c:pt idx="11514">
                  <c:v>30.03.1979</c:v>
                </c:pt>
                <c:pt idx="11515">
                  <c:v>29.03.1979</c:v>
                </c:pt>
                <c:pt idx="11516">
                  <c:v>28.03.1979</c:v>
                </c:pt>
                <c:pt idx="11517">
                  <c:v>27.03.1979</c:v>
                </c:pt>
                <c:pt idx="11518">
                  <c:v>26.03.1979</c:v>
                </c:pt>
                <c:pt idx="11519">
                  <c:v>23.03.1979</c:v>
                </c:pt>
                <c:pt idx="11520">
                  <c:v>22.03.1979</c:v>
                </c:pt>
                <c:pt idx="11521">
                  <c:v>21.03.1979</c:v>
                </c:pt>
                <c:pt idx="11522">
                  <c:v>20.03.1979</c:v>
                </c:pt>
                <c:pt idx="11523">
                  <c:v>19.03.1979</c:v>
                </c:pt>
                <c:pt idx="11524">
                  <c:v>16.03.1979</c:v>
                </c:pt>
                <c:pt idx="11525">
                  <c:v>15.03.1979</c:v>
                </c:pt>
                <c:pt idx="11526">
                  <c:v>14.03.1979</c:v>
                </c:pt>
                <c:pt idx="11527">
                  <c:v>13.03.1979</c:v>
                </c:pt>
                <c:pt idx="11528">
                  <c:v>12.03.1979</c:v>
                </c:pt>
                <c:pt idx="11529">
                  <c:v>09.03.1979</c:v>
                </c:pt>
                <c:pt idx="11530">
                  <c:v>08.03.1979</c:v>
                </c:pt>
                <c:pt idx="11531">
                  <c:v>07.03.1979</c:v>
                </c:pt>
                <c:pt idx="11532">
                  <c:v>06.03.1979</c:v>
                </c:pt>
                <c:pt idx="11533">
                  <c:v>05.03.1979</c:v>
                </c:pt>
                <c:pt idx="11534">
                  <c:v>02.03.1979</c:v>
                </c:pt>
                <c:pt idx="11535">
                  <c:v>01.03.1979</c:v>
                </c:pt>
                <c:pt idx="11536">
                  <c:v>28.02.1979</c:v>
                </c:pt>
                <c:pt idx="11537">
                  <c:v>27.02.1979</c:v>
                </c:pt>
                <c:pt idx="11538">
                  <c:v>26.02.1979</c:v>
                </c:pt>
                <c:pt idx="11539">
                  <c:v>23.02.1979</c:v>
                </c:pt>
                <c:pt idx="11540">
                  <c:v>22.02.1979</c:v>
                </c:pt>
                <c:pt idx="11541">
                  <c:v>21.02.1979</c:v>
                </c:pt>
                <c:pt idx="11542">
                  <c:v>20.02.1979</c:v>
                </c:pt>
                <c:pt idx="11543">
                  <c:v>16.02.1979</c:v>
                </c:pt>
                <c:pt idx="11544">
                  <c:v>15.02.1979</c:v>
                </c:pt>
                <c:pt idx="11545">
                  <c:v>14.02.1979</c:v>
                </c:pt>
                <c:pt idx="11546">
                  <c:v>13.02.1979</c:v>
                </c:pt>
                <c:pt idx="11547">
                  <c:v>12.02.1979</c:v>
                </c:pt>
                <c:pt idx="11548">
                  <c:v>09.02.1979</c:v>
                </c:pt>
                <c:pt idx="11549">
                  <c:v>08.02.1979</c:v>
                </c:pt>
                <c:pt idx="11550">
                  <c:v>07.02.1979</c:v>
                </c:pt>
                <c:pt idx="11551">
                  <c:v>06.02.1979</c:v>
                </c:pt>
                <c:pt idx="11552">
                  <c:v>05.02.1979</c:v>
                </c:pt>
                <c:pt idx="11553">
                  <c:v>02.02.1979</c:v>
                </c:pt>
                <c:pt idx="11554">
                  <c:v>01.02.1979</c:v>
                </c:pt>
                <c:pt idx="11555">
                  <c:v>31.01.1979</c:v>
                </c:pt>
                <c:pt idx="11556">
                  <c:v>30.01.1979</c:v>
                </c:pt>
                <c:pt idx="11557">
                  <c:v>29.01.1979</c:v>
                </c:pt>
                <c:pt idx="11558">
                  <c:v>26.01.1979</c:v>
                </c:pt>
                <c:pt idx="11559">
                  <c:v>25.01.1979</c:v>
                </c:pt>
                <c:pt idx="11560">
                  <c:v>24.01.1979</c:v>
                </c:pt>
                <c:pt idx="11561">
                  <c:v>23.01.1979</c:v>
                </c:pt>
                <c:pt idx="11562">
                  <c:v>22.01.1979</c:v>
                </c:pt>
                <c:pt idx="11563">
                  <c:v>19.01.1979</c:v>
                </c:pt>
                <c:pt idx="11564">
                  <c:v>18.01.1979</c:v>
                </c:pt>
                <c:pt idx="11565">
                  <c:v>17.01.1979</c:v>
                </c:pt>
                <c:pt idx="11566">
                  <c:v>16.01.1979</c:v>
                </c:pt>
                <c:pt idx="11567">
                  <c:v>15.01.1979</c:v>
                </c:pt>
                <c:pt idx="11568">
                  <c:v>12.01.1979</c:v>
                </c:pt>
                <c:pt idx="11569">
                  <c:v>11.01.1979</c:v>
                </c:pt>
                <c:pt idx="11570">
                  <c:v>10.01.1979</c:v>
                </c:pt>
                <c:pt idx="11571">
                  <c:v>09.01.1979</c:v>
                </c:pt>
                <c:pt idx="11572">
                  <c:v>08.01.1979</c:v>
                </c:pt>
                <c:pt idx="11573">
                  <c:v>05.01.1979</c:v>
                </c:pt>
                <c:pt idx="11574">
                  <c:v>04.01.1979</c:v>
                </c:pt>
                <c:pt idx="11575">
                  <c:v>03.01.1979</c:v>
                </c:pt>
                <c:pt idx="11576">
                  <c:v>02.01.1979</c:v>
                </c:pt>
                <c:pt idx="11577">
                  <c:v>29.12.1978</c:v>
                </c:pt>
                <c:pt idx="11578">
                  <c:v>28.12.1978</c:v>
                </c:pt>
                <c:pt idx="11579">
                  <c:v>27.12.1978</c:v>
                </c:pt>
                <c:pt idx="11580">
                  <c:v>26.12.1978</c:v>
                </c:pt>
                <c:pt idx="11581">
                  <c:v>22.12.1978</c:v>
                </c:pt>
                <c:pt idx="11582">
                  <c:v>21.12.1978</c:v>
                </c:pt>
                <c:pt idx="11583">
                  <c:v>20.12.1978</c:v>
                </c:pt>
                <c:pt idx="11584">
                  <c:v>19.12.1978</c:v>
                </c:pt>
                <c:pt idx="11585">
                  <c:v>18.12.1978</c:v>
                </c:pt>
                <c:pt idx="11586">
                  <c:v>15.12.1978</c:v>
                </c:pt>
                <c:pt idx="11587">
                  <c:v>14.12.1978</c:v>
                </c:pt>
                <c:pt idx="11588">
                  <c:v>13.12.1978</c:v>
                </c:pt>
                <c:pt idx="11589">
                  <c:v>12.12.1978</c:v>
                </c:pt>
                <c:pt idx="11590">
                  <c:v>11.12.1978</c:v>
                </c:pt>
                <c:pt idx="11591">
                  <c:v>08.12.1978</c:v>
                </c:pt>
                <c:pt idx="11592">
                  <c:v>07.12.1978</c:v>
                </c:pt>
                <c:pt idx="11593">
                  <c:v>06.12.1978</c:v>
                </c:pt>
                <c:pt idx="11594">
                  <c:v>05.12.1978</c:v>
                </c:pt>
                <c:pt idx="11595">
                  <c:v>04.12.1978</c:v>
                </c:pt>
                <c:pt idx="11596">
                  <c:v>01.12.1978</c:v>
                </c:pt>
                <c:pt idx="11597">
                  <c:v>30.11.1978</c:v>
                </c:pt>
                <c:pt idx="11598">
                  <c:v>29.11.1978</c:v>
                </c:pt>
                <c:pt idx="11599">
                  <c:v>28.11.1978</c:v>
                </c:pt>
                <c:pt idx="11600">
                  <c:v>27.11.1978</c:v>
                </c:pt>
                <c:pt idx="11601">
                  <c:v>24.11.1978</c:v>
                </c:pt>
                <c:pt idx="11602">
                  <c:v>22.11.1978</c:v>
                </c:pt>
                <c:pt idx="11603">
                  <c:v>21.11.1978</c:v>
                </c:pt>
                <c:pt idx="11604">
                  <c:v>20.11.1978</c:v>
                </c:pt>
                <c:pt idx="11605">
                  <c:v>17.11.1978</c:v>
                </c:pt>
                <c:pt idx="11606">
                  <c:v>16.11.1978</c:v>
                </c:pt>
                <c:pt idx="11607">
                  <c:v>15.11.1978</c:v>
                </c:pt>
                <c:pt idx="11608">
                  <c:v>14.11.1978</c:v>
                </c:pt>
                <c:pt idx="11609">
                  <c:v>13.11.1978</c:v>
                </c:pt>
                <c:pt idx="11610">
                  <c:v>10.11.1978</c:v>
                </c:pt>
                <c:pt idx="11611">
                  <c:v>09.11.1978</c:v>
                </c:pt>
                <c:pt idx="11612">
                  <c:v>08.11.1978</c:v>
                </c:pt>
                <c:pt idx="11613">
                  <c:v>07.11.1978</c:v>
                </c:pt>
                <c:pt idx="11614">
                  <c:v>06.11.1978</c:v>
                </c:pt>
                <c:pt idx="11615">
                  <c:v>03.11.1978</c:v>
                </c:pt>
                <c:pt idx="11616">
                  <c:v>02.11.1978</c:v>
                </c:pt>
                <c:pt idx="11617">
                  <c:v>01.11.1978</c:v>
                </c:pt>
                <c:pt idx="11618">
                  <c:v>31.10.1978</c:v>
                </c:pt>
                <c:pt idx="11619">
                  <c:v>30.10.1978</c:v>
                </c:pt>
                <c:pt idx="11620">
                  <c:v>27.10.1978</c:v>
                </c:pt>
                <c:pt idx="11621">
                  <c:v>26.10.1978</c:v>
                </c:pt>
                <c:pt idx="11622">
                  <c:v>25.10.1978</c:v>
                </c:pt>
                <c:pt idx="11623">
                  <c:v>24.10.1978</c:v>
                </c:pt>
                <c:pt idx="11624">
                  <c:v>23.10.1978</c:v>
                </c:pt>
                <c:pt idx="11625">
                  <c:v>20.10.1978</c:v>
                </c:pt>
                <c:pt idx="11626">
                  <c:v>19.10.1978</c:v>
                </c:pt>
                <c:pt idx="11627">
                  <c:v>18.10.1978</c:v>
                </c:pt>
                <c:pt idx="11628">
                  <c:v>17.10.1978</c:v>
                </c:pt>
                <c:pt idx="11629">
                  <c:v>16.10.1978</c:v>
                </c:pt>
                <c:pt idx="11630">
                  <c:v>13.10.1978</c:v>
                </c:pt>
                <c:pt idx="11631">
                  <c:v>12.10.1978</c:v>
                </c:pt>
                <c:pt idx="11632">
                  <c:v>11.10.1978</c:v>
                </c:pt>
                <c:pt idx="11633">
                  <c:v>10.10.1978</c:v>
                </c:pt>
                <c:pt idx="11634">
                  <c:v>09.10.1978</c:v>
                </c:pt>
                <c:pt idx="11635">
                  <c:v>06.10.1978</c:v>
                </c:pt>
                <c:pt idx="11636">
                  <c:v>05.10.1978</c:v>
                </c:pt>
                <c:pt idx="11637">
                  <c:v>04.10.1978</c:v>
                </c:pt>
                <c:pt idx="11638">
                  <c:v>03.10.1978</c:v>
                </c:pt>
                <c:pt idx="11639">
                  <c:v>02.10.1978</c:v>
                </c:pt>
                <c:pt idx="11640">
                  <c:v>29.09.1978</c:v>
                </c:pt>
                <c:pt idx="11641">
                  <c:v>28.09.1978</c:v>
                </c:pt>
                <c:pt idx="11642">
                  <c:v>27.09.1978</c:v>
                </c:pt>
                <c:pt idx="11643">
                  <c:v>26.09.1978</c:v>
                </c:pt>
                <c:pt idx="11644">
                  <c:v>25.09.1978</c:v>
                </c:pt>
                <c:pt idx="11645">
                  <c:v>22.09.1978</c:v>
                </c:pt>
                <c:pt idx="11646">
                  <c:v>21.09.1978</c:v>
                </c:pt>
                <c:pt idx="11647">
                  <c:v>20.09.1978</c:v>
                </c:pt>
                <c:pt idx="11648">
                  <c:v>19.09.1978</c:v>
                </c:pt>
                <c:pt idx="11649">
                  <c:v>18.09.1978</c:v>
                </c:pt>
                <c:pt idx="11650">
                  <c:v>15.09.1978</c:v>
                </c:pt>
                <c:pt idx="11651">
                  <c:v>14.09.1978</c:v>
                </c:pt>
                <c:pt idx="11652">
                  <c:v>13.09.1978</c:v>
                </c:pt>
                <c:pt idx="11653">
                  <c:v>12.09.1978</c:v>
                </c:pt>
                <c:pt idx="11654">
                  <c:v>11.09.1978</c:v>
                </c:pt>
                <c:pt idx="11655">
                  <c:v>08.09.1978</c:v>
                </c:pt>
                <c:pt idx="11656">
                  <c:v>07.09.1978</c:v>
                </c:pt>
                <c:pt idx="11657">
                  <c:v>06.09.1978</c:v>
                </c:pt>
                <c:pt idx="11658">
                  <c:v>05.09.1978</c:v>
                </c:pt>
                <c:pt idx="11659">
                  <c:v>01.09.1978</c:v>
                </c:pt>
                <c:pt idx="11660">
                  <c:v>31.08.1978</c:v>
                </c:pt>
                <c:pt idx="11661">
                  <c:v>30.08.1978</c:v>
                </c:pt>
                <c:pt idx="11662">
                  <c:v>29.08.1978</c:v>
                </c:pt>
                <c:pt idx="11663">
                  <c:v>28.08.1978</c:v>
                </c:pt>
                <c:pt idx="11664">
                  <c:v>25.08.1978</c:v>
                </c:pt>
                <c:pt idx="11665">
                  <c:v>24.08.1978</c:v>
                </c:pt>
                <c:pt idx="11666">
                  <c:v>23.08.1978</c:v>
                </c:pt>
                <c:pt idx="11667">
                  <c:v>22.08.1978</c:v>
                </c:pt>
                <c:pt idx="11668">
                  <c:v>21.08.1978</c:v>
                </c:pt>
                <c:pt idx="11669">
                  <c:v>18.08.1978</c:v>
                </c:pt>
                <c:pt idx="11670">
                  <c:v>17.08.1978</c:v>
                </c:pt>
                <c:pt idx="11671">
                  <c:v>16.08.1978</c:v>
                </c:pt>
                <c:pt idx="11672">
                  <c:v>15.08.1978</c:v>
                </c:pt>
                <c:pt idx="11673">
                  <c:v>14.08.1978</c:v>
                </c:pt>
                <c:pt idx="11674">
                  <c:v>11.08.1978</c:v>
                </c:pt>
                <c:pt idx="11675">
                  <c:v>10.08.1978</c:v>
                </c:pt>
                <c:pt idx="11676">
                  <c:v>09.08.1978</c:v>
                </c:pt>
                <c:pt idx="11677">
                  <c:v>08.08.1978</c:v>
                </c:pt>
                <c:pt idx="11678">
                  <c:v>07.08.1978</c:v>
                </c:pt>
                <c:pt idx="11679">
                  <c:v>04.08.1978</c:v>
                </c:pt>
                <c:pt idx="11680">
                  <c:v>03.08.1978</c:v>
                </c:pt>
                <c:pt idx="11681">
                  <c:v>02.08.1978</c:v>
                </c:pt>
                <c:pt idx="11682">
                  <c:v>01.08.1978</c:v>
                </c:pt>
                <c:pt idx="11683">
                  <c:v>31.07.1978</c:v>
                </c:pt>
                <c:pt idx="11684">
                  <c:v>28.07.1978</c:v>
                </c:pt>
                <c:pt idx="11685">
                  <c:v>27.07.1978</c:v>
                </c:pt>
                <c:pt idx="11686">
                  <c:v>26.07.1978</c:v>
                </c:pt>
                <c:pt idx="11687">
                  <c:v>25.07.1978</c:v>
                </c:pt>
                <c:pt idx="11688">
                  <c:v>24.07.1978</c:v>
                </c:pt>
                <c:pt idx="11689">
                  <c:v>21.07.1978</c:v>
                </c:pt>
                <c:pt idx="11690">
                  <c:v>20.07.1978</c:v>
                </c:pt>
                <c:pt idx="11691">
                  <c:v>19.07.1978</c:v>
                </c:pt>
                <c:pt idx="11692">
                  <c:v>18.07.1978</c:v>
                </c:pt>
                <c:pt idx="11693">
                  <c:v>17.07.1978</c:v>
                </c:pt>
                <c:pt idx="11694">
                  <c:v>14.07.1978</c:v>
                </c:pt>
                <c:pt idx="11695">
                  <c:v>13.07.1978</c:v>
                </c:pt>
                <c:pt idx="11696">
                  <c:v>12.07.1978</c:v>
                </c:pt>
                <c:pt idx="11697">
                  <c:v>11.07.1978</c:v>
                </c:pt>
                <c:pt idx="11698">
                  <c:v>10.07.1978</c:v>
                </c:pt>
                <c:pt idx="11699">
                  <c:v>07.07.1978</c:v>
                </c:pt>
                <c:pt idx="11700">
                  <c:v>06.07.1978</c:v>
                </c:pt>
                <c:pt idx="11701">
                  <c:v>05.07.1978</c:v>
                </c:pt>
                <c:pt idx="11702">
                  <c:v>03.07.1978</c:v>
                </c:pt>
                <c:pt idx="11703">
                  <c:v>30.06.1978</c:v>
                </c:pt>
                <c:pt idx="11704">
                  <c:v>29.06.1978</c:v>
                </c:pt>
                <c:pt idx="11705">
                  <c:v>28.06.1978</c:v>
                </c:pt>
                <c:pt idx="11706">
                  <c:v>27.06.1978</c:v>
                </c:pt>
                <c:pt idx="11707">
                  <c:v>26.06.1978</c:v>
                </c:pt>
                <c:pt idx="11708">
                  <c:v>23.06.1978</c:v>
                </c:pt>
                <c:pt idx="11709">
                  <c:v>22.06.1978</c:v>
                </c:pt>
                <c:pt idx="11710">
                  <c:v>21.06.1978</c:v>
                </c:pt>
                <c:pt idx="11711">
                  <c:v>20.06.1978</c:v>
                </c:pt>
                <c:pt idx="11712">
                  <c:v>19.06.1978</c:v>
                </c:pt>
                <c:pt idx="11713">
                  <c:v>16.06.1978</c:v>
                </c:pt>
                <c:pt idx="11714">
                  <c:v>15.06.1978</c:v>
                </c:pt>
                <c:pt idx="11715">
                  <c:v>14.06.1978</c:v>
                </c:pt>
                <c:pt idx="11716">
                  <c:v>13.06.1978</c:v>
                </c:pt>
                <c:pt idx="11717">
                  <c:v>12.06.1978</c:v>
                </c:pt>
                <c:pt idx="11718">
                  <c:v>09.06.1978</c:v>
                </c:pt>
                <c:pt idx="11719">
                  <c:v>08.06.1978</c:v>
                </c:pt>
                <c:pt idx="11720">
                  <c:v>07.06.1978</c:v>
                </c:pt>
                <c:pt idx="11721">
                  <c:v>06.06.1978</c:v>
                </c:pt>
                <c:pt idx="11722">
                  <c:v>05.06.1978</c:v>
                </c:pt>
                <c:pt idx="11723">
                  <c:v>02.06.1978</c:v>
                </c:pt>
                <c:pt idx="11724">
                  <c:v>01.06.1978</c:v>
                </c:pt>
                <c:pt idx="11725">
                  <c:v>31.05.1978</c:v>
                </c:pt>
                <c:pt idx="11726">
                  <c:v>30.05.1978</c:v>
                </c:pt>
                <c:pt idx="11727">
                  <c:v>26.05.1978</c:v>
                </c:pt>
                <c:pt idx="11728">
                  <c:v>25.05.1978</c:v>
                </c:pt>
                <c:pt idx="11729">
                  <c:v>24.05.1978</c:v>
                </c:pt>
                <c:pt idx="11730">
                  <c:v>23.05.1978</c:v>
                </c:pt>
                <c:pt idx="11731">
                  <c:v>22.05.1978</c:v>
                </c:pt>
                <c:pt idx="11732">
                  <c:v>19.05.1978</c:v>
                </c:pt>
                <c:pt idx="11733">
                  <c:v>18.05.1978</c:v>
                </c:pt>
                <c:pt idx="11734">
                  <c:v>17.05.1978</c:v>
                </c:pt>
                <c:pt idx="11735">
                  <c:v>16.05.1978</c:v>
                </c:pt>
                <c:pt idx="11736">
                  <c:v>15.05.1978</c:v>
                </c:pt>
                <c:pt idx="11737">
                  <c:v>12.05.1978</c:v>
                </c:pt>
                <c:pt idx="11738">
                  <c:v>11.05.1978</c:v>
                </c:pt>
                <c:pt idx="11739">
                  <c:v>10.05.1978</c:v>
                </c:pt>
                <c:pt idx="11740">
                  <c:v>09.05.1978</c:v>
                </c:pt>
                <c:pt idx="11741">
                  <c:v>08.05.1978</c:v>
                </c:pt>
                <c:pt idx="11742">
                  <c:v>05.05.1978</c:v>
                </c:pt>
                <c:pt idx="11743">
                  <c:v>04.05.1978</c:v>
                </c:pt>
                <c:pt idx="11744">
                  <c:v>03.05.1978</c:v>
                </c:pt>
                <c:pt idx="11745">
                  <c:v>02.05.1978</c:v>
                </c:pt>
                <c:pt idx="11746">
                  <c:v>01.05.1978</c:v>
                </c:pt>
                <c:pt idx="11747">
                  <c:v>28.04.1978</c:v>
                </c:pt>
                <c:pt idx="11748">
                  <c:v>27.04.1978</c:v>
                </c:pt>
                <c:pt idx="11749">
                  <c:v>26.04.1978</c:v>
                </c:pt>
                <c:pt idx="11750">
                  <c:v>25.04.1978</c:v>
                </c:pt>
                <c:pt idx="11751">
                  <c:v>24.04.1978</c:v>
                </c:pt>
                <c:pt idx="11752">
                  <c:v>21.04.1978</c:v>
                </c:pt>
                <c:pt idx="11753">
                  <c:v>20.04.1978</c:v>
                </c:pt>
                <c:pt idx="11754">
                  <c:v>19.04.1978</c:v>
                </c:pt>
                <c:pt idx="11755">
                  <c:v>18.04.1978</c:v>
                </c:pt>
                <c:pt idx="11756">
                  <c:v>17.04.1978</c:v>
                </c:pt>
                <c:pt idx="11757">
                  <c:v>14.04.1978</c:v>
                </c:pt>
                <c:pt idx="11758">
                  <c:v>13.04.1978</c:v>
                </c:pt>
                <c:pt idx="11759">
                  <c:v>12.04.1978</c:v>
                </c:pt>
                <c:pt idx="11760">
                  <c:v>11.04.1978</c:v>
                </c:pt>
                <c:pt idx="11761">
                  <c:v>10.04.1978</c:v>
                </c:pt>
                <c:pt idx="11762">
                  <c:v>07.04.1978</c:v>
                </c:pt>
                <c:pt idx="11763">
                  <c:v>06.04.1978</c:v>
                </c:pt>
                <c:pt idx="11764">
                  <c:v>05.04.1978</c:v>
                </c:pt>
                <c:pt idx="11765">
                  <c:v>04.04.1978</c:v>
                </c:pt>
                <c:pt idx="11766">
                  <c:v>03.04.1978</c:v>
                </c:pt>
                <c:pt idx="11767">
                  <c:v>31.03.1978</c:v>
                </c:pt>
                <c:pt idx="11768">
                  <c:v>30.03.1978</c:v>
                </c:pt>
                <c:pt idx="11769">
                  <c:v>29.03.1978</c:v>
                </c:pt>
                <c:pt idx="11770">
                  <c:v>28.03.1978</c:v>
                </c:pt>
                <c:pt idx="11771">
                  <c:v>27.03.1978</c:v>
                </c:pt>
                <c:pt idx="11772">
                  <c:v>23.03.1978</c:v>
                </c:pt>
                <c:pt idx="11773">
                  <c:v>22.03.1978</c:v>
                </c:pt>
                <c:pt idx="11774">
                  <c:v>21.03.1978</c:v>
                </c:pt>
                <c:pt idx="11775">
                  <c:v>20.03.1978</c:v>
                </c:pt>
                <c:pt idx="11776">
                  <c:v>17.03.1978</c:v>
                </c:pt>
                <c:pt idx="11777">
                  <c:v>16.03.1978</c:v>
                </c:pt>
                <c:pt idx="11778">
                  <c:v>15.03.1978</c:v>
                </c:pt>
                <c:pt idx="11779">
                  <c:v>14.03.1978</c:v>
                </c:pt>
                <c:pt idx="11780">
                  <c:v>13.03.1978</c:v>
                </c:pt>
                <c:pt idx="11781">
                  <c:v>10.03.1978</c:v>
                </c:pt>
                <c:pt idx="11782">
                  <c:v>09.03.1978</c:v>
                </c:pt>
                <c:pt idx="11783">
                  <c:v>08.03.1978</c:v>
                </c:pt>
                <c:pt idx="11784">
                  <c:v>07.03.1978</c:v>
                </c:pt>
                <c:pt idx="11785">
                  <c:v>06.03.1978</c:v>
                </c:pt>
                <c:pt idx="11786">
                  <c:v>03.03.1978</c:v>
                </c:pt>
                <c:pt idx="11787">
                  <c:v>02.03.1978</c:v>
                </c:pt>
                <c:pt idx="11788">
                  <c:v>01.03.1978</c:v>
                </c:pt>
                <c:pt idx="11789">
                  <c:v>28.02.1978</c:v>
                </c:pt>
                <c:pt idx="11790">
                  <c:v>27.02.1978</c:v>
                </c:pt>
                <c:pt idx="11791">
                  <c:v>24.02.1978</c:v>
                </c:pt>
                <c:pt idx="11792">
                  <c:v>23.02.1978</c:v>
                </c:pt>
                <c:pt idx="11793">
                  <c:v>22.02.1978</c:v>
                </c:pt>
                <c:pt idx="11794">
                  <c:v>21.02.1978</c:v>
                </c:pt>
                <c:pt idx="11795">
                  <c:v>17.02.1978</c:v>
                </c:pt>
                <c:pt idx="11796">
                  <c:v>16.02.1978</c:v>
                </c:pt>
                <c:pt idx="11797">
                  <c:v>15.02.1978</c:v>
                </c:pt>
                <c:pt idx="11798">
                  <c:v>14.02.1978</c:v>
                </c:pt>
                <c:pt idx="11799">
                  <c:v>13.02.1978</c:v>
                </c:pt>
                <c:pt idx="11800">
                  <c:v>10.02.1978</c:v>
                </c:pt>
                <c:pt idx="11801">
                  <c:v>09.02.1978</c:v>
                </c:pt>
                <c:pt idx="11802">
                  <c:v>08.02.1978</c:v>
                </c:pt>
                <c:pt idx="11803">
                  <c:v>07.02.1978</c:v>
                </c:pt>
                <c:pt idx="11804">
                  <c:v>06.02.1978</c:v>
                </c:pt>
                <c:pt idx="11805">
                  <c:v>03.02.1978</c:v>
                </c:pt>
                <c:pt idx="11806">
                  <c:v>02.02.1978</c:v>
                </c:pt>
                <c:pt idx="11807">
                  <c:v>01.02.1978</c:v>
                </c:pt>
                <c:pt idx="11808">
                  <c:v>31.01.1978</c:v>
                </c:pt>
                <c:pt idx="11809">
                  <c:v>30.01.1978</c:v>
                </c:pt>
                <c:pt idx="11810">
                  <c:v>27.01.1978</c:v>
                </c:pt>
                <c:pt idx="11811">
                  <c:v>26.01.1978</c:v>
                </c:pt>
                <c:pt idx="11812">
                  <c:v>25.01.1978</c:v>
                </c:pt>
                <c:pt idx="11813">
                  <c:v>24.01.1978</c:v>
                </c:pt>
                <c:pt idx="11814">
                  <c:v>23.01.1978</c:v>
                </c:pt>
                <c:pt idx="11815">
                  <c:v>20.01.1978</c:v>
                </c:pt>
                <c:pt idx="11816">
                  <c:v>19.01.1978</c:v>
                </c:pt>
                <c:pt idx="11817">
                  <c:v>18.01.1978</c:v>
                </c:pt>
                <c:pt idx="11818">
                  <c:v>17.01.1978</c:v>
                </c:pt>
                <c:pt idx="11819">
                  <c:v>16.01.1978</c:v>
                </c:pt>
                <c:pt idx="11820">
                  <c:v>13.01.1978</c:v>
                </c:pt>
                <c:pt idx="11821">
                  <c:v>12.01.1978</c:v>
                </c:pt>
                <c:pt idx="11822">
                  <c:v>11.01.1978</c:v>
                </c:pt>
                <c:pt idx="11823">
                  <c:v>10.01.1978</c:v>
                </c:pt>
                <c:pt idx="11824">
                  <c:v>09.01.1978</c:v>
                </c:pt>
                <c:pt idx="11825">
                  <c:v>06.01.1978</c:v>
                </c:pt>
                <c:pt idx="11826">
                  <c:v>05.01.1978</c:v>
                </c:pt>
                <c:pt idx="11827">
                  <c:v>04.01.1978</c:v>
                </c:pt>
                <c:pt idx="11828">
                  <c:v>03.01.1978</c:v>
                </c:pt>
                <c:pt idx="11829">
                  <c:v>30.12.1977</c:v>
                </c:pt>
                <c:pt idx="11830">
                  <c:v>29.12.1977</c:v>
                </c:pt>
                <c:pt idx="11831">
                  <c:v>28.12.1977</c:v>
                </c:pt>
                <c:pt idx="11832">
                  <c:v>27.12.1977</c:v>
                </c:pt>
                <c:pt idx="11833">
                  <c:v>23.12.1977</c:v>
                </c:pt>
                <c:pt idx="11834">
                  <c:v>22.12.1977</c:v>
                </c:pt>
                <c:pt idx="11835">
                  <c:v>21.12.1977</c:v>
                </c:pt>
                <c:pt idx="11836">
                  <c:v>20.12.1977</c:v>
                </c:pt>
                <c:pt idx="11837">
                  <c:v>19.12.1977</c:v>
                </c:pt>
                <c:pt idx="11838">
                  <c:v>16.12.1977</c:v>
                </c:pt>
                <c:pt idx="11839">
                  <c:v>15.12.1977</c:v>
                </c:pt>
                <c:pt idx="11840">
                  <c:v>14.12.1977</c:v>
                </c:pt>
                <c:pt idx="11841">
                  <c:v>13.12.1977</c:v>
                </c:pt>
                <c:pt idx="11842">
                  <c:v>12.12.1977</c:v>
                </c:pt>
                <c:pt idx="11843">
                  <c:v>09.12.1977</c:v>
                </c:pt>
                <c:pt idx="11844">
                  <c:v>08.12.1977</c:v>
                </c:pt>
                <c:pt idx="11845">
                  <c:v>07.12.1977</c:v>
                </c:pt>
                <c:pt idx="11846">
                  <c:v>06.12.1977</c:v>
                </c:pt>
                <c:pt idx="11847">
                  <c:v>05.12.1977</c:v>
                </c:pt>
                <c:pt idx="11848">
                  <c:v>02.12.1977</c:v>
                </c:pt>
                <c:pt idx="11849">
                  <c:v>01.12.1977</c:v>
                </c:pt>
                <c:pt idx="11850">
                  <c:v>30.11.1977</c:v>
                </c:pt>
                <c:pt idx="11851">
                  <c:v>29.11.1977</c:v>
                </c:pt>
                <c:pt idx="11852">
                  <c:v>28.11.1977</c:v>
                </c:pt>
                <c:pt idx="11853">
                  <c:v>25.11.1977</c:v>
                </c:pt>
                <c:pt idx="11854">
                  <c:v>23.11.1977</c:v>
                </c:pt>
                <c:pt idx="11855">
                  <c:v>22.11.1977</c:v>
                </c:pt>
                <c:pt idx="11856">
                  <c:v>21.11.1977</c:v>
                </c:pt>
                <c:pt idx="11857">
                  <c:v>18.11.1977</c:v>
                </c:pt>
                <c:pt idx="11858">
                  <c:v>17.11.1977</c:v>
                </c:pt>
                <c:pt idx="11859">
                  <c:v>16.11.1977</c:v>
                </c:pt>
                <c:pt idx="11860">
                  <c:v>15.11.1977</c:v>
                </c:pt>
                <c:pt idx="11861">
                  <c:v>14.11.1977</c:v>
                </c:pt>
                <c:pt idx="11862">
                  <c:v>11.11.1977</c:v>
                </c:pt>
                <c:pt idx="11863">
                  <c:v>10.11.1977</c:v>
                </c:pt>
                <c:pt idx="11864">
                  <c:v>09.11.1977</c:v>
                </c:pt>
                <c:pt idx="11865">
                  <c:v>08.11.1977</c:v>
                </c:pt>
                <c:pt idx="11866">
                  <c:v>07.11.1977</c:v>
                </c:pt>
                <c:pt idx="11867">
                  <c:v>04.11.1977</c:v>
                </c:pt>
                <c:pt idx="11868">
                  <c:v>03.11.1977</c:v>
                </c:pt>
                <c:pt idx="11869">
                  <c:v>02.11.1977</c:v>
                </c:pt>
                <c:pt idx="11870">
                  <c:v>01.11.1977</c:v>
                </c:pt>
                <c:pt idx="11871">
                  <c:v>31.10.1977</c:v>
                </c:pt>
                <c:pt idx="11872">
                  <c:v>28.10.1977</c:v>
                </c:pt>
                <c:pt idx="11873">
                  <c:v>27.10.1977</c:v>
                </c:pt>
                <c:pt idx="11874">
                  <c:v>26.10.1977</c:v>
                </c:pt>
                <c:pt idx="11875">
                  <c:v>25.10.1977</c:v>
                </c:pt>
                <c:pt idx="11876">
                  <c:v>24.10.1977</c:v>
                </c:pt>
                <c:pt idx="11877">
                  <c:v>21.10.1977</c:v>
                </c:pt>
                <c:pt idx="11878">
                  <c:v>20.10.1977</c:v>
                </c:pt>
                <c:pt idx="11879">
                  <c:v>19.10.1977</c:v>
                </c:pt>
                <c:pt idx="11880">
                  <c:v>18.10.1977</c:v>
                </c:pt>
                <c:pt idx="11881">
                  <c:v>17.10.1977</c:v>
                </c:pt>
                <c:pt idx="11882">
                  <c:v>14.10.1977</c:v>
                </c:pt>
                <c:pt idx="11883">
                  <c:v>13.10.1977</c:v>
                </c:pt>
                <c:pt idx="11884">
                  <c:v>12.10.1977</c:v>
                </c:pt>
                <c:pt idx="11885">
                  <c:v>11.10.1977</c:v>
                </c:pt>
                <c:pt idx="11886">
                  <c:v>10.10.1977</c:v>
                </c:pt>
                <c:pt idx="11887">
                  <c:v>07.10.1977</c:v>
                </c:pt>
                <c:pt idx="11888">
                  <c:v>06.10.1977</c:v>
                </c:pt>
                <c:pt idx="11889">
                  <c:v>05.10.1977</c:v>
                </c:pt>
                <c:pt idx="11890">
                  <c:v>04.10.1977</c:v>
                </c:pt>
                <c:pt idx="11891">
                  <c:v>03.10.1977</c:v>
                </c:pt>
                <c:pt idx="11892">
                  <c:v>30.09.1977</c:v>
                </c:pt>
                <c:pt idx="11893">
                  <c:v>29.09.1977</c:v>
                </c:pt>
                <c:pt idx="11894">
                  <c:v>28.09.1977</c:v>
                </c:pt>
                <c:pt idx="11895">
                  <c:v>27.09.1977</c:v>
                </c:pt>
                <c:pt idx="11896">
                  <c:v>26.09.1977</c:v>
                </c:pt>
                <c:pt idx="11897">
                  <c:v>23.09.1977</c:v>
                </c:pt>
                <c:pt idx="11898">
                  <c:v>22.09.1977</c:v>
                </c:pt>
                <c:pt idx="11899">
                  <c:v>21.09.1977</c:v>
                </c:pt>
                <c:pt idx="11900">
                  <c:v>20.09.1977</c:v>
                </c:pt>
                <c:pt idx="11901">
                  <c:v>19.09.1977</c:v>
                </c:pt>
                <c:pt idx="11902">
                  <c:v>16.09.1977</c:v>
                </c:pt>
                <c:pt idx="11903">
                  <c:v>15.09.1977</c:v>
                </c:pt>
                <c:pt idx="11904">
                  <c:v>14.09.1977</c:v>
                </c:pt>
                <c:pt idx="11905">
                  <c:v>13.09.1977</c:v>
                </c:pt>
                <c:pt idx="11906">
                  <c:v>12.09.1977</c:v>
                </c:pt>
                <c:pt idx="11907">
                  <c:v>09.09.1977</c:v>
                </c:pt>
                <c:pt idx="11908">
                  <c:v>08.09.1977</c:v>
                </c:pt>
                <c:pt idx="11909">
                  <c:v>07.09.1977</c:v>
                </c:pt>
                <c:pt idx="11910">
                  <c:v>06.09.1977</c:v>
                </c:pt>
                <c:pt idx="11911">
                  <c:v>02.09.1977</c:v>
                </c:pt>
                <c:pt idx="11912">
                  <c:v>01.09.1977</c:v>
                </c:pt>
                <c:pt idx="11913">
                  <c:v>31.08.1977</c:v>
                </c:pt>
                <c:pt idx="11914">
                  <c:v>30.08.1977</c:v>
                </c:pt>
                <c:pt idx="11915">
                  <c:v>29.08.1977</c:v>
                </c:pt>
                <c:pt idx="11916">
                  <c:v>26.08.1977</c:v>
                </c:pt>
                <c:pt idx="11917">
                  <c:v>25.08.1977</c:v>
                </c:pt>
                <c:pt idx="11918">
                  <c:v>24.08.1977</c:v>
                </c:pt>
                <c:pt idx="11919">
                  <c:v>23.08.1977</c:v>
                </c:pt>
                <c:pt idx="11920">
                  <c:v>22.08.1977</c:v>
                </c:pt>
                <c:pt idx="11921">
                  <c:v>19.08.1977</c:v>
                </c:pt>
                <c:pt idx="11922">
                  <c:v>18.08.1977</c:v>
                </c:pt>
                <c:pt idx="11923">
                  <c:v>17.08.1977</c:v>
                </c:pt>
                <c:pt idx="11924">
                  <c:v>16.08.1977</c:v>
                </c:pt>
                <c:pt idx="11925">
                  <c:v>15.08.1977</c:v>
                </c:pt>
                <c:pt idx="11926">
                  <c:v>12.08.1977</c:v>
                </c:pt>
                <c:pt idx="11927">
                  <c:v>11.08.1977</c:v>
                </c:pt>
                <c:pt idx="11928">
                  <c:v>10.08.1977</c:v>
                </c:pt>
                <c:pt idx="11929">
                  <c:v>09.08.1977</c:v>
                </c:pt>
                <c:pt idx="11930">
                  <c:v>08.08.1977</c:v>
                </c:pt>
                <c:pt idx="11931">
                  <c:v>05.08.1977</c:v>
                </c:pt>
                <c:pt idx="11932">
                  <c:v>04.08.1977</c:v>
                </c:pt>
                <c:pt idx="11933">
                  <c:v>03.08.1977</c:v>
                </c:pt>
                <c:pt idx="11934">
                  <c:v>02.08.1977</c:v>
                </c:pt>
                <c:pt idx="11935">
                  <c:v>01.08.1977</c:v>
                </c:pt>
                <c:pt idx="11936">
                  <c:v>29.07.1977</c:v>
                </c:pt>
                <c:pt idx="11937">
                  <c:v>28.07.1977</c:v>
                </c:pt>
                <c:pt idx="11938">
                  <c:v>27.07.1977</c:v>
                </c:pt>
                <c:pt idx="11939">
                  <c:v>26.07.1977</c:v>
                </c:pt>
                <c:pt idx="11940">
                  <c:v>25.07.1977</c:v>
                </c:pt>
                <c:pt idx="11941">
                  <c:v>22.07.1977</c:v>
                </c:pt>
                <c:pt idx="11942">
                  <c:v>21.07.1977</c:v>
                </c:pt>
                <c:pt idx="11943">
                  <c:v>20.07.1977</c:v>
                </c:pt>
                <c:pt idx="11944">
                  <c:v>19.07.1977</c:v>
                </c:pt>
                <c:pt idx="11945">
                  <c:v>18.07.1977</c:v>
                </c:pt>
                <c:pt idx="11946">
                  <c:v>15.07.1977</c:v>
                </c:pt>
                <c:pt idx="11947">
                  <c:v>13.07.1977</c:v>
                </c:pt>
                <c:pt idx="11948">
                  <c:v>12.07.1977</c:v>
                </c:pt>
                <c:pt idx="11949">
                  <c:v>11.07.1977</c:v>
                </c:pt>
                <c:pt idx="11950">
                  <c:v>08.07.1977</c:v>
                </c:pt>
                <c:pt idx="11951">
                  <c:v>07.07.1977</c:v>
                </c:pt>
                <c:pt idx="11952">
                  <c:v>06.07.1977</c:v>
                </c:pt>
                <c:pt idx="11953">
                  <c:v>05.07.1977</c:v>
                </c:pt>
                <c:pt idx="11954">
                  <c:v>01.07.1977</c:v>
                </c:pt>
                <c:pt idx="11955">
                  <c:v>30.06.1977</c:v>
                </c:pt>
                <c:pt idx="11956">
                  <c:v>29.06.1977</c:v>
                </c:pt>
                <c:pt idx="11957">
                  <c:v>28.06.1977</c:v>
                </c:pt>
                <c:pt idx="11958">
                  <c:v>27.06.1977</c:v>
                </c:pt>
                <c:pt idx="11959">
                  <c:v>24.06.1977</c:v>
                </c:pt>
                <c:pt idx="11960">
                  <c:v>23.06.1977</c:v>
                </c:pt>
                <c:pt idx="11961">
                  <c:v>22.06.1977</c:v>
                </c:pt>
                <c:pt idx="11962">
                  <c:v>21.06.1977</c:v>
                </c:pt>
                <c:pt idx="11963">
                  <c:v>20.06.1977</c:v>
                </c:pt>
                <c:pt idx="11964">
                  <c:v>17.06.1977</c:v>
                </c:pt>
                <c:pt idx="11965">
                  <c:v>16.06.1977</c:v>
                </c:pt>
                <c:pt idx="11966">
                  <c:v>15.06.1977</c:v>
                </c:pt>
                <c:pt idx="11967">
                  <c:v>14.06.1977</c:v>
                </c:pt>
                <c:pt idx="11968">
                  <c:v>13.06.1977</c:v>
                </c:pt>
                <c:pt idx="11969">
                  <c:v>10.06.1977</c:v>
                </c:pt>
                <c:pt idx="11970">
                  <c:v>09.06.1977</c:v>
                </c:pt>
                <c:pt idx="11971">
                  <c:v>08.06.1977</c:v>
                </c:pt>
                <c:pt idx="11972">
                  <c:v>07.06.1977</c:v>
                </c:pt>
                <c:pt idx="11973">
                  <c:v>06.06.1977</c:v>
                </c:pt>
                <c:pt idx="11974">
                  <c:v>03.06.1977</c:v>
                </c:pt>
                <c:pt idx="11975">
                  <c:v>02.06.1977</c:v>
                </c:pt>
                <c:pt idx="11976">
                  <c:v>01.06.1977</c:v>
                </c:pt>
                <c:pt idx="11977">
                  <c:v>31.05.1977</c:v>
                </c:pt>
                <c:pt idx="11978">
                  <c:v>27.05.1977</c:v>
                </c:pt>
                <c:pt idx="11979">
                  <c:v>26.05.1977</c:v>
                </c:pt>
                <c:pt idx="11980">
                  <c:v>25.05.1977</c:v>
                </c:pt>
                <c:pt idx="11981">
                  <c:v>24.05.1977</c:v>
                </c:pt>
                <c:pt idx="11982">
                  <c:v>23.05.1977</c:v>
                </c:pt>
                <c:pt idx="11983">
                  <c:v>20.05.1977</c:v>
                </c:pt>
                <c:pt idx="11984">
                  <c:v>19.05.1977</c:v>
                </c:pt>
                <c:pt idx="11985">
                  <c:v>18.05.1977</c:v>
                </c:pt>
                <c:pt idx="11986">
                  <c:v>17.05.1977</c:v>
                </c:pt>
                <c:pt idx="11987">
                  <c:v>16.05.1977</c:v>
                </c:pt>
                <c:pt idx="11988">
                  <c:v>13.05.1977</c:v>
                </c:pt>
                <c:pt idx="11989">
                  <c:v>12.05.1977</c:v>
                </c:pt>
                <c:pt idx="11990">
                  <c:v>11.05.1977</c:v>
                </c:pt>
                <c:pt idx="11991">
                  <c:v>10.05.1977</c:v>
                </c:pt>
                <c:pt idx="11992">
                  <c:v>09.05.1977</c:v>
                </c:pt>
                <c:pt idx="11993">
                  <c:v>06.05.1977</c:v>
                </c:pt>
                <c:pt idx="11994">
                  <c:v>05.05.1977</c:v>
                </c:pt>
                <c:pt idx="11995">
                  <c:v>04.05.1977</c:v>
                </c:pt>
                <c:pt idx="11996">
                  <c:v>03.05.1977</c:v>
                </c:pt>
                <c:pt idx="11997">
                  <c:v>02.05.1977</c:v>
                </c:pt>
                <c:pt idx="11998">
                  <c:v>29.04.1977</c:v>
                </c:pt>
                <c:pt idx="11999">
                  <c:v>28.04.1977</c:v>
                </c:pt>
                <c:pt idx="12000">
                  <c:v>27.04.1977</c:v>
                </c:pt>
                <c:pt idx="12001">
                  <c:v>26.04.1977</c:v>
                </c:pt>
                <c:pt idx="12002">
                  <c:v>25.04.1977</c:v>
                </c:pt>
                <c:pt idx="12003">
                  <c:v>22.04.1977</c:v>
                </c:pt>
                <c:pt idx="12004">
                  <c:v>21.04.1977</c:v>
                </c:pt>
                <c:pt idx="12005">
                  <c:v>20.04.1977</c:v>
                </c:pt>
                <c:pt idx="12006">
                  <c:v>19.04.1977</c:v>
                </c:pt>
                <c:pt idx="12007">
                  <c:v>18.04.1977</c:v>
                </c:pt>
                <c:pt idx="12008">
                  <c:v>15.04.1977</c:v>
                </c:pt>
                <c:pt idx="12009">
                  <c:v>14.04.1977</c:v>
                </c:pt>
                <c:pt idx="12010">
                  <c:v>13.04.1977</c:v>
                </c:pt>
                <c:pt idx="12011">
                  <c:v>12.04.1977</c:v>
                </c:pt>
                <c:pt idx="12012">
                  <c:v>11.04.1977</c:v>
                </c:pt>
                <c:pt idx="12013">
                  <c:v>07.04.1977</c:v>
                </c:pt>
                <c:pt idx="12014">
                  <c:v>06.04.1977</c:v>
                </c:pt>
                <c:pt idx="12015">
                  <c:v>05.04.1977</c:v>
                </c:pt>
                <c:pt idx="12016">
                  <c:v>04.04.1977</c:v>
                </c:pt>
                <c:pt idx="12017">
                  <c:v>01.04.1977</c:v>
                </c:pt>
                <c:pt idx="12018">
                  <c:v>31.03.1977</c:v>
                </c:pt>
                <c:pt idx="12019">
                  <c:v>30.03.1977</c:v>
                </c:pt>
                <c:pt idx="12020">
                  <c:v>29.03.1977</c:v>
                </c:pt>
                <c:pt idx="12021">
                  <c:v>28.03.1977</c:v>
                </c:pt>
                <c:pt idx="12022">
                  <c:v>25.03.1977</c:v>
                </c:pt>
                <c:pt idx="12023">
                  <c:v>24.03.1977</c:v>
                </c:pt>
                <c:pt idx="12024">
                  <c:v>23.03.1977</c:v>
                </c:pt>
                <c:pt idx="12025">
                  <c:v>22.03.1977</c:v>
                </c:pt>
                <c:pt idx="12026">
                  <c:v>21.03.1977</c:v>
                </c:pt>
                <c:pt idx="12027">
                  <c:v>18.03.1977</c:v>
                </c:pt>
                <c:pt idx="12028">
                  <c:v>17.03.1977</c:v>
                </c:pt>
                <c:pt idx="12029">
                  <c:v>16.03.1977</c:v>
                </c:pt>
                <c:pt idx="12030">
                  <c:v>15.03.1977</c:v>
                </c:pt>
                <c:pt idx="12031">
                  <c:v>14.03.1977</c:v>
                </c:pt>
                <c:pt idx="12032">
                  <c:v>11.03.1977</c:v>
                </c:pt>
                <c:pt idx="12033">
                  <c:v>10.03.1977</c:v>
                </c:pt>
                <c:pt idx="12034">
                  <c:v>09.03.1977</c:v>
                </c:pt>
                <c:pt idx="12035">
                  <c:v>08.03.1977</c:v>
                </c:pt>
                <c:pt idx="12036">
                  <c:v>07.03.1977</c:v>
                </c:pt>
                <c:pt idx="12037">
                  <c:v>04.03.1977</c:v>
                </c:pt>
                <c:pt idx="12038">
                  <c:v>03.03.1977</c:v>
                </c:pt>
                <c:pt idx="12039">
                  <c:v>02.03.1977</c:v>
                </c:pt>
                <c:pt idx="12040">
                  <c:v>01.03.1977</c:v>
                </c:pt>
                <c:pt idx="12041">
                  <c:v>28.02.1977</c:v>
                </c:pt>
                <c:pt idx="12042">
                  <c:v>25.02.1977</c:v>
                </c:pt>
                <c:pt idx="12043">
                  <c:v>24.02.1977</c:v>
                </c:pt>
                <c:pt idx="12044">
                  <c:v>23.02.1977</c:v>
                </c:pt>
                <c:pt idx="12045">
                  <c:v>22.02.1977</c:v>
                </c:pt>
                <c:pt idx="12046">
                  <c:v>18.02.1977</c:v>
                </c:pt>
                <c:pt idx="12047">
                  <c:v>17.02.1977</c:v>
                </c:pt>
                <c:pt idx="12048">
                  <c:v>16.02.1977</c:v>
                </c:pt>
                <c:pt idx="12049">
                  <c:v>15.02.1977</c:v>
                </c:pt>
                <c:pt idx="12050">
                  <c:v>14.02.1977</c:v>
                </c:pt>
                <c:pt idx="12051">
                  <c:v>11.02.1977</c:v>
                </c:pt>
                <c:pt idx="12052">
                  <c:v>10.02.1977</c:v>
                </c:pt>
                <c:pt idx="12053">
                  <c:v>09.02.1977</c:v>
                </c:pt>
                <c:pt idx="12054">
                  <c:v>08.02.1977</c:v>
                </c:pt>
                <c:pt idx="12055">
                  <c:v>07.02.1977</c:v>
                </c:pt>
                <c:pt idx="12056">
                  <c:v>04.02.1977</c:v>
                </c:pt>
                <c:pt idx="12057">
                  <c:v>03.02.1977</c:v>
                </c:pt>
                <c:pt idx="12058">
                  <c:v>02.02.1977</c:v>
                </c:pt>
                <c:pt idx="12059">
                  <c:v>01.02.1977</c:v>
                </c:pt>
                <c:pt idx="12060">
                  <c:v>31.01.1977</c:v>
                </c:pt>
                <c:pt idx="12061">
                  <c:v>28.01.1977</c:v>
                </c:pt>
                <c:pt idx="12062">
                  <c:v>27.01.1977</c:v>
                </c:pt>
                <c:pt idx="12063">
                  <c:v>26.01.1977</c:v>
                </c:pt>
                <c:pt idx="12064">
                  <c:v>25.01.1977</c:v>
                </c:pt>
                <c:pt idx="12065">
                  <c:v>24.01.1977</c:v>
                </c:pt>
                <c:pt idx="12066">
                  <c:v>21.01.1977</c:v>
                </c:pt>
                <c:pt idx="12067">
                  <c:v>20.01.1977</c:v>
                </c:pt>
                <c:pt idx="12068">
                  <c:v>19.01.1977</c:v>
                </c:pt>
                <c:pt idx="12069">
                  <c:v>18.01.1977</c:v>
                </c:pt>
                <c:pt idx="12070">
                  <c:v>17.01.1977</c:v>
                </c:pt>
                <c:pt idx="12071">
                  <c:v>14.01.1977</c:v>
                </c:pt>
                <c:pt idx="12072">
                  <c:v>13.01.1977</c:v>
                </c:pt>
                <c:pt idx="12073">
                  <c:v>12.01.1977</c:v>
                </c:pt>
                <c:pt idx="12074">
                  <c:v>11.01.1977</c:v>
                </c:pt>
                <c:pt idx="12075">
                  <c:v>10.01.1977</c:v>
                </c:pt>
                <c:pt idx="12076">
                  <c:v>07.01.1977</c:v>
                </c:pt>
                <c:pt idx="12077">
                  <c:v>06.01.1977</c:v>
                </c:pt>
                <c:pt idx="12078">
                  <c:v>05.01.1977</c:v>
                </c:pt>
                <c:pt idx="12079">
                  <c:v>04.01.1977</c:v>
                </c:pt>
                <c:pt idx="12080">
                  <c:v>03.01.1977</c:v>
                </c:pt>
                <c:pt idx="12081">
                  <c:v>31.12.1976</c:v>
                </c:pt>
                <c:pt idx="12082">
                  <c:v>30.12.1976</c:v>
                </c:pt>
                <c:pt idx="12083">
                  <c:v>29.12.1976</c:v>
                </c:pt>
                <c:pt idx="12084">
                  <c:v>28.12.1976</c:v>
                </c:pt>
                <c:pt idx="12085">
                  <c:v>27.12.1976</c:v>
                </c:pt>
                <c:pt idx="12086">
                  <c:v>23.12.1976</c:v>
                </c:pt>
                <c:pt idx="12087">
                  <c:v>22.12.1976</c:v>
                </c:pt>
                <c:pt idx="12088">
                  <c:v>21.12.1976</c:v>
                </c:pt>
                <c:pt idx="12089">
                  <c:v>20.12.1976</c:v>
                </c:pt>
                <c:pt idx="12090">
                  <c:v>17.12.1976</c:v>
                </c:pt>
                <c:pt idx="12091">
                  <c:v>16.12.1976</c:v>
                </c:pt>
                <c:pt idx="12092">
                  <c:v>15.12.1976</c:v>
                </c:pt>
                <c:pt idx="12093">
                  <c:v>14.12.1976</c:v>
                </c:pt>
                <c:pt idx="12094">
                  <c:v>13.12.1976</c:v>
                </c:pt>
                <c:pt idx="12095">
                  <c:v>10.12.1976</c:v>
                </c:pt>
                <c:pt idx="12096">
                  <c:v>09.12.1976</c:v>
                </c:pt>
                <c:pt idx="12097">
                  <c:v>08.12.1976</c:v>
                </c:pt>
                <c:pt idx="12098">
                  <c:v>07.12.1976</c:v>
                </c:pt>
                <c:pt idx="12099">
                  <c:v>06.12.1976</c:v>
                </c:pt>
                <c:pt idx="12100">
                  <c:v>03.12.1976</c:v>
                </c:pt>
                <c:pt idx="12101">
                  <c:v>02.12.1976</c:v>
                </c:pt>
                <c:pt idx="12102">
                  <c:v>01.12.1976</c:v>
                </c:pt>
                <c:pt idx="12103">
                  <c:v>30.11.1976</c:v>
                </c:pt>
                <c:pt idx="12104">
                  <c:v>29.11.1976</c:v>
                </c:pt>
                <c:pt idx="12105">
                  <c:v>26.11.1976</c:v>
                </c:pt>
                <c:pt idx="12106">
                  <c:v>24.11.1976</c:v>
                </c:pt>
                <c:pt idx="12107">
                  <c:v>23.11.1976</c:v>
                </c:pt>
                <c:pt idx="12108">
                  <c:v>22.11.1976</c:v>
                </c:pt>
                <c:pt idx="12109">
                  <c:v>19.11.1976</c:v>
                </c:pt>
                <c:pt idx="12110">
                  <c:v>18.11.1976</c:v>
                </c:pt>
                <c:pt idx="12111">
                  <c:v>17.11.1976</c:v>
                </c:pt>
                <c:pt idx="12112">
                  <c:v>16.11.1976</c:v>
                </c:pt>
                <c:pt idx="12113">
                  <c:v>15.11.1976</c:v>
                </c:pt>
                <c:pt idx="12114">
                  <c:v>12.11.1976</c:v>
                </c:pt>
                <c:pt idx="12115">
                  <c:v>11.11.1976</c:v>
                </c:pt>
                <c:pt idx="12116">
                  <c:v>10.11.1976</c:v>
                </c:pt>
                <c:pt idx="12117">
                  <c:v>09.11.1976</c:v>
                </c:pt>
                <c:pt idx="12118">
                  <c:v>08.11.1976</c:v>
                </c:pt>
                <c:pt idx="12119">
                  <c:v>05.11.1976</c:v>
                </c:pt>
                <c:pt idx="12120">
                  <c:v>04.11.1976</c:v>
                </c:pt>
                <c:pt idx="12121">
                  <c:v>03.11.1976</c:v>
                </c:pt>
                <c:pt idx="12122">
                  <c:v>01.11.1976</c:v>
                </c:pt>
                <c:pt idx="12123">
                  <c:v>29.10.1976</c:v>
                </c:pt>
                <c:pt idx="12124">
                  <c:v>28.10.1976</c:v>
                </c:pt>
                <c:pt idx="12125">
                  <c:v>27.10.1976</c:v>
                </c:pt>
                <c:pt idx="12126">
                  <c:v>26.10.1976</c:v>
                </c:pt>
                <c:pt idx="12127">
                  <c:v>25.10.1976</c:v>
                </c:pt>
                <c:pt idx="12128">
                  <c:v>22.10.1976</c:v>
                </c:pt>
                <c:pt idx="12129">
                  <c:v>21.10.1976</c:v>
                </c:pt>
                <c:pt idx="12130">
                  <c:v>20.10.1976</c:v>
                </c:pt>
                <c:pt idx="12131">
                  <c:v>19.10.1976</c:v>
                </c:pt>
                <c:pt idx="12132">
                  <c:v>18.10.1976</c:v>
                </c:pt>
                <c:pt idx="12133">
                  <c:v>15.10.1976</c:v>
                </c:pt>
                <c:pt idx="12134">
                  <c:v>14.10.1976</c:v>
                </c:pt>
                <c:pt idx="12135">
                  <c:v>13.10.1976</c:v>
                </c:pt>
                <c:pt idx="12136">
                  <c:v>12.10.1976</c:v>
                </c:pt>
                <c:pt idx="12137">
                  <c:v>11.10.1976</c:v>
                </c:pt>
                <c:pt idx="12138">
                  <c:v>08.10.1976</c:v>
                </c:pt>
                <c:pt idx="12139">
                  <c:v>07.10.1976</c:v>
                </c:pt>
                <c:pt idx="12140">
                  <c:v>06.10.1976</c:v>
                </c:pt>
                <c:pt idx="12141">
                  <c:v>05.10.1976</c:v>
                </c:pt>
                <c:pt idx="12142">
                  <c:v>04.10.1976</c:v>
                </c:pt>
                <c:pt idx="12143">
                  <c:v>01.10.1976</c:v>
                </c:pt>
                <c:pt idx="12144">
                  <c:v>30.09.1976</c:v>
                </c:pt>
                <c:pt idx="12145">
                  <c:v>29.09.1976</c:v>
                </c:pt>
                <c:pt idx="12146">
                  <c:v>28.09.1976</c:v>
                </c:pt>
                <c:pt idx="12147">
                  <c:v>27.09.1976</c:v>
                </c:pt>
                <c:pt idx="12148">
                  <c:v>24.09.1976</c:v>
                </c:pt>
                <c:pt idx="12149">
                  <c:v>23.09.1976</c:v>
                </c:pt>
                <c:pt idx="12150">
                  <c:v>22.09.1976</c:v>
                </c:pt>
                <c:pt idx="12151">
                  <c:v>21.09.1976</c:v>
                </c:pt>
                <c:pt idx="12152">
                  <c:v>20.09.1976</c:v>
                </c:pt>
                <c:pt idx="12153">
                  <c:v>17.09.1976</c:v>
                </c:pt>
                <c:pt idx="12154">
                  <c:v>16.09.1976</c:v>
                </c:pt>
                <c:pt idx="12155">
                  <c:v>15.09.1976</c:v>
                </c:pt>
                <c:pt idx="12156">
                  <c:v>14.09.1976</c:v>
                </c:pt>
                <c:pt idx="12157">
                  <c:v>13.09.1976</c:v>
                </c:pt>
                <c:pt idx="12158">
                  <c:v>10.09.1976</c:v>
                </c:pt>
                <c:pt idx="12159">
                  <c:v>09.09.1976</c:v>
                </c:pt>
                <c:pt idx="12160">
                  <c:v>08.09.1976</c:v>
                </c:pt>
                <c:pt idx="12161">
                  <c:v>07.09.1976</c:v>
                </c:pt>
                <c:pt idx="12162">
                  <c:v>03.09.1976</c:v>
                </c:pt>
                <c:pt idx="12163">
                  <c:v>02.09.1976</c:v>
                </c:pt>
                <c:pt idx="12164">
                  <c:v>01.09.1976</c:v>
                </c:pt>
                <c:pt idx="12165">
                  <c:v>31.08.1976</c:v>
                </c:pt>
                <c:pt idx="12166">
                  <c:v>30.08.1976</c:v>
                </c:pt>
                <c:pt idx="12167">
                  <c:v>27.08.1976</c:v>
                </c:pt>
                <c:pt idx="12168">
                  <c:v>26.08.1976</c:v>
                </c:pt>
                <c:pt idx="12169">
                  <c:v>25.08.1976</c:v>
                </c:pt>
                <c:pt idx="12170">
                  <c:v>24.08.1976</c:v>
                </c:pt>
                <c:pt idx="12171">
                  <c:v>23.08.1976</c:v>
                </c:pt>
                <c:pt idx="12172">
                  <c:v>20.08.1976</c:v>
                </c:pt>
                <c:pt idx="12173">
                  <c:v>19.08.1976</c:v>
                </c:pt>
                <c:pt idx="12174">
                  <c:v>18.08.1976</c:v>
                </c:pt>
                <c:pt idx="12175">
                  <c:v>17.08.1976</c:v>
                </c:pt>
                <c:pt idx="12176">
                  <c:v>16.08.1976</c:v>
                </c:pt>
                <c:pt idx="12177">
                  <c:v>13.08.1976</c:v>
                </c:pt>
                <c:pt idx="12178">
                  <c:v>12.08.1976</c:v>
                </c:pt>
                <c:pt idx="12179">
                  <c:v>11.08.1976</c:v>
                </c:pt>
                <c:pt idx="12180">
                  <c:v>10.08.1976</c:v>
                </c:pt>
                <c:pt idx="12181">
                  <c:v>09.08.1976</c:v>
                </c:pt>
                <c:pt idx="12182">
                  <c:v>06.08.1976</c:v>
                </c:pt>
                <c:pt idx="12183">
                  <c:v>05.08.1976</c:v>
                </c:pt>
                <c:pt idx="12184">
                  <c:v>04.08.1976</c:v>
                </c:pt>
                <c:pt idx="12185">
                  <c:v>03.08.1976</c:v>
                </c:pt>
                <c:pt idx="12186">
                  <c:v>02.08.1976</c:v>
                </c:pt>
                <c:pt idx="12187">
                  <c:v>30.07.1976</c:v>
                </c:pt>
                <c:pt idx="12188">
                  <c:v>29.07.1976</c:v>
                </c:pt>
                <c:pt idx="12189">
                  <c:v>28.07.1976</c:v>
                </c:pt>
                <c:pt idx="12190">
                  <c:v>27.07.1976</c:v>
                </c:pt>
                <c:pt idx="12191">
                  <c:v>26.07.1976</c:v>
                </c:pt>
                <c:pt idx="12192">
                  <c:v>23.07.1976</c:v>
                </c:pt>
                <c:pt idx="12193">
                  <c:v>22.07.1976</c:v>
                </c:pt>
                <c:pt idx="12194">
                  <c:v>21.07.1976</c:v>
                </c:pt>
                <c:pt idx="12195">
                  <c:v>20.07.1976</c:v>
                </c:pt>
                <c:pt idx="12196">
                  <c:v>19.07.1976</c:v>
                </c:pt>
                <c:pt idx="12197">
                  <c:v>16.07.1976</c:v>
                </c:pt>
                <c:pt idx="12198">
                  <c:v>15.07.1976</c:v>
                </c:pt>
                <c:pt idx="12199">
                  <c:v>14.07.1976</c:v>
                </c:pt>
                <c:pt idx="12200">
                  <c:v>13.07.1976</c:v>
                </c:pt>
                <c:pt idx="12201">
                  <c:v>12.07.1976</c:v>
                </c:pt>
                <c:pt idx="12202">
                  <c:v>09.07.1976</c:v>
                </c:pt>
                <c:pt idx="12203">
                  <c:v>08.07.1976</c:v>
                </c:pt>
                <c:pt idx="12204">
                  <c:v>07.07.1976</c:v>
                </c:pt>
                <c:pt idx="12205">
                  <c:v>06.07.1976</c:v>
                </c:pt>
                <c:pt idx="12206">
                  <c:v>02.07.1976</c:v>
                </c:pt>
                <c:pt idx="12207">
                  <c:v>01.07.1976</c:v>
                </c:pt>
                <c:pt idx="12208">
                  <c:v>30.06.1976</c:v>
                </c:pt>
                <c:pt idx="12209">
                  <c:v>29.06.1976</c:v>
                </c:pt>
                <c:pt idx="12210">
                  <c:v>28.06.1976</c:v>
                </c:pt>
                <c:pt idx="12211">
                  <c:v>25.06.1976</c:v>
                </c:pt>
                <c:pt idx="12212">
                  <c:v>24.06.1976</c:v>
                </c:pt>
                <c:pt idx="12213">
                  <c:v>23.06.1976</c:v>
                </c:pt>
                <c:pt idx="12214">
                  <c:v>22.06.1976</c:v>
                </c:pt>
                <c:pt idx="12215">
                  <c:v>21.06.1976</c:v>
                </c:pt>
                <c:pt idx="12216">
                  <c:v>18.06.1976</c:v>
                </c:pt>
                <c:pt idx="12217">
                  <c:v>17.06.1976</c:v>
                </c:pt>
                <c:pt idx="12218">
                  <c:v>16.06.1976</c:v>
                </c:pt>
                <c:pt idx="12219">
                  <c:v>15.06.1976</c:v>
                </c:pt>
                <c:pt idx="12220">
                  <c:v>14.06.1976</c:v>
                </c:pt>
                <c:pt idx="12221">
                  <c:v>11.06.1976</c:v>
                </c:pt>
                <c:pt idx="12222">
                  <c:v>10.06.1976</c:v>
                </c:pt>
                <c:pt idx="12223">
                  <c:v>09.06.1976</c:v>
                </c:pt>
                <c:pt idx="12224">
                  <c:v>08.06.1976</c:v>
                </c:pt>
                <c:pt idx="12225">
                  <c:v>07.06.1976</c:v>
                </c:pt>
                <c:pt idx="12226">
                  <c:v>04.06.1976</c:v>
                </c:pt>
                <c:pt idx="12227">
                  <c:v>03.06.1976</c:v>
                </c:pt>
                <c:pt idx="12228">
                  <c:v>02.06.1976</c:v>
                </c:pt>
                <c:pt idx="12229">
                  <c:v>01.06.1976</c:v>
                </c:pt>
                <c:pt idx="12230">
                  <c:v>28.05.1976</c:v>
                </c:pt>
                <c:pt idx="12231">
                  <c:v>27.05.1976</c:v>
                </c:pt>
                <c:pt idx="12232">
                  <c:v>26.05.1976</c:v>
                </c:pt>
                <c:pt idx="12233">
                  <c:v>25.05.1976</c:v>
                </c:pt>
                <c:pt idx="12234">
                  <c:v>24.05.1976</c:v>
                </c:pt>
                <c:pt idx="12235">
                  <c:v>21.05.1976</c:v>
                </c:pt>
                <c:pt idx="12236">
                  <c:v>20.05.1976</c:v>
                </c:pt>
                <c:pt idx="12237">
                  <c:v>19.05.1976</c:v>
                </c:pt>
                <c:pt idx="12238">
                  <c:v>18.05.1976</c:v>
                </c:pt>
                <c:pt idx="12239">
                  <c:v>17.05.1976</c:v>
                </c:pt>
                <c:pt idx="12240">
                  <c:v>14.05.1976</c:v>
                </c:pt>
                <c:pt idx="12241">
                  <c:v>13.05.1976</c:v>
                </c:pt>
                <c:pt idx="12242">
                  <c:v>12.05.1976</c:v>
                </c:pt>
                <c:pt idx="12243">
                  <c:v>11.05.1976</c:v>
                </c:pt>
                <c:pt idx="12244">
                  <c:v>10.05.1976</c:v>
                </c:pt>
                <c:pt idx="12245">
                  <c:v>07.05.1976</c:v>
                </c:pt>
                <c:pt idx="12246">
                  <c:v>06.05.1976</c:v>
                </c:pt>
                <c:pt idx="12247">
                  <c:v>05.05.1976</c:v>
                </c:pt>
                <c:pt idx="12248">
                  <c:v>04.05.1976</c:v>
                </c:pt>
                <c:pt idx="12249">
                  <c:v>03.05.1976</c:v>
                </c:pt>
                <c:pt idx="12250">
                  <c:v>30.04.1976</c:v>
                </c:pt>
                <c:pt idx="12251">
                  <c:v>29.04.1976</c:v>
                </c:pt>
                <c:pt idx="12252">
                  <c:v>28.04.1976</c:v>
                </c:pt>
                <c:pt idx="12253">
                  <c:v>27.04.1976</c:v>
                </c:pt>
                <c:pt idx="12254">
                  <c:v>26.04.1976</c:v>
                </c:pt>
                <c:pt idx="12255">
                  <c:v>23.04.1976</c:v>
                </c:pt>
                <c:pt idx="12256">
                  <c:v>22.04.1976</c:v>
                </c:pt>
                <c:pt idx="12257">
                  <c:v>21.04.1976</c:v>
                </c:pt>
                <c:pt idx="12258">
                  <c:v>20.04.1976</c:v>
                </c:pt>
                <c:pt idx="12259">
                  <c:v>19.04.1976</c:v>
                </c:pt>
                <c:pt idx="12260">
                  <c:v>15.04.1976</c:v>
                </c:pt>
                <c:pt idx="12261">
                  <c:v>14.04.1976</c:v>
                </c:pt>
                <c:pt idx="12262">
                  <c:v>13.04.1976</c:v>
                </c:pt>
                <c:pt idx="12263">
                  <c:v>12.04.1976</c:v>
                </c:pt>
                <c:pt idx="12264">
                  <c:v>09.04.1976</c:v>
                </c:pt>
                <c:pt idx="12265">
                  <c:v>08.04.1976</c:v>
                </c:pt>
                <c:pt idx="12266">
                  <c:v>07.04.1976</c:v>
                </c:pt>
                <c:pt idx="12267">
                  <c:v>06.04.1976</c:v>
                </c:pt>
                <c:pt idx="12268">
                  <c:v>05.04.1976</c:v>
                </c:pt>
                <c:pt idx="12269">
                  <c:v>02.04.1976</c:v>
                </c:pt>
                <c:pt idx="12270">
                  <c:v>01.04.1976</c:v>
                </c:pt>
                <c:pt idx="12271">
                  <c:v>31.03.1976</c:v>
                </c:pt>
                <c:pt idx="12272">
                  <c:v>30.03.1976</c:v>
                </c:pt>
                <c:pt idx="12273">
                  <c:v>29.03.1976</c:v>
                </c:pt>
                <c:pt idx="12274">
                  <c:v>26.03.1976</c:v>
                </c:pt>
                <c:pt idx="12275">
                  <c:v>25.03.1976</c:v>
                </c:pt>
                <c:pt idx="12276">
                  <c:v>24.03.1976</c:v>
                </c:pt>
                <c:pt idx="12277">
                  <c:v>23.03.1976</c:v>
                </c:pt>
                <c:pt idx="12278">
                  <c:v>22.03.1976</c:v>
                </c:pt>
                <c:pt idx="12279">
                  <c:v>19.03.1976</c:v>
                </c:pt>
                <c:pt idx="12280">
                  <c:v>18.03.1976</c:v>
                </c:pt>
                <c:pt idx="12281">
                  <c:v>17.03.1976</c:v>
                </c:pt>
                <c:pt idx="12282">
                  <c:v>16.03.1976</c:v>
                </c:pt>
                <c:pt idx="12283">
                  <c:v>15.03.1976</c:v>
                </c:pt>
                <c:pt idx="12284">
                  <c:v>12.03.1976</c:v>
                </c:pt>
                <c:pt idx="12285">
                  <c:v>11.03.1976</c:v>
                </c:pt>
                <c:pt idx="12286">
                  <c:v>10.03.1976</c:v>
                </c:pt>
                <c:pt idx="12287">
                  <c:v>09.03.1976</c:v>
                </c:pt>
                <c:pt idx="12288">
                  <c:v>08.03.1976</c:v>
                </c:pt>
                <c:pt idx="12289">
                  <c:v>05.03.1976</c:v>
                </c:pt>
                <c:pt idx="12290">
                  <c:v>04.03.1976</c:v>
                </c:pt>
                <c:pt idx="12291">
                  <c:v>03.03.1976</c:v>
                </c:pt>
                <c:pt idx="12292">
                  <c:v>02.03.1976</c:v>
                </c:pt>
                <c:pt idx="12293">
                  <c:v>01.03.1976</c:v>
                </c:pt>
                <c:pt idx="12294">
                  <c:v>27.02.1976</c:v>
                </c:pt>
                <c:pt idx="12295">
                  <c:v>26.02.1976</c:v>
                </c:pt>
                <c:pt idx="12296">
                  <c:v>25.02.1976</c:v>
                </c:pt>
                <c:pt idx="12297">
                  <c:v>24.02.1976</c:v>
                </c:pt>
                <c:pt idx="12298">
                  <c:v>23.02.1976</c:v>
                </c:pt>
                <c:pt idx="12299">
                  <c:v>20.02.1976</c:v>
                </c:pt>
                <c:pt idx="12300">
                  <c:v>19.02.1976</c:v>
                </c:pt>
                <c:pt idx="12301">
                  <c:v>18.02.1976</c:v>
                </c:pt>
                <c:pt idx="12302">
                  <c:v>17.02.1976</c:v>
                </c:pt>
                <c:pt idx="12303">
                  <c:v>13.02.1976</c:v>
                </c:pt>
                <c:pt idx="12304">
                  <c:v>12.02.1976</c:v>
                </c:pt>
                <c:pt idx="12305">
                  <c:v>11.02.1976</c:v>
                </c:pt>
                <c:pt idx="12306">
                  <c:v>10.02.1976</c:v>
                </c:pt>
                <c:pt idx="12307">
                  <c:v>09.02.1976</c:v>
                </c:pt>
                <c:pt idx="12308">
                  <c:v>06.02.1976</c:v>
                </c:pt>
                <c:pt idx="12309">
                  <c:v>05.02.1976</c:v>
                </c:pt>
                <c:pt idx="12310">
                  <c:v>04.02.1976</c:v>
                </c:pt>
                <c:pt idx="12311">
                  <c:v>03.02.1976</c:v>
                </c:pt>
                <c:pt idx="12312">
                  <c:v>02.02.1976</c:v>
                </c:pt>
                <c:pt idx="12313">
                  <c:v>30.01.1976</c:v>
                </c:pt>
                <c:pt idx="12314">
                  <c:v>29.01.1976</c:v>
                </c:pt>
                <c:pt idx="12315">
                  <c:v>28.01.1976</c:v>
                </c:pt>
                <c:pt idx="12316">
                  <c:v>27.01.1976</c:v>
                </c:pt>
                <c:pt idx="12317">
                  <c:v>26.01.1976</c:v>
                </c:pt>
                <c:pt idx="12318">
                  <c:v>23.01.1976</c:v>
                </c:pt>
                <c:pt idx="12319">
                  <c:v>22.01.1976</c:v>
                </c:pt>
                <c:pt idx="12320">
                  <c:v>21.01.1976</c:v>
                </c:pt>
                <c:pt idx="12321">
                  <c:v>20.01.1976</c:v>
                </c:pt>
                <c:pt idx="12322">
                  <c:v>19.01.1976</c:v>
                </c:pt>
                <c:pt idx="12323">
                  <c:v>16.01.1976</c:v>
                </c:pt>
                <c:pt idx="12324">
                  <c:v>15.01.1976</c:v>
                </c:pt>
                <c:pt idx="12325">
                  <c:v>14.01.1976</c:v>
                </c:pt>
                <c:pt idx="12326">
                  <c:v>13.01.1976</c:v>
                </c:pt>
                <c:pt idx="12327">
                  <c:v>12.01.1976</c:v>
                </c:pt>
                <c:pt idx="12328">
                  <c:v>09.01.1976</c:v>
                </c:pt>
                <c:pt idx="12329">
                  <c:v>08.01.1976</c:v>
                </c:pt>
                <c:pt idx="12330">
                  <c:v>07.01.1976</c:v>
                </c:pt>
                <c:pt idx="12331">
                  <c:v>06.01.1976</c:v>
                </c:pt>
                <c:pt idx="12332">
                  <c:v>05.01.1976</c:v>
                </c:pt>
                <c:pt idx="12333">
                  <c:v>02.01.1976</c:v>
                </c:pt>
                <c:pt idx="12334">
                  <c:v>31.12.1975</c:v>
                </c:pt>
                <c:pt idx="12335">
                  <c:v>30.12.1975</c:v>
                </c:pt>
                <c:pt idx="12336">
                  <c:v>29.12.1975</c:v>
                </c:pt>
                <c:pt idx="12337">
                  <c:v>26.12.1975</c:v>
                </c:pt>
                <c:pt idx="12338">
                  <c:v>24.12.1975</c:v>
                </c:pt>
                <c:pt idx="12339">
                  <c:v>23.12.1975</c:v>
                </c:pt>
                <c:pt idx="12340">
                  <c:v>22.12.1975</c:v>
                </c:pt>
                <c:pt idx="12341">
                  <c:v>19.12.1975</c:v>
                </c:pt>
                <c:pt idx="12342">
                  <c:v>18.12.1975</c:v>
                </c:pt>
                <c:pt idx="12343">
                  <c:v>17.12.1975</c:v>
                </c:pt>
                <c:pt idx="12344">
                  <c:v>16.12.1975</c:v>
                </c:pt>
                <c:pt idx="12345">
                  <c:v>15.12.1975</c:v>
                </c:pt>
                <c:pt idx="12346">
                  <c:v>12.12.1975</c:v>
                </c:pt>
                <c:pt idx="12347">
                  <c:v>11.12.1975</c:v>
                </c:pt>
                <c:pt idx="12348">
                  <c:v>10.12.1975</c:v>
                </c:pt>
                <c:pt idx="12349">
                  <c:v>09.12.1975</c:v>
                </c:pt>
                <c:pt idx="12350">
                  <c:v>08.12.1975</c:v>
                </c:pt>
                <c:pt idx="12351">
                  <c:v>05.12.1975</c:v>
                </c:pt>
                <c:pt idx="12352">
                  <c:v>04.12.1975</c:v>
                </c:pt>
                <c:pt idx="12353">
                  <c:v>03.12.1975</c:v>
                </c:pt>
                <c:pt idx="12354">
                  <c:v>02.12.1975</c:v>
                </c:pt>
                <c:pt idx="12355">
                  <c:v>01.12.1975</c:v>
                </c:pt>
                <c:pt idx="12356">
                  <c:v>28.11.1975</c:v>
                </c:pt>
                <c:pt idx="12357">
                  <c:v>26.11.1975</c:v>
                </c:pt>
                <c:pt idx="12358">
                  <c:v>25.11.1975</c:v>
                </c:pt>
                <c:pt idx="12359">
                  <c:v>24.11.1975</c:v>
                </c:pt>
                <c:pt idx="12360">
                  <c:v>21.11.1975</c:v>
                </c:pt>
                <c:pt idx="12361">
                  <c:v>20.11.1975</c:v>
                </c:pt>
                <c:pt idx="12362">
                  <c:v>19.11.1975</c:v>
                </c:pt>
                <c:pt idx="12363">
                  <c:v>18.11.1975</c:v>
                </c:pt>
                <c:pt idx="12364">
                  <c:v>17.11.1975</c:v>
                </c:pt>
                <c:pt idx="12365">
                  <c:v>14.11.1975</c:v>
                </c:pt>
                <c:pt idx="12366">
                  <c:v>13.11.1975</c:v>
                </c:pt>
                <c:pt idx="12367">
                  <c:v>12.11.1975</c:v>
                </c:pt>
                <c:pt idx="12368">
                  <c:v>11.11.1975</c:v>
                </c:pt>
                <c:pt idx="12369">
                  <c:v>10.11.1975</c:v>
                </c:pt>
                <c:pt idx="12370">
                  <c:v>07.11.1975</c:v>
                </c:pt>
                <c:pt idx="12371">
                  <c:v>06.11.1975</c:v>
                </c:pt>
                <c:pt idx="12372">
                  <c:v>05.11.1975</c:v>
                </c:pt>
                <c:pt idx="12373">
                  <c:v>04.11.1975</c:v>
                </c:pt>
                <c:pt idx="12374">
                  <c:v>03.11.1975</c:v>
                </c:pt>
                <c:pt idx="12375">
                  <c:v>31.10.1975</c:v>
                </c:pt>
                <c:pt idx="12376">
                  <c:v>30.10.1975</c:v>
                </c:pt>
                <c:pt idx="12377">
                  <c:v>29.10.1975</c:v>
                </c:pt>
                <c:pt idx="12378">
                  <c:v>28.10.1975</c:v>
                </c:pt>
                <c:pt idx="12379">
                  <c:v>27.10.1975</c:v>
                </c:pt>
                <c:pt idx="12380">
                  <c:v>24.10.1975</c:v>
                </c:pt>
                <c:pt idx="12381">
                  <c:v>23.10.1975</c:v>
                </c:pt>
                <c:pt idx="12382">
                  <c:v>22.10.1975</c:v>
                </c:pt>
                <c:pt idx="12383">
                  <c:v>21.10.1975</c:v>
                </c:pt>
                <c:pt idx="12384">
                  <c:v>20.10.1975</c:v>
                </c:pt>
                <c:pt idx="12385">
                  <c:v>17.10.1975</c:v>
                </c:pt>
                <c:pt idx="12386">
                  <c:v>16.10.1975</c:v>
                </c:pt>
                <c:pt idx="12387">
                  <c:v>15.10.1975</c:v>
                </c:pt>
                <c:pt idx="12388">
                  <c:v>14.10.1975</c:v>
                </c:pt>
                <c:pt idx="12389">
                  <c:v>13.10.1975</c:v>
                </c:pt>
                <c:pt idx="12390">
                  <c:v>10.10.1975</c:v>
                </c:pt>
                <c:pt idx="12391">
                  <c:v>09.10.1975</c:v>
                </c:pt>
                <c:pt idx="12392">
                  <c:v>08.10.1975</c:v>
                </c:pt>
                <c:pt idx="12393">
                  <c:v>07.10.1975</c:v>
                </c:pt>
                <c:pt idx="12394">
                  <c:v>06.10.1975</c:v>
                </c:pt>
                <c:pt idx="12395">
                  <c:v>03.10.1975</c:v>
                </c:pt>
                <c:pt idx="12396">
                  <c:v>02.10.1975</c:v>
                </c:pt>
                <c:pt idx="12397">
                  <c:v>01.10.1975</c:v>
                </c:pt>
                <c:pt idx="12398">
                  <c:v>30.09.1975</c:v>
                </c:pt>
                <c:pt idx="12399">
                  <c:v>29.09.1975</c:v>
                </c:pt>
                <c:pt idx="12400">
                  <c:v>26.09.1975</c:v>
                </c:pt>
                <c:pt idx="12401">
                  <c:v>25.09.1975</c:v>
                </c:pt>
                <c:pt idx="12402">
                  <c:v>24.09.1975</c:v>
                </c:pt>
                <c:pt idx="12403">
                  <c:v>23.09.1975</c:v>
                </c:pt>
                <c:pt idx="12404">
                  <c:v>22.09.1975</c:v>
                </c:pt>
                <c:pt idx="12405">
                  <c:v>19.09.1975</c:v>
                </c:pt>
                <c:pt idx="12406">
                  <c:v>18.09.1975</c:v>
                </c:pt>
                <c:pt idx="12407">
                  <c:v>17.09.1975</c:v>
                </c:pt>
                <c:pt idx="12408">
                  <c:v>16.09.1975</c:v>
                </c:pt>
                <c:pt idx="12409">
                  <c:v>15.09.1975</c:v>
                </c:pt>
                <c:pt idx="12410">
                  <c:v>12.09.1975</c:v>
                </c:pt>
                <c:pt idx="12411">
                  <c:v>11.09.1975</c:v>
                </c:pt>
                <c:pt idx="12412">
                  <c:v>10.09.1975</c:v>
                </c:pt>
                <c:pt idx="12413">
                  <c:v>09.09.1975</c:v>
                </c:pt>
                <c:pt idx="12414">
                  <c:v>08.09.1975</c:v>
                </c:pt>
                <c:pt idx="12415">
                  <c:v>05.09.1975</c:v>
                </c:pt>
                <c:pt idx="12416">
                  <c:v>04.09.1975</c:v>
                </c:pt>
                <c:pt idx="12417">
                  <c:v>03.09.1975</c:v>
                </c:pt>
                <c:pt idx="12418">
                  <c:v>02.09.1975</c:v>
                </c:pt>
                <c:pt idx="12419">
                  <c:v>29.08.1975</c:v>
                </c:pt>
                <c:pt idx="12420">
                  <c:v>28.08.1975</c:v>
                </c:pt>
                <c:pt idx="12421">
                  <c:v>27.08.1975</c:v>
                </c:pt>
                <c:pt idx="12422">
                  <c:v>26.08.1975</c:v>
                </c:pt>
                <c:pt idx="12423">
                  <c:v>25.08.1975</c:v>
                </c:pt>
                <c:pt idx="12424">
                  <c:v>22.08.1975</c:v>
                </c:pt>
                <c:pt idx="12425">
                  <c:v>21.08.1975</c:v>
                </c:pt>
                <c:pt idx="12426">
                  <c:v>20.08.1975</c:v>
                </c:pt>
                <c:pt idx="12427">
                  <c:v>19.08.1975</c:v>
                </c:pt>
                <c:pt idx="12428">
                  <c:v>18.08.1975</c:v>
                </c:pt>
                <c:pt idx="12429">
                  <c:v>15.08.1975</c:v>
                </c:pt>
                <c:pt idx="12430">
                  <c:v>14.08.1975</c:v>
                </c:pt>
                <c:pt idx="12431">
                  <c:v>13.08.1975</c:v>
                </c:pt>
                <c:pt idx="12432">
                  <c:v>12.08.1975</c:v>
                </c:pt>
                <c:pt idx="12433">
                  <c:v>11.08.1975</c:v>
                </c:pt>
                <c:pt idx="12434">
                  <c:v>08.08.1975</c:v>
                </c:pt>
                <c:pt idx="12435">
                  <c:v>07.08.1975</c:v>
                </c:pt>
                <c:pt idx="12436">
                  <c:v>06.08.1975</c:v>
                </c:pt>
                <c:pt idx="12437">
                  <c:v>05.08.1975</c:v>
                </c:pt>
                <c:pt idx="12438">
                  <c:v>04.08.1975</c:v>
                </c:pt>
                <c:pt idx="12439">
                  <c:v>01.08.1975</c:v>
                </c:pt>
                <c:pt idx="12440">
                  <c:v>31.07.1975</c:v>
                </c:pt>
                <c:pt idx="12441">
                  <c:v>30.07.1975</c:v>
                </c:pt>
                <c:pt idx="12442">
                  <c:v>29.07.1975</c:v>
                </c:pt>
                <c:pt idx="12443">
                  <c:v>28.07.1975</c:v>
                </c:pt>
                <c:pt idx="12444">
                  <c:v>25.07.1975</c:v>
                </c:pt>
                <c:pt idx="12445">
                  <c:v>24.07.1975</c:v>
                </c:pt>
                <c:pt idx="12446">
                  <c:v>23.07.1975</c:v>
                </c:pt>
                <c:pt idx="12447">
                  <c:v>22.07.1975</c:v>
                </c:pt>
                <c:pt idx="12448">
                  <c:v>21.07.1975</c:v>
                </c:pt>
                <c:pt idx="12449">
                  <c:v>18.07.1975</c:v>
                </c:pt>
                <c:pt idx="12450">
                  <c:v>17.07.1975</c:v>
                </c:pt>
                <c:pt idx="12451">
                  <c:v>16.07.1975</c:v>
                </c:pt>
                <c:pt idx="12452">
                  <c:v>15.07.1975</c:v>
                </c:pt>
                <c:pt idx="12453">
                  <c:v>14.07.1975</c:v>
                </c:pt>
                <c:pt idx="12454">
                  <c:v>11.07.1975</c:v>
                </c:pt>
                <c:pt idx="12455">
                  <c:v>10.07.1975</c:v>
                </c:pt>
                <c:pt idx="12456">
                  <c:v>09.07.1975</c:v>
                </c:pt>
                <c:pt idx="12457">
                  <c:v>08.07.1975</c:v>
                </c:pt>
                <c:pt idx="12458">
                  <c:v>07.07.1975</c:v>
                </c:pt>
                <c:pt idx="12459">
                  <c:v>03.07.1975</c:v>
                </c:pt>
                <c:pt idx="12460">
                  <c:v>02.07.1975</c:v>
                </c:pt>
                <c:pt idx="12461">
                  <c:v>01.07.1975</c:v>
                </c:pt>
                <c:pt idx="12462">
                  <c:v>30.06.1975</c:v>
                </c:pt>
                <c:pt idx="12463">
                  <c:v>27.06.1975</c:v>
                </c:pt>
                <c:pt idx="12464">
                  <c:v>26.06.1975</c:v>
                </c:pt>
                <c:pt idx="12465">
                  <c:v>25.06.1975</c:v>
                </c:pt>
                <c:pt idx="12466">
                  <c:v>24.06.1975</c:v>
                </c:pt>
                <c:pt idx="12467">
                  <c:v>23.06.1975</c:v>
                </c:pt>
                <c:pt idx="12468">
                  <c:v>20.06.1975</c:v>
                </c:pt>
                <c:pt idx="12469">
                  <c:v>19.06.1975</c:v>
                </c:pt>
                <c:pt idx="12470">
                  <c:v>18.06.1975</c:v>
                </c:pt>
                <c:pt idx="12471">
                  <c:v>17.06.1975</c:v>
                </c:pt>
                <c:pt idx="12472">
                  <c:v>16.06.1975</c:v>
                </c:pt>
                <c:pt idx="12473">
                  <c:v>13.06.1975</c:v>
                </c:pt>
                <c:pt idx="12474">
                  <c:v>12.06.1975</c:v>
                </c:pt>
                <c:pt idx="12475">
                  <c:v>11.06.1975</c:v>
                </c:pt>
                <c:pt idx="12476">
                  <c:v>10.06.1975</c:v>
                </c:pt>
                <c:pt idx="12477">
                  <c:v>09.06.1975</c:v>
                </c:pt>
                <c:pt idx="12478">
                  <c:v>06.06.1975</c:v>
                </c:pt>
                <c:pt idx="12479">
                  <c:v>05.06.1975</c:v>
                </c:pt>
                <c:pt idx="12480">
                  <c:v>04.06.1975</c:v>
                </c:pt>
                <c:pt idx="12481">
                  <c:v>03.06.1975</c:v>
                </c:pt>
                <c:pt idx="12482">
                  <c:v>02.06.1975</c:v>
                </c:pt>
                <c:pt idx="12483">
                  <c:v>30.05.1975</c:v>
                </c:pt>
                <c:pt idx="12484">
                  <c:v>29.05.1975</c:v>
                </c:pt>
                <c:pt idx="12485">
                  <c:v>28.05.1975</c:v>
                </c:pt>
                <c:pt idx="12486">
                  <c:v>27.05.1975</c:v>
                </c:pt>
                <c:pt idx="12487">
                  <c:v>23.05.1975</c:v>
                </c:pt>
                <c:pt idx="12488">
                  <c:v>22.05.1975</c:v>
                </c:pt>
                <c:pt idx="12489">
                  <c:v>21.05.1975</c:v>
                </c:pt>
                <c:pt idx="12490">
                  <c:v>20.05.1975</c:v>
                </c:pt>
                <c:pt idx="12491">
                  <c:v>19.05.1975</c:v>
                </c:pt>
                <c:pt idx="12492">
                  <c:v>16.05.1975</c:v>
                </c:pt>
                <c:pt idx="12493">
                  <c:v>15.05.1975</c:v>
                </c:pt>
                <c:pt idx="12494">
                  <c:v>14.05.1975</c:v>
                </c:pt>
                <c:pt idx="12495">
                  <c:v>13.05.1975</c:v>
                </c:pt>
                <c:pt idx="12496">
                  <c:v>12.05.1975</c:v>
                </c:pt>
                <c:pt idx="12497">
                  <c:v>09.05.1975</c:v>
                </c:pt>
                <c:pt idx="12498">
                  <c:v>08.05.1975</c:v>
                </c:pt>
                <c:pt idx="12499">
                  <c:v>07.05.1975</c:v>
                </c:pt>
                <c:pt idx="12500">
                  <c:v>06.05.1975</c:v>
                </c:pt>
                <c:pt idx="12501">
                  <c:v>05.05.1975</c:v>
                </c:pt>
                <c:pt idx="12502">
                  <c:v>02.05.1975</c:v>
                </c:pt>
                <c:pt idx="12503">
                  <c:v>01.05.1975</c:v>
                </c:pt>
                <c:pt idx="12504">
                  <c:v>30.04.1975</c:v>
                </c:pt>
                <c:pt idx="12505">
                  <c:v>29.04.1975</c:v>
                </c:pt>
                <c:pt idx="12506">
                  <c:v>28.04.1975</c:v>
                </c:pt>
                <c:pt idx="12507">
                  <c:v>25.04.1975</c:v>
                </c:pt>
                <c:pt idx="12508">
                  <c:v>24.04.1975</c:v>
                </c:pt>
                <c:pt idx="12509">
                  <c:v>23.04.1975</c:v>
                </c:pt>
                <c:pt idx="12510">
                  <c:v>22.04.1975</c:v>
                </c:pt>
                <c:pt idx="12511">
                  <c:v>21.04.1975</c:v>
                </c:pt>
                <c:pt idx="12512">
                  <c:v>18.04.1975</c:v>
                </c:pt>
                <c:pt idx="12513">
                  <c:v>17.04.1975</c:v>
                </c:pt>
                <c:pt idx="12514">
                  <c:v>16.04.1975</c:v>
                </c:pt>
                <c:pt idx="12515">
                  <c:v>15.04.1975</c:v>
                </c:pt>
                <c:pt idx="12516">
                  <c:v>14.04.1975</c:v>
                </c:pt>
                <c:pt idx="12517">
                  <c:v>11.04.1975</c:v>
                </c:pt>
                <c:pt idx="12518">
                  <c:v>10.04.1975</c:v>
                </c:pt>
                <c:pt idx="12519">
                  <c:v>09.04.1975</c:v>
                </c:pt>
                <c:pt idx="12520">
                  <c:v>08.04.1975</c:v>
                </c:pt>
                <c:pt idx="12521">
                  <c:v>07.04.1975</c:v>
                </c:pt>
                <c:pt idx="12522">
                  <c:v>04.04.1975</c:v>
                </c:pt>
                <c:pt idx="12523">
                  <c:v>03.04.1975</c:v>
                </c:pt>
                <c:pt idx="12524">
                  <c:v>02.04.1975</c:v>
                </c:pt>
                <c:pt idx="12525">
                  <c:v>01.04.1975</c:v>
                </c:pt>
                <c:pt idx="12526">
                  <c:v>31.03.1975</c:v>
                </c:pt>
                <c:pt idx="12527">
                  <c:v>27.03.1975</c:v>
                </c:pt>
                <c:pt idx="12528">
                  <c:v>26.03.1975</c:v>
                </c:pt>
                <c:pt idx="12529">
                  <c:v>25.03.1975</c:v>
                </c:pt>
                <c:pt idx="12530">
                  <c:v>24.03.1975</c:v>
                </c:pt>
                <c:pt idx="12531">
                  <c:v>21.03.1975</c:v>
                </c:pt>
                <c:pt idx="12532">
                  <c:v>20.03.1975</c:v>
                </c:pt>
                <c:pt idx="12533">
                  <c:v>19.03.1975</c:v>
                </c:pt>
                <c:pt idx="12534">
                  <c:v>18.03.1975</c:v>
                </c:pt>
                <c:pt idx="12535">
                  <c:v>17.03.1975</c:v>
                </c:pt>
                <c:pt idx="12536">
                  <c:v>14.03.1975</c:v>
                </c:pt>
                <c:pt idx="12537">
                  <c:v>13.03.1975</c:v>
                </c:pt>
                <c:pt idx="12538">
                  <c:v>12.03.1975</c:v>
                </c:pt>
                <c:pt idx="12539">
                  <c:v>11.03.1975</c:v>
                </c:pt>
                <c:pt idx="12540">
                  <c:v>10.03.1975</c:v>
                </c:pt>
                <c:pt idx="12541">
                  <c:v>07.03.1975</c:v>
                </c:pt>
                <c:pt idx="12542">
                  <c:v>06.03.1975</c:v>
                </c:pt>
                <c:pt idx="12543">
                  <c:v>05.03.1975</c:v>
                </c:pt>
                <c:pt idx="12544">
                  <c:v>04.03.1975</c:v>
                </c:pt>
                <c:pt idx="12545">
                  <c:v>03.03.1975</c:v>
                </c:pt>
                <c:pt idx="12546">
                  <c:v>28.02.1975</c:v>
                </c:pt>
                <c:pt idx="12547">
                  <c:v>27.02.1975</c:v>
                </c:pt>
                <c:pt idx="12548">
                  <c:v>26.02.1975</c:v>
                </c:pt>
                <c:pt idx="12549">
                  <c:v>25.02.1975</c:v>
                </c:pt>
                <c:pt idx="12550">
                  <c:v>24.02.1975</c:v>
                </c:pt>
                <c:pt idx="12551">
                  <c:v>21.02.1975</c:v>
                </c:pt>
                <c:pt idx="12552">
                  <c:v>20.02.1975</c:v>
                </c:pt>
                <c:pt idx="12553">
                  <c:v>19.02.1975</c:v>
                </c:pt>
                <c:pt idx="12554">
                  <c:v>18.02.1975</c:v>
                </c:pt>
                <c:pt idx="12555">
                  <c:v>14.02.1975</c:v>
                </c:pt>
                <c:pt idx="12556">
                  <c:v>13.02.1975</c:v>
                </c:pt>
                <c:pt idx="12557">
                  <c:v>12.02.1975</c:v>
                </c:pt>
                <c:pt idx="12558">
                  <c:v>11.02.1975</c:v>
                </c:pt>
                <c:pt idx="12559">
                  <c:v>10.02.1975</c:v>
                </c:pt>
                <c:pt idx="12560">
                  <c:v>07.02.1975</c:v>
                </c:pt>
                <c:pt idx="12561">
                  <c:v>06.02.1975</c:v>
                </c:pt>
                <c:pt idx="12562">
                  <c:v>05.02.1975</c:v>
                </c:pt>
                <c:pt idx="12563">
                  <c:v>04.02.1975</c:v>
                </c:pt>
                <c:pt idx="12564">
                  <c:v>03.02.1975</c:v>
                </c:pt>
                <c:pt idx="12565">
                  <c:v>31.01.1975</c:v>
                </c:pt>
                <c:pt idx="12566">
                  <c:v>30.01.1975</c:v>
                </c:pt>
                <c:pt idx="12567">
                  <c:v>29.01.1975</c:v>
                </c:pt>
                <c:pt idx="12568">
                  <c:v>28.01.1975</c:v>
                </c:pt>
                <c:pt idx="12569">
                  <c:v>27.01.1975</c:v>
                </c:pt>
                <c:pt idx="12570">
                  <c:v>24.01.1975</c:v>
                </c:pt>
                <c:pt idx="12571">
                  <c:v>23.01.1975</c:v>
                </c:pt>
                <c:pt idx="12572">
                  <c:v>22.01.1975</c:v>
                </c:pt>
                <c:pt idx="12573">
                  <c:v>21.01.1975</c:v>
                </c:pt>
                <c:pt idx="12574">
                  <c:v>20.01.1975</c:v>
                </c:pt>
                <c:pt idx="12575">
                  <c:v>17.01.1975</c:v>
                </c:pt>
                <c:pt idx="12576">
                  <c:v>16.01.1975</c:v>
                </c:pt>
                <c:pt idx="12577">
                  <c:v>15.01.1975</c:v>
                </c:pt>
                <c:pt idx="12578">
                  <c:v>14.01.1975</c:v>
                </c:pt>
                <c:pt idx="12579">
                  <c:v>13.01.1975</c:v>
                </c:pt>
                <c:pt idx="12580">
                  <c:v>10.01.1975</c:v>
                </c:pt>
                <c:pt idx="12581">
                  <c:v>09.01.1975</c:v>
                </c:pt>
                <c:pt idx="12582">
                  <c:v>08.01.1975</c:v>
                </c:pt>
                <c:pt idx="12583">
                  <c:v>07.01.1975</c:v>
                </c:pt>
                <c:pt idx="12584">
                  <c:v>06.01.1975</c:v>
                </c:pt>
                <c:pt idx="12585">
                  <c:v>03.01.1975</c:v>
                </c:pt>
                <c:pt idx="12586">
                  <c:v>02.01.1975</c:v>
                </c:pt>
                <c:pt idx="12587">
                  <c:v>31.12.1974</c:v>
                </c:pt>
                <c:pt idx="12588">
                  <c:v>30.12.1974</c:v>
                </c:pt>
                <c:pt idx="12589">
                  <c:v>27.12.1974</c:v>
                </c:pt>
                <c:pt idx="12590">
                  <c:v>26.12.1974</c:v>
                </c:pt>
                <c:pt idx="12591">
                  <c:v>24.12.1974</c:v>
                </c:pt>
                <c:pt idx="12592">
                  <c:v>23.12.1974</c:v>
                </c:pt>
                <c:pt idx="12593">
                  <c:v>20.12.1974</c:v>
                </c:pt>
                <c:pt idx="12594">
                  <c:v>19.12.1974</c:v>
                </c:pt>
                <c:pt idx="12595">
                  <c:v>18.12.1974</c:v>
                </c:pt>
                <c:pt idx="12596">
                  <c:v>17.12.1974</c:v>
                </c:pt>
                <c:pt idx="12597">
                  <c:v>16.12.1974</c:v>
                </c:pt>
                <c:pt idx="12598">
                  <c:v>13.12.1974</c:v>
                </c:pt>
                <c:pt idx="12599">
                  <c:v>12.12.1974</c:v>
                </c:pt>
                <c:pt idx="12600">
                  <c:v>11.12.1974</c:v>
                </c:pt>
                <c:pt idx="12601">
                  <c:v>10.12.1974</c:v>
                </c:pt>
                <c:pt idx="12602">
                  <c:v>09.12.1974</c:v>
                </c:pt>
                <c:pt idx="12603">
                  <c:v>06.12.1974</c:v>
                </c:pt>
                <c:pt idx="12604">
                  <c:v>05.12.1974</c:v>
                </c:pt>
                <c:pt idx="12605">
                  <c:v>04.12.1974</c:v>
                </c:pt>
                <c:pt idx="12606">
                  <c:v>03.12.1974</c:v>
                </c:pt>
                <c:pt idx="12607">
                  <c:v>02.12.1974</c:v>
                </c:pt>
                <c:pt idx="12608">
                  <c:v>29.11.1974</c:v>
                </c:pt>
                <c:pt idx="12609">
                  <c:v>27.11.1974</c:v>
                </c:pt>
                <c:pt idx="12610">
                  <c:v>26.11.1974</c:v>
                </c:pt>
                <c:pt idx="12611">
                  <c:v>25.11.1974</c:v>
                </c:pt>
                <c:pt idx="12612">
                  <c:v>22.11.1974</c:v>
                </c:pt>
                <c:pt idx="12613">
                  <c:v>21.11.1974</c:v>
                </c:pt>
                <c:pt idx="12614">
                  <c:v>20.11.1974</c:v>
                </c:pt>
                <c:pt idx="12615">
                  <c:v>19.11.1974</c:v>
                </c:pt>
                <c:pt idx="12616">
                  <c:v>18.11.1974</c:v>
                </c:pt>
                <c:pt idx="12617">
                  <c:v>15.11.1974</c:v>
                </c:pt>
                <c:pt idx="12618">
                  <c:v>14.11.1974</c:v>
                </c:pt>
                <c:pt idx="12619">
                  <c:v>13.11.1974</c:v>
                </c:pt>
                <c:pt idx="12620">
                  <c:v>12.11.1974</c:v>
                </c:pt>
                <c:pt idx="12621">
                  <c:v>11.11.1974</c:v>
                </c:pt>
                <c:pt idx="12622">
                  <c:v>08.11.1974</c:v>
                </c:pt>
                <c:pt idx="12623">
                  <c:v>07.11.1974</c:v>
                </c:pt>
                <c:pt idx="12624">
                  <c:v>06.11.1974</c:v>
                </c:pt>
                <c:pt idx="12625">
                  <c:v>05.11.1974</c:v>
                </c:pt>
                <c:pt idx="12626">
                  <c:v>04.11.1974</c:v>
                </c:pt>
                <c:pt idx="12627">
                  <c:v>01.11.1974</c:v>
                </c:pt>
                <c:pt idx="12628">
                  <c:v>31.10.1974</c:v>
                </c:pt>
                <c:pt idx="12629">
                  <c:v>30.10.1974</c:v>
                </c:pt>
                <c:pt idx="12630">
                  <c:v>29.10.1974</c:v>
                </c:pt>
                <c:pt idx="12631">
                  <c:v>28.10.1974</c:v>
                </c:pt>
                <c:pt idx="12632">
                  <c:v>25.10.1974</c:v>
                </c:pt>
                <c:pt idx="12633">
                  <c:v>24.10.1974</c:v>
                </c:pt>
                <c:pt idx="12634">
                  <c:v>23.10.1974</c:v>
                </c:pt>
                <c:pt idx="12635">
                  <c:v>22.10.1974</c:v>
                </c:pt>
                <c:pt idx="12636">
                  <c:v>21.10.1974</c:v>
                </c:pt>
                <c:pt idx="12637">
                  <c:v>18.10.1974</c:v>
                </c:pt>
                <c:pt idx="12638">
                  <c:v>17.10.1974</c:v>
                </c:pt>
                <c:pt idx="12639">
                  <c:v>16.10.1974</c:v>
                </c:pt>
                <c:pt idx="12640">
                  <c:v>15.10.1974</c:v>
                </c:pt>
                <c:pt idx="12641">
                  <c:v>14.10.1974</c:v>
                </c:pt>
                <c:pt idx="12642">
                  <c:v>11.10.1974</c:v>
                </c:pt>
                <c:pt idx="12643">
                  <c:v>10.10.1974</c:v>
                </c:pt>
                <c:pt idx="12644">
                  <c:v>09.10.1974</c:v>
                </c:pt>
                <c:pt idx="12645">
                  <c:v>08.10.1974</c:v>
                </c:pt>
                <c:pt idx="12646">
                  <c:v>07.10.1974</c:v>
                </c:pt>
                <c:pt idx="12647">
                  <c:v>04.10.1974</c:v>
                </c:pt>
                <c:pt idx="12648">
                  <c:v>03.10.1974</c:v>
                </c:pt>
                <c:pt idx="12649">
                  <c:v>02.10.1974</c:v>
                </c:pt>
                <c:pt idx="12650">
                  <c:v>01.10.1974</c:v>
                </c:pt>
                <c:pt idx="12651">
                  <c:v>30.09.1974</c:v>
                </c:pt>
                <c:pt idx="12652">
                  <c:v>27.09.1974</c:v>
                </c:pt>
                <c:pt idx="12653">
                  <c:v>26.09.1974</c:v>
                </c:pt>
                <c:pt idx="12654">
                  <c:v>25.09.1974</c:v>
                </c:pt>
                <c:pt idx="12655">
                  <c:v>24.09.1974</c:v>
                </c:pt>
                <c:pt idx="12656">
                  <c:v>23.09.1974</c:v>
                </c:pt>
                <c:pt idx="12657">
                  <c:v>20.09.1974</c:v>
                </c:pt>
                <c:pt idx="12658">
                  <c:v>19.09.1974</c:v>
                </c:pt>
                <c:pt idx="12659">
                  <c:v>18.09.1974</c:v>
                </c:pt>
                <c:pt idx="12660">
                  <c:v>17.09.1974</c:v>
                </c:pt>
                <c:pt idx="12661">
                  <c:v>16.09.1974</c:v>
                </c:pt>
                <c:pt idx="12662">
                  <c:v>13.09.1974</c:v>
                </c:pt>
                <c:pt idx="12663">
                  <c:v>12.09.1974</c:v>
                </c:pt>
                <c:pt idx="12664">
                  <c:v>11.09.1974</c:v>
                </c:pt>
                <c:pt idx="12665">
                  <c:v>10.09.1974</c:v>
                </c:pt>
                <c:pt idx="12666">
                  <c:v>09.09.1974</c:v>
                </c:pt>
                <c:pt idx="12667">
                  <c:v>06.09.1974</c:v>
                </c:pt>
                <c:pt idx="12668">
                  <c:v>05.09.1974</c:v>
                </c:pt>
                <c:pt idx="12669">
                  <c:v>04.09.1974</c:v>
                </c:pt>
                <c:pt idx="12670">
                  <c:v>03.09.1974</c:v>
                </c:pt>
                <c:pt idx="12671">
                  <c:v>30.08.1974</c:v>
                </c:pt>
                <c:pt idx="12672">
                  <c:v>29.08.1974</c:v>
                </c:pt>
                <c:pt idx="12673">
                  <c:v>28.08.1974</c:v>
                </c:pt>
                <c:pt idx="12674">
                  <c:v>27.08.1974</c:v>
                </c:pt>
                <c:pt idx="12675">
                  <c:v>26.08.1974</c:v>
                </c:pt>
                <c:pt idx="12676">
                  <c:v>23.08.1974</c:v>
                </c:pt>
                <c:pt idx="12677">
                  <c:v>22.08.1974</c:v>
                </c:pt>
                <c:pt idx="12678">
                  <c:v>21.08.1974</c:v>
                </c:pt>
                <c:pt idx="12679">
                  <c:v>20.08.1974</c:v>
                </c:pt>
                <c:pt idx="12680">
                  <c:v>19.08.1974</c:v>
                </c:pt>
                <c:pt idx="12681">
                  <c:v>16.08.1974</c:v>
                </c:pt>
                <c:pt idx="12682">
                  <c:v>15.08.1974</c:v>
                </c:pt>
                <c:pt idx="12683">
                  <c:v>14.08.1974</c:v>
                </c:pt>
                <c:pt idx="12684">
                  <c:v>13.08.1974</c:v>
                </c:pt>
                <c:pt idx="12685">
                  <c:v>12.08.1974</c:v>
                </c:pt>
                <c:pt idx="12686">
                  <c:v>09.08.1974</c:v>
                </c:pt>
                <c:pt idx="12687">
                  <c:v>08.08.1974</c:v>
                </c:pt>
                <c:pt idx="12688">
                  <c:v>07.08.1974</c:v>
                </c:pt>
                <c:pt idx="12689">
                  <c:v>06.08.1974</c:v>
                </c:pt>
                <c:pt idx="12690">
                  <c:v>05.08.1974</c:v>
                </c:pt>
                <c:pt idx="12691">
                  <c:v>02.08.1974</c:v>
                </c:pt>
                <c:pt idx="12692">
                  <c:v>01.08.1974</c:v>
                </c:pt>
                <c:pt idx="12693">
                  <c:v>31.07.1974</c:v>
                </c:pt>
                <c:pt idx="12694">
                  <c:v>30.07.1974</c:v>
                </c:pt>
                <c:pt idx="12695">
                  <c:v>29.07.1974</c:v>
                </c:pt>
                <c:pt idx="12696">
                  <c:v>26.07.1974</c:v>
                </c:pt>
                <c:pt idx="12697">
                  <c:v>25.07.1974</c:v>
                </c:pt>
                <c:pt idx="12698">
                  <c:v>24.07.1974</c:v>
                </c:pt>
                <c:pt idx="12699">
                  <c:v>23.07.1974</c:v>
                </c:pt>
                <c:pt idx="12700">
                  <c:v>22.07.1974</c:v>
                </c:pt>
                <c:pt idx="12701">
                  <c:v>19.07.1974</c:v>
                </c:pt>
                <c:pt idx="12702">
                  <c:v>18.07.1974</c:v>
                </c:pt>
                <c:pt idx="12703">
                  <c:v>17.07.1974</c:v>
                </c:pt>
                <c:pt idx="12704">
                  <c:v>16.07.1974</c:v>
                </c:pt>
                <c:pt idx="12705">
                  <c:v>15.07.1974</c:v>
                </c:pt>
                <c:pt idx="12706">
                  <c:v>12.07.1974</c:v>
                </c:pt>
                <c:pt idx="12707">
                  <c:v>11.07.1974</c:v>
                </c:pt>
                <c:pt idx="12708">
                  <c:v>10.07.1974</c:v>
                </c:pt>
                <c:pt idx="12709">
                  <c:v>09.07.1974</c:v>
                </c:pt>
                <c:pt idx="12710">
                  <c:v>08.07.1974</c:v>
                </c:pt>
                <c:pt idx="12711">
                  <c:v>05.07.1974</c:v>
                </c:pt>
                <c:pt idx="12712">
                  <c:v>03.07.1974</c:v>
                </c:pt>
                <c:pt idx="12713">
                  <c:v>02.07.1974</c:v>
                </c:pt>
                <c:pt idx="12714">
                  <c:v>01.07.1974</c:v>
                </c:pt>
                <c:pt idx="12715">
                  <c:v>28.06.1974</c:v>
                </c:pt>
                <c:pt idx="12716">
                  <c:v>27.06.1974</c:v>
                </c:pt>
                <c:pt idx="12717">
                  <c:v>26.06.1974</c:v>
                </c:pt>
                <c:pt idx="12718">
                  <c:v>25.06.1974</c:v>
                </c:pt>
                <c:pt idx="12719">
                  <c:v>24.06.1974</c:v>
                </c:pt>
                <c:pt idx="12720">
                  <c:v>21.06.1974</c:v>
                </c:pt>
                <c:pt idx="12721">
                  <c:v>20.06.1974</c:v>
                </c:pt>
                <c:pt idx="12722">
                  <c:v>19.06.1974</c:v>
                </c:pt>
                <c:pt idx="12723">
                  <c:v>18.06.1974</c:v>
                </c:pt>
                <c:pt idx="12724">
                  <c:v>17.06.1974</c:v>
                </c:pt>
                <c:pt idx="12725">
                  <c:v>14.06.1974</c:v>
                </c:pt>
                <c:pt idx="12726">
                  <c:v>13.06.1974</c:v>
                </c:pt>
                <c:pt idx="12727">
                  <c:v>12.06.1974</c:v>
                </c:pt>
                <c:pt idx="12728">
                  <c:v>11.06.1974</c:v>
                </c:pt>
                <c:pt idx="12729">
                  <c:v>10.06.1974</c:v>
                </c:pt>
                <c:pt idx="12730">
                  <c:v>07.06.1974</c:v>
                </c:pt>
                <c:pt idx="12731">
                  <c:v>06.06.1974</c:v>
                </c:pt>
                <c:pt idx="12732">
                  <c:v>05.06.1974</c:v>
                </c:pt>
                <c:pt idx="12733">
                  <c:v>04.06.1974</c:v>
                </c:pt>
                <c:pt idx="12734">
                  <c:v>03.06.1974</c:v>
                </c:pt>
                <c:pt idx="12735">
                  <c:v>31.05.1974</c:v>
                </c:pt>
                <c:pt idx="12736">
                  <c:v>30.05.1974</c:v>
                </c:pt>
                <c:pt idx="12737">
                  <c:v>29.05.1974</c:v>
                </c:pt>
                <c:pt idx="12738">
                  <c:v>28.05.1974</c:v>
                </c:pt>
                <c:pt idx="12739">
                  <c:v>24.05.1974</c:v>
                </c:pt>
                <c:pt idx="12740">
                  <c:v>23.05.1974</c:v>
                </c:pt>
                <c:pt idx="12741">
                  <c:v>22.05.1974</c:v>
                </c:pt>
                <c:pt idx="12742">
                  <c:v>21.05.1974</c:v>
                </c:pt>
                <c:pt idx="12743">
                  <c:v>20.05.1974</c:v>
                </c:pt>
                <c:pt idx="12744">
                  <c:v>17.05.1974</c:v>
                </c:pt>
                <c:pt idx="12745">
                  <c:v>16.05.1974</c:v>
                </c:pt>
                <c:pt idx="12746">
                  <c:v>15.05.1974</c:v>
                </c:pt>
                <c:pt idx="12747">
                  <c:v>14.05.1974</c:v>
                </c:pt>
                <c:pt idx="12748">
                  <c:v>13.05.1974</c:v>
                </c:pt>
                <c:pt idx="12749">
                  <c:v>10.05.1974</c:v>
                </c:pt>
                <c:pt idx="12750">
                  <c:v>09.05.1974</c:v>
                </c:pt>
                <c:pt idx="12751">
                  <c:v>08.05.1974</c:v>
                </c:pt>
                <c:pt idx="12752">
                  <c:v>07.05.1974</c:v>
                </c:pt>
                <c:pt idx="12753">
                  <c:v>06.05.1974</c:v>
                </c:pt>
                <c:pt idx="12754">
                  <c:v>03.05.1974</c:v>
                </c:pt>
                <c:pt idx="12755">
                  <c:v>02.05.1974</c:v>
                </c:pt>
                <c:pt idx="12756">
                  <c:v>01.05.1974</c:v>
                </c:pt>
                <c:pt idx="12757">
                  <c:v>30.04.1974</c:v>
                </c:pt>
                <c:pt idx="12758">
                  <c:v>29.04.1974</c:v>
                </c:pt>
                <c:pt idx="12759">
                  <c:v>26.04.1974</c:v>
                </c:pt>
                <c:pt idx="12760">
                  <c:v>25.04.1974</c:v>
                </c:pt>
                <c:pt idx="12761">
                  <c:v>24.04.1974</c:v>
                </c:pt>
                <c:pt idx="12762">
                  <c:v>23.04.1974</c:v>
                </c:pt>
                <c:pt idx="12763">
                  <c:v>22.04.1974</c:v>
                </c:pt>
                <c:pt idx="12764">
                  <c:v>19.04.1974</c:v>
                </c:pt>
                <c:pt idx="12765">
                  <c:v>18.04.1974</c:v>
                </c:pt>
                <c:pt idx="12766">
                  <c:v>17.04.1974</c:v>
                </c:pt>
                <c:pt idx="12767">
                  <c:v>16.04.1974</c:v>
                </c:pt>
                <c:pt idx="12768">
                  <c:v>15.04.1974</c:v>
                </c:pt>
                <c:pt idx="12769">
                  <c:v>11.04.1974</c:v>
                </c:pt>
                <c:pt idx="12770">
                  <c:v>10.04.1974</c:v>
                </c:pt>
                <c:pt idx="12771">
                  <c:v>09.04.1974</c:v>
                </c:pt>
                <c:pt idx="12772">
                  <c:v>08.04.1974</c:v>
                </c:pt>
                <c:pt idx="12773">
                  <c:v>05.04.1974</c:v>
                </c:pt>
                <c:pt idx="12774">
                  <c:v>04.04.1974</c:v>
                </c:pt>
                <c:pt idx="12775">
                  <c:v>03.04.1974</c:v>
                </c:pt>
                <c:pt idx="12776">
                  <c:v>02.04.1974</c:v>
                </c:pt>
                <c:pt idx="12777">
                  <c:v>01.04.1974</c:v>
                </c:pt>
                <c:pt idx="12778">
                  <c:v>29.03.1974</c:v>
                </c:pt>
                <c:pt idx="12779">
                  <c:v>28.03.1974</c:v>
                </c:pt>
                <c:pt idx="12780">
                  <c:v>27.03.1974</c:v>
                </c:pt>
                <c:pt idx="12781">
                  <c:v>26.03.1974</c:v>
                </c:pt>
                <c:pt idx="12782">
                  <c:v>25.03.1974</c:v>
                </c:pt>
                <c:pt idx="12783">
                  <c:v>22.03.1974</c:v>
                </c:pt>
                <c:pt idx="12784">
                  <c:v>21.03.1974</c:v>
                </c:pt>
                <c:pt idx="12785">
                  <c:v>20.03.1974</c:v>
                </c:pt>
                <c:pt idx="12786">
                  <c:v>19.03.1974</c:v>
                </c:pt>
                <c:pt idx="12787">
                  <c:v>18.03.1974</c:v>
                </c:pt>
                <c:pt idx="12788">
                  <c:v>15.03.1974</c:v>
                </c:pt>
                <c:pt idx="12789">
                  <c:v>14.03.1974</c:v>
                </c:pt>
                <c:pt idx="12790">
                  <c:v>13.03.1974</c:v>
                </c:pt>
                <c:pt idx="12791">
                  <c:v>12.03.1974</c:v>
                </c:pt>
                <c:pt idx="12792">
                  <c:v>11.03.1974</c:v>
                </c:pt>
                <c:pt idx="12793">
                  <c:v>08.03.1974</c:v>
                </c:pt>
                <c:pt idx="12794">
                  <c:v>07.03.1974</c:v>
                </c:pt>
                <c:pt idx="12795">
                  <c:v>06.03.1974</c:v>
                </c:pt>
                <c:pt idx="12796">
                  <c:v>05.03.1974</c:v>
                </c:pt>
                <c:pt idx="12797">
                  <c:v>04.03.1974</c:v>
                </c:pt>
                <c:pt idx="12798">
                  <c:v>01.03.1974</c:v>
                </c:pt>
                <c:pt idx="12799">
                  <c:v>28.02.1974</c:v>
                </c:pt>
                <c:pt idx="12800">
                  <c:v>27.02.1974</c:v>
                </c:pt>
                <c:pt idx="12801">
                  <c:v>26.02.1974</c:v>
                </c:pt>
                <c:pt idx="12802">
                  <c:v>25.02.1974</c:v>
                </c:pt>
                <c:pt idx="12803">
                  <c:v>22.02.1974</c:v>
                </c:pt>
                <c:pt idx="12804">
                  <c:v>21.02.1974</c:v>
                </c:pt>
                <c:pt idx="12805">
                  <c:v>20.02.1974</c:v>
                </c:pt>
                <c:pt idx="12806">
                  <c:v>19.02.1974</c:v>
                </c:pt>
                <c:pt idx="12807">
                  <c:v>15.02.1974</c:v>
                </c:pt>
                <c:pt idx="12808">
                  <c:v>14.02.1974</c:v>
                </c:pt>
                <c:pt idx="12809">
                  <c:v>13.02.1974</c:v>
                </c:pt>
                <c:pt idx="12810">
                  <c:v>12.02.1974</c:v>
                </c:pt>
                <c:pt idx="12811">
                  <c:v>11.02.1974</c:v>
                </c:pt>
                <c:pt idx="12812">
                  <c:v>08.02.1974</c:v>
                </c:pt>
                <c:pt idx="12813">
                  <c:v>07.02.1974</c:v>
                </c:pt>
                <c:pt idx="12814">
                  <c:v>06.02.1974</c:v>
                </c:pt>
                <c:pt idx="12815">
                  <c:v>05.02.1974</c:v>
                </c:pt>
                <c:pt idx="12816">
                  <c:v>04.02.1974</c:v>
                </c:pt>
                <c:pt idx="12817">
                  <c:v>01.02.1974</c:v>
                </c:pt>
                <c:pt idx="12818">
                  <c:v>31.01.1974</c:v>
                </c:pt>
                <c:pt idx="12819">
                  <c:v>30.01.1974</c:v>
                </c:pt>
                <c:pt idx="12820">
                  <c:v>29.01.1974</c:v>
                </c:pt>
                <c:pt idx="12821">
                  <c:v>28.01.1974</c:v>
                </c:pt>
                <c:pt idx="12822">
                  <c:v>25.01.1974</c:v>
                </c:pt>
                <c:pt idx="12823">
                  <c:v>24.01.1974</c:v>
                </c:pt>
                <c:pt idx="12824">
                  <c:v>23.01.1974</c:v>
                </c:pt>
                <c:pt idx="12825">
                  <c:v>22.01.1974</c:v>
                </c:pt>
                <c:pt idx="12826">
                  <c:v>21.01.1974</c:v>
                </c:pt>
                <c:pt idx="12827">
                  <c:v>18.01.1974</c:v>
                </c:pt>
                <c:pt idx="12828">
                  <c:v>17.01.1974</c:v>
                </c:pt>
                <c:pt idx="12829">
                  <c:v>16.01.1974</c:v>
                </c:pt>
                <c:pt idx="12830">
                  <c:v>15.01.1974</c:v>
                </c:pt>
                <c:pt idx="12831">
                  <c:v>14.01.1974</c:v>
                </c:pt>
                <c:pt idx="12832">
                  <c:v>11.01.1974</c:v>
                </c:pt>
                <c:pt idx="12833">
                  <c:v>10.01.1974</c:v>
                </c:pt>
                <c:pt idx="12834">
                  <c:v>09.01.1974</c:v>
                </c:pt>
                <c:pt idx="12835">
                  <c:v>08.01.1974</c:v>
                </c:pt>
                <c:pt idx="12836">
                  <c:v>07.01.1974</c:v>
                </c:pt>
                <c:pt idx="12837">
                  <c:v>04.01.1974</c:v>
                </c:pt>
                <c:pt idx="12838">
                  <c:v>03.01.1974</c:v>
                </c:pt>
                <c:pt idx="12839">
                  <c:v>02.01.1974</c:v>
                </c:pt>
                <c:pt idx="12840">
                  <c:v>31.12.1973</c:v>
                </c:pt>
                <c:pt idx="12841">
                  <c:v>28.12.1973</c:v>
                </c:pt>
                <c:pt idx="12842">
                  <c:v>27.12.1973</c:v>
                </c:pt>
                <c:pt idx="12843">
                  <c:v>26.12.1973</c:v>
                </c:pt>
                <c:pt idx="12844">
                  <c:v>24.12.1973</c:v>
                </c:pt>
                <c:pt idx="12845">
                  <c:v>21.12.1973</c:v>
                </c:pt>
                <c:pt idx="12846">
                  <c:v>20.12.1973</c:v>
                </c:pt>
                <c:pt idx="12847">
                  <c:v>19.12.1973</c:v>
                </c:pt>
                <c:pt idx="12848">
                  <c:v>18.12.1973</c:v>
                </c:pt>
                <c:pt idx="12849">
                  <c:v>17.12.1973</c:v>
                </c:pt>
                <c:pt idx="12850">
                  <c:v>14.12.1973</c:v>
                </c:pt>
                <c:pt idx="12851">
                  <c:v>13.12.1973</c:v>
                </c:pt>
                <c:pt idx="12852">
                  <c:v>12.12.1973</c:v>
                </c:pt>
                <c:pt idx="12853">
                  <c:v>11.12.1973</c:v>
                </c:pt>
                <c:pt idx="12854">
                  <c:v>10.12.1973</c:v>
                </c:pt>
                <c:pt idx="12855">
                  <c:v>07.12.1973</c:v>
                </c:pt>
                <c:pt idx="12856">
                  <c:v>06.12.1973</c:v>
                </c:pt>
                <c:pt idx="12857">
                  <c:v>05.12.1973</c:v>
                </c:pt>
                <c:pt idx="12858">
                  <c:v>04.12.1973</c:v>
                </c:pt>
                <c:pt idx="12859">
                  <c:v>03.12.1973</c:v>
                </c:pt>
                <c:pt idx="12860">
                  <c:v>30.11.1973</c:v>
                </c:pt>
                <c:pt idx="12861">
                  <c:v>29.11.1973</c:v>
                </c:pt>
                <c:pt idx="12862">
                  <c:v>28.11.1973</c:v>
                </c:pt>
                <c:pt idx="12863">
                  <c:v>27.11.1973</c:v>
                </c:pt>
                <c:pt idx="12864">
                  <c:v>26.11.1973</c:v>
                </c:pt>
                <c:pt idx="12865">
                  <c:v>23.11.1973</c:v>
                </c:pt>
                <c:pt idx="12866">
                  <c:v>21.11.1973</c:v>
                </c:pt>
                <c:pt idx="12867">
                  <c:v>20.11.1973</c:v>
                </c:pt>
                <c:pt idx="12868">
                  <c:v>19.11.1973</c:v>
                </c:pt>
                <c:pt idx="12869">
                  <c:v>16.11.1973</c:v>
                </c:pt>
                <c:pt idx="12870">
                  <c:v>15.11.1973</c:v>
                </c:pt>
                <c:pt idx="12871">
                  <c:v>14.11.1973</c:v>
                </c:pt>
                <c:pt idx="12872">
                  <c:v>13.11.1973</c:v>
                </c:pt>
                <c:pt idx="12873">
                  <c:v>12.11.1973</c:v>
                </c:pt>
                <c:pt idx="12874">
                  <c:v>09.11.1973</c:v>
                </c:pt>
                <c:pt idx="12875">
                  <c:v>08.11.1973</c:v>
                </c:pt>
                <c:pt idx="12876">
                  <c:v>07.11.1973</c:v>
                </c:pt>
                <c:pt idx="12877">
                  <c:v>06.11.1973</c:v>
                </c:pt>
                <c:pt idx="12878">
                  <c:v>05.11.1973</c:v>
                </c:pt>
                <c:pt idx="12879">
                  <c:v>02.11.1973</c:v>
                </c:pt>
                <c:pt idx="12880">
                  <c:v>01.11.1973</c:v>
                </c:pt>
                <c:pt idx="12881">
                  <c:v>31.10.1973</c:v>
                </c:pt>
                <c:pt idx="12882">
                  <c:v>30.10.1973</c:v>
                </c:pt>
                <c:pt idx="12883">
                  <c:v>29.10.1973</c:v>
                </c:pt>
                <c:pt idx="12884">
                  <c:v>26.10.1973</c:v>
                </c:pt>
                <c:pt idx="12885">
                  <c:v>25.10.1973</c:v>
                </c:pt>
                <c:pt idx="12886">
                  <c:v>24.10.1973</c:v>
                </c:pt>
                <c:pt idx="12887">
                  <c:v>23.10.1973</c:v>
                </c:pt>
                <c:pt idx="12888">
                  <c:v>22.10.1973</c:v>
                </c:pt>
                <c:pt idx="12889">
                  <c:v>19.10.1973</c:v>
                </c:pt>
                <c:pt idx="12890">
                  <c:v>18.10.1973</c:v>
                </c:pt>
                <c:pt idx="12891">
                  <c:v>17.10.1973</c:v>
                </c:pt>
                <c:pt idx="12892">
                  <c:v>16.10.1973</c:v>
                </c:pt>
                <c:pt idx="12893">
                  <c:v>15.10.1973</c:v>
                </c:pt>
                <c:pt idx="12894">
                  <c:v>12.10.1973</c:v>
                </c:pt>
                <c:pt idx="12895">
                  <c:v>11.10.1973</c:v>
                </c:pt>
                <c:pt idx="12896">
                  <c:v>10.10.1973</c:v>
                </c:pt>
                <c:pt idx="12897">
                  <c:v>09.10.1973</c:v>
                </c:pt>
                <c:pt idx="12898">
                  <c:v>08.10.1973</c:v>
                </c:pt>
                <c:pt idx="12899">
                  <c:v>05.10.1973</c:v>
                </c:pt>
                <c:pt idx="12900">
                  <c:v>04.10.1973</c:v>
                </c:pt>
                <c:pt idx="12901">
                  <c:v>03.10.1973</c:v>
                </c:pt>
                <c:pt idx="12902">
                  <c:v>02.10.1973</c:v>
                </c:pt>
                <c:pt idx="12903">
                  <c:v>01.10.1973</c:v>
                </c:pt>
                <c:pt idx="12904">
                  <c:v>28.09.1973</c:v>
                </c:pt>
                <c:pt idx="12905">
                  <c:v>27.09.1973</c:v>
                </c:pt>
                <c:pt idx="12906">
                  <c:v>26.09.1973</c:v>
                </c:pt>
                <c:pt idx="12907">
                  <c:v>25.09.1973</c:v>
                </c:pt>
                <c:pt idx="12908">
                  <c:v>24.09.1973</c:v>
                </c:pt>
                <c:pt idx="12909">
                  <c:v>21.09.1973</c:v>
                </c:pt>
                <c:pt idx="12910">
                  <c:v>20.09.1973</c:v>
                </c:pt>
                <c:pt idx="12911">
                  <c:v>19.09.1973</c:v>
                </c:pt>
                <c:pt idx="12912">
                  <c:v>18.09.1973</c:v>
                </c:pt>
                <c:pt idx="12913">
                  <c:v>17.09.1973</c:v>
                </c:pt>
                <c:pt idx="12914">
                  <c:v>14.09.1973</c:v>
                </c:pt>
                <c:pt idx="12915">
                  <c:v>13.09.1973</c:v>
                </c:pt>
                <c:pt idx="12916">
                  <c:v>12.09.1973</c:v>
                </c:pt>
                <c:pt idx="12917">
                  <c:v>11.09.1973</c:v>
                </c:pt>
                <c:pt idx="12918">
                  <c:v>10.09.1973</c:v>
                </c:pt>
                <c:pt idx="12919">
                  <c:v>07.09.1973</c:v>
                </c:pt>
                <c:pt idx="12920">
                  <c:v>06.09.1973</c:v>
                </c:pt>
                <c:pt idx="12921">
                  <c:v>05.09.1973</c:v>
                </c:pt>
                <c:pt idx="12922">
                  <c:v>04.09.1973</c:v>
                </c:pt>
                <c:pt idx="12923">
                  <c:v>31.08.1973</c:v>
                </c:pt>
                <c:pt idx="12924">
                  <c:v>30.08.1973</c:v>
                </c:pt>
                <c:pt idx="12925">
                  <c:v>29.08.1973</c:v>
                </c:pt>
                <c:pt idx="12926">
                  <c:v>28.08.1973</c:v>
                </c:pt>
                <c:pt idx="12927">
                  <c:v>27.08.1973</c:v>
                </c:pt>
                <c:pt idx="12928">
                  <c:v>24.08.1973</c:v>
                </c:pt>
                <c:pt idx="12929">
                  <c:v>23.08.1973</c:v>
                </c:pt>
                <c:pt idx="12930">
                  <c:v>22.08.1973</c:v>
                </c:pt>
                <c:pt idx="12931">
                  <c:v>21.08.1973</c:v>
                </c:pt>
                <c:pt idx="12932">
                  <c:v>20.08.1973</c:v>
                </c:pt>
                <c:pt idx="12933">
                  <c:v>17.08.1973</c:v>
                </c:pt>
                <c:pt idx="12934">
                  <c:v>16.08.1973</c:v>
                </c:pt>
                <c:pt idx="12935">
                  <c:v>15.08.1973</c:v>
                </c:pt>
                <c:pt idx="12936">
                  <c:v>14.08.1973</c:v>
                </c:pt>
                <c:pt idx="12937">
                  <c:v>13.08.1973</c:v>
                </c:pt>
                <c:pt idx="12938">
                  <c:v>10.08.1973</c:v>
                </c:pt>
                <c:pt idx="12939">
                  <c:v>09.08.1973</c:v>
                </c:pt>
                <c:pt idx="12940">
                  <c:v>08.08.1973</c:v>
                </c:pt>
                <c:pt idx="12941">
                  <c:v>07.08.1973</c:v>
                </c:pt>
                <c:pt idx="12942">
                  <c:v>06.08.1973</c:v>
                </c:pt>
                <c:pt idx="12943">
                  <c:v>03.08.1973</c:v>
                </c:pt>
                <c:pt idx="12944">
                  <c:v>02.08.1973</c:v>
                </c:pt>
                <c:pt idx="12945">
                  <c:v>01.08.1973</c:v>
                </c:pt>
                <c:pt idx="12946">
                  <c:v>31.07.1973</c:v>
                </c:pt>
                <c:pt idx="12947">
                  <c:v>30.07.1973</c:v>
                </c:pt>
                <c:pt idx="12948">
                  <c:v>27.07.1973</c:v>
                </c:pt>
                <c:pt idx="12949">
                  <c:v>26.07.1973</c:v>
                </c:pt>
                <c:pt idx="12950">
                  <c:v>25.07.1973</c:v>
                </c:pt>
                <c:pt idx="12951">
                  <c:v>24.07.1973</c:v>
                </c:pt>
                <c:pt idx="12952">
                  <c:v>23.07.1973</c:v>
                </c:pt>
                <c:pt idx="12953">
                  <c:v>20.07.1973</c:v>
                </c:pt>
                <c:pt idx="12954">
                  <c:v>19.07.1973</c:v>
                </c:pt>
                <c:pt idx="12955">
                  <c:v>18.07.1973</c:v>
                </c:pt>
                <c:pt idx="12956">
                  <c:v>17.07.1973</c:v>
                </c:pt>
                <c:pt idx="12957">
                  <c:v>16.07.1973</c:v>
                </c:pt>
                <c:pt idx="12958">
                  <c:v>13.07.1973</c:v>
                </c:pt>
                <c:pt idx="12959">
                  <c:v>12.07.1973</c:v>
                </c:pt>
                <c:pt idx="12960">
                  <c:v>11.07.1973</c:v>
                </c:pt>
                <c:pt idx="12961">
                  <c:v>10.07.1973</c:v>
                </c:pt>
                <c:pt idx="12962">
                  <c:v>09.07.1973</c:v>
                </c:pt>
                <c:pt idx="12963">
                  <c:v>06.07.1973</c:v>
                </c:pt>
                <c:pt idx="12964">
                  <c:v>05.07.1973</c:v>
                </c:pt>
                <c:pt idx="12965">
                  <c:v>03.07.1973</c:v>
                </c:pt>
                <c:pt idx="12966">
                  <c:v>02.07.1973</c:v>
                </c:pt>
                <c:pt idx="12967">
                  <c:v>29.06.1973</c:v>
                </c:pt>
                <c:pt idx="12968">
                  <c:v>28.06.1973</c:v>
                </c:pt>
                <c:pt idx="12969">
                  <c:v>27.06.1973</c:v>
                </c:pt>
                <c:pt idx="12970">
                  <c:v>26.06.1973</c:v>
                </c:pt>
                <c:pt idx="12971">
                  <c:v>25.06.1973</c:v>
                </c:pt>
                <c:pt idx="12972">
                  <c:v>22.06.1973</c:v>
                </c:pt>
                <c:pt idx="12973">
                  <c:v>21.06.1973</c:v>
                </c:pt>
                <c:pt idx="12974">
                  <c:v>20.06.1973</c:v>
                </c:pt>
                <c:pt idx="12975">
                  <c:v>19.06.1973</c:v>
                </c:pt>
                <c:pt idx="12976">
                  <c:v>18.06.1973</c:v>
                </c:pt>
                <c:pt idx="12977">
                  <c:v>15.06.1973</c:v>
                </c:pt>
                <c:pt idx="12978">
                  <c:v>14.06.1973</c:v>
                </c:pt>
                <c:pt idx="12979">
                  <c:v>13.06.1973</c:v>
                </c:pt>
                <c:pt idx="12980">
                  <c:v>12.06.1973</c:v>
                </c:pt>
                <c:pt idx="12981">
                  <c:v>11.06.1973</c:v>
                </c:pt>
                <c:pt idx="12982">
                  <c:v>08.06.1973</c:v>
                </c:pt>
                <c:pt idx="12983">
                  <c:v>07.06.1973</c:v>
                </c:pt>
                <c:pt idx="12984">
                  <c:v>06.06.1973</c:v>
                </c:pt>
                <c:pt idx="12985">
                  <c:v>05.06.1973</c:v>
                </c:pt>
                <c:pt idx="12986">
                  <c:v>04.06.1973</c:v>
                </c:pt>
                <c:pt idx="12987">
                  <c:v>01.06.1973</c:v>
                </c:pt>
                <c:pt idx="12988">
                  <c:v>31.05.1973</c:v>
                </c:pt>
                <c:pt idx="12989">
                  <c:v>30.05.1973</c:v>
                </c:pt>
                <c:pt idx="12990">
                  <c:v>29.05.1973</c:v>
                </c:pt>
                <c:pt idx="12991">
                  <c:v>25.05.1973</c:v>
                </c:pt>
                <c:pt idx="12992">
                  <c:v>24.05.1973</c:v>
                </c:pt>
                <c:pt idx="12993">
                  <c:v>23.05.1973</c:v>
                </c:pt>
                <c:pt idx="12994">
                  <c:v>22.05.1973</c:v>
                </c:pt>
                <c:pt idx="12995">
                  <c:v>21.05.1973</c:v>
                </c:pt>
                <c:pt idx="12996">
                  <c:v>18.05.1973</c:v>
                </c:pt>
                <c:pt idx="12997">
                  <c:v>17.05.1973</c:v>
                </c:pt>
                <c:pt idx="12998">
                  <c:v>16.05.1973</c:v>
                </c:pt>
                <c:pt idx="12999">
                  <c:v>15.05.1973</c:v>
                </c:pt>
                <c:pt idx="13000">
                  <c:v>14.05.1973</c:v>
                </c:pt>
                <c:pt idx="13001">
                  <c:v>11.05.1973</c:v>
                </c:pt>
                <c:pt idx="13002">
                  <c:v>10.05.1973</c:v>
                </c:pt>
                <c:pt idx="13003">
                  <c:v>09.05.1973</c:v>
                </c:pt>
                <c:pt idx="13004">
                  <c:v>08.05.1973</c:v>
                </c:pt>
                <c:pt idx="13005">
                  <c:v>07.05.1973</c:v>
                </c:pt>
                <c:pt idx="13006">
                  <c:v>04.05.1973</c:v>
                </c:pt>
                <c:pt idx="13007">
                  <c:v>03.05.1973</c:v>
                </c:pt>
                <c:pt idx="13008">
                  <c:v>02.05.1973</c:v>
                </c:pt>
                <c:pt idx="13009">
                  <c:v>01.05.1973</c:v>
                </c:pt>
                <c:pt idx="13010">
                  <c:v>30.04.1973</c:v>
                </c:pt>
                <c:pt idx="13011">
                  <c:v>27.04.1973</c:v>
                </c:pt>
                <c:pt idx="13012">
                  <c:v>26.04.1973</c:v>
                </c:pt>
                <c:pt idx="13013">
                  <c:v>25.04.1973</c:v>
                </c:pt>
                <c:pt idx="13014">
                  <c:v>24.04.1973</c:v>
                </c:pt>
                <c:pt idx="13015">
                  <c:v>23.04.1973</c:v>
                </c:pt>
                <c:pt idx="13016">
                  <c:v>19.04.1973</c:v>
                </c:pt>
                <c:pt idx="13017">
                  <c:v>18.04.1973</c:v>
                </c:pt>
                <c:pt idx="13018">
                  <c:v>17.04.1973</c:v>
                </c:pt>
                <c:pt idx="13019">
                  <c:v>16.04.1973</c:v>
                </c:pt>
                <c:pt idx="13020">
                  <c:v>13.04.1973</c:v>
                </c:pt>
                <c:pt idx="13021">
                  <c:v>12.04.1973</c:v>
                </c:pt>
                <c:pt idx="13022">
                  <c:v>11.04.1973</c:v>
                </c:pt>
                <c:pt idx="13023">
                  <c:v>10.04.1973</c:v>
                </c:pt>
                <c:pt idx="13024">
                  <c:v>09.04.1973</c:v>
                </c:pt>
                <c:pt idx="13025">
                  <c:v>06.04.1973</c:v>
                </c:pt>
                <c:pt idx="13026">
                  <c:v>05.04.1973</c:v>
                </c:pt>
                <c:pt idx="13027">
                  <c:v>04.04.1973</c:v>
                </c:pt>
                <c:pt idx="13028">
                  <c:v>03.04.1973</c:v>
                </c:pt>
                <c:pt idx="13029">
                  <c:v>02.04.1973</c:v>
                </c:pt>
                <c:pt idx="13030">
                  <c:v>30.03.1973</c:v>
                </c:pt>
                <c:pt idx="13031">
                  <c:v>29.03.1973</c:v>
                </c:pt>
                <c:pt idx="13032">
                  <c:v>28.03.1973</c:v>
                </c:pt>
                <c:pt idx="13033">
                  <c:v>27.03.1973</c:v>
                </c:pt>
                <c:pt idx="13034">
                  <c:v>26.03.1973</c:v>
                </c:pt>
                <c:pt idx="13035">
                  <c:v>23.03.1973</c:v>
                </c:pt>
                <c:pt idx="13036">
                  <c:v>22.03.1973</c:v>
                </c:pt>
                <c:pt idx="13037">
                  <c:v>21.03.1973</c:v>
                </c:pt>
                <c:pt idx="13038">
                  <c:v>20.03.1973</c:v>
                </c:pt>
                <c:pt idx="13039">
                  <c:v>19.03.1973</c:v>
                </c:pt>
                <c:pt idx="13040">
                  <c:v>16.03.1973</c:v>
                </c:pt>
                <c:pt idx="13041">
                  <c:v>15.03.1973</c:v>
                </c:pt>
                <c:pt idx="13042">
                  <c:v>14.03.1973</c:v>
                </c:pt>
                <c:pt idx="13043">
                  <c:v>13.03.1973</c:v>
                </c:pt>
                <c:pt idx="13044">
                  <c:v>12.03.1973</c:v>
                </c:pt>
                <c:pt idx="13045">
                  <c:v>09.03.1973</c:v>
                </c:pt>
                <c:pt idx="13046">
                  <c:v>08.03.1973</c:v>
                </c:pt>
                <c:pt idx="13047">
                  <c:v>07.03.1973</c:v>
                </c:pt>
                <c:pt idx="13048">
                  <c:v>06.03.1973</c:v>
                </c:pt>
                <c:pt idx="13049">
                  <c:v>05.03.1973</c:v>
                </c:pt>
                <c:pt idx="13050">
                  <c:v>02.03.1973</c:v>
                </c:pt>
                <c:pt idx="13051">
                  <c:v>01.03.1973</c:v>
                </c:pt>
                <c:pt idx="13052">
                  <c:v>28.02.1973</c:v>
                </c:pt>
                <c:pt idx="13053">
                  <c:v>27.02.1973</c:v>
                </c:pt>
                <c:pt idx="13054">
                  <c:v>26.02.1973</c:v>
                </c:pt>
                <c:pt idx="13055">
                  <c:v>23.02.1973</c:v>
                </c:pt>
                <c:pt idx="13056">
                  <c:v>22.02.1973</c:v>
                </c:pt>
                <c:pt idx="13057">
                  <c:v>21.02.1973</c:v>
                </c:pt>
                <c:pt idx="13058">
                  <c:v>20.02.1973</c:v>
                </c:pt>
                <c:pt idx="13059">
                  <c:v>16.02.1973</c:v>
                </c:pt>
                <c:pt idx="13060">
                  <c:v>15.02.1973</c:v>
                </c:pt>
                <c:pt idx="13061">
                  <c:v>14.02.1973</c:v>
                </c:pt>
                <c:pt idx="13062">
                  <c:v>13.02.1973</c:v>
                </c:pt>
                <c:pt idx="13063">
                  <c:v>12.02.1973</c:v>
                </c:pt>
                <c:pt idx="13064">
                  <c:v>09.02.1973</c:v>
                </c:pt>
                <c:pt idx="13065">
                  <c:v>08.02.1973</c:v>
                </c:pt>
                <c:pt idx="13066">
                  <c:v>07.02.1973</c:v>
                </c:pt>
                <c:pt idx="13067">
                  <c:v>06.02.1973</c:v>
                </c:pt>
                <c:pt idx="13068">
                  <c:v>05.02.1973</c:v>
                </c:pt>
                <c:pt idx="13069">
                  <c:v>02.02.1973</c:v>
                </c:pt>
                <c:pt idx="13070">
                  <c:v>01.02.1973</c:v>
                </c:pt>
                <c:pt idx="13071">
                  <c:v>31.01.1973</c:v>
                </c:pt>
                <c:pt idx="13072">
                  <c:v>30.01.1973</c:v>
                </c:pt>
                <c:pt idx="13073">
                  <c:v>29.01.1973</c:v>
                </c:pt>
                <c:pt idx="13074">
                  <c:v>26.01.1973</c:v>
                </c:pt>
                <c:pt idx="13075">
                  <c:v>24.01.1973</c:v>
                </c:pt>
                <c:pt idx="13076">
                  <c:v>23.01.1973</c:v>
                </c:pt>
                <c:pt idx="13077">
                  <c:v>22.01.1973</c:v>
                </c:pt>
                <c:pt idx="13078">
                  <c:v>19.01.1973</c:v>
                </c:pt>
                <c:pt idx="13079">
                  <c:v>18.01.1973</c:v>
                </c:pt>
                <c:pt idx="13080">
                  <c:v>17.01.1973</c:v>
                </c:pt>
                <c:pt idx="13081">
                  <c:v>16.01.1973</c:v>
                </c:pt>
                <c:pt idx="13082">
                  <c:v>15.01.1973</c:v>
                </c:pt>
                <c:pt idx="13083">
                  <c:v>12.01.1973</c:v>
                </c:pt>
                <c:pt idx="13084">
                  <c:v>11.01.1973</c:v>
                </c:pt>
                <c:pt idx="13085">
                  <c:v>10.01.1973</c:v>
                </c:pt>
                <c:pt idx="13086">
                  <c:v>09.01.1973</c:v>
                </c:pt>
                <c:pt idx="13087">
                  <c:v>08.01.1973</c:v>
                </c:pt>
                <c:pt idx="13088">
                  <c:v>05.01.1973</c:v>
                </c:pt>
                <c:pt idx="13089">
                  <c:v>04.01.1973</c:v>
                </c:pt>
                <c:pt idx="13090">
                  <c:v>03.01.1973</c:v>
                </c:pt>
                <c:pt idx="13091">
                  <c:v>02.01.1973</c:v>
                </c:pt>
                <c:pt idx="13092">
                  <c:v>29.12.1972</c:v>
                </c:pt>
                <c:pt idx="13093">
                  <c:v>27.12.1972</c:v>
                </c:pt>
                <c:pt idx="13094">
                  <c:v>26.12.1972</c:v>
                </c:pt>
                <c:pt idx="13095">
                  <c:v>22.12.1972</c:v>
                </c:pt>
                <c:pt idx="13096">
                  <c:v>21.12.1972</c:v>
                </c:pt>
                <c:pt idx="13097">
                  <c:v>20.12.1972</c:v>
                </c:pt>
                <c:pt idx="13098">
                  <c:v>19.12.1972</c:v>
                </c:pt>
                <c:pt idx="13099">
                  <c:v>18.12.1972</c:v>
                </c:pt>
                <c:pt idx="13100">
                  <c:v>15.12.1972</c:v>
                </c:pt>
                <c:pt idx="13101">
                  <c:v>14.12.1972</c:v>
                </c:pt>
                <c:pt idx="13102">
                  <c:v>13.12.1972</c:v>
                </c:pt>
                <c:pt idx="13103">
                  <c:v>12.12.1972</c:v>
                </c:pt>
                <c:pt idx="13104">
                  <c:v>11.12.1972</c:v>
                </c:pt>
                <c:pt idx="13105">
                  <c:v>08.12.1972</c:v>
                </c:pt>
                <c:pt idx="13106">
                  <c:v>07.12.1972</c:v>
                </c:pt>
                <c:pt idx="13107">
                  <c:v>06.12.1972</c:v>
                </c:pt>
                <c:pt idx="13108">
                  <c:v>05.12.1972</c:v>
                </c:pt>
                <c:pt idx="13109">
                  <c:v>04.12.1972</c:v>
                </c:pt>
                <c:pt idx="13110">
                  <c:v>01.12.1972</c:v>
                </c:pt>
                <c:pt idx="13111">
                  <c:v>30.11.1972</c:v>
                </c:pt>
                <c:pt idx="13112">
                  <c:v>29.11.1972</c:v>
                </c:pt>
                <c:pt idx="13113">
                  <c:v>28.11.1972</c:v>
                </c:pt>
                <c:pt idx="13114">
                  <c:v>27.11.1972</c:v>
                </c:pt>
                <c:pt idx="13115">
                  <c:v>24.11.1972</c:v>
                </c:pt>
                <c:pt idx="13116">
                  <c:v>22.11.1972</c:v>
                </c:pt>
                <c:pt idx="13117">
                  <c:v>21.11.1972</c:v>
                </c:pt>
                <c:pt idx="13118">
                  <c:v>20.11.1972</c:v>
                </c:pt>
                <c:pt idx="13119">
                  <c:v>17.11.1972</c:v>
                </c:pt>
                <c:pt idx="13120">
                  <c:v>16.11.1972</c:v>
                </c:pt>
                <c:pt idx="13121">
                  <c:v>15.11.1972</c:v>
                </c:pt>
                <c:pt idx="13122">
                  <c:v>14.11.1972</c:v>
                </c:pt>
                <c:pt idx="13123">
                  <c:v>13.11.1972</c:v>
                </c:pt>
                <c:pt idx="13124">
                  <c:v>10.11.1972</c:v>
                </c:pt>
                <c:pt idx="13125">
                  <c:v>09.11.1972</c:v>
                </c:pt>
                <c:pt idx="13126">
                  <c:v>08.11.1972</c:v>
                </c:pt>
                <c:pt idx="13127">
                  <c:v>06.11.1972</c:v>
                </c:pt>
                <c:pt idx="13128">
                  <c:v>03.11.1972</c:v>
                </c:pt>
                <c:pt idx="13129">
                  <c:v>02.11.1972</c:v>
                </c:pt>
                <c:pt idx="13130">
                  <c:v>01.11.1972</c:v>
                </c:pt>
                <c:pt idx="13131">
                  <c:v>31.10.1972</c:v>
                </c:pt>
                <c:pt idx="13132">
                  <c:v>30.10.1972</c:v>
                </c:pt>
                <c:pt idx="13133">
                  <c:v>27.10.1972</c:v>
                </c:pt>
                <c:pt idx="13134">
                  <c:v>26.10.1972</c:v>
                </c:pt>
                <c:pt idx="13135">
                  <c:v>25.10.1972</c:v>
                </c:pt>
                <c:pt idx="13136">
                  <c:v>24.10.1972</c:v>
                </c:pt>
                <c:pt idx="13137">
                  <c:v>23.10.1972</c:v>
                </c:pt>
                <c:pt idx="13138">
                  <c:v>20.10.1972</c:v>
                </c:pt>
                <c:pt idx="13139">
                  <c:v>19.10.1972</c:v>
                </c:pt>
                <c:pt idx="13140">
                  <c:v>18.10.1972</c:v>
                </c:pt>
                <c:pt idx="13141">
                  <c:v>17.10.1972</c:v>
                </c:pt>
                <c:pt idx="13142">
                  <c:v>16.10.1972</c:v>
                </c:pt>
                <c:pt idx="13143">
                  <c:v>13.10.1972</c:v>
                </c:pt>
                <c:pt idx="13144">
                  <c:v>12.10.1972</c:v>
                </c:pt>
                <c:pt idx="13145">
                  <c:v>11.10.1972</c:v>
                </c:pt>
                <c:pt idx="13146">
                  <c:v>10.10.1972</c:v>
                </c:pt>
                <c:pt idx="13147">
                  <c:v>09.10.1972</c:v>
                </c:pt>
                <c:pt idx="13148">
                  <c:v>06.10.1972</c:v>
                </c:pt>
                <c:pt idx="13149">
                  <c:v>05.10.1972</c:v>
                </c:pt>
                <c:pt idx="13150">
                  <c:v>04.10.1972</c:v>
                </c:pt>
                <c:pt idx="13151">
                  <c:v>03.10.1972</c:v>
                </c:pt>
                <c:pt idx="13152">
                  <c:v>02.10.1972</c:v>
                </c:pt>
                <c:pt idx="13153">
                  <c:v>29.09.1972</c:v>
                </c:pt>
                <c:pt idx="13154">
                  <c:v>28.09.1972</c:v>
                </c:pt>
                <c:pt idx="13155">
                  <c:v>27.09.1972</c:v>
                </c:pt>
                <c:pt idx="13156">
                  <c:v>26.09.1972</c:v>
                </c:pt>
                <c:pt idx="13157">
                  <c:v>25.09.1972</c:v>
                </c:pt>
                <c:pt idx="13158">
                  <c:v>22.09.1972</c:v>
                </c:pt>
                <c:pt idx="13159">
                  <c:v>21.09.1972</c:v>
                </c:pt>
                <c:pt idx="13160">
                  <c:v>20.09.1972</c:v>
                </c:pt>
                <c:pt idx="13161">
                  <c:v>19.09.1972</c:v>
                </c:pt>
                <c:pt idx="13162">
                  <c:v>18.09.1972</c:v>
                </c:pt>
                <c:pt idx="13163">
                  <c:v>15.09.1972</c:v>
                </c:pt>
                <c:pt idx="13164">
                  <c:v>14.09.1972</c:v>
                </c:pt>
                <c:pt idx="13165">
                  <c:v>13.09.1972</c:v>
                </c:pt>
                <c:pt idx="13166">
                  <c:v>12.09.1972</c:v>
                </c:pt>
                <c:pt idx="13167">
                  <c:v>11.09.1972</c:v>
                </c:pt>
                <c:pt idx="13168">
                  <c:v>08.09.1972</c:v>
                </c:pt>
                <c:pt idx="13169">
                  <c:v>07.09.1972</c:v>
                </c:pt>
                <c:pt idx="13170">
                  <c:v>06.09.1972</c:v>
                </c:pt>
                <c:pt idx="13171">
                  <c:v>05.09.1972</c:v>
                </c:pt>
                <c:pt idx="13172">
                  <c:v>01.09.1972</c:v>
                </c:pt>
                <c:pt idx="13173">
                  <c:v>31.08.1972</c:v>
                </c:pt>
                <c:pt idx="13174">
                  <c:v>30.08.1972</c:v>
                </c:pt>
                <c:pt idx="13175">
                  <c:v>29.08.1972</c:v>
                </c:pt>
                <c:pt idx="13176">
                  <c:v>28.08.1972</c:v>
                </c:pt>
                <c:pt idx="13177">
                  <c:v>25.08.1972</c:v>
                </c:pt>
                <c:pt idx="13178">
                  <c:v>24.08.1972</c:v>
                </c:pt>
                <c:pt idx="13179">
                  <c:v>23.08.1972</c:v>
                </c:pt>
                <c:pt idx="13180">
                  <c:v>22.08.1972</c:v>
                </c:pt>
                <c:pt idx="13181">
                  <c:v>21.08.1972</c:v>
                </c:pt>
                <c:pt idx="13182">
                  <c:v>18.08.1972</c:v>
                </c:pt>
                <c:pt idx="13183">
                  <c:v>17.08.1972</c:v>
                </c:pt>
                <c:pt idx="13184">
                  <c:v>16.08.1972</c:v>
                </c:pt>
                <c:pt idx="13185">
                  <c:v>15.08.1972</c:v>
                </c:pt>
                <c:pt idx="13186">
                  <c:v>14.08.1972</c:v>
                </c:pt>
                <c:pt idx="13187">
                  <c:v>11.08.1972</c:v>
                </c:pt>
                <c:pt idx="13188">
                  <c:v>10.08.1972</c:v>
                </c:pt>
                <c:pt idx="13189">
                  <c:v>09.08.1972</c:v>
                </c:pt>
                <c:pt idx="13190">
                  <c:v>08.08.1972</c:v>
                </c:pt>
                <c:pt idx="13191">
                  <c:v>07.08.1972</c:v>
                </c:pt>
                <c:pt idx="13192">
                  <c:v>04.08.1972</c:v>
                </c:pt>
                <c:pt idx="13193">
                  <c:v>03.08.1972</c:v>
                </c:pt>
                <c:pt idx="13194">
                  <c:v>02.08.1972</c:v>
                </c:pt>
                <c:pt idx="13195">
                  <c:v>01.08.1972</c:v>
                </c:pt>
                <c:pt idx="13196">
                  <c:v>31.07.1972</c:v>
                </c:pt>
                <c:pt idx="13197">
                  <c:v>28.07.1972</c:v>
                </c:pt>
                <c:pt idx="13198">
                  <c:v>27.07.1972</c:v>
                </c:pt>
                <c:pt idx="13199">
                  <c:v>26.07.1972</c:v>
                </c:pt>
                <c:pt idx="13200">
                  <c:v>25.07.1972</c:v>
                </c:pt>
                <c:pt idx="13201">
                  <c:v>24.07.1972</c:v>
                </c:pt>
                <c:pt idx="13202">
                  <c:v>21.07.1972</c:v>
                </c:pt>
                <c:pt idx="13203">
                  <c:v>20.07.1972</c:v>
                </c:pt>
                <c:pt idx="13204">
                  <c:v>19.07.1972</c:v>
                </c:pt>
                <c:pt idx="13205">
                  <c:v>18.07.1972</c:v>
                </c:pt>
                <c:pt idx="13206">
                  <c:v>17.07.1972</c:v>
                </c:pt>
                <c:pt idx="13207">
                  <c:v>14.07.1972</c:v>
                </c:pt>
                <c:pt idx="13208">
                  <c:v>13.07.1972</c:v>
                </c:pt>
                <c:pt idx="13209">
                  <c:v>12.07.1972</c:v>
                </c:pt>
                <c:pt idx="13210">
                  <c:v>11.07.1972</c:v>
                </c:pt>
                <c:pt idx="13211">
                  <c:v>10.07.1972</c:v>
                </c:pt>
                <c:pt idx="13212">
                  <c:v>07.07.1972</c:v>
                </c:pt>
                <c:pt idx="13213">
                  <c:v>06.07.1972</c:v>
                </c:pt>
                <c:pt idx="13214">
                  <c:v>05.07.1972</c:v>
                </c:pt>
                <c:pt idx="13215">
                  <c:v>03.07.1972</c:v>
                </c:pt>
                <c:pt idx="13216">
                  <c:v>30.06.1972</c:v>
                </c:pt>
                <c:pt idx="13217">
                  <c:v>29.06.1972</c:v>
                </c:pt>
                <c:pt idx="13218">
                  <c:v>28.06.1972</c:v>
                </c:pt>
                <c:pt idx="13219">
                  <c:v>27.06.1972</c:v>
                </c:pt>
                <c:pt idx="13220">
                  <c:v>26.06.1972</c:v>
                </c:pt>
                <c:pt idx="13221">
                  <c:v>23.06.1972</c:v>
                </c:pt>
                <c:pt idx="13222">
                  <c:v>22.06.1972</c:v>
                </c:pt>
                <c:pt idx="13223">
                  <c:v>21.06.1972</c:v>
                </c:pt>
                <c:pt idx="13224">
                  <c:v>20.06.1972</c:v>
                </c:pt>
                <c:pt idx="13225">
                  <c:v>19.06.1972</c:v>
                </c:pt>
                <c:pt idx="13226">
                  <c:v>16.06.1972</c:v>
                </c:pt>
                <c:pt idx="13227">
                  <c:v>15.06.1972</c:v>
                </c:pt>
                <c:pt idx="13228">
                  <c:v>14.06.1972</c:v>
                </c:pt>
                <c:pt idx="13229">
                  <c:v>13.06.1972</c:v>
                </c:pt>
                <c:pt idx="13230">
                  <c:v>12.06.1972</c:v>
                </c:pt>
                <c:pt idx="13231">
                  <c:v>09.06.1972</c:v>
                </c:pt>
                <c:pt idx="13232">
                  <c:v>08.06.1972</c:v>
                </c:pt>
                <c:pt idx="13233">
                  <c:v>07.06.1972</c:v>
                </c:pt>
                <c:pt idx="13234">
                  <c:v>06.06.1972</c:v>
                </c:pt>
                <c:pt idx="13235">
                  <c:v>05.06.1972</c:v>
                </c:pt>
                <c:pt idx="13236">
                  <c:v>02.06.1972</c:v>
                </c:pt>
                <c:pt idx="13237">
                  <c:v>01.06.1972</c:v>
                </c:pt>
                <c:pt idx="13238">
                  <c:v>31.05.1972</c:v>
                </c:pt>
                <c:pt idx="13239">
                  <c:v>30.05.1972</c:v>
                </c:pt>
                <c:pt idx="13240">
                  <c:v>26.05.1972</c:v>
                </c:pt>
                <c:pt idx="13241">
                  <c:v>25.05.1972</c:v>
                </c:pt>
                <c:pt idx="13242">
                  <c:v>24.05.1972</c:v>
                </c:pt>
                <c:pt idx="13243">
                  <c:v>23.05.1972</c:v>
                </c:pt>
                <c:pt idx="13244">
                  <c:v>22.05.1972</c:v>
                </c:pt>
                <c:pt idx="13245">
                  <c:v>19.05.1972</c:v>
                </c:pt>
                <c:pt idx="13246">
                  <c:v>18.05.1972</c:v>
                </c:pt>
                <c:pt idx="13247">
                  <c:v>17.05.1972</c:v>
                </c:pt>
                <c:pt idx="13248">
                  <c:v>16.05.1972</c:v>
                </c:pt>
                <c:pt idx="13249">
                  <c:v>15.05.1972</c:v>
                </c:pt>
                <c:pt idx="13250">
                  <c:v>12.05.1972</c:v>
                </c:pt>
                <c:pt idx="13251">
                  <c:v>11.05.1972</c:v>
                </c:pt>
                <c:pt idx="13252">
                  <c:v>10.05.1972</c:v>
                </c:pt>
                <c:pt idx="13253">
                  <c:v>09.05.1972</c:v>
                </c:pt>
                <c:pt idx="13254">
                  <c:v>08.05.1972</c:v>
                </c:pt>
                <c:pt idx="13255">
                  <c:v>05.05.1972</c:v>
                </c:pt>
                <c:pt idx="13256">
                  <c:v>04.05.1972</c:v>
                </c:pt>
                <c:pt idx="13257">
                  <c:v>03.05.1972</c:v>
                </c:pt>
                <c:pt idx="13258">
                  <c:v>02.05.1972</c:v>
                </c:pt>
                <c:pt idx="13259">
                  <c:v>01.05.1972</c:v>
                </c:pt>
                <c:pt idx="13260">
                  <c:v>28.04.1972</c:v>
                </c:pt>
                <c:pt idx="13261">
                  <c:v>27.04.1972</c:v>
                </c:pt>
                <c:pt idx="13262">
                  <c:v>26.04.1972</c:v>
                </c:pt>
                <c:pt idx="13263">
                  <c:v>25.04.1972</c:v>
                </c:pt>
                <c:pt idx="13264">
                  <c:v>24.04.1972</c:v>
                </c:pt>
                <c:pt idx="13265">
                  <c:v>21.04.1972</c:v>
                </c:pt>
                <c:pt idx="13266">
                  <c:v>20.04.1972</c:v>
                </c:pt>
                <c:pt idx="13267">
                  <c:v>19.04.1972</c:v>
                </c:pt>
                <c:pt idx="13268">
                  <c:v>18.04.1972</c:v>
                </c:pt>
                <c:pt idx="13269">
                  <c:v>17.04.1972</c:v>
                </c:pt>
                <c:pt idx="13270">
                  <c:v>14.04.1972</c:v>
                </c:pt>
                <c:pt idx="13271">
                  <c:v>13.04.1972</c:v>
                </c:pt>
                <c:pt idx="13272">
                  <c:v>12.04.1972</c:v>
                </c:pt>
                <c:pt idx="13273">
                  <c:v>11.04.1972</c:v>
                </c:pt>
                <c:pt idx="13274">
                  <c:v>10.04.1972</c:v>
                </c:pt>
                <c:pt idx="13275">
                  <c:v>07.04.1972</c:v>
                </c:pt>
                <c:pt idx="13276">
                  <c:v>06.04.1972</c:v>
                </c:pt>
                <c:pt idx="13277">
                  <c:v>05.04.1972</c:v>
                </c:pt>
                <c:pt idx="13278">
                  <c:v>04.04.1972</c:v>
                </c:pt>
                <c:pt idx="13279">
                  <c:v>03.04.1972</c:v>
                </c:pt>
                <c:pt idx="13280">
                  <c:v>30.03.1972</c:v>
                </c:pt>
                <c:pt idx="13281">
                  <c:v>29.03.1972</c:v>
                </c:pt>
                <c:pt idx="13282">
                  <c:v>28.03.1972</c:v>
                </c:pt>
                <c:pt idx="13283">
                  <c:v>27.03.1972</c:v>
                </c:pt>
                <c:pt idx="13284">
                  <c:v>24.03.1972</c:v>
                </c:pt>
                <c:pt idx="13285">
                  <c:v>23.03.1972</c:v>
                </c:pt>
                <c:pt idx="13286">
                  <c:v>22.03.1972</c:v>
                </c:pt>
                <c:pt idx="13287">
                  <c:v>21.03.1972</c:v>
                </c:pt>
                <c:pt idx="13288">
                  <c:v>20.03.1972</c:v>
                </c:pt>
                <c:pt idx="13289">
                  <c:v>17.03.1972</c:v>
                </c:pt>
                <c:pt idx="13290">
                  <c:v>16.03.1972</c:v>
                </c:pt>
                <c:pt idx="13291">
                  <c:v>15.03.1972</c:v>
                </c:pt>
                <c:pt idx="13292">
                  <c:v>14.03.1972</c:v>
                </c:pt>
                <c:pt idx="13293">
                  <c:v>13.03.1972</c:v>
                </c:pt>
                <c:pt idx="13294">
                  <c:v>10.03.1972</c:v>
                </c:pt>
                <c:pt idx="13295">
                  <c:v>09.03.1972</c:v>
                </c:pt>
                <c:pt idx="13296">
                  <c:v>08.03.1972</c:v>
                </c:pt>
                <c:pt idx="13297">
                  <c:v>07.03.1972</c:v>
                </c:pt>
                <c:pt idx="13298">
                  <c:v>06.03.1972</c:v>
                </c:pt>
                <c:pt idx="13299">
                  <c:v>03.03.1972</c:v>
                </c:pt>
                <c:pt idx="13300">
                  <c:v>02.03.1972</c:v>
                </c:pt>
                <c:pt idx="13301">
                  <c:v>01.03.1972</c:v>
                </c:pt>
                <c:pt idx="13302">
                  <c:v>29.02.1972</c:v>
                </c:pt>
                <c:pt idx="13303">
                  <c:v>28.02.1972</c:v>
                </c:pt>
                <c:pt idx="13304">
                  <c:v>25.02.1972</c:v>
                </c:pt>
                <c:pt idx="13305">
                  <c:v>24.02.1972</c:v>
                </c:pt>
                <c:pt idx="13306">
                  <c:v>23.02.1972</c:v>
                </c:pt>
                <c:pt idx="13307">
                  <c:v>22.02.1972</c:v>
                </c:pt>
                <c:pt idx="13308">
                  <c:v>18.02.1972</c:v>
                </c:pt>
                <c:pt idx="13309">
                  <c:v>17.02.1972</c:v>
                </c:pt>
                <c:pt idx="13310">
                  <c:v>16.02.1972</c:v>
                </c:pt>
                <c:pt idx="13311">
                  <c:v>15.02.1972</c:v>
                </c:pt>
                <c:pt idx="13312">
                  <c:v>14.02.1972</c:v>
                </c:pt>
                <c:pt idx="13313">
                  <c:v>11.02.1972</c:v>
                </c:pt>
                <c:pt idx="13314">
                  <c:v>10.02.1972</c:v>
                </c:pt>
                <c:pt idx="13315">
                  <c:v>09.02.1972</c:v>
                </c:pt>
                <c:pt idx="13316">
                  <c:v>08.02.1972</c:v>
                </c:pt>
                <c:pt idx="13317">
                  <c:v>07.02.1972</c:v>
                </c:pt>
                <c:pt idx="13318">
                  <c:v>04.02.1972</c:v>
                </c:pt>
                <c:pt idx="13319">
                  <c:v>03.02.1972</c:v>
                </c:pt>
                <c:pt idx="13320">
                  <c:v>02.02.1972</c:v>
                </c:pt>
                <c:pt idx="13321">
                  <c:v>01.02.1972</c:v>
                </c:pt>
                <c:pt idx="13322">
                  <c:v>31.01.1972</c:v>
                </c:pt>
                <c:pt idx="13323">
                  <c:v>28.01.1972</c:v>
                </c:pt>
                <c:pt idx="13324">
                  <c:v>27.01.1972</c:v>
                </c:pt>
                <c:pt idx="13325">
                  <c:v>26.01.1972</c:v>
                </c:pt>
                <c:pt idx="13326">
                  <c:v>25.01.1972</c:v>
                </c:pt>
                <c:pt idx="13327">
                  <c:v>24.01.1972</c:v>
                </c:pt>
                <c:pt idx="13328">
                  <c:v>21.01.1972</c:v>
                </c:pt>
                <c:pt idx="13329">
                  <c:v>20.01.1972</c:v>
                </c:pt>
                <c:pt idx="13330">
                  <c:v>19.01.1972</c:v>
                </c:pt>
                <c:pt idx="13331">
                  <c:v>18.01.1972</c:v>
                </c:pt>
                <c:pt idx="13332">
                  <c:v>17.01.1972</c:v>
                </c:pt>
                <c:pt idx="13333">
                  <c:v>14.01.1972</c:v>
                </c:pt>
                <c:pt idx="13334">
                  <c:v>13.01.1972</c:v>
                </c:pt>
                <c:pt idx="13335">
                  <c:v>12.01.1972</c:v>
                </c:pt>
                <c:pt idx="13336">
                  <c:v>11.01.1972</c:v>
                </c:pt>
                <c:pt idx="13337">
                  <c:v>10.01.1972</c:v>
                </c:pt>
                <c:pt idx="13338">
                  <c:v>07.01.1972</c:v>
                </c:pt>
                <c:pt idx="13339">
                  <c:v>06.01.1972</c:v>
                </c:pt>
                <c:pt idx="13340">
                  <c:v>05.01.1972</c:v>
                </c:pt>
                <c:pt idx="13341">
                  <c:v>04.01.1972</c:v>
                </c:pt>
                <c:pt idx="13342">
                  <c:v>03.01.1972</c:v>
                </c:pt>
                <c:pt idx="13343">
                  <c:v>31.12.1971</c:v>
                </c:pt>
                <c:pt idx="13344">
                  <c:v>30.12.1971</c:v>
                </c:pt>
                <c:pt idx="13345">
                  <c:v>29.12.1971</c:v>
                </c:pt>
                <c:pt idx="13346">
                  <c:v>28.12.1971</c:v>
                </c:pt>
                <c:pt idx="13347">
                  <c:v>27.12.1971</c:v>
                </c:pt>
                <c:pt idx="13348">
                  <c:v>23.12.1971</c:v>
                </c:pt>
                <c:pt idx="13349">
                  <c:v>22.12.1971</c:v>
                </c:pt>
                <c:pt idx="13350">
                  <c:v>21.12.1971</c:v>
                </c:pt>
                <c:pt idx="13351">
                  <c:v>20.12.1971</c:v>
                </c:pt>
                <c:pt idx="13352">
                  <c:v>17.12.1971</c:v>
                </c:pt>
                <c:pt idx="13353">
                  <c:v>16.12.1971</c:v>
                </c:pt>
                <c:pt idx="13354">
                  <c:v>15.12.1971</c:v>
                </c:pt>
                <c:pt idx="13355">
                  <c:v>14.12.1971</c:v>
                </c:pt>
                <c:pt idx="13356">
                  <c:v>13.12.1971</c:v>
                </c:pt>
                <c:pt idx="13357">
                  <c:v>10.12.1971</c:v>
                </c:pt>
                <c:pt idx="13358">
                  <c:v>09.12.1971</c:v>
                </c:pt>
                <c:pt idx="13359">
                  <c:v>08.12.1971</c:v>
                </c:pt>
                <c:pt idx="13360">
                  <c:v>07.12.1971</c:v>
                </c:pt>
                <c:pt idx="13361">
                  <c:v>06.12.1971</c:v>
                </c:pt>
                <c:pt idx="13362">
                  <c:v>03.12.1971</c:v>
                </c:pt>
                <c:pt idx="13363">
                  <c:v>02.12.1971</c:v>
                </c:pt>
                <c:pt idx="13364">
                  <c:v>01.12.1971</c:v>
                </c:pt>
                <c:pt idx="13365">
                  <c:v>30.11.1971</c:v>
                </c:pt>
                <c:pt idx="13366">
                  <c:v>29.11.1971</c:v>
                </c:pt>
                <c:pt idx="13367">
                  <c:v>26.11.1971</c:v>
                </c:pt>
                <c:pt idx="13368">
                  <c:v>24.11.1971</c:v>
                </c:pt>
                <c:pt idx="13369">
                  <c:v>23.11.1971</c:v>
                </c:pt>
                <c:pt idx="13370">
                  <c:v>22.11.1971</c:v>
                </c:pt>
                <c:pt idx="13371">
                  <c:v>19.11.1971</c:v>
                </c:pt>
                <c:pt idx="13372">
                  <c:v>18.11.1971</c:v>
                </c:pt>
                <c:pt idx="13373">
                  <c:v>17.11.1971</c:v>
                </c:pt>
                <c:pt idx="13374">
                  <c:v>16.11.1971</c:v>
                </c:pt>
                <c:pt idx="13375">
                  <c:v>15.11.1971</c:v>
                </c:pt>
                <c:pt idx="13376">
                  <c:v>12.11.1971</c:v>
                </c:pt>
                <c:pt idx="13377">
                  <c:v>11.11.1971</c:v>
                </c:pt>
                <c:pt idx="13378">
                  <c:v>10.11.1971</c:v>
                </c:pt>
                <c:pt idx="13379">
                  <c:v>09.11.1971</c:v>
                </c:pt>
                <c:pt idx="13380">
                  <c:v>08.11.1971</c:v>
                </c:pt>
                <c:pt idx="13381">
                  <c:v>05.11.1971</c:v>
                </c:pt>
                <c:pt idx="13382">
                  <c:v>04.11.1971</c:v>
                </c:pt>
                <c:pt idx="13383">
                  <c:v>03.11.1971</c:v>
                </c:pt>
                <c:pt idx="13384">
                  <c:v>02.11.1971</c:v>
                </c:pt>
                <c:pt idx="13385">
                  <c:v>01.11.1971</c:v>
                </c:pt>
                <c:pt idx="13386">
                  <c:v>29.10.1971</c:v>
                </c:pt>
                <c:pt idx="13387">
                  <c:v>28.10.1971</c:v>
                </c:pt>
                <c:pt idx="13388">
                  <c:v>27.10.1971</c:v>
                </c:pt>
                <c:pt idx="13389">
                  <c:v>26.10.1971</c:v>
                </c:pt>
                <c:pt idx="13390">
                  <c:v>25.10.1971</c:v>
                </c:pt>
                <c:pt idx="13391">
                  <c:v>22.10.1971</c:v>
                </c:pt>
                <c:pt idx="13392">
                  <c:v>21.10.1971</c:v>
                </c:pt>
                <c:pt idx="13393">
                  <c:v>20.10.1971</c:v>
                </c:pt>
                <c:pt idx="13394">
                  <c:v>19.10.1971</c:v>
                </c:pt>
                <c:pt idx="13395">
                  <c:v>18.10.1971</c:v>
                </c:pt>
                <c:pt idx="13396">
                  <c:v>15.10.1971</c:v>
                </c:pt>
                <c:pt idx="13397">
                  <c:v>14.10.1971</c:v>
                </c:pt>
                <c:pt idx="13398">
                  <c:v>13.10.1971</c:v>
                </c:pt>
                <c:pt idx="13399">
                  <c:v>12.10.1971</c:v>
                </c:pt>
                <c:pt idx="13400">
                  <c:v>11.10.1971</c:v>
                </c:pt>
                <c:pt idx="13401">
                  <c:v>08.10.1971</c:v>
                </c:pt>
                <c:pt idx="13402">
                  <c:v>07.10.1971</c:v>
                </c:pt>
                <c:pt idx="13403">
                  <c:v>06.10.1971</c:v>
                </c:pt>
                <c:pt idx="13404">
                  <c:v>05.10.1971</c:v>
                </c:pt>
                <c:pt idx="13405">
                  <c:v>04.10.1971</c:v>
                </c:pt>
                <c:pt idx="13406">
                  <c:v>01.10.1971</c:v>
                </c:pt>
                <c:pt idx="13407">
                  <c:v>30.09.1971</c:v>
                </c:pt>
                <c:pt idx="13408">
                  <c:v>29.09.1971</c:v>
                </c:pt>
                <c:pt idx="13409">
                  <c:v>28.09.1971</c:v>
                </c:pt>
                <c:pt idx="13410">
                  <c:v>27.09.1971</c:v>
                </c:pt>
                <c:pt idx="13411">
                  <c:v>24.09.1971</c:v>
                </c:pt>
                <c:pt idx="13412">
                  <c:v>23.09.1971</c:v>
                </c:pt>
                <c:pt idx="13413">
                  <c:v>22.09.1971</c:v>
                </c:pt>
                <c:pt idx="13414">
                  <c:v>21.09.1971</c:v>
                </c:pt>
                <c:pt idx="13415">
                  <c:v>20.09.1971</c:v>
                </c:pt>
                <c:pt idx="13416">
                  <c:v>17.09.1971</c:v>
                </c:pt>
                <c:pt idx="13417">
                  <c:v>16.09.1971</c:v>
                </c:pt>
                <c:pt idx="13418">
                  <c:v>15.09.1971</c:v>
                </c:pt>
                <c:pt idx="13419">
                  <c:v>14.09.1971</c:v>
                </c:pt>
                <c:pt idx="13420">
                  <c:v>13.09.1971</c:v>
                </c:pt>
                <c:pt idx="13421">
                  <c:v>10.09.1971</c:v>
                </c:pt>
                <c:pt idx="13422">
                  <c:v>09.09.1971</c:v>
                </c:pt>
                <c:pt idx="13423">
                  <c:v>08.09.1971</c:v>
                </c:pt>
                <c:pt idx="13424">
                  <c:v>07.09.1971</c:v>
                </c:pt>
                <c:pt idx="13425">
                  <c:v>03.09.1971</c:v>
                </c:pt>
                <c:pt idx="13426">
                  <c:v>02.09.1971</c:v>
                </c:pt>
                <c:pt idx="13427">
                  <c:v>01.09.1971</c:v>
                </c:pt>
                <c:pt idx="13428">
                  <c:v>31.08.1971</c:v>
                </c:pt>
                <c:pt idx="13429">
                  <c:v>30.08.1971</c:v>
                </c:pt>
                <c:pt idx="13430">
                  <c:v>27.08.1971</c:v>
                </c:pt>
                <c:pt idx="13431">
                  <c:v>26.08.1971</c:v>
                </c:pt>
                <c:pt idx="13432">
                  <c:v>25.08.1971</c:v>
                </c:pt>
                <c:pt idx="13433">
                  <c:v>24.08.1971</c:v>
                </c:pt>
                <c:pt idx="13434">
                  <c:v>23.08.1971</c:v>
                </c:pt>
                <c:pt idx="13435">
                  <c:v>20.08.1971</c:v>
                </c:pt>
                <c:pt idx="13436">
                  <c:v>19.08.1971</c:v>
                </c:pt>
                <c:pt idx="13437">
                  <c:v>18.08.1971</c:v>
                </c:pt>
                <c:pt idx="13438">
                  <c:v>17.08.1971</c:v>
                </c:pt>
                <c:pt idx="13439">
                  <c:v>16.08.1971</c:v>
                </c:pt>
                <c:pt idx="13440">
                  <c:v>13.08.1971</c:v>
                </c:pt>
                <c:pt idx="13441">
                  <c:v>12.08.1971</c:v>
                </c:pt>
                <c:pt idx="13442">
                  <c:v>11.08.1971</c:v>
                </c:pt>
                <c:pt idx="13443">
                  <c:v>10.08.1971</c:v>
                </c:pt>
                <c:pt idx="13444">
                  <c:v>09.08.1971</c:v>
                </c:pt>
                <c:pt idx="13445">
                  <c:v>06.08.1971</c:v>
                </c:pt>
                <c:pt idx="13446">
                  <c:v>05.08.1971</c:v>
                </c:pt>
                <c:pt idx="13447">
                  <c:v>04.08.1971</c:v>
                </c:pt>
                <c:pt idx="13448">
                  <c:v>03.08.1971</c:v>
                </c:pt>
                <c:pt idx="13449">
                  <c:v>02.08.1971</c:v>
                </c:pt>
                <c:pt idx="13450">
                  <c:v>30.07.1971</c:v>
                </c:pt>
                <c:pt idx="13451">
                  <c:v>29.07.1971</c:v>
                </c:pt>
                <c:pt idx="13452">
                  <c:v>28.07.1971</c:v>
                </c:pt>
                <c:pt idx="13453">
                  <c:v>27.07.1971</c:v>
                </c:pt>
                <c:pt idx="13454">
                  <c:v>26.07.1971</c:v>
                </c:pt>
                <c:pt idx="13455">
                  <c:v>23.07.1971</c:v>
                </c:pt>
                <c:pt idx="13456">
                  <c:v>22.07.1971</c:v>
                </c:pt>
                <c:pt idx="13457">
                  <c:v>21.07.1971</c:v>
                </c:pt>
                <c:pt idx="13458">
                  <c:v>20.07.1971</c:v>
                </c:pt>
                <c:pt idx="13459">
                  <c:v>19.07.1971</c:v>
                </c:pt>
                <c:pt idx="13460">
                  <c:v>16.07.1971</c:v>
                </c:pt>
                <c:pt idx="13461">
                  <c:v>15.07.1971</c:v>
                </c:pt>
                <c:pt idx="13462">
                  <c:v>14.07.1971</c:v>
                </c:pt>
                <c:pt idx="13463">
                  <c:v>13.07.1971</c:v>
                </c:pt>
                <c:pt idx="13464">
                  <c:v>12.07.1971</c:v>
                </c:pt>
                <c:pt idx="13465">
                  <c:v>09.07.1971</c:v>
                </c:pt>
                <c:pt idx="13466">
                  <c:v>08.07.1971</c:v>
                </c:pt>
                <c:pt idx="13467">
                  <c:v>07.07.1971</c:v>
                </c:pt>
                <c:pt idx="13468">
                  <c:v>06.07.1971</c:v>
                </c:pt>
                <c:pt idx="13469">
                  <c:v>02.07.1971</c:v>
                </c:pt>
                <c:pt idx="13470">
                  <c:v>01.07.1971</c:v>
                </c:pt>
                <c:pt idx="13471">
                  <c:v>30.06.1971</c:v>
                </c:pt>
                <c:pt idx="13472">
                  <c:v>29.06.1971</c:v>
                </c:pt>
                <c:pt idx="13473">
                  <c:v>28.06.1971</c:v>
                </c:pt>
                <c:pt idx="13474">
                  <c:v>25.06.1971</c:v>
                </c:pt>
                <c:pt idx="13475">
                  <c:v>24.06.1971</c:v>
                </c:pt>
                <c:pt idx="13476">
                  <c:v>23.06.1971</c:v>
                </c:pt>
                <c:pt idx="13477">
                  <c:v>22.06.1971</c:v>
                </c:pt>
                <c:pt idx="13478">
                  <c:v>21.06.1971</c:v>
                </c:pt>
                <c:pt idx="13479">
                  <c:v>18.06.1971</c:v>
                </c:pt>
                <c:pt idx="13480">
                  <c:v>17.06.1971</c:v>
                </c:pt>
                <c:pt idx="13481">
                  <c:v>16.06.1971</c:v>
                </c:pt>
                <c:pt idx="13482">
                  <c:v>15.06.1971</c:v>
                </c:pt>
                <c:pt idx="13483">
                  <c:v>14.06.1971</c:v>
                </c:pt>
                <c:pt idx="13484">
                  <c:v>11.06.1971</c:v>
                </c:pt>
                <c:pt idx="13485">
                  <c:v>10.06.1971</c:v>
                </c:pt>
                <c:pt idx="13486">
                  <c:v>09.06.1971</c:v>
                </c:pt>
                <c:pt idx="13487">
                  <c:v>08.06.1971</c:v>
                </c:pt>
                <c:pt idx="13488">
                  <c:v>07.06.1971</c:v>
                </c:pt>
                <c:pt idx="13489">
                  <c:v>04.06.1971</c:v>
                </c:pt>
                <c:pt idx="13490">
                  <c:v>03.06.1971</c:v>
                </c:pt>
                <c:pt idx="13491">
                  <c:v>02.06.1971</c:v>
                </c:pt>
                <c:pt idx="13492">
                  <c:v>01.06.1971</c:v>
                </c:pt>
                <c:pt idx="13493">
                  <c:v>28.05.1971</c:v>
                </c:pt>
                <c:pt idx="13494">
                  <c:v>27.05.1971</c:v>
                </c:pt>
                <c:pt idx="13495">
                  <c:v>26.05.1971</c:v>
                </c:pt>
                <c:pt idx="13496">
                  <c:v>25.05.1971</c:v>
                </c:pt>
                <c:pt idx="13497">
                  <c:v>24.05.1971</c:v>
                </c:pt>
                <c:pt idx="13498">
                  <c:v>21.05.1971</c:v>
                </c:pt>
                <c:pt idx="13499">
                  <c:v>20.05.1971</c:v>
                </c:pt>
                <c:pt idx="13500">
                  <c:v>19.05.1971</c:v>
                </c:pt>
                <c:pt idx="13501">
                  <c:v>18.05.1971</c:v>
                </c:pt>
                <c:pt idx="13502">
                  <c:v>17.05.1971</c:v>
                </c:pt>
                <c:pt idx="13503">
                  <c:v>14.05.1971</c:v>
                </c:pt>
                <c:pt idx="13504">
                  <c:v>13.05.1971</c:v>
                </c:pt>
                <c:pt idx="13505">
                  <c:v>12.05.1971</c:v>
                </c:pt>
                <c:pt idx="13506">
                  <c:v>11.05.1971</c:v>
                </c:pt>
                <c:pt idx="13507">
                  <c:v>10.05.1971</c:v>
                </c:pt>
                <c:pt idx="13508">
                  <c:v>07.05.1971</c:v>
                </c:pt>
                <c:pt idx="13509">
                  <c:v>06.05.1971</c:v>
                </c:pt>
                <c:pt idx="13510">
                  <c:v>05.05.1971</c:v>
                </c:pt>
                <c:pt idx="13511">
                  <c:v>04.05.1971</c:v>
                </c:pt>
                <c:pt idx="13512">
                  <c:v>03.05.1971</c:v>
                </c:pt>
                <c:pt idx="13513">
                  <c:v>30.04.1971</c:v>
                </c:pt>
                <c:pt idx="13514">
                  <c:v>29.04.1971</c:v>
                </c:pt>
                <c:pt idx="13515">
                  <c:v>28.04.1971</c:v>
                </c:pt>
                <c:pt idx="13516">
                  <c:v>27.04.1971</c:v>
                </c:pt>
                <c:pt idx="13517">
                  <c:v>26.04.1971</c:v>
                </c:pt>
                <c:pt idx="13518">
                  <c:v>23.04.1971</c:v>
                </c:pt>
                <c:pt idx="13519">
                  <c:v>22.04.1971</c:v>
                </c:pt>
                <c:pt idx="13520">
                  <c:v>21.04.1971</c:v>
                </c:pt>
                <c:pt idx="13521">
                  <c:v>20.04.1971</c:v>
                </c:pt>
                <c:pt idx="13522">
                  <c:v>19.04.1971</c:v>
                </c:pt>
                <c:pt idx="13523">
                  <c:v>16.04.1971</c:v>
                </c:pt>
                <c:pt idx="13524">
                  <c:v>15.04.1971</c:v>
                </c:pt>
                <c:pt idx="13525">
                  <c:v>14.04.1971</c:v>
                </c:pt>
                <c:pt idx="13526">
                  <c:v>13.04.1971</c:v>
                </c:pt>
                <c:pt idx="13527">
                  <c:v>12.04.1971</c:v>
                </c:pt>
                <c:pt idx="13528">
                  <c:v>08.04.1971</c:v>
                </c:pt>
                <c:pt idx="13529">
                  <c:v>07.04.1971</c:v>
                </c:pt>
                <c:pt idx="13530">
                  <c:v>06.04.1971</c:v>
                </c:pt>
                <c:pt idx="13531">
                  <c:v>05.04.1971</c:v>
                </c:pt>
                <c:pt idx="13532">
                  <c:v>02.04.1971</c:v>
                </c:pt>
                <c:pt idx="13533">
                  <c:v>01.04.1971</c:v>
                </c:pt>
                <c:pt idx="13534">
                  <c:v>31.03.1971</c:v>
                </c:pt>
                <c:pt idx="13535">
                  <c:v>30.03.1971</c:v>
                </c:pt>
                <c:pt idx="13536">
                  <c:v>29.03.1971</c:v>
                </c:pt>
                <c:pt idx="13537">
                  <c:v>26.03.1971</c:v>
                </c:pt>
                <c:pt idx="13538">
                  <c:v>25.03.1971</c:v>
                </c:pt>
                <c:pt idx="13539">
                  <c:v>24.03.1971</c:v>
                </c:pt>
                <c:pt idx="13540">
                  <c:v>23.03.1971</c:v>
                </c:pt>
                <c:pt idx="13541">
                  <c:v>22.03.1971</c:v>
                </c:pt>
                <c:pt idx="13542">
                  <c:v>19.03.1971</c:v>
                </c:pt>
                <c:pt idx="13543">
                  <c:v>18.03.1971</c:v>
                </c:pt>
                <c:pt idx="13544">
                  <c:v>17.03.1971</c:v>
                </c:pt>
                <c:pt idx="13545">
                  <c:v>16.03.1971</c:v>
                </c:pt>
                <c:pt idx="13546">
                  <c:v>15.03.1971</c:v>
                </c:pt>
                <c:pt idx="13547">
                  <c:v>12.03.1971</c:v>
                </c:pt>
                <c:pt idx="13548">
                  <c:v>11.03.1971</c:v>
                </c:pt>
                <c:pt idx="13549">
                  <c:v>10.03.1971</c:v>
                </c:pt>
                <c:pt idx="13550">
                  <c:v>09.03.1971</c:v>
                </c:pt>
                <c:pt idx="13551">
                  <c:v>08.03.1971</c:v>
                </c:pt>
                <c:pt idx="13552">
                  <c:v>05.03.1971</c:v>
                </c:pt>
                <c:pt idx="13553">
                  <c:v>04.03.1971</c:v>
                </c:pt>
                <c:pt idx="13554">
                  <c:v>03.03.1971</c:v>
                </c:pt>
                <c:pt idx="13555">
                  <c:v>02.03.1971</c:v>
                </c:pt>
                <c:pt idx="13556">
                  <c:v>01.03.1971</c:v>
                </c:pt>
                <c:pt idx="13557">
                  <c:v>26.02.1971</c:v>
                </c:pt>
                <c:pt idx="13558">
                  <c:v>25.02.1971</c:v>
                </c:pt>
                <c:pt idx="13559">
                  <c:v>24.02.1971</c:v>
                </c:pt>
                <c:pt idx="13560">
                  <c:v>23.02.1971</c:v>
                </c:pt>
                <c:pt idx="13561">
                  <c:v>22.02.1971</c:v>
                </c:pt>
                <c:pt idx="13562">
                  <c:v>19.02.1971</c:v>
                </c:pt>
                <c:pt idx="13563">
                  <c:v>18.02.1971</c:v>
                </c:pt>
                <c:pt idx="13564">
                  <c:v>17.02.1971</c:v>
                </c:pt>
                <c:pt idx="13565">
                  <c:v>16.02.1971</c:v>
                </c:pt>
                <c:pt idx="13566">
                  <c:v>12.02.1971</c:v>
                </c:pt>
                <c:pt idx="13567">
                  <c:v>11.02.1971</c:v>
                </c:pt>
                <c:pt idx="13568">
                  <c:v>10.02.1971</c:v>
                </c:pt>
                <c:pt idx="13569">
                  <c:v>09.02.1971</c:v>
                </c:pt>
                <c:pt idx="13570">
                  <c:v>08.02.1971</c:v>
                </c:pt>
                <c:pt idx="13571">
                  <c:v>05.02.1971</c:v>
                </c:pt>
                <c:pt idx="13572">
                  <c:v>04.02.1971</c:v>
                </c:pt>
                <c:pt idx="13573">
                  <c:v>03.02.1971</c:v>
                </c:pt>
                <c:pt idx="13574">
                  <c:v>02.02.1971</c:v>
                </c:pt>
                <c:pt idx="13575">
                  <c:v>01.02.1971</c:v>
                </c:pt>
                <c:pt idx="13576">
                  <c:v>29.01.1971</c:v>
                </c:pt>
                <c:pt idx="13577">
                  <c:v>28.01.1971</c:v>
                </c:pt>
                <c:pt idx="13578">
                  <c:v>27.01.1971</c:v>
                </c:pt>
                <c:pt idx="13579">
                  <c:v>26.01.1971</c:v>
                </c:pt>
                <c:pt idx="13580">
                  <c:v>25.01.1971</c:v>
                </c:pt>
                <c:pt idx="13581">
                  <c:v>22.01.1971</c:v>
                </c:pt>
                <c:pt idx="13582">
                  <c:v>21.01.1971</c:v>
                </c:pt>
                <c:pt idx="13583">
                  <c:v>20.01.1971</c:v>
                </c:pt>
                <c:pt idx="13584">
                  <c:v>19.01.1971</c:v>
                </c:pt>
                <c:pt idx="13585">
                  <c:v>18.01.1971</c:v>
                </c:pt>
                <c:pt idx="13586">
                  <c:v>15.01.1971</c:v>
                </c:pt>
                <c:pt idx="13587">
                  <c:v>14.01.1971</c:v>
                </c:pt>
                <c:pt idx="13588">
                  <c:v>13.01.1971</c:v>
                </c:pt>
                <c:pt idx="13589">
                  <c:v>12.01.1971</c:v>
                </c:pt>
                <c:pt idx="13590">
                  <c:v>11.01.1971</c:v>
                </c:pt>
                <c:pt idx="13591">
                  <c:v>08.01.1971</c:v>
                </c:pt>
                <c:pt idx="13592">
                  <c:v>07.01.1971</c:v>
                </c:pt>
                <c:pt idx="13593">
                  <c:v>06.01.1971</c:v>
                </c:pt>
                <c:pt idx="13594">
                  <c:v>05.01.1971</c:v>
                </c:pt>
                <c:pt idx="13595">
                  <c:v>04.01.1971</c:v>
                </c:pt>
                <c:pt idx="13596">
                  <c:v>31.12.1970</c:v>
                </c:pt>
                <c:pt idx="13597">
                  <c:v>30.12.1970</c:v>
                </c:pt>
                <c:pt idx="13598">
                  <c:v>29.12.1970</c:v>
                </c:pt>
                <c:pt idx="13599">
                  <c:v>28.12.1970</c:v>
                </c:pt>
                <c:pt idx="13600">
                  <c:v>24.12.1970</c:v>
                </c:pt>
                <c:pt idx="13601">
                  <c:v>23.12.1970</c:v>
                </c:pt>
                <c:pt idx="13602">
                  <c:v>22.12.1970</c:v>
                </c:pt>
                <c:pt idx="13603">
                  <c:v>21.12.1970</c:v>
                </c:pt>
                <c:pt idx="13604">
                  <c:v>18.12.1970</c:v>
                </c:pt>
                <c:pt idx="13605">
                  <c:v>17.12.1970</c:v>
                </c:pt>
                <c:pt idx="13606">
                  <c:v>16.12.1970</c:v>
                </c:pt>
                <c:pt idx="13607">
                  <c:v>15.12.1970</c:v>
                </c:pt>
                <c:pt idx="13608">
                  <c:v>14.12.1970</c:v>
                </c:pt>
                <c:pt idx="13609">
                  <c:v>11.12.1970</c:v>
                </c:pt>
                <c:pt idx="13610">
                  <c:v>10.12.1970</c:v>
                </c:pt>
                <c:pt idx="13611">
                  <c:v>09.12.1970</c:v>
                </c:pt>
                <c:pt idx="13612">
                  <c:v>08.12.1970</c:v>
                </c:pt>
                <c:pt idx="13613">
                  <c:v>07.12.1970</c:v>
                </c:pt>
                <c:pt idx="13614">
                  <c:v>04.12.1970</c:v>
                </c:pt>
                <c:pt idx="13615">
                  <c:v>03.12.1970</c:v>
                </c:pt>
                <c:pt idx="13616">
                  <c:v>02.12.1970</c:v>
                </c:pt>
                <c:pt idx="13617">
                  <c:v>01.12.1970</c:v>
                </c:pt>
                <c:pt idx="13618">
                  <c:v>30.11.1970</c:v>
                </c:pt>
                <c:pt idx="13619">
                  <c:v>27.11.1970</c:v>
                </c:pt>
                <c:pt idx="13620">
                  <c:v>25.11.1970</c:v>
                </c:pt>
                <c:pt idx="13621">
                  <c:v>24.11.1970</c:v>
                </c:pt>
                <c:pt idx="13622">
                  <c:v>23.11.1970</c:v>
                </c:pt>
                <c:pt idx="13623">
                  <c:v>20.11.1970</c:v>
                </c:pt>
                <c:pt idx="13624">
                  <c:v>19.11.1970</c:v>
                </c:pt>
                <c:pt idx="13625">
                  <c:v>18.11.1970</c:v>
                </c:pt>
                <c:pt idx="13626">
                  <c:v>17.11.1970</c:v>
                </c:pt>
                <c:pt idx="13627">
                  <c:v>16.11.1970</c:v>
                </c:pt>
                <c:pt idx="13628">
                  <c:v>13.11.1970</c:v>
                </c:pt>
                <c:pt idx="13629">
                  <c:v>12.11.1970</c:v>
                </c:pt>
                <c:pt idx="13630">
                  <c:v>11.11.1970</c:v>
                </c:pt>
                <c:pt idx="13631">
                  <c:v>10.11.1970</c:v>
                </c:pt>
                <c:pt idx="13632">
                  <c:v>09.11.1970</c:v>
                </c:pt>
                <c:pt idx="13633">
                  <c:v>06.11.1970</c:v>
                </c:pt>
                <c:pt idx="13634">
                  <c:v>05.11.1970</c:v>
                </c:pt>
                <c:pt idx="13635">
                  <c:v>04.11.1970</c:v>
                </c:pt>
                <c:pt idx="13636">
                  <c:v>03.11.1970</c:v>
                </c:pt>
                <c:pt idx="13637">
                  <c:v>02.11.1970</c:v>
                </c:pt>
                <c:pt idx="13638">
                  <c:v>30.10.1970</c:v>
                </c:pt>
                <c:pt idx="13639">
                  <c:v>29.10.1970</c:v>
                </c:pt>
                <c:pt idx="13640">
                  <c:v>28.10.1970</c:v>
                </c:pt>
                <c:pt idx="13641">
                  <c:v>27.10.1970</c:v>
                </c:pt>
                <c:pt idx="13642">
                  <c:v>26.10.1970</c:v>
                </c:pt>
                <c:pt idx="13643">
                  <c:v>23.10.1970</c:v>
                </c:pt>
                <c:pt idx="13644">
                  <c:v>22.10.1970</c:v>
                </c:pt>
                <c:pt idx="13645">
                  <c:v>21.10.1970</c:v>
                </c:pt>
                <c:pt idx="13646">
                  <c:v>20.10.1970</c:v>
                </c:pt>
                <c:pt idx="13647">
                  <c:v>19.10.1970</c:v>
                </c:pt>
                <c:pt idx="13648">
                  <c:v>16.10.1970</c:v>
                </c:pt>
                <c:pt idx="13649">
                  <c:v>15.10.1970</c:v>
                </c:pt>
                <c:pt idx="13650">
                  <c:v>14.10.1970</c:v>
                </c:pt>
                <c:pt idx="13651">
                  <c:v>13.10.1970</c:v>
                </c:pt>
                <c:pt idx="13652">
                  <c:v>12.10.1970</c:v>
                </c:pt>
                <c:pt idx="13653">
                  <c:v>09.10.1970</c:v>
                </c:pt>
                <c:pt idx="13654">
                  <c:v>08.10.1970</c:v>
                </c:pt>
                <c:pt idx="13655">
                  <c:v>07.10.1970</c:v>
                </c:pt>
                <c:pt idx="13656">
                  <c:v>06.10.1970</c:v>
                </c:pt>
                <c:pt idx="13657">
                  <c:v>05.10.1970</c:v>
                </c:pt>
                <c:pt idx="13658">
                  <c:v>02.10.1970</c:v>
                </c:pt>
                <c:pt idx="13659">
                  <c:v>01.10.1970</c:v>
                </c:pt>
                <c:pt idx="13660">
                  <c:v>30.09.1970</c:v>
                </c:pt>
                <c:pt idx="13661">
                  <c:v>29.09.1970</c:v>
                </c:pt>
                <c:pt idx="13662">
                  <c:v>28.09.1970</c:v>
                </c:pt>
                <c:pt idx="13663">
                  <c:v>25.09.1970</c:v>
                </c:pt>
                <c:pt idx="13664">
                  <c:v>24.09.1970</c:v>
                </c:pt>
                <c:pt idx="13665">
                  <c:v>23.09.1970</c:v>
                </c:pt>
                <c:pt idx="13666">
                  <c:v>22.09.1970</c:v>
                </c:pt>
                <c:pt idx="13667">
                  <c:v>21.09.1970</c:v>
                </c:pt>
                <c:pt idx="13668">
                  <c:v>18.09.1970</c:v>
                </c:pt>
                <c:pt idx="13669">
                  <c:v>17.09.1970</c:v>
                </c:pt>
                <c:pt idx="13670">
                  <c:v>16.09.1970</c:v>
                </c:pt>
                <c:pt idx="13671">
                  <c:v>15.09.1970</c:v>
                </c:pt>
                <c:pt idx="13672">
                  <c:v>14.09.1970</c:v>
                </c:pt>
                <c:pt idx="13673">
                  <c:v>11.09.1970</c:v>
                </c:pt>
                <c:pt idx="13674">
                  <c:v>10.09.1970</c:v>
                </c:pt>
                <c:pt idx="13675">
                  <c:v>09.09.1970</c:v>
                </c:pt>
                <c:pt idx="13676">
                  <c:v>08.09.1970</c:v>
                </c:pt>
                <c:pt idx="13677">
                  <c:v>04.09.1970</c:v>
                </c:pt>
                <c:pt idx="13678">
                  <c:v>03.09.1970</c:v>
                </c:pt>
                <c:pt idx="13679">
                  <c:v>02.09.1970</c:v>
                </c:pt>
                <c:pt idx="13680">
                  <c:v>01.09.1970</c:v>
                </c:pt>
                <c:pt idx="13681">
                  <c:v>31.08.1970</c:v>
                </c:pt>
                <c:pt idx="13682">
                  <c:v>28.08.1970</c:v>
                </c:pt>
                <c:pt idx="13683">
                  <c:v>27.08.1970</c:v>
                </c:pt>
                <c:pt idx="13684">
                  <c:v>26.08.1970</c:v>
                </c:pt>
                <c:pt idx="13685">
                  <c:v>25.08.1970</c:v>
                </c:pt>
                <c:pt idx="13686">
                  <c:v>24.08.1970</c:v>
                </c:pt>
                <c:pt idx="13687">
                  <c:v>21.08.1970</c:v>
                </c:pt>
                <c:pt idx="13688">
                  <c:v>20.08.1970</c:v>
                </c:pt>
                <c:pt idx="13689">
                  <c:v>19.08.1970</c:v>
                </c:pt>
                <c:pt idx="13690">
                  <c:v>18.08.1970</c:v>
                </c:pt>
                <c:pt idx="13691">
                  <c:v>17.08.1970</c:v>
                </c:pt>
                <c:pt idx="13692">
                  <c:v>14.08.1970</c:v>
                </c:pt>
                <c:pt idx="13693">
                  <c:v>13.08.1970</c:v>
                </c:pt>
                <c:pt idx="13694">
                  <c:v>12.08.1970</c:v>
                </c:pt>
                <c:pt idx="13695">
                  <c:v>11.08.1970</c:v>
                </c:pt>
                <c:pt idx="13696">
                  <c:v>10.08.1970</c:v>
                </c:pt>
                <c:pt idx="13697">
                  <c:v>07.08.1970</c:v>
                </c:pt>
                <c:pt idx="13698">
                  <c:v>06.08.1970</c:v>
                </c:pt>
                <c:pt idx="13699">
                  <c:v>05.08.1970</c:v>
                </c:pt>
                <c:pt idx="13700">
                  <c:v>04.08.1970</c:v>
                </c:pt>
                <c:pt idx="13701">
                  <c:v>03.08.1970</c:v>
                </c:pt>
                <c:pt idx="13702">
                  <c:v>31.07.1970</c:v>
                </c:pt>
                <c:pt idx="13703">
                  <c:v>30.07.1970</c:v>
                </c:pt>
                <c:pt idx="13704">
                  <c:v>29.07.1970</c:v>
                </c:pt>
                <c:pt idx="13705">
                  <c:v>28.07.1970</c:v>
                </c:pt>
                <c:pt idx="13706">
                  <c:v>27.07.1970</c:v>
                </c:pt>
                <c:pt idx="13707">
                  <c:v>24.07.1970</c:v>
                </c:pt>
                <c:pt idx="13708">
                  <c:v>23.07.1970</c:v>
                </c:pt>
                <c:pt idx="13709">
                  <c:v>22.07.1970</c:v>
                </c:pt>
                <c:pt idx="13710">
                  <c:v>21.07.1970</c:v>
                </c:pt>
                <c:pt idx="13711">
                  <c:v>20.07.1970</c:v>
                </c:pt>
                <c:pt idx="13712">
                  <c:v>17.07.1970</c:v>
                </c:pt>
                <c:pt idx="13713">
                  <c:v>16.07.1970</c:v>
                </c:pt>
                <c:pt idx="13714">
                  <c:v>15.07.1970</c:v>
                </c:pt>
                <c:pt idx="13715">
                  <c:v>14.07.1970</c:v>
                </c:pt>
                <c:pt idx="13716">
                  <c:v>13.07.1970</c:v>
                </c:pt>
                <c:pt idx="13717">
                  <c:v>10.07.1970</c:v>
                </c:pt>
                <c:pt idx="13718">
                  <c:v>09.07.1970</c:v>
                </c:pt>
                <c:pt idx="13719">
                  <c:v>08.07.1970</c:v>
                </c:pt>
                <c:pt idx="13720">
                  <c:v>07.07.1970</c:v>
                </c:pt>
                <c:pt idx="13721">
                  <c:v>06.07.1970</c:v>
                </c:pt>
                <c:pt idx="13722">
                  <c:v>02.07.1970</c:v>
                </c:pt>
                <c:pt idx="13723">
                  <c:v>01.07.1970</c:v>
                </c:pt>
                <c:pt idx="13724">
                  <c:v>30.06.1970</c:v>
                </c:pt>
                <c:pt idx="13725">
                  <c:v>29.06.1970</c:v>
                </c:pt>
                <c:pt idx="13726">
                  <c:v>26.06.1970</c:v>
                </c:pt>
                <c:pt idx="13727">
                  <c:v>25.06.1970</c:v>
                </c:pt>
                <c:pt idx="13728">
                  <c:v>24.06.1970</c:v>
                </c:pt>
                <c:pt idx="13729">
                  <c:v>23.06.1970</c:v>
                </c:pt>
                <c:pt idx="13730">
                  <c:v>22.06.1970</c:v>
                </c:pt>
                <c:pt idx="13731">
                  <c:v>19.06.1970</c:v>
                </c:pt>
                <c:pt idx="13732">
                  <c:v>18.06.1970</c:v>
                </c:pt>
                <c:pt idx="13733">
                  <c:v>17.06.1970</c:v>
                </c:pt>
                <c:pt idx="13734">
                  <c:v>16.06.1970</c:v>
                </c:pt>
                <c:pt idx="13735">
                  <c:v>15.06.1970</c:v>
                </c:pt>
                <c:pt idx="13736">
                  <c:v>12.06.1970</c:v>
                </c:pt>
                <c:pt idx="13737">
                  <c:v>11.06.1970</c:v>
                </c:pt>
                <c:pt idx="13738">
                  <c:v>10.06.1970</c:v>
                </c:pt>
                <c:pt idx="13739">
                  <c:v>09.06.1970</c:v>
                </c:pt>
                <c:pt idx="13740">
                  <c:v>08.06.1970</c:v>
                </c:pt>
                <c:pt idx="13741">
                  <c:v>05.06.1970</c:v>
                </c:pt>
                <c:pt idx="13742">
                  <c:v>04.06.1970</c:v>
                </c:pt>
                <c:pt idx="13743">
                  <c:v>03.06.1970</c:v>
                </c:pt>
                <c:pt idx="13744">
                  <c:v>02.06.1970</c:v>
                </c:pt>
                <c:pt idx="13745">
                  <c:v>01.06.1970</c:v>
                </c:pt>
                <c:pt idx="13746">
                  <c:v>29.05.1970</c:v>
                </c:pt>
                <c:pt idx="13747">
                  <c:v>28.05.1970</c:v>
                </c:pt>
                <c:pt idx="13748">
                  <c:v>27.05.1970</c:v>
                </c:pt>
                <c:pt idx="13749">
                  <c:v>26.05.1970</c:v>
                </c:pt>
                <c:pt idx="13750">
                  <c:v>25.05.1970</c:v>
                </c:pt>
                <c:pt idx="13751">
                  <c:v>22.05.1970</c:v>
                </c:pt>
                <c:pt idx="13752">
                  <c:v>21.05.1970</c:v>
                </c:pt>
                <c:pt idx="13753">
                  <c:v>20.05.1970</c:v>
                </c:pt>
                <c:pt idx="13754">
                  <c:v>19.05.1970</c:v>
                </c:pt>
                <c:pt idx="13755">
                  <c:v>18.05.1970</c:v>
                </c:pt>
                <c:pt idx="13756">
                  <c:v>15.05.1970</c:v>
                </c:pt>
                <c:pt idx="13757">
                  <c:v>14.05.1970</c:v>
                </c:pt>
                <c:pt idx="13758">
                  <c:v>13.05.1970</c:v>
                </c:pt>
                <c:pt idx="13759">
                  <c:v>12.05.1970</c:v>
                </c:pt>
                <c:pt idx="13760">
                  <c:v>11.05.1970</c:v>
                </c:pt>
                <c:pt idx="13761">
                  <c:v>08.05.1970</c:v>
                </c:pt>
                <c:pt idx="13762">
                  <c:v>07.05.1970</c:v>
                </c:pt>
                <c:pt idx="13763">
                  <c:v>06.05.1970</c:v>
                </c:pt>
                <c:pt idx="13764">
                  <c:v>05.05.1970</c:v>
                </c:pt>
                <c:pt idx="13765">
                  <c:v>04.05.1970</c:v>
                </c:pt>
                <c:pt idx="13766">
                  <c:v>01.05.1970</c:v>
                </c:pt>
                <c:pt idx="13767">
                  <c:v>30.04.1970</c:v>
                </c:pt>
                <c:pt idx="13768">
                  <c:v>29.04.1970</c:v>
                </c:pt>
                <c:pt idx="13769">
                  <c:v>28.04.1970</c:v>
                </c:pt>
                <c:pt idx="13770">
                  <c:v>27.04.1970</c:v>
                </c:pt>
                <c:pt idx="13771">
                  <c:v>24.04.1970</c:v>
                </c:pt>
                <c:pt idx="13772">
                  <c:v>23.04.1970</c:v>
                </c:pt>
                <c:pt idx="13773">
                  <c:v>22.04.1970</c:v>
                </c:pt>
                <c:pt idx="13774">
                  <c:v>21.04.1970</c:v>
                </c:pt>
                <c:pt idx="13775">
                  <c:v>20.04.1970</c:v>
                </c:pt>
                <c:pt idx="13776">
                  <c:v>17.04.1970</c:v>
                </c:pt>
                <c:pt idx="13777">
                  <c:v>16.04.1970</c:v>
                </c:pt>
                <c:pt idx="13778">
                  <c:v>15.04.1970</c:v>
                </c:pt>
                <c:pt idx="13779">
                  <c:v>14.04.1970</c:v>
                </c:pt>
                <c:pt idx="13780">
                  <c:v>13.04.1970</c:v>
                </c:pt>
                <c:pt idx="13781">
                  <c:v>10.04.1970</c:v>
                </c:pt>
                <c:pt idx="13782">
                  <c:v>09.04.1970</c:v>
                </c:pt>
                <c:pt idx="13783">
                  <c:v>08.04.1970</c:v>
                </c:pt>
                <c:pt idx="13784">
                  <c:v>07.04.1970</c:v>
                </c:pt>
                <c:pt idx="13785">
                  <c:v>06.04.1970</c:v>
                </c:pt>
                <c:pt idx="13786">
                  <c:v>03.04.1970</c:v>
                </c:pt>
                <c:pt idx="13787">
                  <c:v>02.04.1970</c:v>
                </c:pt>
                <c:pt idx="13788">
                  <c:v>01.04.1970</c:v>
                </c:pt>
                <c:pt idx="13789">
                  <c:v>31.03.1970</c:v>
                </c:pt>
                <c:pt idx="13790">
                  <c:v>30.03.1970</c:v>
                </c:pt>
                <c:pt idx="13791">
                  <c:v>26.03.1970</c:v>
                </c:pt>
                <c:pt idx="13792">
                  <c:v>25.03.1970</c:v>
                </c:pt>
                <c:pt idx="13793">
                  <c:v>24.03.1970</c:v>
                </c:pt>
                <c:pt idx="13794">
                  <c:v>23.03.1970</c:v>
                </c:pt>
                <c:pt idx="13795">
                  <c:v>20.03.1970</c:v>
                </c:pt>
                <c:pt idx="13796">
                  <c:v>19.03.1970</c:v>
                </c:pt>
                <c:pt idx="13797">
                  <c:v>18.03.1970</c:v>
                </c:pt>
                <c:pt idx="13798">
                  <c:v>17.03.1970</c:v>
                </c:pt>
                <c:pt idx="13799">
                  <c:v>16.03.1970</c:v>
                </c:pt>
                <c:pt idx="13800">
                  <c:v>13.03.1970</c:v>
                </c:pt>
                <c:pt idx="13801">
                  <c:v>12.03.1970</c:v>
                </c:pt>
                <c:pt idx="13802">
                  <c:v>11.03.1970</c:v>
                </c:pt>
                <c:pt idx="13803">
                  <c:v>10.03.1970</c:v>
                </c:pt>
                <c:pt idx="13804">
                  <c:v>09.03.1970</c:v>
                </c:pt>
                <c:pt idx="13805">
                  <c:v>06.03.1970</c:v>
                </c:pt>
                <c:pt idx="13806">
                  <c:v>05.03.1970</c:v>
                </c:pt>
                <c:pt idx="13807">
                  <c:v>04.03.1970</c:v>
                </c:pt>
                <c:pt idx="13808">
                  <c:v>03.03.1970</c:v>
                </c:pt>
                <c:pt idx="13809">
                  <c:v>02.03.1970</c:v>
                </c:pt>
                <c:pt idx="13810">
                  <c:v>27.02.1970</c:v>
                </c:pt>
                <c:pt idx="13811">
                  <c:v>26.02.1970</c:v>
                </c:pt>
                <c:pt idx="13812">
                  <c:v>25.02.1970</c:v>
                </c:pt>
                <c:pt idx="13813">
                  <c:v>24.02.1970</c:v>
                </c:pt>
                <c:pt idx="13814">
                  <c:v>20.02.1970</c:v>
                </c:pt>
                <c:pt idx="13815">
                  <c:v>19.02.1970</c:v>
                </c:pt>
                <c:pt idx="13816">
                  <c:v>18.02.1970</c:v>
                </c:pt>
                <c:pt idx="13817">
                  <c:v>17.02.1970</c:v>
                </c:pt>
                <c:pt idx="13818">
                  <c:v>16.02.1970</c:v>
                </c:pt>
                <c:pt idx="13819">
                  <c:v>13.02.1970</c:v>
                </c:pt>
                <c:pt idx="13820">
                  <c:v>12.02.1970</c:v>
                </c:pt>
                <c:pt idx="13821">
                  <c:v>11.02.1970</c:v>
                </c:pt>
                <c:pt idx="13822">
                  <c:v>10.02.1970</c:v>
                </c:pt>
                <c:pt idx="13823">
                  <c:v>09.02.1970</c:v>
                </c:pt>
                <c:pt idx="13824">
                  <c:v>06.02.1970</c:v>
                </c:pt>
                <c:pt idx="13825">
                  <c:v>05.02.1970</c:v>
                </c:pt>
                <c:pt idx="13826">
                  <c:v>04.02.1970</c:v>
                </c:pt>
                <c:pt idx="13827">
                  <c:v>03.02.1970</c:v>
                </c:pt>
                <c:pt idx="13828">
                  <c:v>02.02.1970</c:v>
                </c:pt>
                <c:pt idx="13829">
                  <c:v>30.01.1970</c:v>
                </c:pt>
                <c:pt idx="13830">
                  <c:v>29.01.1970</c:v>
                </c:pt>
                <c:pt idx="13831">
                  <c:v>28.01.1970</c:v>
                </c:pt>
                <c:pt idx="13832">
                  <c:v>27.01.1970</c:v>
                </c:pt>
                <c:pt idx="13833">
                  <c:v>26.01.1970</c:v>
                </c:pt>
                <c:pt idx="13834">
                  <c:v>23.01.1970</c:v>
                </c:pt>
                <c:pt idx="13835">
                  <c:v>22.01.1970</c:v>
                </c:pt>
                <c:pt idx="13836">
                  <c:v>21.01.1970</c:v>
                </c:pt>
                <c:pt idx="13837">
                  <c:v>20.01.1970</c:v>
                </c:pt>
                <c:pt idx="13838">
                  <c:v>19.01.1970</c:v>
                </c:pt>
                <c:pt idx="13839">
                  <c:v>16.01.1970</c:v>
                </c:pt>
                <c:pt idx="13840">
                  <c:v>15.01.1970</c:v>
                </c:pt>
                <c:pt idx="13841">
                  <c:v>14.01.1970</c:v>
                </c:pt>
                <c:pt idx="13842">
                  <c:v>13.01.1970</c:v>
                </c:pt>
                <c:pt idx="13843">
                  <c:v>12.01.1970</c:v>
                </c:pt>
                <c:pt idx="13844">
                  <c:v>09.01.1970</c:v>
                </c:pt>
                <c:pt idx="13845">
                  <c:v>08.01.1970</c:v>
                </c:pt>
                <c:pt idx="13846">
                  <c:v>07.01.1970</c:v>
                </c:pt>
                <c:pt idx="13847">
                  <c:v>06.01.1970</c:v>
                </c:pt>
                <c:pt idx="13848">
                  <c:v>05.01.1970</c:v>
                </c:pt>
                <c:pt idx="13849">
                  <c:v>02.01.1970</c:v>
                </c:pt>
                <c:pt idx="13850">
                  <c:v>31.12.1969</c:v>
                </c:pt>
                <c:pt idx="13851">
                  <c:v>30.12.1969</c:v>
                </c:pt>
                <c:pt idx="13852">
                  <c:v>29.12.1969</c:v>
                </c:pt>
                <c:pt idx="13853">
                  <c:v>26.12.1969</c:v>
                </c:pt>
                <c:pt idx="13854">
                  <c:v>24.12.1969</c:v>
                </c:pt>
                <c:pt idx="13855">
                  <c:v>23.12.1969</c:v>
                </c:pt>
                <c:pt idx="13856">
                  <c:v>22.12.1969</c:v>
                </c:pt>
                <c:pt idx="13857">
                  <c:v>19.12.1969</c:v>
                </c:pt>
                <c:pt idx="13858">
                  <c:v>18.12.1969</c:v>
                </c:pt>
                <c:pt idx="13859">
                  <c:v>17.12.1969</c:v>
                </c:pt>
                <c:pt idx="13860">
                  <c:v>16.12.1969</c:v>
                </c:pt>
                <c:pt idx="13861">
                  <c:v>15.12.1969</c:v>
                </c:pt>
                <c:pt idx="13862">
                  <c:v>12.12.1969</c:v>
                </c:pt>
                <c:pt idx="13863">
                  <c:v>11.12.1969</c:v>
                </c:pt>
                <c:pt idx="13864">
                  <c:v>10.12.1969</c:v>
                </c:pt>
                <c:pt idx="13865">
                  <c:v>09.12.1969</c:v>
                </c:pt>
                <c:pt idx="13866">
                  <c:v>08.12.1969</c:v>
                </c:pt>
                <c:pt idx="13867">
                  <c:v>05.12.1969</c:v>
                </c:pt>
                <c:pt idx="13868">
                  <c:v>04.12.1969</c:v>
                </c:pt>
                <c:pt idx="13869">
                  <c:v>03.12.1969</c:v>
                </c:pt>
                <c:pt idx="13870">
                  <c:v>02.12.1969</c:v>
                </c:pt>
                <c:pt idx="13871">
                  <c:v>01.12.1969</c:v>
                </c:pt>
                <c:pt idx="13872">
                  <c:v>28.11.1969</c:v>
                </c:pt>
                <c:pt idx="13873">
                  <c:v>26.11.1969</c:v>
                </c:pt>
                <c:pt idx="13874">
                  <c:v>25.11.1969</c:v>
                </c:pt>
                <c:pt idx="13875">
                  <c:v>24.11.1969</c:v>
                </c:pt>
                <c:pt idx="13876">
                  <c:v>21.11.1969</c:v>
                </c:pt>
                <c:pt idx="13877">
                  <c:v>20.11.1969</c:v>
                </c:pt>
                <c:pt idx="13878">
                  <c:v>19.11.1969</c:v>
                </c:pt>
                <c:pt idx="13879">
                  <c:v>18.11.1969</c:v>
                </c:pt>
                <c:pt idx="13880">
                  <c:v>17.11.1969</c:v>
                </c:pt>
                <c:pt idx="13881">
                  <c:v>14.11.1969</c:v>
                </c:pt>
                <c:pt idx="13882">
                  <c:v>13.11.1969</c:v>
                </c:pt>
                <c:pt idx="13883">
                  <c:v>12.11.1969</c:v>
                </c:pt>
                <c:pt idx="13884">
                  <c:v>11.11.1969</c:v>
                </c:pt>
                <c:pt idx="13885">
                  <c:v>10.11.1969</c:v>
                </c:pt>
                <c:pt idx="13886">
                  <c:v>07.11.1969</c:v>
                </c:pt>
                <c:pt idx="13887">
                  <c:v>06.11.1969</c:v>
                </c:pt>
                <c:pt idx="13888">
                  <c:v>05.11.1969</c:v>
                </c:pt>
                <c:pt idx="13889">
                  <c:v>04.11.1969</c:v>
                </c:pt>
                <c:pt idx="13890">
                  <c:v>03.11.1969</c:v>
                </c:pt>
                <c:pt idx="13891">
                  <c:v>31.10.1969</c:v>
                </c:pt>
                <c:pt idx="13892">
                  <c:v>30.10.1969</c:v>
                </c:pt>
                <c:pt idx="13893">
                  <c:v>29.10.1969</c:v>
                </c:pt>
                <c:pt idx="13894">
                  <c:v>28.10.1969</c:v>
                </c:pt>
                <c:pt idx="13895">
                  <c:v>27.10.1969</c:v>
                </c:pt>
                <c:pt idx="13896">
                  <c:v>24.10.1969</c:v>
                </c:pt>
                <c:pt idx="13897">
                  <c:v>23.10.1969</c:v>
                </c:pt>
                <c:pt idx="13898">
                  <c:v>22.10.1969</c:v>
                </c:pt>
                <c:pt idx="13899">
                  <c:v>21.10.1969</c:v>
                </c:pt>
                <c:pt idx="13900">
                  <c:v>20.10.1969</c:v>
                </c:pt>
                <c:pt idx="13901">
                  <c:v>17.10.1969</c:v>
                </c:pt>
                <c:pt idx="13902">
                  <c:v>16.10.1969</c:v>
                </c:pt>
                <c:pt idx="13903">
                  <c:v>15.10.1969</c:v>
                </c:pt>
                <c:pt idx="13904">
                  <c:v>14.10.1969</c:v>
                </c:pt>
                <c:pt idx="13905">
                  <c:v>13.10.1969</c:v>
                </c:pt>
                <c:pt idx="13906">
                  <c:v>10.10.1969</c:v>
                </c:pt>
                <c:pt idx="13907">
                  <c:v>09.10.1969</c:v>
                </c:pt>
                <c:pt idx="13908">
                  <c:v>08.10.1969</c:v>
                </c:pt>
                <c:pt idx="13909">
                  <c:v>07.10.1969</c:v>
                </c:pt>
                <c:pt idx="13910">
                  <c:v>06.10.1969</c:v>
                </c:pt>
                <c:pt idx="13911">
                  <c:v>03.10.1969</c:v>
                </c:pt>
                <c:pt idx="13912">
                  <c:v>02.10.1969</c:v>
                </c:pt>
                <c:pt idx="13913">
                  <c:v>01.10.1969</c:v>
                </c:pt>
                <c:pt idx="13914">
                  <c:v>30.09.1969</c:v>
                </c:pt>
                <c:pt idx="13915">
                  <c:v>29.09.1969</c:v>
                </c:pt>
                <c:pt idx="13916">
                  <c:v>26.09.1969</c:v>
                </c:pt>
                <c:pt idx="13917">
                  <c:v>25.09.1969</c:v>
                </c:pt>
                <c:pt idx="13918">
                  <c:v>24.09.1969</c:v>
                </c:pt>
                <c:pt idx="13919">
                  <c:v>23.09.1969</c:v>
                </c:pt>
                <c:pt idx="13920">
                  <c:v>22.09.1969</c:v>
                </c:pt>
                <c:pt idx="13921">
                  <c:v>19.09.1969</c:v>
                </c:pt>
                <c:pt idx="13922">
                  <c:v>18.09.1969</c:v>
                </c:pt>
                <c:pt idx="13923">
                  <c:v>17.09.1969</c:v>
                </c:pt>
                <c:pt idx="13924">
                  <c:v>16.09.1969</c:v>
                </c:pt>
                <c:pt idx="13925">
                  <c:v>15.09.1969</c:v>
                </c:pt>
                <c:pt idx="13926">
                  <c:v>12.09.1969</c:v>
                </c:pt>
                <c:pt idx="13927">
                  <c:v>11.09.1969</c:v>
                </c:pt>
                <c:pt idx="13928">
                  <c:v>10.09.1969</c:v>
                </c:pt>
                <c:pt idx="13929">
                  <c:v>09.09.1969</c:v>
                </c:pt>
                <c:pt idx="13930">
                  <c:v>08.09.1969</c:v>
                </c:pt>
                <c:pt idx="13931">
                  <c:v>05.09.1969</c:v>
                </c:pt>
                <c:pt idx="13932">
                  <c:v>04.09.1969</c:v>
                </c:pt>
                <c:pt idx="13933">
                  <c:v>03.09.1969</c:v>
                </c:pt>
                <c:pt idx="13934">
                  <c:v>02.09.1969</c:v>
                </c:pt>
                <c:pt idx="13935">
                  <c:v>29.08.1969</c:v>
                </c:pt>
                <c:pt idx="13936">
                  <c:v>28.08.1969</c:v>
                </c:pt>
                <c:pt idx="13937">
                  <c:v>27.08.1969</c:v>
                </c:pt>
                <c:pt idx="13938">
                  <c:v>26.08.1969</c:v>
                </c:pt>
                <c:pt idx="13939">
                  <c:v>25.08.1969</c:v>
                </c:pt>
                <c:pt idx="13940">
                  <c:v>22.08.1969</c:v>
                </c:pt>
                <c:pt idx="13941">
                  <c:v>21.08.1969</c:v>
                </c:pt>
                <c:pt idx="13942">
                  <c:v>20.08.1969</c:v>
                </c:pt>
                <c:pt idx="13943">
                  <c:v>19.08.1969</c:v>
                </c:pt>
                <c:pt idx="13944">
                  <c:v>18.08.1969</c:v>
                </c:pt>
                <c:pt idx="13945">
                  <c:v>15.08.1969</c:v>
                </c:pt>
                <c:pt idx="13946">
                  <c:v>14.08.1969</c:v>
                </c:pt>
                <c:pt idx="13947">
                  <c:v>13.08.1969</c:v>
                </c:pt>
                <c:pt idx="13948">
                  <c:v>12.08.1969</c:v>
                </c:pt>
                <c:pt idx="13949">
                  <c:v>11.08.1969</c:v>
                </c:pt>
                <c:pt idx="13950">
                  <c:v>08.08.1969</c:v>
                </c:pt>
                <c:pt idx="13951">
                  <c:v>07.08.1969</c:v>
                </c:pt>
                <c:pt idx="13952">
                  <c:v>06.08.1969</c:v>
                </c:pt>
                <c:pt idx="13953">
                  <c:v>05.08.1969</c:v>
                </c:pt>
                <c:pt idx="13954">
                  <c:v>04.08.1969</c:v>
                </c:pt>
                <c:pt idx="13955">
                  <c:v>01.08.1969</c:v>
                </c:pt>
                <c:pt idx="13956">
                  <c:v>31.07.1969</c:v>
                </c:pt>
                <c:pt idx="13957">
                  <c:v>30.07.1969</c:v>
                </c:pt>
                <c:pt idx="13958">
                  <c:v>29.07.1969</c:v>
                </c:pt>
                <c:pt idx="13959">
                  <c:v>28.07.1969</c:v>
                </c:pt>
                <c:pt idx="13960">
                  <c:v>25.07.1969</c:v>
                </c:pt>
                <c:pt idx="13961">
                  <c:v>24.07.1969</c:v>
                </c:pt>
                <c:pt idx="13962">
                  <c:v>23.07.1969</c:v>
                </c:pt>
                <c:pt idx="13963">
                  <c:v>22.07.1969</c:v>
                </c:pt>
                <c:pt idx="13964">
                  <c:v>18.07.1969</c:v>
                </c:pt>
                <c:pt idx="13965">
                  <c:v>17.07.1969</c:v>
                </c:pt>
                <c:pt idx="13966">
                  <c:v>16.07.1969</c:v>
                </c:pt>
                <c:pt idx="13967">
                  <c:v>15.07.1969</c:v>
                </c:pt>
                <c:pt idx="13968">
                  <c:v>14.07.1969</c:v>
                </c:pt>
                <c:pt idx="13969">
                  <c:v>11.07.1969</c:v>
                </c:pt>
                <c:pt idx="13970">
                  <c:v>10.07.1969</c:v>
                </c:pt>
                <c:pt idx="13971">
                  <c:v>09.07.1969</c:v>
                </c:pt>
                <c:pt idx="13972">
                  <c:v>08.07.1969</c:v>
                </c:pt>
                <c:pt idx="13973">
                  <c:v>07.07.1969</c:v>
                </c:pt>
                <c:pt idx="13974">
                  <c:v>03.07.1969</c:v>
                </c:pt>
                <c:pt idx="13975">
                  <c:v>02.07.1969</c:v>
                </c:pt>
                <c:pt idx="13976">
                  <c:v>01.07.1969</c:v>
                </c:pt>
                <c:pt idx="13977">
                  <c:v>30.06.1969</c:v>
                </c:pt>
                <c:pt idx="13978">
                  <c:v>27.06.1969</c:v>
                </c:pt>
                <c:pt idx="13979">
                  <c:v>26.06.1969</c:v>
                </c:pt>
                <c:pt idx="13980">
                  <c:v>25.06.1969</c:v>
                </c:pt>
                <c:pt idx="13981">
                  <c:v>24.06.1969</c:v>
                </c:pt>
                <c:pt idx="13982">
                  <c:v>23.06.1969</c:v>
                </c:pt>
                <c:pt idx="13983">
                  <c:v>20.06.1969</c:v>
                </c:pt>
                <c:pt idx="13984">
                  <c:v>19.06.1969</c:v>
                </c:pt>
                <c:pt idx="13985">
                  <c:v>18.06.1969</c:v>
                </c:pt>
                <c:pt idx="13986">
                  <c:v>17.06.1969</c:v>
                </c:pt>
                <c:pt idx="13987">
                  <c:v>16.06.1969</c:v>
                </c:pt>
                <c:pt idx="13988">
                  <c:v>13.06.1969</c:v>
                </c:pt>
                <c:pt idx="13989">
                  <c:v>12.06.1969</c:v>
                </c:pt>
                <c:pt idx="13990">
                  <c:v>11.06.1969</c:v>
                </c:pt>
                <c:pt idx="13991">
                  <c:v>10.06.1969</c:v>
                </c:pt>
                <c:pt idx="13992">
                  <c:v>09.06.1969</c:v>
                </c:pt>
                <c:pt idx="13993">
                  <c:v>06.06.1969</c:v>
                </c:pt>
                <c:pt idx="13994">
                  <c:v>05.06.1969</c:v>
                </c:pt>
                <c:pt idx="13995">
                  <c:v>04.06.1969</c:v>
                </c:pt>
                <c:pt idx="13996">
                  <c:v>03.06.1969</c:v>
                </c:pt>
                <c:pt idx="13997">
                  <c:v>02.06.1969</c:v>
                </c:pt>
                <c:pt idx="13998">
                  <c:v>29.05.1969</c:v>
                </c:pt>
                <c:pt idx="13999">
                  <c:v>28.05.1969</c:v>
                </c:pt>
                <c:pt idx="14000">
                  <c:v>27.05.1969</c:v>
                </c:pt>
                <c:pt idx="14001">
                  <c:v>26.05.1969</c:v>
                </c:pt>
                <c:pt idx="14002">
                  <c:v>23.05.1969</c:v>
                </c:pt>
                <c:pt idx="14003">
                  <c:v>22.05.1969</c:v>
                </c:pt>
                <c:pt idx="14004">
                  <c:v>21.05.1969</c:v>
                </c:pt>
                <c:pt idx="14005">
                  <c:v>20.05.1969</c:v>
                </c:pt>
                <c:pt idx="14006">
                  <c:v>19.05.1969</c:v>
                </c:pt>
                <c:pt idx="14007">
                  <c:v>16.05.1969</c:v>
                </c:pt>
                <c:pt idx="14008">
                  <c:v>15.05.1969</c:v>
                </c:pt>
                <c:pt idx="14009">
                  <c:v>14.05.1969</c:v>
                </c:pt>
                <c:pt idx="14010">
                  <c:v>13.05.1969</c:v>
                </c:pt>
                <c:pt idx="14011">
                  <c:v>12.05.1969</c:v>
                </c:pt>
                <c:pt idx="14012">
                  <c:v>09.05.1969</c:v>
                </c:pt>
                <c:pt idx="14013">
                  <c:v>08.05.1969</c:v>
                </c:pt>
                <c:pt idx="14014">
                  <c:v>07.05.1969</c:v>
                </c:pt>
                <c:pt idx="14015">
                  <c:v>06.05.1969</c:v>
                </c:pt>
                <c:pt idx="14016">
                  <c:v>05.05.1969</c:v>
                </c:pt>
                <c:pt idx="14017">
                  <c:v>02.05.1969</c:v>
                </c:pt>
                <c:pt idx="14018">
                  <c:v>01.05.1969</c:v>
                </c:pt>
                <c:pt idx="14019">
                  <c:v>30.04.1969</c:v>
                </c:pt>
                <c:pt idx="14020">
                  <c:v>29.04.1969</c:v>
                </c:pt>
                <c:pt idx="14021">
                  <c:v>28.04.1969</c:v>
                </c:pt>
                <c:pt idx="14022">
                  <c:v>25.04.1969</c:v>
                </c:pt>
                <c:pt idx="14023">
                  <c:v>24.04.1969</c:v>
                </c:pt>
                <c:pt idx="14024">
                  <c:v>23.04.1969</c:v>
                </c:pt>
                <c:pt idx="14025">
                  <c:v>22.04.1969</c:v>
                </c:pt>
                <c:pt idx="14026">
                  <c:v>21.04.1969</c:v>
                </c:pt>
                <c:pt idx="14027">
                  <c:v>18.04.1969</c:v>
                </c:pt>
                <c:pt idx="14028">
                  <c:v>17.04.1969</c:v>
                </c:pt>
                <c:pt idx="14029">
                  <c:v>16.04.1969</c:v>
                </c:pt>
                <c:pt idx="14030">
                  <c:v>15.04.1969</c:v>
                </c:pt>
                <c:pt idx="14031">
                  <c:v>14.04.1969</c:v>
                </c:pt>
                <c:pt idx="14032">
                  <c:v>11.04.1969</c:v>
                </c:pt>
                <c:pt idx="14033">
                  <c:v>10.04.1969</c:v>
                </c:pt>
                <c:pt idx="14034">
                  <c:v>09.04.1969</c:v>
                </c:pt>
                <c:pt idx="14035">
                  <c:v>08.04.1969</c:v>
                </c:pt>
                <c:pt idx="14036">
                  <c:v>07.04.1969</c:v>
                </c:pt>
                <c:pt idx="14037">
                  <c:v>03.04.1969</c:v>
                </c:pt>
                <c:pt idx="14038">
                  <c:v>02.04.1969</c:v>
                </c:pt>
                <c:pt idx="14039">
                  <c:v>01.04.1969</c:v>
                </c:pt>
                <c:pt idx="14040">
                  <c:v>28.03.1969</c:v>
                </c:pt>
                <c:pt idx="14041">
                  <c:v>27.03.1969</c:v>
                </c:pt>
                <c:pt idx="14042">
                  <c:v>26.03.1969</c:v>
                </c:pt>
                <c:pt idx="14043">
                  <c:v>25.03.1969</c:v>
                </c:pt>
                <c:pt idx="14044">
                  <c:v>24.03.1969</c:v>
                </c:pt>
                <c:pt idx="14045">
                  <c:v>21.03.1969</c:v>
                </c:pt>
                <c:pt idx="14046">
                  <c:v>20.03.1969</c:v>
                </c:pt>
                <c:pt idx="14047">
                  <c:v>19.03.1969</c:v>
                </c:pt>
                <c:pt idx="14048">
                  <c:v>18.03.1969</c:v>
                </c:pt>
                <c:pt idx="14049">
                  <c:v>17.03.1969</c:v>
                </c:pt>
                <c:pt idx="14050">
                  <c:v>14.03.1969</c:v>
                </c:pt>
                <c:pt idx="14051">
                  <c:v>13.03.1969</c:v>
                </c:pt>
                <c:pt idx="14052">
                  <c:v>12.03.1969</c:v>
                </c:pt>
                <c:pt idx="14053">
                  <c:v>11.03.1969</c:v>
                </c:pt>
                <c:pt idx="14054">
                  <c:v>10.03.1969</c:v>
                </c:pt>
                <c:pt idx="14055">
                  <c:v>07.03.1969</c:v>
                </c:pt>
                <c:pt idx="14056">
                  <c:v>06.03.1969</c:v>
                </c:pt>
                <c:pt idx="14057">
                  <c:v>05.03.1969</c:v>
                </c:pt>
                <c:pt idx="14058">
                  <c:v>04.03.1969</c:v>
                </c:pt>
                <c:pt idx="14059">
                  <c:v>03.03.1969</c:v>
                </c:pt>
                <c:pt idx="14060">
                  <c:v>28.02.1969</c:v>
                </c:pt>
                <c:pt idx="14061">
                  <c:v>27.02.1969</c:v>
                </c:pt>
                <c:pt idx="14062">
                  <c:v>26.02.1969</c:v>
                </c:pt>
                <c:pt idx="14063">
                  <c:v>25.02.1969</c:v>
                </c:pt>
                <c:pt idx="14064">
                  <c:v>24.02.1969</c:v>
                </c:pt>
                <c:pt idx="14065">
                  <c:v>20.02.1969</c:v>
                </c:pt>
                <c:pt idx="14066">
                  <c:v>19.02.1969</c:v>
                </c:pt>
                <c:pt idx="14067">
                  <c:v>18.02.1969</c:v>
                </c:pt>
                <c:pt idx="14068">
                  <c:v>17.02.1969</c:v>
                </c:pt>
                <c:pt idx="14069">
                  <c:v>14.02.1969</c:v>
                </c:pt>
                <c:pt idx="14070">
                  <c:v>13.02.1969</c:v>
                </c:pt>
                <c:pt idx="14071">
                  <c:v>12.02.1969</c:v>
                </c:pt>
                <c:pt idx="14072">
                  <c:v>11.02.1969</c:v>
                </c:pt>
                <c:pt idx="14073">
                  <c:v>07.02.1969</c:v>
                </c:pt>
                <c:pt idx="14074">
                  <c:v>06.02.1969</c:v>
                </c:pt>
                <c:pt idx="14075">
                  <c:v>05.02.1969</c:v>
                </c:pt>
                <c:pt idx="14076">
                  <c:v>04.02.1969</c:v>
                </c:pt>
                <c:pt idx="14077">
                  <c:v>03.02.1969</c:v>
                </c:pt>
                <c:pt idx="14078">
                  <c:v>31.01.1969</c:v>
                </c:pt>
                <c:pt idx="14079">
                  <c:v>30.01.1969</c:v>
                </c:pt>
                <c:pt idx="14080">
                  <c:v>29.01.1969</c:v>
                </c:pt>
                <c:pt idx="14081">
                  <c:v>28.01.1969</c:v>
                </c:pt>
                <c:pt idx="14082">
                  <c:v>27.01.1969</c:v>
                </c:pt>
                <c:pt idx="14083">
                  <c:v>24.01.1969</c:v>
                </c:pt>
                <c:pt idx="14084">
                  <c:v>23.01.1969</c:v>
                </c:pt>
                <c:pt idx="14085">
                  <c:v>22.01.1969</c:v>
                </c:pt>
                <c:pt idx="14086">
                  <c:v>21.01.1969</c:v>
                </c:pt>
                <c:pt idx="14087">
                  <c:v>20.01.1969</c:v>
                </c:pt>
                <c:pt idx="14088">
                  <c:v>17.01.1969</c:v>
                </c:pt>
                <c:pt idx="14089">
                  <c:v>16.01.1969</c:v>
                </c:pt>
                <c:pt idx="14090">
                  <c:v>15.01.1969</c:v>
                </c:pt>
                <c:pt idx="14091">
                  <c:v>14.01.1969</c:v>
                </c:pt>
                <c:pt idx="14092">
                  <c:v>13.01.1969</c:v>
                </c:pt>
                <c:pt idx="14093">
                  <c:v>10.01.1969</c:v>
                </c:pt>
                <c:pt idx="14094">
                  <c:v>09.01.1969</c:v>
                </c:pt>
                <c:pt idx="14095">
                  <c:v>08.01.1969</c:v>
                </c:pt>
                <c:pt idx="14096">
                  <c:v>07.01.1969</c:v>
                </c:pt>
                <c:pt idx="14097">
                  <c:v>06.01.1969</c:v>
                </c:pt>
                <c:pt idx="14098">
                  <c:v>03.01.1969</c:v>
                </c:pt>
                <c:pt idx="14099">
                  <c:v>02.01.1969</c:v>
                </c:pt>
                <c:pt idx="14100">
                  <c:v>31.12.1968</c:v>
                </c:pt>
                <c:pt idx="14101">
                  <c:v>30.12.1968</c:v>
                </c:pt>
                <c:pt idx="14102">
                  <c:v>27.12.1968</c:v>
                </c:pt>
                <c:pt idx="14103">
                  <c:v>26.12.1968</c:v>
                </c:pt>
                <c:pt idx="14104">
                  <c:v>24.12.1968</c:v>
                </c:pt>
                <c:pt idx="14105">
                  <c:v>23.12.1968</c:v>
                </c:pt>
                <c:pt idx="14106">
                  <c:v>20.12.1968</c:v>
                </c:pt>
                <c:pt idx="14107">
                  <c:v>19.12.1968</c:v>
                </c:pt>
                <c:pt idx="14108">
                  <c:v>17.12.1968</c:v>
                </c:pt>
                <c:pt idx="14109">
                  <c:v>16.12.1968</c:v>
                </c:pt>
                <c:pt idx="14110">
                  <c:v>13.12.1968</c:v>
                </c:pt>
                <c:pt idx="14111">
                  <c:v>12.12.1968</c:v>
                </c:pt>
                <c:pt idx="14112">
                  <c:v>10.12.1968</c:v>
                </c:pt>
                <c:pt idx="14113">
                  <c:v>09.12.1968</c:v>
                </c:pt>
                <c:pt idx="14114">
                  <c:v>06.12.1968</c:v>
                </c:pt>
                <c:pt idx="14115">
                  <c:v>05.12.1968</c:v>
                </c:pt>
                <c:pt idx="14116">
                  <c:v>03.12.1968</c:v>
                </c:pt>
                <c:pt idx="14117">
                  <c:v>02.12.1968</c:v>
                </c:pt>
                <c:pt idx="14118">
                  <c:v>29.11.1968</c:v>
                </c:pt>
                <c:pt idx="14119">
                  <c:v>27.11.1968</c:v>
                </c:pt>
                <c:pt idx="14120">
                  <c:v>26.11.1968</c:v>
                </c:pt>
                <c:pt idx="14121">
                  <c:v>25.11.1968</c:v>
                </c:pt>
                <c:pt idx="14122">
                  <c:v>22.11.1968</c:v>
                </c:pt>
                <c:pt idx="14123">
                  <c:v>21.11.1968</c:v>
                </c:pt>
                <c:pt idx="14124">
                  <c:v>19.11.1968</c:v>
                </c:pt>
                <c:pt idx="14125">
                  <c:v>18.11.1968</c:v>
                </c:pt>
                <c:pt idx="14126">
                  <c:v>15.11.1968</c:v>
                </c:pt>
                <c:pt idx="14127">
                  <c:v>14.11.1968</c:v>
                </c:pt>
                <c:pt idx="14128">
                  <c:v>13.11.1968</c:v>
                </c:pt>
                <c:pt idx="14129">
                  <c:v>12.11.1968</c:v>
                </c:pt>
                <c:pt idx="14130">
                  <c:v>08.11.1968</c:v>
                </c:pt>
                <c:pt idx="14131">
                  <c:v>07.11.1968</c:v>
                </c:pt>
                <c:pt idx="14132">
                  <c:v>06.11.1968</c:v>
                </c:pt>
                <c:pt idx="14133">
                  <c:v>04.11.1968</c:v>
                </c:pt>
                <c:pt idx="14134">
                  <c:v>01.11.1968</c:v>
                </c:pt>
                <c:pt idx="14135">
                  <c:v>31.10.1968</c:v>
                </c:pt>
                <c:pt idx="14136">
                  <c:v>29.10.1968</c:v>
                </c:pt>
                <c:pt idx="14137">
                  <c:v>28.10.1968</c:v>
                </c:pt>
                <c:pt idx="14138">
                  <c:v>25.10.1968</c:v>
                </c:pt>
                <c:pt idx="14139">
                  <c:v>24.10.1968</c:v>
                </c:pt>
                <c:pt idx="14140">
                  <c:v>22.10.1968</c:v>
                </c:pt>
                <c:pt idx="14141">
                  <c:v>21.10.1968</c:v>
                </c:pt>
                <c:pt idx="14142">
                  <c:v>18.10.1968</c:v>
                </c:pt>
                <c:pt idx="14143">
                  <c:v>17.10.1968</c:v>
                </c:pt>
                <c:pt idx="14144">
                  <c:v>15.10.1968</c:v>
                </c:pt>
                <c:pt idx="14145">
                  <c:v>14.10.1968</c:v>
                </c:pt>
                <c:pt idx="14146">
                  <c:v>11.10.1968</c:v>
                </c:pt>
                <c:pt idx="14147">
                  <c:v>10.10.1968</c:v>
                </c:pt>
                <c:pt idx="14148">
                  <c:v>08.10.1968</c:v>
                </c:pt>
                <c:pt idx="14149">
                  <c:v>07.10.1968</c:v>
                </c:pt>
                <c:pt idx="14150">
                  <c:v>04.10.1968</c:v>
                </c:pt>
                <c:pt idx="14151">
                  <c:v>03.10.1968</c:v>
                </c:pt>
                <c:pt idx="14152">
                  <c:v>01.10.1968</c:v>
                </c:pt>
                <c:pt idx="14153">
                  <c:v>30.09.1968</c:v>
                </c:pt>
                <c:pt idx="14154">
                  <c:v>27.09.1968</c:v>
                </c:pt>
                <c:pt idx="14155">
                  <c:v>26.09.1968</c:v>
                </c:pt>
                <c:pt idx="14156">
                  <c:v>24.09.1968</c:v>
                </c:pt>
                <c:pt idx="14157">
                  <c:v>23.09.1968</c:v>
                </c:pt>
                <c:pt idx="14158">
                  <c:v>20.09.1968</c:v>
                </c:pt>
                <c:pt idx="14159">
                  <c:v>19.09.1968</c:v>
                </c:pt>
                <c:pt idx="14160">
                  <c:v>17.09.1968</c:v>
                </c:pt>
                <c:pt idx="14161">
                  <c:v>16.09.1968</c:v>
                </c:pt>
                <c:pt idx="14162">
                  <c:v>13.09.1968</c:v>
                </c:pt>
                <c:pt idx="14163">
                  <c:v>12.09.1968</c:v>
                </c:pt>
                <c:pt idx="14164">
                  <c:v>10.09.1968</c:v>
                </c:pt>
                <c:pt idx="14165">
                  <c:v>09.09.1968</c:v>
                </c:pt>
                <c:pt idx="14166">
                  <c:v>06.09.1968</c:v>
                </c:pt>
                <c:pt idx="14167">
                  <c:v>05.09.1968</c:v>
                </c:pt>
                <c:pt idx="14168">
                  <c:v>04.09.1968</c:v>
                </c:pt>
                <c:pt idx="14169">
                  <c:v>03.09.1968</c:v>
                </c:pt>
                <c:pt idx="14170">
                  <c:v>30.08.1968</c:v>
                </c:pt>
                <c:pt idx="14171">
                  <c:v>29.08.1968</c:v>
                </c:pt>
                <c:pt idx="14172">
                  <c:v>27.08.1968</c:v>
                </c:pt>
                <c:pt idx="14173">
                  <c:v>26.08.1968</c:v>
                </c:pt>
                <c:pt idx="14174">
                  <c:v>23.08.1968</c:v>
                </c:pt>
                <c:pt idx="14175">
                  <c:v>22.08.1968</c:v>
                </c:pt>
                <c:pt idx="14176">
                  <c:v>20.08.1968</c:v>
                </c:pt>
                <c:pt idx="14177">
                  <c:v>19.08.1968</c:v>
                </c:pt>
                <c:pt idx="14178">
                  <c:v>16.08.1968</c:v>
                </c:pt>
                <c:pt idx="14179">
                  <c:v>15.08.1968</c:v>
                </c:pt>
                <c:pt idx="14180">
                  <c:v>13.08.1968</c:v>
                </c:pt>
                <c:pt idx="14181">
                  <c:v>12.08.1968</c:v>
                </c:pt>
                <c:pt idx="14182">
                  <c:v>09.08.1968</c:v>
                </c:pt>
                <c:pt idx="14183">
                  <c:v>08.08.1968</c:v>
                </c:pt>
                <c:pt idx="14184">
                  <c:v>06.08.1968</c:v>
                </c:pt>
                <c:pt idx="14185">
                  <c:v>05.08.1968</c:v>
                </c:pt>
                <c:pt idx="14186">
                  <c:v>02.08.1968</c:v>
                </c:pt>
                <c:pt idx="14187">
                  <c:v>01.08.1968</c:v>
                </c:pt>
                <c:pt idx="14188">
                  <c:v>30.07.1968</c:v>
                </c:pt>
                <c:pt idx="14189">
                  <c:v>29.07.1968</c:v>
                </c:pt>
                <c:pt idx="14190">
                  <c:v>26.07.1968</c:v>
                </c:pt>
                <c:pt idx="14191">
                  <c:v>25.07.1968</c:v>
                </c:pt>
                <c:pt idx="14192">
                  <c:v>23.07.1968</c:v>
                </c:pt>
                <c:pt idx="14193">
                  <c:v>22.07.1968</c:v>
                </c:pt>
                <c:pt idx="14194">
                  <c:v>19.07.1968</c:v>
                </c:pt>
                <c:pt idx="14195">
                  <c:v>18.07.1968</c:v>
                </c:pt>
                <c:pt idx="14196">
                  <c:v>16.07.1968</c:v>
                </c:pt>
                <c:pt idx="14197">
                  <c:v>15.07.1968</c:v>
                </c:pt>
                <c:pt idx="14198">
                  <c:v>12.07.1968</c:v>
                </c:pt>
                <c:pt idx="14199">
                  <c:v>11.07.1968</c:v>
                </c:pt>
                <c:pt idx="14200">
                  <c:v>09.07.1968</c:v>
                </c:pt>
                <c:pt idx="14201">
                  <c:v>08.07.1968</c:v>
                </c:pt>
                <c:pt idx="14202">
                  <c:v>03.07.1968</c:v>
                </c:pt>
                <c:pt idx="14203">
                  <c:v>02.07.1968</c:v>
                </c:pt>
                <c:pt idx="14204">
                  <c:v>01.07.1968</c:v>
                </c:pt>
                <c:pt idx="14205">
                  <c:v>28.06.1968</c:v>
                </c:pt>
                <c:pt idx="14206">
                  <c:v>27.06.1968</c:v>
                </c:pt>
                <c:pt idx="14207">
                  <c:v>25.06.1968</c:v>
                </c:pt>
                <c:pt idx="14208">
                  <c:v>24.06.1968</c:v>
                </c:pt>
                <c:pt idx="14209">
                  <c:v>21.06.1968</c:v>
                </c:pt>
                <c:pt idx="14210">
                  <c:v>20.06.1968</c:v>
                </c:pt>
                <c:pt idx="14211">
                  <c:v>18.06.1968</c:v>
                </c:pt>
                <c:pt idx="14212">
                  <c:v>17.06.1968</c:v>
                </c:pt>
                <c:pt idx="14213">
                  <c:v>14.06.1968</c:v>
                </c:pt>
                <c:pt idx="14214">
                  <c:v>13.06.1968</c:v>
                </c:pt>
                <c:pt idx="14215">
                  <c:v>11.06.1968</c:v>
                </c:pt>
                <c:pt idx="14216">
                  <c:v>10.06.1968</c:v>
                </c:pt>
                <c:pt idx="14217">
                  <c:v>07.06.1968</c:v>
                </c:pt>
                <c:pt idx="14218">
                  <c:v>06.06.1968</c:v>
                </c:pt>
                <c:pt idx="14219">
                  <c:v>05.06.1968</c:v>
                </c:pt>
                <c:pt idx="14220">
                  <c:v>04.06.1968</c:v>
                </c:pt>
                <c:pt idx="14221">
                  <c:v>03.06.1968</c:v>
                </c:pt>
                <c:pt idx="14222">
                  <c:v>31.05.1968</c:v>
                </c:pt>
                <c:pt idx="14223">
                  <c:v>29.05.1968</c:v>
                </c:pt>
                <c:pt idx="14224">
                  <c:v>28.05.1968</c:v>
                </c:pt>
                <c:pt idx="14225">
                  <c:v>27.05.1968</c:v>
                </c:pt>
                <c:pt idx="14226">
                  <c:v>24.05.1968</c:v>
                </c:pt>
                <c:pt idx="14227">
                  <c:v>23.05.1968</c:v>
                </c:pt>
                <c:pt idx="14228">
                  <c:v>22.05.1968</c:v>
                </c:pt>
                <c:pt idx="14229">
                  <c:v>21.05.1968</c:v>
                </c:pt>
                <c:pt idx="14230">
                  <c:v>20.05.1968</c:v>
                </c:pt>
                <c:pt idx="14231">
                  <c:v>17.05.1968</c:v>
                </c:pt>
                <c:pt idx="14232">
                  <c:v>16.05.1968</c:v>
                </c:pt>
                <c:pt idx="14233">
                  <c:v>15.05.1968</c:v>
                </c:pt>
                <c:pt idx="14234">
                  <c:v>14.05.1968</c:v>
                </c:pt>
                <c:pt idx="14235">
                  <c:v>13.05.1968</c:v>
                </c:pt>
                <c:pt idx="14236">
                  <c:v>10.05.1968</c:v>
                </c:pt>
                <c:pt idx="14237">
                  <c:v>09.05.1968</c:v>
                </c:pt>
                <c:pt idx="14238">
                  <c:v>08.05.1968</c:v>
                </c:pt>
                <c:pt idx="14239">
                  <c:v>07.05.1968</c:v>
                </c:pt>
                <c:pt idx="14240">
                  <c:v>06.05.1968</c:v>
                </c:pt>
                <c:pt idx="14241">
                  <c:v>03.05.1968</c:v>
                </c:pt>
                <c:pt idx="14242">
                  <c:v>02.05.1968</c:v>
                </c:pt>
                <c:pt idx="14243">
                  <c:v>01.05.1968</c:v>
                </c:pt>
                <c:pt idx="14244">
                  <c:v>30.04.1968</c:v>
                </c:pt>
                <c:pt idx="14245">
                  <c:v>29.04.1968</c:v>
                </c:pt>
                <c:pt idx="14246">
                  <c:v>26.04.1968</c:v>
                </c:pt>
                <c:pt idx="14247">
                  <c:v>25.04.1968</c:v>
                </c:pt>
                <c:pt idx="14248">
                  <c:v>24.04.1968</c:v>
                </c:pt>
                <c:pt idx="14249">
                  <c:v>23.04.1968</c:v>
                </c:pt>
                <c:pt idx="14250">
                  <c:v>22.04.1968</c:v>
                </c:pt>
                <c:pt idx="14251">
                  <c:v>19.04.1968</c:v>
                </c:pt>
                <c:pt idx="14252">
                  <c:v>18.04.1968</c:v>
                </c:pt>
                <c:pt idx="14253">
                  <c:v>17.04.1968</c:v>
                </c:pt>
                <c:pt idx="14254">
                  <c:v>16.04.1968</c:v>
                </c:pt>
                <c:pt idx="14255">
                  <c:v>15.04.1968</c:v>
                </c:pt>
                <c:pt idx="14256">
                  <c:v>11.04.1968</c:v>
                </c:pt>
                <c:pt idx="14257">
                  <c:v>10.04.1968</c:v>
                </c:pt>
                <c:pt idx="14258">
                  <c:v>08.04.1968</c:v>
                </c:pt>
                <c:pt idx="14259">
                  <c:v>05.04.1968</c:v>
                </c:pt>
                <c:pt idx="14260">
                  <c:v>04.04.1968</c:v>
                </c:pt>
                <c:pt idx="14261">
                  <c:v>03.04.1968</c:v>
                </c:pt>
                <c:pt idx="14262">
                  <c:v>02.04.1968</c:v>
                </c:pt>
                <c:pt idx="14263">
                  <c:v>01.04.1968</c:v>
                </c:pt>
                <c:pt idx="14264">
                  <c:v>29.03.1968</c:v>
                </c:pt>
                <c:pt idx="14265">
                  <c:v>28.03.1968</c:v>
                </c:pt>
                <c:pt idx="14266">
                  <c:v>27.03.1968</c:v>
                </c:pt>
                <c:pt idx="14267">
                  <c:v>26.03.1968</c:v>
                </c:pt>
                <c:pt idx="14268">
                  <c:v>25.03.1968</c:v>
                </c:pt>
                <c:pt idx="14269">
                  <c:v>22.03.1968</c:v>
                </c:pt>
                <c:pt idx="14270">
                  <c:v>21.03.1968</c:v>
                </c:pt>
                <c:pt idx="14271">
                  <c:v>20.03.1968</c:v>
                </c:pt>
                <c:pt idx="14272">
                  <c:v>19.03.1968</c:v>
                </c:pt>
                <c:pt idx="14273">
                  <c:v>18.03.1968</c:v>
                </c:pt>
                <c:pt idx="14274">
                  <c:v>15.03.1968</c:v>
                </c:pt>
                <c:pt idx="14275">
                  <c:v>14.03.1968</c:v>
                </c:pt>
                <c:pt idx="14276">
                  <c:v>13.03.1968</c:v>
                </c:pt>
                <c:pt idx="14277">
                  <c:v>12.03.1968</c:v>
                </c:pt>
                <c:pt idx="14278">
                  <c:v>11.03.1968</c:v>
                </c:pt>
                <c:pt idx="14279">
                  <c:v>08.03.1968</c:v>
                </c:pt>
                <c:pt idx="14280">
                  <c:v>07.03.1968</c:v>
                </c:pt>
                <c:pt idx="14281">
                  <c:v>06.03.1968</c:v>
                </c:pt>
                <c:pt idx="14282">
                  <c:v>05.03.1968</c:v>
                </c:pt>
                <c:pt idx="14283">
                  <c:v>04.03.1968</c:v>
                </c:pt>
                <c:pt idx="14284">
                  <c:v>01.03.1968</c:v>
                </c:pt>
                <c:pt idx="14285">
                  <c:v>29.02.1968</c:v>
                </c:pt>
                <c:pt idx="14286">
                  <c:v>28.02.1968</c:v>
                </c:pt>
                <c:pt idx="14287">
                  <c:v>27.02.1968</c:v>
                </c:pt>
                <c:pt idx="14288">
                  <c:v>26.02.1968</c:v>
                </c:pt>
                <c:pt idx="14289">
                  <c:v>23.02.1968</c:v>
                </c:pt>
                <c:pt idx="14290">
                  <c:v>21.02.1968</c:v>
                </c:pt>
                <c:pt idx="14291">
                  <c:v>20.02.1968</c:v>
                </c:pt>
                <c:pt idx="14292">
                  <c:v>19.02.1968</c:v>
                </c:pt>
                <c:pt idx="14293">
                  <c:v>16.02.1968</c:v>
                </c:pt>
                <c:pt idx="14294">
                  <c:v>15.02.1968</c:v>
                </c:pt>
                <c:pt idx="14295">
                  <c:v>14.02.1968</c:v>
                </c:pt>
                <c:pt idx="14296">
                  <c:v>13.02.1968</c:v>
                </c:pt>
                <c:pt idx="14297">
                  <c:v>09.02.1968</c:v>
                </c:pt>
                <c:pt idx="14298">
                  <c:v>08.02.1968</c:v>
                </c:pt>
                <c:pt idx="14299">
                  <c:v>07.02.1968</c:v>
                </c:pt>
                <c:pt idx="14300">
                  <c:v>06.02.1968</c:v>
                </c:pt>
                <c:pt idx="14301">
                  <c:v>05.02.1968</c:v>
                </c:pt>
                <c:pt idx="14302">
                  <c:v>02.02.1968</c:v>
                </c:pt>
                <c:pt idx="14303">
                  <c:v>01.02.1968</c:v>
                </c:pt>
                <c:pt idx="14304">
                  <c:v>31.01.1968</c:v>
                </c:pt>
                <c:pt idx="14305">
                  <c:v>30.01.1968</c:v>
                </c:pt>
                <c:pt idx="14306">
                  <c:v>29.01.1968</c:v>
                </c:pt>
                <c:pt idx="14307">
                  <c:v>26.01.1968</c:v>
                </c:pt>
                <c:pt idx="14308">
                  <c:v>25.01.1968</c:v>
                </c:pt>
                <c:pt idx="14309">
                  <c:v>24.01.1968</c:v>
                </c:pt>
                <c:pt idx="14310">
                  <c:v>23.01.1968</c:v>
                </c:pt>
                <c:pt idx="14311">
                  <c:v>22.01.1968</c:v>
                </c:pt>
                <c:pt idx="14312">
                  <c:v>19.01.1968</c:v>
                </c:pt>
                <c:pt idx="14313">
                  <c:v>18.01.1968</c:v>
                </c:pt>
                <c:pt idx="14314">
                  <c:v>17.01.1968</c:v>
                </c:pt>
                <c:pt idx="14315">
                  <c:v>16.01.1968</c:v>
                </c:pt>
                <c:pt idx="14316">
                  <c:v>15.01.1968</c:v>
                </c:pt>
                <c:pt idx="14317">
                  <c:v>12.01.1968</c:v>
                </c:pt>
                <c:pt idx="14318">
                  <c:v>11.01.1968</c:v>
                </c:pt>
                <c:pt idx="14319">
                  <c:v>10.01.1968</c:v>
                </c:pt>
                <c:pt idx="14320">
                  <c:v>09.01.1968</c:v>
                </c:pt>
                <c:pt idx="14321">
                  <c:v>08.01.1968</c:v>
                </c:pt>
                <c:pt idx="14322">
                  <c:v>05.01.1968</c:v>
                </c:pt>
                <c:pt idx="14323">
                  <c:v>04.01.1968</c:v>
                </c:pt>
                <c:pt idx="14324">
                  <c:v>03.01.1968</c:v>
                </c:pt>
                <c:pt idx="14325">
                  <c:v>02.01.1968</c:v>
                </c:pt>
                <c:pt idx="14326">
                  <c:v>29.12.1967</c:v>
                </c:pt>
                <c:pt idx="14327">
                  <c:v>28.12.1967</c:v>
                </c:pt>
                <c:pt idx="14328">
                  <c:v>27.12.1967</c:v>
                </c:pt>
                <c:pt idx="14329">
                  <c:v>26.12.1967</c:v>
                </c:pt>
                <c:pt idx="14330">
                  <c:v>22.12.1967</c:v>
                </c:pt>
                <c:pt idx="14331">
                  <c:v>21.12.1967</c:v>
                </c:pt>
                <c:pt idx="14332">
                  <c:v>20.12.1967</c:v>
                </c:pt>
                <c:pt idx="14333">
                  <c:v>19.12.1967</c:v>
                </c:pt>
                <c:pt idx="14334">
                  <c:v>18.12.1967</c:v>
                </c:pt>
                <c:pt idx="14335">
                  <c:v>15.12.1967</c:v>
                </c:pt>
                <c:pt idx="14336">
                  <c:v>14.12.1967</c:v>
                </c:pt>
                <c:pt idx="14337">
                  <c:v>13.12.1967</c:v>
                </c:pt>
                <c:pt idx="14338">
                  <c:v>12.12.1967</c:v>
                </c:pt>
                <c:pt idx="14339">
                  <c:v>11.12.1967</c:v>
                </c:pt>
                <c:pt idx="14340">
                  <c:v>08.12.1967</c:v>
                </c:pt>
                <c:pt idx="14341">
                  <c:v>07.12.1967</c:v>
                </c:pt>
                <c:pt idx="14342">
                  <c:v>06.12.1967</c:v>
                </c:pt>
                <c:pt idx="14343">
                  <c:v>05.12.1967</c:v>
                </c:pt>
                <c:pt idx="14344">
                  <c:v>04.12.1967</c:v>
                </c:pt>
                <c:pt idx="14345">
                  <c:v>01.12.1967</c:v>
                </c:pt>
                <c:pt idx="14346">
                  <c:v>30.11.1967</c:v>
                </c:pt>
                <c:pt idx="14347">
                  <c:v>29.11.1967</c:v>
                </c:pt>
                <c:pt idx="14348">
                  <c:v>28.11.1967</c:v>
                </c:pt>
                <c:pt idx="14349">
                  <c:v>27.11.1967</c:v>
                </c:pt>
                <c:pt idx="14350">
                  <c:v>24.11.1967</c:v>
                </c:pt>
                <c:pt idx="14351">
                  <c:v>22.11.1967</c:v>
                </c:pt>
                <c:pt idx="14352">
                  <c:v>21.11.1967</c:v>
                </c:pt>
                <c:pt idx="14353">
                  <c:v>20.11.1967</c:v>
                </c:pt>
                <c:pt idx="14354">
                  <c:v>17.11.1967</c:v>
                </c:pt>
                <c:pt idx="14355">
                  <c:v>16.11.1967</c:v>
                </c:pt>
                <c:pt idx="14356">
                  <c:v>15.11.1967</c:v>
                </c:pt>
                <c:pt idx="14357">
                  <c:v>14.11.1967</c:v>
                </c:pt>
                <c:pt idx="14358">
                  <c:v>13.11.1967</c:v>
                </c:pt>
                <c:pt idx="14359">
                  <c:v>10.11.1967</c:v>
                </c:pt>
                <c:pt idx="14360">
                  <c:v>09.11.1967</c:v>
                </c:pt>
                <c:pt idx="14361">
                  <c:v>08.11.1967</c:v>
                </c:pt>
                <c:pt idx="14362">
                  <c:v>06.11.1967</c:v>
                </c:pt>
                <c:pt idx="14363">
                  <c:v>03.11.1967</c:v>
                </c:pt>
                <c:pt idx="14364">
                  <c:v>02.11.1967</c:v>
                </c:pt>
                <c:pt idx="14365">
                  <c:v>01.11.1967</c:v>
                </c:pt>
                <c:pt idx="14366">
                  <c:v>31.10.1967</c:v>
                </c:pt>
                <c:pt idx="14367">
                  <c:v>30.10.1967</c:v>
                </c:pt>
                <c:pt idx="14368">
                  <c:v>27.10.1967</c:v>
                </c:pt>
                <c:pt idx="14369">
                  <c:v>26.10.1967</c:v>
                </c:pt>
                <c:pt idx="14370">
                  <c:v>25.10.1967</c:v>
                </c:pt>
                <c:pt idx="14371">
                  <c:v>24.10.1967</c:v>
                </c:pt>
                <c:pt idx="14372">
                  <c:v>23.10.1967</c:v>
                </c:pt>
                <c:pt idx="14373">
                  <c:v>20.10.1967</c:v>
                </c:pt>
                <c:pt idx="14374">
                  <c:v>19.10.1967</c:v>
                </c:pt>
                <c:pt idx="14375">
                  <c:v>18.10.1967</c:v>
                </c:pt>
                <c:pt idx="14376">
                  <c:v>17.10.1967</c:v>
                </c:pt>
                <c:pt idx="14377">
                  <c:v>16.10.1967</c:v>
                </c:pt>
                <c:pt idx="14378">
                  <c:v>13.10.1967</c:v>
                </c:pt>
                <c:pt idx="14379">
                  <c:v>12.10.1967</c:v>
                </c:pt>
                <c:pt idx="14380">
                  <c:v>11.10.1967</c:v>
                </c:pt>
                <c:pt idx="14381">
                  <c:v>10.10.1967</c:v>
                </c:pt>
                <c:pt idx="14382">
                  <c:v>09.10.1967</c:v>
                </c:pt>
                <c:pt idx="14383">
                  <c:v>06.10.1967</c:v>
                </c:pt>
                <c:pt idx="14384">
                  <c:v>05.10.1967</c:v>
                </c:pt>
                <c:pt idx="14385">
                  <c:v>04.10.1967</c:v>
                </c:pt>
                <c:pt idx="14386">
                  <c:v>03.10.1967</c:v>
                </c:pt>
                <c:pt idx="14387">
                  <c:v>02.10.1967</c:v>
                </c:pt>
                <c:pt idx="14388">
                  <c:v>29.09.1967</c:v>
                </c:pt>
                <c:pt idx="14389">
                  <c:v>28.09.1967</c:v>
                </c:pt>
                <c:pt idx="14390">
                  <c:v>27.09.1967</c:v>
                </c:pt>
                <c:pt idx="14391">
                  <c:v>26.09.1967</c:v>
                </c:pt>
                <c:pt idx="14392">
                  <c:v>25.09.1967</c:v>
                </c:pt>
                <c:pt idx="14393">
                  <c:v>22.09.1967</c:v>
                </c:pt>
                <c:pt idx="14394">
                  <c:v>21.09.1967</c:v>
                </c:pt>
                <c:pt idx="14395">
                  <c:v>20.09.1967</c:v>
                </c:pt>
                <c:pt idx="14396">
                  <c:v>19.09.1967</c:v>
                </c:pt>
                <c:pt idx="14397">
                  <c:v>18.09.1967</c:v>
                </c:pt>
                <c:pt idx="14398">
                  <c:v>15.09.1967</c:v>
                </c:pt>
                <c:pt idx="14399">
                  <c:v>14.09.1967</c:v>
                </c:pt>
                <c:pt idx="14400">
                  <c:v>13.09.1967</c:v>
                </c:pt>
                <c:pt idx="14401">
                  <c:v>12.09.1967</c:v>
                </c:pt>
                <c:pt idx="14402">
                  <c:v>11.09.1967</c:v>
                </c:pt>
                <c:pt idx="14403">
                  <c:v>08.09.1967</c:v>
                </c:pt>
                <c:pt idx="14404">
                  <c:v>07.09.1967</c:v>
                </c:pt>
                <c:pt idx="14405">
                  <c:v>06.09.1967</c:v>
                </c:pt>
                <c:pt idx="14406">
                  <c:v>05.09.1967</c:v>
                </c:pt>
                <c:pt idx="14407">
                  <c:v>01.09.1967</c:v>
                </c:pt>
                <c:pt idx="14408">
                  <c:v>31.08.1967</c:v>
                </c:pt>
                <c:pt idx="14409">
                  <c:v>30.08.1967</c:v>
                </c:pt>
                <c:pt idx="14410">
                  <c:v>29.08.1967</c:v>
                </c:pt>
                <c:pt idx="14411">
                  <c:v>28.08.1967</c:v>
                </c:pt>
                <c:pt idx="14412">
                  <c:v>25.08.1967</c:v>
                </c:pt>
                <c:pt idx="14413">
                  <c:v>24.08.1967</c:v>
                </c:pt>
                <c:pt idx="14414">
                  <c:v>23.08.1967</c:v>
                </c:pt>
                <c:pt idx="14415">
                  <c:v>22.08.1967</c:v>
                </c:pt>
                <c:pt idx="14416">
                  <c:v>21.08.1967</c:v>
                </c:pt>
                <c:pt idx="14417">
                  <c:v>18.08.1967</c:v>
                </c:pt>
                <c:pt idx="14418">
                  <c:v>17.08.1967</c:v>
                </c:pt>
                <c:pt idx="14419">
                  <c:v>16.08.1967</c:v>
                </c:pt>
                <c:pt idx="14420">
                  <c:v>15.08.1967</c:v>
                </c:pt>
                <c:pt idx="14421">
                  <c:v>14.08.1967</c:v>
                </c:pt>
                <c:pt idx="14422">
                  <c:v>11.08.1967</c:v>
                </c:pt>
                <c:pt idx="14423">
                  <c:v>10.08.1967</c:v>
                </c:pt>
                <c:pt idx="14424">
                  <c:v>09.08.1967</c:v>
                </c:pt>
                <c:pt idx="14425">
                  <c:v>08.08.1967</c:v>
                </c:pt>
                <c:pt idx="14426">
                  <c:v>07.08.1967</c:v>
                </c:pt>
                <c:pt idx="14427">
                  <c:v>04.08.1967</c:v>
                </c:pt>
                <c:pt idx="14428">
                  <c:v>03.08.1967</c:v>
                </c:pt>
                <c:pt idx="14429">
                  <c:v>02.08.1967</c:v>
                </c:pt>
                <c:pt idx="14430">
                  <c:v>01.08.1967</c:v>
                </c:pt>
                <c:pt idx="14431">
                  <c:v>31.07.1967</c:v>
                </c:pt>
                <c:pt idx="14432">
                  <c:v>28.07.1967</c:v>
                </c:pt>
                <c:pt idx="14433">
                  <c:v>27.07.1967</c:v>
                </c:pt>
                <c:pt idx="14434">
                  <c:v>26.07.1967</c:v>
                </c:pt>
                <c:pt idx="14435">
                  <c:v>25.07.1967</c:v>
                </c:pt>
                <c:pt idx="14436">
                  <c:v>24.07.1967</c:v>
                </c:pt>
                <c:pt idx="14437">
                  <c:v>21.07.1967</c:v>
                </c:pt>
                <c:pt idx="14438">
                  <c:v>20.07.1967</c:v>
                </c:pt>
                <c:pt idx="14439">
                  <c:v>19.07.1967</c:v>
                </c:pt>
                <c:pt idx="14440">
                  <c:v>18.07.1967</c:v>
                </c:pt>
                <c:pt idx="14441">
                  <c:v>17.07.1967</c:v>
                </c:pt>
                <c:pt idx="14442">
                  <c:v>14.07.1967</c:v>
                </c:pt>
                <c:pt idx="14443">
                  <c:v>13.07.1967</c:v>
                </c:pt>
                <c:pt idx="14444">
                  <c:v>12.07.1967</c:v>
                </c:pt>
                <c:pt idx="14445">
                  <c:v>11.07.1967</c:v>
                </c:pt>
                <c:pt idx="14446">
                  <c:v>10.07.1967</c:v>
                </c:pt>
                <c:pt idx="14447">
                  <c:v>07.07.1967</c:v>
                </c:pt>
                <c:pt idx="14448">
                  <c:v>06.07.1967</c:v>
                </c:pt>
                <c:pt idx="14449">
                  <c:v>05.07.1967</c:v>
                </c:pt>
                <c:pt idx="14450">
                  <c:v>03.07.1967</c:v>
                </c:pt>
                <c:pt idx="14451">
                  <c:v>30.06.1967</c:v>
                </c:pt>
                <c:pt idx="14452">
                  <c:v>29.06.1967</c:v>
                </c:pt>
                <c:pt idx="14453">
                  <c:v>28.06.1967</c:v>
                </c:pt>
                <c:pt idx="14454">
                  <c:v>27.06.1967</c:v>
                </c:pt>
                <c:pt idx="14455">
                  <c:v>26.06.1967</c:v>
                </c:pt>
                <c:pt idx="14456">
                  <c:v>23.06.1967</c:v>
                </c:pt>
                <c:pt idx="14457">
                  <c:v>22.06.1967</c:v>
                </c:pt>
                <c:pt idx="14458">
                  <c:v>21.06.1967</c:v>
                </c:pt>
                <c:pt idx="14459">
                  <c:v>20.06.1967</c:v>
                </c:pt>
                <c:pt idx="14460">
                  <c:v>19.06.1967</c:v>
                </c:pt>
                <c:pt idx="14461">
                  <c:v>16.06.1967</c:v>
                </c:pt>
                <c:pt idx="14462">
                  <c:v>15.06.1967</c:v>
                </c:pt>
                <c:pt idx="14463">
                  <c:v>14.06.1967</c:v>
                </c:pt>
                <c:pt idx="14464">
                  <c:v>13.06.1967</c:v>
                </c:pt>
                <c:pt idx="14465">
                  <c:v>12.06.1967</c:v>
                </c:pt>
                <c:pt idx="14466">
                  <c:v>09.06.1967</c:v>
                </c:pt>
                <c:pt idx="14467">
                  <c:v>08.06.1967</c:v>
                </c:pt>
                <c:pt idx="14468">
                  <c:v>07.06.1967</c:v>
                </c:pt>
                <c:pt idx="14469">
                  <c:v>06.06.1967</c:v>
                </c:pt>
                <c:pt idx="14470">
                  <c:v>05.06.1967</c:v>
                </c:pt>
                <c:pt idx="14471">
                  <c:v>02.06.1967</c:v>
                </c:pt>
                <c:pt idx="14472">
                  <c:v>01.06.1967</c:v>
                </c:pt>
                <c:pt idx="14473">
                  <c:v>31.05.1967</c:v>
                </c:pt>
                <c:pt idx="14474">
                  <c:v>29.05.1967</c:v>
                </c:pt>
                <c:pt idx="14475">
                  <c:v>26.05.1967</c:v>
                </c:pt>
                <c:pt idx="14476">
                  <c:v>25.05.1967</c:v>
                </c:pt>
                <c:pt idx="14477">
                  <c:v>24.05.1967</c:v>
                </c:pt>
                <c:pt idx="14478">
                  <c:v>23.05.1967</c:v>
                </c:pt>
                <c:pt idx="14479">
                  <c:v>22.05.1967</c:v>
                </c:pt>
                <c:pt idx="14480">
                  <c:v>19.05.1967</c:v>
                </c:pt>
                <c:pt idx="14481">
                  <c:v>18.05.1967</c:v>
                </c:pt>
                <c:pt idx="14482">
                  <c:v>17.05.1967</c:v>
                </c:pt>
                <c:pt idx="14483">
                  <c:v>16.05.1967</c:v>
                </c:pt>
                <c:pt idx="14484">
                  <c:v>15.05.1967</c:v>
                </c:pt>
                <c:pt idx="14485">
                  <c:v>12.05.1967</c:v>
                </c:pt>
                <c:pt idx="14486">
                  <c:v>11.05.1967</c:v>
                </c:pt>
                <c:pt idx="14487">
                  <c:v>10.05.1967</c:v>
                </c:pt>
                <c:pt idx="14488">
                  <c:v>09.05.1967</c:v>
                </c:pt>
                <c:pt idx="14489">
                  <c:v>08.05.1967</c:v>
                </c:pt>
                <c:pt idx="14490">
                  <c:v>05.05.1967</c:v>
                </c:pt>
                <c:pt idx="14491">
                  <c:v>04.05.1967</c:v>
                </c:pt>
                <c:pt idx="14492">
                  <c:v>03.05.1967</c:v>
                </c:pt>
                <c:pt idx="14493">
                  <c:v>02.05.1967</c:v>
                </c:pt>
                <c:pt idx="14494">
                  <c:v>01.05.1967</c:v>
                </c:pt>
                <c:pt idx="14495">
                  <c:v>28.04.1967</c:v>
                </c:pt>
                <c:pt idx="14496">
                  <c:v>27.04.1967</c:v>
                </c:pt>
                <c:pt idx="14497">
                  <c:v>26.04.1967</c:v>
                </c:pt>
                <c:pt idx="14498">
                  <c:v>25.04.1967</c:v>
                </c:pt>
                <c:pt idx="14499">
                  <c:v>24.04.1967</c:v>
                </c:pt>
                <c:pt idx="14500">
                  <c:v>21.04.1967</c:v>
                </c:pt>
                <c:pt idx="14501">
                  <c:v>20.04.1967</c:v>
                </c:pt>
                <c:pt idx="14502">
                  <c:v>19.04.1967</c:v>
                </c:pt>
                <c:pt idx="14503">
                  <c:v>18.04.1967</c:v>
                </c:pt>
                <c:pt idx="14504">
                  <c:v>17.04.1967</c:v>
                </c:pt>
                <c:pt idx="14505">
                  <c:v>14.04.1967</c:v>
                </c:pt>
                <c:pt idx="14506">
                  <c:v>13.04.1967</c:v>
                </c:pt>
                <c:pt idx="14507">
                  <c:v>12.04.1967</c:v>
                </c:pt>
                <c:pt idx="14508">
                  <c:v>11.04.1967</c:v>
                </c:pt>
                <c:pt idx="14509">
                  <c:v>10.04.1967</c:v>
                </c:pt>
                <c:pt idx="14510">
                  <c:v>07.04.1967</c:v>
                </c:pt>
                <c:pt idx="14511">
                  <c:v>06.04.1967</c:v>
                </c:pt>
                <c:pt idx="14512">
                  <c:v>05.04.1967</c:v>
                </c:pt>
                <c:pt idx="14513">
                  <c:v>04.04.1967</c:v>
                </c:pt>
                <c:pt idx="14514">
                  <c:v>03.04.1967</c:v>
                </c:pt>
                <c:pt idx="14515">
                  <c:v>31.03.1967</c:v>
                </c:pt>
                <c:pt idx="14516">
                  <c:v>30.03.1967</c:v>
                </c:pt>
                <c:pt idx="14517">
                  <c:v>29.03.1967</c:v>
                </c:pt>
                <c:pt idx="14518">
                  <c:v>28.03.1967</c:v>
                </c:pt>
                <c:pt idx="14519">
                  <c:v>27.03.1967</c:v>
                </c:pt>
                <c:pt idx="14520">
                  <c:v>23.03.1967</c:v>
                </c:pt>
                <c:pt idx="14521">
                  <c:v>22.03.1967</c:v>
                </c:pt>
                <c:pt idx="14522">
                  <c:v>21.03.1967</c:v>
                </c:pt>
                <c:pt idx="14523">
                  <c:v>20.03.1967</c:v>
                </c:pt>
                <c:pt idx="14524">
                  <c:v>17.03.1967</c:v>
                </c:pt>
                <c:pt idx="14525">
                  <c:v>16.03.1967</c:v>
                </c:pt>
                <c:pt idx="14526">
                  <c:v>15.03.1967</c:v>
                </c:pt>
                <c:pt idx="14527">
                  <c:v>14.03.1967</c:v>
                </c:pt>
                <c:pt idx="14528">
                  <c:v>13.03.1967</c:v>
                </c:pt>
                <c:pt idx="14529">
                  <c:v>10.03.1967</c:v>
                </c:pt>
                <c:pt idx="14530">
                  <c:v>09.03.1967</c:v>
                </c:pt>
                <c:pt idx="14531">
                  <c:v>08.03.1967</c:v>
                </c:pt>
                <c:pt idx="14532">
                  <c:v>07.03.1967</c:v>
                </c:pt>
                <c:pt idx="14533">
                  <c:v>06.03.1967</c:v>
                </c:pt>
                <c:pt idx="14534">
                  <c:v>03.03.1967</c:v>
                </c:pt>
                <c:pt idx="14535">
                  <c:v>02.03.1967</c:v>
                </c:pt>
                <c:pt idx="14536">
                  <c:v>01.03.1967</c:v>
                </c:pt>
                <c:pt idx="14537">
                  <c:v>28.02.1967</c:v>
                </c:pt>
                <c:pt idx="14538">
                  <c:v>27.02.1967</c:v>
                </c:pt>
                <c:pt idx="14539">
                  <c:v>24.02.1967</c:v>
                </c:pt>
                <c:pt idx="14540">
                  <c:v>23.02.1967</c:v>
                </c:pt>
                <c:pt idx="14541">
                  <c:v>21.02.1967</c:v>
                </c:pt>
                <c:pt idx="14542">
                  <c:v>20.02.1967</c:v>
                </c:pt>
                <c:pt idx="14543">
                  <c:v>17.02.1967</c:v>
                </c:pt>
                <c:pt idx="14544">
                  <c:v>16.02.1967</c:v>
                </c:pt>
                <c:pt idx="14545">
                  <c:v>15.02.1967</c:v>
                </c:pt>
                <c:pt idx="14546">
                  <c:v>14.02.1967</c:v>
                </c:pt>
                <c:pt idx="14547">
                  <c:v>13.02.1967</c:v>
                </c:pt>
                <c:pt idx="14548">
                  <c:v>10.02.1967</c:v>
                </c:pt>
                <c:pt idx="14549">
                  <c:v>09.02.1967</c:v>
                </c:pt>
                <c:pt idx="14550">
                  <c:v>08.02.1967</c:v>
                </c:pt>
                <c:pt idx="14551">
                  <c:v>07.02.1967</c:v>
                </c:pt>
                <c:pt idx="14552">
                  <c:v>06.02.1967</c:v>
                </c:pt>
                <c:pt idx="14553">
                  <c:v>03.02.1967</c:v>
                </c:pt>
                <c:pt idx="14554">
                  <c:v>02.02.1967</c:v>
                </c:pt>
                <c:pt idx="14555">
                  <c:v>01.02.1967</c:v>
                </c:pt>
                <c:pt idx="14556">
                  <c:v>31.01.1967</c:v>
                </c:pt>
                <c:pt idx="14557">
                  <c:v>30.01.1967</c:v>
                </c:pt>
                <c:pt idx="14558">
                  <c:v>27.01.1967</c:v>
                </c:pt>
                <c:pt idx="14559">
                  <c:v>26.01.1967</c:v>
                </c:pt>
                <c:pt idx="14560">
                  <c:v>25.01.1967</c:v>
                </c:pt>
                <c:pt idx="14561">
                  <c:v>24.01.1967</c:v>
                </c:pt>
                <c:pt idx="14562">
                  <c:v>23.01.1967</c:v>
                </c:pt>
                <c:pt idx="14563">
                  <c:v>20.01.1967</c:v>
                </c:pt>
                <c:pt idx="14564">
                  <c:v>19.01.1967</c:v>
                </c:pt>
                <c:pt idx="14565">
                  <c:v>18.01.1967</c:v>
                </c:pt>
                <c:pt idx="14566">
                  <c:v>17.01.1967</c:v>
                </c:pt>
                <c:pt idx="14567">
                  <c:v>16.01.1967</c:v>
                </c:pt>
                <c:pt idx="14568">
                  <c:v>13.01.1967</c:v>
                </c:pt>
                <c:pt idx="14569">
                  <c:v>12.01.1967</c:v>
                </c:pt>
                <c:pt idx="14570">
                  <c:v>11.01.1967</c:v>
                </c:pt>
                <c:pt idx="14571">
                  <c:v>10.01.1967</c:v>
                </c:pt>
                <c:pt idx="14572">
                  <c:v>09.01.1967</c:v>
                </c:pt>
                <c:pt idx="14573">
                  <c:v>06.01.1967</c:v>
                </c:pt>
                <c:pt idx="14574">
                  <c:v>05.01.1967</c:v>
                </c:pt>
                <c:pt idx="14575">
                  <c:v>04.01.1967</c:v>
                </c:pt>
                <c:pt idx="14576">
                  <c:v>03.01.1967</c:v>
                </c:pt>
                <c:pt idx="14577">
                  <c:v>30.12.1966</c:v>
                </c:pt>
                <c:pt idx="14578">
                  <c:v>29.12.1966</c:v>
                </c:pt>
                <c:pt idx="14579">
                  <c:v>28.12.1966</c:v>
                </c:pt>
                <c:pt idx="14580">
                  <c:v>27.12.1966</c:v>
                </c:pt>
                <c:pt idx="14581">
                  <c:v>23.12.1966</c:v>
                </c:pt>
                <c:pt idx="14582">
                  <c:v>22.12.1966</c:v>
                </c:pt>
                <c:pt idx="14583">
                  <c:v>21.12.1966</c:v>
                </c:pt>
                <c:pt idx="14584">
                  <c:v>20.12.1966</c:v>
                </c:pt>
                <c:pt idx="14585">
                  <c:v>19.12.1966</c:v>
                </c:pt>
                <c:pt idx="14586">
                  <c:v>16.12.1966</c:v>
                </c:pt>
                <c:pt idx="14587">
                  <c:v>15.12.1966</c:v>
                </c:pt>
                <c:pt idx="14588">
                  <c:v>14.12.1966</c:v>
                </c:pt>
                <c:pt idx="14589">
                  <c:v>13.12.1966</c:v>
                </c:pt>
                <c:pt idx="14590">
                  <c:v>12.12.1966</c:v>
                </c:pt>
                <c:pt idx="14591">
                  <c:v>09.12.1966</c:v>
                </c:pt>
                <c:pt idx="14592">
                  <c:v>08.12.1966</c:v>
                </c:pt>
                <c:pt idx="14593">
                  <c:v>07.12.1966</c:v>
                </c:pt>
                <c:pt idx="14594">
                  <c:v>06.12.1966</c:v>
                </c:pt>
                <c:pt idx="14595">
                  <c:v>05.12.1966</c:v>
                </c:pt>
                <c:pt idx="14596">
                  <c:v>02.12.1966</c:v>
                </c:pt>
                <c:pt idx="14597">
                  <c:v>01.12.1966</c:v>
                </c:pt>
                <c:pt idx="14598">
                  <c:v>30.11.1966</c:v>
                </c:pt>
                <c:pt idx="14599">
                  <c:v>29.11.1966</c:v>
                </c:pt>
                <c:pt idx="14600">
                  <c:v>28.11.1966</c:v>
                </c:pt>
                <c:pt idx="14601">
                  <c:v>25.11.1966</c:v>
                </c:pt>
                <c:pt idx="14602">
                  <c:v>23.11.1966</c:v>
                </c:pt>
                <c:pt idx="14603">
                  <c:v>22.11.1966</c:v>
                </c:pt>
                <c:pt idx="14604">
                  <c:v>21.11.1966</c:v>
                </c:pt>
                <c:pt idx="14605">
                  <c:v>18.11.1966</c:v>
                </c:pt>
                <c:pt idx="14606">
                  <c:v>17.11.1966</c:v>
                </c:pt>
                <c:pt idx="14607">
                  <c:v>16.11.1966</c:v>
                </c:pt>
                <c:pt idx="14608">
                  <c:v>15.11.1966</c:v>
                </c:pt>
                <c:pt idx="14609">
                  <c:v>14.11.1966</c:v>
                </c:pt>
                <c:pt idx="14610">
                  <c:v>11.11.1966</c:v>
                </c:pt>
                <c:pt idx="14611">
                  <c:v>10.11.1966</c:v>
                </c:pt>
                <c:pt idx="14612">
                  <c:v>09.11.1966</c:v>
                </c:pt>
                <c:pt idx="14613">
                  <c:v>07.11.1966</c:v>
                </c:pt>
                <c:pt idx="14614">
                  <c:v>04.11.1966</c:v>
                </c:pt>
                <c:pt idx="14615">
                  <c:v>03.11.1966</c:v>
                </c:pt>
                <c:pt idx="14616">
                  <c:v>02.11.1966</c:v>
                </c:pt>
                <c:pt idx="14617">
                  <c:v>01.11.1966</c:v>
                </c:pt>
                <c:pt idx="14618">
                  <c:v>31.10.1966</c:v>
                </c:pt>
                <c:pt idx="14619">
                  <c:v>28.10.1966</c:v>
                </c:pt>
                <c:pt idx="14620">
                  <c:v>27.10.1966</c:v>
                </c:pt>
                <c:pt idx="14621">
                  <c:v>26.10.1966</c:v>
                </c:pt>
                <c:pt idx="14622">
                  <c:v>25.10.1966</c:v>
                </c:pt>
                <c:pt idx="14623">
                  <c:v>24.10.1966</c:v>
                </c:pt>
                <c:pt idx="14624">
                  <c:v>21.10.1966</c:v>
                </c:pt>
                <c:pt idx="14625">
                  <c:v>20.10.1966</c:v>
                </c:pt>
                <c:pt idx="14626">
                  <c:v>19.10.1966</c:v>
                </c:pt>
                <c:pt idx="14627">
                  <c:v>18.10.1966</c:v>
                </c:pt>
                <c:pt idx="14628">
                  <c:v>17.10.1966</c:v>
                </c:pt>
                <c:pt idx="14629">
                  <c:v>14.10.1966</c:v>
                </c:pt>
                <c:pt idx="14630">
                  <c:v>13.10.1966</c:v>
                </c:pt>
                <c:pt idx="14631">
                  <c:v>12.10.1966</c:v>
                </c:pt>
                <c:pt idx="14632">
                  <c:v>11.10.1966</c:v>
                </c:pt>
                <c:pt idx="14633">
                  <c:v>10.10.1966</c:v>
                </c:pt>
                <c:pt idx="14634">
                  <c:v>07.10.1966</c:v>
                </c:pt>
                <c:pt idx="14635">
                  <c:v>06.10.1966</c:v>
                </c:pt>
                <c:pt idx="14636">
                  <c:v>05.10.1966</c:v>
                </c:pt>
                <c:pt idx="14637">
                  <c:v>04.10.1966</c:v>
                </c:pt>
                <c:pt idx="14638">
                  <c:v>03.10.1966</c:v>
                </c:pt>
                <c:pt idx="14639">
                  <c:v>30.09.1966</c:v>
                </c:pt>
                <c:pt idx="14640">
                  <c:v>29.09.1966</c:v>
                </c:pt>
                <c:pt idx="14641">
                  <c:v>28.09.1966</c:v>
                </c:pt>
                <c:pt idx="14642">
                  <c:v>27.09.1966</c:v>
                </c:pt>
                <c:pt idx="14643">
                  <c:v>26.09.1966</c:v>
                </c:pt>
                <c:pt idx="14644">
                  <c:v>23.09.1966</c:v>
                </c:pt>
                <c:pt idx="14645">
                  <c:v>22.09.1966</c:v>
                </c:pt>
                <c:pt idx="14646">
                  <c:v>21.09.1966</c:v>
                </c:pt>
                <c:pt idx="14647">
                  <c:v>20.09.1966</c:v>
                </c:pt>
                <c:pt idx="14648">
                  <c:v>19.09.1966</c:v>
                </c:pt>
                <c:pt idx="14649">
                  <c:v>16.09.1966</c:v>
                </c:pt>
                <c:pt idx="14650">
                  <c:v>15.09.1966</c:v>
                </c:pt>
                <c:pt idx="14651">
                  <c:v>14.09.1966</c:v>
                </c:pt>
                <c:pt idx="14652">
                  <c:v>13.09.1966</c:v>
                </c:pt>
                <c:pt idx="14653">
                  <c:v>12.09.1966</c:v>
                </c:pt>
                <c:pt idx="14654">
                  <c:v>09.09.1966</c:v>
                </c:pt>
                <c:pt idx="14655">
                  <c:v>08.09.1966</c:v>
                </c:pt>
                <c:pt idx="14656">
                  <c:v>07.09.1966</c:v>
                </c:pt>
                <c:pt idx="14657">
                  <c:v>06.09.1966</c:v>
                </c:pt>
                <c:pt idx="14658">
                  <c:v>02.09.1966</c:v>
                </c:pt>
                <c:pt idx="14659">
                  <c:v>01.09.1966</c:v>
                </c:pt>
                <c:pt idx="14660">
                  <c:v>31.08.1966</c:v>
                </c:pt>
                <c:pt idx="14661">
                  <c:v>30.08.1966</c:v>
                </c:pt>
                <c:pt idx="14662">
                  <c:v>29.08.1966</c:v>
                </c:pt>
                <c:pt idx="14663">
                  <c:v>26.08.1966</c:v>
                </c:pt>
                <c:pt idx="14664">
                  <c:v>25.08.1966</c:v>
                </c:pt>
                <c:pt idx="14665">
                  <c:v>24.08.1966</c:v>
                </c:pt>
                <c:pt idx="14666">
                  <c:v>23.08.1966</c:v>
                </c:pt>
                <c:pt idx="14667">
                  <c:v>22.08.1966</c:v>
                </c:pt>
                <c:pt idx="14668">
                  <c:v>19.08.1966</c:v>
                </c:pt>
                <c:pt idx="14669">
                  <c:v>18.08.1966</c:v>
                </c:pt>
                <c:pt idx="14670">
                  <c:v>17.08.1966</c:v>
                </c:pt>
                <c:pt idx="14671">
                  <c:v>16.08.1966</c:v>
                </c:pt>
                <c:pt idx="14672">
                  <c:v>15.08.1966</c:v>
                </c:pt>
                <c:pt idx="14673">
                  <c:v>12.08.1966</c:v>
                </c:pt>
                <c:pt idx="14674">
                  <c:v>11.08.1966</c:v>
                </c:pt>
                <c:pt idx="14675">
                  <c:v>10.08.1966</c:v>
                </c:pt>
                <c:pt idx="14676">
                  <c:v>09.08.1966</c:v>
                </c:pt>
                <c:pt idx="14677">
                  <c:v>08.08.1966</c:v>
                </c:pt>
                <c:pt idx="14678">
                  <c:v>05.08.1966</c:v>
                </c:pt>
                <c:pt idx="14679">
                  <c:v>04.08.1966</c:v>
                </c:pt>
                <c:pt idx="14680">
                  <c:v>03.08.1966</c:v>
                </c:pt>
                <c:pt idx="14681">
                  <c:v>02.08.1966</c:v>
                </c:pt>
                <c:pt idx="14682">
                  <c:v>01.08.1966</c:v>
                </c:pt>
                <c:pt idx="14683">
                  <c:v>29.07.1966</c:v>
                </c:pt>
                <c:pt idx="14684">
                  <c:v>28.07.1966</c:v>
                </c:pt>
                <c:pt idx="14685">
                  <c:v>27.07.1966</c:v>
                </c:pt>
                <c:pt idx="14686">
                  <c:v>26.07.1966</c:v>
                </c:pt>
                <c:pt idx="14687">
                  <c:v>25.07.1966</c:v>
                </c:pt>
                <c:pt idx="14688">
                  <c:v>22.07.1966</c:v>
                </c:pt>
                <c:pt idx="14689">
                  <c:v>21.07.1966</c:v>
                </c:pt>
                <c:pt idx="14690">
                  <c:v>20.07.1966</c:v>
                </c:pt>
                <c:pt idx="14691">
                  <c:v>19.07.1966</c:v>
                </c:pt>
                <c:pt idx="14692">
                  <c:v>18.07.1966</c:v>
                </c:pt>
                <c:pt idx="14693">
                  <c:v>15.07.1966</c:v>
                </c:pt>
                <c:pt idx="14694">
                  <c:v>14.07.1966</c:v>
                </c:pt>
                <c:pt idx="14695">
                  <c:v>13.07.1966</c:v>
                </c:pt>
                <c:pt idx="14696">
                  <c:v>12.07.1966</c:v>
                </c:pt>
                <c:pt idx="14697">
                  <c:v>11.07.1966</c:v>
                </c:pt>
                <c:pt idx="14698">
                  <c:v>08.07.1966</c:v>
                </c:pt>
                <c:pt idx="14699">
                  <c:v>07.07.1966</c:v>
                </c:pt>
                <c:pt idx="14700">
                  <c:v>06.07.1966</c:v>
                </c:pt>
                <c:pt idx="14701">
                  <c:v>05.07.1966</c:v>
                </c:pt>
                <c:pt idx="14702">
                  <c:v>01.07.1966</c:v>
                </c:pt>
                <c:pt idx="14703">
                  <c:v>30.06.1966</c:v>
                </c:pt>
                <c:pt idx="14704">
                  <c:v>29.06.1966</c:v>
                </c:pt>
                <c:pt idx="14705">
                  <c:v>28.06.1966</c:v>
                </c:pt>
                <c:pt idx="14706">
                  <c:v>27.06.1966</c:v>
                </c:pt>
                <c:pt idx="14707">
                  <c:v>24.06.1966</c:v>
                </c:pt>
                <c:pt idx="14708">
                  <c:v>23.06.1966</c:v>
                </c:pt>
                <c:pt idx="14709">
                  <c:v>22.06.1966</c:v>
                </c:pt>
                <c:pt idx="14710">
                  <c:v>21.06.1966</c:v>
                </c:pt>
                <c:pt idx="14711">
                  <c:v>20.06.1966</c:v>
                </c:pt>
                <c:pt idx="14712">
                  <c:v>17.06.1966</c:v>
                </c:pt>
                <c:pt idx="14713">
                  <c:v>16.06.1966</c:v>
                </c:pt>
                <c:pt idx="14714">
                  <c:v>15.06.1966</c:v>
                </c:pt>
                <c:pt idx="14715">
                  <c:v>14.06.1966</c:v>
                </c:pt>
                <c:pt idx="14716">
                  <c:v>13.06.1966</c:v>
                </c:pt>
                <c:pt idx="14717">
                  <c:v>10.06.1966</c:v>
                </c:pt>
                <c:pt idx="14718">
                  <c:v>09.06.1966</c:v>
                </c:pt>
                <c:pt idx="14719">
                  <c:v>08.06.1966</c:v>
                </c:pt>
                <c:pt idx="14720">
                  <c:v>07.06.1966</c:v>
                </c:pt>
                <c:pt idx="14721">
                  <c:v>06.06.1966</c:v>
                </c:pt>
                <c:pt idx="14722">
                  <c:v>03.06.1966</c:v>
                </c:pt>
                <c:pt idx="14723">
                  <c:v>02.06.1966</c:v>
                </c:pt>
                <c:pt idx="14724">
                  <c:v>01.06.1966</c:v>
                </c:pt>
                <c:pt idx="14725">
                  <c:v>31.05.1966</c:v>
                </c:pt>
                <c:pt idx="14726">
                  <c:v>27.05.1966</c:v>
                </c:pt>
                <c:pt idx="14727">
                  <c:v>26.05.1966</c:v>
                </c:pt>
                <c:pt idx="14728">
                  <c:v>25.05.1966</c:v>
                </c:pt>
                <c:pt idx="14729">
                  <c:v>24.05.1966</c:v>
                </c:pt>
                <c:pt idx="14730">
                  <c:v>23.05.1966</c:v>
                </c:pt>
                <c:pt idx="14731">
                  <c:v>20.05.1966</c:v>
                </c:pt>
                <c:pt idx="14732">
                  <c:v>19.05.1966</c:v>
                </c:pt>
                <c:pt idx="14733">
                  <c:v>18.05.1966</c:v>
                </c:pt>
                <c:pt idx="14734">
                  <c:v>17.05.1966</c:v>
                </c:pt>
                <c:pt idx="14735">
                  <c:v>16.05.1966</c:v>
                </c:pt>
                <c:pt idx="14736">
                  <c:v>13.05.1966</c:v>
                </c:pt>
                <c:pt idx="14737">
                  <c:v>12.05.1966</c:v>
                </c:pt>
                <c:pt idx="14738">
                  <c:v>11.05.1966</c:v>
                </c:pt>
                <c:pt idx="14739">
                  <c:v>10.05.1966</c:v>
                </c:pt>
                <c:pt idx="14740">
                  <c:v>09.05.1966</c:v>
                </c:pt>
                <c:pt idx="14741">
                  <c:v>06.05.1966</c:v>
                </c:pt>
                <c:pt idx="14742">
                  <c:v>05.05.1966</c:v>
                </c:pt>
                <c:pt idx="14743">
                  <c:v>04.05.1966</c:v>
                </c:pt>
                <c:pt idx="14744">
                  <c:v>03.05.1966</c:v>
                </c:pt>
                <c:pt idx="14745">
                  <c:v>02.05.1966</c:v>
                </c:pt>
                <c:pt idx="14746">
                  <c:v>29.04.1966</c:v>
                </c:pt>
                <c:pt idx="14747">
                  <c:v>28.04.1966</c:v>
                </c:pt>
                <c:pt idx="14748">
                  <c:v>27.04.1966</c:v>
                </c:pt>
                <c:pt idx="14749">
                  <c:v>26.04.1966</c:v>
                </c:pt>
                <c:pt idx="14750">
                  <c:v>25.04.1966</c:v>
                </c:pt>
                <c:pt idx="14751">
                  <c:v>22.04.1966</c:v>
                </c:pt>
                <c:pt idx="14752">
                  <c:v>21.04.1966</c:v>
                </c:pt>
                <c:pt idx="14753">
                  <c:v>20.04.1966</c:v>
                </c:pt>
                <c:pt idx="14754">
                  <c:v>19.04.1966</c:v>
                </c:pt>
                <c:pt idx="14755">
                  <c:v>18.04.1966</c:v>
                </c:pt>
                <c:pt idx="14756">
                  <c:v>15.04.1966</c:v>
                </c:pt>
                <c:pt idx="14757">
                  <c:v>14.04.1966</c:v>
                </c:pt>
                <c:pt idx="14758">
                  <c:v>13.04.1966</c:v>
                </c:pt>
                <c:pt idx="14759">
                  <c:v>12.04.1966</c:v>
                </c:pt>
                <c:pt idx="14760">
                  <c:v>11.04.1966</c:v>
                </c:pt>
                <c:pt idx="14761">
                  <c:v>07.04.1966</c:v>
                </c:pt>
                <c:pt idx="14762">
                  <c:v>06.04.1966</c:v>
                </c:pt>
                <c:pt idx="14763">
                  <c:v>05.04.1966</c:v>
                </c:pt>
                <c:pt idx="14764">
                  <c:v>04.04.1966</c:v>
                </c:pt>
                <c:pt idx="14765">
                  <c:v>01.04.1966</c:v>
                </c:pt>
                <c:pt idx="14766">
                  <c:v>31.03.1966</c:v>
                </c:pt>
                <c:pt idx="14767">
                  <c:v>30.03.1966</c:v>
                </c:pt>
                <c:pt idx="14768">
                  <c:v>29.03.1966</c:v>
                </c:pt>
                <c:pt idx="14769">
                  <c:v>28.03.1966</c:v>
                </c:pt>
                <c:pt idx="14770">
                  <c:v>25.03.1966</c:v>
                </c:pt>
                <c:pt idx="14771">
                  <c:v>24.03.1966</c:v>
                </c:pt>
                <c:pt idx="14772">
                  <c:v>23.03.1966</c:v>
                </c:pt>
                <c:pt idx="14773">
                  <c:v>22.03.1966</c:v>
                </c:pt>
                <c:pt idx="14774">
                  <c:v>21.03.1966</c:v>
                </c:pt>
                <c:pt idx="14775">
                  <c:v>18.03.1966</c:v>
                </c:pt>
                <c:pt idx="14776">
                  <c:v>17.03.1966</c:v>
                </c:pt>
                <c:pt idx="14777">
                  <c:v>16.03.1966</c:v>
                </c:pt>
                <c:pt idx="14778">
                  <c:v>15.03.1966</c:v>
                </c:pt>
                <c:pt idx="14779">
                  <c:v>14.03.1966</c:v>
                </c:pt>
                <c:pt idx="14780">
                  <c:v>11.03.1966</c:v>
                </c:pt>
                <c:pt idx="14781">
                  <c:v>10.03.1966</c:v>
                </c:pt>
                <c:pt idx="14782">
                  <c:v>09.03.1966</c:v>
                </c:pt>
                <c:pt idx="14783">
                  <c:v>08.03.1966</c:v>
                </c:pt>
                <c:pt idx="14784">
                  <c:v>07.03.1966</c:v>
                </c:pt>
                <c:pt idx="14785">
                  <c:v>04.03.1966</c:v>
                </c:pt>
                <c:pt idx="14786">
                  <c:v>03.03.1966</c:v>
                </c:pt>
                <c:pt idx="14787">
                  <c:v>02.03.1966</c:v>
                </c:pt>
                <c:pt idx="14788">
                  <c:v>01.03.1966</c:v>
                </c:pt>
                <c:pt idx="14789">
                  <c:v>28.02.1966</c:v>
                </c:pt>
                <c:pt idx="14790">
                  <c:v>25.02.1966</c:v>
                </c:pt>
                <c:pt idx="14791">
                  <c:v>24.02.1966</c:v>
                </c:pt>
                <c:pt idx="14792">
                  <c:v>23.02.1966</c:v>
                </c:pt>
                <c:pt idx="14793">
                  <c:v>21.02.1966</c:v>
                </c:pt>
                <c:pt idx="14794">
                  <c:v>18.02.1966</c:v>
                </c:pt>
                <c:pt idx="14795">
                  <c:v>17.02.1966</c:v>
                </c:pt>
                <c:pt idx="14796">
                  <c:v>16.02.1966</c:v>
                </c:pt>
                <c:pt idx="14797">
                  <c:v>15.02.1966</c:v>
                </c:pt>
                <c:pt idx="14798">
                  <c:v>14.02.1966</c:v>
                </c:pt>
                <c:pt idx="14799">
                  <c:v>11.02.1966</c:v>
                </c:pt>
                <c:pt idx="14800">
                  <c:v>10.02.1966</c:v>
                </c:pt>
                <c:pt idx="14801">
                  <c:v>09.02.1966</c:v>
                </c:pt>
                <c:pt idx="14802">
                  <c:v>08.02.1966</c:v>
                </c:pt>
                <c:pt idx="14803">
                  <c:v>07.02.1966</c:v>
                </c:pt>
                <c:pt idx="14804">
                  <c:v>04.02.1966</c:v>
                </c:pt>
                <c:pt idx="14805">
                  <c:v>03.02.1966</c:v>
                </c:pt>
                <c:pt idx="14806">
                  <c:v>02.02.1966</c:v>
                </c:pt>
                <c:pt idx="14807">
                  <c:v>01.02.1966</c:v>
                </c:pt>
                <c:pt idx="14808">
                  <c:v>31.01.1966</c:v>
                </c:pt>
                <c:pt idx="14809">
                  <c:v>28.01.1966</c:v>
                </c:pt>
                <c:pt idx="14810">
                  <c:v>27.01.1966</c:v>
                </c:pt>
                <c:pt idx="14811">
                  <c:v>26.01.1966</c:v>
                </c:pt>
                <c:pt idx="14812">
                  <c:v>25.01.1966</c:v>
                </c:pt>
                <c:pt idx="14813">
                  <c:v>24.01.1966</c:v>
                </c:pt>
                <c:pt idx="14814">
                  <c:v>21.01.1966</c:v>
                </c:pt>
                <c:pt idx="14815">
                  <c:v>20.01.1966</c:v>
                </c:pt>
                <c:pt idx="14816">
                  <c:v>19.01.1966</c:v>
                </c:pt>
                <c:pt idx="14817">
                  <c:v>18.01.1966</c:v>
                </c:pt>
                <c:pt idx="14818">
                  <c:v>17.01.1966</c:v>
                </c:pt>
                <c:pt idx="14819">
                  <c:v>14.01.1966</c:v>
                </c:pt>
                <c:pt idx="14820">
                  <c:v>13.01.1966</c:v>
                </c:pt>
                <c:pt idx="14821">
                  <c:v>12.01.1966</c:v>
                </c:pt>
                <c:pt idx="14822">
                  <c:v>11.01.1966</c:v>
                </c:pt>
                <c:pt idx="14823">
                  <c:v>10.01.1966</c:v>
                </c:pt>
                <c:pt idx="14824">
                  <c:v>07.01.1966</c:v>
                </c:pt>
                <c:pt idx="14825">
                  <c:v>06.01.1966</c:v>
                </c:pt>
                <c:pt idx="14826">
                  <c:v>05.01.1966</c:v>
                </c:pt>
                <c:pt idx="14827">
                  <c:v>04.01.1966</c:v>
                </c:pt>
                <c:pt idx="14828">
                  <c:v>03.01.1966</c:v>
                </c:pt>
                <c:pt idx="14829">
                  <c:v>31.12.1965</c:v>
                </c:pt>
                <c:pt idx="14830">
                  <c:v>30.12.1965</c:v>
                </c:pt>
                <c:pt idx="14831">
                  <c:v>29.12.1965</c:v>
                </c:pt>
                <c:pt idx="14832">
                  <c:v>28.12.1965</c:v>
                </c:pt>
                <c:pt idx="14833">
                  <c:v>27.12.1965</c:v>
                </c:pt>
                <c:pt idx="14834">
                  <c:v>23.12.1965</c:v>
                </c:pt>
                <c:pt idx="14835">
                  <c:v>22.12.1965</c:v>
                </c:pt>
                <c:pt idx="14836">
                  <c:v>21.12.1965</c:v>
                </c:pt>
                <c:pt idx="14837">
                  <c:v>20.12.1965</c:v>
                </c:pt>
                <c:pt idx="14838">
                  <c:v>17.12.1965</c:v>
                </c:pt>
                <c:pt idx="14839">
                  <c:v>16.12.1965</c:v>
                </c:pt>
                <c:pt idx="14840">
                  <c:v>15.12.1965</c:v>
                </c:pt>
                <c:pt idx="14841">
                  <c:v>14.12.1965</c:v>
                </c:pt>
                <c:pt idx="14842">
                  <c:v>13.12.1965</c:v>
                </c:pt>
                <c:pt idx="14843">
                  <c:v>10.12.1965</c:v>
                </c:pt>
                <c:pt idx="14844">
                  <c:v>09.12.1965</c:v>
                </c:pt>
                <c:pt idx="14845">
                  <c:v>08.12.1965</c:v>
                </c:pt>
                <c:pt idx="14846">
                  <c:v>07.12.1965</c:v>
                </c:pt>
                <c:pt idx="14847">
                  <c:v>06.12.1965</c:v>
                </c:pt>
                <c:pt idx="14848">
                  <c:v>03.12.1965</c:v>
                </c:pt>
                <c:pt idx="14849">
                  <c:v>02.12.1965</c:v>
                </c:pt>
                <c:pt idx="14850">
                  <c:v>01.12.1965</c:v>
                </c:pt>
                <c:pt idx="14851">
                  <c:v>30.11.1965</c:v>
                </c:pt>
                <c:pt idx="14852">
                  <c:v>29.11.1965</c:v>
                </c:pt>
                <c:pt idx="14853">
                  <c:v>26.11.1965</c:v>
                </c:pt>
                <c:pt idx="14854">
                  <c:v>24.11.1965</c:v>
                </c:pt>
                <c:pt idx="14855">
                  <c:v>23.11.1965</c:v>
                </c:pt>
                <c:pt idx="14856">
                  <c:v>22.11.1965</c:v>
                </c:pt>
                <c:pt idx="14857">
                  <c:v>19.11.1965</c:v>
                </c:pt>
                <c:pt idx="14858">
                  <c:v>18.11.1965</c:v>
                </c:pt>
                <c:pt idx="14859">
                  <c:v>17.11.1965</c:v>
                </c:pt>
                <c:pt idx="14860">
                  <c:v>16.11.1965</c:v>
                </c:pt>
                <c:pt idx="14861">
                  <c:v>15.11.1965</c:v>
                </c:pt>
                <c:pt idx="14862">
                  <c:v>12.11.1965</c:v>
                </c:pt>
                <c:pt idx="14863">
                  <c:v>11.11.1965</c:v>
                </c:pt>
                <c:pt idx="14864">
                  <c:v>10.11.1965</c:v>
                </c:pt>
                <c:pt idx="14865">
                  <c:v>09.11.1965</c:v>
                </c:pt>
                <c:pt idx="14866">
                  <c:v>08.11.1965</c:v>
                </c:pt>
                <c:pt idx="14867">
                  <c:v>05.11.1965</c:v>
                </c:pt>
                <c:pt idx="14868">
                  <c:v>04.11.1965</c:v>
                </c:pt>
                <c:pt idx="14869">
                  <c:v>03.11.1965</c:v>
                </c:pt>
                <c:pt idx="14870">
                  <c:v>01.11.1965</c:v>
                </c:pt>
                <c:pt idx="14871">
                  <c:v>29.10.1965</c:v>
                </c:pt>
                <c:pt idx="14872">
                  <c:v>28.10.1965</c:v>
                </c:pt>
                <c:pt idx="14873">
                  <c:v>27.10.1965</c:v>
                </c:pt>
                <c:pt idx="14874">
                  <c:v>26.10.1965</c:v>
                </c:pt>
                <c:pt idx="14875">
                  <c:v>25.10.1965</c:v>
                </c:pt>
                <c:pt idx="14876">
                  <c:v>22.10.1965</c:v>
                </c:pt>
                <c:pt idx="14877">
                  <c:v>21.10.1965</c:v>
                </c:pt>
                <c:pt idx="14878">
                  <c:v>20.10.1965</c:v>
                </c:pt>
                <c:pt idx="14879">
                  <c:v>19.10.1965</c:v>
                </c:pt>
                <c:pt idx="14880">
                  <c:v>18.10.1965</c:v>
                </c:pt>
                <c:pt idx="14881">
                  <c:v>15.10.1965</c:v>
                </c:pt>
                <c:pt idx="14882">
                  <c:v>14.10.1965</c:v>
                </c:pt>
                <c:pt idx="14883">
                  <c:v>13.10.1965</c:v>
                </c:pt>
                <c:pt idx="14884">
                  <c:v>12.10.1965</c:v>
                </c:pt>
                <c:pt idx="14885">
                  <c:v>11.10.1965</c:v>
                </c:pt>
                <c:pt idx="14886">
                  <c:v>08.10.1965</c:v>
                </c:pt>
                <c:pt idx="14887">
                  <c:v>07.10.1965</c:v>
                </c:pt>
                <c:pt idx="14888">
                  <c:v>06.10.1965</c:v>
                </c:pt>
                <c:pt idx="14889">
                  <c:v>05.10.1965</c:v>
                </c:pt>
                <c:pt idx="14890">
                  <c:v>04.10.1965</c:v>
                </c:pt>
                <c:pt idx="14891">
                  <c:v>01.10.1965</c:v>
                </c:pt>
                <c:pt idx="14892">
                  <c:v>30.09.1965</c:v>
                </c:pt>
                <c:pt idx="14893">
                  <c:v>29.09.1965</c:v>
                </c:pt>
                <c:pt idx="14894">
                  <c:v>28.09.1965</c:v>
                </c:pt>
                <c:pt idx="14895">
                  <c:v>27.09.1965</c:v>
                </c:pt>
                <c:pt idx="14896">
                  <c:v>24.09.1965</c:v>
                </c:pt>
                <c:pt idx="14897">
                  <c:v>23.09.1965</c:v>
                </c:pt>
                <c:pt idx="14898">
                  <c:v>22.09.1965</c:v>
                </c:pt>
                <c:pt idx="14899">
                  <c:v>21.09.1965</c:v>
                </c:pt>
                <c:pt idx="14900">
                  <c:v>20.09.1965</c:v>
                </c:pt>
                <c:pt idx="14901">
                  <c:v>17.09.1965</c:v>
                </c:pt>
                <c:pt idx="14902">
                  <c:v>16.09.1965</c:v>
                </c:pt>
                <c:pt idx="14903">
                  <c:v>15.09.1965</c:v>
                </c:pt>
                <c:pt idx="14904">
                  <c:v>14.09.1965</c:v>
                </c:pt>
                <c:pt idx="14905">
                  <c:v>13.09.1965</c:v>
                </c:pt>
                <c:pt idx="14906">
                  <c:v>10.09.1965</c:v>
                </c:pt>
                <c:pt idx="14907">
                  <c:v>09.09.1965</c:v>
                </c:pt>
                <c:pt idx="14908">
                  <c:v>08.09.1965</c:v>
                </c:pt>
                <c:pt idx="14909">
                  <c:v>07.09.1965</c:v>
                </c:pt>
                <c:pt idx="14910">
                  <c:v>03.09.1965</c:v>
                </c:pt>
                <c:pt idx="14911">
                  <c:v>02.09.1965</c:v>
                </c:pt>
                <c:pt idx="14912">
                  <c:v>01.09.1965</c:v>
                </c:pt>
                <c:pt idx="14913">
                  <c:v>31.08.1965</c:v>
                </c:pt>
                <c:pt idx="14914">
                  <c:v>30.08.1965</c:v>
                </c:pt>
                <c:pt idx="14915">
                  <c:v>27.08.1965</c:v>
                </c:pt>
                <c:pt idx="14916">
                  <c:v>26.08.1965</c:v>
                </c:pt>
                <c:pt idx="14917">
                  <c:v>25.08.1965</c:v>
                </c:pt>
                <c:pt idx="14918">
                  <c:v>24.08.1965</c:v>
                </c:pt>
                <c:pt idx="14919">
                  <c:v>23.08.1965</c:v>
                </c:pt>
                <c:pt idx="14920">
                  <c:v>20.08.1965</c:v>
                </c:pt>
                <c:pt idx="14921">
                  <c:v>19.08.1965</c:v>
                </c:pt>
                <c:pt idx="14922">
                  <c:v>18.08.1965</c:v>
                </c:pt>
                <c:pt idx="14923">
                  <c:v>17.08.1965</c:v>
                </c:pt>
                <c:pt idx="14924">
                  <c:v>16.08.1965</c:v>
                </c:pt>
                <c:pt idx="14925">
                  <c:v>13.08.1965</c:v>
                </c:pt>
                <c:pt idx="14926">
                  <c:v>12.08.1965</c:v>
                </c:pt>
                <c:pt idx="14927">
                  <c:v>11.08.1965</c:v>
                </c:pt>
                <c:pt idx="14928">
                  <c:v>10.08.1965</c:v>
                </c:pt>
                <c:pt idx="14929">
                  <c:v>09.08.1965</c:v>
                </c:pt>
                <c:pt idx="14930">
                  <c:v>06.08.1965</c:v>
                </c:pt>
                <c:pt idx="14931">
                  <c:v>05.08.1965</c:v>
                </c:pt>
                <c:pt idx="14932">
                  <c:v>04.08.1965</c:v>
                </c:pt>
                <c:pt idx="14933">
                  <c:v>03.08.1965</c:v>
                </c:pt>
                <c:pt idx="14934">
                  <c:v>02.08.1965</c:v>
                </c:pt>
                <c:pt idx="14935">
                  <c:v>30.07.1965</c:v>
                </c:pt>
                <c:pt idx="14936">
                  <c:v>29.07.1965</c:v>
                </c:pt>
                <c:pt idx="14937">
                  <c:v>28.07.1965</c:v>
                </c:pt>
                <c:pt idx="14938">
                  <c:v>27.07.1965</c:v>
                </c:pt>
                <c:pt idx="14939">
                  <c:v>26.07.1965</c:v>
                </c:pt>
                <c:pt idx="14940">
                  <c:v>23.07.1965</c:v>
                </c:pt>
                <c:pt idx="14941">
                  <c:v>22.07.1965</c:v>
                </c:pt>
                <c:pt idx="14942">
                  <c:v>21.07.1965</c:v>
                </c:pt>
                <c:pt idx="14943">
                  <c:v>20.07.1965</c:v>
                </c:pt>
                <c:pt idx="14944">
                  <c:v>19.07.1965</c:v>
                </c:pt>
                <c:pt idx="14945">
                  <c:v>16.07.1965</c:v>
                </c:pt>
                <c:pt idx="14946">
                  <c:v>15.07.1965</c:v>
                </c:pt>
                <c:pt idx="14947">
                  <c:v>14.07.1965</c:v>
                </c:pt>
                <c:pt idx="14948">
                  <c:v>13.07.1965</c:v>
                </c:pt>
                <c:pt idx="14949">
                  <c:v>12.07.1965</c:v>
                </c:pt>
                <c:pt idx="14950">
                  <c:v>09.07.1965</c:v>
                </c:pt>
                <c:pt idx="14951">
                  <c:v>08.07.1965</c:v>
                </c:pt>
                <c:pt idx="14952">
                  <c:v>07.07.1965</c:v>
                </c:pt>
                <c:pt idx="14953">
                  <c:v>06.07.1965</c:v>
                </c:pt>
                <c:pt idx="14954">
                  <c:v>02.07.1965</c:v>
                </c:pt>
                <c:pt idx="14955">
                  <c:v>01.07.1965</c:v>
                </c:pt>
                <c:pt idx="14956">
                  <c:v>30.06.1965</c:v>
                </c:pt>
                <c:pt idx="14957">
                  <c:v>29.06.1965</c:v>
                </c:pt>
                <c:pt idx="14958">
                  <c:v>28.06.1965</c:v>
                </c:pt>
                <c:pt idx="14959">
                  <c:v>25.06.1965</c:v>
                </c:pt>
                <c:pt idx="14960">
                  <c:v>24.06.1965</c:v>
                </c:pt>
                <c:pt idx="14961">
                  <c:v>23.06.1965</c:v>
                </c:pt>
                <c:pt idx="14962">
                  <c:v>22.06.1965</c:v>
                </c:pt>
                <c:pt idx="14963">
                  <c:v>21.06.1965</c:v>
                </c:pt>
                <c:pt idx="14964">
                  <c:v>18.06.1965</c:v>
                </c:pt>
                <c:pt idx="14965">
                  <c:v>17.06.1965</c:v>
                </c:pt>
                <c:pt idx="14966">
                  <c:v>16.06.1965</c:v>
                </c:pt>
                <c:pt idx="14967">
                  <c:v>15.06.1965</c:v>
                </c:pt>
                <c:pt idx="14968">
                  <c:v>14.06.1965</c:v>
                </c:pt>
                <c:pt idx="14969">
                  <c:v>11.06.1965</c:v>
                </c:pt>
                <c:pt idx="14970">
                  <c:v>10.06.1965</c:v>
                </c:pt>
                <c:pt idx="14971">
                  <c:v>09.06.1965</c:v>
                </c:pt>
                <c:pt idx="14972">
                  <c:v>08.06.1965</c:v>
                </c:pt>
                <c:pt idx="14973">
                  <c:v>07.06.1965</c:v>
                </c:pt>
                <c:pt idx="14974">
                  <c:v>04.06.1965</c:v>
                </c:pt>
                <c:pt idx="14975">
                  <c:v>03.06.1965</c:v>
                </c:pt>
                <c:pt idx="14976">
                  <c:v>02.06.1965</c:v>
                </c:pt>
                <c:pt idx="14977">
                  <c:v>01.06.1965</c:v>
                </c:pt>
                <c:pt idx="14978">
                  <c:v>28.05.1965</c:v>
                </c:pt>
                <c:pt idx="14979">
                  <c:v>27.05.1965</c:v>
                </c:pt>
                <c:pt idx="14980">
                  <c:v>26.05.1965</c:v>
                </c:pt>
                <c:pt idx="14981">
                  <c:v>25.05.1965</c:v>
                </c:pt>
                <c:pt idx="14982">
                  <c:v>24.05.1965</c:v>
                </c:pt>
                <c:pt idx="14983">
                  <c:v>21.05.1965</c:v>
                </c:pt>
                <c:pt idx="14984">
                  <c:v>20.05.1965</c:v>
                </c:pt>
                <c:pt idx="14985">
                  <c:v>19.05.1965</c:v>
                </c:pt>
                <c:pt idx="14986">
                  <c:v>18.05.1965</c:v>
                </c:pt>
                <c:pt idx="14987">
                  <c:v>17.05.1965</c:v>
                </c:pt>
                <c:pt idx="14988">
                  <c:v>14.05.1965</c:v>
                </c:pt>
                <c:pt idx="14989">
                  <c:v>13.05.1965</c:v>
                </c:pt>
                <c:pt idx="14990">
                  <c:v>12.05.1965</c:v>
                </c:pt>
                <c:pt idx="14991">
                  <c:v>11.05.1965</c:v>
                </c:pt>
                <c:pt idx="14992">
                  <c:v>10.05.1965</c:v>
                </c:pt>
                <c:pt idx="14993">
                  <c:v>07.05.1965</c:v>
                </c:pt>
                <c:pt idx="14994">
                  <c:v>06.05.1965</c:v>
                </c:pt>
                <c:pt idx="14995">
                  <c:v>05.05.1965</c:v>
                </c:pt>
                <c:pt idx="14996">
                  <c:v>04.05.1965</c:v>
                </c:pt>
                <c:pt idx="14997">
                  <c:v>03.05.1965</c:v>
                </c:pt>
                <c:pt idx="14998">
                  <c:v>30.04.1965</c:v>
                </c:pt>
                <c:pt idx="14999">
                  <c:v>29.04.1965</c:v>
                </c:pt>
                <c:pt idx="15000">
                  <c:v>28.04.1965</c:v>
                </c:pt>
                <c:pt idx="15001">
                  <c:v>27.04.1965</c:v>
                </c:pt>
                <c:pt idx="15002">
                  <c:v>26.04.1965</c:v>
                </c:pt>
                <c:pt idx="15003">
                  <c:v>23.04.1965</c:v>
                </c:pt>
                <c:pt idx="15004">
                  <c:v>22.04.1965</c:v>
                </c:pt>
                <c:pt idx="15005">
                  <c:v>21.04.1965</c:v>
                </c:pt>
                <c:pt idx="15006">
                  <c:v>20.04.1965</c:v>
                </c:pt>
                <c:pt idx="15007">
                  <c:v>19.04.1965</c:v>
                </c:pt>
                <c:pt idx="15008">
                  <c:v>15.04.1965</c:v>
                </c:pt>
                <c:pt idx="15009">
                  <c:v>14.04.1965</c:v>
                </c:pt>
                <c:pt idx="15010">
                  <c:v>13.04.1965</c:v>
                </c:pt>
                <c:pt idx="15011">
                  <c:v>12.04.1965</c:v>
                </c:pt>
                <c:pt idx="15012">
                  <c:v>09.04.1965</c:v>
                </c:pt>
                <c:pt idx="15013">
                  <c:v>08.04.1965</c:v>
                </c:pt>
                <c:pt idx="15014">
                  <c:v>07.04.1965</c:v>
                </c:pt>
                <c:pt idx="15015">
                  <c:v>06.04.1965</c:v>
                </c:pt>
                <c:pt idx="15016">
                  <c:v>05.04.1965</c:v>
                </c:pt>
                <c:pt idx="15017">
                  <c:v>02.04.1965</c:v>
                </c:pt>
                <c:pt idx="15018">
                  <c:v>01.04.1965</c:v>
                </c:pt>
                <c:pt idx="15019">
                  <c:v>31.03.1965</c:v>
                </c:pt>
                <c:pt idx="15020">
                  <c:v>30.03.1965</c:v>
                </c:pt>
                <c:pt idx="15021">
                  <c:v>29.03.1965</c:v>
                </c:pt>
                <c:pt idx="15022">
                  <c:v>26.03.1965</c:v>
                </c:pt>
                <c:pt idx="15023">
                  <c:v>25.03.1965</c:v>
                </c:pt>
                <c:pt idx="15024">
                  <c:v>24.03.1965</c:v>
                </c:pt>
                <c:pt idx="15025">
                  <c:v>23.03.1965</c:v>
                </c:pt>
                <c:pt idx="15026">
                  <c:v>22.03.1965</c:v>
                </c:pt>
                <c:pt idx="15027">
                  <c:v>19.03.1965</c:v>
                </c:pt>
                <c:pt idx="15028">
                  <c:v>18.03.1965</c:v>
                </c:pt>
                <c:pt idx="15029">
                  <c:v>17.03.1965</c:v>
                </c:pt>
                <c:pt idx="15030">
                  <c:v>16.03.1965</c:v>
                </c:pt>
                <c:pt idx="15031">
                  <c:v>15.03.1965</c:v>
                </c:pt>
                <c:pt idx="15032">
                  <c:v>12.03.1965</c:v>
                </c:pt>
                <c:pt idx="15033">
                  <c:v>11.03.1965</c:v>
                </c:pt>
                <c:pt idx="15034">
                  <c:v>10.03.1965</c:v>
                </c:pt>
                <c:pt idx="15035">
                  <c:v>09.03.1965</c:v>
                </c:pt>
                <c:pt idx="15036">
                  <c:v>08.03.1965</c:v>
                </c:pt>
                <c:pt idx="15037">
                  <c:v>05.03.1965</c:v>
                </c:pt>
                <c:pt idx="15038">
                  <c:v>04.03.1965</c:v>
                </c:pt>
                <c:pt idx="15039">
                  <c:v>03.03.1965</c:v>
                </c:pt>
                <c:pt idx="15040">
                  <c:v>02.03.1965</c:v>
                </c:pt>
                <c:pt idx="15041">
                  <c:v>01.03.1965</c:v>
                </c:pt>
                <c:pt idx="15042">
                  <c:v>26.02.1965</c:v>
                </c:pt>
                <c:pt idx="15043">
                  <c:v>25.02.1965</c:v>
                </c:pt>
                <c:pt idx="15044">
                  <c:v>24.02.1965</c:v>
                </c:pt>
                <c:pt idx="15045">
                  <c:v>23.02.1965</c:v>
                </c:pt>
                <c:pt idx="15046">
                  <c:v>19.02.1965</c:v>
                </c:pt>
                <c:pt idx="15047">
                  <c:v>18.02.1965</c:v>
                </c:pt>
                <c:pt idx="15048">
                  <c:v>17.02.1965</c:v>
                </c:pt>
                <c:pt idx="15049">
                  <c:v>16.02.1965</c:v>
                </c:pt>
                <c:pt idx="15050">
                  <c:v>15.02.1965</c:v>
                </c:pt>
                <c:pt idx="15051">
                  <c:v>12.02.1965</c:v>
                </c:pt>
                <c:pt idx="15052">
                  <c:v>11.02.1965</c:v>
                </c:pt>
                <c:pt idx="15053">
                  <c:v>10.02.1965</c:v>
                </c:pt>
                <c:pt idx="15054">
                  <c:v>09.02.1965</c:v>
                </c:pt>
                <c:pt idx="15055">
                  <c:v>08.02.1965</c:v>
                </c:pt>
                <c:pt idx="15056">
                  <c:v>05.02.1965</c:v>
                </c:pt>
                <c:pt idx="15057">
                  <c:v>04.02.1965</c:v>
                </c:pt>
                <c:pt idx="15058">
                  <c:v>03.02.1965</c:v>
                </c:pt>
                <c:pt idx="15059">
                  <c:v>02.02.1965</c:v>
                </c:pt>
                <c:pt idx="15060">
                  <c:v>01.02.1965</c:v>
                </c:pt>
                <c:pt idx="15061">
                  <c:v>29.01.1965</c:v>
                </c:pt>
                <c:pt idx="15062">
                  <c:v>28.01.1965</c:v>
                </c:pt>
                <c:pt idx="15063">
                  <c:v>27.01.1965</c:v>
                </c:pt>
                <c:pt idx="15064">
                  <c:v>26.01.1965</c:v>
                </c:pt>
                <c:pt idx="15065">
                  <c:v>25.01.1965</c:v>
                </c:pt>
                <c:pt idx="15066">
                  <c:v>22.01.1965</c:v>
                </c:pt>
                <c:pt idx="15067">
                  <c:v>21.01.1965</c:v>
                </c:pt>
                <c:pt idx="15068">
                  <c:v>20.01.1965</c:v>
                </c:pt>
                <c:pt idx="15069">
                  <c:v>19.01.1965</c:v>
                </c:pt>
                <c:pt idx="15070">
                  <c:v>18.01.1965</c:v>
                </c:pt>
                <c:pt idx="15071">
                  <c:v>15.01.1965</c:v>
                </c:pt>
                <c:pt idx="15072">
                  <c:v>14.01.1965</c:v>
                </c:pt>
                <c:pt idx="15073">
                  <c:v>13.01.1965</c:v>
                </c:pt>
                <c:pt idx="15074">
                  <c:v>12.01.1965</c:v>
                </c:pt>
                <c:pt idx="15075">
                  <c:v>11.01.1965</c:v>
                </c:pt>
                <c:pt idx="15076">
                  <c:v>08.01.1965</c:v>
                </c:pt>
                <c:pt idx="15077">
                  <c:v>07.01.1965</c:v>
                </c:pt>
                <c:pt idx="15078">
                  <c:v>06.01.1965</c:v>
                </c:pt>
                <c:pt idx="15079">
                  <c:v>05.01.1965</c:v>
                </c:pt>
                <c:pt idx="15080">
                  <c:v>04.01.1965</c:v>
                </c:pt>
                <c:pt idx="15081">
                  <c:v>31.12.1964</c:v>
                </c:pt>
                <c:pt idx="15082">
                  <c:v>30.12.1964</c:v>
                </c:pt>
                <c:pt idx="15083">
                  <c:v>29.12.1964</c:v>
                </c:pt>
                <c:pt idx="15084">
                  <c:v>28.12.1964</c:v>
                </c:pt>
                <c:pt idx="15085">
                  <c:v>24.12.1964</c:v>
                </c:pt>
                <c:pt idx="15086">
                  <c:v>23.12.1964</c:v>
                </c:pt>
                <c:pt idx="15087">
                  <c:v>22.12.1964</c:v>
                </c:pt>
                <c:pt idx="15088">
                  <c:v>21.12.1964</c:v>
                </c:pt>
                <c:pt idx="15089">
                  <c:v>18.12.1964</c:v>
                </c:pt>
                <c:pt idx="15090">
                  <c:v>17.12.1964</c:v>
                </c:pt>
                <c:pt idx="15091">
                  <c:v>16.12.1964</c:v>
                </c:pt>
                <c:pt idx="15092">
                  <c:v>15.12.1964</c:v>
                </c:pt>
                <c:pt idx="15093">
                  <c:v>14.12.1964</c:v>
                </c:pt>
                <c:pt idx="15094">
                  <c:v>11.12.1964</c:v>
                </c:pt>
                <c:pt idx="15095">
                  <c:v>10.12.1964</c:v>
                </c:pt>
                <c:pt idx="15096">
                  <c:v>09.12.1964</c:v>
                </c:pt>
                <c:pt idx="15097">
                  <c:v>08.12.1964</c:v>
                </c:pt>
                <c:pt idx="15098">
                  <c:v>07.12.1964</c:v>
                </c:pt>
                <c:pt idx="15099">
                  <c:v>04.12.1964</c:v>
                </c:pt>
                <c:pt idx="15100">
                  <c:v>03.12.1964</c:v>
                </c:pt>
                <c:pt idx="15101">
                  <c:v>02.12.1964</c:v>
                </c:pt>
                <c:pt idx="15102">
                  <c:v>01.12.1964</c:v>
                </c:pt>
                <c:pt idx="15103">
                  <c:v>30.11.1964</c:v>
                </c:pt>
                <c:pt idx="15104">
                  <c:v>27.11.1964</c:v>
                </c:pt>
                <c:pt idx="15105">
                  <c:v>25.11.1964</c:v>
                </c:pt>
                <c:pt idx="15106">
                  <c:v>24.11.1964</c:v>
                </c:pt>
                <c:pt idx="15107">
                  <c:v>23.11.1964</c:v>
                </c:pt>
                <c:pt idx="15108">
                  <c:v>20.11.1964</c:v>
                </c:pt>
                <c:pt idx="15109">
                  <c:v>19.11.1964</c:v>
                </c:pt>
                <c:pt idx="15110">
                  <c:v>18.11.1964</c:v>
                </c:pt>
                <c:pt idx="15111">
                  <c:v>17.11.1964</c:v>
                </c:pt>
                <c:pt idx="15112">
                  <c:v>16.11.1964</c:v>
                </c:pt>
                <c:pt idx="15113">
                  <c:v>13.11.1964</c:v>
                </c:pt>
                <c:pt idx="15114">
                  <c:v>12.11.1964</c:v>
                </c:pt>
                <c:pt idx="15115">
                  <c:v>11.11.1964</c:v>
                </c:pt>
                <c:pt idx="15116">
                  <c:v>10.11.1964</c:v>
                </c:pt>
                <c:pt idx="15117">
                  <c:v>09.11.1964</c:v>
                </c:pt>
                <c:pt idx="15118">
                  <c:v>06.11.1964</c:v>
                </c:pt>
                <c:pt idx="15119">
                  <c:v>05.11.1964</c:v>
                </c:pt>
                <c:pt idx="15120">
                  <c:v>04.11.1964</c:v>
                </c:pt>
                <c:pt idx="15121">
                  <c:v>02.11.1964</c:v>
                </c:pt>
                <c:pt idx="15122">
                  <c:v>30.10.1964</c:v>
                </c:pt>
                <c:pt idx="15123">
                  <c:v>29.10.1964</c:v>
                </c:pt>
                <c:pt idx="15124">
                  <c:v>28.10.1964</c:v>
                </c:pt>
                <c:pt idx="15125">
                  <c:v>27.10.1964</c:v>
                </c:pt>
                <c:pt idx="15126">
                  <c:v>26.10.1964</c:v>
                </c:pt>
                <c:pt idx="15127">
                  <c:v>23.10.1964</c:v>
                </c:pt>
                <c:pt idx="15128">
                  <c:v>22.10.1964</c:v>
                </c:pt>
                <c:pt idx="15129">
                  <c:v>21.10.1964</c:v>
                </c:pt>
                <c:pt idx="15130">
                  <c:v>20.10.1964</c:v>
                </c:pt>
                <c:pt idx="15131">
                  <c:v>19.10.1964</c:v>
                </c:pt>
                <c:pt idx="15132">
                  <c:v>16.10.1964</c:v>
                </c:pt>
                <c:pt idx="15133">
                  <c:v>15.10.1964</c:v>
                </c:pt>
                <c:pt idx="15134">
                  <c:v>14.10.1964</c:v>
                </c:pt>
                <c:pt idx="15135">
                  <c:v>13.10.1964</c:v>
                </c:pt>
                <c:pt idx="15136">
                  <c:v>12.10.1964</c:v>
                </c:pt>
                <c:pt idx="15137">
                  <c:v>09.10.1964</c:v>
                </c:pt>
                <c:pt idx="15138">
                  <c:v>08.10.1964</c:v>
                </c:pt>
                <c:pt idx="15139">
                  <c:v>07.10.1964</c:v>
                </c:pt>
                <c:pt idx="15140">
                  <c:v>06.10.1964</c:v>
                </c:pt>
                <c:pt idx="15141">
                  <c:v>05.10.1964</c:v>
                </c:pt>
                <c:pt idx="15142">
                  <c:v>02.10.1964</c:v>
                </c:pt>
                <c:pt idx="15143">
                  <c:v>01.10.1964</c:v>
                </c:pt>
                <c:pt idx="15144">
                  <c:v>30.09.1964</c:v>
                </c:pt>
                <c:pt idx="15145">
                  <c:v>29.09.1964</c:v>
                </c:pt>
                <c:pt idx="15146">
                  <c:v>28.09.1964</c:v>
                </c:pt>
                <c:pt idx="15147">
                  <c:v>25.09.1964</c:v>
                </c:pt>
                <c:pt idx="15148">
                  <c:v>24.09.1964</c:v>
                </c:pt>
                <c:pt idx="15149">
                  <c:v>23.09.1964</c:v>
                </c:pt>
                <c:pt idx="15150">
                  <c:v>22.09.1964</c:v>
                </c:pt>
                <c:pt idx="15151">
                  <c:v>21.09.1964</c:v>
                </c:pt>
                <c:pt idx="15152">
                  <c:v>18.09.1964</c:v>
                </c:pt>
                <c:pt idx="15153">
                  <c:v>17.09.1964</c:v>
                </c:pt>
                <c:pt idx="15154">
                  <c:v>16.09.1964</c:v>
                </c:pt>
                <c:pt idx="15155">
                  <c:v>15.09.1964</c:v>
                </c:pt>
                <c:pt idx="15156">
                  <c:v>14.09.1964</c:v>
                </c:pt>
                <c:pt idx="15157">
                  <c:v>11.09.1964</c:v>
                </c:pt>
                <c:pt idx="15158">
                  <c:v>10.09.1964</c:v>
                </c:pt>
                <c:pt idx="15159">
                  <c:v>09.09.1964</c:v>
                </c:pt>
                <c:pt idx="15160">
                  <c:v>08.09.1964</c:v>
                </c:pt>
                <c:pt idx="15161">
                  <c:v>04.09.1964</c:v>
                </c:pt>
                <c:pt idx="15162">
                  <c:v>03.09.1964</c:v>
                </c:pt>
                <c:pt idx="15163">
                  <c:v>02.09.1964</c:v>
                </c:pt>
                <c:pt idx="15164">
                  <c:v>01.09.1964</c:v>
                </c:pt>
                <c:pt idx="15165">
                  <c:v>31.08.1964</c:v>
                </c:pt>
                <c:pt idx="15166">
                  <c:v>28.08.1964</c:v>
                </c:pt>
                <c:pt idx="15167">
                  <c:v>27.08.1964</c:v>
                </c:pt>
                <c:pt idx="15168">
                  <c:v>26.08.1964</c:v>
                </c:pt>
                <c:pt idx="15169">
                  <c:v>25.08.1964</c:v>
                </c:pt>
                <c:pt idx="15170">
                  <c:v>24.08.1964</c:v>
                </c:pt>
                <c:pt idx="15171">
                  <c:v>21.08.1964</c:v>
                </c:pt>
                <c:pt idx="15172">
                  <c:v>20.08.1964</c:v>
                </c:pt>
                <c:pt idx="15173">
                  <c:v>19.08.1964</c:v>
                </c:pt>
                <c:pt idx="15174">
                  <c:v>18.08.1964</c:v>
                </c:pt>
                <c:pt idx="15175">
                  <c:v>17.08.1964</c:v>
                </c:pt>
                <c:pt idx="15176">
                  <c:v>14.08.1964</c:v>
                </c:pt>
                <c:pt idx="15177">
                  <c:v>13.08.1964</c:v>
                </c:pt>
                <c:pt idx="15178">
                  <c:v>12.08.1964</c:v>
                </c:pt>
                <c:pt idx="15179">
                  <c:v>11.08.1964</c:v>
                </c:pt>
                <c:pt idx="15180">
                  <c:v>10.08.1964</c:v>
                </c:pt>
                <c:pt idx="15181">
                  <c:v>07.08.1964</c:v>
                </c:pt>
                <c:pt idx="15182">
                  <c:v>06.08.1964</c:v>
                </c:pt>
                <c:pt idx="15183">
                  <c:v>05.08.1964</c:v>
                </c:pt>
                <c:pt idx="15184">
                  <c:v>04.08.1964</c:v>
                </c:pt>
                <c:pt idx="15185">
                  <c:v>03.08.1964</c:v>
                </c:pt>
                <c:pt idx="15186">
                  <c:v>31.07.1964</c:v>
                </c:pt>
                <c:pt idx="15187">
                  <c:v>30.07.1964</c:v>
                </c:pt>
                <c:pt idx="15188">
                  <c:v>29.07.1964</c:v>
                </c:pt>
                <c:pt idx="15189">
                  <c:v>28.07.1964</c:v>
                </c:pt>
                <c:pt idx="15190">
                  <c:v>27.07.1964</c:v>
                </c:pt>
                <c:pt idx="15191">
                  <c:v>24.07.1964</c:v>
                </c:pt>
                <c:pt idx="15192">
                  <c:v>23.07.1964</c:v>
                </c:pt>
                <c:pt idx="15193">
                  <c:v>22.07.1964</c:v>
                </c:pt>
                <c:pt idx="15194">
                  <c:v>21.07.1964</c:v>
                </c:pt>
                <c:pt idx="15195">
                  <c:v>20.07.1964</c:v>
                </c:pt>
                <c:pt idx="15196">
                  <c:v>17.07.1964</c:v>
                </c:pt>
                <c:pt idx="15197">
                  <c:v>16.07.1964</c:v>
                </c:pt>
                <c:pt idx="15198">
                  <c:v>15.07.1964</c:v>
                </c:pt>
                <c:pt idx="15199">
                  <c:v>14.07.1964</c:v>
                </c:pt>
                <c:pt idx="15200">
                  <c:v>13.07.1964</c:v>
                </c:pt>
                <c:pt idx="15201">
                  <c:v>10.07.1964</c:v>
                </c:pt>
                <c:pt idx="15202">
                  <c:v>09.07.1964</c:v>
                </c:pt>
                <c:pt idx="15203">
                  <c:v>08.07.1964</c:v>
                </c:pt>
                <c:pt idx="15204">
                  <c:v>07.07.1964</c:v>
                </c:pt>
                <c:pt idx="15205">
                  <c:v>06.07.1964</c:v>
                </c:pt>
                <c:pt idx="15206">
                  <c:v>02.07.1964</c:v>
                </c:pt>
                <c:pt idx="15207">
                  <c:v>01.07.1964</c:v>
                </c:pt>
                <c:pt idx="15208">
                  <c:v>30.06.1964</c:v>
                </c:pt>
                <c:pt idx="15209">
                  <c:v>29.06.1964</c:v>
                </c:pt>
                <c:pt idx="15210">
                  <c:v>26.06.1964</c:v>
                </c:pt>
                <c:pt idx="15211">
                  <c:v>25.06.1964</c:v>
                </c:pt>
                <c:pt idx="15212">
                  <c:v>24.06.1964</c:v>
                </c:pt>
                <c:pt idx="15213">
                  <c:v>23.06.1964</c:v>
                </c:pt>
                <c:pt idx="15214">
                  <c:v>22.06.1964</c:v>
                </c:pt>
                <c:pt idx="15215">
                  <c:v>19.06.1964</c:v>
                </c:pt>
                <c:pt idx="15216">
                  <c:v>18.06.1964</c:v>
                </c:pt>
                <c:pt idx="15217">
                  <c:v>17.06.1964</c:v>
                </c:pt>
                <c:pt idx="15218">
                  <c:v>16.06.1964</c:v>
                </c:pt>
                <c:pt idx="15219">
                  <c:v>15.06.1964</c:v>
                </c:pt>
                <c:pt idx="15220">
                  <c:v>12.06.1964</c:v>
                </c:pt>
                <c:pt idx="15221">
                  <c:v>11.06.1964</c:v>
                </c:pt>
                <c:pt idx="15222">
                  <c:v>10.06.1964</c:v>
                </c:pt>
                <c:pt idx="15223">
                  <c:v>09.06.1964</c:v>
                </c:pt>
                <c:pt idx="15224">
                  <c:v>08.06.1964</c:v>
                </c:pt>
                <c:pt idx="15225">
                  <c:v>05.06.1964</c:v>
                </c:pt>
                <c:pt idx="15226">
                  <c:v>04.06.1964</c:v>
                </c:pt>
                <c:pt idx="15227">
                  <c:v>03.06.1964</c:v>
                </c:pt>
                <c:pt idx="15228">
                  <c:v>02.06.1964</c:v>
                </c:pt>
                <c:pt idx="15229">
                  <c:v>01.06.1964</c:v>
                </c:pt>
                <c:pt idx="15230">
                  <c:v>28.05.1964</c:v>
                </c:pt>
                <c:pt idx="15231">
                  <c:v>27.05.1964</c:v>
                </c:pt>
                <c:pt idx="15232">
                  <c:v>26.05.1964</c:v>
                </c:pt>
                <c:pt idx="15233">
                  <c:v>25.05.1964</c:v>
                </c:pt>
                <c:pt idx="15234">
                  <c:v>22.05.1964</c:v>
                </c:pt>
                <c:pt idx="15235">
                  <c:v>21.05.1964</c:v>
                </c:pt>
                <c:pt idx="15236">
                  <c:v>20.05.1964</c:v>
                </c:pt>
                <c:pt idx="15237">
                  <c:v>19.05.1964</c:v>
                </c:pt>
                <c:pt idx="15238">
                  <c:v>18.05.1964</c:v>
                </c:pt>
                <c:pt idx="15239">
                  <c:v>15.05.1964</c:v>
                </c:pt>
                <c:pt idx="15240">
                  <c:v>14.05.1964</c:v>
                </c:pt>
                <c:pt idx="15241">
                  <c:v>13.05.1964</c:v>
                </c:pt>
                <c:pt idx="15242">
                  <c:v>12.05.1964</c:v>
                </c:pt>
                <c:pt idx="15243">
                  <c:v>11.05.1964</c:v>
                </c:pt>
                <c:pt idx="15244">
                  <c:v>08.05.1964</c:v>
                </c:pt>
                <c:pt idx="15245">
                  <c:v>07.05.1964</c:v>
                </c:pt>
                <c:pt idx="15246">
                  <c:v>06.05.1964</c:v>
                </c:pt>
                <c:pt idx="15247">
                  <c:v>05.05.1964</c:v>
                </c:pt>
                <c:pt idx="15248">
                  <c:v>04.05.1964</c:v>
                </c:pt>
                <c:pt idx="15249">
                  <c:v>01.05.1964</c:v>
                </c:pt>
                <c:pt idx="15250">
                  <c:v>30.04.1964</c:v>
                </c:pt>
                <c:pt idx="15251">
                  <c:v>29.04.1964</c:v>
                </c:pt>
                <c:pt idx="15252">
                  <c:v>28.04.1964</c:v>
                </c:pt>
                <c:pt idx="15253">
                  <c:v>27.04.1964</c:v>
                </c:pt>
                <c:pt idx="15254">
                  <c:v>24.04.1964</c:v>
                </c:pt>
                <c:pt idx="15255">
                  <c:v>23.04.1964</c:v>
                </c:pt>
                <c:pt idx="15256">
                  <c:v>22.04.1964</c:v>
                </c:pt>
                <c:pt idx="15257">
                  <c:v>21.04.1964</c:v>
                </c:pt>
                <c:pt idx="15258">
                  <c:v>20.04.1964</c:v>
                </c:pt>
                <c:pt idx="15259">
                  <c:v>17.04.1964</c:v>
                </c:pt>
                <c:pt idx="15260">
                  <c:v>16.04.1964</c:v>
                </c:pt>
                <c:pt idx="15261">
                  <c:v>15.04.1964</c:v>
                </c:pt>
                <c:pt idx="15262">
                  <c:v>14.04.1964</c:v>
                </c:pt>
                <c:pt idx="15263">
                  <c:v>13.04.1964</c:v>
                </c:pt>
                <c:pt idx="15264">
                  <c:v>10.04.1964</c:v>
                </c:pt>
                <c:pt idx="15265">
                  <c:v>09.04.1964</c:v>
                </c:pt>
                <c:pt idx="15266">
                  <c:v>08.04.1964</c:v>
                </c:pt>
                <c:pt idx="15267">
                  <c:v>07.04.1964</c:v>
                </c:pt>
                <c:pt idx="15268">
                  <c:v>06.04.1964</c:v>
                </c:pt>
                <c:pt idx="15269">
                  <c:v>03.04.1964</c:v>
                </c:pt>
                <c:pt idx="15270">
                  <c:v>02.04.1964</c:v>
                </c:pt>
                <c:pt idx="15271">
                  <c:v>01.04.1964</c:v>
                </c:pt>
                <c:pt idx="15272">
                  <c:v>31.03.1964</c:v>
                </c:pt>
                <c:pt idx="15273">
                  <c:v>30.03.1964</c:v>
                </c:pt>
                <c:pt idx="15274">
                  <c:v>26.03.1964</c:v>
                </c:pt>
                <c:pt idx="15275">
                  <c:v>25.03.1964</c:v>
                </c:pt>
                <c:pt idx="15276">
                  <c:v>24.03.1964</c:v>
                </c:pt>
                <c:pt idx="15277">
                  <c:v>23.03.1964</c:v>
                </c:pt>
                <c:pt idx="15278">
                  <c:v>20.03.1964</c:v>
                </c:pt>
                <c:pt idx="15279">
                  <c:v>19.03.1964</c:v>
                </c:pt>
                <c:pt idx="15280">
                  <c:v>18.03.1964</c:v>
                </c:pt>
                <c:pt idx="15281">
                  <c:v>17.03.1964</c:v>
                </c:pt>
                <c:pt idx="15282">
                  <c:v>16.03.1964</c:v>
                </c:pt>
                <c:pt idx="15283">
                  <c:v>13.03.1964</c:v>
                </c:pt>
                <c:pt idx="15284">
                  <c:v>12.03.1964</c:v>
                </c:pt>
                <c:pt idx="15285">
                  <c:v>11.03.1964</c:v>
                </c:pt>
                <c:pt idx="15286">
                  <c:v>10.03.1964</c:v>
                </c:pt>
                <c:pt idx="15287">
                  <c:v>09.03.1964</c:v>
                </c:pt>
                <c:pt idx="15288">
                  <c:v>06.03.1964</c:v>
                </c:pt>
                <c:pt idx="15289">
                  <c:v>05.03.1964</c:v>
                </c:pt>
                <c:pt idx="15290">
                  <c:v>04.03.1964</c:v>
                </c:pt>
                <c:pt idx="15291">
                  <c:v>03.03.1964</c:v>
                </c:pt>
                <c:pt idx="15292">
                  <c:v>02.03.1964</c:v>
                </c:pt>
                <c:pt idx="15293">
                  <c:v>28.02.1964</c:v>
                </c:pt>
                <c:pt idx="15294">
                  <c:v>27.02.1964</c:v>
                </c:pt>
                <c:pt idx="15295">
                  <c:v>26.02.1964</c:v>
                </c:pt>
                <c:pt idx="15296">
                  <c:v>25.02.1964</c:v>
                </c:pt>
                <c:pt idx="15297">
                  <c:v>24.02.1964</c:v>
                </c:pt>
                <c:pt idx="15298">
                  <c:v>20.02.1964</c:v>
                </c:pt>
                <c:pt idx="15299">
                  <c:v>19.02.1964</c:v>
                </c:pt>
                <c:pt idx="15300">
                  <c:v>18.02.1964</c:v>
                </c:pt>
                <c:pt idx="15301">
                  <c:v>17.02.1964</c:v>
                </c:pt>
                <c:pt idx="15302">
                  <c:v>14.02.1964</c:v>
                </c:pt>
                <c:pt idx="15303">
                  <c:v>13.02.1964</c:v>
                </c:pt>
                <c:pt idx="15304">
                  <c:v>12.02.1964</c:v>
                </c:pt>
                <c:pt idx="15305">
                  <c:v>11.02.1964</c:v>
                </c:pt>
                <c:pt idx="15306">
                  <c:v>10.02.1964</c:v>
                </c:pt>
                <c:pt idx="15307">
                  <c:v>07.02.1964</c:v>
                </c:pt>
                <c:pt idx="15308">
                  <c:v>06.02.1964</c:v>
                </c:pt>
                <c:pt idx="15309">
                  <c:v>05.02.1964</c:v>
                </c:pt>
                <c:pt idx="15310">
                  <c:v>04.02.1964</c:v>
                </c:pt>
                <c:pt idx="15311">
                  <c:v>03.02.1964</c:v>
                </c:pt>
                <c:pt idx="15312">
                  <c:v>31.01.1964</c:v>
                </c:pt>
                <c:pt idx="15313">
                  <c:v>30.01.1964</c:v>
                </c:pt>
                <c:pt idx="15314">
                  <c:v>29.01.1964</c:v>
                </c:pt>
                <c:pt idx="15315">
                  <c:v>28.01.1964</c:v>
                </c:pt>
                <c:pt idx="15316">
                  <c:v>27.01.1964</c:v>
                </c:pt>
                <c:pt idx="15317">
                  <c:v>24.01.1964</c:v>
                </c:pt>
                <c:pt idx="15318">
                  <c:v>23.01.1964</c:v>
                </c:pt>
                <c:pt idx="15319">
                  <c:v>22.01.1964</c:v>
                </c:pt>
                <c:pt idx="15320">
                  <c:v>21.01.1964</c:v>
                </c:pt>
                <c:pt idx="15321">
                  <c:v>20.01.1964</c:v>
                </c:pt>
                <c:pt idx="15322">
                  <c:v>17.01.1964</c:v>
                </c:pt>
                <c:pt idx="15323">
                  <c:v>16.01.1964</c:v>
                </c:pt>
                <c:pt idx="15324">
                  <c:v>15.01.1964</c:v>
                </c:pt>
                <c:pt idx="15325">
                  <c:v>14.01.1964</c:v>
                </c:pt>
                <c:pt idx="15326">
                  <c:v>13.01.1964</c:v>
                </c:pt>
                <c:pt idx="15327">
                  <c:v>10.01.1964</c:v>
                </c:pt>
                <c:pt idx="15328">
                  <c:v>09.01.1964</c:v>
                </c:pt>
                <c:pt idx="15329">
                  <c:v>08.01.1964</c:v>
                </c:pt>
                <c:pt idx="15330">
                  <c:v>07.01.1964</c:v>
                </c:pt>
                <c:pt idx="15331">
                  <c:v>06.01.1964</c:v>
                </c:pt>
                <c:pt idx="15332">
                  <c:v>03.01.1964</c:v>
                </c:pt>
                <c:pt idx="15333">
                  <c:v>02.01.1964</c:v>
                </c:pt>
                <c:pt idx="15334">
                  <c:v>31.12.1963</c:v>
                </c:pt>
                <c:pt idx="15335">
                  <c:v>30.12.1963</c:v>
                </c:pt>
                <c:pt idx="15336">
                  <c:v>27.12.1963</c:v>
                </c:pt>
                <c:pt idx="15337">
                  <c:v>26.12.1963</c:v>
                </c:pt>
                <c:pt idx="15338">
                  <c:v>24.12.1963</c:v>
                </c:pt>
                <c:pt idx="15339">
                  <c:v>23.12.1963</c:v>
                </c:pt>
                <c:pt idx="15340">
                  <c:v>20.12.1963</c:v>
                </c:pt>
                <c:pt idx="15341">
                  <c:v>19.12.1963</c:v>
                </c:pt>
                <c:pt idx="15342">
                  <c:v>18.12.1963</c:v>
                </c:pt>
                <c:pt idx="15343">
                  <c:v>17.12.1963</c:v>
                </c:pt>
                <c:pt idx="15344">
                  <c:v>16.12.1963</c:v>
                </c:pt>
                <c:pt idx="15345">
                  <c:v>13.12.1963</c:v>
                </c:pt>
                <c:pt idx="15346">
                  <c:v>12.12.1963</c:v>
                </c:pt>
                <c:pt idx="15347">
                  <c:v>11.12.1963</c:v>
                </c:pt>
                <c:pt idx="15348">
                  <c:v>10.12.1963</c:v>
                </c:pt>
                <c:pt idx="15349">
                  <c:v>09.12.1963</c:v>
                </c:pt>
                <c:pt idx="15350">
                  <c:v>06.12.1963</c:v>
                </c:pt>
                <c:pt idx="15351">
                  <c:v>05.12.1963</c:v>
                </c:pt>
                <c:pt idx="15352">
                  <c:v>04.12.1963</c:v>
                </c:pt>
                <c:pt idx="15353">
                  <c:v>03.12.1963</c:v>
                </c:pt>
                <c:pt idx="15354">
                  <c:v>02.12.1963</c:v>
                </c:pt>
                <c:pt idx="15355">
                  <c:v>29.11.1963</c:v>
                </c:pt>
                <c:pt idx="15356">
                  <c:v>27.11.1963</c:v>
                </c:pt>
                <c:pt idx="15357">
                  <c:v>26.11.1963</c:v>
                </c:pt>
                <c:pt idx="15358">
                  <c:v>22.11.1963</c:v>
                </c:pt>
                <c:pt idx="15359">
                  <c:v>21.11.1963</c:v>
                </c:pt>
                <c:pt idx="15360">
                  <c:v>20.11.1963</c:v>
                </c:pt>
                <c:pt idx="15361">
                  <c:v>19.11.1963</c:v>
                </c:pt>
                <c:pt idx="15362">
                  <c:v>18.11.1963</c:v>
                </c:pt>
                <c:pt idx="15363">
                  <c:v>15.11.1963</c:v>
                </c:pt>
                <c:pt idx="15364">
                  <c:v>14.11.1963</c:v>
                </c:pt>
                <c:pt idx="15365">
                  <c:v>13.11.1963</c:v>
                </c:pt>
                <c:pt idx="15366">
                  <c:v>12.11.1963</c:v>
                </c:pt>
                <c:pt idx="15367">
                  <c:v>11.11.1963</c:v>
                </c:pt>
                <c:pt idx="15368">
                  <c:v>08.11.1963</c:v>
                </c:pt>
                <c:pt idx="15369">
                  <c:v>07.11.1963</c:v>
                </c:pt>
                <c:pt idx="15370">
                  <c:v>06.11.1963</c:v>
                </c:pt>
                <c:pt idx="15371">
                  <c:v>04.11.1963</c:v>
                </c:pt>
                <c:pt idx="15372">
                  <c:v>01.11.1963</c:v>
                </c:pt>
                <c:pt idx="15373">
                  <c:v>31.10.1963</c:v>
                </c:pt>
                <c:pt idx="15374">
                  <c:v>30.10.1963</c:v>
                </c:pt>
                <c:pt idx="15375">
                  <c:v>29.10.1963</c:v>
                </c:pt>
                <c:pt idx="15376">
                  <c:v>28.10.1963</c:v>
                </c:pt>
                <c:pt idx="15377">
                  <c:v>25.10.1963</c:v>
                </c:pt>
                <c:pt idx="15378">
                  <c:v>24.10.1963</c:v>
                </c:pt>
                <c:pt idx="15379">
                  <c:v>23.10.1963</c:v>
                </c:pt>
                <c:pt idx="15380">
                  <c:v>22.10.1963</c:v>
                </c:pt>
                <c:pt idx="15381">
                  <c:v>21.10.1963</c:v>
                </c:pt>
                <c:pt idx="15382">
                  <c:v>18.10.1963</c:v>
                </c:pt>
                <c:pt idx="15383">
                  <c:v>17.10.1963</c:v>
                </c:pt>
                <c:pt idx="15384">
                  <c:v>16.10.1963</c:v>
                </c:pt>
                <c:pt idx="15385">
                  <c:v>15.10.1963</c:v>
                </c:pt>
                <c:pt idx="15386">
                  <c:v>14.10.1963</c:v>
                </c:pt>
                <c:pt idx="15387">
                  <c:v>11.10.1963</c:v>
                </c:pt>
                <c:pt idx="15388">
                  <c:v>10.10.1963</c:v>
                </c:pt>
                <c:pt idx="15389">
                  <c:v>09.10.1963</c:v>
                </c:pt>
                <c:pt idx="15390">
                  <c:v>08.10.1963</c:v>
                </c:pt>
                <c:pt idx="15391">
                  <c:v>07.10.1963</c:v>
                </c:pt>
                <c:pt idx="15392">
                  <c:v>04.10.1963</c:v>
                </c:pt>
                <c:pt idx="15393">
                  <c:v>03.10.1963</c:v>
                </c:pt>
                <c:pt idx="15394">
                  <c:v>02.10.1963</c:v>
                </c:pt>
                <c:pt idx="15395">
                  <c:v>01.10.1963</c:v>
                </c:pt>
                <c:pt idx="15396">
                  <c:v>30.09.1963</c:v>
                </c:pt>
                <c:pt idx="15397">
                  <c:v>27.09.1963</c:v>
                </c:pt>
                <c:pt idx="15398">
                  <c:v>26.09.1963</c:v>
                </c:pt>
                <c:pt idx="15399">
                  <c:v>25.09.1963</c:v>
                </c:pt>
                <c:pt idx="15400">
                  <c:v>24.09.1963</c:v>
                </c:pt>
                <c:pt idx="15401">
                  <c:v>23.09.1963</c:v>
                </c:pt>
                <c:pt idx="15402">
                  <c:v>20.09.1963</c:v>
                </c:pt>
                <c:pt idx="15403">
                  <c:v>19.09.1963</c:v>
                </c:pt>
                <c:pt idx="15404">
                  <c:v>18.09.1963</c:v>
                </c:pt>
                <c:pt idx="15405">
                  <c:v>17.09.1963</c:v>
                </c:pt>
                <c:pt idx="15406">
                  <c:v>16.09.1963</c:v>
                </c:pt>
                <c:pt idx="15407">
                  <c:v>13.09.1963</c:v>
                </c:pt>
                <c:pt idx="15408">
                  <c:v>12.09.1963</c:v>
                </c:pt>
                <c:pt idx="15409">
                  <c:v>11.09.1963</c:v>
                </c:pt>
                <c:pt idx="15410">
                  <c:v>10.09.1963</c:v>
                </c:pt>
                <c:pt idx="15411">
                  <c:v>09.09.1963</c:v>
                </c:pt>
                <c:pt idx="15412">
                  <c:v>06.09.1963</c:v>
                </c:pt>
                <c:pt idx="15413">
                  <c:v>05.09.1963</c:v>
                </c:pt>
                <c:pt idx="15414">
                  <c:v>04.09.1963</c:v>
                </c:pt>
                <c:pt idx="15415">
                  <c:v>03.09.1963</c:v>
                </c:pt>
                <c:pt idx="15416">
                  <c:v>30.08.1963</c:v>
                </c:pt>
                <c:pt idx="15417">
                  <c:v>29.08.1963</c:v>
                </c:pt>
                <c:pt idx="15418">
                  <c:v>28.08.1963</c:v>
                </c:pt>
                <c:pt idx="15419">
                  <c:v>27.08.1963</c:v>
                </c:pt>
                <c:pt idx="15420">
                  <c:v>26.08.1963</c:v>
                </c:pt>
                <c:pt idx="15421">
                  <c:v>23.08.1963</c:v>
                </c:pt>
                <c:pt idx="15422">
                  <c:v>22.08.1963</c:v>
                </c:pt>
                <c:pt idx="15423">
                  <c:v>21.08.1963</c:v>
                </c:pt>
                <c:pt idx="15424">
                  <c:v>20.08.1963</c:v>
                </c:pt>
                <c:pt idx="15425">
                  <c:v>19.08.1963</c:v>
                </c:pt>
                <c:pt idx="15426">
                  <c:v>16.08.1963</c:v>
                </c:pt>
                <c:pt idx="15427">
                  <c:v>15.08.1963</c:v>
                </c:pt>
                <c:pt idx="15428">
                  <c:v>14.08.1963</c:v>
                </c:pt>
                <c:pt idx="15429">
                  <c:v>13.08.1963</c:v>
                </c:pt>
                <c:pt idx="15430">
                  <c:v>12.08.1963</c:v>
                </c:pt>
                <c:pt idx="15431">
                  <c:v>09.08.1963</c:v>
                </c:pt>
                <c:pt idx="15432">
                  <c:v>08.08.1963</c:v>
                </c:pt>
                <c:pt idx="15433">
                  <c:v>07.08.1963</c:v>
                </c:pt>
                <c:pt idx="15434">
                  <c:v>06.08.1963</c:v>
                </c:pt>
                <c:pt idx="15435">
                  <c:v>05.08.1963</c:v>
                </c:pt>
                <c:pt idx="15436">
                  <c:v>02.08.1963</c:v>
                </c:pt>
                <c:pt idx="15437">
                  <c:v>01.08.1963</c:v>
                </c:pt>
                <c:pt idx="15438">
                  <c:v>31.07.1963</c:v>
                </c:pt>
                <c:pt idx="15439">
                  <c:v>30.07.1963</c:v>
                </c:pt>
                <c:pt idx="15440">
                  <c:v>29.07.1963</c:v>
                </c:pt>
                <c:pt idx="15441">
                  <c:v>26.07.1963</c:v>
                </c:pt>
                <c:pt idx="15442">
                  <c:v>25.07.1963</c:v>
                </c:pt>
                <c:pt idx="15443">
                  <c:v>24.07.1963</c:v>
                </c:pt>
                <c:pt idx="15444">
                  <c:v>23.07.1963</c:v>
                </c:pt>
                <c:pt idx="15445">
                  <c:v>22.07.1963</c:v>
                </c:pt>
                <c:pt idx="15446">
                  <c:v>19.07.1963</c:v>
                </c:pt>
                <c:pt idx="15447">
                  <c:v>18.07.1963</c:v>
                </c:pt>
                <c:pt idx="15448">
                  <c:v>17.07.1963</c:v>
                </c:pt>
                <c:pt idx="15449">
                  <c:v>16.07.1963</c:v>
                </c:pt>
                <c:pt idx="15450">
                  <c:v>15.07.1963</c:v>
                </c:pt>
                <c:pt idx="15451">
                  <c:v>12.07.1963</c:v>
                </c:pt>
                <c:pt idx="15452">
                  <c:v>11.07.1963</c:v>
                </c:pt>
                <c:pt idx="15453">
                  <c:v>10.07.1963</c:v>
                </c:pt>
                <c:pt idx="15454">
                  <c:v>09.07.1963</c:v>
                </c:pt>
                <c:pt idx="15455">
                  <c:v>08.07.1963</c:v>
                </c:pt>
                <c:pt idx="15456">
                  <c:v>05.07.1963</c:v>
                </c:pt>
                <c:pt idx="15457">
                  <c:v>03.07.1963</c:v>
                </c:pt>
                <c:pt idx="15458">
                  <c:v>02.07.1963</c:v>
                </c:pt>
                <c:pt idx="15459">
                  <c:v>01.07.1963</c:v>
                </c:pt>
                <c:pt idx="15460">
                  <c:v>28.06.1963</c:v>
                </c:pt>
                <c:pt idx="15461">
                  <c:v>27.06.1963</c:v>
                </c:pt>
                <c:pt idx="15462">
                  <c:v>26.06.1963</c:v>
                </c:pt>
                <c:pt idx="15463">
                  <c:v>25.06.1963</c:v>
                </c:pt>
                <c:pt idx="15464">
                  <c:v>24.06.1963</c:v>
                </c:pt>
                <c:pt idx="15465">
                  <c:v>21.06.1963</c:v>
                </c:pt>
                <c:pt idx="15466">
                  <c:v>20.06.1963</c:v>
                </c:pt>
                <c:pt idx="15467">
                  <c:v>19.06.1963</c:v>
                </c:pt>
                <c:pt idx="15468">
                  <c:v>18.06.1963</c:v>
                </c:pt>
                <c:pt idx="15469">
                  <c:v>17.06.1963</c:v>
                </c:pt>
                <c:pt idx="15470">
                  <c:v>14.06.1963</c:v>
                </c:pt>
                <c:pt idx="15471">
                  <c:v>13.06.1963</c:v>
                </c:pt>
                <c:pt idx="15472">
                  <c:v>12.06.1963</c:v>
                </c:pt>
                <c:pt idx="15473">
                  <c:v>11.06.1963</c:v>
                </c:pt>
                <c:pt idx="15474">
                  <c:v>10.06.1963</c:v>
                </c:pt>
                <c:pt idx="15475">
                  <c:v>07.06.1963</c:v>
                </c:pt>
                <c:pt idx="15476">
                  <c:v>06.06.1963</c:v>
                </c:pt>
                <c:pt idx="15477">
                  <c:v>05.06.1963</c:v>
                </c:pt>
                <c:pt idx="15478">
                  <c:v>04.06.1963</c:v>
                </c:pt>
                <c:pt idx="15479">
                  <c:v>03.06.1963</c:v>
                </c:pt>
                <c:pt idx="15480">
                  <c:v>31.05.1963</c:v>
                </c:pt>
                <c:pt idx="15481">
                  <c:v>29.05.1963</c:v>
                </c:pt>
                <c:pt idx="15482">
                  <c:v>28.05.1963</c:v>
                </c:pt>
                <c:pt idx="15483">
                  <c:v>27.05.1963</c:v>
                </c:pt>
                <c:pt idx="15484">
                  <c:v>24.05.1963</c:v>
                </c:pt>
                <c:pt idx="15485">
                  <c:v>23.05.1963</c:v>
                </c:pt>
                <c:pt idx="15486">
                  <c:v>22.05.1963</c:v>
                </c:pt>
                <c:pt idx="15487">
                  <c:v>21.05.1963</c:v>
                </c:pt>
                <c:pt idx="15488">
                  <c:v>20.05.1963</c:v>
                </c:pt>
                <c:pt idx="15489">
                  <c:v>17.05.1963</c:v>
                </c:pt>
                <c:pt idx="15490">
                  <c:v>16.05.1963</c:v>
                </c:pt>
                <c:pt idx="15491">
                  <c:v>15.05.1963</c:v>
                </c:pt>
                <c:pt idx="15492">
                  <c:v>14.05.1963</c:v>
                </c:pt>
                <c:pt idx="15493">
                  <c:v>13.05.1963</c:v>
                </c:pt>
                <c:pt idx="15494">
                  <c:v>10.05.1963</c:v>
                </c:pt>
                <c:pt idx="15495">
                  <c:v>09.05.1963</c:v>
                </c:pt>
                <c:pt idx="15496">
                  <c:v>08.05.1963</c:v>
                </c:pt>
                <c:pt idx="15497">
                  <c:v>07.05.1963</c:v>
                </c:pt>
                <c:pt idx="15498">
                  <c:v>06.05.1963</c:v>
                </c:pt>
                <c:pt idx="15499">
                  <c:v>03.05.1963</c:v>
                </c:pt>
                <c:pt idx="15500">
                  <c:v>02.05.1963</c:v>
                </c:pt>
                <c:pt idx="15501">
                  <c:v>01.05.1963</c:v>
                </c:pt>
                <c:pt idx="15502">
                  <c:v>30.04.1963</c:v>
                </c:pt>
                <c:pt idx="15503">
                  <c:v>29.04.1963</c:v>
                </c:pt>
                <c:pt idx="15504">
                  <c:v>26.04.1963</c:v>
                </c:pt>
                <c:pt idx="15505">
                  <c:v>25.04.1963</c:v>
                </c:pt>
                <c:pt idx="15506">
                  <c:v>24.04.1963</c:v>
                </c:pt>
                <c:pt idx="15507">
                  <c:v>23.04.1963</c:v>
                </c:pt>
                <c:pt idx="15508">
                  <c:v>22.04.1963</c:v>
                </c:pt>
                <c:pt idx="15509">
                  <c:v>19.04.1963</c:v>
                </c:pt>
                <c:pt idx="15510">
                  <c:v>18.04.1963</c:v>
                </c:pt>
                <c:pt idx="15511">
                  <c:v>17.04.1963</c:v>
                </c:pt>
                <c:pt idx="15512">
                  <c:v>16.04.1963</c:v>
                </c:pt>
                <c:pt idx="15513">
                  <c:v>15.04.1963</c:v>
                </c:pt>
                <c:pt idx="15514">
                  <c:v>11.04.1963</c:v>
                </c:pt>
                <c:pt idx="15515">
                  <c:v>10.04.1963</c:v>
                </c:pt>
                <c:pt idx="15516">
                  <c:v>09.04.1963</c:v>
                </c:pt>
                <c:pt idx="15517">
                  <c:v>08.04.1963</c:v>
                </c:pt>
                <c:pt idx="15518">
                  <c:v>05.04.1963</c:v>
                </c:pt>
                <c:pt idx="15519">
                  <c:v>04.04.1963</c:v>
                </c:pt>
                <c:pt idx="15520">
                  <c:v>03.04.1963</c:v>
                </c:pt>
                <c:pt idx="15521">
                  <c:v>02.04.1963</c:v>
                </c:pt>
                <c:pt idx="15522">
                  <c:v>01.04.1963</c:v>
                </c:pt>
                <c:pt idx="15523">
                  <c:v>29.03.1963</c:v>
                </c:pt>
                <c:pt idx="15524">
                  <c:v>28.03.1963</c:v>
                </c:pt>
                <c:pt idx="15525">
                  <c:v>27.03.1963</c:v>
                </c:pt>
                <c:pt idx="15526">
                  <c:v>26.03.1963</c:v>
                </c:pt>
                <c:pt idx="15527">
                  <c:v>25.03.1963</c:v>
                </c:pt>
                <c:pt idx="15528">
                  <c:v>22.03.1963</c:v>
                </c:pt>
                <c:pt idx="15529">
                  <c:v>21.03.1963</c:v>
                </c:pt>
                <c:pt idx="15530">
                  <c:v>20.03.1963</c:v>
                </c:pt>
                <c:pt idx="15531">
                  <c:v>19.03.1963</c:v>
                </c:pt>
                <c:pt idx="15532">
                  <c:v>18.03.1963</c:v>
                </c:pt>
                <c:pt idx="15533">
                  <c:v>15.03.1963</c:v>
                </c:pt>
                <c:pt idx="15534">
                  <c:v>14.03.1963</c:v>
                </c:pt>
                <c:pt idx="15535">
                  <c:v>13.03.1963</c:v>
                </c:pt>
                <c:pt idx="15536">
                  <c:v>12.03.1963</c:v>
                </c:pt>
                <c:pt idx="15537">
                  <c:v>11.03.1963</c:v>
                </c:pt>
                <c:pt idx="15538">
                  <c:v>08.03.1963</c:v>
                </c:pt>
                <c:pt idx="15539">
                  <c:v>07.03.1963</c:v>
                </c:pt>
                <c:pt idx="15540">
                  <c:v>06.03.1963</c:v>
                </c:pt>
                <c:pt idx="15541">
                  <c:v>05.03.1963</c:v>
                </c:pt>
                <c:pt idx="15542">
                  <c:v>04.03.1963</c:v>
                </c:pt>
                <c:pt idx="15543">
                  <c:v>01.03.1963</c:v>
                </c:pt>
                <c:pt idx="15544">
                  <c:v>28.02.1963</c:v>
                </c:pt>
                <c:pt idx="15545">
                  <c:v>27.02.1963</c:v>
                </c:pt>
                <c:pt idx="15546">
                  <c:v>26.02.1963</c:v>
                </c:pt>
                <c:pt idx="15547">
                  <c:v>25.02.1963</c:v>
                </c:pt>
                <c:pt idx="15548">
                  <c:v>21.02.1963</c:v>
                </c:pt>
                <c:pt idx="15549">
                  <c:v>20.02.1963</c:v>
                </c:pt>
                <c:pt idx="15550">
                  <c:v>19.02.1963</c:v>
                </c:pt>
                <c:pt idx="15551">
                  <c:v>18.02.1963</c:v>
                </c:pt>
                <c:pt idx="15552">
                  <c:v>15.02.1963</c:v>
                </c:pt>
                <c:pt idx="15553">
                  <c:v>14.02.1963</c:v>
                </c:pt>
                <c:pt idx="15554">
                  <c:v>13.02.1963</c:v>
                </c:pt>
                <c:pt idx="15555">
                  <c:v>12.02.1963</c:v>
                </c:pt>
                <c:pt idx="15556">
                  <c:v>11.02.1963</c:v>
                </c:pt>
                <c:pt idx="15557">
                  <c:v>08.02.1963</c:v>
                </c:pt>
                <c:pt idx="15558">
                  <c:v>07.02.1963</c:v>
                </c:pt>
                <c:pt idx="15559">
                  <c:v>06.02.1963</c:v>
                </c:pt>
                <c:pt idx="15560">
                  <c:v>05.02.1963</c:v>
                </c:pt>
                <c:pt idx="15561">
                  <c:v>04.02.1963</c:v>
                </c:pt>
                <c:pt idx="15562">
                  <c:v>01.02.1963</c:v>
                </c:pt>
                <c:pt idx="15563">
                  <c:v>31.01.1963</c:v>
                </c:pt>
                <c:pt idx="15564">
                  <c:v>30.01.1963</c:v>
                </c:pt>
                <c:pt idx="15565">
                  <c:v>29.01.1963</c:v>
                </c:pt>
                <c:pt idx="15566">
                  <c:v>28.01.1963</c:v>
                </c:pt>
                <c:pt idx="15567">
                  <c:v>25.01.1963</c:v>
                </c:pt>
                <c:pt idx="15568">
                  <c:v>24.01.1963</c:v>
                </c:pt>
                <c:pt idx="15569">
                  <c:v>23.01.1963</c:v>
                </c:pt>
                <c:pt idx="15570">
                  <c:v>22.01.1963</c:v>
                </c:pt>
                <c:pt idx="15571">
                  <c:v>21.01.1963</c:v>
                </c:pt>
                <c:pt idx="15572">
                  <c:v>18.01.1963</c:v>
                </c:pt>
                <c:pt idx="15573">
                  <c:v>17.01.1963</c:v>
                </c:pt>
                <c:pt idx="15574">
                  <c:v>16.01.1963</c:v>
                </c:pt>
                <c:pt idx="15575">
                  <c:v>15.01.1963</c:v>
                </c:pt>
                <c:pt idx="15576">
                  <c:v>14.01.1963</c:v>
                </c:pt>
                <c:pt idx="15577">
                  <c:v>11.01.1963</c:v>
                </c:pt>
                <c:pt idx="15578">
                  <c:v>10.01.1963</c:v>
                </c:pt>
                <c:pt idx="15579">
                  <c:v>09.01.1963</c:v>
                </c:pt>
                <c:pt idx="15580">
                  <c:v>08.01.1963</c:v>
                </c:pt>
                <c:pt idx="15581">
                  <c:v>07.01.1963</c:v>
                </c:pt>
                <c:pt idx="15582">
                  <c:v>04.01.1963</c:v>
                </c:pt>
                <c:pt idx="15583">
                  <c:v>03.01.1963</c:v>
                </c:pt>
                <c:pt idx="15584">
                  <c:v>02.01.1963</c:v>
                </c:pt>
                <c:pt idx="15585">
                  <c:v>31.12.1962</c:v>
                </c:pt>
                <c:pt idx="15586">
                  <c:v>28.12.1962</c:v>
                </c:pt>
                <c:pt idx="15587">
                  <c:v>27.12.1962</c:v>
                </c:pt>
                <c:pt idx="15588">
                  <c:v>26.12.1962</c:v>
                </c:pt>
                <c:pt idx="15589">
                  <c:v>24.12.1962</c:v>
                </c:pt>
                <c:pt idx="15590">
                  <c:v>21.12.1962</c:v>
                </c:pt>
                <c:pt idx="15591">
                  <c:v>20.12.1962</c:v>
                </c:pt>
                <c:pt idx="15592">
                  <c:v>19.12.1962</c:v>
                </c:pt>
                <c:pt idx="15593">
                  <c:v>18.12.1962</c:v>
                </c:pt>
                <c:pt idx="15594">
                  <c:v>17.12.1962</c:v>
                </c:pt>
                <c:pt idx="15595">
                  <c:v>14.12.1962</c:v>
                </c:pt>
                <c:pt idx="15596">
                  <c:v>13.12.1962</c:v>
                </c:pt>
                <c:pt idx="15597">
                  <c:v>12.12.1962</c:v>
                </c:pt>
                <c:pt idx="15598">
                  <c:v>11.12.1962</c:v>
                </c:pt>
                <c:pt idx="15599">
                  <c:v>10.12.1962</c:v>
                </c:pt>
                <c:pt idx="15600">
                  <c:v>07.12.1962</c:v>
                </c:pt>
                <c:pt idx="15601">
                  <c:v>06.12.1962</c:v>
                </c:pt>
                <c:pt idx="15602">
                  <c:v>05.12.1962</c:v>
                </c:pt>
                <c:pt idx="15603">
                  <c:v>04.12.1962</c:v>
                </c:pt>
                <c:pt idx="15604">
                  <c:v>03.12.1962</c:v>
                </c:pt>
                <c:pt idx="15605">
                  <c:v>30.11.1962</c:v>
                </c:pt>
                <c:pt idx="15606">
                  <c:v>29.11.1962</c:v>
                </c:pt>
                <c:pt idx="15607">
                  <c:v>28.11.1962</c:v>
                </c:pt>
                <c:pt idx="15608">
                  <c:v>27.11.1962</c:v>
                </c:pt>
                <c:pt idx="15609">
                  <c:v>26.11.1962</c:v>
                </c:pt>
                <c:pt idx="15610">
                  <c:v>23.11.1962</c:v>
                </c:pt>
                <c:pt idx="15611">
                  <c:v>21.11.1962</c:v>
                </c:pt>
                <c:pt idx="15612">
                  <c:v>20.11.1962</c:v>
                </c:pt>
                <c:pt idx="15613">
                  <c:v>19.11.1962</c:v>
                </c:pt>
                <c:pt idx="15614">
                  <c:v>16.11.1962</c:v>
                </c:pt>
                <c:pt idx="15615">
                  <c:v>15.11.1962</c:v>
                </c:pt>
                <c:pt idx="15616">
                  <c:v>14.11.1962</c:v>
                </c:pt>
                <c:pt idx="15617">
                  <c:v>13.11.1962</c:v>
                </c:pt>
                <c:pt idx="15618">
                  <c:v>12.11.1962</c:v>
                </c:pt>
                <c:pt idx="15619">
                  <c:v>09.11.1962</c:v>
                </c:pt>
                <c:pt idx="15620">
                  <c:v>08.11.1962</c:v>
                </c:pt>
                <c:pt idx="15621">
                  <c:v>07.11.1962</c:v>
                </c:pt>
                <c:pt idx="15622">
                  <c:v>05.11.1962</c:v>
                </c:pt>
                <c:pt idx="15623">
                  <c:v>02.11.1962</c:v>
                </c:pt>
                <c:pt idx="15624">
                  <c:v>01.11.1962</c:v>
                </c:pt>
                <c:pt idx="15625">
                  <c:v>31.10.1962</c:v>
                </c:pt>
                <c:pt idx="15626">
                  <c:v>30.10.1962</c:v>
                </c:pt>
                <c:pt idx="15627">
                  <c:v>29.10.1962</c:v>
                </c:pt>
                <c:pt idx="15628">
                  <c:v>26.10.1962</c:v>
                </c:pt>
                <c:pt idx="15629">
                  <c:v>25.10.1962</c:v>
                </c:pt>
                <c:pt idx="15630">
                  <c:v>24.10.1962</c:v>
                </c:pt>
                <c:pt idx="15631">
                  <c:v>23.10.1962</c:v>
                </c:pt>
                <c:pt idx="15632">
                  <c:v>22.10.1962</c:v>
                </c:pt>
                <c:pt idx="15633">
                  <c:v>19.10.1962</c:v>
                </c:pt>
                <c:pt idx="15634">
                  <c:v>18.10.1962</c:v>
                </c:pt>
                <c:pt idx="15635">
                  <c:v>17.10.1962</c:v>
                </c:pt>
                <c:pt idx="15636">
                  <c:v>16.10.1962</c:v>
                </c:pt>
                <c:pt idx="15637">
                  <c:v>15.10.1962</c:v>
                </c:pt>
                <c:pt idx="15638">
                  <c:v>12.10.1962</c:v>
                </c:pt>
                <c:pt idx="15639">
                  <c:v>11.10.1962</c:v>
                </c:pt>
                <c:pt idx="15640">
                  <c:v>10.10.1962</c:v>
                </c:pt>
                <c:pt idx="15641">
                  <c:v>09.10.1962</c:v>
                </c:pt>
                <c:pt idx="15642">
                  <c:v>08.10.1962</c:v>
                </c:pt>
                <c:pt idx="15643">
                  <c:v>05.10.1962</c:v>
                </c:pt>
                <c:pt idx="15644">
                  <c:v>04.10.1962</c:v>
                </c:pt>
                <c:pt idx="15645">
                  <c:v>03.10.1962</c:v>
                </c:pt>
                <c:pt idx="15646">
                  <c:v>02.10.1962</c:v>
                </c:pt>
                <c:pt idx="15647">
                  <c:v>01.10.1962</c:v>
                </c:pt>
                <c:pt idx="15648">
                  <c:v>28.09.1962</c:v>
                </c:pt>
                <c:pt idx="15649">
                  <c:v>27.09.1962</c:v>
                </c:pt>
                <c:pt idx="15650">
                  <c:v>26.09.1962</c:v>
                </c:pt>
                <c:pt idx="15651">
                  <c:v>25.09.1962</c:v>
                </c:pt>
                <c:pt idx="15652">
                  <c:v>24.09.1962</c:v>
                </c:pt>
                <c:pt idx="15653">
                  <c:v>21.09.1962</c:v>
                </c:pt>
                <c:pt idx="15654">
                  <c:v>20.09.1962</c:v>
                </c:pt>
                <c:pt idx="15655">
                  <c:v>19.09.1962</c:v>
                </c:pt>
                <c:pt idx="15656">
                  <c:v>18.09.1962</c:v>
                </c:pt>
                <c:pt idx="15657">
                  <c:v>17.09.1962</c:v>
                </c:pt>
                <c:pt idx="15658">
                  <c:v>14.09.1962</c:v>
                </c:pt>
                <c:pt idx="15659">
                  <c:v>13.09.1962</c:v>
                </c:pt>
                <c:pt idx="15660">
                  <c:v>12.09.1962</c:v>
                </c:pt>
                <c:pt idx="15661">
                  <c:v>11.09.1962</c:v>
                </c:pt>
                <c:pt idx="15662">
                  <c:v>10.09.1962</c:v>
                </c:pt>
                <c:pt idx="15663">
                  <c:v>07.09.1962</c:v>
                </c:pt>
                <c:pt idx="15664">
                  <c:v>06.09.1962</c:v>
                </c:pt>
                <c:pt idx="15665">
                  <c:v>05.09.1962</c:v>
                </c:pt>
                <c:pt idx="15666">
                  <c:v>04.09.1962</c:v>
                </c:pt>
                <c:pt idx="15667">
                  <c:v>31.08.1962</c:v>
                </c:pt>
                <c:pt idx="15668">
                  <c:v>30.08.1962</c:v>
                </c:pt>
                <c:pt idx="15669">
                  <c:v>29.08.1962</c:v>
                </c:pt>
                <c:pt idx="15670">
                  <c:v>28.08.1962</c:v>
                </c:pt>
                <c:pt idx="15671">
                  <c:v>27.08.1962</c:v>
                </c:pt>
                <c:pt idx="15672">
                  <c:v>24.08.1962</c:v>
                </c:pt>
                <c:pt idx="15673">
                  <c:v>23.08.1962</c:v>
                </c:pt>
                <c:pt idx="15674">
                  <c:v>22.08.1962</c:v>
                </c:pt>
                <c:pt idx="15675">
                  <c:v>21.08.1962</c:v>
                </c:pt>
                <c:pt idx="15676">
                  <c:v>20.08.1962</c:v>
                </c:pt>
                <c:pt idx="15677">
                  <c:v>17.08.1962</c:v>
                </c:pt>
                <c:pt idx="15678">
                  <c:v>16.08.1962</c:v>
                </c:pt>
                <c:pt idx="15679">
                  <c:v>15.08.1962</c:v>
                </c:pt>
                <c:pt idx="15680">
                  <c:v>14.08.1962</c:v>
                </c:pt>
                <c:pt idx="15681">
                  <c:v>13.08.1962</c:v>
                </c:pt>
                <c:pt idx="15682">
                  <c:v>10.08.1962</c:v>
                </c:pt>
                <c:pt idx="15683">
                  <c:v>09.08.1962</c:v>
                </c:pt>
                <c:pt idx="15684">
                  <c:v>08.08.1962</c:v>
                </c:pt>
                <c:pt idx="15685">
                  <c:v>07.08.1962</c:v>
                </c:pt>
                <c:pt idx="15686">
                  <c:v>06.08.1962</c:v>
                </c:pt>
                <c:pt idx="15687">
                  <c:v>03.08.1962</c:v>
                </c:pt>
                <c:pt idx="15688">
                  <c:v>02.08.1962</c:v>
                </c:pt>
                <c:pt idx="15689">
                  <c:v>01.08.1962</c:v>
                </c:pt>
                <c:pt idx="15690">
                  <c:v>31.07.1962</c:v>
                </c:pt>
                <c:pt idx="15691">
                  <c:v>30.07.1962</c:v>
                </c:pt>
                <c:pt idx="15692">
                  <c:v>27.07.1962</c:v>
                </c:pt>
                <c:pt idx="15693">
                  <c:v>26.07.1962</c:v>
                </c:pt>
                <c:pt idx="15694">
                  <c:v>25.07.1962</c:v>
                </c:pt>
                <c:pt idx="15695">
                  <c:v>24.07.1962</c:v>
                </c:pt>
                <c:pt idx="15696">
                  <c:v>23.07.1962</c:v>
                </c:pt>
                <c:pt idx="15697">
                  <c:v>20.07.1962</c:v>
                </c:pt>
                <c:pt idx="15698">
                  <c:v>19.07.1962</c:v>
                </c:pt>
                <c:pt idx="15699">
                  <c:v>18.07.1962</c:v>
                </c:pt>
                <c:pt idx="15700">
                  <c:v>17.07.1962</c:v>
                </c:pt>
                <c:pt idx="15701">
                  <c:v>16.07.1962</c:v>
                </c:pt>
                <c:pt idx="15702">
                  <c:v>13.07.1962</c:v>
                </c:pt>
                <c:pt idx="15703">
                  <c:v>12.07.1962</c:v>
                </c:pt>
                <c:pt idx="15704">
                  <c:v>11.07.1962</c:v>
                </c:pt>
                <c:pt idx="15705">
                  <c:v>10.07.1962</c:v>
                </c:pt>
                <c:pt idx="15706">
                  <c:v>09.07.1962</c:v>
                </c:pt>
                <c:pt idx="15707">
                  <c:v>06.07.1962</c:v>
                </c:pt>
                <c:pt idx="15708">
                  <c:v>05.07.1962</c:v>
                </c:pt>
                <c:pt idx="15709">
                  <c:v>03.07.1962</c:v>
                </c:pt>
                <c:pt idx="15710">
                  <c:v>02.07.1962</c:v>
                </c:pt>
                <c:pt idx="15711">
                  <c:v>29.06.1962</c:v>
                </c:pt>
                <c:pt idx="15712">
                  <c:v>28.06.1962</c:v>
                </c:pt>
                <c:pt idx="15713">
                  <c:v>27.06.1962</c:v>
                </c:pt>
                <c:pt idx="15714">
                  <c:v>26.06.1962</c:v>
                </c:pt>
                <c:pt idx="15715">
                  <c:v>25.06.1962</c:v>
                </c:pt>
                <c:pt idx="15716">
                  <c:v>22.06.1962</c:v>
                </c:pt>
                <c:pt idx="15717">
                  <c:v>21.06.1962</c:v>
                </c:pt>
                <c:pt idx="15718">
                  <c:v>20.06.1962</c:v>
                </c:pt>
                <c:pt idx="15719">
                  <c:v>19.06.1962</c:v>
                </c:pt>
                <c:pt idx="15720">
                  <c:v>18.06.1962</c:v>
                </c:pt>
                <c:pt idx="15721">
                  <c:v>15.06.1962</c:v>
                </c:pt>
                <c:pt idx="15722">
                  <c:v>14.06.1962</c:v>
                </c:pt>
                <c:pt idx="15723">
                  <c:v>13.06.1962</c:v>
                </c:pt>
                <c:pt idx="15724">
                  <c:v>12.06.1962</c:v>
                </c:pt>
                <c:pt idx="15725">
                  <c:v>11.06.1962</c:v>
                </c:pt>
                <c:pt idx="15726">
                  <c:v>08.06.1962</c:v>
                </c:pt>
                <c:pt idx="15727">
                  <c:v>07.06.1962</c:v>
                </c:pt>
                <c:pt idx="15728">
                  <c:v>06.06.1962</c:v>
                </c:pt>
                <c:pt idx="15729">
                  <c:v>05.06.1962</c:v>
                </c:pt>
                <c:pt idx="15730">
                  <c:v>04.06.1962</c:v>
                </c:pt>
                <c:pt idx="15731">
                  <c:v>01.06.1962</c:v>
                </c:pt>
                <c:pt idx="15732">
                  <c:v>31.05.1962</c:v>
                </c:pt>
                <c:pt idx="15733">
                  <c:v>29.05.1962</c:v>
                </c:pt>
                <c:pt idx="15734">
                  <c:v>28.05.1962</c:v>
                </c:pt>
                <c:pt idx="15735">
                  <c:v>25.05.1962</c:v>
                </c:pt>
                <c:pt idx="15736">
                  <c:v>24.05.1962</c:v>
                </c:pt>
                <c:pt idx="15737">
                  <c:v>23.05.1962</c:v>
                </c:pt>
                <c:pt idx="15738">
                  <c:v>22.05.1962</c:v>
                </c:pt>
                <c:pt idx="15739">
                  <c:v>21.05.1962</c:v>
                </c:pt>
                <c:pt idx="15740">
                  <c:v>18.05.1962</c:v>
                </c:pt>
                <c:pt idx="15741">
                  <c:v>17.05.1962</c:v>
                </c:pt>
                <c:pt idx="15742">
                  <c:v>16.05.1962</c:v>
                </c:pt>
                <c:pt idx="15743">
                  <c:v>15.05.1962</c:v>
                </c:pt>
                <c:pt idx="15744">
                  <c:v>14.05.1962</c:v>
                </c:pt>
                <c:pt idx="15745">
                  <c:v>11.05.1962</c:v>
                </c:pt>
                <c:pt idx="15746">
                  <c:v>10.05.1962</c:v>
                </c:pt>
                <c:pt idx="15747">
                  <c:v>09.05.1962</c:v>
                </c:pt>
                <c:pt idx="15748">
                  <c:v>08.05.1962</c:v>
                </c:pt>
                <c:pt idx="15749">
                  <c:v>07.05.1962</c:v>
                </c:pt>
                <c:pt idx="15750">
                  <c:v>04.05.1962</c:v>
                </c:pt>
                <c:pt idx="15751">
                  <c:v>03.05.1962</c:v>
                </c:pt>
                <c:pt idx="15752">
                  <c:v>02.05.1962</c:v>
                </c:pt>
                <c:pt idx="15753">
                  <c:v>01.05.1962</c:v>
                </c:pt>
                <c:pt idx="15754">
                  <c:v>30.04.1962</c:v>
                </c:pt>
                <c:pt idx="15755">
                  <c:v>27.04.1962</c:v>
                </c:pt>
                <c:pt idx="15756">
                  <c:v>26.04.1962</c:v>
                </c:pt>
                <c:pt idx="15757">
                  <c:v>25.04.1962</c:v>
                </c:pt>
                <c:pt idx="15758">
                  <c:v>24.04.1962</c:v>
                </c:pt>
                <c:pt idx="15759">
                  <c:v>23.04.1962</c:v>
                </c:pt>
                <c:pt idx="15760">
                  <c:v>19.04.1962</c:v>
                </c:pt>
                <c:pt idx="15761">
                  <c:v>18.04.1962</c:v>
                </c:pt>
                <c:pt idx="15762">
                  <c:v>17.04.1962</c:v>
                </c:pt>
                <c:pt idx="15763">
                  <c:v>16.04.1962</c:v>
                </c:pt>
                <c:pt idx="15764">
                  <c:v>13.04.1962</c:v>
                </c:pt>
                <c:pt idx="15765">
                  <c:v>12.04.1962</c:v>
                </c:pt>
                <c:pt idx="15766">
                  <c:v>11.04.1962</c:v>
                </c:pt>
                <c:pt idx="15767">
                  <c:v>10.04.1962</c:v>
                </c:pt>
                <c:pt idx="15768">
                  <c:v>09.04.1962</c:v>
                </c:pt>
                <c:pt idx="15769">
                  <c:v>06.04.1962</c:v>
                </c:pt>
                <c:pt idx="15770">
                  <c:v>05.04.1962</c:v>
                </c:pt>
                <c:pt idx="15771">
                  <c:v>04.04.1962</c:v>
                </c:pt>
                <c:pt idx="15772">
                  <c:v>03.04.1962</c:v>
                </c:pt>
                <c:pt idx="15773">
                  <c:v>02.04.1962</c:v>
                </c:pt>
                <c:pt idx="15774">
                  <c:v>30.03.1962</c:v>
                </c:pt>
                <c:pt idx="15775">
                  <c:v>29.03.1962</c:v>
                </c:pt>
                <c:pt idx="15776">
                  <c:v>28.03.1962</c:v>
                </c:pt>
                <c:pt idx="15777">
                  <c:v>27.03.1962</c:v>
                </c:pt>
                <c:pt idx="15778">
                  <c:v>26.03.1962</c:v>
                </c:pt>
                <c:pt idx="15779">
                  <c:v>23.03.1962</c:v>
                </c:pt>
                <c:pt idx="15780">
                  <c:v>22.03.1962</c:v>
                </c:pt>
                <c:pt idx="15781">
                  <c:v>21.03.1962</c:v>
                </c:pt>
                <c:pt idx="15782">
                  <c:v>20.03.1962</c:v>
                </c:pt>
                <c:pt idx="15783">
                  <c:v>19.03.1962</c:v>
                </c:pt>
                <c:pt idx="15784">
                  <c:v>16.03.1962</c:v>
                </c:pt>
                <c:pt idx="15785">
                  <c:v>15.03.1962</c:v>
                </c:pt>
                <c:pt idx="15786">
                  <c:v>14.03.1962</c:v>
                </c:pt>
                <c:pt idx="15787">
                  <c:v>13.03.1962</c:v>
                </c:pt>
                <c:pt idx="15788">
                  <c:v>12.03.1962</c:v>
                </c:pt>
                <c:pt idx="15789">
                  <c:v>09.03.1962</c:v>
                </c:pt>
                <c:pt idx="15790">
                  <c:v>08.03.1962</c:v>
                </c:pt>
                <c:pt idx="15791">
                  <c:v>07.03.1962</c:v>
                </c:pt>
                <c:pt idx="15792">
                  <c:v>06.03.1962</c:v>
                </c:pt>
                <c:pt idx="15793">
                  <c:v>05.03.1962</c:v>
                </c:pt>
                <c:pt idx="15794">
                  <c:v>02.03.1962</c:v>
                </c:pt>
                <c:pt idx="15795">
                  <c:v>01.03.1962</c:v>
                </c:pt>
                <c:pt idx="15796">
                  <c:v>28.02.1962</c:v>
                </c:pt>
                <c:pt idx="15797">
                  <c:v>27.02.1962</c:v>
                </c:pt>
                <c:pt idx="15798">
                  <c:v>26.02.1962</c:v>
                </c:pt>
                <c:pt idx="15799">
                  <c:v>23.02.1962</c:v>
                </c:pt>
                <c:pt idx="15800">
                  <c:v>21.02.1962</c:v>
                </c:pt>
                <c:pt idx="15801">
                  <c:v>20.02.1962</c:v>
                </c:pt>
                <c:pt idx="15802">
                  <c:v>19.02.1962</c:v>
                </c:pt>
                <c:pt idx="15803">
                  <c:v>16.02.1962</c:v>
                </c:pt>
                <c:pt idx="15804">
                  <c:v>15.02.1962</c:v>
                </c:pt>
                <c:pt idx="15805">
                  <c:v>14.02.1962</c:v>
                </c:pt>
                <c:pt idx="15806">
                  <c:v>13.02.1962</c:v>
                </c:pt>
                <c:pt idx="15807">
                  <c:v>12.02.1962</c:v>
                </c:pt>
                <c:pt idx="15808">
                  <c:v>09.02.1962</c:v>
                </c:pt>
                <c:pt idx="15809">
                  <c:v>08.02.1962</c:v>
                </c:pt>
                <c:pt idx="15810">
                  <c:v>07.02.1962</c:v>
                </c:pt>
                <c:pt idx="15811">
                  <c:v>06.02.1962</c:v>
                </c:pt>
                <c:pt idx="15812">
                  <c:v>05.02.1962</c:v>
                </c:pt>
                <c:pt idx="15813">
                  <c:v>02.02.1962</c:v>
                </c:pt>
                <c:pt idx="15814">
                  <c:v>01.02.1962</c:v>
                </c:pt>
                <c:pt idx="15815">
                  <c:v>31.01.1962</c:v>
                </c:pt>
                <c:pt idx="15816">
                  <c:v>30.01.1962</c:v>
                </c:pt>
                <c:pt idx="15817">
                  <c:v>29.01.1962</c:v>
                </c:pt>
                <c:pt idx="15818">
                  <c:v>26.01.1962</c:v>
                </c:pt>
                <c:pt idx="15819">
                  <c:v>25.01.1962</c:v>
                </c:pt>
                <c:pt idx="15820">
                  <c:v>24.01.1962</c:v>
                </c:pt>
                <c:pt idx="15821">
                  <c:v>23.01.1962</c:v>
                </c:pt>
                <c:pt idx="15822">
                  <c:v>22.01.1962</c:v>
                </c:pt>
                <c:pt idx="15823">
                  <c:v>19.01.1962</c:v>
                </c:pt>
                <c:pt idx="15824">
                  <c:v>18.01.1962</c:v>
                </c:pt>
                <c:pt idx="15825">
                  <c:v>17.01.1962</c:v>
                </c:pt>
                <c:pt idx="15826">
                  <c:v>16.01.1962</c:v>
                </c:pt>
                <c:pt idx="15827">
                  <c:v>15.01.1962</c:v>
                </c:pt>
                <c:pt idx="15828">
                  <c:v>12.01.1962</c:v>
                </c:pt>
                <c:pt idx="15829">
                  <c:v>11.01.1962</c:v>
                </c:pt>
                <c:pt idx="15830">
                  <c:v>10.01.1962</c:v>
                </c:pt>
                <c:pt idx="15831">
                  <c:v>09.01.1962</c:v>
                </c:pt>
                <c:pt idx="15832">
                  <c:v>08.01.1962</c:v>
                </c:pt>
                <c:pt idx="15833">
                  <c:v>05.01.1962</c:v>
                </c:pt>
                <c:pt idx="15834">
                  <c:v>04.01.1962</c:v>
                </c:pt>
                <c:pt idx="15835">
                  <c:v>03.01.1962</c:v>
                </c:pt>
                <c:pt idx="15836">
                  <c:v>02.01.1962</c:v>
                </c:pt>
                <c:pt idx="15837">
                  <c:v>29.12.1961</c:v>
                </c:pt>
                <c:pt idx="15838">
                  <c:v>28.12.1961</c:v>
                </c:pt>
                <c:pt idx="15839">
                  <c:v>27.12.1961</c:v>
                </c:pt>
                <c:pt idx="15840">
                  <c:v>26.12.1961</c:v>
                </c:pt>
                <c:pt idx="15841">
                  <c:v>22.12.1961</c:v>
                </c:pt>
                <c:pt idx="15842">
                  <c:v>21.12.1961</c:v>
                </c:pt>
                <c:pt idx="15843">
                  <c:v>20.12.1961</c:v>
                </c:pt>
                <c:pt idx="15844">
                  <c:v>19.12.1961</c:v>
                </c:pt>
                <c:pt idx="15845">
                  <c:v>18.12.1961</c:v>
                </c:pt>
                <c:pt idx="15846">
                  <c:v>15.12.1961</c:v>
                </c:pt>
                <c:pt idx="15847">
                  <c:v>14.12.1961</c:v>
                </c:pt>
                <c:pt idx="15848">
                  <c:v>13.12.1961</c:v>
                </c:pt>
                <c:pt idx="15849">
                  <c:v>12.12.1961</c:v>
                </c:pt>
                <c:pt idx="15850">
                  <c:v>11.12.1961</c:v>
                </c:pt>
                <c:pt idx="15851">
                  <c:v>08.12.1961</c:v>
                </c:pt>
                <c:pt idx="15852">
                  <c:v>07.12.1961</c:v>
                </c:pt>
                <c:pt idx="15853">
                  <c:v>06.12.1961</c:v>
                </c:pt>
                <c:pt idx="15854">
                  <c:v>05.12.1961</c:v>
                </c:pt>
                <c:pt idx="15855">
                  <c:v>04.12.1961</c:v>
                </c:pt>
                <c:pt idx="15856">
                  <c:v>01.12.1961</c:v>
                </c:pt>
                <c:pt idx="15857">
                  <c:v>30.11.1961</c:v>
                </c:pt>
                <c:pt idx="15858">
                  <c:v>29.11.1961</c:v>
                </c:pt>
                <c:pt idx="15859">
                  <c:v>28.11.1961</c:v>
                </c:pt>
                <c:pt idx="15860">
                  <c:v>27.11.1961</c:v>
                </c:pt>
                <c:pt idx="15861">
                  <c:v>24.11.1961</c:v>
                </c:pt>
                <c:pt idx="15862">
                  <c:v>22.11.1961</c:v>
                </c:pt>
                <c:pt idx="15863">
                  <c:v>21.11.1961</c:v>
                </c:pt>
                <c:pt idx="15864">
                  <c:v>20.11.1961</c:v>
                </c:pt>
                <c:pt idx="15865">
                  <c:v>17.11.1961</c:v>
                </c:pt>
                <c:pt idx="15866">
                  <c:v>16.11.1961</c:v>
                </c:pt>
                <c:pt idx="15867">
                  <c:v>15.11.1961</c:v>
                </c:pt>
                <c:pt idx="15868">
                  <c:v>14.11.1961</c:v>
                </c:pt>
                <c:pt idx="15869">
                  <c:v>13.11.1961</c:v>
                </c:pt>
                <c:pt idx="15870">
                  <c:v>10.11.1961</c:v>
                </c:pt>
                <c:pt idx="15871">
                  <c:v>09.11.1961</c:v>
                </c:pt>
                <c:pt idx="15872">
                  <c:v>08.11.1961</c:v>
                </c:pt>
                <c:pt idx="15873">
                  <c:v>06.11.1961</c:v>
                </c:pt>
                <c:pt idx="15874">
                  <c:v>03.11.1961</c:v>
                </c:pt>
                <c:pt idx="15875">
                  <c:v>02.11.1961</c:v>
                </c:pt>
                <c:pt idx="15876">
                  <c:v>01.11.1961</c:v>
                </c:pt>
                <c:pt idx="15877">
                  <c:v>31.10.1961</c:v>
                </c:pt>
                <c:pt idx="15878">
                  <c:v>30.10.1961</c:v>
                </c:pt>
                <c:pt idx="15879">
                  <c:v>27.10.1961</c:v>
                </c:pt>
                <c:pt idx="15880">
                  <c:v>26.10.1961</c:v>
                </c:pt>
                <c:pt idx="15881">
                  <c:v>25.10.1961</c:v>
                </c:pt>
                <c:pt idx="15882">
                  <c:v>24.10.1961</c:v>
                </c:pt>
                <c:pt idx="15883">
                  <c:v>23.10.1961</c:v>
                </c:pt>
                <c:pt idx="15884">
                  <c:v>20.10.1961</c:v>
                </c:pt>
                <c:pt idx="15885">
                  <c:v>19.10.1961</c:v>
                </c:pt>
                <c:pt idx="15886">
                  <c:v>18.10.1961</c:v>
                </c:pt>
                <c:pt idx="15887">
                  <c:v>17.10.1961</c:v>
                </c:pt>
                <c:pt idx="15888">
                  <c:v>16.10.1961</c:v>
                </c:pt>
                <c:pt idx="15889">
                  <c:v>13.10.1961</c:v>
                </c:pt>
                <c:pt idx="15890">
                  <c:v>12.10.1961</c:v>
                </c:pt>
                <c:pt idx="15891">
                  <c:v>11.10.1961</c:v>
                </c:pt>
                <c:pt idx="15892">
                  <c:v>10.10.1961</c:v>
                </c:pt>
                <c:pt idx="15893">
                  <c:v>09.10.1961</c:v>
                </c:pt>
                <c:pt idx="15894">
                  <c:v>06.10.1961</c:v>
                </c:pt>
                <c:pt idx="15895">
                  <c:v>05.10.1961</c:v>
                </c:pt>
                <c:pt idx="15896">
                  <c:v>04.10.1961</c:v>
                </c:pt>
                <c:pt idx="15897">
                  <c:v>03.10.1961</c:v>
                </c:pt>
                <c:pt idx="15898">
                  <c:v>02.10.1961</c:v>
                </c:pt>
                <c:pt idx="15899">
                  <c:v>29.09.1961</c:v>
                </c:pt>
                <c:pt idx="15900">
                  <c:v>28.09.1961</c:v>
                </c:pt>
                <c:pt idx="15901">
                  <c:v>27.09.1961</c:v>
                </c:pt>
                <c:pt idx="15902">
                  <c:v>26.09.1961</c:v>
                </c:pt>
                <c:pt idx="15903">
                  <c:v>25.09.1961</c:v>
                </c:pt>
                <c:pt idx="15904">
                  <c:v>22.09.1961</c:v>
                </c:pt>
                <c:pt idx="15905">
                  <c:v>21.09.1961</c:v>
                </c:pt>
                <c:pt idx="15906">
                  <c:v>20.09.1961</c:v>
                </c:pt>
                <c:pt idx="15907">
                  <c:v>19.09.1961</c:v>
                </c:pt>
                <c:pt idx="15908">
                  <c:v>18.09.1961</c:v>
                </c:pt>
                <c:pt idx="15909">
                  <c:v>15.09.1961</c:v>
                </c:pt>
                <c:pt idx="15910">
                  <c:v>14.09.1961</c:v>
                </c:pt>
                <c:pt idx="15911">
                  <c:v>13.09.1961</c:v>
                </c:pt>
                <c:pt idx="15912">
                  <c:v>12.09.1961</c:v>
                </c:pt>
                <c:pt idx="15913">
                  <c:v>11.09.1961</c:v>
                </c:pt>
                <c:pt idx="15914">
                  <c:v>08.09.1961</c:v>
                </c:pt>
                <c:pt idx="15915">
                  <c:v>07.09.1961</c:v>
                </c:pt>
                <c:pt idx="15916">
                  <c:v>06.09.1961</c:v>
                </c:pt>
                <c:pt idx="15917">
                  <c:v>05.09.1961</c:v>
                </c:pt>
                <c:pt idx="15918">
                  <c:v>01.09.1961</c:v>
                </c:pt>
                <c:pt idx="15919">
                  <c:v>31.08.1961</c:v>
                </c:pt>
                <c:pt idx="15920">
                  <c:v>30.08.1961</c:v>
                </c:pt>
                <c:pt idx="15921">
                  <c:v>29.08.1961</c:v>
                </c:pt>
                <c:pt idx="15922">
                  <c:v>28.08.1961</c:v>
                </c:pt>
                <c:pt idx="15923">
                  <c:v>25.08.1961</c:v>
                </c:pt>
                <c:pt idx="15924">
                  <c:v>24.08.1961</c:v>
                </c:pt>
                <c:pt idx="15925">
                  <c:v>23.08.1961</c:v>
                </c:pt>
                <c:pt idx="15926">
                  <c:v>22.08.1961</c:v>
                </c:pt>
                <c:pt idx="15927">
                  <c:v>21.08.1961</c:v>
                </c:pt>
                <c:pt idx="15928">
                  <c:v>18.08.1961</c:v>
                </c:pt>
                <c:pt idx="15929">
                  <c:v>17.08.1961</c:v>
                </c:pt>
                <c:pt idx="15930">
                  <c:v>16.08.1961</c:v>
                </c:pt>
                <c:pt idx="15931">
                  <c:v>15.08.1961</c:v>
                </c:pt>
                <c:pt idx="15932">
                  <c:v>14.08.1961</c:v>
                </c:pt>
                <c:pt idx="15933">
                  <c:v>11.08.1961</c:v>
                </c:pt>
                <c:pt idx="15934">
                  <c:v>10.08.1961</c:v>
                </c:pt>
                <c:pt idx="15935">
                  <c:v>09.08.1961</c:v>
                </c:pt>
                <c:pt idx="15936">
                  <c:v>08.08.1961</c:v>
                </c:pt>
                <c:pt idx="15937">
                  <c:v>07.08.1961</c:v>
                </c:pt>
                <c:pt idx="15938">
                  <c:v>04.08.1961</c:v>
                </c:pt>
                <c:pt idx="15939">
                  <c:v>03.08.1961</c:v>
                </c:pt>
                <c:pt idx="15940">
                  <c:v>02.08.1961</c:v>
                </c:pt>
                <c:pt idx="15941">
                  <c:v>01.08.1961</c:v>
                </c:pt>
                <c:pt idx="15942">
                  <c:v>31.07.1961</c:v>
                </c:pt>
                <c:pt idx="15943">
                  <c:v>28.07.1961</c:v>
                </c:pt>
                <c:pt idx="15944">
                  <c:v>27.07.1961</c:v>
                </c:pt>
                <c:pt idx="15945">
                  <c:v>26.07.1961</c:v>
                </c:pt>
                <c:pt idx="15946">
                  <c:v>25.07.1961</c:v>
                </c:pt>
                <c:pt idx="15947">
                  <c:v>24.07.1961</c:v>
                </c:pt>
                <c:pt idx="15948">
                  <c:v>21.07.1961</c:v>
                </c:pt>
                <c:pt idx="15949">
                  <c:v>20.07.1961</c:v>
                </c:pt>
                <c:pt idx="15950">
                  <c:v>19.07.1961</c:v>
                </c:pt>
                <c:pt idx="15951">
                  <c:v>18.07.1961</c:v>
                </c:pt>
                <c:pt idx="15952">
                  <c:v>17.07.1961</c:v>
                </c:pt>
                <c:pt idx="15953">
                  <c:v>14.07.1961</c:v>
                </c:pt>
                <c:pt idx="15954">
                  <c:v>13.07.1961</c:v>
                </c:pt>
                <c:pt idx="15955">
                  <c:v>12.07.1961</c:v>
                </c:pt>
                <c:pt idx="15956">
                  <c:v>11.07.1961</c:v>
                </c:pt>
                <c:pt idx="15957">
                  <c:v>10.07.1961</c:v>
                </c:pt>
                <c:pt idx="15958">
                  <c:v>07.07.1961</c:v>
                </c:pt>
                <c:pt idx="15959">
                  <c:v>06.07.1961</c:v>
                </c:pt>
                <c:pt idx="15960">
                  <c:v>05.07.1961</c:v>
                </c:pt>
                <c:pt idx="15961">
                  <c:v>03.07.1961</c:v>
                </c:pt>
                <c:pt idx="15962">
                  <c:v>30.06.1961</c:v>
                </c:pt>
                <c:pt idx="15963">
                  <c:v>29.06.1961</c:v>
                </c:pt>
                <c:pt idx="15964">
                  <c:v>28.06.1961</c:v>
                </c:pt>
                <c:pt idx="15965">
                  <c:v>27.06.1961</c:v>
                </c:pt>
                <c:pt idx="15966">
                  <c:v>26.06.1961</c:v>
                </c:pt>
                <c:pt idx="15967">
                  <c:v>23.06.1961</c:v>
                </c:pt>
                <c:pt idx="15968">
                  <c:v>22.06.1961</c:v>
                </c:pt>
                <c:pt idx="15969">
                  <c:v>21.06.1961</c:v>
                </c:pt>
                <c:pt idx="15970">
                  <c:v>20.06.1961</c:v>
                </c:pt>
                <c:pt idx="15971">
                  <c:v>19.06.1961</c:v>
                </c:pt>
                <c:pt idx="15972">
                  <c:v>16.06.1961</c:v>
                </c:pt>
                <c:pt idx="15973">
                  <c:v>15.06.1961</c:v>
                </c:pt>
                <c:pt idx="15974">
                  <c:v>14.06.1961</c:v>
                </c:pt>
                <c:pt idx="15975">
                  <c:v>13.06.1961</c:v>
                </c:pt>
                <c:pt idx="15976">
                  <c:v>12.06.1961</c:v>
                </c:pt>
                <c:pt idx="15977">
                  <c:v>09.06.1961</c:v>
                </c:pt>
                <c:pt idx="15978">
                  <c:v>08.06.1961</c:v>
                </c:pt>
                <c:pt idx="15979">
                  <c:v>07.06.1961</c:v>
                </c:pt>
                <c:pt idx="15980">
                  <c:v>06.06.1961</c:v>
                </c:pt>
                <c:pt idx="15981">
                  <c:v>05.06.1961</c:v>
                </c:pt>
                <c:pt idx="15982">
                  <c:v>02.06.1961</c:v>
                </c:pt>
                <c:pt idx="15983">
                  <c:v>01.06.1961</c:v>
                </c:pt>
                <c:pt idx="15984">
                  <c:v>31.05.1961</c:v>
                </c:pt>
                <c:pt idx="15985">
                  <c:v>26.05.1961</c:v>
                </c:pt>
                <c:pt idx="15986">
                  <c:v>25.05.1961</c:v>
                </c:pt>
                <c:pt idx="15987">
                  <c:v>24.05.1961</c:v>
                </c:pt>
                <c:pt idx="15988">
                  <c:v>23.05.1961</c:v>
                </c:pt>
                <c:pt idx="15989">
                  <c:v>22.05.1961</c:v>
                </c:pt>
                <c:pt idx="15990">
                  <c:v>19.05.1961</c:v>
                </c:pt>
                <c:pt idx="15991">
                  <c:v>18.05.1961</c:v>
                </c:pt>
                <c:pt idx="15992">
                  <c:v>17.05.1961</c:v>
                </c:pt>
                <c:pt idx="15993">
                  <c:v>16.05.1961</c:v>
                </c:pt>
                <c:pt idx="15994">
                  <c:v>15.05.1961</c:v>
                </c:pt>
                <c:pt idx="15995">
                  <c:v>12.05.1961</c:v>
                </c:pt>
                <c:pt idx="15996">
                  <c:v>11.05.1961</c:v>
                </c:pt>
                <c:pt idx="15997">
                  <c:v>10.05.1961</c:v>
                </c:pt>
                <c:pt idx="15998">
                  <c:v>09.05.1961</c:v>
                </c:pt>
                <c:pt idx="15999">
                  <c:v>08.05.1961</c:v>
                </c:pt>
                <c:pt idx="16000">
                  <c:v>05.05.1961</c:v>
                </c:pt>
                <c:pt idx="16001">
                  <c:v>04.05.1961</c:v>
                </c:pt>
                <c:pt idx="16002">
                  <c:v>03.05.1961</c:v>
                </c:pt>
                <c:pt idx="16003">
                  <c:v>02.05.1961</c:v>
                </c:pt>
                <c:pt idx="16004">
                  <c:v>01.05.1961</c:v>
                </c:pt>
                <c:pt idx="16005">
                  <c:v>28.04.1961</c:v>
                </c:pt>
                <c:pt idx="16006">
                  <c:v>27.04.1961</c:v>
                </c:pt>
                <c:pt idx="16007">
                  <c:v>26.04.1961</c:v>
                </c:pt>
                <c:pt idx="16008">
                  <c:v>25.04.1961</c:v>
                </c:pt>
                <c:pt idx="16009">
                  <c:v>24.04.1961</c:v>
                </c:pt>
                <c:pt idx="16010">
                  <c:v>21.04.1961</c:v>
                </c:pt>
                <c:pt idx="16011">
                  <c:v>20.04.1961</c:v>
                </c:pt>
                <c:pt idx="16012">
                  <c:v>19.04.1961</c:v>
                </c:pt>
                <c:pt idx="16013">
                  <c:v>18.04.1961</c:v>
                </c:pt>
                <c:pt idx="16014">
                  <c:v>17.04.1961</c:v>
                </c:pt>
                <c:pt idx="16015">
                  <c:v>14.04.1961</c:v>
                </c:pt>
                <c:pt idx="16016">
                  <c:v>13.04.1961</c:v>
                </c:pt>
                <c:pt idx="16017">
                  <c:v>12.04.1961</c:v>
                </c:pt>
                <c:pt idx="16018">
                  <c:v>11.04.1961</c:v>
                </c:pt>
                <c:pt idx="16019">
                  <c:v>10.04.1961</c:v>
                </c:pt>
                <c:pt idx="16020">
                  <c:v>07.04.1961</c:v>
                </c:pt>
                <c:pt idx="16021">
                  <c:v>06.04.1961</c:v>
                </c:pt>
                <c:pt idx="16022">
                  <c:v>05.04.1961</c:v>
                </c:pt>
                <c:pt idx="16023">
                  <c:v>04.04.1961</c:v>
                </c:pt>
                <c:pt idx="16024">
                  <c:v>03.04.1961</c:v>
                </c:pt>
                <c:pt idx="16025">
                  <c:v>30.03.1961</c:v>
                </c:pt>
                <c:pt idx="16026">
                  <c:v>29.03.1961</c:v>
                </c:pt>
                <c:pt idx="16027">
                  <c:v>28.03.1961</c:v>
                </c:pt>
                <c:pt idx="16028">
                  <c:v>27.03.1961</c:v>
                </c:pt>
                <c:pt idx="16029">
                  <c:v>24.03.1961</c:v>
                </c:pt>
                <c:pt idx="16030">
                  <c:v>23.03.1961</c:v>
                </c:pt>
                <c:pt idx="16031">
                  <c:v>22.03.1961</c:v>
                </c:pt>
                <c:pt idx="16032">
                  <c:v>21.03.1961</c:v>
                </c:pt>
                <c:pt idx="16033">
                  <c:v>20.03.1961</c:v>
                </c:pt>
                <c:pt idx="16034">
                  <c:v>17.03.1961</c:v>
                </c:pt>
                <c:pt idx="16035">
                  <c:v>16.03.1961</c:v>
                </c:pt>
                <c:pt idx="16036">
                  <c:v>15.03.1961</c:v>
                </c:pt>
                <c:pt idx="16037">
                  <c:v>14.03.1961</c:v>
                </c:pt>
                <c:pt idx="16038">
                  <c:v>13.03.1961</c:v>
                </c:pt>
                <c:pt idx="16039">
                  <c:v>10.03.1961</c:v>
                </c:pt>
                <c:pt idx="16040">
                  <c:v>09.03.1961</c:v>
                </c:pt>
                <c:pt idx="16041">
                  <c:v>08.03.1961</c:v>
                </c:pt>
                <c:pt idx="16042">
                  <c:v>07.03.1961</c:v>
                </c:pt>
                <c:pt idx="16043">
                  <c:v>06.03.1961</c:v>
                </c:pt>
                <c:pt idx="16044">
                  <c:v>03.03.1961</c:v>
                </c:pt>
                <c:pt idx="16045">
                  <c:v>02.03.1961</c:v>
                </c:pt>
                <c:pt idx="16046">
                  <c:v>01.03.1961</c:v>
                </c:pt>
                <c:pt idx="16047">
                  <c:v>28.02.1961</c:v>
                </c:pt>
                <c:pt idx="16048">
                  <c:v>27.02.1961</c:v>
                </c:pt>
                <c:pt idx="16049">
                  <c:v>24.02.1961</c:v>
                </c:pt>
                <c:pt idx="16050">
                  <c:v>23.02.1961</c:v>
                </c:pt>
                <c:pt idx="16051">
                  <c:v>21.02.1961</c:v>
                </c:pt>
                <c:pt idx="16052">
                  <c:v>20.02.1961</c:v>
                </c:pt>
                <c:pt idx="16053">
                  <c:v>17.02.1961</c:v>
                </c:pt>
                <c:pt idx="16054">
                  <c:v>16.02.1961</c:v>
                </c:pt>
                <c:pt idx="16055">
                  <c:v>15.02.1961</c:v>
                </c:pt>
                <c:pt idx="16056">
                  <c:v>14.02.1961</c:v>
                </c:pt>
                <c:pt idx="16057">
                  <c:v>13.02.1961</c:v>
                </c:pt>
                <c:pt idx="16058">
                  <c:v>10.02.1961</c:v>
                </c:pt>
                <c:pt idx="16059">
                  <c:v>09.02.1961</c:v>
                </c:pt>
                <c:pt idx="16060">
                  <c:v>08.02.1961</c:v>
                </c:pt>
                <c:pt idx="16061">
                  <c:v>07.02.1961</c:v>
                </c:pt>
                <c:pt idx="16062">
                  <c:v>06.02.1961</c:v>
                </c:pt>
                <c:pt idx="16063">
                  <c:v>03.02.1961</c:v>
                </c:pt>
                <c:pt idx="16064">
                  <c:v>02.02.1961</c:v>
                </c:pt>
                <c:pt idx="16065">
                  <c:v>01.02.1961</c:v>
                </c:pt>
                <c:pt idx="16066">
                  <c:v>31.01.1961</c:v>
                </c:pt>
                <c:pt idx="16067">
                  <c:v>30.01.1961</c:v>
                </c:pt>
                <c:pt idx="16068">
                  <c:v>27.01.1961</c:v>
                </c:pt>
                <c:pt idx="16069">
                  <c:v>26.01.1961</c:v>
                </c:pt>
                <c:pt idx="16070">
                  <c:v>25.01.1961</c:v>
                </c:pt>
                <c:pt idx="16071">
                  <c:v>24.01.1961</c:v>
                </c:pt>
                <c:pt idx="16072">
                  <c:v>23.01.1961</c:v>
                </c:pt>
                <c:pt idx="16073">
                  <c:v>20.01.1961</c:v>
                </c:pt>
                <c:pt idx="16074">
                  <c:v>19.01.1961</c:v>
                </c:pt>
                <c:pt idx="16075">
                  <c:v>18.01.1961</c:v>
                </c:pt>
                <c:pt idx="16076">
                  <c:v>17.01.1961</c:v>
                </c:pt>
                <c:pt idx="16077">
                  <c:v>16.01.1961</c:v>
                </c:pt>
                <c:pt idx="16078">
                  <c:v>13.01.1961</c:v>
                </c:pt>
                <c:pt idx="16079">
                  <c:v>12.01.1961</c:v>
                </c:pt>
                <c:pt idx="16080">
                  <c:v>11.01.1961</c:v>
                </c:pt>
                <c:pt idx="16081">
                  <c:v>10.01.1961</c:v>
                </c:pt>
                <c:pt idx="16082">
                  <c:v>09.01.1961</c:v>
                </c:pt>
                <c:pt idx="16083">
                  <c:v>06.01.1961</c:v>
                </c:pt>
                <c:pt idx="16084">
                  <c:v>05.01.1961</c:v>
                </c:pt>
                <c:pt idx="16085">
                  <c:v>04.01.1961</c:v>
                </c:pt>
                <c:pt idx="16086">
                  <c:v>03.01.1961</c:v>
                </c:pt>
                <c:pt idx="16087">
                  <c:v>30.12.1960</c:v>
                </c:pt>
                <c:pt idx="16088">
                  <c:v>29.12.1960</c:v>
                </c:pt>
                <c:pt idx="16089">
                  <c:v>28.12.1960</c:v>
                </c:pt>
                <c:pt idx="16090">
                  <c:v>27.12.1960</c:v>
                </c:pt>
                <c:pt idx="16091">
                  <c:v>23.12.1960</c:v>
                </c:pt>
                <c:pt idx="16092">
                  <c:v>22.12.1960</c:v>
                </c:pt>
                <c:pt idx="16093">
                  <c:v>21.12.1960</c:v>
                </c:pt>
                <c:pt idx="16094">
                  <c:v>20.12.1960</c:v>
                </c:pt>
                <c:pt idx="16095">
                  <c:v>19.12.1960</c:v>
                </c:pt>
                <c:pt idx="16096">
                  <c:v>16.12.1960</c:v>
                </c:pt>
                <c:pt idx="16097">
                  <c:v>15.12.1960</c:v>
                </c:pt>
                <c:pt idx="16098">
                  <c:v>14.12.1960</c:v>
                </c:pt>
                <c:pt idx="16099">
                  <c:v>13.12.1960</c:v>
                </c:pt>
                <c:pt idx="16100">
                  <c:v>12.12.1960</c:v>
                </c:pt>
                <c:pt idx="16101">
                  <c:v>09.12.1960</c:v>
                </c:pt>
                <c:pt idx="16102">
                  <c:v>08.12.1960</c:v>
                </c:pt>
                <c:pt idx="16103">
                  <c:v>07.12.1960</c:v>
                </c:pt>
                <c:pt idx="16104">
                  <c:v>06.12.1960</c:v>
                </c:pt>
                <c:pt idx="16105">
                  <c:v>05.12.1960</c:v>
                </c:pt>
                <c:pt idx="16106">
                  <c:v>02.12.1960</c:v>
                </c:pt>
                <c:pt idx="16107">
                  <c:v>01.12.1960</c:v>
                </c:pt>
                <c:pt idx="16108">
                  <c:v>30.11.1960</c:v>
                </c:pt>
                <c:pt idx="16109">
                  <c:v>29.11.1960</c:v>
                </c:pt>
                <c:pt idx="16110">
                  <c:v>28.11.1960</c:v>
                </c:pt>
                <c:pt idx="16111">
                  <c:v>24.11.1960</c:v>
                </c:pt>
                <c:pt idx="16112">
                  <c:v>23.11.1960</c:v>
                </c:pt>
                <c:pt idx="16113">
                  <c:v>22.11.1960</c:v>
                </c:pt>
                <c:pt idx="16114">
                  <c:v>21.11.1960</c:v>
                </c:pt>
                <c:pt idx="16115">
                  <c:v>18.11.1960</c:v>
                </c:pt>
                <c:pt idx="16116">
                  <c:v>17.11.1960</c:v>
                </c:pt>
                <c:pt idx="16117">
                  <c:v>16.11.1960</c:v>
                </c:pt>
                <c:pt idx="16118">
                  <c:v>15.11.1960</c:v>
                </c:pt>
                <c:pt idx="16119">
                  <c:v>14.11.1960</c:v>
                </c:pt>
                <c:pt idx="16120">
                  <c:v>11.11.1960</c:v>
                </c:pt>
                <c:pt idx="16121">
                  <c:v>10.11.1960</c:v>
                </c:pt>
                <c:pt idx="16122">
                  <c:v>09.11.1960</c:v>
                </c:pt>
                <c:pt idx="16123">
                  <c:v>07.11.1960</c:v>
                </c:pt>
                <c:pt idx="16124">
                  <c:v>04.11.1960</c:v>
                </c:pt>
                <c:pt idx="16125">
                  <c:v>03.11.1960</c:v>
                </c:pt>
                <c:pt idx="16126">
                  <c:v>02.11.1960</c:v>
                </c:pt>
                <c:pt idx="16127">
                  <c:v>01.11.1960</c:v>
                </c:pt>
                <c:pt idx="16128">
                  <c:v>31.10.1960</c:v>
                </c:pt>
                <c:pt idx="16129">
                  <c:v>28.10.1960</c:v>
                </c:pt>
                <c:pt idx="16130">
                  <c:v>27.10.1960</c:v>
                </c:pt>
                <c:pt idx="16131">
                  <c:v>26.10.1960</c:v>
                </c:pt>
                <c:pt idx="16132">
                  <c:v>25.10.1960</c:v>
                </c:pt>
                <c:pt idx="16133">
                  <c:v>24.10.1960</c:v>
                </c:pt>
                <c:pt idx="16134">
                  <c:v>21.10.1960</c:v>
                </c:pt>
                <c:pt idx="16135">
                  <c:v>20.10.1960</c:v>
                </c:pt>
                <c:pt idx="16136">
                  <c:v>19.10.1960</c:v>
                </c:pt>
                <c:pt idx="16137">
                  <c:v>18.10.1960</c:v>
                </c:pt>
                <c:pt idx="16138">
                  <c:v>17.10.1960</c:v>
                </c:pt>
                <c:pt idx="16139">
                  <c:v>14.10.1960</c:v>
                </c:pt>
                <c:pt idx="16140">
                  <c:v>13.10.1960</c:v>
                </c:pt>
                <c:pt idx="16141">
                  <c:v>12.10.1960</c:v>
                </c:pt>
                <c:pt idx="16142">
                  <c:v>11.10.1960</c:v>
                </c:pt>
                <c:pt idx="16143">
                  <c:v>10.10.1960</c:v>
                </c:pt>
                <c:pt idx="16144">
                  <c:v>07.10.1960</c:v>
                </c:pt>
                <c:pt idx="16145">
                  <c:v>06.10.1960</c:v>
                </c:pt>
                <c:pt idx="16146">
                  <c:v>05.10.1960</c:v>
                </c:pt>
                <c:pt idx="16147">
                  <c:v>04.10.1960</c:v>
                </c:pt>
                <c:pt idx="16148">
                  <c:v>03.10.1960</c:v>
                </c:pt>
                <c:pt idx="16149">
                  <c:v>30.09.1960</c:v>
                </c:pt>
                <c:pt idx="16150">
                  <c:v>29.09.1960</c:v>
                </c:pt>
                <c:pt idx="16151">
                  <c:v>28.09.1960</c:v>
                </c:pt>
                <c:pt idx="16152">
                  <c:v>27.09.1960</c:v>
                </c:pt>
                <c:pt idx="16153">
                  <c:v>26.09.1960</c:v>
                </c:pt>
                <c:pt idx="16154">
                  <c:v>23.09.1960</c:v>
                </c:pt>
                <c:pt idx="16155">
                  <c:v>22.09.1960</c:v>
                </c:pt>
                <c:pt idx="16156">
                  <c:v>21.09.1960</c:v>
                </c:pt>
                <c:pt idx="16157">
                  <c:v>20.09.1960</c:v>
                </c:pt>
                <c:pt idx="16158">
                  <c:v>19.09.1960</c:v>
                </c:pt>
                <c:pt idx="16159">
                  <c:v>16.09.1960</c:v>
                </c:pt>
                <c:pt idx="16160">
                  <c:v>15.09.1960</c:v>
                </c:pt>
                <c:pt idx="16161">
                  <c:v>14.09.1960</c:v>
                </c:pt>
                <c:pt idx="16162">
                  <c:v>13.09.1960</c:v>
                </c:pt>
                <c:pt idx="16163">
                  <c:v>12.09.1960</c:v>
                </c:pt>
                <c:pt idx="16164">
                  <c:v>09.09.1960</c:v>
                </c:pt>
                <c:pt idx="16165">
                  <c:v>08.09.1960</c:v>
                </c:pt>
                <c:pt idx="16166">
                  <c:v>07.09.1960</c:v>
                </c:pt>
                <c:pt idx="16167">
                  <c:v>06.09.1960</c:v>
                </c:pt>
                <c:pt idx="16168">
                  <c:v>02.09.1960</c:v>
                </c:pt>
                <c:pt idx="16169">
                  <c:v>01.09.1960</c:v>
                </c:pt>
                <c:pt idx="16170">
                  <c:v>31.08.1960</c:v>
                </c:pt>
                <c:pt idx="16171">
                  <c:v>30.08.1960</c:v>
                </c:pt>
                <c:pt idx="16172">
                  <c:v>29.08.1960</c:v>
                </c:pt>
                <c:pt idx="16173">
                  <c:v>26.08.1960</c:v>
                </c:pt>
                <c:pt idx="16174">
                  <c:v>25.08.1960</c:v>
                </c:pt>
                <c:pt idx="16175">
                  <c:v>24.08.1960</c:v>
                </c:pt>
                <c:pt idx="16176">
                  <c:v>23.08.1960</c:v>
                </c:pt>
                <c:pt idx="16177">
                  <c:v>22.08.1960</c:v>
                </c:pt>
                <c:pt idx="16178">
                  <c:v>19.08.1960</c:v>
                </c:pt>
                <c:pt idx="16179">
                  <c:v>18.08.1960</c:v>
                </c:pt>
                <c:pt idx="16180">
                  <c:v>17.08.1960</c:v>
                </c:pt>
                <c:pt idx="16181">
                  <c:v>16.08.1960</c:v>
                </c:pt>
                <c:pt idx="16182">
                  <c:v>15.08.1960</c:v>
                </c:pt>
                <c:pt idx="16183">
                  <c:v>12.08.1960</c:v>
                </c:pt>
                <c:pt idx="16184">
                  <c:v>11.08.1960</c:v>
                </c:pt>
                <c:pt idx="16185">
                  <c:v>10.08.1960</c:v>
                </c:pt>
                <c:pt idx="16186">
                  <c:v>09.08.1960</c:v>
                </c:pt>
                <c:pt idx="16187">
                  <c:v>08.08.1960</c:v>
                </c:pt>
                <c:pt idx="16188">
                  <c:v>05.08.1960</c:v>
                </c:pt>
                <c:pt idx="16189">
                  <c:v>04.08.1960</c:v>
                </c:pt>
                <c:pt idx="16190">
                  <c:v>03.08.1960</c:v>
                </c:pt>
                <c:pt idx="16191">
                  <c:v>02.08.1960</c:v>
                </c:pt>
                <c:pt idx="16192">
                  <c:v>01.08.1960</c:v>
                </c:pt>
                <c:pt idx="16193">
                  <c:v>29.07.1960</c:v>
                </c:pt>
                <c:pt idx="16194">
                  <c:v>28.07.1960</c:v>
                </c:pt>
                <c:pt idx="16195">
                  <c:v>27.07.1960</c:v>
                </c:pt>
                <c:pt idx="16196">
                  <c:v>26.07.1960</c:v>
                </c:pt>
                <c:pt idx="16197">
                  <c:v>25.07.1960</c:v>
                </c:pt>
                <c:pt idx="16198">
                  <c:v>22.07.1960</c:v>
                </c:pt>
                <c:pt idx="16199">
                  <c:v>21.07.1960</c:v>
                </c:pt>
                <c:pt idx="16200">
                  <c:v>20.07.1960</c:v>
                </c:pt>
                <c:pt idx="16201">
                  <c:v>19.07.1960</c:v>
                </c:pt>
                <c:pt idx="16202">
                  <c:v>18.07.1960</c:v>
                </c:pt>
                <c:pt idx="16203">
                  <c:v>15.07.1960</c:v>
                </c:pt>
                <c:pt idx="16204">
                  <c:v>14.07.1960</c:v>
                </c:pt>
                <c:pt idx="16205">
                  <c:v>13.07.1960</c:v>
                </c:pt>
                <c:pt idx="16206">
                  <c:v>12.07.1960</c:v>
                </c:pt>
                <c:pt idx="16207">
                  <c:v>11.07.1960</c:v>
                </c:pt>
                <c:pt idx="16208">
                  <c:v>08.07.1960</c:v>
                </c:pt>
                <c:pt idx="16209">
                  <c:v>07.07.1960</c:v>
                </c:pt>
                <c:pt idx="16210">
                  <c:v>06.07.1960</c:v>
                </c:pt>
                <c:pt idx="16211">
                  <c:v>05.07.1960</c:v>
                </c:pt>
                <c:pt idx="16212">
                  <c:v>01.07.1960</c:v>
                </c:pt>
                <c:pt idx="16213">
                  <c:v>30.06.1960</c:v>
                </c:pt>
                <c:pt idx="16214">
                  <c:v>29.06.1960</c:v>
                </c:pt>
                <c:pt idx="16215">
                  <c:v>28.06.1960</c:v>
                </c:pt>
                <c:pt idx="16216">
                  <c:v>27.06.1960</c:v>
                </c:pt>
                <c:pt idx="16217">
                  <c:v>24.06.1960</c:v>
                </c:pt>
                <c:pt idx="16218">
                  <c:v>23.06.1960</c:v>
                </c:pt>
                <c:pt idx="16219">
                  <c:v>22.06.1960</c:v>
                </c:pt>
                <c:pt idx="16220">
                  <c:v>21.06.1960</c:v>
                </c:pt>
                <c:pt idx="16221">
                  <c:v>20.06.1960</c:v>
                </c:pt>
                <c:pt idx="16222">
                  <c:v>17.06.1960</c:v>
                </c:pt>
                <c:pt idx="16223">
                  <c:v>16.06.1960</c:v>
                </c:pt>
                <c:pt idx="16224">
                  <c:v>15.06.1960</c:v>
                </c:pt>
                <c:pt idx="16225">
                  <c:v>14.06.1960</c:v>
                </c:pt>
                <c:pt idx="16226">
                  <c:v>13.06.1960</c:v>
                </c:pt>
                <c:pt idx="16227">
                  <c:v>10.06.1960</c:v>
                </c:pt>
                <c:pt idx="16228">
                  <c:v>09.06.1960</c:v>
                </c:pt>
                <c:pt idx="16229">
                  <c:v>08.06.1960</c:v>
                </c:pt>
                <c:pt idx="16230">
                  <c:v>07.06.1960</c:v>
                </c:pt>
                <c:pt idx="16231">
                  <c:v>06.06.1960</c:v>
                </c:pt>
                <c:pt idx="16232">
                  <c:v>03.06.1960</c:v>
                </c:pt>
                <c:pt idx="16233">
                  <c:v>02.06.1960</c:v>
                </c:pt>
                <c:pt idx="16234">
                  <c:v>01.06.1960</c:v>
                </c:pt>
                <c:pt idx="16235">
                  <c:v>31.05.1960</c:v>
                </c:pt>
                <c:pt idx="16236">
                  <c:v>27.05.1960</c:v>
                </c:pt>
                <c:pt idx="16237">
                  <c:v>26.05.1960</c:v>
                </c:pt>
                <c:pt idx="16238">
                  <c:v>25.05.1960</c:v>
                </c:pt>
                <c:pt idx="16239">
                  <c:v>24.05.1960</c:v>
                </c:pt>
                <c:pt idx="16240">
                  <c:v>23.05.1960</c:v>
                </c:pt>
                <c:pt idx="16241">
                  <c:v>20.05.1960</c:v>
                </c:pt>
                <c:pt idx="16242">
                  <c:v>19.05.1960</c:v>
                </c:pt>
                <c:pt idx="16243">
                  <c:v>18.05.1960</c:v>
                </c:pt>
                <c:pt idx="16244">
                  <c:v>17.05.1960</c:v>
                </c:pt>
                <c:pt idx="16245">
                  <c:v>16.05.1960</c:v>
                </c:pt>
                <c:pt idx="16246">
                  <c:v>13.05.1960</c:v>
                </c:pt>
                <c:pt idx="16247">
                  <c:v>12.05.1960</c:v>
                </c:pt>
                <c:pt idx="16248">
                  <c:v>11.05.1960</c:v>
                </c:pt>
                <c:pt idx="16249">
                  <c:v>10.05.1960</c:v>
                </c:pt>
                <c:pt idx="16250">
                  <c:v>09.05.1960</c:v>
                </c:pt>
                <c:pt idx="16251">
                  <c:v>06.05.1960</c:v>
                </c:pt>
                <c:pt idx="16252">
                  <c:v>05.05.1960</c:v>
                </c:pt>
                <c:pt idx="16253">
                  <c:v>04.05.1960</c:v>
                </c:pt>
                <c:pt idx="16254">
                  <c:v>03.05.1960</c:v>
                </c:pt>
                <c:pt idx="16255">
                  <c:v>02.05.1960</c:v>
                </c:pt>
                <c:pt idx="16256">
                  <c:v>29.04.1960</c:v>
                </c:pt>
                <c:pt idx="16257">
                  <c:v>28.04.1960</c:v>
                </c:pt>
                <c:pt idx="16258">
                  <c:v>27.04.1960</c:v>
                </c:pt>
                <c:pt idx="16259">
                  <c:v>26.04.1960</c:v>
                </c:pt>
                <c:pt idx="16260">
                  <c:v>25.04.1960</c:v>
                </c:pt>
                <c:pt idx="16261">
                  <c:v>22.04.1960</c:v>
                </c:pt>
                <c:pt idx="16262">
                  <c:v>21.04.1960</c:v>
                </c:pt>
                <c:pt idx="16263">
                  <c:v>20.04.1960</c:v>
                </c:pt>
                <c:pt idx="16264">
                  <c:v>19.04.1960</c:v>
                </c:pt>
                <c:pt idx="16265">
                  <c:v>18.04.1960</c:v>
                </c:pt>
                <c:pt idx="16266">
                  <c:v>14.04.1960</c:v>
                </c:pt>
                <c:pt idx="16267">
                  <c:v>13.04.1960</c:v>
                </c:pt>
                <c:pt idx="16268">
                  <c:v>12.04.1960</c:v>
                </c:pt>
                <c:pt idx="16269">
                  <c:v>11.04.1960</c:v>
                </c:pt>
                <c:pt idx="16270">
                  <c:v>08.04.1960</c:v>
                </c:pt>
                <c:pt idx="16271">
                  <c:v>07.04.1960</c:v>
                </c:pt>
                <c:pt idx="16272">
                  <c:v>06.04.1960</c:v>
                </c:pt>
                <c:pt idx="16273">
                  <c:v>05.04.1960</c:v>
                </c:pt>
                <c:pt idx="16274">
                  <c:v>04.04.1960</c:v>
                </c:pt>
                <c:pt idx="16275">
                  <c:v>01.04.1960</c:v>
                </c:pt>
                <c:pt idx="16276">
                  <c:v>31.03.1960</c:v>
                </c:pt>
                <c:pt idx="16277">
                  <c:v>30.03.1960</c:v>
                </c:pt>
                <c:pt idx="16278">
                  <c:v>29.03.1960</c:v>
                </c:pt>
                <c:pt idx="16279">
                  <c:v>28.03.1960</c:v>
                </c:pt>
                <c:pt idx="16280">
                  <c:v>25.03.1960</c:v>
                </c:pt>
                <c:pt idx="16281">
                  <c:v>24.03.1960</c:v>
                </c:pt>
                <c:pt idx="16282">
                  <c:v>23.03.1960</c:v>
                </c:pt>
                <c:pt idx="16283">
                  <c:v>22.03.1960</c:v>
                </c:pt>
                <c:pt idx="16284">
                  <c:v>21.03.1960</c:v>
                </c:pt>
                <c:pt idx="16285">
                  <c:v>18.03.1960</c:v>
                </c:pt>
                <c:pt idx="16286">
                  <c:v>17.03.1960</c:v>
                </c:pt>
                <c:pt idx="16287">
                  <c:v>16.03.1960</c:v>
                </c:pt>
                <c:pt idx="16288">
                  <c:v>15.03.1960</c:v>
                </c:pt>
                <c:pt idx="16289">
                  <c:v>14.03.1960</c:v>
                </c:pt>
                <c:pt idx="16290">
                  <c:v>11.03.1960</c:v>
                </c:pt>
                <c:pt idx="16291">
                  <c:v>10.03.1960</c:v>
                </c:pt>
                <c:pt idx="16292">
                  <c:v>09.03.1960</c:v>
                </c:pt>
                <c:pt idx="16293">
                  <c:v>08.03.1960</c:v>
                </c:pt>
                <c:pt idx="16294">
                  <c:v>07.03.1960</c:v>
                </c:pt>
                <c:pt idx="16295">
                  <c:v>04.03.1960</c:v>
                </c:pt>
                <c:pt idx="16296">
                  <c:v>03.03.1960</c:v>
                </c:pt>
                <c:pt idx="16297">
                  <c:v>02.03.1960</c:v>
                </c:pt>
                <c:pt idx="16298">
                  <c:v>01.03.1960</c:v>
                </c:pt>
                <c:pt idx="16299">
                  <c:v>29.02.1960</c:v>
                </c:pt>
                <c:pt idx="16300">
                  <c:v>26.02.1960</c:v>
                </c:pt>
                <c:pt idx="16301">
                  <c:v>25.02.1960</c:v>
                </c:pt>
                <c:pt idx="16302">
                  <c:v>24.02.1960</c:v>
                </c:pt>
                <c:pt idx="16303">
                  <c:v>23.02.1960</c:v>
                </c:pt>
                <c:pt idx="16304">
                  <c:v>19.02.1960</c:v>
                </c:pt>
                <c:pt idx="16305">
                  <c:v>18.02.1960</c:v>
                </c:pt>
                <c:pt idx="16306">
                  <c:v>17.02.1960</c:v>
                </c:pt>
                <c:pt idx="16307">
                  <c:v>16.02.1960</c:v>
                </c:pt>
                <c:pt idx="16308">
                  <c:v>15.02.1960</c:v>
                </c:pt>
                <c:pt idx="16309">
                  <c:v>12.02.1960</c:v>
                </c:pt>
                <c:pt idx="16310">
                  <c:v>11.02.1960</c:v>
                </c:pt>
                <c:pt idx="16311">
                  <c:v>10.02.1960</c:v>
                </c:pt>
                <c:pt idx="16312">
                  <c:v>09.02.1960</c:v>
                </c:pt>
                <c:pt idx="16313">
                  <c:v>08.02.1960</c:v>
                </c:pt>
                <c:pt idx="16314">
                  <c:v>05.02.1960</c:v>
                </c:pt>
                <c:pt idx="16315">
                  <c:v>04.02.1960</c:v>
                </c:pt>
                <c:pt idx="16316">
                  <c:v>03.02.1960</c:v>
                </c:pt>
                <c:pt idx="16317">
                  <c:v>02.02.1960</c:v>
                </c:pt>
                <c:pt idx="16318">
                  <c:v>01.02.1960</c:v>
                </c:pt>
                <c:pt idx="16319">
                  <c:v>29.01.1960</c:v>
                </c:pt>
                <c:pt idx="16320">
                  <c:v>28.01.1960</c:v>
                </c:pt>
                <c:pt idx="16321">
                  <c:v>27.01.1960</c:v>
                </c:pt>
                <c:pt idx="16322">
                  <c:v>26.01.1960</c:v>
                </c:pt>
                <c:pt idx="16323">
                  <c:v>25.01.1960</c:v>
                </c:pt>
                <c:pt idx="16324">
                  <c:v>22.01.1960</c:v>
                </c:pt>
                <c:pt idx="16325">
                  <c:v>21.01.1960</c:v>
                </c:pt>
                <c:pt idx="16326">
                  <c:v>20.01.1960</c:v>
                </c:pt>
                <c:pt idx="16327">
                  <c:v>19.01.1960</c:v>
                </c:pt>
                <c:pt idx="16328">
                  <c:v>18.01.1960</c:v>
                </c:pt>
                <c:pt idx="16329">
                  <c:v>15.01.1960</c:v>
                </c:pt>
                <c:pt idx="16330">
                  <c:v>14.01.1960</c:v>
                </c:pt>
                <c:pt idx="16331">
                  <c:v>13.01.1960</c:v>
                </c:pt>
                <c:pt idx="16332">
                  <c:v>12.01.1960</c:v>
                </c:pt>
                <c:pt idx="16333">
                  <c:v>11.01.1960</c:v>
                </c:pt>
                <c:pt idx="16334">
                  <c:v>08.01.1960</c:v>
                </c:pt>
                <c:pt idx="16335">
                  <c:v>07.01.1960</c:v>
                </c:pt>
                <c:pt idx="16336">
                  <c:v>06.01.1960</c:v>
                </c:pt>
                <c:pt idx="16337">
                  <c:v>05.01.1960</c:v>
                </c:pt>
                <c:pt idx="16338">
                  <c:v>04.01.1960</c:v>
                </c:pt>
                <c:pt idx="16339">
                  <c:v>01.01.1960</c:v>
                </c:pt>
                <c:pt idx="16340">
                  <c:v>31.12.1959</c:v>
                </c:pt>
                <c:pt idx="16341">
                  <c:v>30.12.1959</c:v>
                </c:pt>
                <c:pt idx="16342">
                  <c:v>29.12.1959</c:v>
                </c:pt>
                <c:pt idx="16343">
                  <c:v>28.12.1959</c:v>
                </c:pt>
                <c:pt idx="16344">
                  <c:v>25.12.1959</c:v>
                </c:pt>
                <c:pt idx="16345">
                  <c:v>24.12.1959</c:v>
                </c:pt>
                <c:pt idx="16346">
                  <c:v>23.12.1959</c:v>
                </c:pt>
                <c:pt idx="16347">
                  <c:v>22.12.1959</c:v>
                </c:pt>
                <c:pt idx="16348">
                  <c:v>21.12.1959</c:v>
                </c:pt>
                <c:pt idx="16349">
                  <c:v>18.12.1959</c:v>
                </c:pt>
                <c:pt idx="16350">
                  <c:v>17.12.1959</c:v>
                </c:pt>
                <c:pt idx="16351">
                  <c:v>16.12.1959</c:v>
                </c:pt>
                <c:pt idx="16352">
                  <c:v>15.12.1959</c:v>
                </c:pt>
                <c:pt idx="16353">
                  <c:v>14.12.1959</c:v>
                </c:pt>
                <c:pt idx="16354">
                  <c:v>11.12.1959</c:v>
                </c:pt>
                <c:pt idx="16355">
                  <c:v>10.12.1959</c:v>
                </c:pt>
                <c:pt idx="16356">
                  <c:v>09.12.1959</c:v>
                </c:pt>
                <c:pt idx="16357">
                  <c:v>08.12.1959</c:v>
                </c:pt>
                <c:pt idx="16358">
                  <c:v>07.12.1959</c:v>
                </c:pt>
                <c:pt idx="16359">
                  <c:v>04.12.1959</c:v>
                </c:pt>
                <c:pt idx="16360">
                  <c:v>03.12.1959</c:v>
                </c:pt>
                <c:pt idx="16361">
                  <c:v>02.12.1959</c:v>
                </c:pt>
                <c:pt idx="16362">
                  <c:v>01.12.1959</c:v>
                </c:pt>
                <c:pt idx="16363">
                  <c:v>30.11.1959</c:v>
                </c:pt>
                <c:pt idx="16364">
                  <c:v>27.11.1959</c:v>
                </c:pt>
                <c:pt idx="16365">
                  <c:v>26.11.1959</c:v>
                </c:pt>
                <c:pt idx="16366">
                  <c:v>25.11.1959</c:v>
                </c:pt>
                <c:pt idx="16367">
                  <c:v>24.11.1959</c:v>
                </c:pt>
                <c:pt idx="16368">
                  <c:v>23.11.1959</c:v>
                </c:pt>
                <c:pt idx="16369">
                  <c:v>20.11.1959</c:v>
                </c:pt>
                <c:pt idx="16370">
                  <c:v>19.11.1959</c:v>
                </c:pt>
                <c:pt idx="16371">
                  <c:v>18.11.1959</c:v>
                </c:pt>
                <c:pt idx="16372">
                  <c:v>17.11.1959</c:v>
                </c:pt>
                <c:pt idx="16373">
                  <c:v>16.11.1959</c:v>
                </c:pt>
                <c:pt idx="16374">
                  <c:v>13.11.1959</c:v>
                </c:pt>
                <c:pt idx="16375">
                  <c:v>12.11.1959</c:v>
                </c:pt>
                <c:pt idx="16376">
                  <c:v>11.11.1959</c:v>
                </c:pt>
                <c:pt idx="16377">
                  <c:v>10.11.1959</c:v>
                </c:pt>
                <c:pt idx="16378">
                  <c:v>09.11.1959</c:v>
                </c:pt>
                <c:pt idx="16379">
                  <c:v>06.11.1959</c:v>
                </c:pt>
                <c:pt idx="16380">
                  <c:v>05.11.1959</c:v>
                </c:pt>
                <c:pt idx="16381">
                  <c:v>04.11.1959</c:v>
                </c:pt>
                <c:pt idx="16382">
                  <c:v>03.11.1959</c:v>
                </c:pt>
                <c:pt idx="16383">
                  <c:v>02.11.1959</c:v>
                </c:pt>
                <c:pt idx="16384">
                  <c:v>30.10.1959</c:v>
                </c:pt>
                <c:pt idx="16385">
                  <c:v>29.10.1959</c:v>
                </c:pt>
                <c:pt idx="16386">
                  <c:v>28.10.1959</c:v>
                </c:pt>
                <c:pt idx="16387">
                  <c:v>27.10.1959</c:v>
                </c:pt>
                <c:pt idx="16388">
                  <c:v>26.10.1959</c:v>
                </c:pt>
                <c:pt idx="16389">
                  <c:v>23.10.1959</c:v>
                </c:pt>
                <c:pt idx="16390">
                  <c:v>22.10.1959</c:v>
                </c:pt>
                <c:pt idx="16391">
                  <c:v>21.10.1959</c:v>
                </c:pt>
                <c:pt idx="16392">
                  <c:v>20.10.1959</c:v>
                </c:pt>
                <c:pt idx="16393">
                  <c:v>19.10.1959</c:v>
                </c:pt>
                <c:pt idx="16394">
                  <c:v>16.10.1959</c:v>
                </c:pt>
                <c:pt idx="16395">
                  <c:v>15.10.1959</c:v>
                </c:pt>
                <c:pt idx="16396">
                  <c:v>14.10.1959</c:v>
                </c:pt>
                <c:pt idx="16397">
                  <c:v>13.10.1959</c:v>
                </c:pt>
                <c:pt idx="16398">
                  <c:v>12.10.1959</c:v>
                </c:pt>
                <c:pt idx="16399">
                  <c:v>09.10.1959</c:v>
                </c:pt>
                <c:pt idx="16400">
                  <c:v>08.10.1959</c:v>
                </c:pt>
                <c:pt idx="16401">
                  <c:v>07.10.1959</c:v>
                </c:pt>
                <c:pt idx="16402">
                  <c:v>06.10.1959</c:v>
                </c:pt>
                <c:pt idx="16403">
                  <c:v>05.10.1959</c:v>
                </c:pt>
                <c:pt idx="16404">
                  <c:v>02.10.1959</c:v>
                </c:pt>
                <c:pt idx="16405">
                  <c:v>01.10.1959</c:v>
                </c:pt>
                <c:pt idx="16406">
                  <c:v>30.09.1959</c:v>
                </c:pt>
                <c:pt idx="16407">
                  <c:v>29.09.1959</c:v>
                </c:pt>
                <c:pt idx="16408">
                  <c:v>28.09.1959</c:v>
                </c:pt>
                <c:pt idx="16409">
                  <c:v>25.09.1959</c:v>
                </c:pt>
                <c:pt idx="16410">
                  <c:v>24.09.1959</c:v>
                </c:pt>
                <c:pt idx="16411">
                  <c:v>23.09.1959</c:v>
                </c:pt>
                <c:pt idx="16412">
                  <c:v>22.09.1959</c:v>
                </c:pt>
                <c:pt idx="16413">
                  <c:v>21.09.1959</c:v>
                </c:pt>
                <c:pt idx="16414">
                  <c:v>18.09.1959</c:v>
                </c:pt>
                <c:pt idx="16415">
                  <c:v>17.09.1959</c:v>
                </c:pt>
                <c:pt idx="16416">
                  <c:v>16.09.1959</c:v>
                </c:pt>
                <c:pt idx="16417">
                  <c:v>15.09.1959</c:v>
                </c:pt>
                <c:pt idx="16418">
                  <c:v>14.09.1959</c:v>
                </c:pt>
                <c:pt idx="16419">
                  <c:v>11.09.1959</c:v>
                </c:pt>
                <c:pt idx="16420">
                  <c:v>10.09.1959</c:v>
                </c:pt>
                <c:pt idx="16421">
                  <c:v>09.09.1959</c:v>
                </c:pt>
                <c:pt idx="16422">
                  <c:v>08.09.1959</c:v>
                </c:pt>
                <c:pt idx="16423">
                  <c:v>07.09.1959</c:v>
                </c:pt>
                <c:pt idx="16424">
                  <c:v>04.09.1959</c:v>
                </c:pt>
                <c:pt idx="16425">
                  <c:v>03.09.1959</c:v>
                </c:pt>
                <c:pt idx="16426">
                  <c:v>02.09.1959</c:v>
                </c:pt>
                <c:pt idx="16427">
                  <c:v>01.09.1959</c:v>
                </c:pt>
                <c:pt idx="16428">
                  <c:v>31.08.1959</c:v>
                </c:pt>
                <c:pt idx="16429">
                  <c:v>28.08.1959</c:v>
                </c:pt>
                <c:pt idx="16430">
                  <c:v>27.08.1959</c:v>
                </c:pt>
                <c:pt idx="16431">
                  <c:v>26.08.1959</c:v>
                </c:pt>
                <c:pt idx="16432">
                  <c:v>25.08.1959</c:v>
                </c:pt>
                <c:pt idx="16433">
                  <c:v>24.08.1959</c:v>
                </c:pt>
                <c:pt idx="16434">
                  <c:v>21.08.1959</c:v>
                </c:pt>
                <c:pt idx="16435">
                  <c:v>20.08.1959</c:v>
                </c:pt>
                <c:pt idx="16436">
                  <c:v>19.08.1959</c:v>
                </c:pt>
                <c:pt idx="16437">
                  <c:v>18.08.1959</c:v>
                </c:pt>
                <c:pt idx="16438">
                  <c:v>17.08.1959</c:v>
                </c:pt>
                <c:pt idx="16439">
                  <c:v>14.08.1959</c:v>
                </c:pt>
                <c:pt idx="16440">
                  <c:v>13.08.1959</c:v>
                </c:pt>
                <c:pt idx="16441">
                  <c:v>12.08.1959</c:v>
                </c:pt>
                <c:pt idx="16442">
                  <c:v>11.08.1959</c:v>
                </c:pt>
                <c:pt idx="16443">
                  <c:v>10.08.1959</c:v>
                </c:pt>
                <c:pt idx="16444">
                  <c:v>07.08.1959</c:v>
                </c:pt>
                <c:pt idx="16445">
                  <c:v>06.08.1959</c:v>
                </c:pt>
                <c:pt idx="16446">
                  <c:v>05.08.1959</c:v>
                </c:pt>
                <c:pt idx="16447">
                  <c:v>04.08.1959</c:v>
                </c:pt>
                <c:pt idx="16448">
                  <c:v>03.08.1959</c:v>
                </c:pt>
                <c:pt idx="16449">
                  <c:v>31.07.1959</c:v>
                </c:pt>
                <c:pt idx="16450">
                  <c:v>30.07.1959</c:v>
                </c:pt>
                <c:pt idx="16451">
                  <c:v>29.07.1959</c:v>
                </c:pt>
                <c:pt idx="16452">
                  <c:v>28.07.1959</c:v>
                </c:pt>
                <c:pt idx="16453">
                  <c:v>27.07.1959</c:v>
                </c:pt>
                <c:pt idx="16454">
                  <c:v>24.07.1959</c:v>
                </c:pt>
                <c:pt idx="16455">
                  <c:v>23.07.1959</c:v>
                </c:pt>
                <c:pt idx="16456">
                  <c:v>22.07.1959</c:v>
                </c:pt>
                <c:pt idx="16457">
                  <c:v>21.07.1959</c:v>
                </c:pt>
                <c:pt idx="16458">
                  <c:v>20.07.1959</c:v>
                </c:pt>
                <c:pt idx="16459">
                  <c:v>17.07.1959</c:v>
                </c:pt>
                <c:pt idx="16460">
                  <c:v>16.07.1959</c:v>
                </c:pt>
                <c:pt idx="16461">
                  <c:v>15.07.1959</c:v>
                </c:pt>
                <c:pt idx="16462">
                  <c:v>14.07.1959</c:v>
                </c:pt>
                <c:pt idx="16463">
                  <c:v>13.07.1959</c:v>
                </c:pt>
                <c:pt idx="16464">
                  <c:v>10.07.1959</c:v>
                </c:pt>
                <c:pt idx="16465">
                  <c:v>09.07.1959</c:v>
                </c:pt>
                <c:pt idx="16466">
                  <c:v>08.07.1959</c:v>
                </c:pt>
                <c:pt idx="16467">
                  <c:v>07.07.1959</c:v>
                </c:pt>
                <c:pt idx="16468">
                  <c:v>06.07.1959</c:v>
                </c:pt>
                <c:pt idx="16469">
                  <c:v>03.07.1959</c:v>
                </c:pt>
                <c:pt idx="16470">
                  <c:v>02.07.1959</c:v>
                </c:pt>
                <c:pt idx="16471">
                  <c:v>01.07.1959</c:v>
                </c:pt>
                <c:pt idx="16472">
                  <c:v>30.06.1959</c:v>
                </c:pt>
                <c:pt idx="16473">
                  <c:v>29.06.1959</c:v>
                </c:pt>
                <c:pt idx="16474">
                  <c:v>26.06.1959</c:v>
                </c:pt>
                <c:pt idx="16475">
                  <c:v>25.06.1959</c:v>
                </c:pt>
                <c:pt idx="16476">
                  <c:v>24.06.1959</c:v>
                </c:pt>
                <c:pt idx="16477">
                  <c:v>23.06.1959</c:v>
                </c:pt>
                <c:pt idx="16478">
                  <c:v>22.06.1959</c:v>
                </c:pt>
                <c:pt idx="16479">
                  <c:v>19.06.1959</c:v>
                </c:pt>
                <c:pt idx="16480">
                  <c:v>18.06.1959</c:v>
                </c:pt>
                <c:pt idx="16481">
                  <c:v>17.06.1959</c:v>
                </c:pt>
                <c:pt idx="16482">
                  <c:v>16.06.1959</c:v>
                </c:pt>
                <c:pt idx="16483">
                  <c:v>15.06.1959</c:v>
                </c:pt>
                <c:pt idx="16484">
                  <c:v>12.06.1959</c:v>
                </c:pt>
                <c:pt idx="16485">
                  <c:v>11.06.1959</c:v>
                </c:pt>
                <c:pt idx="16486">
                  <c:v>10.06.1959</c:v>
                </c:pt>
                <c:pt idx="16487">
                  <c:v>09.06.1959</c:v>
                </c:pt>
                <c:pt idx="16488">
                  <c:v>08.06.1959</c:v>
                </c:pt>
                <c:pt idx="16489">
                  <c:v>05.06.1959</c:v>
                </c:pt>
                <c:pt idx="16490">
                  <c:v>04.06.1959</c:v>
                </c:pt>
                <c:pt idx="16491">
                  <c:v>03.06.1959</c:v>
                </c:pt>
                <c:pt idx="16492">
                  <c:v>02.06.1959</c:v>
                </c:pt>
                <c:pt idx="16493">
                  <c:v>01.06.1959</c:v>
                </c:pt>
                <c:pt idx="16494">
                  <c:v>29.05.1959</c:v>
                </c:pt>
                <c:pt idx="16495">
                  <c:v>28.05.1959</c:v>
                </c:pt>
                <c:pt idx="16496">
                  <c:v>27.05.1959</c:v>
                </c:pt>
                <c:pt idx="16497">
                  <c:v>26.05.1959</c:v>
                </c:pt>
                <c:pt idx="16498">
                  <c:v>25.05.1959</c:v>
                </c:pt>
                <c:pt idx="16499">
                  <c:v>22.05.1959</c:v>
                </c:pt>
                <c:pt idx="16500">
                  <c:v>21.05.1959</c:v>
                </c:pt>
                <c:pt idx="16501">
                  <c:v>20.05.1959</c:v>
                </c:pt>
                <c:pt idx="16502">
                  <c:v>19.05.1959</c:v>
                </c:pt>
                <c:pt idx="16503">
                  <c:v>18.05.1959</c:v>
                </c:pt>
                <c:pt idx="16504">
                  <c:v>15.05.1959</c:v>
                </c:pt>
                <c:pt idx="16505">
                  <c:v>14.05.1959</c:v>
                </c:pt>
                <c:pt idx="16506">
                  <c:v>13.05.1959</c:v>
                </c:pt>
                <c:pt idx="16507">
                  <c:v>12.05.1959</c:v>
                </c:pt>
                <c:pt idx="16508">
                  <c:v>11.05.1959</c:v>
                </c:pt>
                <c:pt idx="16509">
                  <c:v>08.05.1959</c:v>
                </c:pt>
                <c:pt idx="16510">
                  <c:v>07.05.1959</c:v>
                </c:pt>
                <c:pt idx="16511">
                  <c:v>06.05.1959</c:v>
                </c:pt>
                <c:pt idx="16512">
                  <c:v>05.05.1959</c:v>
                </c:pt>
                <c:pt idx="16513">
                  <c:v>04.05.1959</c:v>
                </c:pt>
                <c:pt idx="16514">
                  <c:v>01.05.1959</c:v>
                </c:pt>
                <c:pt idx="16515">
                  <c:v>30.04.1959</c:v>
                </c:pt>
                <c:pt idx="16516">
                  <c:v>29.04.1959</c:v>
                </c:pt>
                <c:pt idx="16517">
                  <c:v>28.04.1959</c:v>
                </c:pt>
                <c:pt idx="16518">
                  <c:v>27.04.1959</c:v>
                </c:pt>
                <c:pt idx="16519">
                  <c:v>24.04.1959</c:v>
                </c:pt>
                <c:pt idx="16520">
                  <c:v>23.04.1959</c:v>
                </c:pt>
                <c:pt idx="16521">
                  <c:v>22.04.1959</c:v>
                </c:pt>
                <c:pt idx="16522">
                  <c:v>21.04.1959</c:v>
                </c:pt>
                <c:pt idx="16523">
                  <c:v>20.04.1959</c:v>
                </c:pt>
                <c:pt idx="16524">
                  <c:v>17.04.1959</c:v>
                </c:pt>
                <c:pt idx="16525">
                  <c:v>16.04.1959</c:v>
                </c:pt>
                <c:pt idx="16526">
                  <c:v>15.04.1959</c:v>
                </c:pt>
                <c:pt idx="16527">
                  <c:v>14.04.1959</c:v>
                </c:pt>
                <c:pt idx="16528">
                  <c:v>13.04.1959</c:v>
                </c:pt>
                <c:pt idx="16529">
                  <c:v>10.04.1959</c:v>
                </c:pt>
                <c:pt idx="16530">
                  <c:v>09.04.1959</c:v>
                </c:pt>
                <c:pt idx="16531">
                  <c:v>08.04.1959</c:v>
                </c:pt>
                <c:pt idx="16532">
                  <c:v>07.04.1959</c:v>
                </c:pt>
                <c:pt idx="16533">
                  <c:v>06.04.1959</c:v>
                </c:pt>
                <c:pt idx="16534">
                  <c:v>03.04.1959</c:v>
                </c:pt>
                <c:pt idx="16535">
                  <c:v>02.04.1959</c:v>
                </c:pt>
                <c:pt idx="16536">
                  <c:v>01.04.1959</c:v>
                </c:pt>
                <c:pt idx="16537">
                  <c:v>31.03.1959</c:v>
                </c:pt>
                <c:pt idx="16538">
                  <c:v>30.03.1959</c:v>
                </c:pt>
                <c:pt idx="16539">
                  <c:v>27.03.1959</c:v>
                </c:pt>
                <c:pt idx="16540">
                  <c:v>26.03.1959</c:v>
                </c:pt>
                <c:pt idx="16541">
                  <c:v>25.03.1959</c:v>
                </c:pt>
                <c:pt idx="16542">
                  <c:v>24.03.1959</c:v>
                </c:pt>
                <c:pt idx="16543">
                  <c:v>23.03.1959</c:v>
                </c:pt>
                <c:pt idx="16544">
                  <c:v>20.03.1959</c:v>
                </c:pt>
                <c:pt idx="16545">
                  <c:v>19.03.1959</c:v>
                </c:pt>
                <c:pt idx="16546">
                  <c:v>18.03.1959</c:v>
                </c:pt>
                <c:pt idx="16547">
                  <c:v>17.03.1959</c:v>
                </c:pt>
                <c:pt idx="16548">
                  <c:v>16.03.1959</c:v>
                </c:pt>
                <c:pt idx="16549">
                  <c:v>13.03.1959</c:v>
                </c:pt>
                <c:pt idx="16550">
                  <c:v>12.03.1959</c:v>
                </c:pt>
                <c:pt idx="16551">
                  <c:v>11.03.1959</c:v>
                </c:pt>
                <c:pt idx="16552">
                  <c:v>10.03.1959</c:v>
                </c:pt>
                <c:pt idx="16553">
                  <c:v>09.03.1959</c:v>
                </c:pt>
                <c:pt idx="16554">
                  <c:v>06.03.1959</c:v>
                </c:pt>
                <c:pt idx="16555">
                  <c:v>05.03.1959</c:v>
                </c:pt>
                <c:pt idx="16556">
                  <c:v>04.03.1959</c:v>
                </c:pt>
                <c:pt idx="16557">
                  <c:v>03.03.1959</c:v>
                </c:pt>
                <c:pt idx="16558">
                  <c:v>02.03.1959</c:v>
                </c:pt>
                <c:pt idx="16559">
                  <c:v>27.02.1959</c:v>
                </c:pt>
                <c:pt idx="16560">
                  <c:v>26.02.1959</c:v>
                </c:pt>
                <c:pt idx="16561">
                  <c:v>25.02.1959</c:v>
                </c:pt>
                <c:pt idx="16562">
                  <c:v>24.02.1959</c:v>
                </c:pt>
                <c:pt idx="16563">
                  <c:v>23.02.1959</c:v>
                </c:pt>
                <c:pt idx="16564">
                  <c:v>20.02.1959</c:v>
                </c:pt>
                <c:pt idx="16565">
                  <c:v>19.02.1959</c:v>
                </c:pt>
                <c:pt idx="16566">
                  <c:v>18.02.1959</c:v>
                </c:pt>
                <c:pt idx="16567">
                  <c:v>17.02.1959</c:v>
                </c:pt>
                <c:pt idx="16568">
                  <c:v>16.02.1959</c:v>
                </c:pt>
                <c:pt idx="16569">
                  <c:v>13.02.1959</c:v>
                </c:pt>
                <c:pt idx="16570">
                  <c:v>12.02.1959</c:v>
                </c:pt>
                <c:pt idx="16571">
                  <c:v>11.02.1959</c:v>
                </c:pt>
                <c:pt idx="16572">
                  <c:v>10.02.1959</c:v>
                </c:pt>
                <c:pt idx="16573">
                  <c:v>09.02.1959</c:v>
                </c:pt>
                <c:pt idx="16574">
                  <c:v>06.02.1959</c:v>
                </c:pt>
                <c:pt idx="16575">
                  <c:v>05.02.1959</c:v>
                </c:pt>
                <c:pt idx="16576">
                  <c:v>04.02.1959</c:v>
                </c:pt>
                <c:pt idx="16577">
                  <c:v>03.02.1959</c:v>
                </c:pt>
                <c:pt idx="16578">
                  <c:v>02.02.1959</c:v>
                </c:pt>
                <c:pt idx="16579">
                  <c:v>30.01.1959</c:v>
                </c:pt>
                <c:pt idx="16580">
                  <c:v>29.01.1959</c:v>
                </c:pt>
                <c:pt idx="16581">
                  <c:v>28.01.1959</c:v>
                </c:pt>
                <c:pt idx="16582">
                  <c:v>27.01.1959</c:v>
                </c:pt>
                <c:pt idx="16583">
                  <c:v>26.01.1959</c:v>
                </c:pt>
                <c:pt idx="16584">
                  <c:v>23.01.1959</c:v>
                </c:pt>
                <c:pt idx="16585">
                  <c:v>22.01.1959</c:v>
                </c:pt>
                <c:pt idx="16586">
                  <c:v>21.01.1959</c:v>
                </c:pt>
                <c:pt idx="16587">
                  <c:v>20.01.1959</c:v>
                </c:pt>
                <c:pt idx="16588">
                  <c:v>19.01.1959</c:v>
                </c:pt>
                <c:pt idx="16589">
                  <c:v>16.01.1959</c:v>
                </c:pt>
                <c:pt idx="16590">
                  <c:v>15.01.1959</c:v>
                </c:pt>
                <c:pt idx="16591">
                  <c:v>14.01.1959</c:v>
                </c:pt>
                <c:pt idx="16592">
                  <c:v>13.01.1959</c:v>
                </c:pt>
                <c:pt idx="16593">
                  <c:v>12.01.1959</c:v>
                </c:pt>
                <c:pt idx="16594">
                  <c:v>09.01.1959</c:v>
                </c:pt>
                <c:pt idx="16595">
                  <c:v>08.01.1959</c:v>
                </c:pt>
                <c:pt idx="16596">
                  <c:v>07.01.1959</c:v>
                </c:pt>
                <c:pt idx="16597">
                  <c:v>06.01.1959</c:v>
                </c:pt>
                <c:pt idx="16598">
                  <c:v>05.01.1959</c:v>
                </c:pt>
                <c:pt idx="16599">
                  <c:v>02.01.1959</c:v>
                </c:pt>
                <c:pt idx="16600">
                  <c:v>01.01.1959</c:v>
                </c:pt>
                <c:pt idx="16601">
                  <c:v>31.12.1958</c:v>
                </c:pt>
                <c:pt idx="16602">
                  <c:v>30.12.1958</c:v>
                </c:pt>
                <c:pt idx="16603">
                  <c:v>29.12.1958</c:v>
                </c:pt>
                <c:pt idx="16604">
                  <c:v>26.12.1958</c:v>
                </c:pt>
                <c:pt idx="16605">
                  <c:v>25.12.1958</c:v>
                </c:pt>
                <c:pt idx="16606">
                  <c:v>24.12.1958</c:v>
                </c:pt>
                <c:pt idx="16607">
                  <c:v>23.12.1958</c:v>
                </c:pt>
                <c:pt idx="16608">
                  <c:v>22.12.1958</c:v>
                </c:pt>
                <c:pt idx="16609">
                  <c:v>19.12.1958</c:v>
                </c:pt>
                <c:pt idx="16610">
                  <c:v>18.12.1958</c:v>
                </c:pt>
                <c:pt idx="16611">
                  <c:v>17.12.1958</c:v>
                </c:pt>
                <c:pt idx="16612">
                  <c:v>16.12.1958</c:v>
                </c:pt>
                <c:pt idx="16613">
                  <c:v>15.12.1958</c:v>
                </c:pt>
                <c:pt idx="16614">
                  <c:v>12.12.1958</c:v>
                </c:pt>
                <c:pt idx="16615">
                  <c:v>11.12.1958</c:v>
                </c:pt>
                <c:pt idx="16616">
                  <c:v>10.12.1958</c:v>
                </c:pt>
                <c:pt idx="16617">
                  <c:v>09.12.1958</c:v>
                </c:pt>
                <c:pt idx="16618">
                  <c:v>08.12.1958</c:v>
                </c:pt>
                <c:pt idx="16619">
                  <c:v>05.12.1958</c:v>
                </c:pt>
                <c:pt idx="16620">
                  <c:v>04.12.1958</c:v>
                </c:pt>
                <c:pt idx="16621">
                  <c:v>03.12.1958</c:v>
                </c:pt>
                <c:pt idx="16622">
                  <c:v>02.12.1958</c:v>
                </c:pt>
                <c:pt idx="16623">
                  <c:v>01.12.1958</c:v>
                </c:pt>
                <c:pt idx="16624">
                  <c:v>28.11.1958</c:v>
                </c:pt>
                <c:pt idx="16625">
                  <c:v>27.11.1958</c:v>
                </c:pt>
                <c:pt idx="16626">
                  <c:v>26.11.1958</c:v>
                </c:pt>
                <c:pt idx="16627">
                  <c:v>25.11.1958</c:v>
                </c:pt>
                <c:pt idx="16628">
                  <c:v>24.11.1958</c:v>
                </c:pt>
                <c:pt idx="16629">
                  <c:v>21.11.1958</c:v>
                </c:pt>
                <c:pt idx="16630">
                  <c:v>20.11.1958</c:v>
                </c:pt>
                <c:pt idx="16631">
                  <c:v>19.11.1958</c:v>
                </c:pt>
                <c:pt idx="16632">
                  <c:v>18.11.1958</c:v>
                </c:pt>
                <c:pt idx="16633">
                  <c:v>17.11.1958</c:v>
                </c:pt>
                <c:pt idx="16634">
                  <c:v>14.11.1958</c:v>
                </c:pt>
                <c:pt idx="16635">
                  <c:v>13.11.1958</c:v>
                </c:pt>
                <c:pt idx="16636">
                  <c:v>12.11.1958</c:v>
                </c:pt>
                <c:pt idx="16637">
                  <c:v>11.11.1958</c:v>
                </c:pt>
                <c:pt idx="16638">
                  <c:v>10.11.1958</c:v>
                </c:pt>
                <c:pt idx="16639">
                  <c:v>07.11.1958</c:v>
                </c:pt>
                <c:pt idx="16640">
                  <c:v>06.11.1958</c:v>
                </c:pt>
                <c:pt idx="16641">
                  <c:v>05.11.1958</c:v>
                </c:pt>
                <c:pt idx="16642">
                  <c:v>04.11.1958</c:v>
                </c:pt>
                <c:pt idx="16643">
                  <c:v>03.11.1958</c:v>
                </c:pt>
                <c:pt idx="16644">
                  <c:v>31.10.1958</c:v>
                </c:pt>
                <c:pt idx="16645">
                  <c:v>30.10.1958</c:v>
                </c:pt>
                <c:pt idx="16646">
                  <c:v>29.10.1958</c:v>
                </c:pt>
                <c:pt idx="16647">
                  <c:v>28.10.1958</c:v>
                </c:pt>
                <c:pt idx="16648">
                  <c:v>27.10.1958</c:v>
                </c:pt>
                <c:pt idx="16649">
                  <c:v>24.10.1958</c:v>
                </c:pt>
                <c:pt idx="16650">
                  <c:v>23.10.1958</c:v>
                </c:pt>
                <c:pt idx="16651">
                  <c:v>22.10.1958</c:v>
                </c:pt>
                <c:pt idx="16652">
                  <c:v>21.10.1958</c:v>
                </c:pt>
                <c:pt idx="16653">
                  <c:v>20.10.1958</c:v>
                </c:pt>
                <c:pt idx="16654">
                  <c:v>17.10.1958</c:v>
                </c:pt>
                <c:pt idx="16655">
                  <c:v>16.10.1958</c:v>
                </c:pt>
                <c:pt idx="16656">
                  <c:v>15.10.1958</c:v>
                </c:pt>
                <c:pt idx="16657">
                  <c:v>14.10.1958</c:v>
                </c:pt>
                <c:pt idx="16658">
                  <c:v>13.10.1958</c:v>
                </c:pt>
                <c:pt idx="16659">
                  <c:v>10.10.1958</c:v>
                </c:pt>
                <c:pt idx="16660">
                  <c:v>09.10.1958</c:v>
                </c:pt>
                <c:pt idx="16661">
                  <c:v>08.10.1958</c:v>
                </c:pt>
                <c:pt idx="16662">
                  <c:v>07.10.1958</c:v>
                </c:pt>
                <c:pt idx="16663">
                  <c:v>06.10.1958</c:v>
                </c:pt>
                <c:pt idx="16664">
                  <c:v>03.10.1958</c:v>
                </c:pt>
                <c:pt idx="16665">
                  <c:v>02.10.1958</c:v>
                </c:pt>
                <c:pt idx="16666">
                  <c:v>01.10.1958</c:v>
                </c:pt>
                <c:pt idx="16667">
                  <c:v>30.09.1958</c:v>
                </c:pt>
                <c:pt idx="16668">
                  <c:v>29.09.1958</c:v>
                </c:pt>
                <c:pt idx="16669">
                  <c:v>26.09.1958</c:v>
                </c:pt>
                <c:pt idx="16670">
                  <c:v>25.09.1958</c:v>
                </c:pt>
                <c:pt idx="16671">
                  <c:v>24.09.1958</c:v>
                </c:pt>
                <c:pt idx="16672">
                  <c:v>23.09.1958</c:v>
                </c:pt>
                <c:pt idx="16673">
                  <c:v>22.09.1958</c:v>
                </c:pt>
                <c:pt idx="16674">
                  <c:v>19.09.1958</c:v>
                </c:pt>
                <c:pt idx="16675">
                  <c:v>18.09.1958</c:v>
                </c:pt>
                <c:pt idx="16676">
                  <c:v>17.09.1958</c:v>
                </c:pt>
                <c:pt idx="16677">
                  <c:v>16.09.1958</c:v>
                </c:pt>
                <c:pt idx="16678">
                  <c:v>15.09.1958</c:v>
                </c:pt>
                <c:pt idx="16679">
                  <c:v>12.09.1958</c:v>
                </c:pt>
                <c:pt idx="16680">
                  <c:v>11.09.1958</c:v>
                </c:pt>
                <c:pt idx="16681">
                  <c:v>10.09.1958</c:v>
                </c:pt>
                <c:pt idx="16682">
                  <c:v>09.09.1958</c:v>
                </c:pt>
                <c:pt idx="16683">
                  <c:v>08.09.1958</c:v>
                </c:pt>
                <c:pt idx="16684">
                  <c:v>05.09.1958</c:v>
                </c:pt>
                <c:pt idx="16685">
                  <c:v>04.09.1958</c:v>
                </c:pt>
                <c:pt idx="16686">
                  <c:v>03.09.1958</c:v>
                </c:pt>
                <c:pt idx="16687">
                  <c:v>02.09.1958</c:v>
                </c:pt>
                <c:pt idx="16688">
                  <c:v>01.09.1958</c:v>
                </c:pt>
                <c:pt idx="16689">
                  <c:v>29.08.1958</c:v>
                </c:pt>
                <c:pt idx="16690">
                  <c:v>28.08.1958</c:v>
                </c:pt>
                <c:pt idx="16691">
                  <c:v>27.08.1958</c:v>
                </c:pt>
                <c:pt idx="16692">
                  <c:v>26.08.1958</c:v>
                </c:pt>
                <c:pt idx="16693">
                  <c:v>25.08.1958</c:v>
                </c:pt>
                <c:pt idx="16694">
                  <c:v>22.08.1958</c:v>
                </c:pt>
                <c:pt idx="16695">
                  <c:v>21.08.1958</c:v>
                </c:pt>
                <c:pt idx="16696">
                  <c:v>20.08.1958</c:v>
                </c:pt>
                <c:pt idx="16697">
                  <c:v>19.08.1958</c:v>
                </c:pt>
                <c:pt idx="16698">
                  <c:v>18.08.1958</c:v>
                </c:pt>
                <c:pt idx="16699">
                  <c:v>15.08.1958</c:v>
                </c:pt>
                <c:pt idx="16700">
                  <c:v>14.08.1958</c:v>
                </c:pt>
                <c:pt idx="16701">
                  <c:v>13.08.1958</c:v>
                </c:pt>
                <c:pt idx="16702">
                  <c:v>12.08.1958</c:v>
                </c:pt>
                <c:pt idx="16703">
                  <c:v>11.08.1958</c:v>
                </c:pt>
                <c:pt idx="16704">
                  <c:v>08.08.1958</c:v>
                </c:pt>
                <c:pt idx="16705">
                  <c:v>07.08.1958</c:v>
                </c:pt>
                <c:pt idx="16706">
                  <c:v>06.08.1958</c:v>
                </c:pt>
                <c:pt idx="16707">
                  <c:v>05.08.1958</c:v>
                </c:pt>
                <c:pt idx="16708">
                  <c:v>04.08.1958</c:v>
                </c:pt>
                <c:pt idx="16709">
                  <c:v>01.08.1958</c:v>
                </c:pt>
                <c:pt idx="16710">
                  <c:v>31.07.1958</c:v>
                </c:pt>
                <c:pt idx="16711">
                  <c:v>30.07.1958</c:v>
                </c:pt>
                <c:pt idx="16712">
                  <c:v>29.07.1958</c:v>
                </c:pt>
                <c:pt idx="16713">
                  <c:v>28.07.1958</c:v>
                </c:pt>
                <c:pt idx="16714">
                  <c:v>25.07.1958</c:v>
                </c:pt>
                <c:pt idx="16715">
                  <c:v>24.07.1958</c:v>
                </c:pt>
                <c:pt idx="16716">
                  <c:v>23.07.1958</c:v>
                </c:pt>
                <c:pt idx="16717">
                  <c:v>22.07.1958</c:v>
                </c:pt>
                <c:pt idx="16718">
                  <c:v>21.07.1958</c:v>
                </c:pt>
                <c:pt idx="16719">
                  <c:v>18.07.1958</c:v>
                </c:pt>
                <c:pt idx="16720">
                  <c:v>17.07.1958</c:v>
                </c:pt>
                <c:pt idx="16721">
                  <c:v>16.07.1958</c:v>
                </c:pt>
                <c:pt idx="16722">
                  <c:v>15.07.1958</c:v>
                </c:pt>
                <c:pt idx="16723">
                  <c:v>14.07.1958</c:v>
                </c:pt>
                <c:pt idx="16724">
                  <c:v>11.07.1958</c:v>
                </c:pt>
                <c:pt idx="16725">
                  <c:v>10.07.1958</c:v>
                </c:pt>
                <c:pt idx="16726">
                  <c:v>09.07.1958</c:v>
                </c:pt>
                <c:pt idx="16727">
                  <c:v>08.07.1958</c:v>
                </c:pt>
                <c:pt idx="16728">
                  <c:v>07.07.1958</c:v>
                </c:pt>
                <c:pt idx="16729">
                  <c:v>04.07.1958</c:v>
                </c:pt>
                <c:pt idx="16730">
                  <c:v>03.07.1958</c:v>
                </c:pt>
                <c:pt idx="16731">
                  <c:v>02.07.1958</c:v>
                </c:pt>
                <c:pt idx="16732">
                  <c:v>01.07.1958</c:v>
                </c:pt>
                <c:pt idx="16733">
                  <c:v>30.06.1958</c:v>
                </c:pt>
                <c:pt idx="16734">
                  <c:v>27.06.1958</c:v>
                </c:pt>
                <c:pt idx="16735">
                  <c:v>26.06.1958</c:v>
                </c:pt>
                <c:pt idx="16736">
                  <c:v>25.06.1958</c:v>
                </c:pt>
                <c:pt idx="16737">
                  <c:v>24.06.1958</c:v>
                </c:pt>
                <c:pt idx="16738">
                  <c:v>23.06.1958</c:v>
                </c:pt>
                <c:pt idx="16739">
                  <c:v>20.06.1958</c:v>
                </c:pt>
                <c:pt idx="16740">
                  <c:v>19.06.1958</c:v>
                </c:pt>
                <c:pt idx="16741">
                  <c:v>18.06.1958</c:v>
                </c:pt>
                <c:pt idx="16742">
                  <c:v>17.06.1958</c:v>
                </c:pt>
                <c:pt idx="16743">
                  <c:v>16.06.1958</c:v>
                </c:pt>
                <c:pt idx="16744">
                  <c:v>13.06.1958</c:v>
                </c:pt>
                <c:pt idx="16745">
                  <c:v>12.06.1958</c:v>
                </c:pt>
                <c:pt idx="16746">
                  <c:v>11.06.1958</c:v>
                </c:pt>
                <c:pt idx="16747">
                  <c:v>10.06.1958</c:v>
                </c:pt>
                <c:pt idx="16748">
                  <c:v>09.06.1958</c:v>
                </c:pt>
                <c:pt idx="16749">
                  <c:v>06.06.1958</c:v>
                </c:pt>
                <c:pt idx="16750">
                  <c:v>05.06.1958</c:v>
                </c:pt>
                <c:pt idx="16751">
                  <c:v>04.06.1958</c:v>
                </c:pt>
                <c:pt idx="16752">
                  <c:v>03.06.1958</c:v>
                </c:pt>
                <c:pt idx="16753">
                  <c:v>02.06.1958</c:v>
                </c:pt>
                <c:pt idx="16754">
                  <c:v>30.05.1958</c:v>
                </c:pt>
                <c:pt idx="16755">
                  <c:v>29.05.1958</c:v>
                </c:pt>
                <c:pt idx="16756">
                  <c:v>28.05.1958</c:v>
                </c:pt>
                <c:pt idx="16757">
                  <c:v>27.05.1958</c:v>
                </c:pt>
                <c:pt idx="16758">
                  <c:v>26.05.1958</c:v>
                </c:pt>
                <c:pt idx="16759">
                  <c:v>23.05.1958</c:v>
                </c:pt>
                <c:pt idx="16760">
                  <c:v>22.05.1958</c:v>
                </c:pt>
                <c:pt idx="16761">
                  <c:v>21.05.1958</c:v>
                </c:pt>
                <c:pt idx="16762">
                  <c:v>20.05.1958</c:v>
                </c:pt>
                <c:pt idx="16763">
                  <c:v>19.05.1958</c:v>
                </c:pt>
                <c:pt idx="16764">
                  <c:v>16.05.1958</c:v>
                </c:pt>
                <c:pt idx="16765">
                  <c:v>15.05.1958</c:v>
                </c:pt>
                <c:pt idx="16766">
                  <c:v>14.05.1958</c:v>
                </c:pt>
                <c:pt idx="16767">
                  <c:v>13.05.1958</c:v>
                </c:pt>
                <c:pt idx="16768">
                  <c:v>12.05.1958</c:v>
                </c:pt>
                <c:pt idx="16769">
                  <c:v>09.05.1958</c:v>
                </c:pt>
                <c:pt idx="16770">
                  <c:v>08.05.1958</c:v>
                </c:pt>
                <c:pt idx="16771">
                  <c:v>07.05.1958</c:v>
                </c:pt>
                <c:pt idx="16772">
                  <c:v>06.05.1958</c:v>
                </c:pt>
                <c:pt idx="16773">
                  <c:v>05.05.1958</c:v>
                </c:pt>
                <c:pt idx="16774">
                  <c:v>02.05.1958</c:v>
                </c:pt>
                <c:pt idx="16775">
                  <c:v>01.05.1958</c:v>
                </c:pt>
                <c:pt idx="16776">
                  <c:v>30.04.1958</c:v>
                </c:pt>
                <c:pt idx="16777">
                  <c:v>29.04.1958</c:v>
                </c:pt>
                <c:pt idx="16778">
                  <c:v>28.04.1958</c:v>
                </c:pt>
                <c:pt idx="16779">
                  <c:v>25.04.1958</c:v>
                </c:pt>
                <c:pt idx="16780">
                  <c:v>24.04.1958</c:v>
                </c:pt>
                <c:pt idx="16781">
                  <c:v>23.04.1958</c:v>
                </c:pt>
                <c:pt idx="16782">
                  <c:v>22.04.1958</c:v>
                </c:pt>
                <c:pt idx="16783">
                  <c:v>21.04.1958</c:v>
                </c:pt>
                <c:pt idx="16784">
                  <c:v>18.04.1958</c:v>
                </c:pt>
                <c:pt idx="16785">
                  <c:v>17.04.1958</c:v>
                </c:pt>
                <c:pt idx="16786">
                  <c:v>16.04.1958</c:v>
                </c:pt>
                <c:pt idx="16787">
                  <c:v>15.04.1958</c:v>
                </c:pt>
                <c:pt idx="16788">
                  <c:v>14.04.1958</c:v>
                </c:pt>
                <c:pt idx="16789">
                  <c:v>11.04.1958</c:v>
                </c:pt>
                <c:pt idx="16790">
                  <c:v>10.04.1958</c:v>
                </c:pt>
                <c:pt idx="16791">
                  <c:v>09.04.1958</c:v>
                </c:pt>
                <c:pt idx="16792">
                  <c:v>08.04.1958</c:v>
                </c:pt>
                <c:pt idx="16793">
                  <c:v>07.04.1958</c:v>
                </c:pt>
                <c:pt idx="16794">
                  <c:v>04.04.1958</c:v>
                </c:pt>
                <c:pt idx="16795">
                  <c:v>03.04.1958</c:v>
                </c:pt>
                <c:pt idx="16796">
                  <c:v>02.04.1958</c:v>
                </c:pt>
                <c:pt idx="16797">
                  <c:v>01.04.1958</c:v>
                </c:pt>
                <c:pt idx="16798">
                  <c:v>31.03.1958</c:v>
                </c:pt>
                <c:pt idx="16799">
                  <c:v>28.03.1958</c:v>
                </c:pt>
                <c:pt idx="16800">
                  <c:v>27.03.1958</c:v>
                </c:pt>
                <c:pt idx="16801">
                  <c:v>26.03.1958</c:v>
                </c:pt>
                <c:pt idx="16802">
                  <c:v>25.03.1958</c:v>
                </c:pt>
                <c:pt idx="16803">
                  <c:v>24.03.1958</c:v>
                </c:pt>
                <c:pt idx="16804">
                  <c:v>21.03.1958</c:v>
                </c:pt>
                <c:pt idx="16805">
                  <c:v>20.03.1958</c:v>
                </c:pt>
                <c:pt idx="16806">
                  <c:v>19.03.1958</c:v>
                </c:pt>
                <c:pt idx="16807">
                  <c:v>18.03.1958</c:v>
                </c:pt>
                <c:pt idx="16808">
                  <c:v>17.03.1958</c:v>
                </c:pt>
                <c:pt idx="16809">
                  <c:v>14.03.1958</c:v>
                </c:pt>
                <c:pt idx="16810">
                  <c:v>13.03.1958</c:v>
                </c:pt>
                <c:pt idx="16811">
                  <c:v>12.03.1958</c:v>
                </c:pt>
                <c:pt idx="16812">
                  <c:v>11.03.1958</c:v>
                </c:pt>
                <c:pt idx="16813">
                  <c:v>10.03.1958</c:v>
                </c:pt>
                <c:pt idx="16814">
                  <c:v>07.03.1958</c:v>
                </c:pt>
                <c:pt idx="16815">
                  <c:v>06.03.1958</c:v>
                </c:pt>
                <c:pt idx="16816">
                  <c:v>05.03.1958</c:v>
                </c:pt>
                <c:pt idx="16817">
                  <c:v>04.03.1958</c:v>
                </c:pt>
                <c:pt idx="16818">
                  <c:v>03.03.1958</c:v>
                </c:pt>
                <c:pt idx="16819">
                  <c:v>28.02.1958</c:v>
                </c:pt>
                <c:pt idx="16820">
                  <c:v>27.02.1958</c:v>
                </c:pt>
                <c:pt idx="16821">
                  <c:v>26.02.1958</c:v>
                </c:pt>
                <c:pt idx="16822">
                  <c:v>25.02.1958</c:v>
                </c:pt>
                <c:pt idx="16823">
                  <c:v>24.02.1958</c:v>
                </c:pt>
                <c:pt idx="16824">
                  <c:v>21.02.1958</c:v>
                </c:pt>
                <c:pt idx="16825">
                  <c:v>20.02.1958</c:v>
                </c:pt>
                <c:pt idx="16826">
                  <c:v>19.02.1958</c:v>
                </c:pt>
                <c:pt idx="16827">
                  <c:v>18.02.1958</c:v>
                </c:pt>
                <c:pt idx="16828">
                  <c:v>17.02.1958</c:v>
                </c:pt>
                <c:pt idx="16829">
                  <c:v>14.02.1958</c:v>
                </c:pt>
                <c:pt idx="16830">
                  <c:v>13.02.1958</c:v>
                </c:pt>
                <c:pt idx="16831">
                  <c:v>12.02.1958</c:v>
                </c:pt>
                <c:pt idx="16832">
                  <c:v>11.02.1958</c:v>
                </c:pt>
                <c:pt idx="16833">
                  <c:v>10.02.1958</c:v>
                </c:pt>
                <c:pt idx="16834">
                  <c:v>07.02.1958</c:v>
                </c:pt>
                <c:pt idx="16835">
                  <c:v>06.02.1958</c:v>
                </c:pt>
                <c:pt idx="16836">
                  <c:v>05.02.1958</c:v>
                </c:pt>
                <c:pt idx="16837">
                  <c:v>04.02.1958</c:v>
                </c:pt>
                <c:pt idx="16838">
                  <c:v>03.02.1958</c:v>
                </c:pt>
                <c:pt idx="16839">
                  <c:v>31.01.1958</c:v>
                </c:pt>
                <c:pt idx="16840">
                  <c:v>30.01.1958</c:v>
                </c:pt>
                <c:pt idx="16841">
                  <c:v>29.01.1958</c:v>
                </c:pt>
                <c:pt idx="16842">
                  <c:v>28.01.1958</c:v>
                </c:pt>
                <c:pt idx="16843">
                  <c:v>27.01.1958</c:v>
                </c:pt>
                <c:pt idx="16844">
                  <c:v>24.01.1958</c:v>
                </c:pt>
                <c:pt idx="16845">
                  <c:v>23.01.1958</c:v>
                </c:pt>
                <c:pt idx="16846">
                  <c:v>22.01.1958</c:v>
                </c:pt>
                <c:pt idx="16847">
                  <c:v>21.01.1958</c:v>
                </c:pt>
                <c:pt idx="16848">
                  <c:v>20.01.1958</c:v>
                </c:pt>
                <c:pt idx="16849">
                  <c:v>17.01.1958</c:v>
                </c:pt>
                <c:pt idx="16850">
                  <c:v>16.01.1958</c:v>
                </c:pt>
                <c:pt idx="16851">
                  <c:v>15.01.1958</c:v>
                </c:pt>
                <c:pt idx="16852">
                  <c:v>14.01.1958</c:v>
                </c:pt>
                <c:pt idx="16853">
                  <c:v>13.01.1958</c:v>
                </c:pt>
                <c:pt idx="16854">
                  <c:v>10.01.1958</c:v>
                </c:pt>
                <c:pt idx="16855">
                  <c:v>09.01.1958</c:v>
                </c:pt>
                <c:pt idx="16856">
                  <c:v>08.01.1958</c:v>
                </c:pt>
                <c:pt idx="16857">
                  <c:v>07.01.1958</c:v>
                </c:pt>
                <c:pt idx="16858">
                  <c:v>06.01.1958</c:v>
                </c:pt>
                <c:pt idx="16859">
                  <c:v>03.01.1958</c:v>
                </c:pt>
                <c:pt idx="16860">
                  <c:v>02.01.1958</c:v>
                </c:pt>
                <c:pt idx="16861">
                  <c:v>01.01.1958</c:v>
                </c:pt>
                <c:pt idx="16862">
                  <c:v>31.12.1957</c:v>
                </c:pt>
                <c:pt idx="16863">
                  <c:v>30.12.1957</c:v>
                </c:pt>
                <c:pt idx="16864">
                  <c:v>27.12.1957</c:v>
                </c:pt>
                <c:pt idx="16865">
                  <c:v>26.12.1957</c:v>
                </c:pt>
                <c:pt idx="16866">
                  <c:v>25.12.1957</c:v>
                </c:pt>
                <c:pt idx="16867">
                  <c:v>24.12.1957</c:v>
                </c:pt>
                <c:pt idx="16868">
                  <c:v>23.12.1957</c:v>
                </c:pt>
                <c:pt idx="16869">
                  <c:v>20.12.1957</c:v>
                </c:pt>
                <c:pt idx="16870">
                  <c:v>19.12.1957</c:v>
                </c:pt>
                <c:pt idx="16871">
                  <c:v>18.12.1957</c:v>
                </c:pt>
                <c:pt idx="16872">
                  <c:v>17.12.1957</c:v>
                </c:pt>
                <c:pt idx="16873">
                  <c:v>16.12.1957</c:v>
                </c:pt>
                <c:pt idx="16874">
                  <c:v>13.12.1957</c:v>
                </c:pt>
                <c:pt idx="16875">
                  <c:v>12.12.1957</c:v>
                </c:pt>
                <c:pt idx="16876">
                  <c:v>11.12.1957</c:v>
                </c:pt>
                <c:pt idx="16877">
                  <c:v>10.12.1957</c:v>
                </c:pt>
                <c:pt idx="16878">
                  <c:v>09.12.1957</c:v>
                </c:pt>
                <c:pt idx="16879">
                  <c:v>06.12.1957</c:v>
                </c:pt>
                <c:pt idx="16880">
                  <c:v>05.12.1957</c:v>
                </c:pt>
                <c:pt idx="16881">
                  <c:v>04.12.1957</c:v>
                </c:pt>
                <c:pt idx="16882">
                  <c:v>03.12.1957</c:v>
                </c:pt>
                <c:pt idx="16883">
                  <c:v>02.12.1957</c:v>
                </c:pt>
                <c:pt idx="16884">
                  <c:v>29.11.1957</c:v>
                </c:pt>
                <c:pt idx="16885">
                  <c:v>28.11.1957</c:v>
                </c:pt>
                <c:pt idx="16886">
                  <c:v>27.11.1957</c:v>
                </c:pt>
                <c:pt idx="16887">
                  <c:v>26.11.1957</c:v>
                </c:pt>
                <c:pt idx="16888">
                  <c:v>25.11.1957</c:v>
                </c:pt>
                <c:pt idx="16889">
                  <c:v>22.11.1957</c:v>
                </c:pt>
                <c:pt idx="16890">
                  <c:v>21.11.1957</c:v>
                </c:pt>
                <c:pt idx="16891">
                  <c:v>20.11.1957</c:v>
                </c:pt>
                <c:pt idx="16892">
                  <c:v>19.11.1957</c:v>
                </c:pt>
                <c:pt idx="16893">
                  <c:v>18.11.1957</c:v>
                </c:pt>
                <c:pt idx="16894">
                  <c:v>15.11.1957</c:v>
                </c:pt>
                <c:pt idx="16895">
                  <c:v>14.11.1957</c:v>
                </c:pt>
                <c:pt idx="16896">
                  <c:v>13.11.1957</c:v>
                </c:pt>
                <c:pt idx="16897">
                  <c:v>12.11.1957</c:v>
                </c:pt>
                <c:pt idx="16898">
                  <c:v>11.11.1957</c:v>
                </c:pt>
                <c:pt idx="16899">
                  <c:v>08.11.1957</c:v>
                </c:pt>
                <c:pt idx="16900">
                  <c:v>07.11.1957</c:v>
                </c:pt>
                <c:pt idx="16901">
                  <c:v>06.11.1957</c:v>
                </c:pt>
                <c:pt idx="16902">
                  <c:v>05.11.1957</c:v>
                </c:pt>
                <c:pt idx="16903">
                  <c:v>04.11.1957</c:v>
                </c:pt>
                <c:pt idx="16904">
                  <c:v>01.11.1957</c:v>
                </c:pt>
                <c:pt idx="16905">
                  <c:v>31.10.1957</c:v>
                </c:pt>
                <c:pt idx="16906">
                  <c:v>30.10.1957</c:v>
                </c:pt>
                <c:pt idx="16907">
                  <c:v>29.10.1957</c:v>
                </c:pt>
                <c:pt idx="16908">
                  <c:v>28.10.1957</c:v>
                </c:pt>
                <c:pt idx="16909">
                  <c:v>25.10.1957</c:v>
                </c:pt>
                <c:pt idx="16910">
                  <c:v>24.10.1957</c:v>
                </c:pt>
                <c:pt idx="16911">
                  <c:v>23.10.1957</c:v>
                </c:pt>
                <c:pt idx="16912">
                  <c:v>22.10.1957</c:v>
                </c:pt>
                <c:pt idx="16913">
                  <c:v>21.10.1957</c:v>
                </c:pt>
                <c:pt idx="16914">
                  <c:v>18.10.1957</c:v>
                </c:pt>
                <c:pt idx="16915">
                  <c:v>17.10.1957</c:v>
                </c:pt>
                <c:pt idx="16916">
                  <c:v>16.10.1957</c:v>
                </c:pt>
                <c:pt idx="16917">
                  <c:v>15.10.1957</c:v>
                </c:pt>
                <c:pt idx="16918">
                  <c:v>14.10.1957</c:v>
                </c:pt>
                <c:pt idx="16919">
                  <c:v>11.10.1957</c:v>
                </c:pt>
                <c:pt idx="16920">
                  <c:v>10.10.1957</c:v>
                </c:pt>
                <c:pt idx="16921">
                  <c:v>09.10.1957</c:v>
                </c:pt>
                <c:pt idx="16922">
                  <c:v>08.10.1957</c:v>
                </c:pt>
                <c:pt idx="16923">
                  <c:v>07.10.1957</c:v>
                </c:pt>
                <c:pt idx="16924">
                  <c:v>04.10.1957</c:v>
                </c:pt>
                <c:pt idx="16925">
                  <c:v>03.10.1957</c:v>
                </c:pt>
                <c:pt idx="16926">
                  <c:v>02.10.1957</c:v>
                </c:pt>
                <c:pt idx="16927">
                  <c:v>01.10.1957</c:v>
                </c:pt>
                <c:pt idx="16928">
                  <c:v>30.09.1957</c:v>
                </c:pt>
                <c:pt idx="16929">
                  <c:v>27.09.1957</c:v>
                </c:pt>
                <c:pt idx="16930">
                  <c:v>26.09.1957</c:v>
                </c:pt>
                <c:pt idx="16931">
                  <c:v>25.09.1957</c:v>
                </c:pt>
                <c:pt idx="16932">
                  <c:v>24.09.1957</c:v>
                </c:pt>
                <c:pt idx="16933">
                  <c:v>23.09.1957</c:v>
                </c:pt>
                <c:pt idx="16934">
                  <c:v>20.09.1957</c:v>
                </c:pt>
                <c:pt idx="16935">
                  <c:v>19.09.1957</c:v>
                </c:pt>
                <c:pt idx="16936">
                  <c:v>18.09.1957</c:v>
                </c:pt>
                <c:pt idx="16937">
                  <c:v>17.09.1957</c:v>
                </c:pt>
                <c:pt idx="16938">
                  <c:v>16.09.1957</c:v>
                </c:pt>
                <c:pt idx="16939">
                  <c:v>13.09.1957</c:v>
                </c:pt>
                <c:pt idx="16940">
                  <c:v>12.09.1957</c:v>
                </c:pt>
                <c:pt idx="16941">
                  <c:v>11.09.1957</c:v>
                </c:pt>
                <c:pt idx="16942">
                  <c:v>10.09.1957</c:v>
                </c:pt>
                <c:pt idx="16943">
                  <c:v>09.09.1957</c:v>
                </c:pt>
                <c:pt idx="16944">
                  <c:v>06.09.1957</c:v>
                </c:pt>
                <c:pt idx="16945">
                  <c:v>05.09.1957</c:v>
                </c:pt>
                <c:pt idx="16946">
                  <c:v>04.09.1957</c:v>
                </c:pt>
                <c:pt idx="16947">
                  <c:v>03.09.1957</c:v>
                </c:pt>
                <c:pt idx="16948">
                  <c:v>02.09.1957</c:v>
                </c:pt>
                <c:pt idx="16949">
                  <c:v>30.08.1957</c:v>
                </c:pt>
                <c:pt idx="16950">
                  <c:v>29.08.1957</c:v>
                </c:pt>
                <c:pt idx="16951">
                  <c:v>28.08.1957</c:v>
                </c:pt>
                <c:pt idx="16952">
                  <c:v>27.08.1957</c:v>
                </c:pt>
                <c:pt idx="16953">
                  <c:v>26.08.1957</c:v>
                </c:pt>
                <c:pt idx="16954">
                  <c:v>23.08.1957</c:v>
                </c:pt>
                <c:pt idx="16955">
                  <c:v>22.08.1957</c:v>
                </c:pt>
                <c:pt idx="16956">
                  <c:v>21.08.1957</c:v>
                </c:pt>
                <c:pt idx="16957">
                  <c:v>20.08.1957</c:v>
                </c:pt>
                <c:pt idx="16958">
                  <c:v>19.08.1957</c:v>
                </c:pt>
                <c:pt idx="16959">
                  <c:v>16.08.1957</c:v>
                </c:pt>
                <c:pt idx="16960">
                  <c:v>15.08.1957</c:v>
                </c:pt>
                <c:pt idx="16961">
                  <c:v>14.08.1957</c:v>
                </c:pt>
                <c:pt idx="16962">
                  <c:v>13.08.1957</c:v>
                </c:pt>
                <c:pt idx="16963">
                  <c:v>12.08.1957</c:v>
                </c:pt>
                <c:pt idx="16964">
                  <c:v>09.08.1957</c:v>
                </c:pt>
                <c:pt idx="16965">
                  <c:v>08.08.1957</c:v>
                </c:pt>
                <c:pt idx="16966">
                  <c:v>07.08.1957</c:v>
                </c:pt>
                <c:pt idx="16967">
                  <c:v>06.08.1957</c:v>
                </c:pt>
                <c:pt idx="16968">
                  <c:v>05.08.1957</c:v>
                </c:pt>
                <c:pt idx="16969">
                  <c:v>02.08.1957</c:v>
                </c:pt>
                <c:pt idx="16970">
                  <c:v>01.08.1957</c:v>
                </c:pt>
                <c:pt idx="16971">
                  <c:v>31.07.1957</c:v>
                </c:pt>
                <c:pt idx="16972">
                  <c:v>30.07.1957</c:v>
                </c:pt>
                <c:pt idx="16973">
                  <c:v>29.07.1957</c:v>
                </c:pt>
                <c:pt idx="16974">
                  <c:v>26.07.1957</c:v>
                </c:pt>
                <c:pt idx="16975">
                  <c:v>25.07.1957</c:v>
                </c:pt>
                <c:pt idx="16976">
                  <c:v>24.07.1957</c:v>
                </c:pt>
                <c:pt idx="16977">
                  <c:v>23.07.1957</c:v>
                </c:pt>
                <c:pt idx="16978">
                  <c:v>22.07.1957</c:v>
                </c:pt>
                <c:pt idx="16979">
                  <c:v>19.07.1957</c:v>
                </c:pt>
                <c:pt idx="16980">
                  <c:v>18.07.1957</c:v>
                </c:pt>
                <c:pt idx="16981">
                  <c:v>17.07.1957</c:v>
                </c:pt>
                <c:pt idx="16982">
                  <c:v>16.07.1957</c:v>
                </c:pt>
                <c:pt idx="16983">
                  <c:v>15.07.1957</c:v>
                </c:pt>
                <c:pt idx="16984">
                  <c:v>12.07.1957</c:v>
                </c:pt>
                <c:pt idx="16985">
                  <c:v>11.07.1957</c:v>
                </c:pt>
                <c:pt idx="16986">
                  <c:v>10.07.1957</c:v>
                </c:pt>
                <c:pt idx="16987">
                  <c:v>09.07.1957</c:v>
                </c:pt>
                <c:pt idx="16988">
                  <c:v>08.07.1957</c:v>
                </c:pt>
                <c:pt idx="16989">
                  <c:v>05.07.1957</c:v>
                </c:pt>
                <c:pt idx="16990">
                  <c:v>04.07.1957</c:v>
                </c:pt>
                <c:pt idx="16991">
                  <c:v>03.07.1957</c:v>
                </c:pt>
                <c:pt idx="16992">
                  <c:v>02.07.1957</c:v>
                </c:pt>
                <c:pt idx="16993">
                  <c:v>01.07.1957</c:v>
                </c:pt>
                <c:pt idx="16994">
                  <c:v>28.06.1957</c:v>
                </c:pt>
                <c:pt idx="16995">
                  <c:v>27.06.1957</c:v>
                </c:pt>
                <c:pt idx="16996">
                  <c:v>26.06.1957</c:v>
                </c:pt>
                <c:pt idx="16997">
                  <c:v>25.06.1957</c:v>
                </c:pt>
                <c:pt idx="16998">
                  <c:v>24.06.1957</c:v>
                </c:pt>
                <c:pt idx="16999">
                  <c:v>21.06.1957</c:v>
                </c:pt>
                <c:pt idx="17000">
                  <c:v>20.06.1957</c:v>
                </c:pt>
                <c:pt idx="17001">
                  <c:v>19.06.1957</c:v>
                </c:pt>
                <c:pt idx="17002">
                  <c:v>18.06.1957</c:v>
                </c:pt>
                <c:pt idx="17003">
                  <c:v>17.06.1957</c:v>
                </c:pt>
                <c:pt idx="17004">
                  <c:v>14.06.1957</c:v>
                </c:pt>
                <c:pt idx="17005">
                  <c:v>13.06.1957</c:v>
                </c:pt>
                <c:pt idx="17006">
                  <c:v>12.06.1957</c:v>
                </c:pt>
                <c:pt idx="17007">
                  <c:v>11.06.1957</c:v>
                </c:pt>
                <c:pt idx="17008">
                  <c:v>10.06.1957</c:v>
                </c:pt>
                <c:pt idx="17009">
                  <c:v>07.06.1957</c:v>
                </c:pt>
                <c:pt idx="17010">
                  <c:v>06.06.1957</c:v>
                </c:pt>
                <c:pt idx="17011">
                  <c:v>05.06.1957</c:v>
                </c:pt>
                <c:pt idx="17012">
                  <c:v>04.06.1957</c:v>
                </c:pt>
                <c:pt idx="17013">
                  <c:v>03.06.1957</c:v>
                </c:pt>
                <c:pt idx="17014">
                  <c:v>31.05.1957</c:v>
                </c:pt>
                <c:pt idx="17015">
                  <c:v>30.05.1957</c:v>
                </c:pt>
                <c:pt idx="17016">
                  <c:v>29.05.1957</c:v>
                </c:pt>
                <c:pt idx="17017">
                  <c:v>28.05.1957</c:v>
                </c:pt>
                <c:pt idx="17018">
                  <c:v>27.05.1957</c:v>
                </c:pt>
                <c:pt idx="17019">
                  <c:v>24.05.1957</c:v>
                </c:pt>
                <c:pt idx="17020">
                  <c:v>23.05.1957</c:v>
                </c:pt>
                <c:pt idx="17021">
                  <c:v>22.05.1957</c:v>
                </c:pt>
                <c:pt idx="17022">
                  <c:v>21.05.1957</c:v>
                </c:pt>
                <c:pt idx="17023">
                  <c:v>20.05.1957</c:v>
                </c:pt>
                <c:pt idx="17024">
                  <c:v>17.05.1957</c:v>
                </c:pt>
                <c:pt idx="17025">
                  <c:v>16.05.1957</c:v>
                </c:pt>
                <c:pt idx="17026">
                  <c:v>15.05.1957</c:v>
                </c:pt>
                <c:pt idx="17027">
                  <c:v>14.05.1957</c:v>
                </c:pt>
                <c:pt idx="17028">
                  <c:v>13.05.1957</c:v>
                </c:pt>
                <c:pt idx="17029">
                  <c:v>10.05.1957</c:v>
                </c:pt>
                <c:pt idx="17030">
                  <c:v>09.05.1957</c:v>
                </c:pt>
                <c:pt idx="17031">
                  <c:v>08.05.1957</c:v>
                </c:pt>
                <c:pt idx="17032">
                  <c:v>07.05.1957</c:v>
                </c:pt>
                <c:pt idx="17033">
                  <c:v>06.05.1957</c:v>
                </c:pt>
                <c:pt idx="17034">
                  <c:v>03.05.1957</c:v>
                </c:pt>
                <c:pt idx="17035">
                  <c:v>02.05.1957</c:v>
                </c:pt>
                <c:pt idx="17036">
                  <c:v>01.05.1957</c:v>
                </c:pt>
                <c:pt idx="17037">
                  <c:v>30.04.1957</c:v>
                </c:pt>
                <c:pt idx="17038">
                  <c:v>29.04.1957</c:v>
                </c:pt>
                <c:pt idx="17039">
                  <c:v>26.04.1957</c:v>
                </c:pt>
                <c:pt idx="17040">
                  <c:v>25.04.1957</c:v>
                </c:pt>
                <c:pt idx="17041">
                  <c:v>24.04.1957</c:v>
                </c:pt>
                <c:pt idx="17042">
                  <c:v>23.04.1957</c:v>
                </c:pt>
                <c:pt idx="17043">
                  <c:v>22.04.1957</c:v>
                </c:pt>
                <c:pt idx="17044">
                  <c:v>19.04.1957</c:v>
                </c:pt>
                <c:pt idx="17045">
                  <c:v>18.04.1957</c:v>
                </c:pt>
                <c:pt idx="17046">
                  <c:v>17.04.1957</c:v>
                </c:pt>
                <c:pt idx="17047">
                  <c:v>16.04.1957</c:v>
                </c:pt>
                <c:pt idx="17048">
                  <c:v>15.04.1957</c:v>
                </c:pt>
                <c:pt idx="17049">
                  <c:v>12.04.1957</c:v>
                </c:pt>
                <c:pt idx="17050">
                  <c:v>11.04.1957</c:v>
                </c:pt>
                <c:pt idx="17051">
                  <c:v>10.04.1957</c:v>
                </c:pt>
                <c:pt idx="17052">
                  <c:v>09.04.1957</c:v>
                </c:pt>
                <c:pt idx="17053">
                  <c:v>08.04.1957</c:v>
                </c:pt>
                <c:pt idx="17054">
                  <c:v>05.04.1957</c:v>
                </c:pt>
                <c:pt idx="17055">
                  <c:v>04.04.1957</c:v>
                </c:pt>
                <c:pt idx="17056">
                  <c:v>03.04.1957</c:v>
                </c:pt>
                <c:pt idx="17057">
                  <c:v>02.04.1957</c:v>
                </c:pt>
                <c:pt idx="17058">
                  <c:v>01.04.1957</c:v>
                </c:pt>
                <c:pt idx="17059">
                  <c:v>29.03.1957</c:v>
                </c:pt>
                <c:pt idx="17060">
                  <c:v>28.03.1957</c:v>
                </c:pt>
                <c:pt idx="17061">
                  <c:v>27.03.1957</c:v>
                </c:pt>
                <c:pt idx="17062">
                  <c:v>26.03.1957</c:v>
                </c:pt>
                <c:pt idx="17063">
                  <c:v>25.03.1957</c:v>
                </c:pt>
                <c:pt idx="17064">
                  <c:v>22.03.1957</c:v>
                </c:pt>
                <c:pt idx="17065">
                  <c:v>21.03.1957</c:v>
                </c:pt>
                <c:pt idx="17066">
                  <c:v>20.03.1957</c:v>
                </c:pt>
                <c:pt idx="17067">
                  <c:v>19.03.1957</c:v>
                </c:pt>
                <c:pt idx="17068">
                  <c:v>18.03.1957</c:v>
                </c:pt>
                <c:pt idx="17069">
                  <c:v>15.03.1957</c:v>
                </c:pt>
                <c:pt idx="17070">
                  <c:v>14.03.1957</c:v>
                </c:pt>
                <c:pt idx="17071">
                  <c:v>13.03.1957</c:v>
                </c:pt>
                <c:pt idx="17072">
                  <c:v>12.03.1957</c:v>
                </c:pt>
                <c:pt idx="17073">
                  <c:v>11.03.1957</c:v>
                </c:pt>
                <c:pt idx="17074">
                  <c:v>08.03.1957</c:v>
                </c:pt>
                <c:pt idx="17075">
                  <c:v>07.03.1957</c:v>
                </c:pt>
                <c:pt idx="17076">
                  <c:v>06.03.1957</c:v>
                </c:pt>
                <c:pt idx="17077">
                  <c:v>05.03.1957</c:v>
                </c:pt>
                <c:pt idx="17078">
                  <c:v>04.03.1957</c:v>
                </c:pt>
                <c:pt idx="17079">
                  <c:v>01.03.1957</c:v>
                </c:pt>
                <c:pt idx="17080">
                  <c:v>28.02.1957</c:v>
                </c:pt>
                <c:pt idx="17081">
                  <c:v>27.02.1957</c:v>
                </c:pt>
                <c:pt idx="17082">
                  <c:v>26.02.1957</c:v>
                </c:pt>
                <c:pt idx="17083">
                  <c:v>25.02.1957</c:v>
                </c:pt>
                <c:pt idx="17084">
                  <c:v>22.02.1957</c:v>
                </c:pt>
                <c:pt idx="17085">
                  <c:v>21.02.1957</c:v>
                </c:pt>
                <c:pt idx="17086">
                  <c:v>20.02.1957</c:v>
                </c:pt>
                <c:pt idx="17087">
                  <c:v>19.02.1957</c:v>
                </c:pt>
                <c:pt idx="17088">
                  <c:v>18.02.1957</c:v>
                </c:pt>
                <c:pt idx="17089">
                  <c:v>15.02.1957</c:v>
                </c:pt>
                <c:pt idx="17090">
                  <c:v>14.02.1957</c:v>
                </c:pt>
                <c:pt idx="17091">
                  <c:v>13.02.1957</c:v>
                </c:pt>
                <c:pt idx="17092">
                  <c:v>12.02.1957</c:v>
                </c:pt>
                <c:pt idx="17093">
                  <c:v>11.02.1957</c:v>
                </c:pt>
                <c:pt idx="17094">
                  <c:v>08.02.1957</c:v>
                </c:pt>
                <c:pt idx="17095">
                  <c:v>07.02.1957</c:v>
                </c:pt>
                <c:pt idx="17096">
                  <c:v>06.02.1957</c:v>
                </c:pt>
                <c:pt idx="17097">
                  <c:v>05.02.1957</c:v>
                </c:pt>
                <c:pt idx="17098">
                  <c:v>04.02.1957</c:v>
                </c:pt>
                <c:pt idx="17099">
                  <c:v>01.02.1957</c:v>
                </c:pt>
                <c:pt idx="17100">
                  <c:v>31.01.1957</c:v>
                </c:pt>
                <c:pt idx="17101">
                  <c:v>30.01.1957</c:v>
                </c:pt>
                <c:pt idx="17102">
                  <c:v>29.01.1957</c:v>
                </c:pt>
                <c:pt idx="17103">
                  <c:v>28.01.1957</c:v>
                </c:pt>
                <c:pt idx="17104">
                  <c:v>25.01.1957</c:v>
                </c:pt>
                <c:pt idx="17105">
                  <c:v>24.01.1957</c:v>
                </c:pt>
                <c:pt idx="17106">
                  <c:v>23.01.1957</c:v>
                </c:pt>
                <c:pt idx="17107">
                  <c:v>22.01.1957</c:v>
                </c:pt>
                <c:pt idx="17108">
                  <c:v>21.01.1957</c:v>
                </c:pt>
                <c:pt idx="17109">
                  <c:v>18.01.1957</c:v>
                </c:pt>
                <c:pt idx="17110">
                  <c:v>17.01.1957</c:v>
                </c:pt>
                <c:pt idx="17111">
                  <c:v>16.01.1957</c:v>
                </c:pt>
                <c:pt idx="17112">
                  <c:v>15.01.1957</c:v>
                </c:pt>
                <c:pt idx="17113">
                  <c:v>14.01.1957</c:v>
                </c:pt>
                <c:pt idx="17114">
                  <c:v>11.01.1957</c:v>
                </c:pt>
                <c:pt idx="17115">
                  <c:v>10.01.1957</c:v>
                </c:pt>
                <c:pt idx="17116">
                  <c:v>09.01.1957</c:v>
                </c:pt>
                <c:pt idx="17117">
                  <c:v>08.01.1957</c:v>
                </c:pt>
                <c:pt idx="17118">
                  <c:v>07.01.1957</c:v>
                </c:pt>
                <c:pt idx="17119">
                  <c:v>04.01.1957</c:v>
                </c:pt>
                <c:pt idx="17120">
                  <c:v>03.01.1957</c:v>
                </c:pt>
                <c:pt idx="17121">
                  <c:v>02.01.1957</c:v>
                </c:pt>
                <c:pt idx="17122">
                  <c:v>01.01.1957</c:v>
                </c:pt>
                <c:pt idx="17123">
                  <c:v>31.12.1956</c:v>
                </c:pt>
                <c:pt idx="17124">
                  <c:v>28.12.1956</c:v>
                </c:pt>
                <c:pt idx="17125">
                  <c:v>27.12.1956</c:v>
                </c:pt>
                <c:pt idx="17126">
                  <c:v>26.12.1956</c:v>
                </c:pt>
                <c:pt idx="17127">
                  <c:v>25.12.1956</c:v>
                </c:pt>
                <c:pt idx="17128">
                  <c:v>24.12.1956</c:v>
                </c:pt>
                <c:pt idx="17129">
                  <c:v>21.12.1956</c:v>
                </c:pt>
                <c:pt idx="17130">
                  <c:v>20.12.1956</c:v>
                </c:pt>
                <c:pt idx="17131">
                  <c:v>19.12.1956</c:v>
                </c:pt>
                <c:pt idx="17132">
                  <c:v>18.12.1956</c:v>
                </c:pt>
                <c:pt idx="17133">
                  <c:v>17.12.1956</c:v>
                </c:pt>
                <c:pt idx="17134">
                  <c:v>14.12.1956</c:v>
                </c:pt>
                <c:pt idx="17135">
                  <c:v>13.12.1956</c:v>
                </c:pt>
                <c:pt idx="17136">
                  <c:v>12.12.1956</c:v>
                </c:pt>
                <c:pt idx="17137">
                  <c:v>11.12.1956</c:v>
                </c:pt>
                <c:pt idx="17138">
                  <c:v>10.12.1956</c:v>
                </c:pt>
                <c:pt idx="17139">
                  <c:v>07.12.1956</c:v>
                </c:pt>
                <c:pt idx="17140">
                  <c:v>06.12.1956</c:v>
                </c:pt>
                <c:pt idx="17141">
                  <c:v>05.12.1956</c:v>
                </c:pt>
                <c:pt idx="17142">
                  <c:v>04.12.1956</c:v>
                </c:pt>
                <c:pt idx="17143">
                  <c:v>03.12.1956</c:v>
                </c:pt>
                <c:pt idx="17144">
                  <c:v>30.11.1956</c:v>
                </c:pt>
                <c:pt idx="17145">
                  <c:v>29.11.1956</c:v>
                </c:pt>
                <c:pt idx="17146">
                  <c:v>28.11.1956</c:v>
                </c:pt>
                <c:pt idx="17147">
                  <c:v>27.11.1956</c:v>
                </c:pt>
                <c:pt idx="17148">
                  <c:v>26.11.1956</c:v>
                </c:pt>
                <c:pt idx="17149">
                  <c:v>23.11.1956</c:v>
                </c:pt>
                <c:pt idx="17150">
                  <c:v>22.11.1956</c:v>
                </c:pt>
                <c:pt idx="17151">
                  <c:v>21.11.1956</c:v>
                </c:pt>
                <c:pt idx="17152">
                  <c:v>20.11.1956</c:v>
                </c:pt>
                <c:pt idx="17153">
                  <c:v>19.11.1956</c:v>
                </c:pt>
                <c:pt idx="17154">
                  <c:v>16.11.1956</c:v>
                </c:pt>
                <c:pt idx="17155">
                  <c:v>15.11.1956</c:v>
                </c:pt>
                <c:pt idx="17156">
                  <c:v>14.11.1956</c:v>
                </c:pt>
                <c:pt idx="17157">
                  <c:v>13.11.1956</c:v>
                </c:pt>
                <c:pt idx="17158">
                  <c:v>12.11.1956</c:v>
                </c:pt>
                <c:pt idx="17159">
                  <c:v>09.11.1956</c:v>
                </c:pt>
                <c:pt idx="17160">
                  <c:v>08.11.1956</c:v>
                </c:pt>
                <c:pt idx="17161">
                  <c:v>07.11.1956</c:v>
                </c:pt>
                <c:pt idx="17162">
                  <c:v>06.11.1956</c:v>
                </c:pt>
                <c:pt idx="17163">
                  <c:v>05.11.1956</c:v>
                </c:pt>
                <c:pt idx="17164">
                  <c:v>02.11.1956</c:v>
                </c:pt>
                <c:pt idx="17165">
                  <c:v>01.11.1956</c:v>
                </c:pt>
                <c:pt idx="17166">
                  <c:v>31.10.1956</c:v>
                </c:pt>
                <c:pt idx="17167">
                  <c:v>30.10.1956</c:v>
                </c:pt>
                <c:pt idx="17168">
                  <c:v>29.10.1956</c:v>
                </c:pt>
                <c:pt idx="17169">
                  <c:v>26.10.1956</c:v>
                </c:pt>
                <c:pt idx="17170">
                  <c:v>25.10.1956</c:v>
                </c:pt>
                <c:pt idx="17171">
                  <c:v>24.10.1956</c:v>
                </c:pt>
                <c:pt idx="17172">
                  <c:v>23.10.1956</c:v>
                </c:pt>
                <c:pt idx="17173">
                  <c:v>22.10.1956</c:v>
                </c:pt>
                <c:pt idx="17174">
                  <c:v>19.10.1956</c:v>
                </c:pt>
                <c:pt idx="17175">
                  <c:v>18.10.1956</c:v>
                </c:pt>
                <c:pt idx="17176">
                  <c:v>17.10.1956</c:v>
                </c:pt>
                <c:pt idx="17177">
                  <c:v>16.10.1956</c:v>
                </c:pt>
                <c:pt idx="17178">
                  <c:v>15.10.1956</c:v>
                </c:pt>
                <c:pt idx="17179">
                  <c:v>12.10.1956</c:v>
                </c:pt>
                <c:pt idx="17180">
                  <c:v>11.10.1956</c:v>
                </c:pt>
                <c:pt idx="17181">
                  <c:v>10.10.1956</c:v>
                </c:pt>
                <c:pt idx="17182">
                  <c:v>09.10.1956</c:v>
                </c:pt>
                <c:pt idx="17183">
                  <c:v>08.10.1956</c:v>
                </c:pt>
                <c:pt idx="17184">
                  <c:v>05.10.1956</c:v>
                </c:pt>
                <c:pt idx="17185">
                  <c:v>04.10.1956</c:v>
                </c:pt>
                <c:pt idx="17186">
                  <c:v>03.10.1956</c:v>
                </c:pt>
                <c:pt idx="17187">
                  <c:v>02.10.1956</c:v>
                </c:pt>
                <c:pt idx="17188">
                  <c:v>01.10.1956</c:v>
                </c:pt>
                <c:pt idx="17189">
                  <c:v>28.09.1956</c:v>
                </c:pt>
                <c:pt idx="17190">
                  <c:v>27.09.1956</c:v>
                </c:pt>
                <c:pt idx="17191">
                  <c:v>26.09.1956</c:v>
                </c:pt>
                <c:pt idx="17192">
                  <c:v>25.09.1956</c:v>
                </c:pt>
                <c:pt idx="17193">
                  <c:v>24.09.1956</c:v>
                </c:pt>
                <c:pt idx="17194">
                  <c:v>21.09.1956</c:v>
                </c:pt>
                <c:pt idx="17195">
                  <c:v>20.09.1956</c:v>
                </c:pt>
                <c:pt idx="17196">
                  <c:v>19.09.1956</c:v>
                </c:pt>
                <c:pt idx="17197">
                  <c:v>18.09.1956</c:v>
                </c:pt>
                <c:pt idx="17198">
                  <c:v>17.09.1956</c:v>
                </c:pt>
                <c:pt idx="17199">
                  <c:v>14.09.1956</c:v>
                </c:pt>
                <c:pt idx="17200">
                  <c:v>13.09.1956</c:v>
                </c:pt>
                <c:pt idx="17201">
                  <c:v>12.09.1956</c:v>
                </c:pt>
                <c:pt idx="17202">
                  <c:v>11.09.1956</c:v>
                </c:pt>
                <c:pt idx="17203">
                  <c:v>10.09.1956</c:v>
                </c:pt>
                <c:pt idx="17204">
                  <c:v>07.09.1956</c:v>
                </c:pt>
                <c:pt idx="17205">
                  <c:v>06.09.1956</c:v>
                </c:pt>
                <c:pt idx="17206">
                  <c:v>05.09.1956</c:v>
                </c:pt>
                <c:pt idx="17207">
                  <c:v>04.09.1956</c:v>
                </c:pt>
                <c:pt idx="17208">
                  <c:v>03.09.1956</c:v>
                </c:pt>
                <c:pt idx="17209">
                  <c:v>31.08.1956</c:v>
                </c:pt>
                <c:pt idx="17210">
                  <c:v>30.08.1956</c:v>
                </c:pt>
                <c:pt idx="17211">
                  <c:v>29.08.1956</c:v>
                </c:pt>
                <c:pt idx="17212">
                  <c:v>28.08.1956</c:v>
                </c:pt>
                <c:pt idx="17213">
                  <c:v>27.08.1956</c:v>
                </c:pt>
                <c:pt idx="17214">
                  <c:v>24.08.1956</c:v>
                </c:pt>
                <c:pt idx="17215">
                  <c:v>23.08.1956</c:v>
                </c:pt>
                <c:pt idx="17216">
                  <c:v>22.08.1956</c:v>
                </c:pt>
                <c:pt idx="17217">
                  <c:v>21.08.1956</c:v>
                </c:pt>
                <c:pt idx="17218">
                  <c:v>20.08.1956</c:v>
                </c:pt>
                <c:pt idx="17219">
                  <c:v>17.08.1956</c:v>
                </c:pt>
                <c:pt idx="17220">
                  <c:v>16.08.1956</c:v>
                </c:pt>
                <c:pt idx="17221">
                  <c:v>15.08.1956</c:v>
                </c:pt>
                <c:pt idx="17222">
                  <c:v>14.08.1956</c:v>
                </c:pt>
                <c:pt idx="17223">
                  <c:v>13.08.1956</c:v>
                </c:pt>
                <c:pt idx="17224">
                  <c:v>10.08.1956</c:v>
                </c:pt>
                <c:pt idx="17225">
                  <c:v>09.08.1956</c:v>
                </c:pt>
                <c:pt idx="17226">
                  <c:v>08.08.1956</c:v>
                </c:pt>
                <c:pt idx="17227">
                  <c:v>07.08.1956</c:v>
                </c:pt>
                <c:pt idx="17228">
                  <c:v>06.08.1956</c:v>
                </c:pt>
                <c:pt idx="17229">
                  <c:v>03.08.1956</c:v>
                </c:pt>
                <c:pt idx="17230">
                  <c:v>02.08.1956</c:v>
                </c:pt>
                <c:pt idx="17231">
                  <c:v>01.08.1956</c:v>
                </c:pt>
                <c:pt idx="17232">
                  <c:v>31.07.1956</c:v>
                </c:pt>
                <c:pt idx="17233">
                  <c:v>30.07.1956</c:v>
                </c:pt>
                <c:pt idx="17234">
                  <c:v>27.07.1956</c:v>
                </c:pt>
                <c:pt idx="17235">
                  <c:v>26.07.1956</c:v>
                </c:pt>
                <c:pt idx="17236">
                  <c:v>25.07.1956</c:v>
                </c:pt>
                <c:pt idx="17237">
                  <c:v>24.07.1956</c:v>
                </c:pt>
                <c:pt idx="17238">
                  <c:v>23.07.1956</c:v>
                </c:pt>
                <c:pt idx="17239">
                  <c:v>20.07.1956</c:v>
                </c:pt>
                <c:pt idx="17240">
                  <c:v>19.07.1956</c:v>
                </c:pt>
                <c:pt idx="17241">
                  <c:v>18.07.1956</c:v>
                </c:pt>
                <c:pt idx="17242">
                  <c:v>17.07.1956</c:v>
                </c:pt>
                <c:pt idx="17243">
                  <c:v>16.07.1956</c:v>
                </c:pt>
                <c:pt idx="17244">
                  <c:v>13.07.1956</c:v>
                </c:pt>
                <c:pt idx="17245">
                  <c:v>12.07.1956</c:v>
                </c:pt>
                <c:pt idx="17246">
                  <c:v>11.07.1956</c:v>
                </c:pt>
                <c:pt idx="17247">
                  <c:v>10.07.1956</c:v>
                </c:pt>
                <c:pt idx="17248">
                  <c:v>09.07.1956</c:v>
                </c:pt>
                <c:pt idx="17249">
                  <c:v>06.07.1956</c:v>
                </c:pt>
                <c:pt idx="17250">
                  <c:v>05.07.1956</c:v>
                </c:pt>
                <c:pt idx="17251">
                  <c:v>04.07.1956</c:v>
                </c:pt>
                <c:pt idx="17252">
                  <c:v>03.07.1956</c:v>
                </c:pt>
                <c:pt idx="17253">
                  <c:v>02.07.1956</c:v>
                </c:pt>
                <c:pt idx="17254">
                  <c:v>29.06.1956</c:v>
                </c:pt>
                <c:pt idx="17255">
                  <c:v>28.06.1956</c:v>
                </c:pt>
                <c:pt idx="17256">
                  <c:v>27.06.1956</c:v>
                </c:pt>
                <c:pt idx="17257">
                  <c:v>26.06.1956</c:v>
                </c:pt>
                <c:pt idx="17258">
                  <c:v>25.06.1956</c:v>
                </c:pt>
                <c:pt idx="17259">
                  <c:v>22.06.1956</c:v>
                </c:pt>
                <c:pt idx="17260">
                  <c:v>21.06.1956</c:v>
                </c:pt>
                <c:pt idx="17261">
                  <c:v>20.06.1956</c:v>
                </c:pt>
                <c:pt idx="17262">
                  <c:v>19.06.1956</c:v>
                </c:pt>
                <c:pt idx="17263">
                  <c:v>18.06.1956</c:v>
                </c:pt>
                <c:pt idx="17264">
                  <c:v>15.06.1956</c:v>
                </c:pt>
                <c:pt idx="17265">
                  <c:v>14.06.1956</c:v>
                </c:pt>
                <c:pt idx="17266">
                  <c:v>13.06.1956</c:v>
                </c:pt>
                <c:pt idx="17267">
                  <c:v>12.06.1956</c:v>
                </c:pt>
                <c:pt idx="17268">
                  <c:v>11.06.1956</c:v>
                </c:pt>
                <c:pt idx="17269">
                  <c:v>08.06.1956</c:v>
                </c:pt>
                <c:pt idx="17270">
                  <c:v>07.06.1956</c:v>
                </c:pt>
                <c:pt idx="17271">
                  <c:v>06.06.1956</c:v>
                </c:pt>
                <c:pt idx="17272">
                  <c:v>05.06.1956</c:v>
                </c:pt>
                <c:pt idx="17273">
                  <c:v>04.06.1956</c:v>
                </c:pt>
                <c:pt idx="17274">
                  <c:v>01.06.1956</c:v>
                </c:pt>
                <c:pt idx="17275">
                  <c:v>31.05.1956</c:v>
                </c:pt>
                <c:pt idx="17276">
                  <c:v>30.05.1956</c:v>
                </c:pt>
                <c:pt idx="17277">
                  <c:v>29.05.1956</c:v>
                </c:pt>
                <c:pt idx="17278">
                  <c:v>28.05.1956</c:v>
                </c:pt>
                <c:pt idx="17279">
                  <c:v>25.05.1956</c:v>
                </c:pt>
                <c:pt idx="17280">
                  <c:v>24.05.1956</c:v>
                </c:pt>
                <c:pt idx="17281">
                  <c:v>23.05.1956</c:v>
                </c:pt>
                <c:pt idx="17282">
                  <c:v>22.05.1956</c:v>
                </c:pt>
                <c:pt idx="17283">
                  <c:v>21.05.1956</c:v>
                </c:pt>
                <c:pt idx="17284">
                  <c:v>18.05.1956</c:v>
                </c:pt>
                <c:pt idx="17285">
                  <c:v>17.05.1956</c:v>
                </c:pt>
                <c:pt idx="17286">
                  <c:v>16.05.1956</c:v>
                </c:pt>
                <c:pt idx="17287">
                  <c:v>15.05.1956</c:v>
                </c:pt>
                <c:pt idx="17288">
                  <c:v>14.05.1956</c:v>
                </c:pt>
                <c:pt idx="17289">
                  <c:v>11.05.1956</c:v>
                </c:pt>
                <c:pt idx="17290">
                  <c:v>10.05.1956</c:v>
                </c:pt>
                <c:pt idx="17291">
                  <c:v>09.05.1956</c:v>
                </c:pt>
                <c:pt idx="17292">
                  <c:v>08.05.1956</c:v>
                </c:pt>
                <c:pt idx="17293">
                  <c:v>07.05.1956</c:v>
                </c:pt>
                <c:pt idx="17294">
                  <c:v>04.05.1956</c:v>
                </c:pt>
                <c:pt idx="17295">
                  <c:v>03.05.1956</c:v>
                </c:pt>
                <c:pt idx="17296">
                  <c:v>02.05.1956</c:v>
                </c:pt>
                <c:pt idx="17297">
                  <c:v>01.05.1956</c:v>
                </c:pt>
                <c:pt idx="17298">
                  <c:v>30.04.1956</c:v>
                </c:pt>
                <c:pt idx="17299">
                  <c:v>27.04.1956</c:v>
                </c:pt>
                <c:pt idx="17300">
                  <c:v>26.04.1956</c:v>
                </c:pt>
                <c:pt idx="17301">
                  <c:v>25.04.1956</c:v>
                </c:pt>
                <c:pt idx="17302">
                  <c:v>24.04.1956</c:v>
                </c:pt>
                <c:pt idx="17303">
                  <c:v>23.04.1956</c:v>
                </c:pt>
                <c:pt idx="17304">
                  <c:v>20.04.1956</c:v>
                </c:pt>
                <c:pt idx="17305">
                  <c:v>19.04.1956</c:v>
                </c:pt>
                <c:pt idx="17306">
                  <c:v>18.04.1956</c:v>
                </c:pt>
                <c:pt idx="17307">
                  <c:v>17.04.1956</c:v>
                </c:pt>
                <c:pt idx="17308">
                  <c:v>16.04.1956</c:v>
                </c:pt>
                <c:pt idx="17309">
                  <c:v>13.04.1956</c:v>
                </c:pt>
                <c:pt idx="17310">
                  <c:v>12.04.1956</c:v>
                </c:pt>
                <c:pt idx="17311">
                  <c:v>11.04.1956</c:v>
                </c:pt>
                <c:pt idx="17312">
                  <c:v>10.04.1956</c:v>
                </c:pt>
                <c:pt idx="17313">
                  <c:v>09.04.1956</c:v>
                </c:pt>
                <c:pt idx="17314">
                  <c:v>06.04.1956</c:v>
                </c:pt>
                <c:pt idx="17315">
                  <c:v>05.04.1956</c:v>
                </c:pt>
                <c:pt idx="17316">
                  <c:v>04.04.1956</c:v>
                </c:pt>
                <c:pt idx="17317">
                  <c:v>03.04.1956</c:v>
                </c:pt>
                <c:pt idx="17318">
                  <c:v>02.04.1956</c:v>
                </c:pt>
                <c:pt idx="17319">
                  <c:v>30.03.1956</c:v>
                </c:pt>
                <c:pt idx="17320">
                  <c:v>29.03.1956</c:v>
                </c:pt>
                <c:pt idx="17321">
                  <c:v>28.03.1956</c:v>
                </c:pt>
                <c:pt idx="17322">
                  <c:v>27.03.1956</c:v>
                </c:pt>
                <c:pt idx="17323">
                  <c:v>26.03.1956</c:v>
                </c:pt>
                <c:pt idx="17324">
                  <c:v>23.03.1956</c:v>
                </c:pt>
                <c:pt idx="17325">
                  <c:v>22.03.1956</c:v>
                </c:pt>
                <c:pt idx="17326">
                  <c:v>21.03.1956</c:v>
                </c:pt>
                <c:pt idx="17327">
                  <c:v>20.03.1956</c:v>
                </c:pt>
                <c:pt idx="17328">
                  <c:v>19.03.1956</c:v>
                </c:pt>
                <c:pt idx="17329">
                  <c:v>16.03.1956</c:v>
                </c:pt>
                <c:pt idx="17330">
                  <c:v>15.03.1956</c:v>
                </c:pt>
                <c:pt idx="17331">
                  <c:v>14.03.1956</c:v>
                </c:pt>
                <c:pt idx="17332">
                  <c:v>13.03.1956</c:v>
                </c:pt>
                <c:pt idx="17333">
                  <c:v>12.03.1956</c:v>
                </c:pt>
                <c:pt idx="17334">
                  <c:v>09.03.1956</c:v>
                </c:pt>
                <c:pt idx="17335">
                  <c:v>08.03.1956</c:v>
                </c:pt>
                <c:pt idx="17336">
                  <c:v>07.03.1956</c:v>
                </c:pt>
                <c:pt idx="17337">
                  <c:v>06.03.1956</c:v>
                </c:pt>
                <c:pt idx="17338">
                  <c:v>05.03.1956</c:v>
                </c:pt>
                <c:pt idx="17339">
                  <c:v>02.03.1956</c:v>
                </c:pt>
                <c:pt idx="17340">
                  <c:v>01.03.1956</c:v>
                </c:pt>
                <c:pt idx="17341">
                  <c:v>29.02.1956</c:v>
                </c:pt>
                <c:pt idx="17342">
                  <c:v>28.02.1956</c:v>
                </c:pt>
                <c:pt idx="17343">
                  <c:v>27.02.1956</c:v>
                </c:pt>
                <c:pt idx="17344">
                  <c:v>24.02.1956</c:v>
                </c:pt>
                <c:pt idx="17345">
                  <c:v>23.02.1956</c:v>
                </c:pt>
                <c:pt idx="17346">
                  <c:v>22.02.1956</c:v>
                </c:pt>
                <c:pt idx="17347">
                  <c:v>21.02.1956</c:v>
                </c:pt>
                <c:pt idx="17348">
                  <c:v>20.02.1956</c:v>
                </c:pt>
                <c:pt idx="17349">
                  <c:v>17.02.1956</c:v>
                </c:pt>
                <c:pt idx="17350">
                  <c:v>16.02.1956</c:v>
                </c:pt>
                <c:pt idx="17351">
                  <c:v>15.02.1956</c:v>
                </c:pt>
                <c:pt idx="17352">
                  <c:v>14.02.1956</c:v>
                </c:pt>
                <c:pt idx="17353">
                  <c:v>13.02.1956</c:v>
                </c:pt>
                <c:pt idx="17354">
                  <c:v>10.02.1956</c:v>
                </c:pt>
                <c:pt idx="17355">
                  <c:v>09.02.1956</c:v>
                </c:pt>
                <c:pt idx="17356">
                  <c:v>08.02.1956</c:v>
                </c:pt>
                <c:pt idx="17357">
                  <c:v>07.02.1956</c:v>
                </c:pt>
                <c:pt idx="17358">
                  <c:v>06.02.1956</c:v>
                </c:pt>
                <c:pt idx="17359">
                  <c:v>03.02.1956</c:v>
                </c:pt>
                <c:pt idx="17360">
                  <c:v>02.02.1956</c:v>
                </c:pt>
                <c:pt idx="17361">
                  <c:v>01.02.1956</c:v>
                </c:pt>
                <c:pt idx="17362">
                  <c:v>31.01.1956</c:v>
                </c:pt>
                <c:pt idx="17363">
                  <c:v>30.01.1956</c:v>
                </c:pt>
                <c:pt idx="17364">
                  <c:v>27.01.1956</c:v>
                </c:pt>
                <c:pt idx="17365">
                  <c:v>26.01.1956</c:v>
                </c:pt>
                <c:pt idx="17366">
                  <c:v>25.01.1956</c:v>
                </c:pt>
                <c:pt idx="17367">
                  <c:v>24.01.1956</c:v>
                </c:pt>
                <c:pt idx="17368">
                  <c:v>23.01.1956</c:v>
                </c:pt>
                <c:pt idx="17369">
                  <c:v>20.01.1956</c:v>
                </c:pt>
                <c:pt idx="17370">
                  <c:v>19.01.1956</c:v>
                </c:pt>
                <c:pt idx="17371">
                  <c:v>18.01.1956</c:v>
                </c:pt>
                <c:pt idx="17372">
                  <c:v>17.01.1956</c:v>
                </c:pt>
                <c:pt idx="17373">
                  <c:v>16.01.1956</c:v>
                </c:pt>
                <c:pt idx="17374">
                  <c:v>13.01.1956</c:v>
                </c:pt>
                <c:pt idx="17375">
                  <c:v>12.01.1956</c:v>
                </c:pt>
                <c:pt idx="17376">
                  <c:v>11.01.1956</c:v>
                </c:pt>
                <c:pt idx="17377">
                  <c:v>10.01.1956</c:v>
                </c:pt>
                <c:pt idx="17378">
                  <c:v>09.01.1956</c:v>
                </c:pt>
                <c:pt idx="17379">
                  <c:v>06.01.1956</c:v>
                </c:pt>
                <c:pt idx="17380">
                  <c:v>05.01.1956</c:v>
                </c:pt>
                <c:pt idx="17381">
                  <c:v>04.01.1956</c:v>
                </c:pt>
                <c:pt idx="17382">
                  <c:v>03.01.1956</c:v>
                </c:pt>
                <c:pt idx="17383">
                  <c:v>02.01.1956</c:v>
                </c:pt>
                <c:pt idx="17384">
                  <c:v>30.12.1955</c:v>
                </c:pt>
                <c:pt idx="17385">
                  <c:v>29.12.1955</c:v>
                </c:pt>
                <c:pt idx="17386">
                  <c:v>28.12.1955</c:v>
                </c:pt>
                <c:pt idx="17387">
                  <c:v>27.12.1955</c:v>
                </c:pt>
                <c:pt idx="17388">
                  <c:v>26.12.1955</c:v>
                </c:pt>
                <c:pt idx="17389">
                  <c:v>23.12.1955</c:v>
                </c:pt>
                <c:pt idx="17390">
                  <c:v>22.12.1955</c:v>
                </c:pt>
                <c:pt idx="17391">
                  <c:v>21.12.1955</c:v>
                </c:pt>
                <c:pt idx="17392">
                  <c:v>20.12.1955</c:v>
                </c:pt>
                <c:pt idx="17393">
                  <c:v>19.12.1955</c:v>
                </c:pt>
                <c:pt idx="17394">
                  <c:v>16.12.1955</c:v>
                </c:pt>
                <c:pt idx="17395">
                  <c:v>15.12.1955</c:v>
                </c:pt>
                <c:pt idx="17396">
                  <c:v>14.12.1955</c:v>
                </c:pt>
                <c:pt idx="17397">
                  <c:v>13.12.1955</c:v>
                </c:pt>
                <c:pt idx="17398">
                  <c:v>12.12.1955</c:v>
                </c:pt>
                <c:pt idx="17399">
                  <c:v>09.12.1955</c:v>
                </c:pt>
                <c:pt idx="17400">
                  <c:v>08.12.1955</c:v>
                </c:pt>
                <c:pt idx="17401">
                  <c:v>07.12.1955</c:v>
                </c:pt>
                <c:pt idx="17402">
                  <c:v>06.12.1955</c:v>
                </c:pt>
                <c:pt idx="17403">
                  <c:v>05.12.1955</c:v>
                </c:pt>
                <c:pt idx="17404">
                  <c:v>02.12.1955</c:v>
                </c:pt>
                <c:pt idx="17405">
                  <c:v>01.12.1955</c:v>
                </c:pt>
                <c:pt idx="17406">
                  <c:v>30.11.1955</c:v>
                </c:pt>
                <c:pt idx="17407">
                  <c:v>29.11.1955</c:v>
                </c:pt>
                <c:pt idx="17408">
                  <c:v>28.11.1955</c:v>
                </c:pt>
                <c:pt idx="17409">
                  <c:v>25.11.1955</c:v>
                </c:pt>
                <c:pt idx="17410">
                  <c:v>24.11.1955</c:v>
                </c:pt>
                <c:pt idx="17411">
                  <c:v>23.11.1955</c:v>
                </c:pt>
                <c:pt idx="17412">
                  <c:v>22.11.1955</c:v>
                </c:pt>
                <c:pt idx="17413">
                  <c:v>21.11.1955</c:v>
                </c:pt>
                <c:pt idx="17414">
                  <c:v>18.11.1955</c:v>
                </c:pt>
                <c:pt idx="17415">
                  <c:v>17.11.1955</c:v>
                </c:pt>
                <c:pt idx="17416">
                  <c:v>16.11.1955</c:v>
                </c:pt>
                <c:pt idx="17417">
                  <c:v>15.11.1955</c:v>
                </c:pt>
                <c:pt idx="17418">
                  <c:v>14.11.1955</c:v>
                </c:pt>
                <c:pt idx="17419">
                  <c:v>11.11.1955</c:v>
                </c:pt>
                <c:pt idx="17420">
                  <c:v>10.11.1955</c:v>
                </c:pt>
                <c:pt idx="17421">
                  <c:v>09.11.1955</c:v>
                </c:pt>
                <c:pt idx="17422">
                  <c:v>08.11.1955</c:v>
                </c:pt>
                <c:pt idx="17423">
                  <c:v>07.11.1955</c:v>
                </c:pt>
                <c:pt idx="17424">
                  <c:v>04.11.1955</c:v>
                </c:pt>
                <c:pt idx="17425">
                  <c:v>03.11.1955</c:v>
                </c:pt>
                <c:pt idx="17426">
                  <c:v>02.11.1955</c:v>
                </c:pt>
                <c:pt idx="17427">
                  <c:v>01.11.1955</c:v>
                </c:pt>
                <c:pt idx="17428">
                  <c:v>31.10.1955</c:v>
                </c:pt>
                <c:pt idx="17429">
                  <c:v>28.10.1955</c:v>
                </c:pt>
                <c:pt idx="17430">
                  <c:v>27.10.1955</c:v>
                </c:pt>
                <c:pt idx="17431">
                  <c:v>26.10.1955</c:v>
                </c:pt>
                <c:pt idx="17432">
                  <c:v>25.10.1955</c:v>
                </c:pt>
                <c:pt idx="17433">
                  <c:v>24.10.1955</c:v>
                </c:pt>
                <c:pt idx="17434">
                  <c:v>21.10.1955</c:v>
                </c:pt>
                <c:pt idx="17435">
                  <c:v>20.10.1955</c:v>
                </c:pt>
                <c:pt idx="17436">
                  <c:v>19.10.1955</c:v>
                </c:pt>
                <c:pt idx="17437">
                  <c:v>18.10.1955</c:v>
                </c:pt>
                <c:pt idx="17438">
                  <c:v>17.10.1955</c:v>
                </c:pt>
                <c:pt idx="17439">
                  <c:v>14.10.1955</c:v>
                </c:pt>
                <c:pt idx="17440">
                  <c:v>13.10.1955</c:v>
                </c:pt>
                <c:pt idx="17441">
                  <c:v>12.10.1955</c:v>
                </c:pt>
                <c:pt idx="17442">
                  <c:v>11.10.1955</c:v>
                </c:pt>
                <c:pt idx="17443">
                  <c:v>10.10.1955</c:v>
                </c:pt>
                <c:pt idx="17444">
                  <c:v>07.10.1955</c:v>
                </c:pt>
                <c:pt idx="17445">
                  <c:v>06.10.1955</c:v>
                </c:pt>
                <c:pt idx="17446">
                  <c:v>05.10.1955</c:v>
                </c:pt>
                <c:pt idx="17447">
                  <c:v>04.10.1955</c:v>
                </c:pt>
                <c:pt idx="17448">
                  <c:v>03.10.1955</c:v>
                </c:pt>
                <c:pt idx="17449">
                  <c:v>30.09.1955</c:v>
                </c:pt>
                <c:pt idx="17450">
                  <c:v>29.09.1955</c:v>
                </c:pt>
                <c:pt idx="17451">
                  <c:v>28.09.1955</c:v>
                </c:pt>
                <c:pt idx="17452">
                  <c:v>27.09.1955</c:v>
                </c:pt>
                <c:pt idx="17453">
                  <c:v>26.09.1955</c:v>
                </c:pt>
                <c:pt idx="17454">
                  <c:v>23.09.1955</c:v>
                </c:pt>
                <c:pt idx="17455">
                  <c:v>22.09.1955</c:v>
                </c:pt>
                <c:pt idx="17456">
                  <c:v>21.09.1955</c:v>
                </c:pt>
                <c:pt idx="17457">
                  <c:v>20.09.1955</c:v>
                </c:pt>
                <c:pt idx="17458">
                  <c:v>19.09.1955</c:v>
                </c:pt>
                <c:pt idx="17459">
                  <c:v>16.09.1955</c:v>
                </c:pt>
                <c:pt idx="17460">
                  <c:v>15.09.1955</c:v>
                </c:pt>
                <c:pt idx="17461">
                  <c:v>14.09.1955</c:v>
                </c:pt>
                <c:pt idx="17462">
                  <c:v>13.09.1955</c:v>
                </c:pt>
                <c:pt idx="17463">
                  <c:v>12.09.1955</c:v>
                </c:pt>
                <c:pt idx="17464">
                  <c:v>09.09.1955</c:v>
                </c:pt>
                <c:pt idx="17465">
                  <c:v>08.09.1955</c:v>
                </c:pt>
                <c:pt idx="17466">
                  <c:v>07.09.1955</c:v>
                </c:pt>
                <c:pt idx="17467">
                  <c:v>06.09.1955</c:v>
                </c:pt>
                <c:pt idx="17468">
                  <c:v>05.09.1955</c:v>
                </c:pt>
                <c:pt idx="17469">
                  <c:v>02.09.1955</c:v>
                </c:pt>
                <c:pt idx="17470">
                  <c:v>01.09.1955</c:v>
                </c:pt>
                <c:pt idx="17471">
                  <c:v>31.08.1955</c:v>
                </c:pt>
                <c:pt idx="17472">
                  <c:v>30.08.1955</c:v>
                </c:pt>
                <c:pt idx="17473">
                  <c:v>29.08.1955</c:v>
                </c:pt>
                <c:pt idx="17474">
                  <c:v>26.08.1955</c:v>
                </c:pt>
                <c:pt idx="17475">
                  <c:v>25.08.1955</c:v>
                </c:pt>
                <c:pt idx="17476">
                  <c:v>24.08.1955</c:v>
                </c:pt>
                <c:pt idx="17477">
                  <c:v>23.08.1955</c:v>
                </c:pt>
                <c:pt idx="17478">
                  <c:v>22.08.1955</c:v>
                </c:pt>
                <c:pt idx="17479">
                  <c:v>19.08.1955</c:v>
                </c:pt>
                <c:pt idx="17480">
                  <c:v>18.08.1955</c:v>
                </c:pt>
                <c:pt idx="17481">
                  <c:v>17.08.1955</c:v>
                </c:pt>
                <c:pt idx="17482">
                  <c:v>16.08.1955</c:v>
                </c:pt>
                <c:pt idx="17483">
                  <c:v>15.08.1955</c:v>
                </c:pt>
                <c:pt idx="17484">
                  <c:v>12.08.1955</c:v>
                </c:pt>
                <c:pt idx="17485">
                  <c:v>11.08.1955</c:v>
                </c:pt>
                <c:pt idx="17486">
                  <c:v>10.08.1955</c:v>
                </c:pt>
                <c:pt idx="17487">
                  <c:v>09.08.1955</c:v>
                </c:pt>
                <c:pt idx="17488">
                  <c:v>08.08.1955</c:v>
                </c:pt>
                <c:pt idx="17489">
                  <c:v>05.08.1955</c:v>
                </c:pt>
                <c:pt idx="17490">
                  <c:v>04.08.1955</c:v>
                </c:pt>
                <c:pt idx="17491">
                  <c:v>03.08.1955</c:v>
                </c:pt>
                <c:pt idx="17492">
                  <c:v>02.08.1955</c:v>
                </c:pt>
                <c:pt idx="17493">
                  <c:v>01.08.1955</c:v>
                </c:pt>
                <c:pt idx="17494">
                  <c:v>29.07.1955</c:v>
                </c:pt>
                <c:pt idx="17495">
                  <c:v>28.07.1955</c:v>
                </c:pt>
                <c:pt idx="17496">
                  <c:v>27.07.1955</c:v>
                </c:pt>
                <c:pt idx="17497">
                  <c:v>26.07.1955</c:v>
                </c:pt>
                <c:pt idx="17498">
                  <c:v>25.07.1955</c:v>
                </c:pt>
                <c:pt idx="17499">
                  <c:v>22.07.1955</c:v>
                </c:pt>
                <c:pt idx="17500">
                  <c:v>21.07.1955</c:v>
                </c:pt>
                <c:pt idx="17501">
                  <c:v>20.07.1955</c:v>
                </c:pt>
                <c:pt idx="17502">
                  <c:v>19.07.1955</c:v>
                </c:pt>
                <c:pt idx="17503">
                  <c:v>18.07.1955</c:v>
                </c:pt>
                <c:pt idx="17504">
                  <c:v>15.07.1955</c:v>
                </c:pt>
                <c:pt idx="17505">
                  <c:v>14.07.1955</c:v>
                </c:pt>
                <c:pt idx="17506">
                  <c:v>13.07.1955</c:v>
                </c:pt>
                <c:pt idx="17507">
                  <c:v>12.07.1955</c:v>
                </c:pt>
                <c:pt idx="17508">
                  <c:v>11.07.1955</c:v>
                </c:pt>
                <c:pt idx="17509">
                  <c:v>08.07.1955</c:v>
                </c:pt>
                <c:pt idx="17510">
                  <c:v>07.07.1955</c:v>
                </c:pt>
                <c:pt idx="17511">
                  <c:v>06.07.1955</c:v>
                </c:pt>
                <c:pt idx="17512">
                  <c:v>05.07.1955</c:v>
                </c:pt>
                <c:pt idx="17513">
                  <c:v>04.07.1955</c:v>
                </c:pt>
                <c:pt idx="17514">
                  <c:v>01.07.1955</c:v>
                </c:pt>
                <c:pt idx="17515">
                  <c:v>30.06.1955</c:v>
                </c:pt>
                <c:pt idx="17516">
                  <c:v>29.06.1955</c:v>
                </c:pt>
                <c:pt idx="17517">
                  <c:v>28.06.1955</c:v>
                </c:pt>
                <c:pt idx="17518">
                  <c:v>27.06.1955</c:v>
                </c:pt>
                <c:pt idx="17519">
                  <c:v>24.06.1955</c:v>
                </c:pt>
                <c:pt idx="17520">
                  <c:v>23.06.1955</c:v>
                </c:pt>
                <c:pt idx="17521">
                  <c:v>22.06.1955</c:v>
                </c:pt>
                <c:pt idx="17522">
                  <c:v>21.06.1955</c:v>
                </c:pt>
                <c:pt idx="17523">
                  <c:v>20.06.1955</c:v>
                </c:pt>
                <c:pt idx="17524">
                  <c:v>17.06.1955</c:v>
                </c:pt>
                <c:pt idx="17525">
                  <c:v>16.06.1955</c:v>
                </c:pt>
                <c:pt idx="17526">
                  <c:v>15.06.1955</c:v>
                </c:pt>
                <c:pt idx="17527">
                  <c:v>14.06.1955</c:v>
                </c:pt>
                <c:pt idx="17528">
                  <c:v>13.06.1955</c:v>
                </c:pt>
                <c:pt idx="17529">
                  <c:v>10.06.1955</c:v>
                </c:pt>
                <c:pt idx="17530">
                  <c:v>09.06.1955</c:v>
                </c:pt>
                <c:pt idx="17531">
                  <c:v>08.06.1955</c:v>
                </c:pt>
                <c:pt idx="17532">
                  <c:v>07.06.1955</c:v>
                </c:pt>
                <c:pt idx="17533">
                  <c:v>06.06.1955</c:v>
                </c:pt>
                <c:pt idx="17534">
                  <c:v>03.06.1955</c:v>
                </c:pt>
                <c:pt idx="17535">
                  <c:v>02.06.1955</c:v>
                </c:pt>
                <c:pt idx="17536">
                  <c:v>01.06.1955</c:v>
                </c:pt>
                <c:pt idx="17537">
                  <c:v>31.05.1955</c:v>
                </c:pt>
                <c:pt idx="17538">
                  <c:v>30.05.1955</c:v>
                </c:pt>
                <c:pt idx="17539">
                  <c:v>27.05.1955</c:v>
                </c:pt>
                <c:pt idx="17540">
                  <c:v>26.05.1955</c:v>
                </c:pt>
                <c:pt idx="17541">
                  <c:v>25.05.1955</c:v>
                </c:pt>
                <c:pt idx="17542">
                  <c:v>24.05.1955</c:v>
                </c:pt>
                <c:pt idx="17543">
                  <c:v>23.05.1955</c:v>
                </c:pt>
                <c:pt idx="17544">
                  <c:v>20.05.1955</c:v>
                </c:pt>
                <c:pt idx="17545">
                  <c:v>19.05.1955</c:v>
                </c:pt>
                <c:pt idx="17546">
                  <c:v>18.05.1955</c:v>
                </c:pt>
                <c:pt idx="17547">
                  <c:v>17.05.1955</c:v>
                </c:pt>
                <c:pt idx="17548">
                  <c:v>16.05.1955</c:v>
                </c:pt>
                <c:pt idx="17549">
                  <c:v>13.05.1955</c:v>
                </c:pt>
                <c:pt idx="17550">
                  <c:v>12.05.1955</c:v>
                </c:pt>
                <c:pt idx="17551">
                  <c:v>11.05.1955</c:v>
                </c:pt>
                <c:pt idx="17552">
                  <c:v>10.05.1955</c:v>
                </c:pt>
                <c:pt idx="17553">
                  <c:v>09.05.1955</c:v>
                </c:pt>
                <c:pt idx="17554">
                  <c:v>06.05.1955</c:v>
                </c:pt>
                <c:pt idx="17555">
                  <c:v>05.05.1955</c:v>
                </c:pt>
                <c:pt idx="17556">
                  <c:v>04.05.1955</c:v>
                </c:pt>
                <c:pt idx="17557">
                  <c:v>03.05.1955</c:v>
                </c:pt>
                <c:pt idx="17558">
                  <c:v>02.05.1955</c:v>
                </c:pt>
                <c:pt idx="17559">
                  <c:v>29.04.1955</c:v>
                </c:pt>
                <c:pt idx="17560">
                  <c:v>28.04.1955</c:v>
                </c:pt>
                <c:pt idx="17561">
                  <c:v>27.04.1955</c:v>
                </c:pt>
                <c:pt idx="17562">
                  <c:v>26.04.1955</c:v>
                </c:pt>
                <c:pt idx="17563">
                  <c:v>25.04.1955</c:v>
                </c:pt>
                <c:pt idx="17564">
                  <c:v>22.04.1955</c:v>
                </c:pt>
                <c:pt idx="17565">
                  <c:v>21.04.1955</c:v>
                </c:pt>
                <c:pt idx="17566">
                  <c:v>20.04.1955</c:v>
                </c:pt>
                <c:pt idx="17567">
                  <c:v>19.04.1955</c:v>
                </c:pt>
                <c:pt idx="17568">
                  <c:v>18.04.1955</c:v>
                </c:pt>
                <c:pt idx="17569">
                  <c:v>15.04.1955</c:v>
                </c:pt>
                <c:pt idx="17570">
                  <c:v>14.04.1955</c:v>
                </c:pt>
                <c:pt idx="17571">
                  <c:v>13.04.1955</c:v>
                </c:pt>
                <c:pt idx="17572">
                  <c:v>12.04.1955</c:v>
                </c:pt>
                <c:pt idx="17573">
                  <c:v>11.04.1955</c:v>
                </c:pt>
                <c:pt idx="17574">
                  <c:v>08.04.1955</c:v>
                </c:pt>
                <c:pt idx="17575">
                  <c:v>07.04.1955</c:v>
                </c:pt>
                <c:pt idx="17576">
                  <c:v>06.04.1955</c:v>
                </c:pt>
                <c:pt idx="17577">
                  <c:v>05.04.1955</c:v>
                </c:pt>
                <c:pt idx="17578">
                  <c:v>04.04.1955</c:v>
                </c:pt>
                <c:pt idx="17579">
                  <c:v>01.04.1955</c:v>
                </c:pt>
                <c:pt idx="17580">
                  <c:v>31.03.1955</c:v>
                </c:pt>
                <c:pt idx="17581">
                  <c:v>30.03.1955</c:v>
                </c:pt>
                <c:pt idx="17582">
                  <c:v>29.03.1955</c:v>
                </c:pt>
                <c:pt idx="17583">
                  <c:v>28.03.1955</c:v>
                </c:pt>
                <c:pt idx="17584">
                  <c:v>25.03.1955</c:v>
                </c:pt>
                <c:pt idx="17585">
                  <c:v>24.03.1955</c:v>
                </c:pt>
                <c:pt idx="17586">
                  <c:v>23.03.1955</c:v>
                </c:pt>
                <c:pt idx="17587">
                  <c:v>22.03.1955</c:v>
                </c:pt>
                <c:pt idx="17588">
                  <c:v>21.03.1955</c:v>
                </c:pt>
                <c:pt idx="17589">
                  <c:v>18.03.1955</c:v>
                </c:pt>
                <c:pt idx="17590">
                  <c:v>17.03.1955</c:v>
                </c:pt>
                <c:pt idx="17591">
                  <c:v>16.03.1955</c:v>
                </c:pt>
                <c:pt idx="17592">
                  <c:v>15.03.1955</c:v>
                </c:pt>
                <c:pt idx="17593">
                  <c:v>14.03.1955</c:v>
                </c:pt>
                <c:pt idx="17594">
                  <c:v>11.03.1955</c:v>
                </c:pt>
                <c:pt idx="17595">
                  <c:v>10.03.1955</c:v>
                </c:pt>
                <c:pt idx="17596">
                  <c:v>09.03.1955</c:v>
                </c:pt>
                <c:pt idx="17597">
                  <c:v>08.03.1955</c:v>
                </c:pt>
                <c:pt idx="17598">
                  <c:v>07.03.1955</c:v>
                </c:pt>
                <c:pt idx="17599">
                  <c:v>04.03.1955</c:v>
                </c:pt>
                <c:pt idx="17600">
                  <c:v>03.03.1955</c:v>
                </c:pt>
                <c:pt idx="17601">
                  <c:v>02.03.1955</c:v>
                </c:pt>
                <c:pt idx="17602">
                  <c:v>01.03.1955</c:v>
                </c:pt>
                <c:pt idx="17603">
                  <c:v>28.02.1955</c:v>
                </c:pt>
                <c:pt idx="17604">
                  <c:v>25.02.1955</c:v>
                </c:pt>
                <c:pt idx="17605">
                  <c:v>24.02.1955</c:v>
                </c:pt>
                <c:pt idx="17606">
                  <c:v>23.02.1955</c:v>
                </c:pt>
                <c:pt idx="17607">
                  <c:v>22.02.1955</c:v>
                </c:pt>
                <c:pt idx="17608">
                  <c:v>21.02.1955</c:v>
                </c:pt>
                <c:pt idx="17609">
                  <c:v>18.02.1955</c:v>
                </c:pt>
                <c:pt idx="17610">
                  <c:v>17.02.1955</c:v>
                </c:pt>
                <c:pt idx="17611">
                  <c:v>16.02.1955</c:v>
                </c:pt>
                <c:pt idx="17612">
                  <c:v>15.02.1955</c:v>
                </c:pt>
                <c:pt idx="17613">
                  <c:v>14.02.1955</c:v>
                </c:pt>
                <c:pt idx="17614">
                  <c:v>11.02.1955</c:v>
                </c:pt>
                <c:pt idx="17615">
                  <c:v>10.02.1955</c:v>
                </c:pt>
                <c:pt idx="17616">
                  <c:v>09.02.1955</c:v>
                </c:pt>
                <c:pt idx="17617">
                  <c:v>08.02.1955</c:v>
                </c:pt>
                <c:pt idx="17618">
                  <c:v>07.02.1955</c:v>
                </c:pt>
                <c:pt idx="17619">
                  <c:v>04.02.1955</c:v>
                </c:pt>
                <c:pt idx="17620">
                  <c:v>03.02.1955</c:v>
                </c:pt>
                <c:pt idx="17621">
                  <c:v>02.02.1955</c:v>
                </c:pt>
                <c:pt idx="17622">
                  <c:v>01.02.1955</c:v>
                </c:pt>
                <c:pt idx="17623">
                  <c:v>31.01.1955</c:v>
                </c:pt>
                <c:pt idx="17624">
                  <c:v>28.01.1955</c:v>
                </c:pt>
                <c:pt idx="17625">
                  <c:v>27.01.1955</c:v>
                </c:pt>
                <c:pt idx="17626">
                  <c:v>26.01.1955</c:v>
                </c:pt>
                <c:pt idx="17627">
                  <c:v>25.01.1955</c:v>
                </c:pt>
                <c:pt idx="17628">
                  <c:v>24.01.1955</c:v>
                </c:pt>
                <c:pt idx="17629">
                  <c:v>21.01.1955</c:v>
                </c:pt>
                <c:pt idx="17630">
                  <c:v>20.01.1955</c:v>
                </c:pt>
                <c:pt idx="17631">
                  <c:v>19.01.1955</c:v>
                </c:pt>
                <c:pt idx="17632">
                  <c:v>18.01.1955</c:v>
                </c:pt>
                <c:pt idx="17633">
                  <c:v>17.01.1955</c:v>
                </c:pt>
                <c:pt idx="17634">
                  <c:v>14.01.1955</c:v>
                </c:pt>
                <c:pt idx="17635">
                  <c:v>13.01.1955</c:v>
                </c:pt>
                <c:pt idx="17636">
                  <c:v>12.01.1955</c:v>
                </c:pt>
                <c:pt idx="17637">
                  <c:v>11.01.1955</c:v>
                </c:pt>
                <c:pt idx="17638">
                  <c:v>10.01.1955</c:v>
                </c:pt>
                <c:pt idx="17639">
                  <c:v>07.01.1955</c:v>
                </c:pt>
                <c:pt idx="17640">
                  <c:v>06.01.1955</c:v>
                </c:pt>
                <c:pt idx="17641">
                  <c:v>05.01.1955</c:v>
                </c:pt>
                <c:pt idx="17642">
                  <c:v>04.01.1955</c:v>
                </c:pt>
                <c:pt idx="17643">
                  <c:v>03.01.1955</c:v>
                </c:pt>
                <c:pt idx="17644">
                  <c:v>31.12.1954</c:v>
                </c:pt>
                <c:pt idx="17645">
                  <c:v>30.12.1954</c:v>
                </c:pt>
                <c:pt idx="17646">
                  <c:v>29.12.1954</c:v>
                </c:pt>
                <c:pt idx="17647">
                  <c:v>28.12.1954</c:v>
                </c:pt>
                <c:pt idx="17648">
                  <c:v>27.12.1954</c:v>
                </c:pt>
                <c:pt idx="17649">
                  <c:v>24.12.1954</c:v>
                </c:pt>
                <c:pt idx="17650">
                  <c:v>23.12.1954</c:v>
                </c:pt>
                <c:pt idx="17651">
                  <c:v>22.12.1954</c:v>
                </c:pt>
                <c:pt idx="17652">
                  <c:v>21.12.1954</c:v>
                </c:pt>
                <c:pt idx="17653">
                  <c:v>20.12.1954</c:v>
                </c:pt>
                <c:pt idx="17654">
                  <c:v>17.12.1954</c:v>
                </c:pt>
                <c:pt idx="17655">
                  <c:v>16.12.1954</c:v>
                </c:pt>
                <c:pt idx="17656">
                  <c:v>15.12.1954</c:v>
                </c:pt>
                <c:pt idx="17657">
                  <c:v>14.12.1954</c:v>
                </c:pt>
                <c:pt idx="17658">
                  <c:v>13.12.1954</c:v>
                </c:pt>
                <c:pt idx="17659">
                  <c:v>10.12.1954</c:v>
                </c:pt>
                <c:pt idx="17660">
                  <c:v>09.12.1954</c:v>
                </c:pt>
                <c:pt idx="17661">
                  <c:v>08.12.1954</c:v>
                </c:pt>
                <c:pt idx="17662">
                  <c:v>07.12.1954</c:v>
                </c:pt>
                <c:pt idx="17663">
                  <c:v>06.12.1954</c:v>
                </c:pt>
                <c:pt idx="17664">
                  <c:v>03.12.1954</c:v>
                </c:pt>
                <c:pt idx="17665">
                  <c:v>02.12.1954</c:v>
                </c:pt>
                <c:pt idx="17666">
                  <c:v>01.12.1954</c:v>
                </c:pt>
                <c:pt idx="17667">
                  <c:v>30.11.1954</c:v>
                </c:pt>
                <c:pt idx="17668">
                  <c:v>29.11.1954</c:v>
                </c:pt>
                <c:pt idx="17669">
                  <c:v>26.11.1954</c:v>
                </c:pt>
                <c:pt idx="17670">
                  <c:v>25.11.1954</c:v>
                </c:pt>
                <c:pt idx="17671">
                  <c:v>24.11.1954</c:v>
                </c:pt>
                <c:pt idx="17672">
                  <c:v>23.11.1954</c:v>
                </c:pt>
                <c:pt idx="17673">
                  <c:v>22.11.1954</c:v>
                </c:pt>
                <c:pt idx="17674">
                  <c:v>19.11.1954</c:v>
                </c:pt>
                <c:pt idx="17675">
                  <c:v>18.11.1954</c:v>
                </c:pt>
                <c:pt idx="17676">
                  <c:v>17.11.1954</c:v>
                </c:pt>
                <c:pt idx="17677">
                  <c:v>16.11.1954</c:v>
                </c:pt>
                <c:pt idx="17678">
                  <c:v>15.11.1954</c:v>
                </c:pt>
                <c:pt idx="17679">
                  <c:v>12.11.1954</c:v>
                </c:pt>
                <c:pt idx="17680">
                  <c:v>11.11.1954</c:v>
                </c:pt>
                <c:pt idx="17681">
                  <c:v>10.11.1954</c:v>
                </c:pt>
                <c:pt idx="17682">
                  <c:v>09.11.1954</c:v>
                </c:pt>
                <c:pt idx="17683">
                  <c:v>08.11.1954</c:v>
                </c:pt>
                <c:pt idx="17684">
                  <c:v>05.11.1954</c:v>
                </c:pt>
                <c:pt idx="17685">
                  <c:v>04.11.1954</c:v>
                </c:pt>
                <c:pt idx="17686">
                  <c:v>03.11.1954</c:v>
                </c:pt>
                <c:pt idx="17687">
                  <c:v>02.11.1954</c:v>
                </c:pt>
                <c:pt idx="17688">
                  <c:v>01.11.1954</c:v>
                </c:pt>
                <c:pt idx="17689">
                  <c:v>29.10.1954</c:v>
                </c:pt>
                <c:pt idx="17690">
                  <c:v>28.10.1954</c:v>
                </c:pt>
                <c:pt idx="17691">
                  <c:v>27.10.1954</c:v>
                </c:pt>
                <c:pt idx="17692">
                  <c:v>26.10.1954</c:v>
                </c:pt>
                <c:pt idx="17693">
                  <c:v>25.10.1954</c:v>
                </c:pt>
                <c:pt idx="17694">
                  <c:v>22.10.1954</c:v>
                </c:pt>
                <c:pt idx="17695">
                  <c:v>21.10.1954</c:v>
                </c:pt>
                <c:pt idx="17696">
                  <c:v>20.10.1954</c:v>
                </c:pt>
                <c:pt idx="17697">
                  <c:v>19.10.1954</c:v>
                </c:pt>
                <c:pt idx="17698">
                  <c:v>18.10.1954</c:v>
                </c:pt>
                <c:pt idx="17699">
                  <c:v>15.10.1954</c:v>
                </c:pt>
                <c:pt idx="17700">
                  <c:v>14.10.1954</c:v>
                </c:pt>
                <c:pt idx="17701">
                  <c:v>13.10.1954</c:v>
                </c:pt>
                <c:pt idx="17702">
                  <c:v>12.10.1954</c:v>
                </c:pt>
                <c:pt idx="17703">
                  <c:v>11.10.1954</c:v>
                </c:pt>
                <c:pt idx="17704">
                  <c:v>08.10.1954</c:v>
                </c:pt>
                <c:pt idx="17705">
                  <c:v>07.10.1954</c:v>
                </c:pt>
                <c:pt idx="17706">
                  <c:v>06.10.1954</c:v>
                </c:pt>
                <c:pt idx="17707">
                  <c:v>05.10.1954</c:v>
                </c:pt>
                <c:pt idx="17708">
                  <c:v>04.10.1954</c:v>
                </c:pt>
                <c:pt idx="17709">
                  <c:v>01.10.1954</c:v>
                </c:pt>
                <c:pt idx="17710">
                  <c:v>30.09.1954</c:v>
                </c:pt>
                <c:pt idx="17711">
                  <c:v>29.09.1954</c:v>
                </c:pt>
                <c:pt idx="17712">
                  <c:v>28.09.1954</c:v>
                </c:pt>
                <c:pt idx="17713">
                  <c:v>27.09.1954</c:v>
                </c:pt>
                <c:pt idx="17714">
                  <c:v>24.09.1954</c:v>
                </c:pt>
                <c:pt idx="17715">
                  <c:v>23.09.1954</c:v>
                </c:pt>
                <c:pt idx="17716">
                  <c:v>22.09.1954</c:v>
                </c:pt>
                <c:pt idx="17717">
                  <c:v>21.09.1954</c:v>
                </c:pt>
                <c:pt idx="17718">
                  <c:v>20.09.1954</c:v>
                </c:pt>
                <c:pt idx="17719">
                  <c:v>17.09.1954</c:v>
                </c:pt>
                <c:pt idx="17720">
                  <c:v>16.09.1954</c:v>
                </c:pt>
                <c:pt idx="17721">
                  <c:v>15.09.1954</c:v>
                </c:pt>
                <c:pt idx="17722">
                  <c:v>14.09.1954</c:v>
                </c:pt>
                <c:pt idx="17723">
                  <c:v>13.09.1954</c:v>
                </c:pt>
                <c:pt idx="17724">
                  <c:v>10.09.1954</c:v>
                </c:pt>
                <c:pt idx="17725">
                  <c:v>09.09.1954</c:v>
                </c:pt>
                <c:pt idx="17726">
                  <c:v>08.09.1954</c:v>
                </c:pt>
                <c:pt idx="17727">
                  <c:v>07.09.1954</c:v>
                </c:pt>
                <c:pt idx="17728">
                  <c:v>06.09.1954</c:v>
                </c:pt>
                <c:pt idx="17729">
                  <c:v>03.09.1954</c:v>
                </c:pt>
                <c:pt idx="17730">
                  <c:v>02.09.1954</c:v>
                </c:pt>
                <c:pt idx="17731">
                  <c:v>01.09.1954</c:v>
                </c:pt>
                <c:pt idx="17732">
                  <c:v>31.08.1954</c:v>
                </c:pt>
                <c:pt idx="17733">
                  <c:v>30.08.1954</c:v>
                </c:pt>
                <c:pt idx="17734">
                  <c:v>27.08.1954</c:v>
                </c:pt>
                <c:pt idx="17735">
                  <c:v>26.08.1954</c:v>
                </c:pt>
                <c:pt idx="17736">
                  <c:v>25.08.1954</c:v>
                </c:pt>
                <c:pt idx="17737">
                  <c:v>24.08.1954</c:v>
                </c:pt>
                <c:pt idx="17738">
                  <c:v>23.08.1954</c:v>
                </c:pt>
                <c:pt idx="17739">
                  <c:v>20.08.1954</c:v>
                </c:pt>
                <c:pt idx="17740">
                  <c:v>19.08.1954</c:v>
                </c:pt>
                <c:pt idx="17741">
                  <c:v>18.08.1954</c:v>
                </c:pt>
                <c:pt idx="17742">
                  <c:v>17.08.1954</c:v>
                </c:pt>
                <c:pt idx="17743">
                  <c:v>16.08.1954</c:v>
                </c:pt>
                <c:pt idx="17744">
                  <c:v>13.08.1954</c:v>
                </c:pt>
                <c:pt idx="17745">
                  <c:v>12.08.1954</c:v>
                </c:pt>
                <c:pt idx="17746">
                  <c:v>11.08.1954</c:v>
                </c:pt>
                <c:pt idx="17747">
                  <c:v>10.08.1954</c:v>
                </c:pt>
                <c:pt idx="17748">
                  <c:v>09.08.1954</c:v>
                </c:pt>
                <c:pt idx="17749">
                  <c:v>06.08.1954</c:v>
                </c:pt>
                <c:pt idx="17750">
                  <c:v>05.08.1954</c:v>
                </c:pt>
                <c:pt idx="17751">
                  <c:v>04.08.1954</c:v>
                </c:pt>
                <c:pt idx="17752">
                  <c:v>03.08.1954</c:v>
                </c:pt>
                <c:pt idx="17753">
                  <c:v>02.08.1954</c:v>
                </c:pt>
                <c:pt idx="17754">
                  <c:v>30.07.1954</c:v>
                </c:pt>
                <c:pt idx="17755">
                  <c:v>29.07.1954</c:v>
                </c:pt>
                <c:pt idx="17756">
                  <c:v>28.07.1954</c:v>
                </c:pt>
                <c:pt idx="17757">
                  <c:v>27.07.1954</c:v>
                </c:pt>
                <c:pt idx="17758">
                  <c:v>26.07.1954</c:v>
                </c:pt>
                <c:pt idx="17759">
                  <c:v>23.07.1954</c:v>
                </c:pt>
                <c:pt idx="17760">
                  <c:v>22.07.1954</c:v>
                </c:pt>
                <c:pt idx="17761">
                  <c:v>21.07.1954</c:v>
                </c:pt>
                <c:pt idx="17762">
                  <c:v>20.07.1954</c:v>
                </c:pt>
                <c:pt idx="17763">
                  <c:v>19.07.1954</c:v>
                </c:pt>
                <c:pt idx="17764">
                  <c:v>16.07.1954</c:v>
                </c:pt>
                <c:pt idx="17765">
                  <c:v>15.07.1954</c:v>
                </c:pt>
                <c:pt idx="17766">
                  <c:v>14.07.1954</c:v>
                </c:pt>
                <c:pt idx="17767">
                  <c:v>13.07.1954</c:v>
                </c:pt>
                <c:pt idx="17768">
                  <c:v>12.07.1954</c:v>
                </c:pt>
                <c:pt idx="17769">
                  <c:v>09.07.1954</c:v>
                </c:pt>
                <c:pt idx="17770">
                  <c:v>08.07.1954</c:v>
                </c:pt>
                <c:pt idx="17771">
                  <c:v>07.07.1954</c:v>
                </c:pt>
                <c:pt idx="17772">
                  <c:v>06.07.1954</c:v>
                </c:pt>
                <c:pt idx="17773">
                  <c:v>05.07.1954</c:v>
                </c:pt>
                <c:pt idx="17774">
                  <c:v>02.07.1954</c:v>
                </c:pt>
                <c:pt idx="17775">
                  <c:v>01.07.1954</c:v>
                </c:pt>
                <c:pt idx="17776">
                  <c:v>30.06.1954</c:v>
                </c:pt>
                <c:pt idx="17777">
                  <c:v>29.06.1954</c:v>
                </c:pt>
                <c:pt idx="17778">
                  <c:v>28.06.1954</c:v>
                </c:pt>
                <c:pt idx="17779">
                  <c:v>25.06.1954</c:v>
                </c:pt>
                <c:pt idx="17780">
                  <c:v>24.06.1954</c:v>
                </c:pt>
                <c:pt idx="17781">
                  <c:v>23.06.1954</c:v>
                </c:pt>
                <c:pt idx="17782">
                  <c:v>22.06.1954</c:v>
                </c:pt>
                <c:pt idx="17783">
                  <c:v>21.06.1954</c:v>
                </c:pt>
                <c:pt idx="17784">
                  <c:v>18.06.1954</c:v>
                </c:pt>
                <c:pt idx="17785">
                  <c:v>17.06.1954</c:v>
                </c:pt>
                <c:pt idx="17786">
                  <c:v>16.06.1954</c:v>
                </c:pt>
                <c:pt idx="17787">
                  <c:v>15.06.1954</c:v>
                </c:pt>
                <c:pt idx="17788">
                  <c:v>14.06.1954</c:v>
                </c:pt>
                <c:pt idx="17789">
                  <c:v>11.06.1954</c:v>
                </c:pt>
                <c:pt idx="17790">
                  <c:v>10.06.1954</c:v>
                </c:pt>
                <c:pt idx="17791">
                  <c:v>09.06.1954</c:v>
                </c:pt>
                <c:pt idx="17792">
                  <c:v>08.06.1954</c:v>
                </c:pt>
                <c:pt idx="17793">
                  <c:v>07.06.1954</c:v>
                </c:pt>
                <c:pt idx="17794">
                  <c:v>04.06.1954</c:v>
                </c:pt>
                <c:pt idx="17795">
                  <c:v>03.06.1954</c:v>
                </c:pt>
                <c:pt idx="17796">
                  <c:v>02.06.1954</c:v>
                </c:pt>
                <c:pt idx="17797">
                  <c:v>01.06.1954</c:v>
                </c:pt>
                <c:pt idx="17798">
                  <c:v>31.05.1954</c:v>
                </c:pt>
                <c:pt idx="17799">
                  <c:v>28.05.1954</c:v>
                </c:pt>
                <c:pt idx="17800">
                  <c:v>27.05.1954</c:v>
                </c:pt>
                <c:pt idx="17801">
                  <c:v>26.05.1954</c:v>
                </c:pt>
                <c:pt idx="17802">
                  <c:v>25.05.1954</c:v>
                </c:pt>
                <c:pt idx="17803">
                  <c:v>24.05.1954</c:v>
                </c:pt>
                <c:pt idx="17804">
                  <c:v>21.05.1954</c:v>
                </c:pt>
                <c:pt idx="17805">
                  <c:v>20.05.1954</c:v>
                </c:pt>
                <c:pt idx="17806">
                  <c:v>19.05.1954</c:v>
                </c:pt>
                <c:pt idx="17807">
                  <c:v>18.05.1954</c:v>
                </c:pt>
                <c:pt idx="17808">
                  <c:v>17.05.1954</c:v>
                </c:pt>
                <c:pt idx="17809">
                  <c:v>14.05.1954</c:v>
                </c:pt>
                <c:pt idx="17810">
                  <c:v>13.05.1954</c:v>
                </c:pt>
                <c:pt idx="17811">
                  <c:v>12.05.1954</c:v>
                </c:pt>
                <c:pt idx="17812">
                  <c:v>11.05.1954</c:v>
                </c:pt>
                <c:pt idx="17813">
                  <c:v>10.05.1954</c:v>
                </c:pt>
                <c:pt idx="17814">
                  <c:v>07.05.1954</c:v>
                </c:pt>
                <c:pt idx="17815">
                  <c:v>06.05.1954</c:v>
                </c:pt>
                <c:pt idx="17816">
                  <c:v>05.05.1954</c:v>
                </c:pt>
                <c:pt idx="17817">
                  <c:v>04.05.1954</c:v>
                </c:pt>
                <c:pt idx="17818">
                  <c:v>03.05.1954</c:v>
                </c:pt>
                <c:pt idx="17819">
                  <c:v>30.04.1954</c:v>
                </c:pt>
                <c:pt idx="17820">
                  <c:v>29.04.1954</c:v>
                </c:pt>
                <c:pt idx="17821">
                  <c:v>28.04.1954</c:v>
                </c:pt>
                <c:pt idx="17822">
                  <c:v>27.04.1954</c:v>
                </c:pt>
                <c:pt idx="17823">
                  <c:v>26.04.1954</c:v>
                </c:pt>
                <c:pt idx="17824">
                  <c:v>23.04.1954</c:v>
                </c:pt>
                <c:pt idx="17825">
                  <c:v>22.04.1954</c:v>
                </c:pt>
                <c:pt idx="17826">
                  <c:v>21.04.1954</c:v>
                </c:pt>
                <c:pt idx="17827">
                  <c:v>20.04.1954</c:v>
                </c:pt>
                <c:pt idx="17828">
                  <c:v>19.04.1954</c:v>
                </c:pt>
                <c:pt idx="17829">
                  <c:v>16.04.1954</c:v>
                </c:pt>
                <c:pt idx="17830">
                  <c:v>15.04.1954</c:v>
                </c:pt>
                <c:pt idx="17831">
                  <c:v>14.04.1954</c:v>
                </c:pt>
                <c:pt idx="17832">
                  <c:v>13.04.1954</c:v>
                </c:pt>
                <c:pt idx="17833">
                  <c:v>12.04.1954</c:v>
                </c:pt>
                <c:pt idx="17834">
                  <c:v>09.04.1954</c:v>
                </c:pt>
                <c:pt idx="17835">
                  <c:v>08.04.1954</c:v>
                </c:pt>
                <c:pt idx="17836">
                  <c:v>07.04.1954</c:v>
                </c:pt>
                <c:pt idx="17837">
                  <c:v>06.04.1954</c:v>
                </c:pt>
                <c:pt idx="17838">
                  <c:v>05.04.1954</c:v>
                </c:pt>
                <c:pt idx="17839">
                  <c:v>02.04.1954</c:v>
                </c:pt>
                <c:pt idx="17840">
                  <c:v>01.04.1954</c:v>
                </c:pt>
                <c:pt idx="17841">
                  <c:v>31.03.1954</c:v>
                </c:pt>
                <c:pt idx="17842">
                  <c:v>30.03.1954</c:v>
                </c:pt>
                <c:pt idx="17843">
                  <c:v>29.03.1954</c:v>
                </c:pt>
                <c:pt idx="17844">
                  <c:v>26.03.1954</c:v>
                </c:pt>
                <c:pt idx="17845">
                  <c:v>25.03.1954</c:v>
                </c:pt>
                <c:pt idx="17846">
                  <c:v>24.03.1954</c:v>
                </c:pt>
                <c:pt idx="17847">
                  <c:v>23.03.1954</c:v>
                </c:pt>
                <c:pt idx="17848">
                  <c:v>22.03.1954</c:v>
                </c:pt>
                <c:pt idx="17849">
                  <c:v>19.03.1954</c:v>
                </c:pt>
                <c:pt idx="17850">
                  <c:v>18.03.1954</c:v>
                </c:pt>
                <c:pt idx="17851">
                  <c:v>17.03.1954</c:v>
                </c:pt>
                <c:pt idx="17852">
                  <c:v>16.03.1954</c:v>
                </c:pt>
                <c:pt idx="17853">
                  <c:v>15.03.1954</c:v>
                </c:pt>
                <c:pt idx="17854">
                  <c:v>12.03.1954</c:v>
                </c:pt>
                <c:pt idx="17855">
                  <c:v>11.03.1954</c:v>
                </c:pt>
                <c:pt idx="17856">
                  <c:v>10.03.1954</c:v>
                </c:pt>
                <c:pt idx="17857">
                  <c:v>09.03.1954</c:v>
                </c:pt>
                <c:pt idx="17858">
                  <c:v>08.03.1954</c:v>
                </c:pt>
                <c:pt idx="17859">
                  <c:v>05.03.1954</c:v>
                </c:pt>
                <c:pt idx="17860">
                  <c:v>04.03.1954</c:v>
                </c:pt>
                <c:pt idx="17861">
                  <c:v>03.03.1954</c:v>
                </c:pt>
                <c:pt idx="17862">
                  <c:v>02.03.1954</c:v>
                </c:pt>
                <c:pt idx="17863">
                  <c:v>01.03.1954</c:v>
                </c:pt>
                <c:pt idx="17864">
                  <c:v>26.02.1954</c:v>
                </c:pt>
                <c:pt idx="17865">
                  <c:v>25.02.1954</c:v>
                </c:pt>
                <c:pt idx="17866">
                  <c:v>24.02.1954</c:v>
                </c:pt>
                <c:pt idx="17867">
                  <c:v>23.02.1954</c:v>
                </c:pt>
                <c:pt idx="17868">
                  <c:v>22.02.1954</c:v>
                </c:pt>
                <c:pt idx="17869">
                  <c:v>19.02.1954</c:v>
                </c:pt>
                <c:pt idx="17870">
                  <c:v>18.02.1954</c:v>
                </c:pt>
                <c:pt idx="17871">
                  <c:v>17.02.1954</c:v>
                </c:pt>
                <c:pt idx="17872">
                  <c:v>16.02.1954</c:v>
                </c:pt>
                <c:pt idx="17873">
                  <c:v>15.02.1954</c:v>
                </c:pt>
                <c:pt idx="17874">
                  <c:v>12.02.1954</c:v>
                </c:pt>
                <c:pt idx="17875">
                  <c:v>11.02.1954</c:v>
                </c:pt>
                <c:pt idx="17876">
                  <c:v>10.02.1954</c:v>
                </c:pt>
                <c:pt idx="17877">
                  <c:v>09.02.1954</c:v>
                </c:pt>
                <c:pt idx="17878">
                  <c:v>08.02.1954</c:v>
                </c:pt>
                <c:pt idx="17879">
                  <c:v>05.02.1954</c:v>
                </c:pt>
                <c:pt idx="17880">
                  <c:v>04.02.1954</c:v>
                </c:pt>
                <c:pt idx="17881">
                  <c:v>03.02.1954</c:v>
                </c:pt>
                <c:pt idx="17882">
                  <c:v>02.02.1954</c:v>
                </c:pt>
                <c:pt idx="17883">
                  <c:v>01.02.1954</c:v>
                </c:pt>
                <c:pt idx="17884">
                  <c:v>29.01.1954</c:v>
                </c:pt>
                <c:pt idx="17885">
                  <c:v>28.01.1954</c:v>
                </c:pt>
                <c:pt idx="17886">
                  <c:v>27.01.1954</c:v>
                </c:pt>
                <c:pt idx="17887">
                  <c:v>26.01.1954</c:v>
                </c:pt>
                <c:pt idx="17888">
                  <c:v>25.01.1954</c:v>
                </c:pt>
                <c:pt idx="17889">
                  <c:v>22.01.1954</c:v>
                </c:pt>
                <c:pt idx="17890">
                  <c:v>21.01.1954</c:v>
                </c:pt>
                <c:pt idx="17891">
                  <c:v>20.01.1954</c:v>
                </c:pt>
                <c:pt idx="17892">
                  <c:v>19.01.1954</c:v>
                </c:pt>
                <c:pt idx="17893">
                  <c:v>18.01.1954</c:v>
                </c:pt>
                <c:pt idx="17894">
                  <c:v>15.01.1954</c:v>
                </c:pt>
                <c:pt idx="17895">
                  <c:v>14.01.1954</c:v>
                </c:pt>
                <c:pt idx="17896">
                  <c:v>13.01.1954</c:v>
                </c:pt>
                <c:pt idx="17897">
                  <c:v>12.01.1954</c:v>
                </c:pt>
                <c:pt idx="17898">
                  <c:v>11.01.1954</c:v>
                </c:pt>
                <c:pt idx="17899">
                  <c:v>08.01.1954</c:v>
                </c:pt>
                <c:pt idx="17900">
                  <c:v>07.01.1954</c:v>
                </c:pt>
                <c:pt idx="17901">
                  <c:v>06.01.1954</c:v>
                </c:pt>
                <c:pt idx="17902">
                  <c:v>05.01.1954</c:v>
                </c:pt>
                <c:pt idx="17903">
                  <c:v>04.01.1954</c:v>
                </c:pt>
                <c:pt idx="17904">
                  <c:v>01.01.1954</c:v>
                </c:pt>
                <c:pt idx="17905">
                  <c:v>31.12.1953</c:v>
                </c:pt>
                <c:pt idx="17906">
                  <c:v>30.12.1953</c:v>
                </c:pt>
                <c:pt idx="17907">
                  <c:v>29.12.1953</c:v>
                </c:pt>
                <c:pt idx="17908">
                  <c:v>28.12.1953</c:v>
                </c:pt>
                <c:pt idx="17909">
                  <c:v>25.12.1953</c:v>
                </c:pt>
                <c:pt idx="17910">
                  <c:v>24.12.1953</c:v>
                </c:pt>
                <c:pt idx="17911">
                  <c:v>23.12.1953</c:v>
                </c:pt>
                <c:pt idx="17912">
                  <c:v>22.12.1953</c:v>
                </c:pt>
                <c:pt idx="17913">
                  <c:v>21.12.1953</c:v>
                </c:pt>
                <c:pt idx="17914">
                  <c:v>18.12.1953</c:v>
                </c:pt>
                <c:pt idx="17915">
                  <c:v>17.12.1953</c:v>
                </c:pt>
                <c:pt idx="17916">
                  <c:v>16.12.1953</c:v>
                </c:pt>
                <c:pt idx="17917">
                  <c:v>15.12.1953</c:v>
                </c:pt>
                <c:pt idx="17918">
                  <c:v>14.12.1953</c:v>
                </c:pt>
                <c:pt idx="17919">
                  <c:v>11.12.1953</c:v>
                </c:pt>
                <c:pt idx="17920">
                  <c:v>10.12.1953</c:v>
                </c:pt>
                <c:pt idx="17921">
                  <c:v>09.12.1953</c:v>
                </c:pt>
                <c:pt idx="17922">
                  <c:v>08.12.1953</c:v>
                </c:pt>
                <c:pt idx="17923">
                  <c:v>07.12.1953</c:v>
                </c:pt>
                <c:pt idx="17924">
                  <c:v>04.12.1953</c:v>
                </c:pt>
                <c:pt idx="17925">
                  <c:v>03.12.1953</c:v>
                </c:pt>
                <c:pt idx="17926">
                  <c:v>02.12.1953</c:v>
                </c:pt>
                <c:pt idx="17927">
                  <c:v>01.12.1953</c:v>
                </c:pt>
                <c:pt idx="17928">
                  <c:v>30.11.1953</c:v>
                </c:pt>
                <c:pt idx="17929">
                  <c:v>27.11.1953</c:v>
                </c:pt>
                <c:pt idx="17930">
                  <c:v>26.11.1953</c:v>
                </c:pt>
                <c:pt idx="17931">
                  <c:v>25.11.1953</c:v>
                </c:pt>
                <c:pt idx="17932">
                  <c:v>24.11.1953</c:v>
                </c:pt>
                <c:pt idx="17933">
                  <c:v>23.11.1953</c:v>
                </c:pt>
                <c:pt idx="17934">
                  <c:v>20.11.1953</c:v>
                </c:pt>
                <c:pt idx="17935">
                  <c:v>19.11.1953</c:v>
                </c:pt>
                <c:pt idx="17936">
                  <c:v>18.11.1953</c:v>
                </c:pt>
                <c:pt idx="17937">
                  <c:v>17.11.1953</c:v>
                </c:pt>
                <c:pt idx="17938">
                  <c:v>16.11.1953</c:v>
                </c:pt>
                <c:pt idx="17939">
                  <c:v>13.11.1953</c:v>
                </c:pt>
                <c:pt idx="17940">
                  <c:v>12.11.1953</c:v>
                </c:pt>
                <c:pt idx="17941">
                  <c:v>11.11.1953</c:v>
                </c:pt>
                <c:pt idx="17942">
                  <c:v>10.11.1953</c:v>
                </c:pt>
                <c:pt idx="17943">
                  <c:v>09.11.1953</c:v>
                </c:pt>
                <c:pt idx="17944">
                  <c:v>06.11.1953</c:v>
                </c:pt>
                <c:pt idx="17945">
                  <c:v>05.11.1953</c:v>
                </c:pt>
                <c:pt idx="17946">
                  <c:v>04.11.1953</c:v>
                </c:pt>
                <c:pt idx="17947">
                  <c:v>03.11.1953</c:v>
                </c:pt>
                <c:pt idx="17948">
                  <c:v>02.11.1953</c:v>
                </c:pt>
                <c:pt idx="17949">
                  <c:v>30.10.1953</c:v>
                </c:pt>
                <c:pt idx="17950">
                  <c:v>29.10.1953</c:v>
                </c:pt>
                <c:pt idx="17951">
                  <c:v>28.10.1953</c:v>
                </c:pt>
                <c:pt idx="17952">
                  <c:v>27.10.1953</c:v>
                </c:pt>
                <c:pt idx="17953">
                  <c:v>26.10.1953</c:v>
                </c:pt>
                <c:pt idx="17954">
                  <c:v>23.10.1953</c:v>
                </c:pt>
                <c:pt idx="17955">
                  <c:v>22.10.1953</c:v>
                </c:pt>
                <c:pt idx="17956">
                  <c:v>21.10.1953</c:v>
                </c:pt>
                <c:pt idx="17957">
                  <c:v>20.10.1953</c:v>
                </c:pt>
                <c:pt idx="17958">
                  <c:v>19.10.1953</c:v>
                </c:pt>
                <c:pt idx="17959">
                  <c:v>16.10.1953</c:v>
                </c:pt>
                <c:pt idx="17960">
                  <c:v>15.10.1953</c:v>
                </c:pt>
                <c:pt idx="17961">
                  <c:v>14.10.1953</c:v>
                </c:pt>
                <c:pt idx="17962">
                  <c:v>13.10.1953</c:v>
                </c:pt>
                <c:pt idx="17963">
                  <c:v>12.10.1953</c:v>
                </c:pt>
                <c:pt idx="17964">
                  <c:v>09.10.1953</c:v>
                </c:pt>
                <c:pt idx="17965">
                  <c:v>08.10.1953</c:v>
                </c:pt>
                <c:pt idx="17966">
                  <c:v>07.10.1953</c:v>
                </c:pt>
                <c:pt idx="17967">
                  <c:v>06.10.1953</c:v>
                </c:pt>
                <c:pt idx="17968">
                  <c:v>05.10.1953</c:v>
                </c:pt>
                <c:pt idx="17969">
                  <c:v>02.10.1953</c:v>
                </c:pt>
                <c:pt idx="17970">
                  <c:v>01.10.1953</c:v>
                </c:pt>
                <c:pt idx="17971">
                  <c:v>30.09.1953</c:v>
                </c:pt>
                <c:pt idx="17972">
                  <c:v>29.09.1953</c:v>
                </c:pt>
                <c:pt idx="17973">
                  <c:v>28.09.1953</c:v>
                </c:pt>
                <c:pt idx="17974">
                  <c:v>25.09.1953</c:v>
                </c:pt>
                <c:pt idx="17975">
                  <c:v>24.09.1953</c:v>
                </c:pt>
                <c:pt idx="17976">
                  <c:v>23.09.1953</c:v>
                </c:pt>
                <c:pt idx="17977">
                  <c:v>22.09.1953</c:v>
                </c:pt>
                <c:pt idx="17978">
                  <c:v>21.09.1953</c:v>
                </c:pt>
                <c:pt idx="17979">
                  <c:v>18.09.1953</c:v>
                </c:pt>
                <c:pt idx="17980">
                  <c:v>17.09.1953</c:v>
                </c:pt>
                <c:pt idx="17981">
                  <c:v>16.09.1953</c:v>
                </c:pt>
                <c:pt idx="17982">
                  <c:v>15.09.1953</c:v>
                </c:pt>
                <c:pt idx="17983">
                  <c:v>14.09.1953</c:v>
                </c:pt>
                <c:pt idx="17984">
                  <c:v>11.09.1953</c:v>
                </c:pt>
                <c:pt idx="17985">
                  <c:v>10.09.1953</c:v>
                </c:pt>
                <c:pt idx="17986">
                  <c:v>09.09.1953</c:v>
                </c:pt>
                <c:pt idx="17987">
                  <c:v>08.09.1953</c:v>
                </c:pt>
                <c:pt idx="17988">
                  <c:v>07.09.1953</c:v>
                </c:pt>
                <c:pt idx="17989">
                  <c:v>04.09.1953</c:v>
                </c:pt>
                <c:pt idx="17990">
                  <c:v>03.09.1953</c:v>
                </c:pt>
                <c:pt idx="17991">
                  <c:v>02.09.1953</c:v>
                </c:pt>
                <c:pt idx="17992">
                  <c:v>01.09.1953</c:v>
                </c:pt>
                <c:pt idx="17993">
                  <c:v>31.08.1953</c:v>
                </c:pt>
                <c:pt idx="17994">
                  <c:v>28.08.1953</c:v>
                </c:pt>
                <c:pt idx="17995">
                  <c:v>27.08.1953</c:v>
                </c:pt>
                <c:pt idx="17996">
                  <c:v>26.08.1953</c:v>
                </c:pt>
                <c:pt idx="17997">
                  <c:v>25.08.1953</c:v>
                </c:pt>
                <c:pt idx="17998">
                  <c:v>24.08.1953</c:v>
                </c:pt>
                <c:pt idx="17999">
                  <c:v>21.08.1953</c:v>
                </c:pt>
                <c:pt idx="18000">
                  <c:v>20.08.1953</c:v>
                </c:pt>
                <c:pt idx="18001">
                  <c:v>19.08.1953</c:v>
                </c:pt>
                <c:pt idx="18002">
                  <c:v>18.08.1953</c:v>
                </c:pt>
                <c:pt idx="18003">
                  <c:v>17.08.1953</c:v>
                </c:pt>
                <c:pt idx="18004">
                  <c:v>14.08.1953</c:v>
                </c:pt>
                <c:pt idx="18005">
                  <c:v>13.08.1953</c:v>
                </c:pt>
                <c:pt idx="18006">
                  <c:v>12.08.1953</c:v>
                </c:pt>
                <c:pt idx="18007">
                  <c:v>11.08.1953</c:v>
                </c:pt>
                <c:pt idx="18008">
                  <c:v>10.08.1953</c:v>
                </c:pt>
                <c:pt idx="18009">
                  <c:v>07.08.1953</c:v>
                </c:pt>
                <c:pt idx="18010">
                  <c:v>06.08.1953</c:v>
                </c:pt>
                <c:pt idx="18011">
                  <c:v>05.08.1953</c:v>
                </c:pt>
                <c:pt idx="18012">
                  <c:v>04.08.1953</c:v>
                </c:pt>
                <c:pt idx="18013">
                  <c:v>03.08.1953</c:v>
                </c:pt>
                <c:pt idx="18014">
                  <c:v>31.07.1953</c:v>
                </c:pt>
                <c:pt idx="18015">
                  <c:v>30.07.1953</c:v>
                </c:pt>
                <c:pt idx="18016">
                  <c:v>29.07.1953</c:v>
                </c:pt>
                <c:pt idx="18017">
                  <c:v>28.07.1953</c:v>
                </c:pt>
                <c:pt idx="18018">
                  <c:v>27.07.1953</c:v>
                </c:pt>
                <c:pt idx="18019">
                  <c:v>24.07.1953</c:v>
                </c:pt>
                <c:pt idx="18020">
                  <c:v>23.07.1953</c:v>
                </c:pt>
                <c:pt idx="18021">
                  <c:v>22.07.1953</c:v>
                </c:pt>
                <c:pt idx="18022">
                  <c:v>21.07.1953</c:v>
                </c:pt>
                <c:pt idx="18023">
                  <c:v>20.07.1953</c:v>
                </c:pt>
                <c:pt idx="18024">
                  <c:v>17.07.1953</c:v>
                </c:pt>
                <c:pt idx="18025">
                  <c:v>16.07.1953</c:v>
                </c:pt>
                <c:pt idx="18026">
                  <c:v>15.07.1953</c:v>
                </c:pt>
                <c:pt idx="18027">
                  <c:v>14.07.1953</c:v>
                </c:pt>
                <c:pt idx="18028">
                  <c:v>13.07.1953</c:v>
                </c:pt>
                <c:pt idx="18029">
                  <c:v>10.07.1953</c:v>
                </c:pt>
                <c:pt idx="18030">
                  <c:v>09.07.1953</c:v>
                </c:pt>
                <c:pt idx="18031">
                  <c:v>08.07.1953</c:v>
                </c:pt>
                <c:pt idx="18032">
                  <c:v>07.07.1953</c:v>
                </c:pt>
                <c:pt idx="18033">
                  <c:v>06.07.1953</c:v>
                </c:pt>
                <c:pt idx="18034">
                  <c:v>03.07.1953</c:v>
                </c:pt>
                <c:pt idx="18035">
                  <c:v>02.07.1953</c:v>
                </c:pt>
                <c:pt idx="18036">
                  <c:v>01.07.1953</c:v>
                </c:pt>
                <c:pt idx="18037">
                  <c:v>30.06.1953</c:v>
                </c:pt>
                <c:pt idx="18038">
                  <c:v>29.06.1953</c:v>
                </c:pt>
                <c:pt idx="18039">
                  <c:v>26.06.1953</c:v>
                </c:pt>
                <c:pt idx="18040">
                  <c:v>25.06.1953</c:v>
                </c:pt>
                <c:pt idx="18041">
                  <c:v>24.06.1953</c:v>
                </c:pt>
                <c:pt idx="18042">
                  <c:v>23.06.1953</c:v>
                </c:pt>
                <c:pt idx="18043">
                  <c:v>22.06.1953</c:v>
                </c:pt>
                <c:pt idx="18044">
                  <c:v>19.06.1953</c:v>
                </c:pt>
                <c:pt idx="18045">
                  <c:v>18.06.1953</c:v>
                </c:pt>
                <c:pt idx="18046">
                  <c:v>17.06.1953</c:v>
                </c:pt>
                <c:pt idx="18047">
                  <c:v>16.06.1953</c:v>
                </c:pt>
                <c:pt idx="18048">
                  <c:v>15.06.1953</c:v>
                </c:pt>
                <c:pt idx="18049">
                  <c:v>12.06.1953</c:v>
                </c:pt>
                <c:pt idx="18050">
                  <c:v>11.06.1953</c:v>
                </c:pt>
                <c:pt idx="18051">
                  <c:v>10.06.1953</c:v>
                </c:pt>
                <c:pt idx="18052">
                  <c:v>09.06.1953</c:v>
                </c:pt>
                <c:pt idx="18053">
                  <c:v>08.06.1953</c:v>
                </c:pt>
                <c:pt idx="18054">
                  <c:v>05.06.1953</c:v>
                </c:pt>
                <c:pt idx="18055">
                  <c:v>04.06.1953</c:v>
                </c:pt>
                <c:pt idx="18056">
                  <c:v>03.06.1953</c:v>
                </c:pt>
                <c:pt idx="18057">
                  <c:v>02.06.1953</c:v>
                </c:pt>
                <c:pt idx="18058">
                  <c:v>01.06.1953</c:v>
                </c:pt>
                <c:pt idx="18059">
                  <c:v>29.05.1953</c:v>
                </c:pt>
                <c:pt idx="18060">
                  <c:v>28.05.1953</c:v>
                </c:pt>
                <c:pt idx="18061">
                  <c:v>27.05.1953</c:v>
                </c:pt>
                <c:pt idx="18062">
                  <c:v>26.05.1953</c:v>
                </c:pt>
                <c:pt idx="18063">
                  <c:v>25.05.1953</c:v>
                </c:pt>
                <c:pt idx="18064">
                  <c:v>22.05.1953</c:v>
                </c:pt>
                <c:pt idx="18065">
                  <c:v>21.05.1953</c:v>
                </c:pt>
                <c:pt idx="18066">
                  <c:v>20.05.1953</c:v>
                </c:pt>
                <c:pt idx="18067">
                  <c:v>19.05.1953</c:v>
                </c:pt>
                <c:pt idx="18068">
                  <c:v>18.05.1953</c:v>
                </c:pt>
                <c:pt idx="18069">
                  <c:v>15.05.1953</c:v>
                </c:pt>
                <c:pt idx="18070">
                  <c:v>14.05.1953</c:v>
                </c:pt>
                <c:pt idx="18071">
                  <c:v>13.05.1953</c:v>
                </c:pt>
                <c:pt idx="18072">
                  <c:v>12.05.1953</c:v>
                </c:pt>
                <c:pt idx="18073">
                  <c:v>11.05.1953</c:v>
                </c:pt>
                <c:pt idx="18074">
                  <c:v>08.05.1953</c:v>
                </c:pt>
                <c:pt idx="18075">
                  <c:v>07.05.1953</c:v>
                </c:pt>
                <c:pt idx="18076">
                  <c:v>06.05.1953</c:v>
                </c:pt>
                <c:pt idx="18077">
                  <c:v>05.05.1953</c:v>
                </c:pt>
                <c:pt idx="18078">
                  <c:v>04.05.1953</c:v>
                </c:pt>
                <c:pt idx="18079">
                  <c:v>01.05.1953</c:v>
                </c:pt>
                <c:pt idx="18080">
                  <c:v>30.04.1953</c:v>
                </c:pt>
                <c:pt idx="18081">
                  <c:v>29.04.1953</c:v>
                </c:pt>
                <c:pt idx="18082">
                  <c:v>28.04.1953</c:v>
                </c:pt>
                <c:pt idx="18083">
                  <c:v>27.04.1953</c:v>
                </c:pt>
                <c:pt idx="18084">
                  <c:v>24.04.1953</c:v>
                </c:pt>
                <c:pt idx="18085">
                  <c:v>23.04.1953</c:v>
                </c:pt>
                <c:pt idx="18086">
                  <c:v>22.04.1953</c:v>
                </c:pt>
                <c:pt idx="18087">
                  <c:v>21.04.1953</c:v>
                </c:pt>
                <c:pt idx="18088">
                  <c:v>20.04.1953</c:v>
                </c:pt>
                <c:pt idx="18089">
                  <c:v>17.04.1953</c:v>
                </c:pt>
                <c:pt idx="18090">
                  <c:v>16.04.1953</c:v>
                </c:pt>
                <c:pt idx="18091">
                  <c:v>15.04.1953</c:v>
                </c:pt>
                <c:pt idx="18092">
                  <c:v>14.04.1953</c:v>
                </c:pt>
                <c:pt idx="18093">
                  <c:v>13.04.1953</c:v>
                </c:pt>
                <c:pt idx="18094">
                  <c:v>10.04.1953</c:v>
                </c:pt>
                <c:pt idx="18095">
                  <c:v>09.04.1953</c:v>
                </c:pt>
                <c:pt idx="18096">
                  <c:v>08.04.1953</c:v>
                </c:pt>
                <c:pt idx="18097">
                  <c:v>07.04.1953</c:v>
                </c:pt>
                <c:pt idx="18098">
                  <c:v>06.04.1953</c:v>
                </c:pt>
                <c:pt idx="18099">
                  <c:v>03.04.1953</c:v>
                </c:pt>
                <c:pt idx="18100">
                  <c:v>02.04.1953</c:v>
                </c:pt>
                <c:pt idx="18101">
                  <c:v>01.04.1953</c:v>
                </c:pt>
                <c:pt idx="18102">
                  <c:v>31.03.1953</c:v>
                </c:pt>
                <c:pt idx="18103">
                  <c:v>30.03.1953</c:v>
                </c:pt>
                <c:pt idx="18104">
                  <c:v>27.03.1953</c:v>
                </c:pt>
                <c:pt idx="18105">
                  <c:v>26.03.1953</c:v>
                </c:pt>
                <c:pt idx="18106">
                  <c:v>25.03.1953</c:v>
                </c:pt>
                <c:pt idx="18107">
                  <c:v>24.03.1953</c:v>
                </c:pt>
                <c:pt idx="18108">
                  <c:v>23.03.1953</c:v>
                </c:pt>
                <c:pt idx="18109">
                  <c:v>20.03.1953</c:v>
                </c:pt>
                <c:pt idx="18110">
                  <c:v>19.03.1953</c:v>
                </c:pt>
                <c:pt idx="18111">
                  <c:v>18.03.1953</c:v>
                </c:pt>
                <c:pt idx="18112">
                  <c:v>17.03.1953</c:v>
                </c:pt>
                <c:pt idx="18113">
                  <c:v>16.03.1953</c:v>
                </c:pt>
                <c:pt idx="18114">
                  <c:v>13.03.1953</c:v>
                </c:pt>
                <c:pt idx="18115">
                  <c:v>12.03.1953</c:v>
                </c:pt>
                <c:pt idx="18116">
                  <c:v>11.03.1953</c:v>
                </c:pt>
                <c:pt idx="18117">
                  <c:v>10.03.1953</c:v>
                </c:pt>
                <c:pt idx="18118">
                  <c:v>09.03.1953</c:v>
                </c:pt>
                <c:pt idx="18119">
                  <c:v>06.03.1953</c:v>
                </c:pt>
                <c:pt idx="18120">
                  <c:v>05.03.1953</c:v>
                </c:pt>
                <c:pt idx="18121">
                  <c:v>04.03.1953</c:v>
                </c:pt>
                <c:pt idx="18122">
                  <c:v>03.03.1953</c:v>
                </c:pt>
                <c:pt idx="18123">
                  <c:v>02.03.1953</c:v>
                </c:pt>
                <c:pt idx="18124">
                  <c:v>27.02.1953</c:v>
                </c:pt>
                <c:pt idx="18125">
                  <c:v>26.02.1953</c:v>
                </c:pt>
                <c:pt idx="18126">
                  <c:v>25.02.1953</c:v>
                </c:pt>
                <c:pt idx="18127">
                  <c:v>24.02.1953</c:v>
                </c:pt>
                <c:pt idx="18128">
                  <c:v>23.02.1953</c:v>
                </c:pt>
                <c:pt idx="18129">
                  <c:v>20.02.1953</c:v>
                </c:pt>
                <c:pt idx="18130">
                  <c:v>19.02.1953</c:v>
                </c:pt>
                <c:pt idx="18131">
                  <c:v>18.02.1953</c:v>
                </c:pt>
                <c:pt idx="18132">
                  <c:v>17.02.1953</c:v>
                </c:pt>
                <c:pt idx="18133">
                  <c:v>16.02.1953</c:v>
                </c:pt>
                <c:pt idx="18134">
                  <c:v>13.02.1953</c:v>
                </c:pt>
                <c:pt idx="18135">
                  <c:v>12.02.1953</c:v>
                </c:pt>
                <c:pt idx="18136">
                  <c:v>11.02.1953</c:v>
                </c:pt>
                <c:pt idx="18137">
                  <c:v>10.02.1953</c:v>
                </c:pt>
                <c:pt idx="18138">
                  <c:v>09.02.1953</c:v>
                </c:pt>
                <c:pt idx="18139">
                  <c:v>06.02.1953</c:v>
                </c:pt>
                <c:pt idx="18140">
                  <c:v>05.02.1953</c:v>
                </c:pt>
                <c:pt idx="18141">
                  <c:v>04.02.1953</c:v>
                </c:pt>
                <c:pt idx="18142">
                  <c:v>03.02.1953</c:v>
                </c:pt>
                <c:pt idx="18143">
                  <c:v>02.02.1953</c:v>
                </c:pt>
                <c:pt idx="18144">
                  <c:v>30.01.1953</c:v>
                </c:pt>
                <c:pt idx="18145">
                  <c:v>29.01.1953</c:v>
                </c:pt>
                <c:pt idx="18146">
                  <c:v>28.01.1953</c:v>
                </c:pt>
                <c:pt idx="18147">
                  <c:v>27.01.1953</c:v>
                </c:pt>
                <c:pt idx="18148">
                  <c:v>26.01.1953</c:v>
                </c:pt>
                <c:pt idx="18149">
                  <c:v>23.01.1953</c:v>
                </c:pt>
                <c:pt idx="18150">
                  <c:v>22.01.1953</c:v>
                </c:pt>
                <c:pt idx="18151">
                  <c:v>21.01.1953</c:v>
                </c:pt>
                <c:pt idx="18152">
                  <c:v>20.01.1953</c:v>
                </c:pt>
                <c:pt idx="18153">
                  <c:v>19.01.1953</c:v>
                </c:pt>
                <c:pt idx="18154">
                  <c:v>16.01.1953</c:v>
                </c:pt>
                <c:pt idx="18155">
                  <c:v>15.01.1953</c:v>
                </c:pt>
                <c:pt idx="18156">
                  <c:v>14.01.1953</c:v>
                </c:pt>
                <c:pt idx="18157">
                  <c:v>13.01.1953</c:v>
                </c:pt>
                <c:pt idx="18158">
                  <c:v>12.01.1953</c:v>
                </c:pt>
                <c:pt idx="18159">
                  <c:v>09.01.1953</c:v>
                </c:pt>
                <c:pt idx="18160">
                  <c:v>08.01.1953</c:v>
                </c:pt>
                <c:pt idx="18161">
                  <c:v>07.01.1953</c:v>
                </c:pt>
                <c:pt idx="18162">
                  <c:v>06.01.1953</c:v>
                </c:pt>
                <c:pt idx="18163">
                  <c:v>05.01.1953</c:v>
                </c:pt>
                <c:pt idx="18164">
                  <c:v>02.01.1953</c:v>
                </c:pt>
                <c:pt idx="18165">
                  <c:v>01.01.1953</c:v>
                </c:pt>
                <c:pt idx="18166">
                  <c:v>31.12.1952</c:v>
                </c:pt>
                <c:pt idx="18167">
                  <c:v>30.12.1952</c:v>
                </c:pt>
                <c:pt idx="18168">
                  <c:v>29.12.1952</c:v>
                </c:pt>
                <c:pt idx="18169">
                  <c:v>26.12.1952</c:v>
                </c:pt>
                <c:pt idx="18170">
                  <c:v>25.12.1952</c:v>
                </c:pt>
                <c:pt idx="18171">
                  <c:v>24.12.1952</c:v>
                </c:pt>
                <c:pt idx="18172">
                  <c:v>23.12.1952</c:v>
                </c:pt>
                <c:pt idx="18173">
                  <c:v>22.12.1952</c:v>
                </c:pt>
                <c:pt idx="18174">
                  <c:v>19.12.1952</c:v>
                </c:pt>
                <c:pt idx="18175">
                  <c:v>18.12.1952</c:v>
                </c:pt>
                <c:pt idx="18176">
                  <c:v>17.12.1952</c:v>
                </c:pt>
                <c:pt idx="18177">
                  <c:v>16.12.1952</c:v>
                </c:pt>
                <c:pt idx="18178">
                  <c:v>15.12.1952</c:v>
                </c:pt>
                <c:pt idx="18179">
                  <c:v>12.12.1952</c:v>
                </c:pt>
                <c:pt idx="18180">
                  <c:v>11.12.1952</c:v>
                </c:pt>
                <c:pt idx="18181">
                  <c:v>10.12.1952</c:v>
                </c:pt>
                <c:pt idx="18182">
                  <c:v>09.12.1952</c:v>
                </c:pt>
                <c:pt idx="18183">
                  <c:v>08.12.1952</c:v>
                </c:pt>
                <c:pt idx="18184">
                  <c:v>05.12.1952</c:v>
                </c:pt>
                <c:pt idx="18185">
                  <c:v>04.12.1952</c:v>
                </c:pt>
                <c:pt idx="18186">
                  <c:v>03.12.1952</c:v>
                </c:pt>
                <c:pt idx="18187">
                  <c:v>02.12.1952</c:v>
                </c:pt>
                <c:pt idx="18188">
                  <c:v>01.12.1952</c:v>
                </c:pt>
                <c:pt idx="18189">
                  <c:v>28.11.1952</c:v>
                </c:pt>
                <c:pt idx="18190">
                  <c:v>27.11.1952</c:v>
                </c:pt>
                <c:pt idx="18191">
                  <c:v>26.11.1952</c:v>
                </c:pt>
                <c:pt idx="18192">
                  <c:v>25.11.1952</c:v>
                </c:pt>
                <c:pt idx="18193">
                  <c:v>24.11.1952</c:v>
                </c:pt>
                <c:pt idx="18194">
                  <c:v>21.11.1952</c:v>
                </c:pt>
                <c:pt idx="18195">
                  <c:v>20.11.1952</c:v>
                </c:pt>
                <c:pt idx="18196">
                  <c:v>19.11.1952</c:v>
                </c:pt>
                <c:pt idx="18197">
                  <c:v>18.11.1952</c:v>
                </c:pt>
                <c:pt idx="18198">
                  <c:v>17.11.1952</c:v>
                </c:pt>
                <c:pt idx="18199">
                  <c:v>14.11.1952</c:v>
                </c:pt>
                <c:pt idx="18200">
                  <c:v>13.11.1952</c:v>
                </c:pt>
                <c:pt idx="18201">
                  <c:v>12.11.1952</c:v>
                </c:pt>
                <c:pt idx="18202">
                  <c:v>11.11.1952</c:v>
                </c:pt>
                <c:pt idx="18203">
                  <c:v>10.11.1952</c:v>
                </c:pt>
                <c:pt idx="18204">
                  <c:v>07.11.1952</c:v>
                </c:pt>
                <c:pt idx="18205">
                  <c:v>06.11.1952</c:v>
                </c:pt>
                <c:pt idx="18206">
                  <c:v>05.11.1952</c:v>
                </c:pt>
                <c:pt idx="18207">
                  <c:v>04.11.1952</c:v>
                </c:pt>
                <c:pt idx="18208">
                  <c:v>03.11.1952</c:v>
                </c:pt>
                <c:pt idx="18209">
                  <c:v>31.10.1952</c:v>
                </c:pt>
                <c:pt idx="18210">
                  <c:v>30.10.1952</c:v>
                </c:pt>
                <c:pt idx="18211">
                  <c:v>29.10.1952</c:v>
                </c:pt>
                <c:pt idx="18212">
                  <c:v>28.10.1952</c:v>
                </c:pt>
                <c:pt idx="18213">
                  <c:v>27.10.1952</c:v>
                </c:pt>
                <c:pt idx="18214">
                  <c:v>24.10.1952</c:v>
                </c:pt>
                <c:pt idx="18215">
                  <c:v>23.10.1952</c:v>
                </c:pt>
                <c:pt idx="18216">
                  <c:v>22.10.1952</c:v>
                </c:pt>
                <c:pt idx="18217">
                  <c:v>21.10.1952</c:v>
                </c:pt>
                <c:pt idx="18218">
                  <c:v>20.10.1952</c:v>
                </c:pt>
                <c:pt idx="18219">
                  <c:v>17.10.1952</c:v>
                </c:pt>
                <c:pt idx="18220">
                  <c:v>16.10.1952</c:v>
                </c:pt>
                <c:pt idx="18221">
                  <c:v>15.10.1952</c:v>
                </c:pt>
                <c:pt idx="18222">
                  <c:v>14.10.1952</c:v>
                </c:pt>
                <c:pt idx="18223">
                  <c:v>13.10.1952</c:v>
                </c:pt>
                <c:pt idx="18224">
                  <c:v>10.10.1952</c:v>
                </c:pt>
                <c:pt idx="18225">
                  <c:v>09.10.1952</c:v>
                </c:pt>
                <c:pt idx="18226">
                  <c:v>08.10.1952</c:v>
                </c:pt>
                <c:pt idx="18227">
                  <c:v>07.10.1952</c:v>
                </c:pt>
                <c:pt idx="18228">
                  <c:v>06.10.1952</c:v>
                </c:pt>
                <c:pt idx="18229">
                  <c:v>03.10.1952</c:v>
                </c:pt>
                <c:pt idx="18230">
                  <c:v>02.10.1952</c:v>
                </c:pt>
                <c:pt idx="18231">
                  <c:v>01.10.1952</c:v>
                </c:pt>
                <c:pt idx="18232">
                  <c:v>30.09.1952</c:v>
                </c:pt>
                <c:pt idx="18233">
                  <c:v>29.09.1952</c:v>
                </c:pt>
                <c:pt idx="18234">
                  <c:v>26.09.1952</c:v>
                </c:pt>
                <c:pt idx="18235">
                  <c:v>25.09.1952</c:v>
                </c:pt>
                <c:pt idx="18236">
                  <c:v>24.09.1952</c:v>
                </c:pt>
                <c:pt idx="18237">
                  <c:v>23.09.1952</c:v>
                </c:pt>
                <c:pt idx="18238">
                  <c:v>22.09.1952</c:v>
                </c:pt>
                <c:pt idx="18239">
                  <c:v>19.09.1952</c:v>
                </c:pt>
                <c:pt idx="18240">
                  <c:v>18.09.1952</c:v>
                </c:pt>
                <c:pt idx="18241">
                  <c:v>17.09.1952</c:v>
                </c:pt>
                <c:pt idx="18242">
                  <c:v>16.09.1952</c:v>
                </c:pt>
                <c:pt idx="18243">
                  <c:v>15.09.1952</c:v>
                </c:pt>
                <c:pt idx="18244">
                  <c:v>12.09.1952</c:v>
                </c:pt>
                <c:pt idx="18245">
                  <c:v>11.09.1952</c:v>
                </c:pt>
                <c:pt idx="18246">
                  <c:v>10.09.1952</c:v>
                </c:pt>
                <c:pt idx="18247">
                  <c:v>09.09.1952</c:v>
                </c:pt>
                <c:pt idx="18248">
                  <c:v>08.09.1952</c:v>
                </c:pt>
                <c:pt idx="18249">
                  <c:v>05.09.1952</c:v>
                </c:pt>
                <c:pt idx="18250">
                  <c:v>04.09.1952</c:v>
                </c:pt>
                <c:pt idx="18251">
                  <c:v>03.09.1952</c:v>
                </c:pt>
                <c:pt idx="18252">
                  <c:v>02.09.1952</c:v>
                </c:pt>
                <c:pt idx="18253">
                  <c:v>01.09.1952</c:v>
                </c:pt>
                <c:pt idx="18254">
                  <c:v>29.08.1952</c:v>
                </c:pt>
                <c:pt idx="18255">
                  <c:v>28.08.1952</c:v>
                </c:pt>
                <c:pt idx="18256">
                  <c:v>27.08.1952</c:v>
                </c:pt>
                <c:pt idx="18257">
                  <c:v>26.08.1952</c:v>
                </c:pt>
                <c:pt idx="18258">
                  <c:v>25.08.1952</c:v>
                </c:pt>
                <c:pt idx="18259">
                  <c:v>22.08.1952</c:v>
                </c:pt>
                <c:pt idx="18260">
                  <c:v>21.08.1952</c:v>
                </c:pt>
                <c:pt idx="18261">
                  <c:v>20.08.1952</c:v>
                </c:pt>
                <c:pt idx="18262">
                  <c:v>19.08.1952</c:v>
                </c:pt>
                <c:pt idx="18263">
                  <c:v>18.08.1952</c:v>
                </c:pt>
                <c:pt idx="18264">
                  <c:v>15.08.1952</c:v>
                </c:pt>
                <c:pt idx="18265">
                  <c:v>14.08.1952</c:v>
                </c:pt>
                <c:pt idx="18266">
                  <c:v>13.08.1952</c:v>
                </c:pt>
                <c:pt idx="18267">
                  <c:v>12.08.1952</c:v>
                </c:pt>
                <c:pt idx="18268">
                  <c:v>11.08.1952</c:v>
                </c:pt>
                <c:pt idx="18269">
                  <c:v>08.08.1952</c:v>
                </c:pt>
                <c:pt idx="18270">
                  <c:v>07.08.1952</c:v>
                </c:pt>
                <c:pt idx="18271">
                  <c:v>06.08.1952</c:v>
                </c:pt>
                <c:pt idx="18272">
                  <c:v>05.08.1952</c:v>
                </c:pt>
                <c:pt idx="18273">
                  <c:v>04.08.1952</c:v>
                </c:pt>
                <c:pt idx="18274">
                  <c:v>01.08.1952</c:v>
                </c:pt>
                <c:pt idx="18275">
                  <c:v>31.07.1952</c:v>
                </c:pt>
                <c:pt idx="18276">
                  <c:v>30.07.1952</c:v>
                </c:pt>
                <c:pt idx="18277">
                  <c:v>29.07.1952</c:v>
                </c:pt>
                <c:pt idx="18278">
                  <c:v>28.07.1952</c:v>
                </c:pt>
                <c:pt idx="18279">
                  <c:v>25.07.1952</c:v>
                </c:pt>
                <c:pt idx="18280">
                  <c:v>24.07.1952</c:v>
                </c:pt>
                <c:pt idx="18281">
                  <c:v>23.07.1952</c:v>
                </c:pt>
                <c:pt idx="18282">
                  <c:v>22.07.1952</c:v>
                </c:pt>
                <c:pt idx="18283">
                  <c:v>21.07.1952</c:v>
                </c:pt>
                <c:pt idx="18284">
                  <c:v>18.07.1952</c:v>
                </c:pt>
                <c:pt idx="18285">
                  <c:v>17.07.1952</c:v>
                </c:pt>
                <c:pt idx="18286">
                  <c:v>16.07.1952</c:v>
                </c:pt>
                <c:pt idx="18287">
                  <c:v>15.07.1952</c:v>
                </c:pt>
                <c:pt idx="18288">
                  <c:v>14.07.1952</c:v>
                </c:pt>
                <c:pt idx="18289">
                  <c:v>11.07.1952</c:v>
                </c:pt>
                <c:pt idx="18290">
                  <c:v>10.07.1952</c:v>
                </c:pt>
                <c:pt idx="18291">
                  <c:v>09.07.1952</c:v>
                </c:pt>
                <c:pt idx="18292">
                  <c:v>08.07.1952</c:v>
                </c:pt>
                <c:pt idx="18293">
                  <c:v>07.07.1952</c:v>
                </c:pt>
                <c:pt idx="18294">
                  <c:v>04.07.1952</c:v>
                </c:pt>
                <c:pt idx="18295">
                  <c:v>03.07.1952</c:v>
                </c:pt>
                <c:pt idx="18296">
                  <c:v>02.07.1952</c:v>
                </c:pt>
                <c:pt idx="18297">
                  <c:v>01.07.1952</c:v>
                </c:pt>
                <c:pt idx="18298">
                  <c:v>30.06.1952</c:v>
                </c:pt>
                <c:pt idx="18299">
                  <c:v>27.06.1952</c:v>
                </c:pt>
                <c:pt idx="18300">
                  <c:v>26.06.1952</c:v>
                </c:pt>
                <c:pt idx="18301">
                  <c:v>25.06.1952</c:v>
                </c:pt>
                <c:pt idx="18302">
                  <c:v>24.06.1952</c:v>
                </c:pt>
                <c:pt idx="18303">
                  <c:v>23.06.1952</c:v>
                </c:pt>
                <c:pt idx="18304">
                  <c:v>20.06.1952</c:v>
                </c:pt>
                <c:pt idx="18305">
                  <c:v>19.06.1952</c:v>
                </c:pt>
                <c:pt idx="18306">
                  <c:v>18.06.1952</c:v>
                </c:pt>
                <c:pt idx="18307">
                  <c:v>17.06.1952</c:v>
                </c:pt>
                <c:pt idx="18308">
                  <c:v>16.06.1952</c:v>
                </c:pt>
                <c:pt idx="18309">
                  <c:v>13.06.1952</c:v>
                </c:pt>
                <c:pt idx="18310">
                  <c:v>12.06.1952</c:v>
                </c:pt>
                <c:pt idx="18311">
                  <c:v>11.06.1952</c:v>
                </c:pt>
                <c:pt idx="18312">
                  <c:v>10.06.1952</c:v>
                </c:pt>
                <c:pt idx="18313">
                  <c:v>09.06.1952</c:v>
                </c:pt>
                <c:pt idx="18314">
                  <c:v>06.06.1952</c:v>
                </c:pt>
                <c:pt idx="18315">
                  <c:v>05.06.1952</c:v>
                </c:pt>
                <c:pt idx="18316">
                  <c:v>04.06.1952</c:v>
                </c:pt>
                <c:pt idx="18317">
                  <c:v>03.06.1952</c:v>
                </c:pt>
                <c:pt idx="18318">
                  <c:v>02.06.1952</c:v>
                </c:pt>
                <c:pt idx="18319">
                  <c:v>30.05.1952</c:v>
                </c:pt>
                <c:pt idx="18320">
                  <c:v>29.05.1952</c:v>
                </c:pt>
                <c:pt idx="18321">
                  <c:v>28.05.1952</c:v>
                </c:pt>
                <c:pt idx="18322">
                  <c:v>27.05.1952</c:v>
                </c:pt>
                <c:pt idx="18323">
                  <c:v>26.05.1952</c:v>
                </c:pt>
                <c:pt idx="18324">
                  <c:v>23.05.1952</c:v>
                </c:pt>
                <c:pt idx="18325">
                  <c:v>22.05.1952</c:v>
                </c:pt>
                <c:pt idx="18326">
                  <c:v>21.05.1952</c:v>
                </c:pt>
                <c:pt idx="18327">
                  <c:v>20.05.1952</c:v>
                </c:pt>
                <c:pt idx="18328">
                  <c:v>19.05.1952</c:v>
                </c:pt>
                <c:pt idx="18329">
                  <c:v>16.05.1952</c:v>
                </c:pt>
                <c:pt idx="18330">
                  <c:v>15.05.1952</c:v>
                </c:pt>
                <c:pt idx="18331">
                  <c:v>14.05.1952</c:v>
                </c:pt>
                <c:pt idx="18332">
                  <c:v>13.05.1952</c:v>
                </c:pt>
                <c:pt idx="18333">
                  <c:v>12.05.1952</c:v>
                </c:pt>
                <c:pt idx="18334">
                  <c:v>09.05.1952</c:v>
                </c:pt>
                <c:pt idx="18335">
                  <c:v>08.05.1952</c:v>
                </c:pt>
                <c:pt idx="18336">
                  <c:v>07.05.1952</c:v>
                </c:pt>
                <c:pt idx="18337">
                  <c:v>06.05.1952</c:v>
                </c:pt>
                <c:pt idx="18338">
                  <c:v>05.05.1952</c:v>
                </c:pt>
                <c:pt idx="18339">
                  <c:v>02.05.1952</c:v>
                </c:pt>
                <c:pt idx="18340">
                  <c:v>01.05.1952</c:v>
                </c:pt>
                <c:pt idx="18341">
                  <c:v>30.04.1952</c:v>
                </c:pt>
                <c:pt idx="18342">
                  <c:v>29.04.1952</c:v>
                </c:pt>
                <c:pt idx="18343">
                  <c:v>28.04.1952</c:v>
                </c:pt>
                <c:pt idx="18344">
                  <c:v>25.04.1952</c:v>
                </c:pt>
                <c:pt idx="18345">
                  <c:v>24.04.1952</c:v>
                </c:pt>
                <c:pt idx="18346">
                  <c:v>23.04.1952</c:v>
                </c:pt>
                <c:pt idx="18347">
                  <c:v>22.04.1952</c:v>
                </c:pt>
                <c:pt idx="18348">
                  <c:v>21.04.1952</c:v>
                </c:pt>
                <c:pt idx="18349">
                  <c:v>18.04.1952</c:v>
                </c:pt>
                <c:pt idx="18350">
                  <c:v>17.04.1952</c:v>
                </c:pt>
                <c:pt idx="18351">
                  <c:v>16.04.1952</c:v>
                </c:pt>
                <c:pt idx="18352">
                  <c:v>15.04.1952</c:v>
                </c:pt>
                <c:pt idx="18353">
                  <c:v>14.04.1952</c:v>
                </c:pt>
                <c:pt idx="18354">
                  <c:v>11.04.1952</c:v>
                </c:pt>
                <c:pt idx="18355">
                  <c:v>10.04.1952</c:v>
                </c:pt>
                <c:pt idx="18356">
                  <c:v>09.04.1952</c:v>
                </c:pt>
                <c:pt idx="18357">
                  <c:v>08.04.1952</c:v>
                </c:pt>
                <c:pt idx="18358">
                  <c:v>07.04.1952</c:v>
                </c:pt>
                <c:pt idx="18359">
                  <c:v>04.04.1952</c:v>
                </c:pt>
                <c:pt idx="18360">
                  <c:v>03.04.1952</c:v>
                </c:pt>
                <c:pt idx="18361">
                  <c:v>02.04.1952</c:v>
                </c:pt>
                <c:pt idx="18362">
                  <c:v>01.04.1952</c:v>
                </c:pt>
                <c:pt idx="18363">
                  <c:v>31.03.1952</c:v>
                </c:pt>
                <c:pt idx="18364">
                  <c:v>28.03.1952</c:v>
                </c:pt>
                <c:pt idx="18365">
                  <c:v>27.03.1952</c:v>
                </c:pt>
                <c:pt idx="18366">
                  <c:v>26.03.1952</c:v>
                </c:pt>
                <c:pt idx="18367">
                  <c:v>25.03.1952</c:v>
                </c:pt>
                <c:pt idx="18368">
                  <c:v>24.03.1952</c:v>
                </c:pt>
                <c:pt idx="18369">
                  <c:v>21.03.1952</c:v>
                </c:pt>
                <c:pt idx="18370">
                  <c:v>20.03.1952</c:v>
                </c:pt>
                <c:pt idx="18371">
                  <c:v>19.03.1952</c:v>
                </c:pt>
                <c:pt idx="18372">
                  <c:v>18.03.1952</c:v>
                </c:pt>
                <c:pt idx="18373">
                  <c:v>17.03.1952</c:v>
                </c:pt>
                <c:pt idx="18374">
                  <c:v>14.03.1952</c:v>
                </c:pt>
                <c:pt idx="18375">
                  <c:v>13.03.1952</c:v>
                </c:pt>
                <c:pt idx="18376">
                  <c:v>12.03.1952</c:v>
                </c:pt>
                <c:pt idx="18377">
                  <c:v>11.03.1952</c:v>
                </c:pt>
                <c:pt idx="18378">
                  <c:v>10.03.1952</c:v>
                </c:pt>
                <c:pt idx="18379">
                  <c:v>07.03.1952</c:v>
                </c:pt>
                <c:pt idx="18380">
                  <c:v>06.03.1952</c:v>
                </c:pt>
                <c:pt idx="18381">
                  <c:v>05.03.1952</c:v>
                </c:pt>
                <c:pt idx="18382">
                  <c:v>04.03.1952</c:v>
                </c:pt>
                <c:pt idx="18383">
                  <c:v>03.03.1952</c:v>
                </c:pt>
                <c:pt idx="18384">
                  <c:v>29.02.1952</c:v>
                </c:pt>
                <c:pt idx="18385">
                  <c:v>28.02.1952</c:v>
                </c:pt>
                <c:pt idx="18386">
                  <c:v>27.02.1952</c:v>
                </c:pt>
                <c:pt idx="18387">
                  <c:v>26.02.1952</c:v>
                </c:pt>
                <c:pt idx="18388">
                  <c:v>25.02.1952</c:v>
                </c:pt>
                <c:pt idx="18389">
                  <c:v>22.02.1952</c:v>
                </c:pt>
                <c:pt idx="18390">
                  <c:v>21.02.1952</c:v>
                </c:pt>
                <c:pt idx="18391">
                  <c:v>20.02.1952</c:v>
                </c:pt>
                <c:pt idx="18392">
                  <c:v>19.02.1952</c:v>
                </c:pt>
                <c:pt idx="18393">
                  <c:v>18.02.1952</c:v>
                </c:pt>
                <c:pt idx="18394">
                  <c:v>15.02.1952</c:v>
                </c:pt>
                <c:pt idx="18395">
                  <c:v>14.02.1952</c:v>
                </c:pt>
                <c:pt idx="18396">
                  <c:v>13.02.1952</c:v>
                </c:pt>
                <c:pt idx="18397">
                  <c:v>12.02.1952</c:v>
                </c:pt>
                <c:pt idx="18398">
                  <c:v>11.02.1952</c:v>
                </c:pt>
                <c:pt idx="18399">
                  <c:v>08.02.1952</c:v>
                </c:pt>
                <c:pt idx="18400">
                  <c:v>07.02.1952</c:v>
                </c:pt>
                <c:pt idx="18401">
                  <c:v>06.02.1952</c:v>
                </c:pt>
                <c:pt idx="18402">
                  <c:v>05.02.1952</c:v>
                </c:pt>
                <c:pt idx="18403">
                  <c:v>04.02.1952</c:v>
                </c:pt>
                <c:pt idx="18404">
                  <c:v>01.02.1952</c:v>
                </c:pt>
                <c:pt idx="18405">
                  <c:v>31.01.1952</c:v>
                </c:pt>
                <c:pt idx="18406">
                  <c:v>30.01.1952</c:v>
                </c:pt>
                <c:pt idx="18407">
                  <c:v>29.01.1952</c:v>
                </c:pt>
                <c:pt idx="18408">
                  <c:v>28.01.1952</c:v>
                </c:pt>
                <c:pt idx="18409">
                  <c:v>25.01.1952</c:v>
                </c:pt>
                <c:pt idx="18410">
                  <c:v>24.01.1952</c:v>
                </c:pt>
                <c:pt idx="18411">
                  <c:v>23.01.1952</c:v>
                </c:pt>
                <c:pt idx="18412">
                  <c:v>22.01.1952</c:v>
                </c:pt>
                <c:pt idx="18413">
                  <c:v>21.01.1952</c:v>
                </c:pt>
                <c:pt idx="18414">
                  <c:v>18.01.1952</c:v>
                </c:pt>
                <c:pt idx="18415">
                  <c:v>17.01.1952</c:v>
                </c:pt>
                <c:pt idx="18416">
                  <c:v>16.01.1952</c:v>
                </c:pt>
                <c:pt idx="18417">
                  <c:v>15.01.1952</c:v>
                </c:pt>
                <c:pt idx="18418">
                  <c:v>14.01.1952</c:v>
                </c:pt>
                <c:pt idx="18419">
                  <c:v>11.01.1952</c:v>
                </c:pt>
                <c:pt idx="18420">
                  <c:v>10.01.1952</c:v>
                </c:pt>
                <c:pt idx="18421">
                  <c:v>09.01.1952</c:v>
                </c:pt>
                <c:pt idx="18422">
                  <c:v>08.01.1952</c:v>
                </c:pt>
                <c:pt idx="18423">
                  <c:v>07.01.1952</c:v>
                </c:pt>
                <c:pt idx="18424">
                  <c:v>04.01.1952</c:v>
                </c:pt>
                <c:pt idx="18425">
                  <c:v>03.01.1952</c:v>
                </c:pt>
                <c:pt idx="18426">
                  <c:v>02.01.1952</c:v>
                </c:pt>
                <c:pt idx="18427">
                  <c:v>01.01.1952</c:v>
                </c:pt>
                <c:pt idx="18428">
                  <c:v>31.12.1951</c:v>
                </c:pt>
                <c:pt idx="18429">
                  <c:v>28.12.1951</c:v>
                </c:pt>
                <c:pt idx="18430">
                  <c:v>27.12.1951</c:v>
                </c:pt>
                <c:pt idx="18431">
                  <c:v>26.12.1951</c:v>
                </c:pt>
                <c:pt idx="18432">
                  <c:v>25.12.1951</c:v>
                </c:pt>
                <c:pt idx="18433">
                  <c:v>24.12.1951</c:v>
                </c:pt>
                <c:pt idx="18434">
                  <c:v>21.12.1951</c:v>
                </c:pt>
                <c:pt idx="18435">
                  <c:v>20.12.1951</c:v>
                </c:pt>
                <c:pt idx="18436">
                  <c:v>19.12.1951</c:v>
                </c:pt>
                <c:pt idx="18437">
                  <c:v>18.12.1951</c:v>
                </c:pt>
                <c:pt idx="18438">
                  <c:v>17.12.1951</c:v>
                </c:pt>
                <c:pt idx="18439">
                  <c:v>14.12.1951</c:v>
                </c:pt>
                <c:pt idx="18440">
                  <c:v>13.12.1951</c:v>
                </c:pt>
                <c:pt idx="18441">
                  <c:v>12.12.1951</c:v>
                </c:pt>
                <c:pt idx="18442">
                  <c:v>11.12.1951</c:v>
                </c:pt>
                <c:pt idx="18443">
                  <c:v>10.12.1951</c:v>
                </c:pt>
                <c:pt idx="18444">
                  <c:v>07.12.1951</c:v>
                </c:pt>
                <c:pt idx="18445">
                  <c:v>06.12.1951</c:v>
                </c:pt>
                <c:pt idx="18446">
                  <c:v>05.12.1951</c:v>
                </c:pt>
                <c:pt idx="18447">
                  <c:v>04.12.1951</c:v>
                </c:pt>
                <c:pt idx="18448">
                  <c:v>03.12.1951</c:v>
                </c:pt>
                <c:pt idx="18449">
                  <c:v>30.11.1951</c:v>
                </c:pt>
                <c:pt idx="18450">
                  <c:v>29.11.1951</c:v>
                </c:pt>
                <c:pt idx="18451">
                  <c:v>28.11.1951</c:v>
                </c:pt>
                <c:pt idx="18452">
                  <c:v>27.11.1951</c:v>
                </c:pt>
                <c:pt idx="18453">
                  <c:v>26.11.1951</c:v>
                </c:pt>
                <c:pt idx="18454">
                  <c:v>23.11.1951</c:v>
                </c:pt>
                <c:pt idx="18455">
                  <c:v>22.11.1951</c:v>
                </c:pt>
                <c:pt idx="18456">
                  <c:v>21.11.1951</c:v>
                </c:pt>
                <c:pt idx="18457">
                  <c:v>20.11.1951</c:v>
                </c:pt>
                <c:pt idx="18458">
                  <c:v>19.11.1951</c:v>
                </c:pt>
                <c:pt idx="18459">
                  <c:v>16.11.1951</c:v>
                </c:pt>
                <c:pt idx="18460">
                  <c:v>15.11.1951</c:v>
                </c:pt>
                <c:pt idx="18461">
                  <c:v>14.11.1951</c:v>
                </c:pt>
                <c:pt idx="18462">
                  <c:v>13.11.1951</c:v>
                </c:pt>
                <c:pt idx="18463">
                  <c:v>12.11.1951</c:v>
                </c:pt>
                <c:pt idx="18464">
                  <c:v>09.11.1951</c:v>
                </c:pt>
                <c:pt idx="18465">
                  <c:v>08.11.1951</c:v>
                </c:pt>
                <c:pt idx="18466">
                  <c:v>07.11.1951</c:v>
                </c:pt>
                <c:pt idx="18467">
                  <c:v>06.11.1951</c:v>
                </c:pt>
                <c:pt idx="18468">
                  <c:v>05.11.1951</c:v>
                </c:pt>
                <c:pt idx="18469">
                  <c:v>02.11.1951</c:v>
                </c:pt>
                <c:pt idx="18470">
                  <c:v>01.11.1951</c:v>
                </c:pt>
                <c:pt idx="18471">
                  <c:v>31.10.1951</c:v>
                </c:pt>
                <c:pt idx="18472">
                  <c:v>30.10.1951</c:v>
                </c:pt>
                <c:pt idx="18473">
                  <c:v>29.10.1951</c:v>
                </c:pt>
                <c:pt idx="18474">
                  <c:v>26.10.1951</c:v>
                </c:pt>
                <c:pt idx="18475">
                  <c:v>25.10.1951</c:v>
                </c:pt>
                <c:pt idx="18476">
                  <c:v>24.10.1951</c:v>
                </c:pt>
                <c:pt idx="18477">
                  <c:v>23.10.1951</c:v>
                </c:pt>
                <c:pt idx="18478">
                  <c:v>22.10.1951</c:v>
                </c:pt>
                <c:pt idx="18479">
                  <c:v>19.10.1951</c:v>
                </c:pt>
                <c:pt idx="18480">
                  <c:v>18.10.1951</c:v>
                </c:pt>
                <c:pt idx="18481">
                  <c:v>17.10.1951</c:v>
                </c:pt>
                <c:pt idx="18482">
                  <c:v>16.10.1951</c:v>
                </c:pt>
                <c:pt idx="18483">
                  <c:v>15.10.1951</c:v>
                </c:pt>
                <c:pt idx="18484">
                  <c:v>12.10.1951</c:v>
                </c:pt>
                <c:pt idx="18485">
                  <c:v>11.10.1951</c:v>
                </c:pt>
                <c:pt idx="18486">
                  <c:v>10.10.1951</c:v>
                </c:pt>
                <c:pt idx="18487">
                  <c:v>09.10.1951</c:v>
                </c:pt>
                <c:pt idx="18488">
                  <c:v>08.10.1951</c:v>
                </c:pt>
                <c:pt idx="18489">
                  <c:v>05.10.1951</c:v>
                </c:pt>
                <c:pt idx="18490">
                  <c:v>04.10.1951</c:v>
                </c:pt>
                <c:pt idx="18491">
                  <c:v>03.10.1951</c:v>
                </c:pt>
                <c:pt idx="18492">
                  <c:v>02.10.1951</c:v>
                </c:pt>
                <c:pt idx="18493">
                  <c:v>01.10.1951</c:v>
                </c:pt>
                <c:pt idx="18494">
                  <c:v>28.09.1951</c:v>
                </c:pt>
                <c:pt idx="18495">
                  <c:v>27.09.1951</c:v>
                </c:pt>
                <c:pt idx="18496">
                  <c:v>26.09.1951</c:v>
                </c:pt>
                <c:pt idx="18497">
                  <c:v>25.09.1951</c:v>
                </c:pt>
                <c:pt idx="18498">
                  <c:v>24.09.1951</c:v>
                </c:pt>
                <c:pt idx="18499">
                  <c:v>21.09.1951</c:v>
                </c:pt>
                <c:pt idx="18500">
                  <c:v>20.09.1951</c:v>
                </c:pt>
                <c:pt idx="18501">
                  <c:v>19.09.1951</c:v>
                </c:pt>
                <c:pt idx="18502">
                  <c:v>18.09.1951</c:v>
                </c:pt>
                <c:pt idx="18503">
                  <c:v>17.09.1951</c:v>
                </c:pt>
                <c:pt idx="18504">
                  <c:v>14.09.1951</c:v>
                </c:pt>
                <c:pt idx="18505">
                  <c:v>13.09.1951</c:v>
                </c:pt>
                <c:pt idx="18506">
                  <c:v>12.09.1951</c:v>
                </c:pt>
                <c:pt idx="18507">
                  <c:v>11.09.1951</c:v>
                </c:pt>
                <c:pt idx="18508">
                  <c:v>10.09.1951</c:v>
                </c:pt>
                <c:pt idx="18509">
                  <c:v>07.09.1951</c:v>
                </c:pt>
                <c:pt idx="18510">
                  <c:v>06.09.1951</c:v>
                </c:pt>
                <c:pt idx="18511">
                  <c:v>05.09.1951</c:v>
                </c:pt>
                <c:pt idx="18512">
                  <c:v>04.09.1951</c:v>
                </c:pt>
                <c:pt idx="18513">
                  <c:v>03.09.1951</c:v>
                </c:pt>
                <c:pt idx="18514">
                  <c:v>31.08.1951</c:v>
                </c:pt>
                <c:pt idx="18515">
                  <c:v>30.08.1951</c:v>
                </c:pt>
                <c:pt idx="18516">
                  <c:v>29.08.1951</c:v>
                </c:pt>
                <c:pt idx="18517">
                  <c:v>28.08.1951</c:v>
                </c:pt>
                <c:pt idx="18518">
                  <c:v>27.08.1951</c:v>
                </c:pt>
                <c:pt idx="18519">
                  <c:v>24.08.1951</c:v>
                </c:pt>
                <c:pt idx="18520">
                  <c:v>23.08.1951</c:v>
                </c:pt>
                <c:pt idx="18521">
                  <c:v>22.08.1951</c:v>
                </c:pt>
                <c:pt idx="18522">
                  <c:v>21.08.1951</c:v>
                </c:pt>
                <c:pt idx="18523">
                  <c:v>20.08.1951</c:v>
                </c:pt>
                <c:pt idx="18524">
                  <c:v>17.08.1951</c:v>
                </c:pt>
                <c:pt idx="18525">
                  <c:v>16.08.1951</c:v>
                </c:pt>
                <c:pt idx="18526">
                  <c:v>15.08.1951</c:v>
                </c:pt>
                <c:pt idx="18527">
                  <c:v>14.08.1951</c:v>
                </c:pt>
                <c:pt idx="18528">
                  <c:v>13.08.1951</c:v>
                </c:pt>
                <c:pt idx="18529">
                  <c:v>10.08.1951</c:v>
                </c:pt>
                <c:pt idx="18530">
                  <c:v>09.08.1951</c:v>
                </c:pt>
                <c:pt idx="18531">
                  <c:v>08.08.1951</c:v>
                </c:pt>
                <c:pt idx="18532">
                  <c:v>07.08.1951</c:v>
                </c:pt>
                <c:pt idx="18533">
                  <c:v>06.08.1951</c:v>
                </c:pt>
                <c:pt idx="18534">
                  <c:v>03.08.1951</c:v>
                </c:pt>
                <c:pt idx="18535">
                  <c:v>02.08.1951</c:v>
                </c:pt>
                <c:pt idx="18536">
                  <c:v>01.08.1951</c:v>
                </c:pt>
                <c:pt idx="18537">
                  <c:v>31.07.1951</c:v>
                </c:pt>
                <c:pt idx="18538">
                  <c:v>30.07.1951</c:v>
                </c:pt>
                <c:pt idx="18539">
                  <c:v>27.07.1951</c:v>
                </c:pt>
                <c:pt idx="18540">
                  <c:v>26.07.1951</c:v>
                </c:pt>
                <c:pt idx="18541">
                  <c:v>25.07.1951</c:v>
                </c:pt>
                <c:pt idx="18542">
                  <c:v>24.07.1951</c:v>
                </c:pt>
                <c:pt idx="18543">
                  <c:v>23.07.1951</c:v>
                </c:pt>
                <c:pt idx="18544">
                  <c:v>20.07.1951</c:v>
                </c:pt>
                <c:pt idx="18545">
                  <c:v>19.07.1951</c:v>
                </c:pt>
                <c:pt idx="18546">
                  <c:v>18.07.1951</c:v>
                </c:pt>
                <c:pt idx="18547">
                  <c:v>17.07.1951</c:v>
                </c:pt>
                <c:pt idx="18548">
                  <c:v>16.07.1951</c:v>
                </c:pt>
                <c:pt idx="18549">
                  <c:v>13.07.1951</c:v>
                </c:pt>
                <c:pt idx="18550">
                  <c:v>12.07.1951</c:v>
                </c:pt>
                <c:pt idx="18551">
                  <c:v>11.07.1951</c:v>
                </c:pt>
                <c:pt idx="18552">
                  <c:v>10.07.1951</c:v>
                </c:pt>
                <c:pt idx="18553">
                  <c:v>09.07.1951</c:v>
                </c:pt>
                <c:pt idx="18554">
                  <c:v>06.07.1951</c:v>
                </c:pt>
                <c:pt idx="18555">
                  <c:v>05.07.1951</c:v>
                </c:pt>
                <c:pt idx="18556">
                  <c:v>04.07.1951</c:v>
                </c:pt>
                <c:pt idx="18557">
                  <c:v>03.07.1951</c:v>
                </c:pt>
                <c:pt idx="18558">
                  <c:v>02.07.1951</c:v>
                </c:pt>
                <c:pt idx="18559">
                  <c:v>29.06.1951</c:v>
                </c:pt>
                <c:pt idx="18560">
                  <c:v>28.06.1951</c:v>
                </c:pt>
                <c:pt idx="18561">
                  <c:v>27.06.1951</c:v>
                </c:pt>
                <c:pt idx="18562">
                  <c:v>26.06.1951</c:v>
                </c:pt>
                <c:pt idx="18563">
                  <c:v>25.06.1951</c:v>
                </c:pt>
                <c:pt idx="18564">
                  <c:v>22.06.1951</c:v>
                </c:pt>
                <c:pt idx="18565">
                  <c:v>21.06.1951</c:v>
                </c:pt>
                <c:pt idx="18566">
                  <c:v>20.06.1951</c:v>
                </c:pt>
                <c:pt idx="18567">
                  <c:v>19.06.1951</c:v>
                </c:pt>
                <c:pt idx="18568">
                  <c:v>18.06.1951</c:v>
                </c:pt>
                <c:pt idx="18569">
                  <c:v>15.06.1951</c:v>
                </c:pt>
                <c:pt idx="18570">
                  <c:v>14.06.1951</c:v>
                </c:pt>
                <c:pt idx="18571">
                  <c:v>13.06.1951</c:v>
                </c:pt>
                <c:pt idx="18572">
                  <c:v>12.06.1951</c:v>
                </c:pt>
                <c:pt idx="18573">
                  <c:v>11.06.1951</c:v>
                </c:pt>
                <c:pt idx="18574">
                  <c:v>08.06.1951</c:v>
                </c:pt>
                <c:pt idx="18575">
                  <c:v>07.06.1951</c:v>
                </c:pt>
                <c:pt idx="18576">
                  <c:v>06.06.1951</c:v>
                </c:pt>
                <c:pt idx="18577">
                  <c:v>05.06.1951</c:v>
                </c:pt>
                <c:pt idx="18578">
                  <c:v>04.06.1951</c:v>
                </c:pt>
                <c:pt idx="18579">
                  <c:v>01.06.1951</c:v>
                </c:pt>
                <c:pt idx="18580">
                  <c:v>31.05.1951</c:v>
                </c:pt>
                <c:pt idx="18581">
                  <c:v>30.05.1951</c:v>
                </c:pt>
                <c:pt idx="18582">
                  <c:v>29.05.1951</c:v>
                </c:pt>
                <c:pt idx="18583">
                  <c:v>28.05.1951</c:v>
                </c:pt>
                <c:pt idx="18584">
                  <c:v>25.05.1951</c:v>
                </c:pt>
                <c:pt idx="18585">
                  <c:v>24.05.1951</c:v>
                </c:pt>
                <c:pt idx="18586">
                  <c:v>23.05.1951</c:v>
                </c:pt>
                <c:pt idx="18587">
                  <c:v>22.05.1951</c:v>
                </c:pt>
                <c:pt idx="18588">
                  <c:v>21.05.1951</c:v>
                </c:pt>
                <c:pt idx="18589">
                  <c:v>18.05.1951</c:v>
                </c:pt>
                <c:pt idx="18590">
                  <c:v>17.05.1951</c:v>
                </c:pt>
                <c:pt idx="18591">
                  <c:v>16.05.1951</c:v>
                </c:pt>
                <c:pt idx="18592">
                  <c:v>15.05.1951</c:v>
                </c:pt>
                <c:pt idx="18593">
                  <c:v>14.05.1951</c:v>
                </c:pt>
                <c:pt idx="18594">
                  <c:v>11.05.1951</c:v>
                </c:pt>
                <c:pt idx="18595">
                  <c:v>10.05.1951</c:v>
                </c:pt>
                <c:pt idx="18596">
                  <c:v>09.05.1951</c:v>
                </c:pt>
                <c:pt idx="18597">
                  <c:v>08.05.1951</c:v>
                </c:pt>
                <c:pt idx="18598">
                  <c:v>07.05.1951</c:v>
                </c:pt>
                <c:pt idx="18599">
                  <c:v>04.05.1951</c:v>
                </c:pt>
                <c:pt idx="18600">
                  <c:v>03.05.1951</c:v>
                </c:pt>
                <c:pt idx="18601">
                  <c:v>02.05.1951</c:v>
                </c:pt>
                <c:pt idx="18602">
                  <c:v>01.05.1951</c:v>
                </c:pt>
                <c:pt idx="18603">
                  <c:v>30.04.1951</c:v>
                </c:pt>
                <c:pt idx="18604">
                  <c:v>27.04.1951</c:v>
                </c:pt>
                <c:pt idx="18605">
                  <c:v>26.04.1951</c:v>
                </c:pt>
                <c:pt idx="18606">
                  <c:v>25.04.1951</c:v>
                </c:pt>
                <c:pt idx="18607">
                  <c:v>24.04.1951</c:v>
                </c:pt>
                <c:pt idx="18608">
                  <c:v>23.04.1951</c:v>
                </c:pt>
                <c:pt idx="18609">
                  <c:v>20.04.1951</c:v>
                </c:pt>
                <c:pt idx="18610">
                  <c:v>19.04.1951</c:v>
                </c:pt>
                <c:pt idx="18611">
                  <c:v>18.04.1951</c:v>
                </c:pt>
                <c:pt idx="18612">
                  <c:v>17.04.1951</c:v>
                </c:pt>
                <c:pt idx="18613">
                  <c:v>16.04.1951</c:v>
                </c:pt>
                <c:pt idx="18614">
                  <c:v>13.04.1951</c:v>
                </c:pt>
                <c:pt idx="18615">
                  <c:v>12.04.1951</c:v>
                </c:pt>
                <c:pt idx="18616">
                  <c:v>11.04.1951</c:v>
                </c:pt>
                <c:pt idx="18617">
                  <c:v>10.04.1951</c:v>
                </c:pt>
                <c:pt idx="18618">
                  <c:v>09.04.1951</c:v>
                </c:pt>
                <c:pt idx="18619">
                  <c:v>06.04.1951</c:v>
                </c:pt>
                <c:pt idx="18620">
                  <c:v>05.04.1951</c:v>
                </c:pt>
                <c:pt idx="18621">
                  <c:v>04.04.1951</c:v>
                </c:pt>
                <c:pt idx="18622">
                  <c:v>03.04.1951</c:v>
                </c:pt>
                <c:pt idx="18623">
                  <c:v>02.04.1951</c:v>
                </c:pt>
                <c:pt idx="18624">
                  <c:v>30.03.1951</c:v>
                </c:pt>
                <c:pt idx="18625">
                  <c:v>29.03.1951</c:v>
                </c:pt>
                <c:pt idx="18626">
                  <c:v>28.03.1951</c:v>
                </c:pt>
                <c:pt idx="18627">
                  <c:v>27.03.1951</c:v>
                </c:pt>
                <c:pt idx="18628">
                  <c:v>26.03.1951</c:v>
                </c:pt>
                <c:pt idx="18629">
                  <c:v>23.03.1951</c:v>
                </c:pt>
                <c:pt idx="18630">
                  <c:v>22.03.1951</c:v>
                </c:pt>
                <c:pt idx="18631">
                  <c:v>21.03.1951</c:v>
                </c:pt>
                <c:pt idx="18632">
                  <c:v>20.03.1951</c:v>
                </c:pt>
                <c:pt idx="18633">
                  <c:v>19.03.1951</c:v>
                </c:pt>
                <c:pt idx="18634">
                  <c:v>16.03.1951</c:v>
                </c:pt>
                <c:pt idx="18635">
                  <c:v>15.03.1951</c:v>
                </c:pt>
                <c:pt idx="18636">
                  <c:v>14.03.1951</c:v>
                </c:pt>
                <c:pt idx="18637">
                  <c:v>13.03.1951</c:v>
                </c:pt>
                <c:pt idx="18638">
                  <c:v>12.03.1951</c:v>
                </c:pt>
                <c:pt idx="18639">
                  <c:v>09.03.1951</c:v>
                </c:pt>
                <c:pt idx="18640">
                  <c:v>08.03.1951</c:v>
                </c:pt>
                <c:pt idx="18641">
                  <c:v>07.03.1951</c:v>
                </c:pt>
                <c:pt idx="18642">
                  <c:v>06.03.1951</c:v>
                </c:pt>
                <c:pt idx="18643">
                  <c:v>05.03.1951</c:v>
                </c:pt>
                <c:pt idx="18644">
                  <c:v>02.03.1951</c:v>
                </c:pt>
                <c:pt idx="18645">
                  <c:v>01.03.1951</c:v>
                </c:pt>
                <c:pt idx="18646">
                  <c:v>28.02.1951</c:v>
                </c:pt>
                <c:pt idx="18647">
                  <c:v>27.02.1951</c:v>
                </c:pt>
                <c:pt idx="18648">
                  <c:v>26.02.1951</c:v>
                </c:pt>
                <c:pt idx="18649">
                  <c:v>23.02.1951</c:v>
                </c:pt>
                <c:pt idx="18650">
                  <c:v>22.02.1951</c:v>
                </c:pt>
                <c:pt idx="18651">
                  <c:v>21.02.1951</c:v>
                </c:pt>
                <c:pt idx="18652">
                  <c:v>20.02.1951</c:v>
                </c:pt>
                <c:pt idx="18653">
                  <c:v>19.02.1951</c:v>
                </c:pt>
                <c:pt idx="18654">
                  <c:v>16.02.1951</c:v>
                </c:pt>
                <c:pt idx="18655">
                  <c:v>15.02.1951</c:v>
                </c:pt>
                <c:pt idx="18656">
                  <c:v>14.02.1951</c:v>
                </c:pt>
                <c:pt idx="18657">
                  <c:v>13.02.1951</c:v>
                </c:pt>
                <c:pt idx="18658">
                  <c:v>12.02.1951</c:v>
                </c:pt>
                <c:pt idx="18659">
                  <c:v>09.02.1951</c:v>
                </c:pt>
                <c:pt idx="18660">
                  <c:v>08.02.1951</c:v>
                </c:pt>
                <c:pt idx="18661">
                  <c:v>07.02.1951</c:v>
                </c:pt>
                <c:pt idx="18662">
                  <c:v>06.02.1951</c:v>
                </c:pt>
                <c:pt idx="18663">
                  <c:v>05.02.1951</c:v>
                </c:pt>
                <c:pt idx="18664">
                  <c:v>02.02.1951</c:v>
                </c:pt>
                <c:pt idx="18665">
                  <c:v>01.02.1951</c:v>
                </c:pt>
                <c:pt idx="18666">
                  <c:v>31.01.1951</c:v>
                </c:pt>
                <c:pt idx="18667">
                  <c:v>30.01.1951</c:v>
                </c:pt>
                <c:pt idx="18668">
                  <c:v>29.01.1951</c:v>
                </c:pt>
                <c:pt idx="18669">
                  <c:v>26.01.1951</c:v>
                </c:pt>
                <c:pt idx="18670">
                  <c:v>25.01.1951</c:v>
                </c:pt>
                <c:pt idx="18671">
                  <c:v>24.01.1951</c:v>
                </c:pt>
                <c:pt idx="18672">
                  <c:v>23.01.1951</c:v>
                </c:pt>
                <c:pt idx="18673">
                  <c:v>22.01.1951</c:v>
                </c:pt>
                <c:pt idx="18674">
                  <c:v>19.01.1951</c:v>
                </c:pt>
                <c:pt idx="18675">
                  <c:v>18.01.1951</c:v>
                </c:pt>
                <c:pt idx="18676">
                  <c:v>17.01.1951</c:v>
                </c:pt>
                <c:pt idx="18677">
                  <c:v>16.01.1951</c:v>
                </c:pt>
                <c:pt idx="18678">
                  <c:v>15.01.1951</c:v>
                </c:pt>
                <c:pt idx="18679">
                  <c:v>12.01.1951</c:v>
                </c:pt>
                <c:pt idx="18680">
                  <c:v>11.01.1951</c:v>
                </c:pt>
                <c:pt idx="18681">
                  <c:v>10.01.1951</c:v>
                </c:pt>
                <c:pt idx="18682">
                  <c:v>09.01.1951</c:v>
                </c:pt>
                <c:pt idx="18683">
                  <c:v>08.01.1951</c:v>
                </c:pt>
                <c:pt idx="18684">
                  <c:v>05.01.1951</c:v>
                </c:pt>
                <c:pt idx="18685">
                  <c:v>04.01.1951</c:v>
                </c:pt>
                <c:pt idx="18686">
                  <c:v>03.01.1951</c:v>
                </c:pt>
                <c:pt idx="18687">
                  <c:v>02.01.1951</c:v>
                </c:pt>
                <c:pt idx="18688">
                  <c:v>01.01.1951</c:v>
                </c:pt>
                <c:pt idx="18689">
                  <c:v>29.12.1950</c:v>
                </c:pt>
                <c:pt idx="18690">
                  <c:v>28.12.1950</c:v>
                </c:pt>
                <c:pt idx="18691">
                  <c:v>27.12.1950</c:v>
                </c:pt>
                <c:pt idx="18692">
                  <c:v>26.12.1950</c:v>
                </c:pt>
                <c:pt idx="18693">
                  <c:v>25.12.1950</c:v>
                </c:pt>
                <c:pt idx="18694">
                  <c:v>22.12.1950</c:v>
                </c:pt>
                <c:pt idx="18695">
                  <c:v>21.12.1950</c:v>
                </c:pt>
                <c:pt idx="18696">
                  <c:v>20.12.1950</c:v>
                </c:pt>
                <c:pt idx="18697">
                  <c:v>19.12.1950</c:v>
                </c:pt>
                <c:pt idx="18698">
                  <c:v>18.12.1950</c:v>
                </c:pt>
                <c:pt idx="18699">
                  <c:v>15.12.1950</c:v>
                </c:pt>
                <c:pt idx="18700">
                  <c:v>14.12.1950</c:v>
                </c:pt>
                <c:pt idx="18701">
                  <c:v>13.12.1950</c:v>
                </c:pt>
                <c:pt idx="18702">
                  <c:v>12.12.1950</c:v>
                </c:pt>
                <c:pt idx="18703">
                  <c:v>11.12.1950</c:v>
                </c:pt>
                <c:pt idx="18704">
                  <c:v>08.12.1950</c:v>
                </c:pt>
                <c:pt idx="18705">
                  <c:v>07.12.1950</c:v>
                </c:pt>
                <c:pt idx="18706">
                  <c:v>06.12.1950</c:v>
                </c:pt>
                <c:pt idx="18707">
                  <c:v>05.12.1950</c:v>
                </c:pt>
                <c:pt idx="18708">
                  <c:v>04.12.1950</c:v>
                </c:pt>
                <c:pt idx="18709">
                  <c:v>01.12.1950</c:v>
                </c:pt>
                <c:pt idx="18710">
                  <c:v>30.11.1950</c:v>
                </c:pt>
                <c:pt idx="18711">
                  <c:v>29.11.1950</c:v>
                </c:pt>
                <c:pt idx="18712">
                  <c:v>28.11.1950</c:v>
                </c:pt>
                <c:pt idx="18713">
                  <c:v>27.11.1950</c:v>
                </c:pt>
                <c:pt idx="18714">
                  <c:v>24.11.1950</c:v>
                </c:pt>
                <c:pt idx="18715">
                  <c:v>23.11.1950</c:v>
                </c:pt>
                <c:pt idx="18716">
                  <c:v>22.11.1950</c:v>
                </c:pt>
                <c:pt idx="18717">
                  <c:v>21.11.1950</c:v>
                </c:pt>
                <c:pt idx="18718">
                  <c:v>20.11.1950</c:v>
                </c:pt>
                <c:pt idx="18719">
                  <c:v>17.11.1950</c:v>
                </c:pt>
                <c:pt idx="18720">
                  <c:v>16.11.1950</c:v>
                </c:pt>
                <c:pt idx="18721">
                  <c:v>15.11.1950</c:v>
                </c:pt>
                <c:pt idx="18722">
                  <c:v>14.11.1950</c:v>
                </c:pt>
                <c:pt idx="18723">
                  <c:v>13.11.1950</c:v>
                </c:pt>
                <c:pt idx="18724">
                  <c:v>10.11.1950</c:v>
                </c:pt>
                <c:pt idx="18725">
                  <c:v>09.11.1950</c:v>
                </c:pt>
                <c:pt idx="18726">
                  <c:v>08.11.1950</c:v>
                </c:pt>
                <c:pt idx="18727">
                  <c:v>07.11.1950</c:v>
                </c:pt>
                <c:pt idx="18728">
                  <c:v>06.11.1950</c:v>
                </c:pt>
                <c:pt idx="18729">
                  <c:v>03.11.1950</c:v>
                </c:pt>
                <c:pt idx="18730">
                  <c:v>02.11.1950</c:v>
                </c:pt>
                <c:pt idx="18731">
                  <c:v>01.11.1950</c:v>
                </c:pt>
                <c:pt idx="18732">
                  <c:v>31.10.1950</c:v>
                </c:pt>
                <c:pt idx="18733">
                  <c:v>30.10.1950</c:v>
                </c:pt>
                <c:pt idx="18734">
                  <c:v>27.10.1950</c:v>
                </c:pt>
                <c:pt idx="18735">
                  <c:v>26.10.1950</c:v>
                </c:pt>
                <c:pt idx="18736">
                  <c:v>25.10.1950</c:v>
                </c:pt>
                <c:pt idx="18737">
                  <c:v>24.10.1950</c:v>
                </c:pt>
                <c:pt idx="18738">
                  <c:v>23.10.1950</c:v>
                </c:pt>
                <c:pt idx="18739">
                  <c:v>20.10.1950</c:v>
                </c:pt>
                <c:pt idx="18740">
                  <c:v>19.10.1950</c:v>
                </c:pt>
                <c:pt idx="18741">
                  <c:v>18.10.1950</c:v>
                </c:pt>
                <c:pt idx="18742">
                  <c:v>17.10.1950</c:v>
                </c:pt>
                <c:pt idx="18743">
                  <c:v>16.10.1950</c:v>
                </c:pt>
                <c:pt idx="18744">
                  <c:v>13.10.1950</c:v>
                </c:pt>
                <c:pt idx="18745">
                  <c:v>12.10.1950</c:v>
                </c:pt>
                <c:pt idx="18746">
                  <c:v>11.10.1950</c:v>
                </c:pt>
                <c:pt idx="18747">
                  <c:v>10.10.1950</c:v>
                </c:pt>
                <c:pt idx="18748">
                  <c:v>09.10.1950</c:v>
                </c:pt>
                <c:pt idx="18749">
                  <c:v>06.10.1950</c:v>
                </c:pt>
                <c:pt idx="18750">
                  <c:v>05.10.1950</c:v>
                </c:pt>
                <c:pt idx="18751">
                  <c:v>04.10.1950</c:v>
                </c:pt>
                <c:pt idx="18752">
                  <c:v>03.10.1950</c:v>
                </c:pt>
                <c:pt idx="18753">
                  <c:v>02.10.1950</c:v>
                </c:pt>
                <c:pt idx="18754">
                  <c:v>29.09.1950</c:v>
                </c:pt>
                <c:pt idx="18755">
                  <c:v>28.09.1950</c:v>
                </c:pt>
                <c:pt idx="18756">
                  <c:v>27.09.1950</c:v>
                </c:pt>
                <c:pt idx="18757">
                  <c:v>26.09.1950</c:v>
                </c:pt>
                <c:pt idx="18758">
                  <c:v>25.09.1950</c:v>
                </c:pt>
                <c:pt idx="18759">
                  <c:v>22.09.1950</c:v>
                </c:pt>
                <c:pt idx="18760">
                  <c:v>21.09.1950</c:v>
                </c:pt>
                <c:pt idx="18761">
                  <c:v>20.09.1950</c:v>
                </c:pt>
                <c:pt idx="18762">
                  <c:v>19.09.1950</c:v>
                </c:pt>
                <c:pt idx="18763">
                  <c:v>18.09.1950</c:v>
                </c:pt>
                <c:pt idx="18764">
                  <c:v>15.09.1950</c:v>
                </c:pt>
                <c:pt idx="18765">
                  <c:v>14.09.1950</c:v>
                </c:pt>
                <c:pt idx="18766">
                  <c:v>13.09.1950</c:v>
                </c:pt>
                <c:pt idx="18767">
                  <c:v>12.09.1950</c:v>
                </c:pt>
                <c:pt idx="18768">
                  <c:v>11.09.1950</c:v>
                </c:pt>
                <c:pt idx="18769">
                  <c:v>08.09.1950</c:v>
                </c:pt>
                <c:pt idx="18770">
                  <c:v>07.09.1950</c:v>
                </c:pt>
                <c:pt idx="18771">
                  <c:v>06.09.1950</c:v>
                </c:pt>
                <c:pt idx="18772">
                  <c:v>05.09.1950</c:v>
                </c:pt>
                <c:pt idx="18773">
                  <c:v>04.09.1950</c:v>
                </c:pt>
                <c:pt idx="18774">
                  <c:v>01.09.1950</c:v>
                </c:pt>
                <c:pt idx="18775">
                  <c:v>31.08.1950</c:v>
                </c:pt>
                <c:pt idx="18776">
                  <c:v>30.08.1950</c:v>
                </c:pt>
                <c:pt idx="18777">
                  <c:v>29.08.1950</c:v>
                </c:pt>
                <c:pt idx="18778">
                  <c:v>28.08.1950</c:v>
                </c:pt>
                <c:pt idx="18779">
                  <c:v>25.08.1950</c:v>
                </c:pt>
                <c:pt idx="18780">
                  <c:v>24.08.1950</c:v>
                </c:pt>
                <c:pt idx="18781">
                  <c:v>23.08.1950</c:v>
                </c:pt>
                <c:pt idx="18782">
                  <c:v>22.08.1950</c:v>
                </c:pt>
                <c:pt idx="18783">
                  <c:v>21.08.1950</c:v>
                </c:pt>
                <c:pt idx="18784">
                  <c:v>18.08.1950</c:v>
                </c:pt>
                <c:pt idx="18785">
                  <c:v>17.08.1950</c:v>
                </c:pt>
                <c:pt idx="18786">
                  <c:v>16.08.1950</c:v>
                </c:pt>
                <c:pt idx="18787">
                  <c:v>15.08.1950</c:v>
                </c:pt>
                <c:pt idx="18788">
                  <c:v>14.08.1950</c:v>
                </c:pt>
                <c:pt idx="18789">
                  <c:v>11.08.1950</c:v>
                </c:pt>
                <c:pt idx="18790">
                  <c:v>10.08.1950</c:v>
                </c:pt>
                <c:pt idx="18791">
                  <c:v>09.08.1950</c:v>
                </c:pt>
                <c:pt idx="18792">
                  <c:v>08.08.1950</c:v>
                </c:pt>
                <c:pt idx="18793">
                  <c:v>07.08.1950</c:v>
                </c:pt>
                <c:pt idx="18794">
                  <c:v>04.08.1950</c:v>
                </c:pt>
                <c:pt idx="18795">
                  <c:v>03.08.1950</c:v>
                </c:pt>
                <c:pt idx="18796">
                  <c:v>02.08.1950</c:v>
                </c:pt>
                <c:pt idx="18797">
                  <c:v>01.08.1950</c:v>
                </c:pt>
                <c:pt idx="18798">
                  <c:v>31.07.1950</c:v>
                </c:pt>
                <c:pt idx="18799">
                  <c:v>28.07.1950</c:v>
                </c:pt>
                <c:pt idx="18800">
                  <c:v>27.07.1950</c:v>
                </c:pt>
                <c:pt idx="18801">
                  <c:v>26.07.1950</c:v>
                </c:pt>
                <c:pt idx="18802">
                  <c:v>25.07.1950</c:v>
                </c:pt>
                <c:pt idx="18803">
                  <c:v>24.07.1950</c:v>
                </c:pt>
                <c:pt idx="18804">
                  <c:v>21.07.1950</c:v>
                </c:pt>
                <c:pt idx="18805">
                  <c:v>20.07.1950</c:v>
                </c:pt>
                <c:pt idx="18806">
                  <c:v>19.07.1950</c:v>
                </c:pt>
                <c:pt idx="18807">
                  <c:v>18.07.1950</c:v>
                </c:pt>
                <c:pt idx="18808">
                  <c:v>17.07.1950</c:v>
                </c:pt>
                <c:pt idx="18809">
                  <c:v>14.07.1950</c:v>
                </c:pt>
                <c:pt idx="18810">
                  <c:v>13.07.1950</c:v>
                </c:pt>
                <c:pt idx="18811">
                  <c:v>12.07.1950</c:v>
                </c:pt>
                <c:pt idx="18812">
                  <c:v>11.07.1950</c:v>
                </c:pt>
                <c:pt idx="18813">
                  <c:v>10.07.1950</c:v>
                </c:pt>
                <c:pt idx="18814">
                  <c:v>07.07.1950</c:v>
                </c:pt>
                <c:pt idx="18815">
                  <c:v>06.07.1950</c:v>
                </c:pt>
                <c:pt idx="18816">
                  <c:v>05.07.1950</c:v>
                </c:pt>
                <c:pt idx="18817">
                  <c:v>04.07.1950</c:v>
                </c:pt>
                <c:pt idx="18818">
                  <c:v>03.07.1950</c:v>
                </c:pt>
                <c:pt idx="18819">
                  <c:v>30.06.1950</c:v>
                </c:pt>
                <c:pt idx="18820">
                  <c:v>29.06.1950</c:v>
                </c:pt>
                <c:pt idx="18821">
                  <c:v>28.06.1950</c:v>
                </c:pt>
                <c:pt idx="18822">
                  <c:v>27.06.1950</c:v>
                </c:pt>
                <c:pt idx="18823">
                  <c:v>26.06.1950</c:v>
                </c:pt>
                <c:pt idx="18824">
                  <c:v>23.06.1950</c:v>
                </c:pt>
                <c:pt idx="18825">
                  <c:v>22.06.1950</c:v>
                </c:pt>
                <c:pt idx="18826">
                  <c:v>21.06.1950</c:v>
                </c:pt>
                <c:pt idx="18827">
                  <c:v>20.06.1950</c:v>
                </c:pt>
                <c:pt idx="18828">
                  <c:v>19.06.1950</c:v>
                </c:pt>
                <c:pt idx="18829">
                  <c:v>16.06.1950</c:v>
                </c:pt>
                <c:pt idx="18830">
                  <c:v>15.06.1950</c:v>
                </c:pt>
                <c:pt idx="18831">
                  <c:v>14.06.1950</c:v>
                </c:pt>
                <c:pt idx="18832">
                  <c:v>13.06.1950</c:v>
                </c:pt>
                <c:pt idx="18833">
                  <c:v>12.06.1950</c:v>
                </c:pt>
                <c:pt idx="18834">
                  <c:v>09.06.1950</c:v>
                </c:pt>
                <c:pt idx="18835">
                  <c:v>08.06.1950</c:v>
                </c:pt>
                <c:pt idx="18836">
                  <c:v>07.06.1950</c:v>
                </c:pt>
                <c:pt idx="18837">
                  <c:v>06.06.1950</c:v>
                </c:pt>
                <c:pt idx="18838">
                  <c:v>05.06.1950</c:v>
                </c:pt>
                <c:pt idx="18839">
                  <c:v>02.06.1950</c:v>
                </c:pt>
                <c:pt idx="18840">
                  <c:v>01.06.1950</c:v>
                </c:pt>
                <c:pt idx="18841">
                  <c:v>31.05.1950</c:v>
                </c:pt>
                <c:pt idx="18842">
                  <c:v>30.05.1950</c:v>
                </c:pt>
                <c:pt idx="18843">
                  <c:v>29.05.1950</c:v>
                </c:pt>
                <c:pt idx="18844">
                  <c:v>26.05.1950</c:v>
                </c:pt>
                <c:pt idx="18845">
                  <c:v>25.05.1950</c:v>
                </c:pt>
                <c:pt idx="18846">
                  <c:v>24.05.1950</c:v>
                </c:pt>
                <c:pt idx="18847">
                  <c:v>23.05.1950</c:v>
                </c:pt>
                <c:pt idx="18848">
                  <c:v>22.05.1950</c:v>
                </c:pt>
                <c:pt idx="18849">
                  <c:v>19.05.1950</c:v>
                </c:pt>
                <c:pt idx="18850">
                  <c:v>18.05.1950</c:v>
                </c:pt>
                <c:pt idx="18851">
                  <c:v>17.05.1950</c:v>
                </c:pt>
                <c:pt idx="18852">
                  <c:v>16.05.1950</c:v>
                </c:pt>
                <c:pt idx="18853">
                  <c:v>15.05.1950</c:v>
                </c:pt>
                <c:pt idx="18854">
                  <c:v>12.05.1950</c:v>
                </c:pt>
                <c:pt idx="18855">
                  <c:v>11.05.1950</c:v>
                </c:pt>
                <c:pt idx="18856">
                  <c:v>10.05.1950</c:v>
                </c:pt>
                <c:pt idx="18857">
                  <c:v>09.05.1950</c:v>
                </c:pt>
                <c:pt idx="18858">
                  <c:v>08.05.1950</c:v>
                </c:pt>
                <c:pt idx="18859">
                  <c:v>05.05.1950</c:v>
                </c:pt>
                <c:pt idx="18860">
                  <c:v>04.05.1950</c:v>
                </c:pt>
                <c:pt idx="18861">
                  <c:v>03.05.1950</c:v>
                </c:pt>
                <c:pt idx="18862">
                  <c:v>02.05.1950</c:v>
                </c:pt>
                <c:pt idx="18863">
                  <c:v>01.05.1950</c:v>
                </c:pt>
                <c:pt idx="18864">
                  <c:v>28.04.1950</c:v>
                </c:pt>
                <c:pt idx="18865">
                  <c:v>27.04.1950</c:v>
                </c:pt>
                <c:pt idx="18866">
                  <c:v>26.04.1950</c:v>
                </c:pt>
                <c:pt idx="18867">
                  <c:v>25.04.1950</c:v>
                </c:pt>
                <c:pt idx="18868">
                  <c:v>24.04.1950</c:v>
                </c:pt>
                <c:pt idx="18869">
                  <c:v>21.04.1950</c:v>
                </c:pt>
                <c:pt idx="18870">
                  <c:v>20.04.1950</c:v>
                </c:pt>
                <c:pt idx="18871">
                  <c:v>19.04.1950</c:v>
                </c:pt>
                <c:pt idx="18872">
                  <c:v>18.04.1950</c:v>
                </c:pt>
                <c:pt idx="18873">
                  <c:v>17.04.1950</c:v>
                </c:pt>
                <c:pt idx="18874">
                  <c:v>14.04.1950</c:v>
                </c:pt>
                <c:pt idx="18875">
                  <c:v>13.04.1950</c:v>
                </c:pt>
                <c:pt idx="18876">
                  <c:v>12.04.1950</c:v>
                </c:pt>
                <c:pt idx="18877">
                  <c:v>11.04.1950</c:v>
                </c:pt>
                <c:pt idx="18878">
                  <c:v>10.04.1950</c:v>
                </c:pt>
                <c:pt idx="18879">
                  <c:v>07.04.1950</c:v>
                </c:pt>
                <c:pt idx="18880">
                  <c:v>06.04.1950</c:v>
                </c:pt>
                <c:pt idx="18881">
                  <c:v>05.04.1950</c:v>
                </c:pt>
                <c:pt idx="18882">
                  <c:v>04.04.1950</c:v>
                </c:pt>
                <c:pt idx="18883">
                  <c:v>03.04.1950</c:v>
                </c:pt>
                <c:pt idx="18884">
                  <c:v>31.03.1950</c:v>
                </c:pt>
                <c:pt idx="18885">
                  <c:v>30.03.1950</c:v>
                </c:pt>
                <c:pt idx="18886">
                  <c:v>29.03.1950</c:v>
                </c:pt>
                <c:pt idx="18887">
                  <c:v>28.03.1950</c:v>
                </c:pt>
                <c:pt idx="18888">
                  <c:v>27.03.1950</c:v>
                </c:pt>
                <c:pt idx="18889">
                  <c:v>24.03.1950</c:v>
                </c:pt>
                <c:pt idx="18890">
                  <c:v>23.03.1950</c:v>
                </c:pt>
                <c:pt idx="18891">
                  <c:v>22.03.1950</c:v>
                </c:pt>
                <c:pt idx="18892">
                  <c:v>21.03.1950</c:v>
                </c:pt>
                <c:pt idx="18893">
                  <c:v>20.03.1950</c:v>
                </c:pt>
                <c:pt idx="18894">
                  <c:v>17.03.1950</c:v>
                </c:pt>
                <c:pt idx="18895">
                  <c:v>16.03.1950</c:v>
                </c:pt>
                <c:pt idx="18896">
                  <c:v>15.03.1950</c:v>
                </c:pt>
                <c:pt idx="18897">
                  <c:v>14.03.1950</c:v>
                </c:pt>
                <c:pt idx="18898">
                  <c:v>13.03.1950</c:v>
                </c:pt>
                <c:pt idx="18899">
                  <c:v>10.03.1950</c:v>
                </c:pt>
                <c:pt idx="18900">
                  <c:v>09.03.1950</c:v>
                </c:pt>
                <c:pt idx="18901">
                  <c:v>08.03.1950</c:v>
                </c:pt>
                <c:pt idx="18902">
                  <c:v>07.03.1950</c:v>
                </c:pt>
                <c:pt idx="18903">
                  <c:v>06.03.1950</c:v>
                </c:pt>
                <c:pt idx="18904">
                  <c:v>03.03.1950</c:v>
                </c:pt>
                <c:pt idx="18905">
                  <c:v>02.03.1950</c:v>
                </c:pt>
                <c:pt idx="18906">
                  <c:v>01.03.1950</c:v>
                </c:pt>
                <c:pt idx="18907">
                  <c:v>28.02.1950</c:v>
                </c:pt>
                <c:pt idx="18908">
                  <c:v>27.02.1950</c:v>
                </c:pt>
                <c:pt idx="18909">
                  <c:v>24.02.1950</c:v>
                </c:pt>
                <c:pt idx="18910">
                  <c:v>23.02.1950</c:v>
                </c:pt>
                <c:pt idx="18911">
                  <c:v>22.02.1950</c:v>
                </c:pt>
                <c:pt idx="18912">
                  <c:v>21.02.1950</c:v>
                </c:pt>
                <c:pt idx="18913">
                  <c:v>20.02.1950</c:v>
                </c:pt>
                <c:pt idx="18914">
                  <c:v>17.02.1950</c:v>
                </c:pt>
                <c:pt idx="18915">
                  <c:v>16.02.1950</c:v>
                </c:pt>
                <c:pt idx="18916">
                  <c:v>15.02.1950</c:v>
                </c:pt>
                <c:pt idx="18917">
                  <c:v>14.02.1950</c:v>
                </c:pt>
                <c:pt idx="18918">
                  <c:v>13.02.1950</c:v>
                </c:pt>
                <c:pt idx="18919">
                  <c:v>10.02.1950</c:v>
                </c:pt>
                <c:pt idx="18920">
                  <c:v>09.02.1950</c:v>
                </c:pt>
                <c:pt idx="18921">
                  <c:v>08.02.1950</c:v>
                </c:pt>
                <c:pt idx="18922">
                  <c:v>07.02.1950</c:v>
                </c:pt>
                <c:pt idx="18923">
                  <c:v>06.02.1950</c:v>
                </c:pt>
                <c:pt idx="18924">
                  <c:v>03.02.1950</c:v>
                </c:pt>
                <c:pt idx="18925">
                  <c:v>02.02.1950</c:v>
                </c:pt>
                <c:pt idx="18926">
                  <c:v>01.02.1950</c:v>
                </c:pt>
                <c:pt idx="18927">
                  <c:v>31.01.1950</c:v>
                </c:pt>
                <c:pt idx="18928">
                  <c:v>30.01.1950</c:v>
                </c:pt>
                <c:pt idx="18929">
                  <c:v>27.01.1950</c:v>
                </c:pt>
                <c:pt idx="18930">
                  <c:v>26.01.1950</c:v>
                </c:pt>
                <c:pt idx="18931">
                  <c:v>25.01.1950</c:v>
                </c:pt>
                <c:pt idx="18932">
                  <c:v>24.01.1950</c:v>
                </c:pt>
                <c:pt idx="18933">
                  <c:v>23.01.1950</c:v>
                </c:pt>
                <c:pt idx="18934">
                  <c:v>20.01.1950</c:v>
                </c:pt>
                <c:pt idx="18935">
                  <c:v>19.01.1950</c:v>
                </c:pt>
                <c:pt idx="18936">
                  <c:v>18.01.1950</c:v>
                </c:pt>
                <c:pt idx="18937">
                  <c:v>17.01.1950</c:v>
                </c:pt>
                <c:pt idx="18938">
                  <c:v>16.01.1950</c:v>
                </c:pt>
                <c:pt idx="18939">
                  <c:v>13.01.1950</c:v>
                </c:pt>
                <c:pt idx="18940">
                  <c:v>12.01.1950</c:v>
                </c:pt>
                <c:pt idx="18941">
                  <c:v>11.01.1950</c:v>
                </c:pt>
                <c:pt idx="18942">
                  <c:v>10.01.1950</c:v>
                </c:pt>
                <c:pt idx="18943">
                  <c:v>09.01.1950</c:v>
                </c:pt>
                <c:pt idx="18944">
                  <c:v>06.01.1950</c:v>
                </c:pt>
                <c:pt idx="18945">
                  <c:v>05.01.1950</c:v>
                </c:pt>
                <c:pt idx="18946">
                  <c:v>04.01.1950</c:v>
                </c:pt>
                <c:pt idx="18947">
                  <c:v>03.01.1950</c:v>
                </c:pt>
                <c:pt idx="18948">
                  <c:v>02.01.1950</c:v>
                </c:pt>
                <c:pt idx="18949">
                  <c:v>30.12.1949</c:v>
                </c:pt>
                <c:pt idx="18950">
                  <c:v>29.12.1949</c:v>
                </c:pt>
                <c:pt idx="18951">
                  <c:v>28.12.1949</c:v>
                </c:pt>
                <c:pt idx="18952">
                  <c:v>27.12.1949</c:v>
                </c:pt>
                <c:pt idx="18953">
                  <c:v>26.12.1949</c:v>
                </c:pt>
                <c:pt idx="18954">
                  <c:v>23.12.1949</c:v>
                </c:pt>
                <c:pt idx="18955">
                  <c:v>22.12.1949</c:v>
                </c:pt>
                <c:pt idx="18956">
                  <c:v>21.12.1949</c:v>
                </c:pt>
                <c:pt idx="18957">
                  <c:v>20.12.1949</c:v>
                </c:pt>
                <c:pt idx="18958">
                  <c:v>19.12.1949</c:v>
                </c:pt>
                <c:pt idx="18959">
                  <c:v>16.12.1949</c:v>
                </c:pt>
                <c:pt idx="18960">
                  <c:v>15.12.1949</c:v>
                </c:pt>
                <c:pt idx="18961">
                  <c:v>14.12.1949</c:v>
                </c:pt>
                <c:pt idx="18962">
                  <c:v>13.12.1949</c:v>
                </c:pt>
                <c:pt idx="18963">
                  <c:v>12.12.1949</c:v>
                </c:pt>
                <c:pt idx="18964">
                  <c:v>09.12.1949</c:v>
                </c:pt>
                <c:pt idx="18965">
                  <c:v>08.12.1949</c:v>
                </c:pt>
                <c:pt idx="18966">
                  <c:v>07.12.1949</c:v>
                </c:pt>
                <c:pt idx="18967">
                  <c:v>06.12.1949</c:v>
                </c:pt>
                <c:pt idx="18968">
                  <c:v>05.12.1949</c:v>
                </c:pt>
                <c:pt idx="18969">
                  <c:v>02.12.1949</c:v>
                </c:pt>
                <c:pt idx="18970">
                  <c:v>01.12.1949</c:v>
                </c:pt>
                <c:pt idx="18971">
                  <c:v>30.11.1949</c:v>
                </c:pt>
                <c:pt idx="18972">
                  <c:v>29.11.1949</c:v>
                </c:pt>
                <c:pt idx="18973">
                  <c:v>28.11.1949</c:v>
                </c:pt>
                <c:pt idx="18974">
                  <c:v>25.11.1949</c:v>
                </c:pt>
                <c:pt idx="18975">
                  <c:v>24.11.1949</c:v>
                </c:pt>
                <c:pt idx="18976">
                  <c:v>23.11.1949</c:v>
                </c:pt>
                <c:pt idx="18977">
                  <c:v>22.11.1949</c:v>
                </c:pt>
                <c:pt idx="18978">
                  <c:v>21.11.1949</c:v>
                </c:pt>
                <c:pt idx="18979">
                  <c:v>18.11.1949</c:v>
                </c:pt>
                <c:pt idx="18980">
                  <c:v>17.11.1949</c:v>
                </c:pt>
                <c:pt idx="18981">
                  <c:v>16.11.1949</c:v>
                </c:pt>
                <c:pt idx="18982">
                  <c:v>15.11.1949</c:v>
                </c:pt>
                <c:pt idx="18983">
                  <c:v>14.11.1949</c:v>
                </c:pt>
                <c:pt idx="18984">
                  <c:v>11.11.1949</c:v>
                </c:pt>
                <c:pt idx="18985">
                  <c:v>10.11.1949</c:v>
                </c:pt>
                <c:pt idx="18986">
                  <c:v>09.11.1949</c:v>
                </c:pt>
                <c:pt idx="18987">
                  <c:v>08.11.1949</c:v>
                </c:pt>
                <c:pt idx="18988">
                  <c:v>07.11.1949</c:v>
                </c:pt>
                <c:pt idx="18989">
                  <c:v>04.11.1949</c:v>
                </c:pt>
                <c:pt idx="18990">
                  <c:v>03.11.1949</c:v>
                </c:pt>
                <c:pt idx="18991">
                  <c:v>02.11.1949</c:v>
                </c:pt>
                <c:pt idx="18992">
                  <c:v>01.11.1949</c:v>
                </c:pt>
                <c:pt idx="18993">
                  <c:v>31.10.1949</c:v>
                </c:pt>
                <c:pt idx="18994">
                  <c:v>28.10.1949</c:v>
                </c:pt>
                <c:pt idx="18995">
                  <c:v>27.10.1949</c:v>
                </c:pt>
                <c:pt idx="18996">
                  <c:v>26.10.1949</c:v>
                </c:pt>
                <c:pt idx="18997">
                  <c:v>25.10.1949</c:v>
                </c:pt>
                <c:pt idx="18998">
                  <c:v>24.10.1949</c:v>
                </c:pt>
                <c:pt idx="18999">
                  <c:v>21.10.1949</c:v>
                </c:pt>
                <c:pt idx="19000">
                  <c:v>20.10.1949</c:v>
                </c:pt>
                <c:pt idx="19001">
                  <c:v>19.10.1949</c:v>
                </c:pt>
                <c:pt idx="19002">
                  <c:v>18.10.1949</c:v>
                </c:pt>
                <c:pt idx="19003">
                  <c:v>17.10.1949</c:v>
                </c:pt>
                <c:pt idx="19004">
                  <c:v>14.10.1949</c:v>
                </c:pt>
                <c:pt idx="19005">
                  <c:v>13.10.1949</c:v>
                </c:pt>
                <c:pt idx="19006">
                  <c:v>12.10.1949</c:v>
                </c:pt>
                <c:pt idx="19007">
                  <c:v>11.10.1949</c:v>
                </c:pt>
                <c:pt idx="19008">
                  <c:v>10.10.1949</c:v>
                </c:pt>
                <c:pt idx="19009">
                  <c:v>07.10.1949</c:v>
                </c:pt>
                <c:pt idx="19010">
                  <c:v>06.10.1949</c:v>
                </c:pt>
                <c:pt idx="19011">
                  <c:v>05.10.1949</c:v>
                </c:pt>
                <c:pt idx="19012">
                  <c:v>04.10.1949</c:v>
                </c:pt>
                <c:pt idx="19013">
                  <c:v>03.10.1949</c:v>
                </c:pt>
                <c:pt idx="19014">
                  <c:v>30.09.1949</c:v>
                </c:pt>
                <c:pt idx="19015">
                  <c:v>29.09.1949</c:v>
                </c:pt>
                <c:pt idx="19016">
                  <c:v>28.09.1949</c:v>
                </c:pt>
                <c:pt idx="19017">
                  <c:v>27.09.1949</c:v>
                </c:pt>
                <c:pt idx="19018">
                  <c:v>26.09.1949</c:v>
                </c:pt>
                <c:pt idx="19019">
                  <c:v>23.09.1949</c:v>
                </c:pt>
                <c:pt idx="19020">
                  <c:v>22.09.1949</c:v>
                </c:pt>
                <c:pt idx="19021">
                  <c:v>21.09.1949</c:v>
                </c:pt>
                <c:pt idx="19022">
                  <c:v>20.09.1949</c:v>
                </c:pt>
                <c:pt idx="19023">
                  <c:v>19.09.1949</c:v>
                </c:pt>
                <c:pt idx="19024">
                  <c:v>16.09.1949</c:v>
                </c:pt>
                <c:pt idx="19025">
                  <c:v>15.09.1949</c:v>
                </c:pt>
                <c:pt idx="19026">
                  <c:v>14.09.1949</c:v>
                </c:pt>
                <c:pt idx="19027">
                  <c:v>13.09.1949</c:v>
                </c:pt>
                <c:pt idx="19028">
                  <c:v>12.09.1949</c:v>
                </c:pt>
                <c:pt idx="19029">
                  <c:v>09.09.1949</c:v>
                </c:pt>
                <c:pt idx="19030">
                  <c:v>08.09.1949</c:v>
                </c:pt>
                <c:pt idx="19031">
                  <c:v>07.09.1949</c:v>
                </c:pt>
                <c:pt idx="19032">
                  <c:v>06.09.1949</c:v>
                </c:pt>
                <c:pt idx="19033">
                  <c:v>05.09.1949</c:v>
                </c:pt>
                <c:pt idx="19034">
                  <c:v>02.09.1949</c:v>
                </c:pt>
                <c:pt idx="19035">
                  <c:v>01.09.1949</c:v>
                </c:pt>
                <c:pt idx="19036">
                  <c:v>31.08.1949</c:v>
                </c:pt>
                <c:pt idx="19037">
                  <c:v>30.08.1949</c:v>
                </c:pt>
                <c:pt idx="19038">
                  <c:v>29.08.1949</c:v>
                </c:pt>
                <c:pt idx="19039">
                  <c:v>26.08.1949</c:v>
                </c:pt>
                <c:pt idx="19040">
                  <c:v>25.08.1949</c:v>
                </c:pt>
                <c:pt idx="19041">
                  <c:v>24.08.1949</c:v>
                </c:pt>
                <c:pt idx="19042">
                  <c:v>23.08.1949</c:v>
                </c:pt>
                <c:pt idx="19043">
                  <c:v>22.08.1949</c:v>
                </c:pt>
                <c:pt idx="19044">
                  <c:v>19.08.1949</c:v>
                </c:pt>
                <c:pt idx="19045">
                  <c:v>18.08.1949</c:v>
                </c:pt>
                <c:pt idx="19046">
                  <c:v>17.08.1949</c:v>
                </c:pt>
                <c:pt idx="19047">
                  <c:v>16.08.1949</c:v>
                </c:pt>
                <c:pt idx="19048">
                  <c:v>15.08.1949</c:v>
                </c:pt>
                <c:pt idx="19049">
                  <c:v>12.08.1949</c:v>
                </c:pt>
                <c:pt idx="19050">
                  <c:v>11.08.1949</c:v>
                </c:pt>
                <c:pt idx="19051">
                  <c:v>10.08.1949</c:v>
                </c:pt>
                <c:pt idx="19052">
                  <c:v>09.08.1949</c:v>
                </c:pt>
                <c:pt idx="19053">
                  <c:v>08.08.1949</c:v>
                </c:pt>
                <c:pt idx="19054">
                  <c:v>05.08.1949</c:v>
                </c:pt>
                <c:pt idx="19055">
                  <c:v>04.08.1949</c:v>
                </c:pt>
                <c:pt idx="19056">
                  <c:v>03.08.1949</c:v>
                </c:pt>
                <c:pt idx="19057">
                  <c:v>02.08.1949</c:v>
                </c:pt>
                <c:pt idx="19058">
                  <c:v>01.08.1949</c:v>
                </c:pt>
                <c:pt idx="19059">
                  <c:v>29.07.1949</c:v>
                </c:pt>
                <c:pt idx="19060">
                  <c:v>28.07.1949</c:v>
                </c:pt>
                <c:pt idx="19061">
                  <c:v>27.07.1949</c:v>
                </c:pt>
                <c:pt idx="19062">
                  <c:v>26.07.1949</c:v>
                </c:pt>
                <c:pt idx="19063">
                  <c:v>25.07.1949</c:v>
                </c:pt>
                <c:pt idx="19064">
                  <c:v>22.07.1949</c:v>
                </c:pt>
                <c:pt idx="19065">
                  <c:v>21.07.1949</c:v>
                </c:pt>
                <c:pt idx="19066">
                  <c:v>20.07.1949</c:v>
                </c:pt>
                <c:pt idx="19067">
                  <c:v>19.07.1949</c:v>
                </c:pt>
                <c:pt idx="19068">
                  <c:v>18.07.1949</c:v>
                </c:pt>
                <c:pt idx="19069">
                  <c:v>15.07.1949</c:v>
                </c:pt>
                <c:pt idx="19070">
                  <c:v>14.07.1949</c:v>
                </c:pt>
                <c:pt idx="19071">
                  <c:v>13.07.1949</c:v>
                </c:pt>
                <c:pt idx="19072">
                  <c:v>12.07.1949</c:v>
                </c:pt>
                <c:pt idx="19073">
                  <c:v>11.07.1949</c:v>
                </c:pt>
                <c:pt idx="19074">
                  <c:v>08.07.1949</c:v>
                </c:pt>
                <c:pt idx="19075">
                  <c:v>07.07.1949</c:v>
                </c:pt>
                <c:pt idx="19076">
                  <c:v>06.07.1949</c:v>
                </c:pt>
                <c:pt idx="19077">
                  <c:v>05.07.1949</c:v>
                </c:pt>
                <c:pt idx="19078">
                  <c:v>04.07.1949</c:v>
                </c:pt>
                <c:pt idx="19079">
                  <c:v>01.07.1949</c:v>
                </c:pt>
                <c:pt idx="19080">
                  <c:v>30.06.1949</c:v>
                </c:pt>
                <c:pt idx="19081">
                  <c:v>29.06.1949</c:v>
                </c:pt>
                <c:pt idx="19082">
                  <c:v>28.06.1949</c:v>
                </c:pt>
                <c:pt idx="19083">
                  <c:v>27.06.1949</c:v>
                </c:pt>
                <c:pt idx="19084">
                  <c:v>24.06.1949</c:v>
                </c:pt>
                <c:pt idx="19085">
                  <c:v>23.06.1949</c:v>
                </c:pt>
                <c:pt idx="19086">
                  <c:v>22.06.1949</c:v>
                </c:pt>
                <c:pt idx="19087">
                  <c:v>21.06.1949</c:v>
                </c:pt>
                <c:pt idx="19088">
                  <c:v>20.06.1949</c:v>
                </c:pt>
                <c:pt idx="19089">
                  <c:v>17.06.1949</c:v>
                </c:pt>
                <c:pt idx="19090">
                  <c:v>16.06.1949</c:v>
                </c:pt>
                <c:pt idx="19091">
                  <c:v>15.06.1949</c:v>
                </c:pt>
                <c:pt idx="19092">
                  <c:v>14.06.1949</c:v>
                </c:pt>
                <c:pt idx="19093">
                  <c:v>13.06.1949</c:v>
                </c:pt>
                <c:pt idx="19094">
                  <c:v>10.06.1949</c:v>
                </c:pt>
                <c:pt idx="19095">
                  <c:v>09.06.1949</c:v>
                </c:pt>
                <c:pt idx="19096">
                  <c:v>08.06.1949</c:v>
                </c:pt>
                <c:pt idx="19097">
                  <c:v>07.06.1949</c:v>
                </c:pt>
                <c:pt idx="19098">
                  <c:v>06.06.1949</c:v>
                </c:pt>
                <c:pt idx="19099">
                  <c:v>03.06.1949</c:v>
                </c:pt>
                <c:pt idx="19100">
                  <c:v>02.06.1949</c:v>
                </c:pt>
                <c:pt idx="19101">
                  <c:v>01.06.1949</c:v>
                </c:pt>
                <c:pt idx="19102">
                  <c:v>31.05.1949</c:v>
                </c:pt>
                <c:pt idx="19103">
                  <c:v>30.05.1949</c:v>
                </c:pt>
                <c:pt idx="19104">
                  <c:v>27.05.1949</c:v>
                </c:pt>
                <c:pt idx="19105">
                  <c:v>26.05.1949</c:v>
                </c:pt>
                <c:pt idx="19106">
                  <c:v>25.05.1949</c:v>
                </c:pt>
                <c:pt idx="19107">
                  <c:v>24.05.1949</c:v>
                </c:pt>
                <c:pt idx="19108">
                  <c:v>23.05.1949</c:v>
                </c:pt>
                <c:pt idx="19109">
                  <c:v>20.05.1949</c:v>
                </c:pt>
                <c:pt idx="19110">
                  <c:v>19.05.1949</c:v>
                </c:pt>
                <c:pt idx="19111">
                  <c:v>18.05.1949</c:v>
                </c:pt>
                <c:pt idx="19112">
                  <c:v>17.05.1949</c:v>
                </c:pt>
                <c:pt idx="19113">
                  <c:v>16.05.1949</c:v>
                </c:pt>
                <c:pt idx="19114">
                  <c:v>13.05.1949</c:v>
                </c:pt>
                <c:pt idx="19115">
                  <c:v>12.05.1949</c:v>
                </c:pt>
                <c:pt idx="19116">
                  <c:v>11.05.1949</c:v>
                </c:pt>
                <c:pt idx="19117">
                  <c:v>10.05.1949</c:v>
                </c:pt>
                <c:pt idx="19118">
                  <c:v>09.05.1949</c:v>
                </c:pt>
                <c:pt idx="19119">
                  <c:v>06.05.1949</c:v>
                </c:pt>
                <c:pt idx="19120">
                  <c:v>05.05.1949</c:v>
                </c:pt>
                <c:pt idx="19121">
                  <c:v>04.05.1949</c:v>
                </c:pt>
                <c:pt idx="19122">
                  <c:v>03.05.1949</c:v>
                </c:pt>
                <c:pt idx="19123">
                  <c:v>02.05.1949</c:v>
                </c:pt>
                <c:pt idx="19124">
                  <c:v>29.04.1949</c:v>
                </c:pt>
                <c:pt idx="19125">
                  <c:v>28.04.1949</c:v>
                </c:pt>
                <c:pt idx="19126">
                  <c:v>27.04.1949</c:v>
                </c:pt>
                <c:pt idx="19127">
                  <c:v>26.04.1949</c:v>
                </c:pt>
                <c:pt idx="19128">
                  <c:v>25.04.1949</c:v>
                </c:pt>
                <c:pt idx="19129">
                  <c:v>22.04.1949</c:v>
                </c:pt>
                <c:pt idx="19130">
                  <c:v>21.04.1949</c:v>
                </c:pt>
                <c:pt idx="19131">
                  <c:v>20.04.1949</c:v>
                </c:pt>
                <c:pt idx="19132">
                  <c:v>19.04.1949</c:v>
                </c:pt>
                <c:pt idx="19133">
                  <c:v>18.04.1949</c:v>
                </c:pt>
                <c:pt idx="19134">
                  <c:v>15.04.1949</c:v>
                </c:pt>
                <c:pt idx="19135">
                  <c:v>14.04.1949</c:v>
                </c:pt>
                <c:pt idx="19136">
                  <c:v>13.04.1949</c:v>
                </c:pt>
                <c:pt idx="19137">
                  <c:v>12.04.1949</c:v>
                </c:pt>
                <c:pt idx="19138">
                  <c:v>11.04.1949</c:v>
                </c:pt>
                <c:pt idx="19139">
                  <c:v>08.04.1949</c:v>
                </c:pt>
                <c:pt idx="19140">
                  <c:v>07.04.1949</c:v>
                </c:pt>
                <c:pt idx="19141">
                  <c:v>06.04.1949</c:v>
                </c:pt>
                <c:pt idx="19142">
                  <c:v>05.04.1949</c:v>
                </c:pt>
                <c:pt idx="19143">
                  <c:v>04.04.1949</c:v>
                </c:pt>
                <c:pt idx="19144">
                  <c:v>01.04.1949</c:v>
                </c:pt>
                <c:pt idx="19145">
                  <c:v>31.03.1949</c:v>
                </c:pt>
                <c:pt idx="19146">
                  <c:v>30.03.1949</c:v>
                </c:pt>
                <c:pt idx="19147">
                  <c:v>29.03.1949</c:v>
                </c:pt>
                <c:pt idx="19148">
                  <c:v>28.03.1949</c:v>
                </c:pt>
                <c:pt idx="19149">
                  <c:v>25.03.1949</c:v>
                </c:pt>
                <c:pt idx="19150">
                  <c:v>24.03.1949</c:v>
                </c:pt>
                <c:pt idx="19151">
                  <c:v>23.03.1949</c:v>
                </c:pt>
                <c:pt idx="19152">
                  <c:v>22.03.1949</c:v>
                </c:pt>
                <c:pt idx="19153">
                  <c:v>21.03.1949</c:v>
                </c:pt>
                <c:pt idx="19154">
                  <c:v>18.03.1949</c:v>
                </c:pt>
                <c:pt idx="19155">
                  <c:v>17.03.1949</c:v>
                </c:pt>
                <c:pt idx="19156">
                  <c:v>16.03.1949</c:v>
                </c:pt>
                <c:pt idx="19157">
                  <c:v>15.03.1949</c:v>
                </c:pt>
                <c:pt idx="19158">
                  <c:v>14.03.1949</c:v>
                </c:pt>
                <c:pt idx="19159">
                  <c:v>11.03.1949</c:v>
                </c:pt>
                <c:pt idx="19160">
                  <c:v>10.03.1949</c:v>
                </c:pt>
                <c:pt idx="19161">
                  <c:v>09.03.1949</c:v>
                </c:pt>
                <c:pt idx="19162">
                  <c:v>08.03.1949</c:v>
                </c:pt>
                <c:pt idx="19163">
                  <c:v>07.03.1949</c:v>
                </c:pt>
                <c:pt idx="19164">
                  <c:v>04.03.1949</c:v>
                </c:pt>
                <c:pt idx="19165">
                  <c:v>03.03.1949</c:v>
                </c:pt>
                <c:pt idx="19166">
                  <c:v>02.03.1949</c:v>
                </c:pt>
                <c:pt idx="19167">
                  <c:v>01.03.1949</c:v>
                </c:pt>
                <c:pt idx="19168">
                  <c:v>28.02.1949</c:v>
                </c:pt>
                <c:pt idx="19169">
                  <c:v>25.02.1949</c:v>
                </c:pt>
                <c:pt idx="19170">
                  <c:v>24.02.1949</c:v>
                </c:pt>
                <c:pt idx="19171">
                  <c:v>23.02.1949</c:v>
                </c:pt>
                <c:pt idx="19172">
                  <c:v>22.02.1949</c:v>
                </c:pt>
                <c:pt idx="19173">
                  <c:v>21.02.1949</c:v>
                </c:pt>
                <c:pt idx="19174">
                  <c:v>18.02.1949</c:v>
                </c:pt>
                <c:pt idx="19175">
                  <c:v>17.02.1949</c:v>
                </c:pt>
                <c:pt idx="19176">
                  <c:v>16.02.1949</c:v>
                </c:pt>
                <c:pt idx="19177">
                  <c:v>15.02.1949</c:v>
                </c:pt>
                <c:pt idx="19178">
                  <c:v>14.02.1949</c:v>
                </c:pt>
                <c:pt idx="19179">
                  <c:v>11.02.1949</c:v>
                </c:pt>
                <c:pt idx="19180">
                  <c:v>10.02.1949</c:v>
                </c:pt>
                <c:pt idx="19181">
                  <c:v>09.02.1949</c:v>
                </c:pt>
                <c:pt idx="19182">
                  <c:v>08.02.1949</c:v>
                </c:pt>
                <c:pt idx="19183">
                  <c:v>07.02.1949</c:v>
                </c:pt>
                <c:pt idx="19184">
                  <c:v>04.02.1949</c:v>
                </c:pt>
                <c:pt idx="19185">
                  <c:v>03.02.1949</c:v>
                </c:pt>
                <c:pt idx="19186">
                  <c:v>02.02.1949</c:v>
                </c:pt>
                <c:pt idx="19187">
                  <c:v>01.02.1949</c:v>
                </c:pt>
                <c:pt idx="19188">
                  <c:v>31.01.1949</c:v>
                </c:pt>
                <c:pt idx="19189">
                  <c:v>28.01.1949</c:v>
                </c:pt>
                <c:pt idx="19190">
                  <c:v>27.01.1949</c:v>
                </c:pt>
                <c:pt idx="19191">
                  <c:v>26.01.1949</c:v>
                </c:pt>
                <c:pt idx="19192">
                  <c:v>25.01.1949</c:v>
                </c:pt>
                <c:pt idx="19193">
                  <c:v>24.01.1949</c:v>
                </c:pt>
                <c:pt idx="19194">
                  <c:v>21.01.1949</c:v>
                </c:pt>
                <c:pt idx="19195">
                  <c:v>20.01.1949</c:v>
                </c:pt>
                <c:pt idx="19196">
                  <c:v>19.01.1949</c:v>
                </c:pt>
                <c:pt idx="19197">
                  <c:v>18.01.1949</c:v>
                </c:pt>
                <c:pt idx="19198">
                  <c:v>17.01.1949</c:v>
                </c:pt>
                <c:pt idx="19199">
                  <c:v>14.01.1949</c:v>
                </c:pt>
                <c:pt idx="19200">
                  <c:v>13.01.1949</c:v>
                </c:pt>
                <c:pt idx="19201">
                  <c:v>12.01.1949</c:v>
                </c:pt>
                <c:pt idx="19202">
                  <c:v>11.01.1949</c:v>
                </c:pt>
                <c:pt idx="19203">
                  <c:v>10.01.1949</c:v>
                </c:pt>
                <c:pt idx="19204">
                  <c:v>07.01.1949</c:v>
                </c:pt>
                <c:pt idx="19205">
                  <c:v>06.01.1949</c:v>
                </c:pt>
                <c:pt idx="19206">
                  <c:v>05.01.1949</c:v>
                </c:pt>
                <c:pt idx="19207">
                  <c:v>04.01.1949</c:v>
                </c:pt>
                <c:pt idx="19208">
                  <c:v>03.01.1949</c:v>
                </c:pt>
                <c:pt idx="19209">
                  <c:v>31.12.1948</c:v>
                </c:pt>
                <c:pt idx="19210">
                  <c:v>30.12.1948</c:v>
                </c:pt>
                <c:pt idx="19211">
                  <c:v>29.12.1948</c:v>
                </c:pt>
                <c:pt idx="19212">
                  <c:v>28.12.1948</c:v>
                </c:pt>
                <c:pt idx="19213">
                  <c:v>27.12.1948</c:v>
                </c:pt>
                <c:pt idx="19214">
                  <c:v>24.12.1948</c:v>
                </c:pt>
                <c:pt idx="19215">
                  <c:v>23.12.1948</c:v>
                </c:pt>
                <c:pt idx="19216">
                  <c:v>22.12.1948</c:v>
                </c:pt>
                <c:pt idx="19217">
                  <c:v>21.12.1948</c:v>
                </c:pt>
                <c:pt idx="19218">
                  <c:v>20.12.1948</c:v>
                </c:pt>
                <c:pt idx="19219">
                  <c:v>17.12.1948</c:v>
                </c:pt>
                <c:pt idx="19220">
                  <c:v>16.12.1948</c:v>
                </c:pt>
                <c:pt idx="19221">
                  <c:v>15.12.1948</c:v>
                </c:pt>
                <c:pt idx="19222">
                  <c:v>14.12.1948</c:v>
                </c:pt>
                <c:pt idx="19223">
                  <c:v>13.12.1948</c:v>
                </c:pt>
                <c:pt idx="19224">
                  <c:v>10.12.1948</c:v>
                </c:pt>
                <c:pt idx="19225">
                  <c:v>09.12.1948</c:v>
                </c:pt>
                <c:pt idx="19226">
                  <c:v>08.12.1948</c:v>
                </c:pt>
                <c:pt idx="19227">
                  <c:v>07.12.1948</c:v>
                </c:pt>
                <c:pt idx="19228">
                  <c:v>06.12.1948</c:v>
                </c:pt>
                <c:pt idx="19229">
                  <c:v>03.12.1948</c:v>
                </c:pt>
                <c:pt idx="19230">
                  <c:v>02.12.1948</c:v>
                </c:pt>
                <c:pt idx="19231">
                  <c:v>01.12.1948</c:v>
                </c:pt>
                <c:pt idx="19232">
                  <c:v>30.11.1948</c:v>
                </c:pt>
                <c:pt idx="19233">
                  <c:v>29.11.1948</c:v>
                </c:pt>
                <c:pt idx="19234">
                  <c:v>26.11.1948</c:v>
                </c:pt>
                <c:pt idx="19235">
                  <c:v>25.11.1948</c:v>
                </c:pt>
                <c:pt idx="19236">
                  <c:v>24.11.1948</c:v>
                </c:pt>
                <c:pt idx="19237">
                  <c:v>23.11.1948</c:v>
                </c:pt>
                <c:pt idx="19238">
                  <c:v>22.11.1948</c:v>
                </c:pt>
                <c:pt idx="19239">
                  <c:v>19.11.1948</c:v>
                </c:pt>
                <c:pt idx="19240">
                  <c:v>18.11.1948</c:v>
                </c:pt>
                <c:pt idx="19241">
                  <c:v>17.11.1948</c:v>
                </c:pt>
                <c:pt idx="19242">
                  <c:v>16.11.1948</c:v>
                </c:pt>
                <c:pt idx="19243">
                  <c:v>15.11.1948</c:v>
                </c:pt>
                <c:pt idx="19244">
                  <c:v>12.11.1948</c:v>
                </c:pt>
                <c:pt idx="19245">
                  <c:v>11.11.1948</c:v>
                </c:pt>
                <c:pt idx="19246">
                  <c:v>10.11.1948</c:v>
                </c:pt>
                <c:pt idx="19247">
                  <c:v>09.11.1948</c:v>
                </c:pt>
                <c:pt idx="19248">
                  <c:v>08.11.1948</c:v>
                </c:pt>
                <c:pt idx="19249">
                  <c:v>05.11.1948</c:v>
                </c:pt>
                <c:pt idx="19250">
                  <c:v>04.11.1948</c:v>
                </c:pt>
                <c:pt idx="19251">
                  <c:v>03.11.1948</c:v>
                </c:pt>
                <c:pt idx="19252">
                  <c:v>02.11.1948</c:v>
                </c:pt>
                <c:pt idx="19253">
                  <c:v>01.11.1948</c:v>
                </c:pt>
                <c:pt idx="19254">
                  <c:v>29.10.1948</c:v>
                </c:pt>
                <c:pt idx="19255">
                  <c:v>28.10.1948</c:v>
                </c:pt>
                <c:pt idx="19256">
                  <c:v>27.10.1948</c:v>
                </c:pt>
                <c:pt idx="19257">
                  <c:v>26.10.1948</c:v>
                </c:pt>
                <c:pt idx="19258">
                  <c:v>25.10.1948</c:v>
                </c:pt>
                <c:pt idx="19259">
                  <c:v>22.10.1948</c:v>
                </c:pt>
                <c:pt idx="19260">
                  <c:v>21.10.1948</c:v>
                </c:pt>
                <c:pt idx="19261">
                  <c:v>20.10.1948</c:v>
                </c:pt>
                <c:pt idx="19262">
                  <c:v>19.10.1948</c:v>
                </c:pt>
                <c:pt idx="19263">
                  <c:v>18.10.1948</c:v>
                </c:pt>
                <c:pt idx="19264">
                  <c:v>15.10.1948</c:v>
                </c:pt>
                <c:pt idx="19265">
                  <c:v>14.10.1948</c:v>
                </c:pt>
                <c:pt idx="19266">
                  <c:v>13.10.1948</c:v>
                </c:pt>
                <c:pt idx="19267">
                  <c:v>12.10.1948</c:v>
                </c:pt>
                <c:pt idx="19268">
                  <c:v>11.10.1948</c:v>
                </c:pt>
                <c:pt idx="19269">
                  <c:v>08.10.1948</c:v>
                </c:pt>
                <c:pt idx="19270">
                  <c:v>07.10.1948</c:v>
                </c:pt>
                <c:pt idx="19271">
                  <c:v>06.10.1948</c:v>
                </c:pt>
                <c:pt idx="19272">
                  <c:v>05.10.1948</c:v>
                </c:pt>
                <c:pt idx="19273">
                  <c:v>04.10.1948</c:v>
                </c:pt>
                <c:pt idx="19274">
                  <c:v>01.10.1948</c:v>
                </c:pt>
                <c:pt idx="19275">
                  <c:v>30.09.1948</c:v>
                </c:pt>
                <c:pt idx="19276">
                  <c:v>29.09.1948</c:v>
                </c:pt>
                <c:pt idx="19277">
                  <c:v>28.09.1948</c:v>
                </c:pt>
                <c:pt idx="19278">
                  <c:v>27.09.1948</c:v>
                </c:pt>
                <c:pt idx="19279">
                  <c:v>24.09.1948</c:v>
                </c:pt>
                <c:pt idx="19280">
                  <c:v>23.09.1948</c:v>
                </c:pt>
                <c:pt idx="19281">
                  <c:v>22.09.1948</c:v>
                </c:pt>
                <c:pt idx="19282">
                  <c:v>21.09.1948</c:v>
                </c:pt>
                <c:pt idx="19283">
                  <c:v>20.09.1948</c:v>
                </c:pt>
                <c:pt idx="19284">
                  <c:v>17.09.1948</c:v>
                </c:pt>
                <c:pt idx="19285">
                  <c:v>16.09.1948</c:v>
                </c:pt>
                <c:pt idx="19286">
                  <c:v>15.09.1948</c:v>
                </c:pt>
                <c:pt idx="19287">
                  <c:v>14.09.1948</c:v>
                </c:pt>
                <c:pt idx="19288">
                  <c:v>13.09.1948</c:v>
                </c:pt>
                <c:pt idx="19289">
                  <c:v>10.09.1948</c:v>
                </c:pt>
                <c:pt idx="19290">
                  <c:v>09.09.1948</c:v>
                </c:pt>
                <c:pt idx="19291">
                  <c:v>08.09.1948</c:v>
                </c:pt>
                <c:pt idx="19292">
                  <c:v>07.09.1948</c:v>
                </c:pt>
                <c:pt idx="19293">
                  <c:v>06.09.1948</c:v>
                </c:pt>
                <c:pt idx="19294">
                  <c:v>03.09.1948</c:v>
                </c:pt>
                <c:pt idx="19295">
                  <c:v>02.09.1948</c:v>
                </c:pt>
                <c:pt idx="19296">
                  <c:v>01.09.1948</c:v>
                </c:pt>
                <c:pt idx="19297">
                  <c:v>31.08.1948</c:v>
                </c:pt>
                <c:pt idx="19298">
                  <c:v>30.08.1948</c:v>
                </c:pt>
                <c:pt idx="19299">
                  <c:v>27.08.1948</c:v>
                </c:pt>
                <c:pt idx="19300">
                  <c:v>26.08.1948</c:v>
                </c:pt>
                <c:pt idx="19301">
                  <c:v>25.08.1948</c:v>
                </c:pt>
                <c:pt idx="19302">
                  <c:v>24.08.1948</c:v>
                </c:pt>
                <c:pt idx="19303">
                  <c:v>23.08.1948</c:v>
                </c:pt>
                <c:pt idx="19304">
                  <c:v>20.08.1948</c:v>
                </c:pt>
                <c:pt idx="19305">
                  <c:v>19.08.1948</c:v>
                </c:pt>
                <c:pt idx="19306">
                  <c:v>18.08.1948</c:v>
                </c:pt>
                <c:pt idx="19307">
                  <c:v>17.08.1948</c:v>
                </c:pt>
                <c:pt idx="19308">
                  <c:v>16.08.1948</c:v>
                </c:pt>
                <c:pt idx="19309">
                  <c:v>13.08.1948</c:v>
                </c:pt>
                <c:pt idx="19310">
                  <c:v>12.08.1948</c:v>
                </c:pt>
                <c:pt idx="19311">
                  <c:v>11.08.1948</c:v>
                </c:pt>
                <c:pt idx="19312">
                  <c:v>10.08.1948</c:v>
                </c:pt>
                <c:pt idx="19313">
                  <c:v>09.08.1948</c:v>
                </c:pt>
                <c:pt idx="19314">
                  <c:v>06.08.1948</c:v>
                </c:pt>
                <c:pt idx="19315">
                  <c:v>05.08.1948</c:v>
                </c:pt>
                <c:pt idx="19316">
                  <c:v>04.08.1948</c:v>
                </c:pt>
                <c:pt idx="19317">
                  <c:v>03.08.1948</c:v>
                </c:pt>
                <c:pt idx="19318">
                  <c:v>02.08.1948</c:v>
                </c:pt>
                <c:pt idx="19319">
                  <c:v>30.07.1948</c:v>
                </c:pt>
                <c:pt idx="19320">
                  <c:v>29.07.1948</c:v>
                </c:pt>
                <c:pt idx="19321">
                  <c:v>28.07.1948</c:v>
                </c:pt>
                <c:pt idx="19322">
                  <c:v>27.07.1948</c:v>
                </c:pt>
                <c:pt idx="19323">
                  <c:v>26.07.1948</c:v>
                </c:pt>
                <c:pt idx="19324">
                  <c:v>23.07.1948</c:v>
                </c:pt>
                <c:pt idx="19325">
                  <c:v>22.07.1948</c:v>
                </c:pt>
                <c:pt idx="19326">
                  <c:v>21.07.1948</c:v>
                </c:pt>
                <c:pt idx="19327">
                  <c:v>20.07.1948</c:v>
                </c:pt>
                <c:pt idx="19328">
                  <c:v>19.07.1948</c:v>
                </c:pt>
                <c:pt idx="19329">
                  <c:v>16.07.1948</c:v>
                </c:pt>
                <c:pt idx="19330">
                  <c:v>15.07.1948</c:v>
                </c:pt>
                <c:pt idx="19331">
                  <c:v>14.07.1948</c:v>
                </c:pt>
                <c:pt idx="19332">
                  <c:v>13.07.1948</c:v>
                </c:pt>
                <c:pt idx="19333">
                  <c:v>12.07.1948</c:v>
                </c:pt>
                <c:pt idx="19334">
                  <c:v>09.07.1948</c:v>
                </c:pt>
                <c:pt idx="19335">
                  <c:v>08.07.1948</c:v>
                </c:pt>
                <c:pt idx="19336">
                  <c:v>07.07.1948</c:v>
                </c:pt>
                <c:pt idx="19337">
                  <c:v>06.07.1948</c:v>
                </c:pt>
                <c:pt idx="19338">
                  <c:v>05.07.1948</c:v>
                </c:pt>
                <c:pt idx="19339">
                  <c:v>02.07.1948</c:v>
                </c:pt>
                <c:pt idx="19340">
                  <c:v>01.07.1948</c:v>
                </c:pt>
                <c:pt idx="19341">
                  <c:v>30.06.1948</c:v>
                </c:pt>
                <c:pt idx="19342">
                  <c:v>29.06.1948</c:v>
                </c:pt>
                <c:pt idx="19343">
                  <c:v>28.06.1948</c:v>
                </c:pt>
                <c:pt idx="19344">
                  <c:v>25.06.1948</c:v>
                </c:pt>
                <c:pt idx="19345">
                  <c:v>24.06.1948</c:v>
                </c:pt>
                <c:pt idx="19346">
                  <c:v>23.06.1948</c:v>
                </c:pt>
                <c:pt idx="19347">
                  <c:v>22.06.1948</c:v>
                </c:pt>
                <c:pt idx="19348">
                  <c:v>21.06.1948</c:v>
                </c:pt>
                <c:pt idx="19349">
                  <c:v>18.06.1948</c:v>
                </c:pt>
                <c:pt idx="19350">
                  <c:v>17.06.1948</c:v>
                </c:pt>
                <c:pt idx="19351">
                  <c:v>16.06.1948</c:v>
                </c:pt>
                <c:pt idx="19352">
                  <c:v>15.06.1948</c:v>
                </c:pt>
                <c:pt idx="19353">
                  <c:v>14.06.1948</c:v>
                </c:pt>
                <c:pt idx="19354">
                  <c:v>11.06.1948</c:v>
                </c:pt>
                <c:pt idx="19355">
                  <c:v>10.06.1948</c:v>
                </c:pt>
                <c:pt idx="19356">
                  <c:v>09.06.1948</c:v>
                </c:pt>
                <c:pt idx="19357">
                  <c:v>08.06.1948</c:v>
                </c:pt>
                <c:pt idx="19358">
                  <c:v>07.06.1948</c:v>
                </c:pt>
                <c:pt idx="19359">
                  <c:v>04.06.1948</c:v>
                </c:pt>
                <c:pt idx="19360">
                  <c:v>03.06.1948</c:v>
                </c:pt>
                <c:pt idx="19361">
                  <c:v>02.06.1948</c:v>
                </c:pt>
                <c:pt idx="19362">
                  <c:v>01.06.1948</c:v>
                </c:pt>
                <c:pt idx="19363">
                  <c:v>31.05.1948</c:v>
                </c:pt>
                <c:pt idx="19364">
                  <c:v>28.05.1948</c:v>
                </c:pt>
                <c:pt idx="19365">
                  <c:v>27.05.1948</c:v>
                </c:pt>
                <c:pt idx="19366">
                  <c:v>26.05.1948</c:v>
                </c:pt>
                <c:pt idx="19367">
                  <c:v>25.05.1948</c:v>
                </c:pt>
                <c:pt idx="19368">
                  <c:v>24.05.1948</c:v>
                </c:pt>
                <c:pt idx="19369">
                  <c:v>21.05.1948</c:v>
                </c:pt>
                <c:pt idx="19370">
                  <c:v>20.05.1948</c:v>
                </c:pt>
                <c:pt idx="19371">
                  <c:v>19.05.1948</c:v>
                </c:pt>
                <c:pt idx="19372">
                  <c:v>18.05.1948</c:v>
                </c:pt>
                <c:pt idx="19373">
                  <c:v>17.05.1948</c:v>
                </c:pt>
                <c:pt idx="19374">
                  <c:v>14.05.1948</c:v>
                </c:pt>
                <c:pt idx="19375">
                  <c:v>13.05.1948</c:v>
                </c:pt>
                <c:pt idx="19376">
                  <c:v>12.05.1948</c:v>
                </c:pt>
                <c:pt idx="19377">
                  <c:v>11.05.1948</c:v>
                </c:pt>
                <c:pt idx="19378">
                  <c:v>10.05.1948</c:v>
                </c:pt>
                <c:pt idx="19379">
                  <c:v>07.05.1948</c:v>
                </c:pt>
                <c:pt idx="19380">
                  <c:v>06.05.1948</c:v>
                </c:pt>
                <c:pt idx="19381">
                  <c:v>05.05.1948</c:v>
                </c:pt>
                <c:pt idx="19382">
                  <c:v>04.05.1948</c:v>
                </c:pt>
                <c:pt idx="19383">
                  <c:v>03.05.1948</c:v>
                </c:pt>
                <c:pt idx="19384">
                  <c:v>30.04.1948</c:v>
                </c:pt>
                <c:pt idx="19385">
                  <c:v>29.04.1948</c:v>
                </c:pt>
                <c:pt idx="19386">
                  <c:v>28.04.1948</c:v>
                </c:pt>
                <c:pt idx="19387">
                  <c:v>27.04.1948</c:v>
                </c:pt>
                <c:pt idx="19388">
                  <c:v>26.04.1948</c:v>
                </c:pt>
                <c:pt idx="19389">
                  <c:v>23.04.1948</c:v>
                </c:pt>
                <c:pt idx="19390">
                  <c:v>22.04.1948</c:v>
                </c:pt>
                <c:pt idx="19391">
                  <c:v>21.04.1948</c:v>
                </c:pt>
                <c:pt idx="19392">
                  <c:v>20.04.1948</c:v>
                </c:pt>
                <c:pt idx="19393">
                  <c:v>19.04.1948</c:v>
                </c:pt>
                <c:pt idx="19394">
                  <c:v>16.04.1948</c:v>
                </c:pt>
                <c:pt idx="19395">
                  <c:v>15.04.1948</c:v>
                </c:pt>
                <c:pt idx="19396">
                  <c:v>14.04.1948</c:v>
                </c:pt>
                <c:pt idx="19397">
                  <c:v>13.04.1948</c:v>
                </c:pt>
                <c:pt idx="19398">
                  <c:v>12.04.1948</c:v>
                </c:pt>
                <c:pt idx="19399">
                  <c:v>09.04.1948</c:v>
                </c:pt>
                <c:pt idx="19400">
                  <c:v>08.04.1948</c:v>
                </c:pt>
                <c:pt idx="19401">
                  <c:v>07.04.1948</c:v>
                </c:pt>
                <c:pt idx="19402">
                  <c:v>06.04.1948</c:v>
                </c:pt>
                <c:pt idx="19403">
                  <c:v>05.04.1948</c:v>
                </c:pt>
                <c:pt idx="19404">
                  <c:v>02.04.1948</c:v>
                </c:pt>
                <c:pt idx="19405">
                  <c:v>01.04.1948</c:v>
                </c:pt>
                <c:pt idx="19406">
                  <c:v>31.03.1948</c:v>
                </c:pt>
                <c:pt idx="19407">
                  <c:v>30.03.1948</c:v>
                </c:pt>
                <c:pt idx="19408">
                  <c:v>29.03.1948</c:v>
                </c:pt>
                <c:pt idx="19409">
                  <c:v>26.03.1948</c:v>
                </c:pt>
                <c:pt idx="19410">
                  <c:v>25.03.1948</c:v>
                </c:pt>
                <c:pt idx="19411">
                  <c:v>24.03.1948</c:v>
                </c:pt>
                <c:pt idx="19412">
                  <c:v>23.03.1948</c:v>
                </c:pt>
                <c:pt idx="19413">
                  <c:v>22.03.1948</c:v>
                </c:pt>
                <c:pt idx="19414">
                  <c:v>19.03.1948</c:v>
                </c:pt>
                <c:pt idx="19415">
                  <c:v>18.03.1948</c:v>
                </c:pt>
                <c:pt idx="19416">
                  <c:v>17.03.1948</c:v>
                </c:pt>
                <c:pt idx="19417">
                  <c:v>16.03.1948</c:v>
                </c:pt>
                <c:pt idx="19418">
                  <c:v>15.03.1948</c:v>
                </c:pt>
                <c:pt idx="19419">
                  <c:v>12.03.1948</c:v>
                </c:pt>
                <c:pt idx="19420">
                  <c:v>11.03.1948</c:v>
                </c:pt>
                <c:pt idx="19421">
                  <c:v>10.03.1948</c:v>
                </c:pt>
                <c:pt idx="19422">
                  <c:v>09.03.1948</c:v>
                </c:pt>
                <c:pt idx="19423">
                  <c:v>08.03.1948</c:v>
                </c:pt>
                <c:pt idx="19424">
                  <c:v>05.03.1948</c:v>
                </c:pt>
                <c:pt idx="19425">
                  <c:v>04.03.1948</c:v>
                </c:pt>
                <c:pt idx="19426">
                  <c:v>03.03.1948</c:v>
                </c:pt>
                <c:pt idx="19427">
                  <c:v>02.03.1948</c:v>
                </c:pt>
                <c:pt idx="19428">
                  <c:v>01.03.1948</c:v>
                </c:pt>
                <c:pt idx="19429">
                  <c:v>27.02.1948</c:v>
                </c:pt>
                <c:pt idx="19430">
                  <c:v>26.02.1948</c:v>
                </c:pt>
                <c:pt idx="19431">
                  <c:v>25.02.1948</c:v>
                </c:pt>
                <c:pt idx="19432">
                  <c:v>24.02.1948</c:v>
                </c:pt>
                <c:pt idx="19433">
                  <c:v>23.02.1948</c:v>
                </c:pt>
                <c:pt idx="19434">
                  <c:v>20.02.1948</c:v>
                </c:pt>
                <c:pt idx="19435">
                  <c:v>19.02.1948</c:v>
                </c:pt>
                <c:pt idx="19436">
                  <c:v>18.02.1948</c:v>
                </c:pt>
                <c:pt idx="19437">
                  <c:v>17.02.1948</c:v>
                </c:pt>
                <c:pt idx="19438">
                  <c:v>16.02.1948</c:v>
                </c:pt>
                <c:pt idx="19439">
                  <c:v>13.02.1948</c:v>
                </c:pt>
                <c:pt idx="19440">
                  <c:v>12.02.1948</c:v>
                </c:pt>
                <c:pt idx="19441">
                  <c:v>11.02.1948</c:v>
                </c:pt>
                <c:pt idx="19442">
                  <c:v>10.02.1948</c:v>
                </c:pt>
                <c:pt idx="19443">
                  <c:v>09.02.1948</c:v>
                </c:pt>
                <c:pt idx="19444">
                  <c:v>06.02.1948</c:v>
                </c:pt>
                <c:pt idx="19445">
                  <c:v>05.02.1948</c:v>
                </c:pt>
                <c:pt idx="19446">
                  <c:v>04.02.1948</c:v>
                </c:pt>
                <c:pt idx="19447">
                  <c:v>03.02.1948</c:v>
                </c:pt>
                <c:pt idx="19448">
                  <c:v>02.02.1948</c:v>
                </c:pt>
                <c:pt idx="19449">
                  <c:v>30.01.1948</c:v>
                </c:pt>
                <c:pt idx="19450">
                  <c:v>29.01.1948</c:v>
                </c:pt>
                <c:pt idx="19451">
                  <c:v>28.01.1948</c:v>
                </c:pt>
                <c:pt idx="19452">
                  <c:v>27.01.1948</c:v>
                </c:pt>
                <c:pt idx="19453">
                  <c:v>26.01.1948</c:v>
                </c:pt>
                <c:pt idx="19454">
                  <c:v>23.01.1948</c:v>
                </c:pt>
                <c:pt idx="19455">
                  <c:v>22.01.1948</c:v>
                </c:pt>
                <c:pt idx="19456">
                  <c:v>21.01.1948</c:v>
                </c:pt>
                <c:pt idx="19457">
                  <c:v>20.01.1948</c:v>
                </c:pt>
                <c:pt idx="19458">
                  <c:v>19.01.1948</c:v>
                </c:pt>
                <c:pt idx="19459">
                  <c:v>16.01.1948</c:v>
                </c:pt>
                <c:pt idx="19460">
                  <c:v>15.01.1948</c:v>
                </c:pt>
                <c:pt idx="19461">
                  <c:v>14.01.1948</c:v>
                </c:pt>
                <c:pt idx="19462">
                  <c:v>13.01.1948</c:v>
                </c:pt>
                <c:pt idx="19463">
                  <c:v>12.01.1948</c:v>
                </c:pt>
                <c:pt idx="19464">
                  <c:v>09.01.1948</c:v>
                </c:pt>
                <c:pt idx="19465">
                  <c:v>08.01.1948</c:v>
                </c:pt>
                <c:pt idx="19466">
                  <c:v>07.01.1948</c:v>
                </c:pt>
                <c:pt idx="19467">
                  <c:v>06.01.1948</c:v>
                </c:pt>
                <c:pt idx="19468">
                  <c:v>05.01.1948</c:v>
                </c:pt>
                <c:pt idx="19469">
                  <c:v>02.01.1948</c:v>
                </c:pt>
                <c:pt idx="19470">
                  <c:v>01.01.1948</c:v>
                </c:pt>
                <c:pt idx="19471">
                  <c:v>31.12.1947</c:v>
                </c:pt>
                <c:pt idx="19472">
                  <c:v>30.12.1947</c:v>
                </c:pt>
                <c:pt idx="19473">
                  <c:v>29.12.1947</c:v>
                </c:pt>
                <c:pt idx="19474">
                  <c:v>26.12.1947</c:v>
                </c:pt>
                <c:pt idx="19475">
                  <c:v>25.12.1947</c:v>
                </c:pt>
                <c:pt idx="19476">
                  <c:v>24.12.1947</c:v>
                </c:pt>
                <c:pt idx="19477">
                  <c:v>23.12.1947</c:v>
                </c:pt>
                <c:pt idx="19478">
                  <c:v>22.12.1947</c:v>
                </c:pt>
                <c:pt idx="19479">
                  <c:v>19.12.1947</c:v>
                </c:pt>
                <c:pt idx="19480">
                  <c:v>18.12.1947</c:v>
                </c:pt>
                <c:pt idx="19481">
                  <c:v>17.12.1947</c:v>
                </c:pt>
                <c:pt idx="19482">
                  <c:v>16.12.1947</c:v>
                </c:pt>
                <c:pt idx="19483">
                  <c:v>15.12.1947</c:v>
                </c:pt>
                <c:pt idx="19484">
                  <c:v>12.12.1947</c:v>
                </c:pt>
                <c:pt idx="19485">
                  <c:v>11.12.1947</c:v>
                </c:pt>
                <c:pt idx="19486">
                  <c:v>10.12.1947</c:v>
                </c:pt>
                <c:pt idx="19487">
                  <c:v>09.12.1947</c:v>
                </c:pt>
                <c:pt idx="19488">
                  <c:v>08.12.1947</c:v>
                </c:pt>
                <c:pt idx="19489">
                  <c:v>05.12.1947</c:v>
                </c:pt>
                <c:pt idx="19490">
                  <c:v>04.12.1947</c:v>
                </c:pt>
                <c:pt idx="19491">
                  <c:v>03.12.1947</c:v>
                </c:pt>
                <c:pt idx="19492">
                  <c:v>02.12.1947</c:v>
                </c:pt>
                <c:pt idx="19493">
                  <c:v>01.12.1947</c:v>
                </c:pt>
                <c:pt idx="19494">
                  <c:v>28.11.1947</c:v>
                </c:pt>
                <c:pt idx="19495">
                  <c:v>27.11.1947</c:v>
                </c:pt>
                <c:pt idx="19496">
                  <c:v>26.11.1947</c:v>
                </c:pt>
                <c:pt idx="19497">
                  <c:v>25.11.1947</c:v>
                </c:pt>
                <c:pt idx="19498">
                  <c:v>24.11.1947</c:v>
                </c:pt>
                <c:pt idx="19499">
                  <c:v>21.11.1947</c:v>
                </c:pt>
                <c:pt idx="19500">
                  <c:v>20.11.1947</c:v>
                </c:pt>
                <c:pt idx="19501">
                  <c:v>19.11.1947</c:v>
                </c:pt>
                <c:pt idx="19502">
                  <c:v>18.11.1947</c:v>
                </c:pt>
                <c:pt idx="19503">
                  <c:v>17.11.1947</c:v>
                </c:pt>
                <c:pt idx="19504">
                  <c:v>14.11.1947</c:v>
                </c:pt>
                <c:pt idx="19505">
                  <c:v>13.11.1947</c:v>
                </c:pt>
                <c:pt idx="19506">
                  <c:v>12.11.1947</c:v>
                </c:pt>
                <c:pt idx="19507">
                  <c:v>11.11.1947</c:v>
                </c:pt>
                <c:pt idx="19508">
                  <c:v>10.11.1947</c:v>
                </c:pt>
                <c:pt idx="19509">
                  <c:v>07.11.1947</c:v>
                </c:pt>
                <c:pt idx="19510">
                  <c:v>06.11.1947</c:v>
                </c:pt>
                <c:pt idx="19511">
                  <c:v>05.11.1947</c:v>
                </c:pt>
                <c:pt idx="19512">
                  <c:v>04.11.1947</c:v>
                </c:pt>
                <c:pt idx="19513">
                  <c:v>03.11.1947</c:v>
                </c:pt>
                <c:pt idx="19514">
                  <c:v>31.10.1947</c:v>
                </c:pt>
                <c:pt idx="19515">
                  <c:v>30.10.1947</c:v>
                </c:pt>
                <c:pt idx="19516">
                  <c:v>29.10.1947</c:v>
                </c:pt>
                <c:pt idx="19517">
                  <c:v>28.10.1947</c:v>
                </c:pt>
                <c:pt idx="19518">
                  <c:v>27.10.1947</c:v>
                </c:pt>
                <c:pt idx="19519">
                  <c:v>24.10.1947</c:v>
                </c:pt>
                <c:pt idx="19520">
                  <c:v>23.10.1947</c:v>
                </c:pt>
                <c:pt idx="19521">
                  <c:v>22.10.1947</c:v>
                </c:pt>
                <c:pt idx="19522">
                  <c:v>21.10.1947</c:v>
                </c:pt>
                <c:pt idx="19523">
                  <c:v>20.10.1947</c:v>
                </c:pt>
                <c:pt idx="19524">
                  <c:v>17.10.1947</c:v>
                </c:pt>
                <c:pt idx="19525">
                  <c:v>16.10.1947</c:v>
                </c:pt>
                <c:pt idx="19526">
                  <c:v>15.10.1947</c:v>
                </c:pt>
                <c:pt idx="19527">
                  <c:v>14.10.1947</c:v>
                </c:pt>
                <c:pt idx="19528">
                  <c:v>13.10.1947</c:v>
                </c:pt>
                <c:pt idx="19529">
                  <c:v>10.10.1947</c:v>
                </c:pt>
                <c:pt idx="19530">
                  <c:v>09.10.1947</c:v>
                </c:pt>
                <c:pt idx="19531">
                  <c:v>08.10.1947</c:v>
                </c:pt>
                <c:pt idx="19532">
                  <c:v>07.10.1947</c:v>
                </c:pt>
                <c:pt idx="19533">
                  <c:v>06.10.1947</c:v>
                </c:pt>
                <c:pt idx="19534">
                  <c:v>03.10.1947</c:v>
                </c:pt>
                <c:pt idx="19535">
                  <c:v>02.10.1947</c:v>
                </c:pt>
                <c:pt idx="19536">
                  <c:v>01.10.1947</c:v>
                </c:pt>
                <c:pt idx="19537">
                  <c:v>30.09.1947</c:v>
                </c:pt>
                <c:pt idx="19538">
                  <c:v>29.09.1947</c:v>
                </c:pt>
                <c:pt idx="19539">
                  <c:v>26.09.1947</c:v>
                </c:pt>
                <c:pt idx="19540">
                  <c:v>25.09.1947</c:v>
                </c:pt>
                <c:pt idx="19541">
                  <c:v>24.09.1947</c:v>
                </c:pt>
                <c:pt idx="19542">
                  <c:v>23.09.1947</c:v>
                </c:pt>
                <c:pt idx="19543">
                  <c:v>22.09.1947</c:v>
                </c:pt>
                <c:pt idx="19544">
                  <c:v>19.09.1947</c:v>
                </c:pt>
                <c:pt idx="19545">
                  <c:v>18.09.1947</c:v>
                </c:pt>
                <c:pt idx="19546">
                  <c:v>17.09.1947</c:v>
                </c:pt>
                <c:pt idx="19547">
                  <c:v>16.09.1947</c:v>
                </c:pt>
                <c:pt idx="19548">
                  <c:v>15.09.1947</c:v>
                </c:pt>
                <c:pt idx="19549">
                  <c:v>12.09.1947</c:v>
                </c:pt>
                <c:pt idx="19550">
                  <c:v>11.09.1947</c:v>
                </c:pt>
                <c:pt idx="19551">
                  <c:v>10.09.1947</c:v>
                </c:pt>
                <c:pt idx="19552">
                  <c:v>09.09.1947</c:v>
                </c:pt>
                <c:pt idx="19553">
                  <c:v>08.09.1947</c:v>
                </c:pt>
                <c:pt idx="19554">
                  <c:v>05.09.1947</c:v>
                </c:pt>
                <c:pt idx="19555">
                  <c:v>04.09.1947</c:v>
                </c:pt>
                <c:pt idx="19556">
                  <c:v>03.09.1947</c:v>
                </c:pt>
                <c:pt idx="19557">
                  <c:v>02.09.1947</c:v>
                </c:pt>
                <c:pt idx="19558">
                  <c:v>01.09.1947</c:v>
                </c:pt>
                <c:pt idx="19559">
                  <c:v>29.08.1947</c:v>
                </c:pt>
                <c:pt idx="19560">
                  <c:v>28.08.1947</c:v>
                </c:pt>
                <c:pt idx="19561">
                  <c:v>27.08.1947</c:v>
                </c:pt>
                <c:pt idx="19562">
                  <c:v>26.08.1947</c:v>
                </c:pt>
                <c:pt idx="19563">
                  <c:v>25.08.1947</c:v>
                </c:pt>
                <c:pt idx="19564">
                  <c:v>22.08.1947</c:v>
                </c:pt>
                <c:pt idx="19565">
                  <c:v>21.08.1947</c:v>
                </c:pt>
                <c:pt idx="19566">
                  <c:v>20.08.1947</c:v>
                </c:pt>
                <c:pt idx="19567">
                  <c:v>19.08.1947</c:v>
                </c:pt>
                <c:pt idx="19568">
                  <c:v>18.08.1947</c:v>
                </c:pt>
                <c:pt idx="19569">
                  <c:v>15.08.1947</c:v>
                </c:pt>
                <c:pt idx="19570">
                  <c:v>14.08.1947</c:v>
                </c:pt>
                <c:pt idx="19571">
                  <c:v>13.08.1947</c:v>
                </c:pt>
                <c:pt idx="19572">
                  <c:v>12.08.1947</c:v>
                </c:pt>
                <c:pt idx="19573">
                  <c:v>11.08.1947</c:v>
                </c:pt>
                <c:pt idx="19574">
                  <c:v>08.08.1947</c:v>
                </c:pt>
                <c:pt idx="19575">
                  <c:v>07.08.1947</c:v>
                </c:pt>
                <c:pt idx="19576">
                  <c:v>06.08.1947</c:v>
                </c:pt>
                <c:pt idx="19577">
                  <c:v>05.08.1947</c:v>
                </c:pt>
                <c:pt idx="19578">
                  <c:v>04.08.1947</c:v>
                </c:pt>
                <c:pt idx="19579">
                  <c:v>01.08.1947</c:v>
                </c:pt>
                <c:pt idx="19580">
                  <c:v>31.07.1947</c:v>
                </c:pt>
                <c:pt idx="19581">
                  <c:v>30.07.1947</c:v>
                </c:pt>
                <c:pt idx="19582">
                  <c:v>29.07.1947</c:v>
                </c:pt>
                <c:pt idx="19583">
                  <c:v>28.07.1947</c:v>
                </c:pt>
                <c:pt idx="19584">
                  <c:v>25.07.1947</c:v>
                </c:pt>
                <c:pt idx="19585">
                  <c:v>24.07.1947</c:v>
                </c:pt>
                <c:pt idx="19586">
                  <c:v>23.07.1947</c:v>
                </c:pt>
                <c:pt idx="19587">
                  <c:v>22.07.1947</c:v>
                </c:pt>
                <c:pt idx="19588">
                  <c:v>21.07.1947</c:v>
                </c:pt>
                <c:pt idx="19589">
                  <c:v>18.07.1947</c:v>
                </c:pt>
                <c:pt idx="19590">
                  <c:v>17.07.1947</c:v>
                </c:pt>
                <c:pt idx="19591">
                  <c:v>16.07.1947</c:v>
                </c:pt>
                <c:pt idx="19592">
                  <c:v>15.07.1947</c:v>
                </c:pt>
                <c:pt idx="19593">
                  <c:v>14.07.1947</c:v>
                </c:pt>
                <c:pt idx="19594">
                  <c:v>11.07.1947</c:v>
                </c:pt>
                <c:pt idx="19595">
                  <c:v>10.07.1947</c:v>
                </c:pt>
                <c:pt idx="19596">
                  <c:v>09.07.1947</c:v>
                </c:pt>
                <c:pt idx="19597">
                  <c:v>08.07.1947</c:v>
                </c:pt>
                <c:pt idx="19598">
                  <c:v>07.07.1947</c:v>
                </c:pt>
                <c:pt idx="19599">
                  <c:v>04.07.1947</c:v>
                </c:pt>
                <c:pt idx="19600">
                  <c:v>03.07.1947</c:v>
                </c:pt>
                <c:pt idx="19601">
                  <c:v>02.07.1947</c:v>
                </c:pt>
                <c:pt idx="19602">
                  <c:v>01.07.1947</c:v>
                </c:pt>
                <c:pt idx="19603">
                  <c:v>30.06.1947</c:v>
                </c:pt>
                <c:pt idx="19604">
                  <c:v>27.06.1947</c:v>
                </c:pt>
                <c:pt idx="19605">
                  <c:v>26.06.1947</c:v>
                </c:pt>
                <c:pt idx="19606">
                  <c:v>25.06.1947</c:v>
                </c:pt>
                <c:pt idx="19607">
                  <c:v>24.06.1947</c:v>
                </c:pt>
                <c:pt idx="19608">
                  <c:v>23.06.1947</c:v>
                </c:pt>
                <c:pt idx="19609">
                  <c:v>20.06.1947</c:v>
                </c:pt>
                <c:pt idx="19610">
                  <c:v>19.06.1947</c:v>
                </c:pt>
                <c:pt idx="19611">
                  <c:v>18.06.1947</c:v>
                </c:pt>
                <c:pt idx="19612">
                  <c:v>17.06.1947</c:v>
                </c:pt>
                <c:pt idx="19613">
                  <c:v>16.06.1947</c:v>
                </c:pt>
                <c:pt idx="19614">
                  <c:v>13.06.1947</c:v>
                </c:pt>
                <c:pt idx="19615">
                  <c:v>12.06.1947</c:v>
                </c:pt>
                <c:pt idx="19616">
                  <c:v>11.06.1947</c:v>
                </c:pt>
                <c:pt idx="19617">
                  <c:v>10.06.1947</c:v>
                </c:pt>
                <c:pt idx="19618">
                  <c:v>09.06.1947</c:v>
                </c:pt>
                <c:pt idx="19619">
                  <c:v>06.06.1947</c:v>
                </c:pt>
                <c:pt idx="19620">
                  <c:v>05.06.1947</c:v>
                </c:pt>
                <c:pt idx="19621">
                  <c:v>04.06.1947</c:v>
                </c:pt>
                <c:pt idx="19622">
                  <c:v>03.06.1947</c:v>
                </c:pt>
                <c:pt idx="19623">
                  <c:v>02.06.1947</c:v>
                </c:pt>
                <c:pt idx="19624">
                  <c:v>30.05.1947</c:v>
                </c:pt>
                <c:pt idx="19625">
                  <c:v>29.05.1947</c:v>
                </c:pt>
                <c:pt idx="19626">
                  <c:v>28.05.1947</c:v>
                </c:pt>
                <c:pt idx="19627">
                  <c:v>27.05.1947</c:v>
                </c:pt>
                <c:pt idx="19628">
                  <c:v>26.05.1947</c:v>
                </c:pt>
                <c:pt idx="19629">
                  <c:v>23.05.1947</c:v>
                </c:pt>
                <c:pt idx="19630">
                  <c:v>22.05.1947</c:v>
                </c:pt>
                <c:pt idx="19631">
                  <c:v>21.05.1947</c:v>
                </c:pt>
                <c:pt idx="19632">
                  <c:v>20.05.1947</c:v>
                </c:pt>
                <c:pt idx="19633">
                  <c:v>19.05.1947</c:v>
                </c:pt>
                <c:pt idx="19634">
                  <c:v>16.05.1947</c:v>
                </c:pt>
                <c:pt idx="19635">
                  <c:v>15.05.1947</c:v>
                </c:pt>
                <c:pt idx="19636">
                  <c:v>14.05.1947</c:v>
                </c:pt>
                <c:pt idx="19637">
                  <c:v>13.05.1947</c:v>
                </c:pt>
                <c:pt idx="19638">
                  <c:v>12.05.1947</c:v>
                </c:pt>
                <c:pt idx="19639">
                  <c:v>09.05.1947</c:v>
                </c:pt>
                <c:pt idx="19640">
                  <c:v>08.05.1947</c:v>
                </c:pt>
                <c:pt idx="19641">
                  <c:v>07.05.1947</c:v>
                </c:pt>
                <c:pt idx="19642">
                  <c:v>06.05.1947</c:v>
                </c:pt>
                <c:pt idx="19643">
                  <c:v>05.05.1947</c:v>
                </c:pt>
                <c:pt idx="19644">
                  <c:v>02.05.1947</c:v>
                </c:pt>
                <c:pt idx="19645">
                  <c:v>01.05.1947</c:v>
                </c:pt>
                <c:pt idx="19646">
                  <c:v>30.04.1947</c:v>
                </c:pt>
                <c:pt idx="19647">
                  <c:v>29.04.1947</c:v>
                </c:pt>
                <c:pt idx="19648">
                  <c:v>28.04.1947</c:v>
                </c:pt>
                <c:pt idx="19649">
                  <c:v>25.04.1947</c:v>
                </c:pt>
                <c:pt idx="19650">
                  <c:v>24.04.1947</c:v>
                </c:pt>
                <c:pt idx="19651">
                  <c:v>23.04.1947</c:v>
                </c:pt>
                <c:pt idx="19652">
                  <c:v>22.04.1947</c:v>
                </c:pt>
                <c:pt idx="19653">
                  <c:v>21.04.1947</c:v>
                </c:pt>
                <c:pt idx="19654">
                  <c:v>18.04.1947</c:v>
                </c:pt>
                <c:pt idx="19655">
                  <c:v>17.04.1947</c:v>
                </c:pt>
                <c:pt idx="19656">
                  <c:v>16.04.1947</c:v>
                </c:pt>
                <c:pt idx="19657">
                  <c:v>15.04.1947</c:v>
                </c:pt>
                <c:pt idx="19658">
                  <c:v>14.04.1947</c:v>
                </c:pt>
                <c:pt idx="19659">
                  <c:v>11.04.1947</c:v>
                </c:pt>
                <c:pt idx="19660">
                  <c:v>10.04.1947</c:v>
                </c:pt>
                <c:pt idx="19661">
                  <c:v>09.04.1947</c:v>
                </c:pt>
                <c:pt idx="19662">
                  <c:v>08.04.1947</c:v>
                </c:pt>
                <c:pt idx="19663">
                  <c:v>07.04.1947</c:v>
                </c:pt>
                <c:pt idx="19664">
                  <c:v>04.04.1947</c:v>
                </c:pt>
                <c:pt idx="19665">
                  <c:v>03.04.1947</c:v>
                </c:pt>
                <c:pt idx="19666">
                  <c:v>02.04.1947</c:v>
                </c:pt>
                <c:pt idx="19667">
                  <c:v>01.04.1947</c:v>
                </c:pt>
                <c:pt idx="19668">
                  <c:v>31.03.1947</c:v>
                </c:pt>
                <c:pt idx="19669">
                  <c:v>28.03.1947</c:v>
                </c:pt>
                <c:pt idx="19670">
                  <c:v>27.03.1947</c:v>
                </c:pt>
                <c:pt idx="19671">
                  <c:v>26.03.1947</c:v>
                </c:pt>
                <c:pt idx="19672">
                  <c:v>25.03.1947</c:v>
                </c:pt>
                <c:pt idx="19673">
                  <c:v>24.03.1947</c:v>
                </c:pt>
                <c:pt idx="19674">
                  <c:v>21.03.1947</c:v>
                </c:pt>
                <c:pt idx="19675">
                  <c:v>20.03.1947</c:v>
                </c:pt>
                <c:pt idx="19676">
                  <c:v>19.03.1947</c:v>
                </c:pt>
                <c:pt idx="19677">
                  <c:v>18.03.1947</c:v>
                </c:pt>
                <c:pt idx="19678">
                  <c:v>17.03.1947</c:v>
                </c:pt>
                <c:pt idx="19679">
                  <c:v>14.03.1947</c:v>
                </c:pt>
                <c:pt idx="19680">
                  <c:v>13.03.1947</c:v>
                </c:pt>
                <c:pt idx="19681">
                  <c:v>12.03.1947</c:v>
                </c:pt>
                <c:pt idx="19682">
                  <c:v>11.03.1947</c:v>
                </c:pt>
                <c:pt idx="19683">
                  <c:v>10.03.1947</c:v>
                </c:pt>
                <c:pt idx="19684">
                  <c:v>07.03.1947</c:v>
                </c:pt>
                <c:pt idx="19685">
                  <c:v>06.03.1947</c:v>
                </c:pt>
                <c:pt idx="19686">
                  <c:v>05.03.1947</c:v>
                </c:pt>
                <c:pt idx="19687">
                  <c:v>04.03.1947</c:v>
                </c:pt>
                <c:pt idx="19688">
                  <c:v>03.03.1947</c:v>
                </c:pt>
                <c:pt idx="19689">
                  <c:v>28.02.1947</c:v>
                </c:pt>
                <c:pt idx="19690">
                  <c:v>27.02.1947</c:v>
                </c:pt>
                <c:pt idx="19691">
                  <c:v>26.02.1947</c:v>
                </c:pt>
                <c:pt idx="19692">
                  <c:v>25.02.1947</c:v>
                </c:pt>
                <c:pt idx="19693">
                  <c:v>24.02.1947</c:v>
                </c:pt>
                <c:pt idx="19694">
                  <c:v>21.02.1947</c:v>
                </c:pt>
                <c:pt idx="19695">
                  <c:v>20.02.1947</c:v>
                </c:pt>
                <c:pt idx="19696">
                  <c:v>19.02.1947</c:v>
                </c:pt>
                <c:pt idx="19697">
                  <c:v>18.02.1947</c:v>
                </c:pt>
                <c:pt idx="19698">
                  <c:v>17.02.1947</c:v>
                </c:pt>
                <c:pt idx="19699">
                  <c:v>14.02.1947</c:v>
                </c:pt>
                <c:pt idx="19700">
                  <c:v>13.02.1947</c:v>
                </c:pt>
                <c:pt idx="19701">
                  <c:v>12.02.1947</c:v>
                </c:pt>
                <c:pt idx="19702">
                  <c:v>11.02.1947</c:v>
                </c:pt>
                <c:pt idx="19703">
                  <c:v>10.02.1947</c:v>
                </c:pt>
                <c:pt idx="19704">
                  <c:v>07.02.1947</c:v>
                </c:pt>
                <c:pt idx="19705">
                  <c:v>06.02.1947</c:v>
                </c:pt>
                <c:pt idx="19706">
                  <c:v>05.02.1947</c:v>
                </c:pt>
                <c:pt idx="19707">
                  <c:v>04.02.1947</c:v>
                </c:pt>
                <c:pt idx="19708">
                  <c:v>03.02.1947</c:v>
                </c:pt>
                <c:pt idx="19709">
                  <c:v>31.01.1947</c:v>
                </c:pt>
                <c:pt idx="19710">
                  <c:v>30.01.1947</c:v>
                </c:pt>
                <c:pt idx="19711">
                  <c:v>29.01.1947</c:v>
                </c:pt>
                <c:pt idx="19712">
                  <c:v>28.01.1947</c:v>
                </c:pt>
                <c:pt idx="19713">
                  <c:v>27.01.1947</c:v>
                </c:pt>
                <c:pt idx="19714">
                  <c:v>24.01.1947</c:v>
                </c:pt>
                <c:pt idx="19715">
                  <c:v>23.01.1947</c:v>
                </c:pt>
                <c:pt idx="19716">
                  <c:v>22.01.1947</c:v>
                </c:pt>
                <c:pt idx="19717">
                  <c:v>21.01.1947</c:v>
                </c:pt>
                <c:pt idx="19718">
                  <c:v>20.01.1947</c:v>
                </c:pt>
                <c:pt idx="19719">
                  <c:v>17.01.1947</c:v>
                </c:pt>
                <c:pt idx="19720">
                  <c:v>16.01.1947</c:v>
                </c:pt>
                <c:pt idx="19721">
                  <c:v>15.01.1947</c:v>
                </c:pt>
                <c:pt idx="19722">
                  <c:v>14.01.1947</c:v>
                </c:pt>
                <c:pt idx="19723">
                  <c:v>13.01.1947</c:v>
                </c:pt>
                <c:pt idx="19724">
                  <c:v>10.01.1947</c:v>
                </c:pt>
                <c:pt idx="19725">
                  <c:v>09.01.1947</c:v>
                </c:pt>
                <c:pt idx="19726">
                  <c:v>08.01.1947</c:v>
                </c:pt>
                <c:pt idx="19727">
                  <c:v>07.01.1947</c:v>
                </c:pt>
                <c:pt idx="19728">
                  <c:v>06.01.1947</c:v>
                </c:pt>
                <c:pt idx="19729">
                  <c:v>03.01.1947</c:v>
                </c:pt>
                <c:pt idx="19730">
                  <c:v>02.01.1947</c:v>
                </c:pt>
                <c:pt idx="19731">
                  <c:v>01.01.1947</c:v>
                </c:pt>
                <c:pt idx="19732">
                  <c:v>31.12.1946</c:v>
                </c:pt>
                <c:pt idx="19733">
                  <c:v>30.12.1946</c:v>
                </c:pt>
                <c:pt idx="19734">
                  <c:v>27.12.1946</c:v>
                </c:pt>
                <c:pt idx="19735">
                  <c:v>26.12.1946</c:v>
                </c:pt>
                <c:pt idx="19736">
                  <c:v>25.12.1946</c:v>
                </c:pt>
                <c:pt idx="19737">
                  <c:v>24.12.1946</c:v>
                </c:pt>
                <c:pt idx="19738">
                  <c:v>23.12.1946</c:v>
                </c:pt>
                <c:pt idx="19739">
                  <c:v>20.12.1946</c:v>
                </c:pt>
                <c:pt idx="19740">
                  <c:v>19.12.1946</c:v>
                </c:pt>
                <c:pt idx="19741">
                  <c:v>18.12.1946</c:v>
                </c:pt>
                <c:pt idx="19742">
                  <c:v>17.12.1946</c:v>
                </c:pt>
                <c:pt idx="19743">
                  <c:v>16.12.1946</c:v>
                </c:pt>
                <c:pt idx="19744">
                  <c:v>13.12.1946</c:v>
                </c:pt>
                <c:pt idx="19745">
                  <c:v>12.12.1946</c:v>
                </c:pt>
                <c:pt idx="19746">
                  <c:v>11.12.1946</c:v>
                </c:pt>
                <c:pt idx="19747">
                  <c:v>10.12.1946</c:v>
                </c:pt>
                <c:pt idx="19748">
                  <c:v>09.12.1946</c:v>
                </c:pt>
                <c:pt idx="19749">
                  <c:v>06.12.1946</c:v>
                </c:pt>
                <c:pt idx="19750">
                  <c:v>05.12.1946</c:v>
                </c:pt>
                <c:pt idx="19751">
                  <c:v>04.12.1946</c:v>
                </c:pt>
                <c:pt idx="19752">
                  <c:v>03.12.1946</c:v>
                </c:pt>
                <c:pt idx="19753">
                  <c:v>02.12.1946</c:v>
                </c:pt>
                <c:pt idx="19754">
                  <c:v>29.11.1946</c:v>
                </c:pt>
                <c:pt idx="19755">
                  <c:v>28.11.1946</c:v>
                </c:pt>
                <c:pt idx="19756">
                  <c:v>27.11.1946</c:v>
                </c:pt>
                <c:pt idx="19757">
                  <c:v>26.11.1946</c:v>
                </c:pt>
                <c:pt idx="19758">
                  <c:v>25.11.1946</c:v>
                </c:pt>
                <c:pt idx="19759">
                  <c:v>22.11.1946</c:v>
                </c:pt>
                <c:pt idx="19760">
                  <c:v>21.11.1946</c:v>
                </c:pt>
                <c:pt idx="19761">
                  <c:v>20.11.1946</c:v>
                </c:pt>
                <c:pt idx="19762">
                  <c:v>19.11.1946</c:v>
                </c:pt>
                <c:pt idx="19763">
                  <c:v>18.11.1946</c:v>
                </c:pt>
                <c:pt idx="19764">
                  <c:v>15.11.1946</c:v>
                </c:pt>
                <c:pt idx="19765">
                  <c:v>14.11.1946</c:v>
                </c:pt>
                <c:pt idx="19766">
                  <c:v>13.11.1946</c:v>
                </c:pt>
                <c:pt idx="19767">
                  <c:v>12.11.1946</c:v>
                </c:pt>
                <c:pt idx="19768">
                  <c:v>11.11.1946</c:v>
                </c:pt>
                <c:pt idx="19769">
                  <c:v>08.11.1946</c:v>
                </c:pt>
                <c:pt idx="19770">
                  <c:v>07.11.1946</c:v>
                </c:pt>
                <c:pt idx="19771">
                  <c:v>06.11.1946</c:v>
                </c:pt>
                <c:pt idx="19772">
                  <c:v>05.11.1946</c:v>
                </c:pt>
                <c:pt idx="19773">
                  <c:v>04.11.1946</c:v>
                </c:pt>
                <c:pt idx="19774">
                  <c:v>01.11.1946</c:v>
                </c:pt>
                <c:pt idx="19775">
                  <c:v>31.10.1946</c:v>
                </c:pt>
                <c:pt idx="19776">
                  <c:v>30.10.1946</c:v>
                </c:pt>
                <c:pt idx="19777">
                  <c:v>29.10.1946</c:v>
                </c:pt>
                <c:pt idx="19778">
                  <c:v>28.10.1946</c:v>
                </c:pt>
                <c:pt idx="19779">
                  <c:v>25.10.1946</c:v>
                </c:pt>
                <c:pt idx="19780">
                  <c:v>24.10.1946</c:v>
                </c:pt>
                <c:pt idx="19781">
                  <c:v>23.10.1946</c:v>
                </c:pt>
                <c:pt idx="19782">
                  <c:v>22.10.1946</c:v>
                </c:pt>
                <c:pt idx="19783">
                  <c:v>21.10.1946</c:v>
                </c:pt>
                <c:pt idx="19784">
                  <c:v>18.10.1946</c:v>
                </c:pt>
                <c:pt idx="19785">
                  <c:v>17.10.1946</c:v>
                </c:pt>
                <c:pt idx="19786">
                  <c:v>16.10.1946</c:v>
                </c:pt>
                <c:pt idx="19787">
                  <c:v>15.10.1946</c:v>
                </c:pt>
                <c:pt idx="19788">
                  <c:v>14.10.1946</c:v>
                </c:pt>
                <c:pt idx="19789">
                  <c:v>11.10.1946</c:v>
                </c:pt>
                <c:pt idx="19790">
                  <c:v>10.10.1946</c:v>
                </c:pt>
                <c:pt idx="19791">
                  <c:v>09.10.1946</c:v>
                </c:pt>
                <c:pt idx="19792">
                  <c:v>08.10.1946</c:v>
                </c:pt>
                <c:pt idx="19793">
                  <c:v>07.10.1946</c:v>
                </c:pt>
                <c:pt idx="19794">
                  <c:v>04.10.1946</c:v>
                </c:pt>
                <c:pt idx="19795">
                  <c:v>03.10.1946</c:v>
                </c:pt>
                <c:pt idx="19796">
                  <c:v>02.10.1946</c:v>
                </c:pt>
                <c:pt idx="19797">
                  <c:v>01.10.1946</c:v>
                </c:pt>
                <c:pt idx="19798">
                  <c:v>30.09.1946</c:v>
                </c:pt>
                <c:pt idx="19799">
                  <c:v>27.09.1946</c:v>
                </c:pt>
                <c:pt idx="19800">
                  <c:v>26.09.1946</c:v>
                </c:pt>
                <c:pt idx="19801">
                  <c:v>25.09.1946</c:v>
                </c:pt>
                <c:pt idx="19802">
                  <c:v>24.09.1946</c:v>
                </c:pt>
                <c:pt idx="19803">
                  <c:v>23.09.1946</c:v>
                </c:pt>
                <c:pt idx="19804">
                  <c:v>20.09.1946</c:v>
                </c:pt>
                <c:pt idx="19805">
                  <c:v>19.09.1946</c:v>
                </c:pt>
                <c:pt idx="19806">
                  <c:v>18.09.1946</c:v>
                </c:pt>
                <c:pt idx="19807">
                  <c:v>17.09.1946</c:v>
                </c:pt>
                <c:pt idx="19808">
                  <c:v>16.09.1946</c:v>
                </c:pt>
                <c:pt idx="19809">
                  <c:v>13.09.1946</c:v>
                </c:pt>
                <c:pt idx="19810">
                  <c:v>12.09.1946</c:v>
                </c:pt>
                <c:pt idx="19811">
                  <c:v>11.09.1946</c:v>
                </c:pt>
                <c:pt idx="19812">
                  <c:v>10.09.1946</c:v>
                </c:pt>
                <c:pt idx="19813">
                  <c:v>09.09.1946</c:v>
                </c:pt>
                <c:pt idx="19814">
                  <c:v>06.09.1946</c:v>
                </c:pt>
                <c:pt idx="19815">
                  <c:v>05.09.1946</c:v>
                </c:pt>
                <c:pt idx="19816">
                  <c:v>04.09.1946</c:v>
                </c:pt>
                <c:pt idx="19817">
                  <c:v>03.09.1946</c:v>
                </c:pt>
                <c:pt idx="19818">
                  <c:v>02.09.1946</c:v>
                </c:pt>
                <c:pt idx="19819">
                  <c:v>30.08.1946</c:v>
                </c:pt>
                <c:pt idx="19820">
                  <c:v>29.08.1946</c:v>
                </c:pt>
                <c:pt idx="19821">
                  <c:v>28.08.1946</c:v>
                </c:pt>
                <c:pt idx="19822">
                  <c:v>27.08.1946</c:v>
                </c:pt>
                <c:pt idx="19823">
                  <c:v>26.08.1946</c:v>
                </c:pt>
                <c:pt idx="19824">
                  <c:v>23.08.1946</c:v>
                </c:pt>
                <c:pt idx="19825">
                  <c:v>22.08.1946</c:v>
                </c:pt>
                <c:pt idx="19826">
                  <c:v>21.08.1946</c:v>
                </c:pt>
                <c:pt idx="19827">
                  <c:v>20.08.1946</c:v>
                </c:pt>
                <c:pt idx="19828">
                  <c:v>19.08.1946</c:v>
                </c:pt>
                <c:pt idx="19829">
                  <c:v>16.08.1946</c:v>
                </c:pt>
                <c:pt idx="19830">
                  <c:v>15.08.1946</c:v>
                </c:pt>
                <c:pt idx="19831">
                  <c:v>14.08.1946</c:v>
                </c:pt>
                <c:pt idx="19832">
                  <c:v>13.08.1946</c:v>
                </c:pt>
                <c:pt idx="19833">
                  <c:v>12.08.1946</c:v>
                </c:pt>
                <c:pt idx="19834">
                  <c:v>09.08.1946</c:v>
                </c:pt>
                <c:pt idx="19835">
                  <c:v>08.08.1946</c:v>
                </c:pt>
                <c:pt idx="19836">
                  <c:v>07.08.1946</c:v>
                </c:pt>
                <c:pt idx="19837">
                  <c:v>06.08.1946</c:v>
                </c:pt>
                <c:pt idx="19838">
                  <c:v>05.08.1946</c:v>
                </c:pt>
                <c:pt idx="19839">
                  <c:v>02.08.1946</c:v>
                </c:pt>
                <c:pt idx="19840">
                  <c:v>01.08.1946</c:v>
                </c:pt>
                <c:pt idx="19841">
                  <c:v>31.07.1946</c:v>
                </c:pt>
                <c:pt idx="19842">
                  <c:v>30.07.1946</c:v>
                </c:pt>
                <c:pt idx="19843">
                  <c:v>29.07.1946</c:v>
                </c:pt>
                <c:pt idx="19844">
                  <c:v>26.07.1946</c:v>
                </c:pt>
                <c:pt idx="19845">
                  <c:v>25.07.1946</c:v>
                </c:pt>
                <c:pt idx="19846">
                  <c:v>24.07.1946</c:v>
                </c:pt>
                <c:pt idx="19847">
                  <c:v>23.07.1946</c:v>
                </c:pt>
                <c:pt idx="19848">
                  <c:v>22.07.1946</c:v>
                </c:pt>
                <c:pt idx="19849">
                  <c:v>19.07.1946</c:v>
                </c:pt>
                <c:pt idx="19850">
                  <c:v>18.07.1946</c:v>
                </c:pt>
                <c:pt idx="19851">
                  <c:v>17.07.1946</c:v>
                </c:pt>
                <c:pt idx="19852">
                  <c:v>16.07.1946</c:v>
                </c:pt>
                <c:pt idx="19853">
                  <c:v>15.07.1946</c:v>
                </c:pt>
                <c:pt idx="19854">
                  <c:v>12.07.1946</c:v>
                </c:pt>
                <c:pt idx="19855">
                  <c:v>11.07.1946</c:v>
                </c:pt>
                <c:pt idx="19856">
                  <c:v>10.07.1946</c:v>
                </c:pt>
                <c:pt idx="19857">
                  <c:v>09.07.1946</c:v>
                </c:pt>
                <c:pt idx="19858">
                  <c:v>08.07.1946</c:v>
                </c:pt>
                <c:pt idx="19859">
                  <c:v>05.07.1946</c:v>
                </c:pt>
                <c:pt idx="19860">
                  <c:v>04.07.1946</c:v>
                </c:pt>
                <c:pt idx="19861">
                  <c:v>03.07.1946</c:v>
                </c:pt>
                <c:pt idx="19862">
                  <c:v>02.07.1946</c:v>
                </c:pt>
                <c:pt idx="19863">
                  <c:v>01.07.1946</c:v>
                </c:pt>
                <c:pt idx="19864">
                  <c:v>28.06.1946</c:v>
                </c:pt>
                <c:pt idx="19865">
                  <c:v>27.06.1946</c:v>
                </c:pt>
                <c:pt idx="19866">
                  <c:v>26.06.1946</c:v>
                </c:pt>
                <c:pt idx="19867">
                  <c:v>25.06.1946</c:v>
                </c:pt>
                <c:pt idx="19868">
                  <c:v>24.06.1946</c:v>
                </c:pt>
                <c:pt idx="19869">
                  <c:v>21.06.1946</c:v>
                </c:pt>
                <c:pt idx="19870">
                  <c:v>20.06.1946</c:v>
                </c:pt>
                <c:pt idx="19871">
                  <c:v>19.06.1946</c:v>
                </c:pt>
                <c:pt idx="19872">
                  <c:v>18.06.1946</c:v>
                </c:pt>
                <c:pt idx="19873">
                  <c:v>17.06.1946</c:v>
                </c:pt>
                <c:pt idx="19874">
                  <c:v>14.06.1946</c:v>
                </c:pt>
                <c:pt idx="19875">
                  <c:v>13.06.1946</c:v>
                </c:pt>
                <c:pt idx="19876">
                  <c:v>12.06.1946</c:v>
                </c:pt>
                <c:pt idx="19877">
                  <c:v>11.06.1946</c:v>
                </c:pt>
                <c:pt idx="19878">
                  <c:v>10.06.1946</c:v>
                </c:pt>
                <c:pt idx="19879">
                  <c:v>07.06.1946</c:v>
                </c:pt>
                <c:pt idx="19880">
                  <c:v>06.06.1946</c:v>
                </c:pt>
                <c:pt idx="19881">
                  <c:v>05.06.1946</c:v>
                </c:pt>
                <c:pt idx="19882">
                  <c:v>04.06.1946</c:v>
                </c:pt>
                <c:pt idx="19883">
                  <c:v>03.06.1946</c:v>
                </c:pt>
                <c:pt idx="19884">
                  <c:v>31.05.1946</c:v>
                </c:pt>
                <c:pt idx="19885">
                  <c:v>30.05.1946</c:v>
                </c:pt>
                <c:pt idx="19886">
                  <c:v>29.05.1946</c:v>
                </c:pt>
                <c:pt idx="19887">
                  <c:v>28.05.1946</c:v>
                </c:pt>
                <c:pt idx="19888">
                  <c:v>27.05.1946</c:v>
                </c:pt>
                <c:pt idx="19889">
                  <c:v>24.05.1946</c:v>
                </c:pt>
                <c:pt idx="19890">
                  <c:v>23.05.1946</c:v>
                </c:pt>
                <c:pt idx="19891">
                  <c:v>22.05.1946</c:v>
                </c:pt>
                <c:pt idx="19892">
                  <c:v>21.05.1946</c:v>
                </c:pt>
                <c:pt idx="19893">
                  <c:v>20.05.1946</c:v>
                </c:pt>
                <c:pt idx="19894">
                  <c:v>17.05.1946</c:v>
                </c:pt>
                <c:pt idx="19895">
                  <c:v>16.05.1946</c:v>
                </c:pt>
                <c:pt idx="19896">
                  <c:v>15.05.1946</c:v>
                </c:pt>
                <c:pt idx="19897">
                  <c:v>14.05.1946</c:v>
                </c:pt>
                <c:pt idx="19898">
                  <c:v>13.05.1946</c:v>
                </c:pt>
                <c:pt idx="19899">
                  <c:v>10.05.1946</c:v>
                </c:pt>
                <c:pt idx="19900">
                  <c:v>09.05.1946</c:v>
                </c:pt>
                <c:pt idx="19901">
                  <c:v>08.05.1946</c:v>
                </c:pt>
                <c:pt idx="19902">
                  <c:v>07.05.1946</c:v>
                </c:pt>
                <c:pt idx="19903">
                  <c:v>06.05.1946</c:v>
                </c:pt>
                <c:pt idx="19904">
                  <c:v>03.05.1946</c:v>
                </c:pt>
                <c:pt idx="19905">
                  <c:v>02.05.1946</c:v>
                </c:pt>
                <c:pt idx="19906">
                  <c:v>01.05.1946</c:v>
                </c:pt>
                <c:pt idx="19907">
                  <c:v>30.04.1946</c:v>
                </c:pt>
                <c:pt idx="19908">
                  <c:v>29.04.1946</c:v>
                </c:pt>
                <c:pt idx="19909">
                  <c:v>26.04.1946</c:v>
                </c:pt>
                <c:pt idx="19910">
                  <c:v>25.04.1946</c:v>
                </c:pt>
                <c:pt idx="19911">
                  <c:v>24.04.1946</c:v>
                </c:pt>
                <c:pt idx="19912">
                  <c:v>23.04.1946</c:v>
                </c:pt>
                <c:pt idx="19913">
                  <c:v>22.04.1946</c:v>
                </c:pt>
                <c:pt idx="19914">
                  <c:v>19.04.1946</c:v>
                </c:pt>
                <c:pt idx="19915">
                  <c:v>18.04.1946</c:v>
                </c:pt>
                <c:pt idx="19916">
                  <c:v>17.04.1946</c:v>
                </c:pt>
                <c:pt idx="19917">
                  <c:v>16.04.1946</c:v>
                </c:pt>
                <c:pt idx="19918">
                  <c:v>15.04.1946</c:v>
                </c:pt>
                <c:pt idx="19919">
                  <c:v>12.04.1946</c:v>
                </c:pt>
                <c:pt idx="19920">
                  <c:v>11.04.1946</c:v>
                </c:pt>
                <c:pt idx="19921">
                  <c:v>10.04.1946</c:v>
                </c:pt>
                <c:pt idx="19922">
                  <c:v>09.04.1946</c:v>
                </c:pt>
                <c:pt idx="19923">
                  <c:v>08.04.1946</c:v>
                </c:pt>
                <c:pt idx="19924">
                  <c:v>05.04.1946</c:v>
                </c:pt>
                <c:pt idx="19925">
                  <c:v>04.04.1946</c:v>
                </c:pt>
                <c:pt idx="19926">
                  <c:v>03.04.1946</c:v>
                </c:pt>
                <c:pt idx="19927">
                  <c:v>02.04.1946</c:v>
                </c:pt>
                <c:pt idx="19928">
                  <c:v>01.04.1946</c:v>
                </c:pt>
                <c:pt idx="19929">
                  <c:v>29.03.1946</c:v>
                </c:pt>
                <c:pt idx="19930">
                  <c:v>28.03.1946</c:v>
                </c:pt>
                <c:pt idx="19931">
                  <c:v>27.03.1946</c:v>
                </c:pt>
                <c:pt idx="19932">
                  <c:v>26.03.1946</c:v>
                </c:pt>
                <c:pt idx="19933">
                  <c:v>25.03.1946</c:v>
                </c:pt>
                <c:pt idx="19934">
                  <c:v>22.03.1946</c:v>
                </c:pt>
                <c:pt idx="19935">
                  <c:v>21.03.1946</c:v>
                </c:pt>
                <c:pt idx="19936">
                  <c:v>20.03.1946</c:v>
                </c:pt>
                <c:pt idx="19937">
                  <c:v>19.03.1946</c:v>
                </c:pt>
                <c:pt idx="19938">
                  <c:v>18.03.1946</c:v>
                </c:pt>
                <c:pt idx="19939">
                  <c:v>15.03.1946</c:v>
                </c:pt>
                <c:pt idx="19940">
                  <c:v>14.03.1946</c:v>
                </c:pt>
                <c:pt idx="19941">
                  <c:v>13.03.1946</c:v>
                </c:pt>
                <c:pt idx="19942">
                  <c:v>12.03.1946</c:v>
                </c:pt>
                <c:pt idx="19943">
                  <c:v>11.03.1946</c:v>
                </c:pt>
                <c:pt idx="19944">
                  <c:v>08.03.1946</c:v>
                </c:pt>
                <c:pt idx="19945">
                  <c:v>07.03.1946</c:v>
                </c:pt>
                <c:pt idx="19946">
                  <c:v>06.03.1946</c:v>
                </c:pt>
                <c:pt idx="19947">
                  <c:v>05.03.1946</c:v>
                </c:pt>
                <c:pt idx="19948">
                  <c:v>04.03.1946</c:v>
                </c:pt>
                <c:pt idx="19949">
                  <c:v>01.03.1946</c:v>
                </c:pt>
                <c:pt idx="19950">
                  <c:v>28.02.1946</c:v>
                </c:pt>
                <c:pt idx="19951">
                  <c:v>27.02.1946</c:v>
                </c:pt>
                <c:pt idx="19952">
                  <c:v>26.02.1946</c:v>
                </c:pt>
                <c:pt idx="19953">
                  <c:v>25.02.1946</c:v>
                </c:pt>
                <c:pt idx="19954">
                  <c:v>22.02.1946</c:v>
                </c:pt>
                <c:pt idx="19955">
                  <c:v>21.02.1946</c:v>
                </c:pt>
                <c:pt idx="19956">
                  <c:v>20.02.1946</c:v>
                </c:pt>
                <c:pt idx="19957">
                  <c:v>19.02.1946</c:v>
                </c:pt>
                <c:pt idx="19958">
                  <c:v>18.02.1946</c:v>
                </c:pt>
                <c:pt idx="19959">
                  <c:v>15.02.1946</c:v>
                </c:pt>
                <c:pt idx="19960">
                  <c:v>14.02.1946</c:v>
                </c:pt>
                <c:pt idx="19961">
                  <c:v>13.02.1946</c:v>
                </c:pt>
                <c:pt idx="19962">
                  <c:v>12.02.1946</c:v>
                </c:pt>
                <c:pt idx="19963">
                  <c:v>11.02.1946</c:v>
                </c:pt>
                <c:pt idx="19964">
                  <c:v>08.02.1946</c:v>
                </c:pt>
                <c:pt idx="19965">
                  <c:v>07.02.1946</c:v>
                </c:pt>
                <c:pt idx="19966">
                  <c:v>06.02.1946</c:v>
                </c:pt>
                <c:pt idx="19967">
                  <c:v>05.02.1946</c:v>
                </c:pt>
                <c:pt idx="19968">
                  <c:v>04.02.1946</c:v>
                </c:pt>
                <c:pt idx="19969">
                  <c:v>01.02.1946</c:v>
                </c:pt>
                <c:pt idx="19970">
                  <c:v>31.01.1946</c:v>
                </c:pt>
                <c:pt idx="19971">
                  <c:v>30.01.1946</c:v>
                </c:pt>
                <c:pt idx="19972">
                  <c:v>29.01.1946</c:v>
                </c:pt>
                <c:pt idx="19973">
                  <c:v>28.01.1946</c:v>
                </c:pt>
                <c:pt idx="19974">
                  <c:v>25.01.1946</c:v>
                </c:pt>
                <c:pt idx="19975">
                  <c:v>24.01.1946</c:v>
                </c:pt>
                <c:pt idx="19976">
                  <c:v>23.01.1946</c:v>
                </c:pt>
                <c:pt idx="19977">
                  <c:v>22.01.1946</c:v>
                </c:pt>
                <c:pt idx="19978">
                  <c:v>21.01.1946</c:v>
                </c:pt>
                <c:pt idx="19979">
                  <c:v>18.01.1946</c:v>
                </c:pt>
                <c:pt idx="19980">
                  <c:v>17.01.1946</c:v>
                </c:pt>
                <c:pt idx="19981">
                  <c:v>16.01.1946</c:v>
                </c:pt>
                <c:pt idx="19982">
                  <c:v>15.01.1946</c:v>
                </c:pt>
                <c:pt idx="19983">
                  <c:v>14.01.1946</c:v>
                </c:pt>
                <c:pt idx="19984">
                  <c:v>11.01.1946</c:v>
                </c:pt>
                <c:pt idx="19985">
                  <c:v>10.01.1946</c:v>
                </c:pt>
                <c:pt idx="19986">
                  <c:v>09.01.1946</c:v>
                </c:pt>
                <c:pt idx="19987">
                  <c:v>08.01.1946</c:v>
                </c:pt>
                <c:pt idx="19988">
                  <c:v>07.01.1946</c:v>
                </c:pt>
                <c:pt idx="19989">
                  <c:v>04.01.1946</c:v>
                </c:pt>
                <c:pt idx="19990">
                  <c:v>03.01.1946</c:v>
                </c:pt>
                <c:pt idx="19991">
                  <c:v>02.01.1946</c:v>
                </c:pt>
                <c:pt idx="19992">
                  <c:v>01.01.1946</c:v>
                </c:pt>
                <c:pt idx="19993">
                  <c:v>31.12.1945</c:v>
                </c:pt>
                <c:pt idx="19994">
                  <c:v>28.12.1945</c:v>
                </c:pt>
                <c:pt idx="19995">
                  <c:v>27.12.1945</c:v>
                </c:pt>
                <c:pt idx="19996">
                  <c:v>26.12.1945</c:v>
                </c:pt>
                <c:pt idx="19997">
                  <c:v>25.12.1945</c:v>
                </c:pt>
                <c:pt idx="19998">
                  <c:v>24.12.1945</c:v>
                </c:pt>
                <c:pt idx="19999">
                  <c:v>21.12.1945</c:v>
                </c:pt>
                <c:pt idx="20000">
                  <c:v>20.12.1945</c:v>
                </c:pt>
                <c:pt idx="20001">
                  <c:v>19.12.1945</c:v>
                </c:pt>
                <c:pt idx="20002">
                  <c:v>18.12.1945</c:v>
                </c:pt>
                <c:pt idx="20003">
                  <c:v>17.12.1945</c:v>
                </c:pt>
                <c:pt idx="20004">
                  <c:v>14.12.1945</c:v>
                </c:pt>
                <c:pt idx="20005">
                  <c:v>13.12.1945</c:v>
                </c:pt>
                <c:pt idx="20006">
                  <c:v>12.12.1945</c:v>
                </c:pt>
                <c:pt idx="20007">
                  <c:v>11.12.1945</c:v>
                </c:pt>
                <c:pt idx="20008">
                  <c:v>10.12.1945</c:v>
                </c:pt>
                <c:pt idx="20009">
                  <c:v>07.12.1945</c:v>
                </c:pt>
                <c:pt idx="20010">
                  <c:v>06.12.1945</c:v>
                </c:pt>
                <c:pt idx="20011">
                  <c:v>05.12.1945</c:v>
                </c:pt>
                <c:pt idx="20012">
                  <c:v>04.12.1945</c:v>
                </c:pt>
                <c:pt idx="20013">
                  <c:v>03.12.1945</c:v>
                </c:pt>
                <c:pt idx="20014">
                  <c:v>30.11.1945</c:v>
                </c:pt>
                <c:pt idx="20015">
                  <c:v>29.11.1945</c:v>
                </c:pt>
                <c:pt idx="20016">
                  <c:v>28.11.1945</c:v>
                </c:pt>
                <c:pt idx="20017">
                  <c:v>27.11.1945</c:v>
                </c:pt>
                <c:pt idx="20018">
                  <c:v>26.11.1945</c:v>
                </c:pt>
                <c:pt idx="20019">
                  <c:v>23.11.1945</c:v>
                </c:pt>
                <c:pt idx="20020">
                  <c:v>22.11.1945</c:v>
                </c:pt>
                <c:pt idx="20021">
                  <c:v>21.11.1945</c:v>
                </c:pt>
                <c:pt idx="20022">
                  <c:v>20.11.1945</c:v>
                </c:pt>
                <c:pt idx="20023">
                  <c:v>19.11.1945</c:v>
                </c:pt>
                <c:pt idx="20024">
                  <c:v>16.11.1945</c:v>
                </c:pt>
                <c:pt idx="20025">
                  <c:v>15.11.1945</c:v>
                </c:pt>
                <c:pt idx="20026">
                  <c:v>14.11.1945</c:v>
                </c:pt>
                <c:pt idx="20027">
                  <c:v>13.11.1945</c:v>
                </c:pt>
                <c:pt idx="20028">
                  <c:v>12.11.1945</c:v>
                </c:pt>
                <c:pt idx="20029">
                  <c:v>09.11.1945</c:v>
                </c:pt>
                <c:pt idx="20030">
                  <c:v>08.11.1945</c:v>
                </c:pt>
                <c:pt idx="20031">
                  <c:v>07.11.1945</c:v>
                </c:pt>
                <c:pt idx="20032">
                  <c:v>06.11.1945</c:v>
                </c:pt>
                <c:pt idx="20033">
                  <c:v>05.11.1945</c:v>
                </c:pt>
                <c:pt idx="20034">
                  <c:v>02.11.1945</c:v>
                </c:pt>
                <c:pt idx="20035">
                  <c:v>01.11.1945</c:v>
                </c:pt>
                <c:pt idx="20036">
                  <c:v>31.10.1945</c:v>
                </c:pt>
                <c:pt idx="20037">
                  <c:v>30.10.1945</c:v>
                </c:pt>
                <c:pt idx="20038">
                  <c:v>29.10.1945</c:v>
                </c:pt>
                <c:pt idx="20039">
                  <c:v>26.10.1945</c:v>
                </c:pt>
                <c:pt idx="20040">
                  <c:v>25.10.1945</c:v>
                </c:pt>
                <c:pt idx="20041">
                  <c:v>24.10.1945</c:v>
                </c:pt>
                <c:pt idx="20042">
                  <c:v>23.10.1945</c:v>
                </c:pt>
                <c:pt idx="20043">
                  <c:v>22.10.1945</c:v>
                </c:pt>
                <c:pt idx="20044">
                  <c:v>19.10.1945</c:v>
                </c:pt>
                <c:pt idx="20045">
                  <c:v>18.10.1945</c:v>
                </c:pt>
                <c:pt idx="20046">
                  <c:v>17.10.1945</c:v>
                </c:pt>
                <c:pt idx="20047">
                  <c:v>16.10.1945</c:v>
                </c:pt>
                <c:pt idx="20048">
                  <c:v>15.10.1945</c:v>
                </c:pt>
                <c:pt idx="20049">
                  <c:v>12.10.1945</c:v>
                </c:pt>
                <c:pt idx="20050">
                  <c:v>11.10.1945</c:v>
                </c:pt>
                <c:pt idx="20051">
                  <c:v>10.10.1945</c:v>
                </c:pt>
                <c:pt idx="20052">
                  <c:v>09.10.1945</c:v>
                </c:pt>
                <c:pt idx="20053">
                  <c:v>08.10.1945</c:v>
                </c:pt>
                <c:pt idx="20054">
                  <c:v>05.10.1945</c:v>
                </c:pt>
                <c:pt idx="20055">
                  <c:v>04.10.1945</c:v>
                </c:pt>
                <c:pt idx="20056">
                  <c:v>03.10.1945</c:v>
                </c:pt>
                <c:pt idx="20057">
                  <c:v>02.10.1945</c:v>
                </c:pt>
                <c:pt idx="20058">
                  <c:v>01.10.1945</c:v>
                </c:pt>
                <c:pt idx="20059">
                  <c:v>28.09.1945</c:v>
                </c:pt>
                <c:pt idx="20060">
                  <c:v>27.09.1945</c:v>
                </c:pt>
                <c:pt idx="20061">
                  <c:v>26.09.1945</c:v>
                </c:pt>
                <c:pt idx="20062">
                  <c:v>25.09.1945</c:v>
                </c:pt>
                <c:pt idx="20063">
                  <c:v>24.09.1945</c:v>
                </c:pt>
                <c:pt idx="20064">
                  <c:v>21.09.1945</c:v>
                </c:pt>
                <c:pt idx="20065">
                  <c:v>20.09.1945</c:v>
                </c:pt>
                <c:pt idx="20066">
                  <c:v>19.09.1945</c:v>
                </c:pt>
                <c:pt idx="20067">
                  <c:v>18.09.1945</c:v>
                </c:pt>
                <c:pt idx="20068">
                  <c:v>17.09.1945</c:v>
                </c:pt>
                <c:pt idx="20069">
                  <c:v>14.09.1945</c:v>
                </c:pt>
                <c:pt idx="20070">
                  <c:v>13.09.1945</c:v>
                </c:pt>
                <c:pt idx="20071">
                  <c:v>12.09.1945</c:v>
                </c:pt>
                <c:pt idx="20072">
                  <c:v>11.09.1945</c:v>
                </c:pt>
                <c:pt idx="20073">
                  <c:v>10.09.1945</c:v>
                </c:pt>
                <c:pt idx="20074">
                  <c:v>07.09.1945</c:v>
                </c:pt>
                <c:pt idx="20075">
                  <c:v>06.09.1945</c:v>
                </c:pt>
                <c:pt idx="20076">
                  <c:v>05.09.1945</c:v>
                </c:pt>
                <c:pt idx="20077">
                  <c:v>04.09.1945</c:v>
                </c:pt>
                <c:pt idx="20078">
                  <c:v>03.09.1945</c:v>
                </c:pt>
                <c:pt idx="20079">
                  <c:v>31.08.1945</c:v>
                </c:pt>
                <c:pt idx="20080">
                  <c:v>30.08.1945</c:v>
                </c:pt>
                <c:pt idx="20081">
                  <c:v>29.08.1945</c:v>
                </c:pt>
                <c:pt idx="20082">
                  <c:v>28.08.1945</c:v>
                </c:pt>
                <c:pt idx="20083">
                  <c:v>27.08.1945</c:v>
                </c:pt>
                <c:pt idx="20084">
                  <c:v>24.08.1945</c:v>
                </c:pt>
                <c:pt idx="20085">
                  <c:v>23.08.1945</c:v>
                </c:pt>
                <c:pt idx="20086">
                  <c:v>22.08.1945</c:v>
                </c:pt>
                <c:pt idx="20087">
                  <c:v>21.08.1945</c:v>
                </c:pt>
                <c:pt idx="20088">
                  <c:v>20.08.1945</c:v>
                </c:pt>
                <c:pt idx="20089">
                  <c:v>17.08.1945</c:v>
                </c:pt>
                <c:pt idx="20090">
                  <c:v>16.08.1945</c:v>
                </c:pt>
                <c:pt idx="20091">
                  <c:v>15.08.1945</c:v>
                </c:pt>
                <c:pt idx="20092">
                  <c:v>14.08.1945</c:v>
                </c:pt>
                <c:pt idx="20093">
                  <c:v>13.08.1945</c:v>
                </c:pt>
                <c:pt idx="20094">
                  <c:v>10.08.1945</c:v>
                </c:pt>
                <c:pt idx="20095">
                  <c:v>09.08.1945</c:v>
                </c:pt>
                <c:pt idx="20096">
                  <c:v>08.08.1945</c:v>
                </c:pt>
                <c:pt idx="20097">
                  <c:v>07.08.1945</c:v>
                </c:pt>
                <c:pt idx="20098">
                  <c:v>06.08.1945</c:v>
                </c:pt>
                <c:pt idx="20099">
                  <c:v>03.08.1945</c:v>
                </c:pt>
                <c:pt idx="20100">
                  <c:v>02.08.1945</c:v>
                </c:pt>
                <c:pt idx="20101">
                  <c:v>01.08.1945</c:v>
                </c:pt>
                <c:pt idx="20102">
                  <c:v>31.07.1945</c:v>
                </c:pt>
                <c:pt idx="20103">
                  <c:v>30.07.1945</c:v>
                </c:pt>
                <c:pt idx="20104">
                  <c:v>27.07.1945</c:v>
                </c:pt>
                <c:pt idx="20105">
                  <c:v>26.07.1945</c:v>
                </c:pt>
                <c:pt idx="20106">
                  <c:v>25.07.1945</c:v>
                </c:pt>
                <c:pt idx="20107">
                  <c:v>24.07.1945</c:v>
                </c:pt>
                <c:pt idx="20108">
                  <c:v>23.07.1945</c:v>
                </c:pt>
                <c:pt idx="20109">
                  <c:v>20.07.1945</c:v>
                </c:pt>
                <c:pt idx="20110">
                  <c:v>19.07.1945</c:v>
                </c:pt>
                <c:pt idx="20111">
                  <c:v>18.07.1945</c:v>
                </c:pt>
                <c:pt idx="20112">
                  <c:v>17.07.1945</c:v>
                </c:pt>
                <c:pt idx="20113">
                  <c:v>16.07.1945</c:v>
                </c:pt>
                <c:pt idx="20114">
                  <c:v>13.07.1945</c:v>
                </c:pt>
                <c:pt idx="20115">
                  <c:v>12.07.1945</c:v>
                </c:pt>
                <c:pt idx="20116">
                  <c:v>11.07.1945</c:v>
                </c:pt>
                <c:pt idx="20117">
                  <c:v>10.07.1945</c:v>
                </c:pt>
                <c:pt idx="20118">
                  <c:v>09.07.1945</c:v>
                </c:pt>
                <c:pt idx="20119">
                  <c:v>06.07.1945</c:v>
                </c:pt>
                <c:pt idx="20120">
                  <c:v>05.07.1945</c:v>
                </c:pt>
                <c:pt idx="20121">
                  <c:v>04.07.1945</c:v>
                </c:pt>
                <c:pt idx="20122">
                  <c:v>03.07.1945</c:v>
                </c:pt>
                <c:pt idx="20123">
                  <c:v>02.07.1945</c:v>
                </c:pt>
                <c:pt idx="20124">
                  <c:v>29.06.1945</c:v>
                </c:pt>
                <c:pt idx="20125">
                  <c:v>28.06.1945</c:v>
                </c:pt>
                <c:pt idx="20126">
                  <c:v>27.06.1945</c:v>
                </c:pt>
                <c:pt idx="20127">
                  <c:v>26.06.1945</c:v>
                </c:pt>
                <c:pt idx="20128">
                  <c:v>25.06.1945</c:v>
                </c:pt>
                <c:pt idx="20129">
                  <c:v>22.06.1945</c:v>
                </c:pt>
                <c:pt idx="20130">
                  <c:v>21.06.1945</c:v>
                </c:pt>
                <c:pt idx="20131">
                  <c:v>20.06.1945</c:v>
                </c:pt>
                <c:pt idx="20132">
                  <c:v>19.06.1945</c:v>
                </c:pt>
                <c:pt idx="20133">
                  <c:v>18.06.1945</c:v>
                </c:pt>
                <c:pt idx="20134">
                  <c:v>15.06.1945</c:v>
                </c:pt>
                <c:pt idx="20135">
                  <c:v>14.06.1945</c:v>
                </c:pt>
                <c:pt idx="20136">
                  <c:v>13.06.1945</c:v>
                </c:pt>
                <c:pt idx="20137">
                  <c:v>12.06.1945</c:v>
                </c:pt>
                <c:pt idx="20138">
                  <c:v>11.06.1945</c:v>
                </c:pt>
                <c:pt idx="20139">
                  <c:v>08.06.1945</c:v>
                </c:pt>
                <c:pt idx="20140">
                  <c:v>07.06.1945</c:v>
                </c:pt>
                <c:pt idx="20141">
                  <c:v>06.06.1945</c:v>
                </c:pt>
                <c:pt idx="20142">
                  <c:v>05.06.1945</c:v>
                </c:pt>
                <c:pt idx="20143">
                  <c:v>04.06.1945</c:v>
                </c:pt>
                <c:pt idx="20144">
                  <c:v>01.06.1945</c:v>
                </c:pt>
                <c:pt idx="20145">
                  <c:v>31.05.1945</c:v>
                </c:pt>
                <c:pt idx="20146">
                  <c:v>30.05.1945</c:v>
                </c:pt>
                <c:pt idx="20147">
                  <c:v>29.05.1945</c:v>
                </c:pt>
                <c:pt idx="20148">
                  <c:v>28.05.1945</c:v>
                </c:pt>
                <c:pt idx="20149">
                  <c:v>25.05.1945</c:v>
                </c:pt>
                <c:pt idx="20150">
                  <c:v>24.05.1945</c:v>
                </c:pt>
                <c:pt idx="20151">
                  <c:v>23.05.1945</c:v>
                </c:pt>
                <c:pt idx="20152">
                  <c:v>22.05.1945</c:v>
                </c:pt>
                <c:pt idx="20153">
                  <c:v>21.05.1945</c:v>
                </c:pt>
                <c:pt idx="20154">
                  <c:v>18.05.1945</c:v>
                </c:pt>
                <c:pt idx="20155">
                  <c:v>17.05.1945</c:v>
                </c:pt>
                <c:pt idx="20156">
                  <c:v>16.05.1945</c:v>
                </c:pt>
                <c:pt idx="20157">
                  <c:v>15.05.1945</c:v>
                </c:pt>
                <c:pt idx="20158">
                  <c:v>14.05.1945</c:v>
                </c:pt>
                <c:pt idx="20159">
                  <c:v>11.05.1945</c:v>
                </c:pt>
                <c:pt idx="20160">
                  <c:v>10.05.1945</c:v>
                </c:pt>
                <c:pt idx="20161">
                  <c:v>09.05.1945</c:v>
                </c:pt>
                <c:pt idx="20162">
                  <c:v>08.05.1945</c:v>
                </c:pt>
                <c:pt idx="20163">
                  <c:v>07.05.1945</c:v>
                </c:pt>
                <c:pt idx="20164">
                  <c:v>04.05.1945</c:v>
                </c:pt>
                <c:pt idx="20165">
                  <c:v>03.05.1945</c:v>
                </c:pt>
                <c:pt idx="20166">
                  <c:v>02.05.1945</c:v>
                </c:pt>
                <c:pt idx="20167">
                  <c:v>01.05.1945</c:v>
                </c:pt>
                <c:pt idx="20168">
                  <c:v>30.04.1945</c:v>
                </c:pt>
                <c:pt idx="20169">
                  <c:v>27.04.1945</c:v>
                </c:pt>
                <c:pt idx="20170">
                  <c:v>26.04.1945</c:v>
                </c:pt>
                <c:pt idx="20171">
                  <c:v>25.04.1945</c:v>
                </c:pt>
                <c:pt idx="20172">
                  <c:v>24.04.1945</c:v>
                </c:pt>
                <c:pt idx="20173">
                  <c:v>23.04.1945</c:v>
                </c:pt>
                <c:pt idx="20174">
                  <c:v>20.04.1945</c:v>
                </c:pt>
                <c:pt idx="20175">
                  <c:v>19.04.1945</c:v>
                </c:pt>
                <c:pt idx="20176">
                  <c:v>18.04.1945</c:v>
                </c:pt>
                <c:pt idx="20177">
                  <c:v>17.04.1945</c:v>
                </c:pt>
                <c:pt idx="20178">
                  <c:v>16.04.1945</c:v>
                </c:pt>
                <c:pt idx="20179">
                  <c:v>13.04.1945</c:v>
                </c:pt>
                <c:pt idx="20180">
                  <c:v>12.04.1945</c:v>
                </c:pt>
                <c:pt idx="20181">
                  <c:v>11.04.1945</c:v>
                </c:pt>
                <c:pt idx="20182">
                  <c:v>10.04.1945</c:v>
                </c:pt>
                <c:pt idx="20183">
                  <c:v>09.04.1945</c:v>
                </c:pt>
                <c:pt idx="20184">
                  <c:v>06.04.1945</c:v>
                </c:pt>
                <c:pt idx="20185">
                  <c:v>05.04.1945</c:v>
                </c:pt>
                <c:pt idx="20186">
                  <c:v>04.04.1945</c:v>
                </c:pt>
                <c:pt idx="20187">
                  <c:v>03.04.1945</c:v>
                </c:pt>
                <c:pt idx="20188">
                  <c:v>02.04.1945</c:v>
                </c:pt>
                <c:pt idx="20189">
                  <c:v>30.03.1945</c:v>
                </c:pt>
                <c:pt idx="20190">
                  <c:v>29.03.1945</c:v>
                </c:pt>
                <c:pt idx="20191">
                  <c:v>28.03.1945</c:v>
                </c:pt>
                <c:pt idx="20192">
                  <c:v>27.03.1945</c:v>
                </c:pt>
                <c:pt idx="20193">
                  <c:v>26.03.1945</c:v>
                </c:pt>
                <c:pt idx="20194">
                  <c:v>23.03.1945</c:v>
                </c:pt>
                <c:pt idx="20195">
                  <c:v>22.03.1945</c:v>
                </c:pt>
                <c:pt idx="20196">
                  <c:v>21.03.1945</c:v>
                </c:pt>
                <c:pt idx="20197">
                  <c:v>20.03.1945</c:v>
                </c:pt>
                <c:pt idx="20198">
                  <c:v>19.03.1945</c:v>
                </c:pt>
                <c:pt idx="20199">
                  <c:v>16.03.1945</c:v>
                </c:pt>
                <c:pt idx="20200">
                  <c:v>15.03.1945</c:v>
                </c:pt>
                <c:pt idx="20201">
                  <c:v>14.03.1945</c:v>
                </c:pt>
                <c:pt idx="20202">
                  <c:v>13.03.1945</c:v>
                </c:pt>
                <c:pt idx="20203">
                  <c:v>12.03.1945</c:v>
                </c:pt>
                <c:pt idx="20204">
                  <c:v>09.03.1945</c:v>
                </c:pt>
                <c:pt idx="20205">
                  <c:v>08.03.1945</c:v>
                </c:pt>
                <c:pt idx="20206">
                  <c:v>07.03.1945</c:v>
                </c:pt>
                <c:pt idx="20207">
                  <c:v>06.03.1945</c:v>
                </c:pt>
                <c:pt idx="20208">
                  <c:v>05.03.1945</c:v>
                </c:pt>
                <c:pt idx="20209">
                  <c:v>02.03.1945</c:v>
                </c:pt>
                <c:pt idx="20210">
                  <c:v>01.03.1945</c:v>
                </c:pt>
                <c:pt idx="20211">
                  <c:v>28.02.1945</c:v>
                </c:pt>
                <c:pt idx="20212">
                  <c:v>27.02.1945</c:v>
                </c:pt>
                <c:pt idx="20213">
                  <c:v>26.02.1945</c:v>
                </c:pt>
                <c:pt idx="20214">
                  <c:v>23.02.1945</c:v>
                </c:pt>
                <c:pt idx="20215">
                  <c:v>22.02.1945</c:v>
                </c:pt>
                <c:pt idx="20216">
                  <c:v>21.02.1945</c:v>
                </c:pt>
                <c:pt idx="20217">
                  <c:v>20.02.1945</c:v>
                </c:pt>
                <c:pt idx="20218">
                  <c:v>19.02.1945</c:v>
                </c:pt>
                <c:pt idx="20219">
                  <c:v>16.02.1945</c:v>
                </c:pt>
                <c:pt idx="20220">
                  <c:v>15.02.1945</c:v>
                </c:pt>
                <c:pt idx="20221">
                  <c:v>14.02.1945</c:v>
                </c:pt>
                <c:pt idx="20222">
                  <c:v>13.02.1945</c:v>
                </c:pt>
                <c:pt idx="20223">
                  <c:v>12.02.1945</c:v>
                </c:pt>
                <c:pt idx="20224">
                  <c:v>09.02.1945</c:v>
                </c:pt>
                <c:pt idx="20225">
                  <c:v>08.02.1945</c:v>
                </c:pt>
                <c:pt idx="20226">
                  <c:v>07.02.1945</c:v>
                </c:pt>
                <c:pt idx="20227">
                  <c:v>06.02.1945</c:v>
                </c:pt>
                <c:pt idx="20228">
                  <c:v>05.02.1945</c:v>
                </c:pt>
                <c:pt idx="20229">
                  <c:v>02.02.1945</c:v>
                </c:pt>
                <c:pt idx="20230">
                  <c:v>01.02.1945</c:v>
                </c:pt>
                <c:pt idx="20231">
                  <c:v>31.01.1945</c:v>
                </c:pt>
                <c:pt idx="20232">
                  <c:v>30.01.1945</c:v>
                </c:pt>
                <c:pt idx="20233">
                  <c:v>29.01.1945</c:v>
                </c:pt>
                <c:pt idx="20234">
                  <c:v>26.01.1945</c:v>
                </c:pt>
                <c:pt idx="20235">
                  <c:v>25.01.1945</c:v>
                </c:pt>
                <c:pt idx="20236">
                  <c:v>24.01.1945</c:v>
                </c:pt>
                <c:pt idx="20237">
                  <c:v>23.01.1945</c:v>
                </c:pt>
                <c:pt idx="20238">
                  <c:v>22.01.1945</c:v>
                </c:pt>
                <c:pt idx="20239">
                  <c:v>19.01.1945</c:v>
                </c:pt>
                <c:pt idx="20240">
                  <c:v>18.01.1945</c:v>
                </c:pt>
                <c:pt idx="20241">
                  <c:v>17.01.1945</c:v>
                </c:pt>
                <c:pt idx="20242">
                  <c:v>16.01.1945</c:v>
                </c:pt>
                <c:pt idx="20243">
                  <c:v>15.01.1945</c:v>
                </c:pt>
                <c:pt idx="20244">
                  <c:v>12.01.1945</c:v>
                </c:pt>
                <c:pt idx="20245">
                  <c:v>11.01.1945</c:v>
                </c:pt>
                <c:pt idx="20246">
                  <c:v>10.01.1945</c:v>
                </c:pt>
                <c:pt idx="20247">
                  <c:v>09.01.1945</c:v>
                </c:pt>
                <c:pt idx="20248">
                  <c:v>08.01.1945</c:v>
                </c:pt>
                <c:pt idx="20249">
                  <c:v>05.01.1945</c:v>
                </c:pt>
                <c:pt idx="20250">
                  <c:v>04.01.1945</c:v>
                </c:pt>
                <c:pt idx="20251">
                  <c:v>03.01.1945</c:v>
                </c:pt>
                <c:pt idx="20252">
                  <c:v>02.01.1945</c:v>
                </c:pt>
                <c:pt idx="20253">
                  <c:v>01.01.1945</c:v>
                </c:pt>
                <c:pt idx="20254">
                  <c:v>29.12.1944</c:v>
                </c:pt>
                <c:pt idx="20255">
                  <c:v>28.12.1944</c:v>
                </c:pt>
                <c:pt idx="20256">
                  <c:v>27.12.1944</c:v>
                </c:pt>
                <c:pt idx="20257">
                  <c:v>26.12.1944</c:v>
                </c:pt>
                <c:pt idx="20258">
                  <c:v>25.12.1944</c:v>
                </c:pt>
                <c:pt idx="20259">
                  <c:v>22.12.1944</c:v>
                </c:pt>
                <c:pt idx="20260">
                  <c:v>21.12.1944</c:v>
                </c:pt>
                <c:pt idx="20261">
                  <c:v>20.12.1944</c:v>
                </c:pt>
                <c:pt idx="20262">
                  <c:v>19.12.1944</c:v>
                </c:pt>
                <c:pt idx="20263">
                  <c:v>18.12.1944</c:v>
                </c:pt>
                <c:pt idx="20264">
                  <c:v>15.12.1944</c:v>
                </c:pt>
                <c:pt idx="20265">
                  <c:v>14.12.1944</c:v>
                </c:pt>
                <c:pt idx="20266">
                  <c:v>13.12.1944</c:v>
                </c:pt>
                <c:pt idx="20267">
                  <c:v>12.12.1944</c:v>
                </c:pt>
                <c:pt idx="20268">
                  <c:v>11.12.1944</c:v>
                </c:pt>
                <c:pt idx="20269">
                  <c:v>08.12.1944</c:v>
                </c:pt>
                <c:pt idx="20270">
                  <c:v>07.12.1944</c:v>
                </c:pt>
                <c:pt idx="20271">
                  <c:v>06.12.1944</c:v>
                </c:pt>
                <c:pt idx="20272">
                  <c:v>05.12.1944</c:v>
                </c:pt>
                <c:pt idx="20273">
                  <c:v>04.12.1944</c:v>
                </c:pt>
                <c:pt idx="20274">
                  <c:v>01.12.1944</c:v>
                </c:pt>
                <c:pt idx="20275">
                  <c:v>30.11.1944</c:v>
                </c:pt>
                <c:pt idx="20276">
                  <c:v>29.11.1944</c:v>
                </c:pt>
                <c:pt idx="20277">
                  <c:v>28.11.1944</c:v>
                </c:pt>
                <c:pt idx="20278">
                  <c:v>27.11.1944</c:v>
                </c:pt>
                <c:pt idx="20279">
                  <c:v>24.11.1944</c:v>
                </c:pt>
                <c:pt idx="20280">
                  <c:v>23.11.1944</c:v>
                </c:pt>
                <c:pt idx="20281">
                  <c:v>22.11.1944</c:v>
                </c:pt>
                <c:pt idx="20282">
                  <c:v>21.11.1944</c:v>
                </c:pt>
                <c:pt idx="20283">
                  <c:v>20.11.1944</c:v>
                </c:pt>
                <c:pt idx="20284">
                  <c:v>17.11.1944</c:v>
                </c:pt>
                <c:pt idx="20285">
                  <c:v>16.11.1944</c:v>
                </c:pt>
                <c:pt idx="20286">
                  <c:v>15.11.1944</c:v>
                </c:pt>
                <c:pt idx="20287">
                  <c:v>14.11.1944</c:v>
                </c:pt>
                <c:pt idx="20288">
                  <c:v>13.11.1944</c:v>
                </c:pt>
                <c:pt idx="20289">
                  <c:v>10.11.1944</c:v>
                </c:pt>
                <c:pt idx="20290">
                  <c:v>09.11.1944</c:v>
                </c:pt>
                <c:pt idx="20291">
                  <c:v>08.11.1944</c:v>
                </c:pt>
                <c:pt idx="20292">
                  <c:v>07.11.1944</c:v>
                </c:pt>
                <c:pt idx="20293">
                  <c:v>06.11.1944</c:v>
                </c:pt>
                <c:pt idx="20294">
                  <c:v>03.11.1944</c:v>
                </c:pt>
                <c:pt idx="20295">
                  <c:v>02.11.1944</c:v>
                </c:pt>
                <c:pt idx="20296">
                  <c:v>01.11.1944</c:v>
                </c:pt>
                <c:pt idx="20297">
                  <c:v>31.10.1944</c:v>
                </c:pt>
                <c:pt idx="20298">
                  <c:v>30.10.1944</c:v>
                </c:pt>
                <c:pt idx="20299">
                  <c:v>27.10.1944</c:v>
                </c:pt>
                <c:pt idx="20300">
                  <c:v>26.10.1944</c:v>
                </c:pt>
                <c:pt idx="20301">
                  <c:v>25.10.1944</c:v>
                </c:pt>
                <c:pt idx="20302">
                  <c:v>24.10.1944</c:v>
                </c:pt>
                <c:pt idx="20303">
                  <c:v>23.10.1944</c:v>
                </c:pt>
                <c:pt idx="20304">
                  <c:v>20.10.1944</c:v>
                </c:pt>
                <c:pt idx="20305">
                  <c:v>19.10.1944</c:v>
                </c:pt>
                <c:pt idx="20306">
                  <c:v>18.10.1944</c:v>
                </c:pt>
                <c:pt idx="20307">
                  <c:v>17.10.1944</c:v>
                </c:pt>
                <c:pt idx="20308">
                  <c:v>16.10.1944</c:v>
                </c:pt>
                <c:pt idx="20309">
                  <c:v>13.10.1944</c:v>
                </c:pt>
                <c:pt idx="20310">
                  <c:v>12.10.1944</c:v>
                </c:pt>
                <c:pt idx="20311">
                  <c:v>11.10.1944</c:v>
                </c:pt>
                <c:pt idx="20312">
                  <c:v>10.10.1944</c:v>
                </c:pt>
                <c:pt idx="20313">
                  <c:v>09.10.1944</c:v>
                </c:pt>
                <c:pt idx="20314">
                  <c:v>06.10.1944</c:v>
                </c:pt>
                <c:pt idx="20315">
                  <c:v>05.10.1944</c:v>
                </c:pt>
                <c:pt idx="20316">
                  <c:v>04.10.1944</c:v>
                </c:pt>
                <c:pt idx="20317">
                  <c:v>03.10.1944</c:v>
                </c:pt>
                <c:pt idx="20318">
                  <c:v>02.10.1944</c:v>
                </c:pt>
                <c:pt idx="20319">
                  <c:v>29.09.1944</c:v>
                </c:pt>
                <c:pt idx="20320">
                  <c:v>28.09.1944</c:v>
                </c:pt>
                <c:pt idx="20321">
                  <c:v>27.09.1944</c:v>
                </c:pt>
                <c:pt idx="20322">
                  <c:v>26.09.1944</c:v>
                </c:pt>
                <c:pt idx="20323">
                  <c:v>25.09.1944</c:v>
                </c:pt>
                <c:pt idx="20324">
                  <c:v>22.09.1944</c:v>
                </c:pt>
                <c:pt idx="20325">
                  <c:v>21.09.1944</c:v>
                </c:pt>
                <c:pt idx="20326">
                  <c:v>20.09.1944</c:v>
                </c:pt>
                <c:pt idx="20327">
                  <c:v>19.09.1944</c:v>
                </c:pt>
                <c:pt idx="20328">
                  <c:v>18.09.1944</c:v>
                </c:pt>
                <c:pt idx="20329">
                  <c:v>15.09.1944</c:v>
                </c:pt>
                <c:pt idx="20330">
                  <c:v>14.09.1944</c:v>
                </c:pt>
                <c:pt idx="20331">
                  <c:v>13.09.1944</c:v>
                </c:pt>
                <c:pt idx="20332">
                  <c:v>12.09.1944</c:v>
                </c:pt>
                <c:pt idx="20333">
                  <c:v>11.09.1944</c:v>
                </c:pt>
                <c:pt idx="20334">
                  <c:v>08.09.1944</c:v>
                </c:pt>
                <c:pt idx="20335">
                  <c:v>07.09.1944</c:v>
                </c:pt>
                <c:pt idx="20336">
                  <c:v>06.09.1944</c:v>
                </c:pt>
                <c:pt idx="20337">
                  <c:v>05.09.1944</c:v>
                </c:pt>
                <c:pt idx="20338">
                  <c:v>04.09.1944</c:v>
                </c:pt>
                <c:pt idx="20339">
                  <c:v>01.09.1944</c:v>
                </c:pt>
                <c:pt idx="20340">
                  <c:v>31.08.1944</c:v>
                </c:pt>
                <c:pt idx="20341">
                  <c:v>30.08.1944</c:v>
                </c:pt>
                <c:pt idx="20342">
                  <c:v>29.08.1944</c:v>
                </c:pt>
                <c:pt idx="20343">
                  <c:v>28.08.1944</c:v>
                </c:pt>
                <c:pt idx="20344">
                  <c:v>25.08.1944</c:v>
                </c:pt>
                <c:pt idx="20345">
                  <c:v>24.08.1944</c:v>
                </c:pt>
                <c:pt idx="20346">
                  <c:v>23.08.1944</c:v>
                </c:pt>
                <c:pt idx="20347">
                  <c:v>22.08.1944</c:v>
                </c:pt>
                <c:pt idx="20348">
                  <c:v>21.08.1944</c:v>
                </c:pt>
                <c:pt idx="20349">
                  <c:v>18.08.1944</c:v>
                </c:pt>
                <c:pt idx="20350">
                  <c:v>17.08.1944</c:v>
                </c:pt>
                <c:pt idx="20351">
                  <c:v>16.08.1944</c:v>
                </c:pt>
                <c:pt idx="20352">
                  <c:v>15.08.1944</c:v>
                </c:pt>
                <c:pt idx="20353">
                  <c:v>14.08.1944</c:v>
                </c:pt>
                <c:pt idx="20354">
                  <c:v>11.08.1944</c:v>
                </c:pt>
                <c:pt idx="20355">
                  <c:v>10.08.1944</c:v>
                </c:pt>
                <c:pt idx="20356">
                  <c:v>09.08.1944</c:v>
                </c:pt>
                <c:pt idx="20357">
                  <c:v>08.08.1944</c:v>
                </c:pt>
                <c:pt idx="20358">
                  <c:v>07.08.1944</c:v>
                </c:pt>
                <c:pt idx="20359">
                  <c:v>04.08.1944</c:v>
                </c:pt>
                <c:pt idx="20360">
                  <c:v>03.08.1944</c:v>
                </c:pt>
                <c:pt idx="20361">
                  <c:v>02.08.1944</c:v>
                </c:pt>
                <c:pt idx="20362">
                  <c:v>01.08.1944</c:v>
                </c:pt>
                <c:pt idx="20363">
                  <c:v>31.07.1944</c:v>
                </c:pt>
                <c:pt idx="20364">
                  <c:v>28.07.1944</c:v>
                </c:pt>
                <c:pt idx="20365">
                  <c:v>27.07.1944</c:v>
                </c:pt>
                <c:pt idx="20366">
                  <c:v>26.07.1944</c:v>
                </c:pt>
                <c:pt idx="20367">
                  <c:v>25.07.1944</c:v>
                </c:pt>
                <c:pt idx="20368">
                  <c:v>24.07.1944</c:v>
                </c:pt>
                <c:pt idx="20369">
                  <c:v>21.07.1944</c:v>
                </c:pt>
                <c:pt idx="20370">
                  <c:v>20.07.1944</c:v>
                </c:pt>
                <c:pt idx="20371">
                  <c:v>19.07.1944</c:v>
                </c:pt>
                <c:pt idx="20372">
                  <c:v>18.07.1944</c:v>
                </c:pt>
                <c:pt idx="20373">
                  <c:v>17.07.1944</c:v>
                </c:pt>
                <c:pt idx="20374">
                  <c:v>14.07.1944</c:v>
                </c:pt>
                <c:pt idx="20375">
                  <c:v>13.07.1944</c:v>
                </c:pt>
                <c:pt idx="20376">
                  <c:v>12.07.1944</c:v>
                </c:pt>
                <c:pt idx="20377">
                  <c:v>11.07.1944</c:v>
                </c:pt>
                <c:pt idx="20378">
                  <c:v>10.07.1944</c:v>
                </c:pt>
                <c:pt idx="20379">
                  <c:v>07.07.1944</c:v>
                </c:pt>
                <c:pt idx="20380">
                  <c:v>06.07.1944</c:v>
                </c:pt>
                <c:pt idx="20381">
                  <c:v>05.07.1944</c:v>
                </c:pt>
                <c:pt idx="20382">
                  <c:v>04.07.1944</c:v>
                </c:pt>
                <c:pt idx="20383">
                  <c:v>03.07.1944</c:v>
                </c:pt>
                <c:pt idx="20384">
                  <c:v>30.06.1944</c:v>
                </c:pt>
                <c:pt idx="20385">
                  <c:v>29.06.1944</c:v>
                </c:pt>
                <c:pt idx="20386">
                  <c:v>28.06.1944</c:v>
                </c:pt>
                <c:pt idx="20387">
                  <c:v>27.06.1944</c:v>
                </c:pt>
                <c:pt idx="20388">
                  <c:v>26.06.1944</c:v>
                </c:pt>
                <c:pt idx="20389">
                  <c:v>23.06.1944</c:v>
                </c:pt>
                <c:pt idx="20390">
                  <c:v>22.06.1944</c:v>
                </c:pt>
                <c:pt idx="20391">
                  <c:v>21.06.1944</c:v>
                </c:pt>
                <c:pt idx="20392">
                  <c:v>20.06.1944</c:v>
                </c:pt>
                <c:pt idx="20393">
                  <c:v>19.06.1944</c:v>
                </c:pt>
                <c:pt idx="20394">
                  <c:v>16.06.1944</c:v>
                </c:pt>
                <c:pt idx="20395">
                  <c:v>15.06.1944</c:v>
                </c:pt>
                <c:pt idx="20396">
                  <c:v>14.06.1944</c:v>
                </c:pt>
                <c:pt idx="20397">
                  <c:v>13.06.1944</c:v>
                </c:pt>
                <c:pt idx="20398">
                  <c:v>12.06.1944</c:v>
                </c:pt>
                <c:pt idx="20399">
                  <c:v>09.06.1944</c:v>
                </c:pt>
                <c:pt idx="20400">
                  <c:v>08.06.1944</c:v>
                </c:pt>
                <c:pt idx="20401">
                  <c:v>07.06.1944</c:v>
                </c:pt>
                <c:pt idx="20402">
                  <c:v>06.06.1944</c:v>
                </c:pt>
                <c:pt idx="20403">
                  <c:v>05.06.1944</c:v>
                </c:pt>
                <c:pt idx="20404">
                  <c:v>02.06.1944</c:v>
                </c:pt>
                <c:pt idx="20405">
                  <c:v>01.06.1944</c:v>
                </c:pt>
                <c:pt idx="20406">
                  <c:v>31.05.1944</c:v>
                </c:pt>
                <c:pt idx="20407">
                  <c:v>30.05.1944</c:v>
                </c:pt>
                <c:pt idx="20408">
                  <c:v>29.05.1944</c:v>
                </c:pt>
                <c:pt idx="20409">
                  <c:v>26.05.1944</c:v>
                </c:pt>
                <c:pt idx="20410">
                  <c:v>25.05.1944</c:v>
                </c:pt>
                <c:pt idx="20411">
                  <c:v>24.05.1944</c:v>
                </c:pt>
                <c:pt idx="20412">
                  <c:v>23.05.1944</c:v>
                </c:pt>
                <c:pt idx="20413">
                  <c:v>22.05.1944</c:v>
                </c:pt>
                <c:pt idx="20414">
                  <c:v>19.05.1944</c:v>
                </c:pt>
                <c:pt idx="20415">
                  <c:v>18.05.1944</c:v>
                </c:pt>
                <c:pt idx="20416">
                  <c:v>17.05.1944</c:v>
                </c:pt>
                <c:pt idx="20417">
                  <c:v>16.05.1944</c:v>
                </c:pt>
                <c:pt idx="20418">
                  <c:v>15.05.1944</c:v>
                </c:pt>
                <c:pt idx="20419">
                  <c:v>12.05.1944</c:v>
                </c:pt>
                <c:pt idx="20420">
                  <c:v>11.05.1944</c:v>
                </c:pt>
                <c:pt idx="20421">
                  <c:v>10.05.1944</c:v>
                </c:pt>
                <c:pt idx="20422">
                  <c:v>09.05.1944</c:v>
                </c:pt>
                <c:pt idx="20423">
                  <c:v>08.05.1944</c:v>
                </c:pt>
                <c:pt idx="20424">
                  <c:v>05.05.1944</c:v>
                </c:pt>
                <c:pt idx="20425">
                  <c:v>04.05.1944</c:v>
                </c:pt>
                <c:pt idx="20426">
                  <c:v>03.05.1944</c:v>
                </c:pt>
                <c:pt idx="20427">
                  <c:v>02.05.1944</c:v>
                </c:pt>
                <c:pt idx="20428">
                  <c:v>01.05.1944</c:v>
                </c:pt>
                <c:pt idx="20429">
                  <c:v>28.04.1944</c:v>
                </c:pt>
                <c:pt idx="20430">
                  <c:v>27.04.1944</c:v>
                </c:pt>
                <c:pt idx="20431">
                  <c:v>26.04.1944</c:v>
                </c:pt>
                <c:pt idx="20432">
                  <c:v>25.04.1944</c:v>
                </c:pt>
                <c:pt idx="20433">
                  <c:v>24.04.1944</c:v>
                </c:pt>
                <c:pt idx="20434">
                  <c:v>21.04.1944</c:v>
                </c:pt>
                <c:pt idx="20435">
                  <c:v>20.04.1944</c:v>
                </c:pt>
                <c:pt idx="20436">
                  <c:v>19.04.1944</c:v>
                </c:pt>
                <c:pt idx="20437">
                  <c:v>18.04.1944</c:v>
                </c:pt>
                <c:pt idx="20438">
                  <c:v>17.04.1944</c:v>
                </c:pt>
                <c:pt idx="20439">
                  <c:v>14.04.1944</c:v>
                </c:pt>
                <c:pt idx="20440">
                  <c:v>13.04.1944</c:v>
                </c:pt>
                <c:pt idx="20441">
                  <c:v>12.04.1944</c:v>
                </c:pt>
                <c:pt idx="20442">
                  <c:v>11.04.1944</c:v>
                </c:pt>
                <c:pt idx="20443">
                  <c:v>10.04.1944</c:v>
                </c:pt>
                <c:pt idx="20444">
                  <c:v>07.04.1944</c:v>
                </c:pt>
                <c:pt idx="20445">
                  <c:v>06.04.1944</c:v>
                </c:pt>
                <c:pt idx="20446">
                  <c:v>05.04.1944</c:v>
                </c:pt>
                <c:pt idx="20447">
                  <c:v>04.04.1944</c:v>
                </c:pt>
                <c:pt idx="20448">
                  <c:v>03.04.1944</c:v>
                </c:pt>
                <c:pt idx="20449">
                  <c:v>31.03.1944</c:v>
                </c:pt>
                <c:pt idx="20450">
                  <c:v>30.03.1944</c:v>
                </c:pt>
                <c:pt idx="20451">
                  <c:v>29.03.1944</c:v>
                </c:pt>
                <c:pt idx="20452">
                  <c:v>28.03.1944</c:v>
                </c:pt>
                <c:pt idx="20453">
                  <c:v>27.03.1944</c:v>
                </c:pt>
                <c:pt idx="20454">
                  <c:v>24.03.1944</c:v>
                </c:pt>
                <c:pt idx="20455">
                  <c:v>23.03.1944</c:v>
                </c:pt>
                <c:pt idx="20456">
                  <c:v>22.03.1944</c:v>
                </c:pt>
                <c:pt idx="20457">
                  <c:v>21.03.1944</c:v>
                </c:pt>
                <c:pt idx="20458">
                  <c:v>20.03.1944</c:v>
                </c:pt>
                <c:pt idx="20459">
                  <c:v>17.03.1944</c:v>
                </c:pt>
                <c:pt idx="20460">
                  <c:v>16.03.1944</c:v>
                </c:pt>
                <c:pt idx="20461">
                  <c:v>15.03.1944</c:v>
                </c:pt>
                <c:pt idx="20462">
                  <c:v>14.03.1944</c:v>
                </c:pt>
                <c:pt idx="20463">
                  <c:v>13.03.1944</c:v>
                </c:pt>
                <c:pt idx="20464">
                  <c:v>10.03.1944</c:v>
                </c:pt>
                <c:pt idx="20465">
                  <c:v>09.03.1944</c:v>
                </c:pt>
                <c:pt idx="20466">
                  <c:v>08.03.1944</c:v>
                </c:pt>
                <c:pt idx="20467">
                  <c:v>07.03.1944</c:v>
                </c:pt>
                <c:pt idx="20468">
                  <c:v>06.03.1944</c:v>
                </c:pt>
                <c:pt idx="20469">
                  <c:v>03.03.1944</c:v>
                </c:pt>
                <c:pt idx="20470">
                  <c:v>02.03.1944</c:v>
                </c:pt>
                <c:pt idx="20471">
                  <c:v>01.03.1944</c:v>
                </c:pt>
                <c:pt idx="20472">
                  <c:v>29.02.1944</c:v>
                </c:pt>
                <c:pt idx="20473">
                  <c:v>28.02.1944</c:v>
                </c:pt>
                <c:pt idx="20474">
                  <c:v>25.02.1944</c:v>
                </c:pt>
                <c:pt idx="20475">
                  <c:v>24.02.1944</c:v>
                </c:pt>
                <c:pt idx="20476">
                  <c:v>23.02.1944</c:v>
                </c:pt>
                <c:pt idx="20477">
                  <c:v>22.02.1944</c:v>
                </c:pt>
                <c:pt idx="20478">
                  <c:v>21.02.1944</c:v>
                </c:pt>
                <c:pt idx="20479">
                  <c:v>18.02.1944</c:v>
                </c:pt>
                <c:pt idx="20480">
                  <c:v>17.02.1944</c:v>
                </c:pt>
                <c:pt idx="20481">
                  <c:v>16.02.1944</c:v>
                </c:pt>
                <c:pt idx="20482">
                  <c:v>15.02.1944</c:v>
                </c:pt>
                <c:pt idx="20483">
                  <c:v>14.02.1944</c:v>
                </c:pt>
                <c:pt idx="20484">
                  <c:v>11.02.1944</c:v>
                </c:pt>
                <c:pt idx="20485">
                  <c:v>10.02.1944</c:v>
                </c:pt>
                <c:pt idx="20486">
                  <c:v>09.02.1944</c:v>
                </c:pt>
                <c:pt idx="20487">
                  <c:v>08.02.1944</c:v>
                </c:pt>
                <c:pt idx="20488">
                  <c:v>07.02.1944</c:v>
                </c:pt>
                <c:pt idx="20489">
                  <c:v>04.02.1944</c:v>
                </c:pt>
                <c:pt idx="20490">
                  <c:v>03.02.1944</c:v>
                </c:pt>
                <c:pt idx="20491">
                  <c:v>02.02.1944</c:v>
                </c:pt>
                <c:pt idx="20492">
                  <c:v>01.02.1944</c:v>
                </c:pt>
                <c:pt idx="20493">
                  <c:v>31.01.1944</c:v>
                </c:pt>
                <c:pt idx="20494">
                  <c:v>28.01.1944</c:v>
                </c:pt>
                <c:pt idx="20495">
                  <c:v>27.01.1944</c:v>
                </c:pt>
                <c:pt idx="20496">
                  <c:v>26.01.1944</c:v>
                </c:pt>
                <c:pt idx="20497">
                  <c:v>25.01.1944</c:v>
                </c:pt>
                <c:pt idx="20498">
                  <c:v>24.01.1944</c:v>
                </c:pt>
                <c:pt idx="20499">
                  <c:v>21.01.1944</c:v>
                </c:pt>
                <c:pt idx="20500">
                  <c:v>20.01.1944</c:v>
                </c:pt>
                <c:pt idx="20501">
                  <c:v>19.01.1944</c:v>
                </c:pt>
                <c:pt idx="20502">
                  <c:v>18.01.1944</c:v>
                </c:pt>
                <c:pt idx="20503">
                  <c:v>17.01.1944</c:v>
                </c:pt>
                <c:pt idx="20504">
                  <c:v>14.01.1944</c:v>
                </c:pt>
                <c:pt idx="20505">
                  <c:v>13.01.1944</c:v>
                </c:pt>
                <c:pt idx="20506">
                  <c:v>12.01.1944</c:v>
                </c:pt>
                <c:pt idx="20507">
                  <c:v>11.01.1944</c:v>
                </c:pt>
                <c:pt idx="20508">
                  <c:v>10.01.1944</c:v>
                </c:pt>
                <c:pt idx="20509">
                  <c:v>07.01.1944</c:v>
                </c:pt>
                <c:pt idx="20510">
                  <c:v>06.01.1944</c:v>
                </c:pt>
                <c:pt idx="20511">
                  <c:v>05.01.1944</c:v>
                </c:pt>
                <c:pt idx="20512">
                  <c:v>04.01.1944</c:v>
                </c:pt>
                <c:pt idx="20513">
                  <c:v>03.01.1944</c:v>
                </c:pt>
                <c:pt idx="20514">
                  <c:v>31.12.1943</c:v>
                </c:pt>
                <c:pt idx="20515">
                  <c:v>30.12.1943</c:v>
                </c:pt>
                <c:pt idx="20516">
                  <c:v>29.12.1943</c:v>
                </c:pt>
                <c:pt idx="20517">
                  <c:v>28.12.1943</c:v>
                </c:pt>
                <c:pt idx="20518">
                  <c:v>27.12.1943</c:v>
                </c:pt>
                <c:pt idx="20519">
                  <c:v>24.12.1943</c:v>
                </c:pt>
                <c:pt idx="20520">
                  <c:v>23.12.1943</c:v>
                </c:pt>
                <c:pt idx="20521">
                  <c:v>22.12.1943</c:v>
                </c:pt>
                <c:pt idx="20522">
                  <c:v>21.12.1943</c:v>
                </c:pt>
                <c:pt idx="20523">
                  <c:v>20.12.1943</c:v>
                </c:pt>
                <c:pt idx="20524">
                  <c:v>17.12.1943</c:v>
                </c:pt>
                <c:pt idx="20525">
                  <c:v>16.12.1943</c:v>
                </c:pt>
                <c:pt idx="20526">
                  <c:v>15.12.1943</c:v>
                </c:pt>
                <c:pt idx="20527">
                  <c:v>14.12.1943</c:v>
                </c:pt>
                <c:pt idx="20528">
                  <c:v>13.12.1943</c:v>
                </c:pt>
                <c:pt idx="20529">
                  <c:v>10.12.1943</c:v>
                </c:pt>
                <c:pt idx="20530">
                  <c:v>09.12.1943</c:v>
                </c:pt>
                <c:pt idx="20531">
                  <c:v>08.12.1943</c:v>
                </c:pt>
                <c:pt idx="20532">
                  <c:v>07.12.1943</c:v>
                </c:pt>
                <c:pt idx="20533">
                  <c:v>06.12.1943</c:v>
                </c:pt>
                <c:pt idx="20534">
                  <c:v>03.12.1943</c:v>
                </c:pt>
                <c:pt idx="20535">
                  <c:v>02.12.1943</c:v>
                </c:pt>
                <c:pt idx="20536">
                  <c:v>01.12.1943</c:v>
                </c:pt>
                <c:pt idx="20537">
                  <c:v>30.11.1943</c:v>
                </c:pt>
                <c:pt idx="20538">
                  <c:v>29.11.1943</c:v>
                </c:pt>
                <c:pt idx="20539">
                  <c:v>26.11.1943</c:v>
                </c:pt>
                <c:pt idx="20540">
                  <c:v>25.11.1943</c:v>
                </c:pt>
                <c:pt idx="20541">
                  <c:v>24.11.1943</c:v>
                </c:pt>
                <c:pt idx="20542">
                  <c:v>23.11.1943</c:v>
                </c:pt>
                <c:pt idx="20543">
                  <c:v>22.11.1943</c:v>
                </c:pt>
                <c:pt idx="20544">
                  <c:v>19.11.1943</c:v>
                </c:pt>
                <c:pt idx="20545">
                  <c:v>18.11.1943</c:v>
                </c:pt>
                <c:pt idx="20546">
                  <c:v>17.11.1943</c:v>
                </c:pt>
                <c:pt idx="20547">
                  <c:v>16.11.1943</c:v>
                </c:pt>
                <c:pt idx="20548">
                  <c:v>15.11.1943</c:v>
                </c:pt>
                <c:pt idx="20549">
                  <c:v>12.11.1943</c:v>
                </c:pt>
                <c:pt idx="20550">
                  <c:v>11.11.1943</c:v>
                </c:pt>
                <c:pt idx="20551">
                  <c:v>10.11.1943</c:v>
                </c:pt>
                <c:pt idx="20552">
                  <c:v>09.11.1943</c:v>
                </c:pt>
                <c:pt idx="20553">
                  <c:v>08.11.1943</c:v>
                </c:pt>
                <c:pt idx="20554">
                  <c:v>05.11.1943</c:v>
                </c:pt>
                <c:pt idx="20555">
                  <c:v>04.11.1943</c:v>
                </c:pt>
                <c:pt idx="20556">
                  <c:v>03.11.1943</c:v>
                </c:pt>
                <c:pt idx="20557">
                  <c:v>02.11.1943</c:v>
                </c:pt>
                <c:pt idx="20558">
                  <c:v>01.11.1943</c:v>
                </c:pt>
                <c:pt idx="20559">
                  <c:v>29.10.1943</c:v>
                </c:pt>
                <c:pt idx="20560">
                  <c:v>28.10.1943</c:v>
                </c:pt>
                <c:pt idx="20561">
                  <c:v>27.10.1943</c:v>
                </c:pt>
                <c:pt idx="20562">
                  <c:v>26.10.1943</c:v>
                </c:pt>
                <c:pt idx="20563">
                  <c:v>25.10.1943</c:v>
                </c:pt>
                <c:pt idx="20564">
                  <c:v>22.10.1943</c:v>
                </c:pt>
                <c:pt idx="20565">
                  <c:v>21.10.1943</c:v>
                </c:pt>
                <c:pt idx="20566">
                  <c:v>20.10.1943</c:v>
                </c:pt>
                <c:pt idx="20567">
                  <c:v>19.10.1943</c:v>
                </c:pt>
                <c:pt idx="20568">
                  <c:v>18.10.1943</c:v>
                </c:pt>
                <c:pt idx="20569">
                  <c:v>15.10.1943</c:v>
                </c:pt>
                <c:pt idx="20570">
                  <c:v>14.10.1943</c:v>
                </c:pt>
                <c:pt idx="20571">
                  <c:v>13.10.1943</c:v>
                </c:pt>
                <c:pt idx="20572">
                  <c:v>12.10.1943</c:v>
                </c:pt>
                <c:pt idx="20573">
                  <c:v>11.10.1943</c:v>
                </c:pt>
                <c:pt idx="20574">
                  <c:v>08.10.1943</c:v>
                </c:pt>
                <c:pt idx="20575">
                  <c:v>07.10.1943</c:v>
                </c:pt>
                <c:pt idx="20576">
                  <c:v>06.10.1943</c:v>
                </c:pt>
                <c:pt idx="20577">
                  <c:v>05.10.1943</c:v>
                </c:pt>
                <c:pt idx="20578">
                  <c:v>04.10.1943</c:v>
                </c:pt>
                <c:pt idx="20579">
                  <c:v>01.10.1943</c:v>
                </c:pt>
                <c:pt idx="20580">
                  <c:v>30.09.1943</c:v>
                </c:pt>
                <c:pt idx="20581">
                  <c:v>29.09.1943</c:v>
                </c:pt>
                <c:pt idx="20582">
                  <c:v>28.09.1943</c:v>
                </c:pt>
                <c:pt idx="20583">
                  <c:v>27.09.1943</c:v>
                </c:pt>
                <c:pt idx="20584">
                  <c:v>24.09.1943</c:v>
                </c:pt>
                <c:pt idx="20585">
                  <c:v>23.09.1943</c:v>
                </c:pt>
                <c:pt idx="20586">
                  <c:v>22.09.1943</c:v>
                </c:pt>
                <c:pt idx="20587">
                  <c:v>21.09.1943</c:v>
                </c:pt>
                <c:pt idx="20588">
                  <c:v>20.09.1943</c:v>
                </c:pt>
                <c:pt idx="20589">
                  <c:v>17.09.1943</c:v>
                </c:pt>
                <c:pt idx="20590">
                  <c:v>16.09.1943</c:v>
                </c:pt>
                <c:pt idx="20591">
                  <c:v>15.09.1943</c:v>
                </c:pt>
                <c:pt idx="20592">
                  <c:v>14.09.1943</c:v>
                </c:pt>
                <c:pt idx="20593">
                  <c:v>13.09.1943</c:v>
                </c:pt>
                <c:pt idx="20594">
                  <c:v>10.09.1943</c:v>
                </c:pt>
                <c:pt idx="20595">
                  <c:v>09.09.1943</c:v>
                </c:pt>
                <c:pt idx="20596">
                  <c:v>08.09.1943</c:v>
                </c:pt>
                <c:pt idx="20597">
                  <c:v>07.09.1943</c:v>
                </c:pt>
                <c:pt idx="20598">
                  <c:v>06.09.1943</c:v>
                </c:pt>
                <c:pt idx="20599">
                  <c:v>03.09.1943</c:v>
                </c:pt>
                <c:pt idx="20600">
                  <c:v>02.09.1943</c:v>
                </c:pt>
                <c:pt idx="20601">
                  <c:v>01.09.1943</c:v>
                </c:pt>
                <c:pt idx="20602">
                  <c:v>31.08.1943</c:v>
                </c:pt>
                <c:pt idx="20603">
                  <c:v>30.08.1943</c:v>
                </c:pt>
                <c:pt idx="20604">
                  <c:v>27.08.1943</c:v>
                </c:pt>
                <c:pt idx="20605">
                  <c:v>26.08.1943</c:v>
                </c:pt>
                <c:pt idx="20606">
                  <c:v>25.08.1943</c:v>
                </c:pt>
                <c:pt idx="20607">
                  <c:v>24.08.1943</c:v>
                </c:pt>
                <c:pt idx="20608">
                  <c:v>23.08.1943</c:v>
                </c:pt>
                <c:pt idx="20609">
                  <c:v>20.08.1943</c:v>
                </c:pt>
                <c:pt idx="20610">
                  <c:v>19.08.1943</c:v>
                </c:pt>
                <c:pt idx="20611">
                  <c:v>18.08.1943</c:v>
                </c:pt>
                <c:pt idx="20612">
                  <c:v>17.08.1943</c:v>
                </c:pt>
                <c:pt idx="20613">
                  <c:v>16.08.1943</c:v>
                </c:pt>
                <c:pt idx="20614">
                  <c:v>13.08.1943</c:v>
                </c:pt>
                <c:pt idx="20615">
                  <c:v>12.08.1943</c:v>
                </c:pt>
                <c:pt idx="20616">
                  <c:v>11.08.1943</c:v>
                </c:pt>
                <c:pt idx="20617">
                  <c:v>10.08.1943</c:v>
                </c:pt>
                <c:pt idx="20618">
                  <c:v>09.08.1943</c:v>
                </c:pt>
                <c:pt idx="20619">
                  <c:v>06.08.1943</c:v>
                </c:pt>
                <c:pt idx="20620">
                  <c:v>05.08.1943</c:v>
                </c:pt>
                <c:pt idx="20621">
                  <c:v>04.08.1943</c:v>
                </c:pt>
                <c:pt idx="20622">
                  <c:v>03.08.1943</c:v>
                </c:pt>
                <c:pt idx="20623">
                  <c:v>02.08.1943</c:v>
                </c:pt>
                <c:pt idx="20624">
                  <c:v>30.07.1943</c:v>
                </c:pt>
                <c:pt idx="20625">
                  <c:v>29.07.1943</c:v>
                </c:pt>
                <c:pt idx="20626">
                  <c:v>28.07.1943</c:v>
                </c:pt>
                <c:pt idx="20627">
                  <c:v>27.07.1943</c:v>
                </c:pt>
                <c:pt idx="20628">
                  <c:v>26.07.1943</c:v>
                </c:pt>
                <c:pt idx="20629">
                  <c:v>23.07.1943</c:v>
                </c:pt>
                <c:pt idx="20630">
                  <c:v>22.07.1943</c:v>
                </c:pt>
                <c:pt idx="20631">
                  <c:v>21.07.1943</c:v>
                </c:pt>
                <c:pt idx="20632">
                  <c:v>20.07.1943</c:v>
                </c:pt>
                <c:pt idx="20633">
                  <c:v>19.07.1943</c:v>
                </c:pt>
                <c:pt idx="20634">
                  <c:v>16.07.1943</c:v>
                </c:pt>
                <c:pt idx="20635">
                  <c:v>15.07.1943</c:v>
                </c:pt>
                <c:pt idx="20636">
                  <c:v>14.07.1943</c:v>
                </c:pt>
                <c:pt idx="20637">
                  <c:v>13.07.1943</c:v>
                </c:pt>
                <c:pt idx="20638">
                  <c:v>12.07.1943</c:v>
                </c:pt>
                <c:pt idx="20639">
                  <c:v>09.07.1943</c:v>
                </c:pt>
                <c:pt idx="20640">
                  <c:v>08.07.1943</c:v>
                </c:pt>
                <c:pt idx="20641">
                  <c:v>07.07.1943</c:v>
                </c:pt>
                <c:pt idx="20642">
                  <c:v>06.07.1943</c:v>
                </c:pt>
                <c:pt idx="20643">
                  <c:v>05.07.1943</c:v>
                </c:pt>
                <c:pt idx="20644">
                  <c:v>02.07.1943</c:v>
                </c:pt>
                <c:pt idx="20645">
                  <c:v>01.07.1943</c:v>
                </c:pt>
                <c:pt idx="20646">
                  <c:v>30.06.1943</c:v>
                </c:pt>
                <c:pt idx="20647">
                  <c:v>29.06.1943</c:v>
                </c:pt>
                <c:pt idx="20648">
                  <c:v>28.06.1943</c:v>
                </c:pt>
                <c:pt idx="20649">
                  <c:v>25.06.1943</c:v>
                </c:pt>
                <c:pt idx="20650">
                  <c:v>24.06.1943</c:v>
                </c:pt>
                <c:pt idx="20651">
                  <c:v>23.06.1943</c:v>
                </c:pt>
                <c:pt idx="20652">
                  <c:v>22.06.1943</c:v>
                </c:pt>
                <c:pt idx="20653">
                  <c:v>21.06.1943</c:v>
                </c:pt>
                <c:pt idx="20654">
                  <c:v>18.06.1943</c:v>
                </c:pt>
                <c:pt idx="20655">
                  <c:v>17.06.1943</c:v>
                </c:pt>
                <c:pt idx="20656">
                  <c:v>16.06.1943</c:v>
                </c:pt>
                <c:pt idx="20657">
                  <c:v>15.06.1943</c:v>
                </c:pt>
                <c:pt idx="20658">
                  <c:v>14.06.1943</c:v>
                </c:pt>
                <c:pt idx="20659">
                  <c:v>11.06.1943</c:v>
                </c:pt>
                <c:pt idx="20660">
                  <c:v>10.06.1943</c:v>
                </c:pt>
                <c:pt idx="20661">
                  <c:v>09.06.1943</c:v>
                </c:pt>
                <c:pt idx="20662">
                  <c:v>08.06.1943</c:v>
                </c:pt>
                <c:pt idx="20663">
                  <c:v>07.06.1943</c:v>
                </c:pt>
                <c:pt idx="20664">
                  <c:v>04.06.1943</c:v>
                </c:pt>
                <c:pt idx="20665">
                  <c:v>03.06.1943</c:v>
                </c:pt>
                <c:pt idx="20666">
                  <c:v>02.06.1943</c:v>
                </c:pt>
                <c:pt idx="20667">
                  <c:v>01.06.1943</c:v>
                </c:pt>
                <c:pt idx="20668">
                  <c:v>31.05.1943</c:v>
                </c:pt>
                <c:pt idx="20669">
                  <c:v>28.05.1943</c:v>
                </c:pt>
                <c:pt idx="20670">
                  <c:v>27.05.1943</c:v>
                </c:pt>
                <c:pt idx="20671">
                  <c:v>26.05.1943</c:v>
                </c:pt>
                <c:pt idx="20672">
                  <c:v>25.05.1943</c:v>
                </c:pt>
                <c:pt idx="20673">
                  <c:v>24.05.1943</c:v>
                </c:pt>
                <c:pt idx="20674">
                  <c:v>21.05.1943</c:v>
                </c:pt>
                <c:pt idx="20675">
                  <c:v>20.05.1943</c:v>
                </c:pt>
                <c:pt idx="20676">
                  <c:v>19.05.1943</c:v>
                </c:pt>
                <c:pt idx="20677">
                  <c:v>18.05.1943</c:v>
                </c:pt>
                <c:pt idx="20678">
                  <c:v>17.05.1943</c:v>
                </c:pt>
                <c:pt idx="20679">
                  <c:v>14.05.1943</c:v>
                </c:pt>
                <c:pt idx="20680">
                  <c:v>13.05.1943</c:v>
                </c:pt>
                <c:pt idx="20681">
                  <c:v>12.05.1943</c:v>
                </c:pt>
                <c:pt idx="20682">
                  <c:v>11.05.1943</c:v>
                </c:pt>
                <c:pt idx="20683">
                  <c:v>10.05.1943</c:v>
                </c:pt>
                <c:pt idx="20684">
                  <c:v>07.05.1943</c:v>
                </c:pt>
                <c:pt idx="20685">
                  <c:v>06.05.1943</c:v>
                </c:pt>
                <c:pt idx="20686">
                  <c:v>05.05.1943</c:v>
                </c:pt>
                <c:pt idx="20687">
                  <c:v>04.05.1943</c:v>
                </c:pt>
                <c:pt idx="20688">
                  <c:v>03.05.1943</c:v>
                </c:pt>
                <c:pt idx="20689">
                  <c:v>30.04.1943</c:v>
                </c:pt>
                <c:pt idx="20690">
                  <c:v>29.04.1943</c:v>
                </c:pt>
                <c:pt idx="20691">
                  <c:v>28.04.1943</c:v>
                </c:pt>
                <c:pt idx="20692">
                  <c:v>27.04.1943</c:v>
                </c:pt>
                <c:pt idx="20693">
                  <c:v>26.04.1943</c:v>
                </c:pt>
                <c:pt idx="20694">
                  <c:v>23.04.1943</c:v>
                </c:pt>
                <c:pt idx="20695">
                  <c:v>22.04.1943</c:v>
                </c:pt>
                <c:pt idx="20696">
                  <c:v>21.04.1943</c:v>
                </c:pt>
                <c:pt idx="20697">
                  <c:v>20.04.1943</c:v>
                </c:pt>
                <c:pt idx="20698">
                  <c:v>19.04.1943</c:v>
                </c:pt>
                <c:pt idx="20699">
                  <c:v>16.04.1943</c:v>
                </c:pt>
                <c:pt idx="20700">
                  <c:v>15.04.1943</c:v>
                </c:pt>
                <c:pt idx="20701">
                  <c:v>14.04.1943</c:v>
                </c:pt>
                <c:pt idx="20702">
                  <c:v>13.04.1943</c:v>
                </c:pt>
                <c:pt idx="20703">
                  <c:v>12.04.1943</c:v>
                </c:pt>
                <c:pt idx="20704">
                  <c:v>09.04.1943</c:v>
                </c:pt>
                <c:pt idx="20705">
                  <c:v>08.04.1943</c:v>
                </c:pt>
                <c:pt idx="20706">
                  <c:v>07.04.1943</c:v>
                </c:pt>
                <c:pt idx="20707">
                  <c:v>06.04.1943</c:v>
                </c:pt>
                <c:pt idx="20708">
                  <c:v>05.04.1943</c:v>
                </c:pt>
                <c:pt idx="20709">
                  <c:v>02.04.1943</c:v>
                </c:pt>
                <c:pt idx="20710">
                  <c:v>01.04.1943</c:v>
                </c:pt>
                <c:pt idx="20711">
                  <c:v>31.03.1943</c:v>
                </c:pt>
                <c:pt idx="20712">
                  <c:v>30.03.1943</c:v>
                </c:pt>
                <c:pt idx="20713">
                  <c:v>29.03.1943</c:v>
                </c:pt>
                <c:pt idx="20714">
                  <c:v>26.03.1943</c:v>
                </c:pt>
                <c:pt idx="20715">
                  <c:v>25.03.1943</c:v>
                </c:pt>
                <c:pt idx="20716">
                  <c:v>24.03.1943</c:v>
                </c:pt>
                <c:pt idx="20717">
                  <c:v>23.03.1943</c:v>
                </c:pt>
                <c:pt idx="20718">
                  <c:v>22.03.1943</c:v>
                </c:pt>
                <c:pt idx="20719">
                  <c:v>19.03.1943</c:v>
                </c:pt>
                <c:pt idx="20720">
                  <c:v>18.03.1943</c:v>
                </c:pt>
                <c:pt idx="20721">
                  <c:v>17.03.1943</c:v>
                </c:pt>
                <c:pt idx="20722">
                  <c:v>16.03.1943</c:v>
                </c:pt>
                <c:pt idx="20723">
                  <c:v>15.03.1943</c:v>
                </c:pt>
                <c:pt idx="20724">
                  <c:v>12.03.1943</c:v>
                </c:pt>
                <c:pt idx="20725">
                  <c:v>11.03.1943</c:v>
                </c:pt>
                <c:pt idx="20726">
                  <c:v>10.03.1943</c:v>
                </c:pt>
                <c:pt idx="20727">
                  <c:v>09.03.1943</c:v>
                </c:pt>
                <c:pt idx="20728">
                  <c:v>08.03.1943</c:v>
                </c:pt>
                <c:pt idx="20729">
                  <c:v>05.03.1943</c:v>
                </c:pt>
                <c:pt idx="20730">
                  <c:v>04.03.1943</c:v>
                </c:pt>
                <c:pt idx="20731">
                  <c:v>03.03.1943</c:v>
                </c:pt>
                <c:pt idx="20732">
                  <c:v>02.03.1943</c:v>
                </c:pt>
                <c:pt idx="20733">
                  <c:v>01.03.1943</c:v>
                </c:pt>
                <c:pt idx="20734">
                  <c:v>26.02.1943</c:v>
                </c:pt>
                <c:pt idx="20735">
                  <c:v>25.02.1943</c:v>
                </c:pt>
                <c:pt idx="20736">
                  <c:v>24.02.1943</c:v>
                </c:pt>
                <c:pt idx="20737">
                  <c:v>23.02.1943</c:v>
                </c:pt>
                <c:pt idx="20738">
                  <c:v>22.02.1943</c:v>
                </c:pt>
                <c:pt idx="20739">
                  <c:v>19.02.1943</c:v>
                </c:pt>
                <c:pt idx="20740">
                  <c:v>18.02.1943</c:v>
                </c:pt>
                <c:pt idx="20741">
                  <c:v>17.02.1943</c:v>
                </c:pt>
                <c:pt idx="20742">
                  <c:v>16.02.1943</c:v>
                </c:pt>
                <c:pt idx="20743">
                  <c:v>15.02.1943</c:v>
                </c:pt>
                <c:pt idx="20744">
                  <c:v>12.02.1943</c:v>
                </c:pt>
                <c:pt idx="20745">
                  <c:v>11.02.1943</c:v>
                </c:pt>
                <c:pt idx="20746">
                  <c:v>10.02.1943</c:v>
                </c:pt>
                <c:pt idx="20747">
                  <c:v>09.02.1943</c:v>
                </c:pt>
                <c:pt idx="20748">
                  <c:v>08.02.1943</c:v>
                </c:pt>
                <c:pt idx="20749">
                  <c:v>05.02.1943</c:v>
                </c:pt>
                <c:pt idx="20750">
                  <c:v>04.02.1943</c:v>
                </c:pt>
                <c:pt idx="20751">
                  <c:v>03.02.1943</c:v>
                </c:pt>
                <c:pt idx="20752">
                  <c:v>02.02.1943</c:v>
                </c:pt>
                <c:pt idx="20753">
                  <c:v>01.02.1943</c:v>
                </c:pt>
                <c:pt idx="20754">
                  <c:v>29.01.1943</c:v>
                </c:pt>
                <c:pt idx="20755">
                  <c:v>28.01.1943</c:v>
                </c:pt>
                <c:pt idx="20756">
                  <c:v>27.01.1943</c:v>
                </c:pt>
                <c:pt idx="20757">
                  <c:v>26.01.1943</c:v>
                </c:pt>
                <c:pt idx="20758">
                  <c:v>25.01.1943</c:v>
                </c:pt>
                <c:pt idx="20759">
                  <c:v>22.01.1943</c:v>
                </c:pt>
                <c:pt idx="20760">
                  <c:v>21.01.1943</c:v>
                </c:pt>
                <c:pt idx="20761">
                  <c:v>20.01.1943</c:v>
                </c:pt>
                <c:pt idx="20762">
                  <c:v>19.01.1943</c:v>
                </c:pt>
                <c:pt idx="20763">
                  <c:v>18.01.1943</c:v>
                </c:pt>
                <c:pt idx="20764">
                  <c:v>15.01.1943</c:v>
                </c:pt>
                <c:pt idx="20765">
                  <c:v>14.01.1943</c:v>
                </c:pt>
                <c:pt idx="20766">
                  <c:v>13.01.1943</c:v>
                </c:pt>
                <c:pt idx="20767">
                  <c:v>12.01.1943</c:v>
                </c:pt>
                <c:pt idx="20768">
                  <c:v>11.01.1943</c:v>
                </c:pt>
                <c:pt idx="20769">
                  <c:v>08.01.1943</c:v>
                </c:pt>
                <c:pt idx="20770">
                  <c:v>07.01.1943</c:v>
                </c:pt>
                <c:pt idx="20771">
                  <c:v>06.01.1943</c:v>
                </c:pt>
                <c:pt idx="20772">
                  <c:v>05.01.1943</c:v>
                </c:pt>
                <c:pt idx="20773">
                  <c:v>04.01.1943</c:v>
                </c:pt>
                <c:pt idx="20774">
                  <c:v>01.01.1943</c:v>
                </c:pt>
                <c:pt idx="20775">
                  <c:v>31.12.1942</c:v>
                </c:pt>
                <c:pt idx="20776">
                  <c:v>30.12.1942</c:v>
                </c:pt>
                <c:pt idx="20777">
                  <c:v>29.12.1942</c:v>
                </c:pt>
                <c:pt idx="20778">
                  <c:v>28.12.1942</c:v>
                </c:pt>
                <c:pt idx="20779">
                  <c:v>25.12.1942</c:v>
                </c:pt>
                <c:pt idx="20780">
                  <c:v>24.12.1942</c:v>
                </c:pt>
                <c:pt idx="20781">
                  <c:v>23.12.1942</c:v>
                </c:pt>
                <c:pt idx="20782">
                  <c:v>22.12.1942</c:v>
                </c:pt>
                <c:pt idx="20783">
                  <c:v>21.12.1942</c:v>
                </c:pt>
                <c:pt idx="20784">
                  <c:v>18.12.1942</c:v>
                </c:pt>
                <c:pt idx="20785">
                  <c:v>17.12.1942</c:v>
                </c:pt>
                <c:pt idx="20786">
                  <c:v>16.12.1942</c:v>
                </c:pt>
                <c:pt idx="20787">
                  <c:v>15.12.1942</c:v>
                </c:pt>
                <c:pt idx="20788">
                  <c:v>14.12.1942</c:v>
                </c:pt>
                <c:pt idx="20789">
                  <c:v>11.12.1942</c:v>
                </c:pt>
                <c:pt idx="20790">
                  <c:v>10.12.1942</c:v>
                </c:pt>
                <c:pt idx="20791">
                  <c:v>09.12.1942</c:v>
                </c:pt>
                <c:pt idx="20792">
                  <c:v>08.12.1942</c:v>
                </c:pt>
                <c:pt idx="20793">
                  <c:v>07.12.1942</c:v>
                </c:pt>
                <c:pt idx="20794">
                  <c:v>04.12.1942</c:v>
                </c:pt>
                <c:pt idx="20795">
                  <c:v>03.12.1942</c:v>
                </c:pt>
                <c:pt idx="20796">
                  <c:v>02.12.1942</c:v>
                </c:pt>
                <c:pt idx="20797">
                  <c:v>01.12.1942</c:v>
                </c:pt>
                <c:pt idx="20798">
                  <c:v>30.11.1942</c:v>
                </c:pt>
                <c:pt idx="20799">
                  <c:v>27.11.1942</c:v>
                </c:pt>
                <c:pt idx="20800">
                  <c:v>26.11.1942</c:v>
                </c:pt>
                <c:pt idx="20801">
                  <c:v>25.11.1942</c:v>
                </c:pt>
                <c:pt idx="20802">
                  <c:v>24.11.1942</c:v>
                </c:pt>
                <c:pt idx="20803">
                  <c:v>23.11.1942</c:v>
                </c:pt>
                <c:pt idx="20804">
                  <c:v>20.11.1942</c:v>
                </c:pt>
                <c:pt idx="20805">
                  <c:v>19.11.1942</c:v>
                </c:pt>
                <c:pt idx="20806">
                  <c:v>18.11.1942</c:v>
                </c:pt>
                <c:pt idx="20807">
                  <c:v>17.11.1942</c:v>
                </c:pt>
                <c:pt idx="20808">
                  <c:v>16.11.1942</c:v>
                </c:pt>
                <c:pt idx="20809">
                  <c:v>13.11.1942</c:v>
                </c:pt>
                <c:pt idx="20810">
                  <c:v>12.11.1942</c:v>
                </c:pt>
                <c:pt idx="20811">
                  <c:v>11.11.1942</c:v>
                </c:pt>
                <c:pt idx="20812">
                  <c:v>10.11.1942</c:v>
                </c:pt>
                <c:pt idx="20813">
                  <c:v>09.11.1942</c:v>
                </c:pt>
                <c:pt idx="20814">
                  <c:v>06.11.1942</c:v>
                </c:pt>
                <c:pt idx="20815">
                  <c:v>05.11.1942</c:v>
                </c:pt>
                <c:pt idx="20816">
                  <c:v>04.11.1942</c:v>
                </c:pt>
                <c:pt idx="20817">
                  <c:v>03.11.1942</c:v>
                </c:pt>
                <c:pt idx="20818">
                  <c:v>02.11.1942</c:v>
                </c:pt>
                <c:pt idx="20819">
                  <c:v>30.10.1942</c:v>
                </c:pt>
                <c:pt idx="20820">
                  <c:v>29.10.1942</c:v>
                </c:pt>
                <c:pt idx="20821">
                  <c:v>28.10.1942</c:v>
                </c:pt>
                <c:pt idx="20822">
                  <c:v>27.10.1942</c:v>
                </c:pt>
                <c:pt idx="20823">
                  <c:v>26.10.1942</c:v>
                </c:pt>
                <c:pt idx="20824">
                  <c:v>23.10.1942</c:v>
                </c:pt>
                <c:pt idx="20825">
                  <c:v>22.10.1942</c:v>
                </c:pt>
                <c:pt idx="20826">
                  <c:v>21.10.1942</c:v>
                </c:pt>
                <c:pt idx="20827">
                  <c:v>20.10.1942</c:v>
                </c:pt>
                <c:pt idx="20828">
                  <c:v>19.10.1942</c:v>
                </c:pt>
                <c:pt idx="20829">
                  <c:v>16.10.1942</c:v>
                </c:pt>
                <c:pt idx="20830">
                  <c:v>15.10.1942</c:v>
                </c:pt>
                <c:pt idx="20831">
                  <c:v>14.10.1942</c:v>
                </c:pt>
                <c:pt idx="20832">
                  <c:v>13.10.1942</c:v>
                </c:pt>
                <c:pt idx="20833">
                  <c:v>12.10.1942</c:v>
                </c:pt>
                <c:pt idx="20834">
                  <c:v>09.10.1942</c:v>
                </c:pt>
                <c:pt idx="20835">
                  <c:v>08.10.1942</c:v>
                </c:pt>
                <c:pt idx="20836">
                  <c:v>07.10.1942</c:v>
                </c:pt>
                <c:pt idx="20837">
                  <c:v>06.10.1942</c:v>
                </c:pt>
                <c:pt idx="20838">
                  <c:v>05.10.1942</c:v>
                </c:pt>
                <c:pt idx="20839">
                  <c:v>02.10.1942</c:v>
                </c:pt>
                <c:pt idx="20840">
                  <c:v>01.10.1942</c:v>
                </c:pt>
                <c:pt idx="20841">
                  <c:v>30.09.1942</c:v>
                </c:pt>
                <c:pt idx="20842">
                  <c:v>29.09.1942</c:v>
                </c:pt>
                <c:pt idx="20843">
                  <c:v>28.09.1942</c:v>
                </c:pt>
                <c:pt idx="20844">
                  <c:v>25.09.1942</c:v>
                </c:pt>
                <c:pt idx="20845">
                  <c:v>24.09.1942</c:v>
                </c:pt>
                <c:pt idx="20846">
                  <c:v>23.09.1942</c:v>
                </c:pt>
                <c:pt idx="20847">
                  <c:v>22.09.1942</c:v>
                </c:pt>
                <c:pt idx="20848">
                  <c:v>21.09.1942</c:v>
                </c:pt>
                <c:pt idx="20849">
                  <c:v>18.09.1942</c:v>
                </c:pt>
                <c:pt idx="20850">
                  <c:v>17.09.1942</c:v>
                </c:pt>
                <c:pt idx="20851">
                  <c:v>16.09.1942</c:v>
                </c:pt>
                <c:pt idx="20852">
                  <c:v>15.09.1942</c:v>
                </c:pt>
                <c:pt idx="20853">
                  <c:v>14.09.1942</c:v>
                </c:pt>
                <c:pt idx="20854">
                  <c:v>11.09.1942</c:v>
                </c:pt>
                <c:pt idx="20855">
                  <c:v>10.09.1942</c:v>
                </c:pt>
                <c:pt idx="20856">
                  <c:v>09.09.1942</c:v>
                </c:pt>
                <c:pt idx="20857">
                  <c:v>08.09.1942</c:v>
                </c:pt>
                <c:pt idx="20858">
                  <c:v>07.09.1942</c:v>
                </c:pt>
                <c:pt idx="20859">
                  <c:v>04.09.1942</c:v>
                </c:pt>
                <c:pt idx="20860">
                  <c:v>03.09.1942</c:v>
                </c:pt>
                <c:pt idx="20861">
                  <c:v>02.09.1942</c:v>
                </c:pt>
                <c:pt idx="20862">
                  <c:v>01.09.1942</c:v>
                </c:pt>
                <c:pt idx="20863">
                  <c:v>31.08.1942</c:v>
                </c:pt>
                <c:pt idx="20864">
                  <c:v>28.08.1942</c:v>
                </c:pt>
                <c:pt idx="20865">
                  <c:v>27.08.1942</c:v>
                </c:pt>
                <c:pt idx="20866">
                  <c:v>26.08.1942</c:v>
                </c:pt>
                <c:pt idx="20867">
                  <c:v>25.08.1942</c:v>
                </c:pt>
                <c:pt idx="20868">
                  <c:v>24.08.1942</c:v>
                </c:pt>
                <c:pt idx="20869">
                  <c:v>21.08.1942</c:v>
                </c:pt>
                <c:pt idx="20870">
                  <c:v>20.08.1942</c:v>
                </c:pt>
                <c:pt idx="20871">
                  <c:v>19.08.1942</c:v>
                </c:pt>
                <c:pt idx="20872">
                  <c:v>18.08.1942</c:v>
                </c:pt>
                <c:pt idx="20873">
                  <c:v>17.08.1942</c:v>
                </c:pt>
                <c:pt idx="20874">
                  <c:v>14.08.1942</c:v>
                </c:pt>
                <c:pt idx="20875">
                  <c:v>13.08.1942</c:v>
                </c:pt>
                <c:pt idx="20876">
                  <c:v>12.08.1942</c:v>
                </c:pt>
                <c:pt idx="20877">
                  <c:v>11.08.1942</c:v>
                </c:pt>
                <c:pt idx="20878">
                  <c:v>10.08.1942</c:v>
                </c:pt>
                <c:pt idx="20879">
                  <c:v>07.08.1942</c:v>
                </c:pt>
                <c:pt idx="20880">
                  <c:v>06.08.1942</c:v>
                </c:pt>
                <c:pt idx="20881">
                  <c:v>05.08.1942</c:v>
                </c:pt>
                <c:pt idx="20882">
                  <c:v>04.08.1942</c:v>
                </c:pt>
                <c:pt idx="20883">
                  <c:v>03.08.1942</c:v>
                </c:pt>
                <c:pt idx="20884">
                  <c:v>31.07.1942</c:v>
                </c:pt>
                <c:pt idx="20885">
                  <c:v>30.07.1942</c:v>
                </c:pt>
                <c:pt idx="20886">
                  <c:v>29.07.1942</c:v>
                </c:pt>
                <c:pt idx="20887">
                  <c:v>28.07.1942</c:v>
                </c:pt>
                <c:pt idx="20888">
                  <c:v>27.07.1942</c:v>
                </c:pt>
                <c:pt idx="20889">
                  <c:v>24.07.1942</c:v>
                </c:pt>
                <c:pt idx="20890">
                  <c:v>23.07.1942</c:v>
                </c:pt>
                <c:pt idx="20891">
                  <c:v>22.07.1942</c:v>
                </c:pt>
                <c:pt idx="20892">
                  <c:v>21.07.1942</c:v>
                </c:pt>
                <c:pt idx="20893">
                  <c:v>20.07.1942</c:v>
                </c:pt>
                <c:pt idx="20894">
                  <c:v>17.07.1942</c:v>
                </c:pt>
                <c:pt idx="20895">
                  <c:v>16.07.1942</c:v>
                </c:pt>
                <c:pt idx="20896">
                  <c:v>15.07.1942</c:v>
                </c:pt>
                <c:pt idx="20897">
                  <c:v>14.07.1942</c:v>
                </c:pt>
                <c:pt idx="20898">
                  <c:v>13.07.1942</c:v>
                </c:pt>
                <c:pt idx="20899">
                  <c:v>10.07.1942</c:v>
                </c:pt>
                <c:pt idx="20900">
                  <c:v>09.07.1942</c:v>
                </c:pt>
                <c:pt idx="20901">
                  <c:v>08.07.1942</c:v>
                </c:pt>
                <c:pt idx="20902">
                  <c:v>07.07.1942</c:v>
                </c:pt>
                <c:pt idx="20903">
                  <c:v>06.07.1942</c:v>
                </c:pt>
                <c:pt idx="20904">
                  <c:v>03.07.1942</c:v>
                </c:pt>
                <c:pt idx="20905">
                  <c:v>02.07.1942</c:v>
                </c:pt>
                <c:pt idx="20906">
                  <c:v>01.07.1942</c:v>
                </c:pt>
                <c:pt idx="20907">
                  <c:v>30.06.1942</c:v>
                </c:pt>
                <c:pt idx="20908">
                  <c:v>29.06.1942</c:v>
                </c:pt>
                <c:pt idx="20909">
                  <c:v>26.06.1942</c:v>
                </c:pt>
                <c:pt idx="20910">
                  <c:v>25.06.1942</c:v>
                </c:pt>
                <c:pt idx="20911">
                  <c:v>24.06.1942</c:v>
                </c:pt>
                <c:pt idx="20912">
                  <c:v>23.06.1942</c:v>
                </c:pt>
                <c:pt idx="20913">
                  <c:v>22.06.1942</c:v>
                </c:pt>
                <c:pt idx="20914">
                  <c:v>19.06.1942</c:v>
                </c:pt>
                <c:pt idx="20915">
                  <c:v>18.06.1942</c:v>
                </c:pt>
                <c:pt idx="20916">
                  <c:v>17.06.1942</c:v>
                </c:pt>
                <c:pt idx="20917">
                  <c:v>16.06.1942</c:v>
                </c:pt>
                <c:pt idx="20918">
                  <c:v>15.06.1942</c:v>
                </c:pt>
                <c:pt idx="20919">
                  <c:v>12.06.1942</c:v>
                </c:pt>
                <c:pt idx="20920">
                  <c:v>11.06.1942</c:v>
                </c:pt>
                <c:pt idx="20921">
                  <c:v>10.06.1942</c:v>
                </c:pt>
                <c:pt idx="20922">
                  <c:v>09.06.1942</c:v>
                </c:pt>
                <c:pt idx="20923">
                  <c:v>08.06.1942</c:v>
                </c:pt>
                <c:pt idx="20924">
                  <c:v>05.06.1942</c:v>
                </c:pt>
                <c:pt idx="20925">
                  <c:v>04.06.1942</c:v>
                </c:pt>
                <c:pt idx="20926">
                  <c:v>03.06.1942</c:v>
                </c:pt>
                <c:pt idx="20927">
                  <c:v>02.06.1942</c:v>
                </c:pt>
                <c:pt idx="20928">
                  <c:v>01.06.1942</c:v>
                </c:pt>
                <c:pt idx="20929">
                  <c:v>29.05.1942</c:v>
                </c:pt>
                <c:pt idx="20930">
                  <c:v>28.05.1942</c:v>
                </c:pt>
                <c:pt idx="20931">
                  <c:v>27.05.1942</c:v>
                </c:pt>
                <c:pt idx="20932">
                  <c:v>26.05.1942</c:v>
                </c:pt>
                <c:pt idx="20933">
                  <c:v>25.05.1942</c:v>
                </c:pt>
                <c:pt idx="20934">
                  <c:v>22.05.1942</c:v>
                </c:pt>
                <c:pt idx="20935">
                  <c:v>21.05.1942</c:v>
                </c:pt>
                <c:pt idx="20936">
                  <c:v>20.05.1942</c:v>
                </c:pt>
                <c:pt idx="20937">
                  <c:v>19.05.1942</c:v>
                </c:pt>
                <c:pt idx="20938">
                  <c:v>18.05.1942</c:v>
                </c:pt>
                <c:pt idx="20939">
                  <c:v>15.05.1942</c:v>
                </c:pt>
                <c:pt idx="20940">
                  <c:v>14.05.1942</c:v>
                </c:pt>
                <c:pt idx="20941">
                  <c:v>13.05.1942</c:v>
                </c:pt>
                <c:pt idx="20942">
                  <c:v>12.05.1942</c:v>
                </c:pt>
                <c:pt idx="20943">
                  <c:v>11.05.1942</c:v>
                </c:pt>
                <c:pt idx="20944">
                  <c:v>08.05.1942</c:v>
                </c:pt>
                <c:pt idx="20945">
                  <c:v>07.05.1942</c:v>
                </c:pt>
                <c:pt idx="20946">
                  <c:v>06.05.1942</c:v>
                </c:pt>
                <c:pt idx="20947">
                  <c:v>05.05.1942</c:v>
                </c:pt>
                <c:pt idx="20948">
                  <c:v>04.05.1942</c:v>
                </c:pt>
                <c:pt idx="20949">
                  <c:v>01.05.1942</c:v>
                </c:pt>
                <c:pt idx="20950">
                  <c:v>30.04.1942</c:v>
                </c:pt>
                <c:pt idx="20951">
                  <c:v>29.04.1942</c:v>
                </c:pt>
                <c:pt idx="20952">
                  <c:v>28.04.1942</c:v>
                </c:pt>
                <c:pt idx="20953">
                  <c:v>27.04.1942</c:v>
                </c:pt>
                <c:pt idx="20954">
                  <c:v>24.04.1942</c:v>
                </c:pt>
                <c:pt idx="20955">
                  <c:v>23.04.1942</c:v>
                </c:pt>
                <c:pt idx="20956">
                  <c:v>22.04.1942</c:v>
                </c:pt>
                <c:pt idx="20957">
                  <c:v>21.04.1942</c:v>
                </c:pt>
                <c:pt idx="20958">
                  <c:v>20.04.1942</c:v>
                </c:pt>
                <c:pt idx="20959">
                  <c:v>17.04.1942</c:v>
                </c:pt>
                <c:pt idx="20960">
                  <c:v>16.04.1942</c:v>
                </c:pt>
                <c:pt idx="20961">
                  <c:v>15.04.1942</c:v>
                </c:pt>
                <c:pt idx="20962">
                  <c:v>14.04.1942</c:v>
                </c:pt>
                <c:pt idx="20963">
                  <c:v>13.04.1942</c:v>
                </c:pt>
                <c:pt idx="20964">
                  <c:v>10.04.1942</c:v>
                </c:pt>
                <c:pt idx="20965">
                  <c:v>09.04.1942</c:v>
                </c:pt>
                <c:pt idx="20966">
                  <c:v>08.04.1942</c:v>
                </c:pt>
                <c:pt idx="20967">
                  <c:v>07.04.1942</c:v>
                </c:pt>
                <c:pt idx="20968">
                  <c:v>06.04.1942</c:v>
                </c:pt>
                <c:pt idx="20969">
                  <c:v>03.04.1942</c:v>
                </c:pt>
                <c:pt idx="20970">
                  <c:v>02.04.1942</c:v>
                </c:pt>
                <c:pt idx="20971">
                  <c:v>01.04.1942</c:v>
                </c:pt>
                <c:pt idx="20972">
                  <c:v>31.03.1942</c:v>
                </c:pt>
                <c:pt idx="20973">
                  <c:v>30.03.1942</c:v>
                </c:pt>
                <c:pt idx="20974">
                  <c:v>27.03.1942</c:v>
                </c:pt>
                <c:pt idx="20975">
                  <c:v>26.03.1942</c:v>
                </c:pt>
                <c:pt idx="20976">
                  <c:v>25.03.1942</c:v>
                </c:pt>
                <c:pt idx="20977">
                  <c:v>24.03.1942</c:v>
                </c:pt>
                <c:pt idx="20978">
                  <c:v>23.03.1942</c:v>
                </c:pt>
                <c:pt idx="20979">
                  <c:v>20.03.1942</c:v>
                </c:pt>
                <c:pt idx="20980">
                  <c:v>19.03.1942</c:v>
                </c:pt>
                <c:pt idx="20981">
                  <c:v>18.03.1942</c:v>
                </c:pt>
                <c:pt idx="20982">
                  <c:v>17.03.1942</c:v>
                </c:pt>
                <c:pt idx="20983">
                  <c:v>16.03.1942</c:v>
                </c:pt>
                <c:pt idx="20984">
                  <c:v>13.03.1942</c:v>
                </c:pt>
                <c:pt idx="20985">
                  <c:v>12.03.1942</c:v>
                </c:pt>
                <c:pt idx="20986">
                  <c:v>11.03.1942</c:v>
                </c:pt>
                <c:pt idx="20987">
                  <c:v>10.03.1942</c:v>
                </c:pt>
                <c:pt idx="20988">
                  <c:v>09.03.1942</c:v>
                </c:pt>
                <c:pt idx="20989">
                  <c:v>06.03.1942</c:v>
                </c:pt>
                <c:pt idx="20990">
                  <c:v>05.03.1942</c:v>
                </c:pt>
                <c:pt idx="20991">
                  <c:v>04.03.1942</c:v>
                </c:pt>
                <c:pt idx="20992">
                  <c:v>03.03.1942</c:v>
                </c:pt>
                <c:pt idx="20993">
                  <c:v>02.03.1942</c:v>
                </c:pt>
                <c:pt idx="20994">
                  <c:v>27.02.1942</c:v>
                </c:pt>
                <c:pt idx="20995">
                  <c:v>26.02.1942</c:v>
                </c:pt>
                <c:pt idx="20996">
                  <c:v>25.02.1942</c:v>
                </c:pt>
                <c:pt idx="20997">
                  <c:v>24.02.1942</c:v>
                </c:pt>
                <c:pt idx="20998">
                  <c:v>23.02.1942</c:v>
                </c:pt>
                <c:pt idx="20999">
                  <c:v>20.02.1942</c:v>
                </c:pt>
                <c:pt idx="21000">
                  <c:v>19.02.1942</c:v>
                </c:pt>
                <c:pt idx="21001">
                  <c:v>18.02.1942</c:v>
                </c:pt>
                <c:pt idx="21002">
                  <c:v>17.02.1942</c:v>
                </c:pt>
                <c:pt idx="21003">
                  <c:v>16.02.1942</c:v>
                </c:pt>
                <c:pt idx="21004">
                  <c:v>13.02.1942</c:v>
                </c:pt>
                <c:pt idx="21005">
                  <c:v>12.02.1942</c:v>
                </c:pt>
                <c:pt idx="21006">
                  <c:v>11.02.1942</c:v>
                </c:pt>
                <c:pt idx="21007">
                  <c:v>10.02.1942</c:v>
                </c:pt>
                <c:pt idx="21008">
                  <c:v>09.02.1942</c:v>
                </c:pt>
                <c:pt idx="21009">
                  <c:v>06.02.1942</c:v>
                </c:pt>
                <c:pt idx="21010">
                  <c:v>05.02.1942</c:v>
                </c:pt>
                <c:pt idx="21011">
                  <c:v>04.02.1942</c:v>
                </c:pt>
                <c:pt idx="21012">
                  <c:v>03.02.1942</c:v>
                </c:pt>
                <c:pt idx="21013">
                  <c:v>02.02.1942</c:v>
                </c:pt>
                <c:pt idx="21014">
                  <c:v>30.01.1942</c:v>
                </c:pt>
                <c:pt idx="21015">
                  <c:v>29.01.1942</c:v>
                </c:pt>
                <c:pt idx="21016">
                  <c:v>28.01.1942</c:v>
                </c:pt>
                <c:pt idx="21017">
                  <c:v>27.01.1942</c:v>
                </c:pt>
                <c:pt idx="21018">
                  <c:v>26.01.1942</c:v>
                </c:pt>
                <c:pt idx="21019">
                  <c:v>23.01.1942</c:v>
                </c:pt>
                <c:pt idx="21020">
                  <c:v>22.01.1942</c:v>
                </c:pt>
                <c:pt idx="21021">
                  <c:v>21.01.1942</c:v>
                </c:pt>
                <c:pt idx="21022">
                  <c:v>20.01.1942</c:v>
                </c:pt>
                <c:pt idx="21023">
                  <c:v>19.01.1942</c:v>
                </c:pt>
                <c:pt idx="21024">
                  <c:v>16.01.1942</c:v>
                </c:pt>
                <c:pt idx="21025">
                  <c:v>15.01.1942</c:v>
                </c:pt>
                <c:pt idx="21026">
                  <c:v>14.01.1942</c:v>
                </c:pt>
                <c:pt idx="21027">
                  <c:v>13.01.1942</c:v>
                </c:pt>
                <c:pt idx="21028">
                  <c:v>12.01.1942</c:v>
                </c:pt>
                <c:pt idx="21029">
                  <c:v>09.01.1942</c:v>
                </c:pt>
                <c:pt idx="21030">
                  <c:v>08.01.1942</c:v>
                </c:pt>
                <c:pt idx="21031">
                  <c:v>07.01.1942</c:v>
                </c:pt>
                <c:pt idx="21032">
                  <c:v>06.01.1942</c:v>
                </c:pt>
                <c:pt idx="21033">
                  <c:v>05.01.1942</c:v>
                </c:pt>
                <c:pt idx="21034">
                  <c:v>02.01.1942</c:v>
                </c:pt>
                <c:pt idx="21035">
                  <c:v>01.01.1942</c:v>
                </c:pt>
                <c:pt idx="21036">
                  <c:v>31.12.1941</c:v>
                </c:pt>
                <c:pt idx="21037">
                  <c:v>30.12.1941</c:v>
                </c:pt>
                <c:pt idx="21038">
                  <c:v>29.12.1941</c:v>
                </c:pt>
                <c:pt idx="21039">
                  <c:v>26.12.1941</c:v>
                </c:pt>
                <c:pt idx="21040">
                  <c:v>25.12.1941</c:v>
                </c:pt>
                <c:pt idx="21041">
                  <c:v>24.12.1941</c:v>
                </c:pt>
                <c:pt idx="21042">
                  <c:v>23.12.1941</c:v>
                </c:pt>
                <c:pt idx="21043">
                  <c:v>22.12.1941</c:v>
                </c:pt>
                <c:pt idx="21044">
                  <c:v>19.12.1941</c:v>
                </c:pt>
                <c:pt idx="21045">
                  <c:v>18.12.1941</c:v>
                </c:pt>
                <c:pt idx="21046">
                  <c:v>17.12.1941</c:v>
                </c:pt>
                <c:pt idx="21047">
                  <c:v>16.12.1941</c:v>
                </c:pt>
                <c:pt idx="21048">
                  <c:v>15.12.1941</c:v>
                </c:pt>
                <c:pt idx="21049">
                  <c:v>12.12.1941</c:v>
                </c:pt>
                <c:pt idx="21050">
                  <c:v>11.12.1941</c:v>
                </c:pt>
                <c:pt idx="21051">
                  <c:v>10.12.1941</c:v>
                </c:pt>
                <c:pt idx="21052">
                  <c:v>09.12.1941</c:v>
                </c:pt>
                <c:pt idx="21053">
                  <c:v>08.12.1941</c:v>
                </c:pt>
                <c:pt idx="21054">
                  <c:v>05.12.1941</c:v>
                </c:pt>
                <c:pt idx="21055">
                  <c:v>04.12.1941</c:v>
                </c:pt>
                <c:pt idx="21056">
                  <c:v>03.12.1941</c:v>
                </c:pt>
                <c:pt idx="21057">
                  <c:v>02.12.1941</c:v>
                </c:pt>
                <c:pt idx="21058">
                  <c:v>01.12.1941</c:v>
                </c:pt>
                <c:pt idx="21059">
                  <c:v>28.11.1941</c:v>
                </c:pt>
                <c:pt idx="21060">
                  <c:v>27.11.1941</c:v>
                </c:pt>
                <c:pt idx="21061">
                  <c:v>26.11.1941</c:v>
                </c:pt>
                <c:pt idx="21062">
                  <c:v>25.11.1941</c:v>
                </c:pt>
                <c:pt idx="21063">
                  <c:v>24.11.1941</c:v>
                </c:pt>
                <c:pt idx="21064">
                  <c:v>21.11.1941</c:v>
                </c:pt>
                <c:pt idx="21065">
                  <c:v>20.11.1941</c:v>
                </c:pt>
                <c:pt idx="21066">
                  <c:v>19.11.1941</c:v>
                </c:pt>
                <c:pt idx="21067">
                  <c:v>18.11.1941</c:v>
                </c:pt>
                <c:pt idx="21068">
                  <c:v>17.11.1941</c:v>
                </c:pt>
                <c:pt idx="21069">
                  <c:v>14.11.1941</c:v>
                </c:pt>
                <c:pt idx="21070">
                  <c:v>13.11.1941</c:v>
                </c:pt>
                <c:pt idx="21071">
                  <c:v>12.11.1941</c:v>
                </c:pt>
                <c:pt idx="21072">
                  <c:v>11.11.1941</c:v>
                </c:pt>
                <c:pt idx="21073">
                  <c:v>10.11.1941</c:v>
                </c:pt>
                <c:pt idx="21074">
                  <c:v>07.11.1941</c:v>
                </c:pt>
                <c:pt idx="21075">
                  <c:v>06.11.1941</c:v>
                </c:pt>
                <c:pt idx="21076">
                  <c:v>05.11.1941</c:v>
                </c:pt>
                <c:pt idx="21077">
                  <c:v>04.11.1941</c:v>
                </c:pt>
                <c:pt idx="21078">
                  <c:v>03.11.1941</c:v>
                </c:pt>
                <c:pt idx="21079">
                  <c:v>31.10.1941</c:v>
                </c:pt>
                <c:pt idx="21080">
                  <c:v>30.10.1941</c:v>
                </c:pt>
                <c:pt idx="21081">
                  <c:v>29.10.1941</c:v>
                </c:pt>
                <c:pt idx="21082">
                  <c:v>28.10.1941</c:v>
                </c:pt>
                <c:pt idx="21083">
                  <c:v>27.10.1941</c:v>
                </c:pt>
                <c:pt idx="21084">
                  <c:v>24.10.1941</c:v>
                </c:pt>
                <c:pt idx="21085">
                  <c:v>23.10.1941</c:v>
                </c:pt>
                <c:pt idx="21086">
                  <c:v>22.10.1941</c:v>
                </c:pt>
                <c:pt idx="21087">
                  <c:v>21.10.1941</c:v>
                </c:pt>
                <c:pt idx="21088">
                  <c:v>20.10.1941</c:v>
                </c:pt>
                <c:pt idx="21089">
                  <c:v>17.10.1941</c:v>
                </c:pt>
                <c:pt idx="21090">
                  <c:v>16.10.1941</c:v>
                </c:pt>
                <c:pt idx="21091">
                  <c:v>15.10.1941</c:v>
                </c:pt>
                <c:pt idx="21092">
                  <c:v>14.10.1941</c:v>
                </c:pt>
                <c:pt idx="21093">
                  <c:v>13.10.1941</c:v>
                </c:pt>
                <c:pt idx="21094">
                  <c:v>10.10.1941</c:v>
                </c:pt>
                <c:pt idx="21095">
                  <c:v>09.10.1941</c:v>
                </c:pt>
                <c:pt idx="21096">
                  <c:v>08.10.1941</c:v>
                </c:pt>
                <c:pt idx="21097">
                  <c:v>07.10.1941</c:v>
                </c:pt>
                <c:pt idx="21098">
                  <c:v>06.10.1941</c:v>
                </c:pt>
                <c:pt idx="21099">
                  <c:v>03.10.1941</c:v>
                </c:pt>
                <c:pt idx="21100">
                  <c:v>02.10.1941</c:v>
                </c:pt>
                <c:pt idx="21101">
                  <c:v>01.10.1941</c:v>
                </c:pt>
                <c:pt idx="21102">
                  <c:v>30.09.1941</c:v>
                </c:pt>
                <c:pt idx="21103">
                  <c:v>29.09.1941</c:v>
                </c:pt>
                <c:pt idx="21104">
                  <c:v>26.09.1941</c:v>
                </c:pt>
                <c:pt idx="21105">
                  <c:v>25.09.1941</c:v>
                </c:pt>
                <c:pt idx="21106">
                  <c:v>24.09.1941</c:v>
                </c:pt>
                <c:pt idx="21107">
                  <c:v>23.09.1941</c:v>
                </c:pt>
                <c:pt idx="21108">
                  <c:v>22.09.1941</c:v>
                </c:pt>
                <c:pt idx="21109">
                  <c:v>19.09.1941</c:v>
                </c:pt>
                <c:pt idx="21110">
                  <c:v>18.09.1941</c:v>
                </c:pt>
                <c:pt idx="21111">
                  <c:v>17.09.1941</c:v>
                </c:pt>
                <c:pt idx="21112">
                  <c:v>16.09.1941</c:v>
                </c:pt>
                <c:pt idx="21113">
                  <c:v>15.09.1941</c:v>
                </c:pt>
                <c:pt idx="21114">
                  <c:v>12.09.1941</c:v>
                </c:pt>
                <c:pt idx="21115">
                  <c:v>11.09.1941</c:v>
                </c:pt>
                <c:pt idx="21116">
                  <c:v>10.09.1941</c:v>
                </c:pt>
                <c:pt idx="21117">
                  <c:v>09.09.1941</c:v>
                </c:pt>
                <c:pt idx="21118">
                  <c:v>08.09.1941</c:v>
                </c:pt>
                <c:pt idx="21119">
                  <c:v>05.09.1941</c:v>
                </c:pt>
                <c:pt idx="21120">
                  <c:v>04.09.1941</c:v>
                </c:pt>
                <c:pt idx="21121">
                  <c:v>03.09.1941</c:v>
                </c:pt>
                <c:pt idx="21122">
                  <c:v>02.09.1941</c:v>
                </c:pt>
                <c:pt idx="21123">
                  <c:v>01.09.1941</c:v>
                </c:pt>
                <c:pt idx="21124">
                  <c:v>29.08.1941</c:v>
                </c:pt>
                <c:pt idx="21125">
                  <c:v>28.08.1941</c:v>
                </c:pt>
                <c:pt idx="21126">
                  <c:v>27.08.1941</c:v>
                </c:pt>
                <c:pt idx="21127">
                  <c:v>26.08.1941</c:v>
                </c:pt>
                <c:pt idx="21128">
                  <c:v>25.08.1941</c:v>
                </c:pt>
                <c:pt idx="21129">
                  <c:v>22.08.1941</c:v>
                </c:pt>
                <c:pt idx="21130">
                  <c:v>21.08.1941</c:v>
                </c:pt>
                <c:pt idx="21131">
                  <c:v>20.08.1941</c:v>
                </c:pt>
                <c:pt idx="21132">
                  <c:v>19.08.1941</c:v>
                </c:pt>
                <c:pt idx="21133">
                  <c:v>18.08.1941</c:v>
                </c:pt>
                <c:pt idx="21134">
                  <c:v>15.08.1941</c:v>
                </c:pt>
                <c:pt idx="21135">
                  <c:v>14.08.1941</c:v>
                </c:pt>
                <c:pt idx="21136">
                  <c:v>13.08.1941</c:v>
                </c:pt>
                <c:pt idx="21137">
                  <c:v>12.08.1941</c:v>
                </c:pt>
                <c:pt idx="21138">
                  <c:v>11.08.1941</c:v>
                </c:pt>
                <c:pt idx="21139">
                  <c:v>08.08.1941</c:v>
                </c:pt>
                <c:pt idx="21140">
                  <c:v>07.08.1941</c:v>
                </c:pt>
                <c:pt idx="21141">
                  <c:v>06.08.1941</c:v>
                </c:pt>
                <c:pt idx="21142">
                  <c:v>05.08.1941</c:v>
                </c:pt>
                <c:pt idx="21143">
                  <c:v>04.08.1941</c:v>
                </c:pt>
                <c:pt idx="21144">
                  <c:v>01.08.1941</c:v>
                </c:pt>
                <c:pt idx="21145">
                  <c:v>31.07.1941</c:v>
                </c:pt>
                <c:pt idx="21146">
                  <c:v>30.07.1941</c:v>
                </c:pt>
                <c:pt idx="21147">
                  <c:v>29.07.1941</c:v>
                </c:pt>
                <c:pt idx="21148">
                  <c:v>28.07.1941</c:v>
                </c:pt>
                <c:pt idx="21149">
                  <c:v>25.07.1941</c:v>
                </c:pt>
                <c:pt idx="21150">
                  <c:v>24.07.1941</c:v>
                </c:pt>
                <c:pt idx="21151">
                  <c:v>23.07.1941</c:v>
                </c:pt>
                <c:pt idx="21152">
                  <c:v>22.07.1941</c:v>
                </c:pt>
                <c:pt idx="21153">
                  <c:v>21.07.1941</c:v>
                </c:pt>
                <c:pt idx="21154">
                  <c:v>18.07.1941</c:v>
                </c:pt>
                <c:pt idx="21155">
                  <c:v>17.07.1941</c:v>
                </c:pt>
                <c:pt idx="21156">
                  <c:v>16.07.1941</c:v>
                </c:pt>
                <c:pt idx="21157">
                  <c:v>15.07.1941</c:v>
                </c:pt>
                <c:pt idx="21158">
                  <c:v>14.07.1941</c:v>
                </c:pt>
                <c:pt idx="21159">
                  <c:v>11.07.1941</c:v>
                </c:pt>
                <c:pt idx="21160">
                  <c:v>10.07.1941</c:v>
                </c:pt>
                <c:pt idx="21161">
                  <c:v>09.07.1941</c:v>
                </c:pt>
                <c:pt idx="21162">
                  <c:v>08.07.1941</c:v>
                </c:pt>
                <c:pt idx="21163">
                  <c:v>07.07.1941</c:v>
                </c:pt>
                <c:pt idx="21164">
                  <c:v>04.07.1941</c:v>
                </c:pt>
                <c:pt idx="21165">
                  <c:v>03.07.1941</c:v>
                </c:pt>
                <c:pt idx="21166">
                  <c:v>02.07.1941</c:v>
                </c:pt>
                <c:pt idx="21167">
                  <c:v>01.07.1941</c:v>
                </c:pt>
                <c:pt idx="21168">
                  <c:v>30.06.1941</c:v>
                </c:pt>
                <c:pt idx="21169">
                  <c:v>27.06.1941</c:v>
                </c:pt>
                <c:pt idx="21170">
                  <c:v>26.06.1941</c:v>
                </c:pt>
                <c:pt idx="21171">
                  <c:v>25.06.1941</c:v>
                </c:pt>
                <c:pt idx="21172">
                  <c:v>24.06.1941</c:v>
                </c:pt>
                <c:pt idx="21173">
                  <c:v>23.06.1941</c:v>
                </c:pt>
                <c:pt idx="21174">
                  <c:v>20.06.1941</c:v>
                </c:pt>
                <c:pt idx="21175">
                  <c:v>19.06.1941</c:v>
                </c:pt>
                <c:pt idx="21176">
                  <c:v>18.06.1941</c:v>
                </c:pt>
                <c:pt idx="21177">
                  <c:v>17.06.1941</c:v>
                </c:pt>
                <c:pt idx="21178">
                  <c:v>16.06.1941</c:v>
                </c:pt>
                <c:pt idx="21179">
                  <c:v>13.06.1941</c:v>
                </c:pt>
                <c:pt idx="21180">
                  <c:v>12.06.1941</c:v>
                </c:pt>
                <c:pt idx="21181">
                  <c:v>11.06.1941</c:v>
                </c:pt>
                <c:pt idx="21182">
                  <c:v>10.06.1941</c:v>
                </c:pt>
                <c:pt idx="21183">
                  <c:v>09.06.1941</c:v>
                </c:pt>
                <c:pt idx="21184">
                  <c:v>06.06.1941</c:v>
                </c:pt>
                <c:pt idx="21185">
                  <c:v>05.06.1941</c:v>
                </c:pt>
                <c:pt idx="21186">
                  <c:v>04.06.1941</c:v>
                </c:pt>
                <c:pt idx="21187">
                  <c:v>03.06.1941</c:v>
                </c:pt>
                <c:pt idx="21188">
                  <c:v>02.06.1941</c:v>
                </c:pt>
                <c:pt idx="21189">
                  <c:v>30.05.1941</c:v>
                </c:pt>
                <c:pt idx="21190">
                  <c:v>29.05.1941</c:v>
                </c:pt>
                <c:pt idx="21191">
                  <c:v>28.05.1941</c:v>
                </c:pt>
                <c:pt idx="21192">
                  <c:v>27.05.1941</c:v>
                </c:pt>
                <c:pt idx="21193">
                  <c:v>26.05.1941</c:v>
                </c:pt>
                <c:pt idx="21194">
                  <c:v>23.05.1941</c:v>
                </c:pt>
                <c:pt idx="21195">
                  <c:v>22.05.1941</c:v>
                </c:pt>
                <c:pt idx="21196">
                  <c:v>21.05.1941</c:v>
                </c:pt>
                <c:pt idx="21197">
                  <c:v>20.05.1941</c:v>
                </c:pt>
                <c:pt idx="21198">
                  <c:v>19.05.1941</c:v>
                </c:pt>
                <c:pt idx="21199">
                  <c:v>16.05.1941</c:v>
                </c:pt>
                <c:pt idx="21200">
                  <c:v>15.05.1941</c:v>
                </c:pt>
                <c:pt idx="21201">
                  <c:v>14.05.1941</c:v>
                </c:pt>
                <c:pt idx="21202">
                  <c:v>13.05.1941</c:v>
                </c:pt>
                <c:pt idx="21203">
                  <c:v>12.05.1941</c:v>
                </c:pt>
                <c:pt idx="21204">
                  <c:v>09.05.1941</c:v>
                </c:pt>
                <c:pt idx="21205">
                  <c:v>08.05.1941</c:v>
                </c:pt>
                <c:pt idx="21206">
                  <c:v>07.05.1941</c:v>
                </c:pt>
                <c:pt idx="21207">
                  <c:v>06.05.1941</c:v>
                </c:pt>
                <c:pt idx="21208">
                  <c:v>05.05.1941</c:v>
                </c:pt>
                <c:pt idx="21209">
                  <c:v>02.05.1941</c:v>
                </c:pt>
                <c:pt idx="21210">
                  <c:v>01.05.1941</c:v>
                </c:pt>
                <c:pt idx="21211">
                  <c:v>30.04.1941</c:v>
                </c:pt>
                <c:pt idx="21212">
                  <c:v>29.04.1941</c:v>
                </c:pt>
                <c:pt idx="21213">
                  <c:v>28.04.1941</c:v>
                </c:pt>
                <c:pt idx="21214">
                  <c:v>25.04.1941</c:v>
                </c:pt>
                <c:pt idx="21215">
                  <c:v>24.04.1941</c:v>
                </c:pt>
                <c:pt idx="21216">
                  <c:v>23.04.1941</c:v>
                </c:pt>
                <c:pt idx="21217">
                  <c:v>22.04.1941</c:v>
                </c:pt>
                <c:pt idx="21218">
                  <c:v>21.04.1941</c:v>
                </c:pt>
                <c:pt idx="21219">
                  <c:v>18.04.1941</c:v>
                </c:pt>
                <c:pt idx="21220">
                  <c:v>17.04.1941</c:v>
                </c:pt>
                <c:pt idx="21221">
                  <c:v>16.04.1941</c:v>
                </c:pt>
                <c:pt idx="21222">
                  <c:v>15.04.1941</c:v>
                </c:pt>
                <c:pt idx="21223">
                  <c:v>14.04.1941</c:v>
                </c:pt>
                <c:pt idx="21224">
                  <c:v>11.04.1941</c:v>
                </c:pt>
                <c:pt idx="21225">
                  <c:v>10.04.1941</c:v>
                </c:pt>
                <c:pt idx="21226">
                  <c:v>09.04.1941</c:v>
                </c:pt>
                <c:pt idx="21227">
                  <c:v>08.04.1941</c:v>
                </c:pt>
                <c:pt idx="21228">
                  <c:v>07.04.1941</c:v>
                </c:pt>
                <c:pt idx="21229">
                  <c:v>04.04.1941</c:v>
                </c:pt>
                <c:pt idx="21230">
                  <c:v>03.04.1941</c:v>
                </c:pt>
                <c:pt idx="21231">
                  <c:v>02.04.1941</c:v>
                </c:pt>
                <c:pt idx="21232">
                  <c:v>01.04.1941</c:v>
                </c:pt>
                <c:pt idx="21233">
                  <c:v>31.03.1941</c:v>
                </c:pt>
                <c:pt idx="21234">
                  <c:v>28.03.1941</c:v>
                </c:pt>
                <c:pt idx="21235">
                  <c:v>27.03.1941</c:v>
                </c:pt>
                <c:pt idx="21236">
                  <c:v>26.03.1941</c:v>
                </c:pt>
                <c:pt idx="21237">
                  <c:v>25.03.1941</c:v>
                </c:pt>
                <c:pt idx="21238">
                  <c:v>24.03.1941</c:v>
                </c:pt>
                <c:pt idx="21239">
                  <c:v>21.03.1941</c:v>
                </c:pt>
                <c:pt idx="21240">
                  <c:v>20.03.1941</c:v>
                </c:pt>
                <c:pt idx="21241">
                  <c:v>19.03.1941</c:v>
                </c:pt>
                <c:pt idx="21242">
                  <c:v>18.03.1941</c:v>
                </c:pt>
                <c:pt idx="21243">
                  <c:v>17.03.1941</c:v>
                </c:pt>
                <c:pt idx="21244">
                  <c:v>14.03.1941</c:v>
                </c:pt>
                <c:pt idx="21245">
                  <c:v>13.03.1941</c:v>
                </c:pt>
                <c:pt idx="21246">
                  <c:v>12.03.1941</c:v>
                </c:pt>
                <c:pt idx="21247">
                  <c:v>11.03.1941</c:v>
                </c:pt>
                <c:pt idx="21248">
                  <c:v>10.03.1941</c:v>
                </c:pt>
                <c:pt idx="21249">
                  <c:v>07.03.1941</c:v>
                </c:pt>
                <c:pt idx="21250">
                  <c:v>06.03.1941</c:v>
                </c:pt>
                <c:pt idx="21251">
                  <c:v>05.03.1941</c:v>
                </c:pt>
                <c:pt idx="21252">
                  <c:v>04.03.1941</c:v>
                </c:pt>
                <c:pt idx="21253">
                  <c:v>03.03.1941</c:v>
                </c:pt>
                <c:pt idx="21254">
                  <c:v>28.02.1941</c:v>
                </c:pt>
                <c:pt idx="21255">
                  <c:v>27.02.1941</c:v>
                </c:pt>
                <c:pt idx="21256">
                  <c:v>26.02.1941</c:v>
                </c:pt>
                <c:pt idx="21257">
                  <c:v>25.02.1941</c:v>
                </c:pt>
                <c:pt idx="21258">
                  <c:v>24.02.1941</c:v>
                </c:pt>
                <c:pt idx="21259">
                  <c:v>21.02.1941</c:v>
                </c:pt>
                <c:pt idx="21260">
                  <c:v>20.02.1941</c:v>
                </c:pt>
                <c:pt idx="21261">
                  <c:v>19.02.1941</c:v>
                </c:pt>
                <c:pt idx="21262">
                  <c:v>18.02.1941</c:v>
                </c:pt>
                <c:pt idx="21263">
                  <c:v>17.02.1941</c:v>
                </c:pt>
                <c:pt idx="21264">
                  <c:v>14.02.1941</c:v>
                </c:pt>
                <c:pt idx="21265">
                  <c:v>13.02.1941</c:v>
                </c:pt>
                <c:pt idx="21266">
                  <c:v>12.02.1941</c:v>
                </c:pt>
                <c:pt idx="21267">
                  <c:v>11.02.1941</c:v>
                </c:pt>
                <c:pt idx="21268">
                  <c:v>10.02.1941</c:v>
                </c:pt>
                <c:pt idx="21269">
                  <c:v>07.02.1941</c:v>
                </c:pt>
                <c:pt idx="21270">
                  <c:v>06.02.1941</c:v>
                </c:pt>
                <c:pt idx="21271">
                  <c:v>05.02.1941</c:v>
                </c:pt>
                <c:pt idx="21272">
                  <c:v>04.02.1941</c:v>
                </c:pt>
                <c:pt idx="21273">
                  <c:v>03.02.1941</c:v>
                </c:pt>
                <c:pt idx="21274">
                  <c:v>31.01.1941</c:v>
                </c:pt>
                <c:pt idx="21275">
                  <c:v>30.01.1941</c:v>
                </c:pt>
                <c:pt idx="21276">
                  <c:v>29.01.1941</c:v>
                </c:pt>
                <c:pt idx="21277">
                  <c:v>28.01.1941</c:v>
                </c:pt>
                <c:pt idx="21278">
                  <c:v>27.01.1941</c:v>
                </c:pt>
                <c:pt idx="21279">
                  <c:v>24.01.1941</c:v>
                </c:pt>
                <c:pt idx="21280">
                  <c:v>23.01.1941</c:v>
                </c:pt>
                <c:pt idx="21281">
                  <c:v>22.01.1941</c:v>
                </c:pt>
                <c:pt idx="21282">
                  <c:v>21.01.1941</c:v>
                </c:pt>
                <c:pt idx="21283">
                  <c:v>20.01.1941</c:v>
                </c:pt>
                <c:pt idx="21284">
                  <c:v>17.01.1941</c:v>
                </c:pt>
                <c:pt idx="21285">
                  <c:v>16.01.1941</c:v>
                </c:pt>
                <c:pt idx="21286">
                  <c:v>15.01.1941</c:v>
                </c:pt>
                <c:pt idx="21287">
                  <c:v>14.01.1941</c:v>
                </c:pt>
                <c:pt idx="21288">
                  <c:v>13.01.1941</c:v>
                </c:pt>
                <c:pt idx="21289">
                  <c:v>10.01.1941</c:v>
                </c:pt>
                <c:pt idx="21290">
                  <c:v>09.01.1941</c:v>
                </c:pt>
                <c:pt idx="21291">
                  <c:v>08.01.1941</c:v>
                </c:pt>
                <c:pt idx="21292">
                  <c:v>07.01.1941</c:v>
                </c:pt>
                <c:pt idx="21293">
                  <c:v>06.01.1941</c:v>
                </c:pt>
                <c:pt idx="21294">
                  <c:v>03.01.1941</c:v>
                </c:pt>
                <c:pt idx="21295">
                  <c:v>02.01.1941</c:v>
                </c:pt>
                <c:pt idx="21296">
                  <c:v>01.01.1941</c:v>
                </c:pt>
                <c:pt idx="21297">
                  <c:v>31.12.1940</c:v>
                </c:pt>
                <c:pt idx="21298">
                  <c:v>30.12.1940</c:v>
                </c:pt>
                <c:pt idx="21299">
                  <c:v>27.12.1940</c:v>
                </c:pt>
                <c:pt idx="21300">
                  <c:v>26.12.1940</c:v>
                </c:pt>
                <c:pt idx="21301">
                  <c:v>25.12.1940</c:v>
                </c:pt>
                <c:pt idx="21302">
                  <c:v>24.12.1940</c:v>
                </c:pt>
                <c:pt idx="21303">
                  <c:v>23.12.1940</c:v>
                </c:pt>
                <c:pt idx="21304">
                  <c:v>20.12.1940</c:v>
                </c:pt>
                <c:pt idx="21305">
                  <c:v>19.12.1940</c:v>
                </c:pt>
                <c:pt idx="21306">
                  <c:v>18.12.1940</c:v>
                </c:pt>
                <c:pt idx="21307">
                  <c:v>17.12.1940</c:v>
                </c:pt>
                <c:pt idx="21308">
                  <c:v>16.12.1940</c:v>
                </c:pt>
                <c:pt idx="21309">
                  <c:v>13.12.1940</c:v>
                </c:pt>
                <c:pt idx="21310">
                  <c:v>12.12.1940</c:v>
                </c:pt>
                <c:pt idx="21311">
                  <c:v>11.12.1940</c:v>
                </c:pt>
                <c:pt idx="21312">
                  <c:v>10.12.1940</c:v>
                </c:pt>
                <c:pt idx="21313">
                  <c:v>09.12.1940</c:v>
                </c:pt>
                <c:pt idx="21314">
                  <c:v>06.12.1940</c:v>
                </c:pt>
                <c:pt idx="21315">
                  <c:v>05.12.1940</c:v>
                </c:pt>
                <c:pt idx="21316">
                  <c:v>04.12.1940</c:v>
                </c:pt>
                <c:pt idx="21317">
                  <c:v>03.12.1940</c:v>
                </c:pt>
                <c:pt idx="21318">
                  <c:v>02.12.1940</c:v>
                </c:pt>
                <c:pt idx="21319">
                  <c:v>29.11.1940</c:v>
                </c:pt>
                <c:pt idx="21320">
                  <c:v>28.11.1940</c:v>
                </c:pt>
                <c:pt idx="21321">
                  <c:v>27.11.1940</c:v>
                </c:pt>
                <c:pt idx="21322">
                  <c:v>26.11.1940</c:v>
                </c:pt>
                <c:pt idx="21323">
                  <c:v>25.11.1940</c:v>
                </c:pt>
                <c:pt idx="21324">
                  <c:v>22.11.1940</c:v>
                </c:pt>
                <c:pt idx="21325">
                  <c:v>21.11.1940</c:v>
                </c:pt>
                <c:pt idx="21326">
                  <c:v>20.11.1940</c:v>
                </c:pt>
                <c:pt idx="21327">
                  <c:v>19.11.1940</c:v>
                </c:pt>
                <c:pt idx="21328">
                  <c:v>18.11.1940</c:v>
                </c:pt>
                <c:pt idx="21329">
                  <c:v>15.11.1940</c:v>
                </c:pt>
                <c:pt idx="21330">
                  <c:v>14.11.1940</c:v>
                </c:pt>
                <c:pt idx="21331">
                  <c:v>13.11.1940</c:v>
                </c:pt>
                <c:pt idx="21332">
                  <c:v>12.11.1940</c:v>
                </c:pt>
                <c:pt idx="21333">
                  <c:v>11.11.1940</c:v>
                </c:pt>
                <c:pt idx="21334">
                  <c:v>08.11.1940</c:v>
                </c:pt>
                <c:pt idx="21335">
                  <c:v>07.11.1940</c:v>
                </c:pt>
                <c:pt idx="21336">
                  <c:v>06.11.1940</c:v>
                </c:pt>
                <c:pt idx="21337">
                  <c:v>05.11.1940</c:v>
                </c:pt>
                <c:pt idx="21338">
                  <c:v>04.11.1940</c:v>
                </c:pt>
                <c:pt idx="21339">
                  <c:v>01.11.1940</c:v>
                </c:pt>
                <c:pt idx="21340">
                  <c:v>31.10.1940</c:v>
                </c:pt>
                <c:pt idx="21341">
                  <c:v>30.10.1940</c:v>
                </c:pt>
                <c:pt idx="21342">
                  <c:v>29.10.1940</c:v>
                </c:pt>
                <c:pt idx="21343">
                  <c:v>28.10.1940</c:v>
                </c:pt>
                <c:pt idx="21344">
                  <c:v>25.10.1940</c:v>
                </c:pt>
                <c:pt idx="21345">
                  <c:v>24.10.1940</c:v>
                </c:pt>
                <c:pt idx="21346">
                  <c:v>23.10.1940</c:v>
                </c:pt>
                <c:pt idx="21347">
                  <c:v>22.10.1940</c:v>
                </c:pt>
                <c:pt idx="21348">
                  <c:v>21.10.1940</c:v>
                </c:pt>
                <c:pt idx="21349">
                  <c:v>18.10.1940</c:v>
                </c:pt>
                <c:pt idx="21350">
                  <c:v>17.10.1940</c:v>
                </c:pt>
                <c:pt idx="21351">
                  <c:v>16.10.1940</c:v>
                </c:pt>
                <c:pt idx="21352">
                  <c:v>15.10.1940</c:v>
                </c:pt>
                <c:pt idx="21353">
                  <c:v>14.10.1940</c:v>
                </c:pt>
                <c:pt idx="21354">
                  <c:v>11.10.1940</c:v>
                </c:pt>
                <c:pt idx="21355">
                  <c:v>10.10.1940</c:v>
                </c:pt>
                <c:pt idx="21356">
                  <c:v>09.10.1940</c:v>
                </c:pt>
                <c:pt idx="21357">
                  <c:v>08.10.1940</c:v>
                </c:pt>
                <c:pt idx="21358">
                  <c:v>07.10.1940</c:v>
                </c:pt>
                <c:pt idx="21359">
                  <c:v>04.10.1940</c:v>
                </c:pt>
                <c:pt idx="21360">
                  <c:v>03.10.1940</c:v>
                </c:pt>
                <c:pt idx="21361">
                  <c:v>02.10.1940</c:v>
                </c:pt>
                <c:pt idx="21362">
                  <c:v>01.10.1940</c:v>
                </c:pt>
                <c:pt idx="21363">
                  <c:v>30.09.1940</c:v>
                </c:pt>
                <c:pt idx="21364">
                  <c:v>27.09.1940</c:v>
                </c:pt>
                <c:pt idx="21365">
                  <c:v>26.09.1940</c:v>
                </c:pt>
                <c:pt idx="21366">
                  <c:v>25.09.1940</c:v>
                </c:pt>
                <c:pt idx="21367">
                  <c:v>24.09.1940</c:v>
                </c:pt>
                <c:pt idx="21368">
                  <c:v>23.09.1940</c:v>
                </c:pt>
                <c:pt idx="21369">
                  <c:v>20.09.1940</c:v>
                </c:pt>
                <c:pt idx="21370">
                  <c:v>19.09.1940</c:v>
                </c:pt>
                <c:pt idx="21371">
                  <c:v>18.09.1940</c:v>
                </c:pt>
                <c:pt idx="21372">
                  <c:v>17.09.1940</c:v>
                </c:pt>
                <c:pt idx="21373">
                  <c:v>16.09.1940</c:v>
                </c:pt>
                <c:pt idx="21374">
                  <c:v>13.09.1940</c:v>
                </c:pt>
                <c:pt idx="21375">
                  <c:v>12.09.1940</c:v>
                </c:pt>
                <c:pt idx="21376">
                  <c:v>11.09.1940</c:v>
                </c:pt>
                <c:pt idx="21377">
                  <c:v>10.09.1940</c:v>
                </c:pt>
                <c:pt idx="21378">
                  <c:v>09.09.1940</c:v>
                </c:pt>
                <c:pt idx="21379">
                  <c:v>06.09.1940</c:v>
                </c:pt>
                <c:pt idx="21380">
                  <c:v>05.09.1940</c:v>
                </c:pt>
                <c:pt idx="21381">
                  <c:v>04.09.1940</c:v>
                </c:pt>
                <c:pt idx="21382">
                  <c:v>03.09.1940</c:v>
                </c:pt>
                <c:pt idx="21383">
                  <c:v>02.09.1940</c:v>
                </c:pt>
                <c:pt idx="21384">
                  <c:v>30.08.1940</c:v>
                </c:pt>
                <c:pt idx="21385">
                  <c:v>29.08.1940</c:v>
                </c:pt>
                <c:pt idx="21386">
                  <c:v>28.08.1940</c:v>
                </c:pt>
                <c:pt idx="21387">
                  <c:v>27.08.1940</c:v>
                </c:pt>
                <c:pt idx="21388">
                  <c:v>26.08.1940</c:v>
                </c:pt>
                <c:pt idx="21389">
                  <c:v>23.08.1940</c:v>
                </c:pt>
                <c:pt idx="21390">
                  <c:v>22.08.1940</c:v>
                </c:pt>
                <c:pt idx="21391">
                  <c:v>21.08.1940</c:v>
                </c:pt>
                <c:pt idx="21392">
                  <c:v>20.08.1940</c:v>
                </c:pt>
                <c:pt idx="21393">
                  <c:v>19.08.1940</c:v>
                </c:pt>
                <c:pt idx="21394">
                  <c:v>16.08.1940</c:v>
                </c:pt>
                <c:pt idx="21395">
                  <c:v>15.08.1940</c:v>
                </c:pt>
                <c:pt idx="21396">
                  <c:v>14.08.1940</c:v>
                </c:pt>
                <c:pt idx="21397">
                  <c:v>13.08.1940</c:v>
                </c:pt>
                <c:pt idx="21398">
                  <c:v>12.08.1940</c:v>
                </c:pt>
                <c:pt idx="21399">
                  <c:v>09.08.1940</c:v>
                </c:pt>
                <c:pt idx="21400">
                  <c:v>08.08.1940</c:v>
                </c:pt>
                <c:pt idx="21401">
                  <c:v>07.08.1940</c:v>
                </c:pt>
                <c:pt idx="21402">
                  <c:v>06.08.1940</c:v>
                </c:pt>
                <c:pt idx="21403">
                  <c:v>05.08.1940</c:v>
                </c:pt>
                <c:pt idx="21404">
                  <c:v>02.08.1940</c:v>
                </c:pt>
                <c:pt idx="21405">
                  <c:v>01.08.1940</c:v>
                </c:pt>
                <c:pt idx="21406">
                  <c:v>31.07.1940</c:v>
                </c:pt>
                <c:pt idx="21407">
                  <c:v>30.07.1940</c:v>
                </c:pt>
                <c:pt idx="21408">
                  <c:v>29.07.1940</c:v>
                </c:pt>
                <c:pt idx="21409">
                  <c:v>26.07.1940</c:v>
                </c:pt>
                <c:pt idx="21410">
                  <c:v>25.07.1940</c:v>
                </c:pt>
                <c:pt idx="21411">
                  <c:v>24.07.1940</c:v>
                </c:pt>
                <c:pt idx="21412">
                  <c:v>23.07.1940</c:v>
                </c:pt>
                <c:pt idx="21413">
                  <c:v>22.07.1940</c:v>
                </c:pt>
                <c:pt idx="21414">
                  <c:v>19.07.1940</c:v>
                </c:pt>
                <c:pt idx="21415">
                  <c:v>18.07.1940</c:v>
                </c:pt>
                <c:pt idx="21416">
                  <c:v>17.07.1940</c:v>
                </c:pt>
                <c:pt idx="21417">
                  <c:v>16.07.1940</c:v>
                </c:pt>
                <c:pt idx="21418">
                  <c:v>15.07.1940</c:v>
                </c:pt>
                <c:pt idx="21419">
                  <c:v>12.07.1940</c:v>
                </c:pt>
                <c:pt idx="21420">
                  <c:v>11.07.1940</c:v>
                </c:pt>
                <c:pt idx="21421">
                  <c:v>10.07.1940</c:v>
                </c:pt>
                <c:pt idx="21422">
                  <c:v>09.07.1940</c:v>
                </c:pt>
                <c:pt idx="21423">
                  <c:v>08.07.1940</c:v>
                </c:pt>
                <c:pt idx="21424">
                  <c:v>05.07.1940</c:v>
                </c:pt>
                <c:pt idx="21425">
                  <c:v>04.07.1940</c:v>
                </c:pt>
                <c:pt idx="21426">
                  <c:v>03.07.1940</c:v>
                </c:pt>
                <c:pt idx="21427">
                  <c:v>02.07.1940</c:v>
                </c:pt>
                <c:pt idx="21428">
                  <c:v>01.07.1940</c:v>
                </c:pt>
                <c:pt idx="21429">
                  <c:v>28.06.1940</c:v>
                </c:pt>
                <c:pt idx="21430">
                  <c:v>27.06.1940</c:v>
                </c:pt>
                <c:pt idx="21431">
                  <c:v>26.06.1940</c:v>
                </c:pt>
                <c:pt idx="21432">
                  <c:v>25.06.1940</c:v>
                </c:pt>
                <c:pt idx="21433">
                  <c:v>24.06.1940</c:v>
                </c:pt>
                <c:pt idx="21434">
                  <c:v>21.06.1940</c:v>
                </c:pt>
                <c:pt idx="21435">
                  <c:v>20.06.1940</c:v>
                </c:pt>
                <c:pt idx="21436">
                  <c:v>19.06.1940</c:v>
                </c:pt>
                <c:pt idx="21437">
                  <c:v>18.06.1940</c:v>
                </c:pt>
                <c:pt idx="21438">
                  <c:v>17.06.1940</c:v>
                </c:pt>
                <c:pt idx="21439">
                  <c:v>14.06.1940</c:v>
                </c:pt>
                <c:pt idx="21440">
                  <c:v>13.06.1940</c:v>
                </c:pt>
                <c:pt idx="21441">
                  <c:v>12.06.1940</c:v>
                </c:pt>
                <c:pt idx="21442">
                  <c:v>11.06.1940</c:v>
                </c:pt>
                <c:pt idx="21443">
                  <c:v>10.06.1940</c:v>
                </c:pt>
                <c:pt idx="21444">
                  <c:v>07.06.1940</c:v>
                </c:pt>
                <c:pt idx="21445">
                  <c:v>06.06.1940</c:v>
                </c:pt>
                <c:pt idx="21446">
                  <c:v>05.06.1940</c:v>
                </c:pt>
                <c:pt idx="21447">
                  <c:v>04.06.1940</c:v>
                </c:pt>
                <c:pt idx="21448">
                  <c:v>03.06.1940</c:v>
                </c:pt>
                <c:pt idx="21449">
                  <c:v>31.05.1940</c:v>
                </c:pt>
                <c:pt idx="21450">
                  <c:v>30.05.1940</c:v>
                </c:pt>
                <c:pt idx="21451">
                  <c:v>29.05.1940</c:v>
                </c:pt>
                <c:pt idx="21452">
                  <c:v>28.05.1940</c:v>
                </c:pt>
                <c:pt idx="21453">
                  <c:v>27.05.1940</c:v>
                </c:pt>
                <c:pt idx="21454">
                  <c:v>24.05.1940</c:v>
                </c:pt>
                <c:pt idx="21455">
                  <c:v>23.05.1940</c:v>
                </c:pt>
                <c:pt idx="21456">
                  <c:v>22.05.1940</c:v>
                </c:pt>
                <c:pt idx="21457">
                  <c:v>21.05.1940</c:v>
                </c:pt>
                <c:pt idx="21458">
                  <c:v>20.05.1940</c:v>
                </c:pt>
                <c:pt idx="21459">
                  <c:v>17.05.1940</c:v>
                </c:pt>
                <c:pt idx="21460">
                  <c:v>16.05.1940</c:v>
                </c:pt>
                <c:pt idx="21461">
                  <c:v>15.05.1940</c:v>
                </c:pt>
                <c:pt idx="21462">
                  <c:v>14.05.1940</c:v>
                </c:pt>
                <c:pt idx="21463">
                  <c:v>13.05.1940</c:v>
                </c:pt>
                <c:pt idx="21464">
                  <c:v>10.05.1940</c:v>
                </c:pt>
                <c:pt idx="21465">
                  <c:v>09.05.1940</c:v>
                </c:pt>
                <c:pt idx="21466">
                  <c:v>08.05.1940</c:v>
                </c:pt>
                <c:pt idx="21467">
                  <c:v>07.05.1940</c:v>
                </c:pt>
                <c:pt idx="21468">
                  <c:v>06.05.1940</c:v>
                </c:pt>
                <c:pt idx="21469">
                  <c:v>03.05.1940</c:v>
                </c:pt>
                <c:pt idx="21470">
                  <c:v>02.05.1940</c:v>
                </c:pt>
                <c:pt idx="21471">
                  <c:v>01.05.1940</c:v>
                </c:pt>
                <c:pt idx="21472">
                  <c:v>30.04.1940</c:v>
                </c:pt>
                <c:pt idx="21473">
                  <c:v>29.04.1940</c:v>
                </c:pt>
                <c:pt idx="21474">
                  <c:v>26.04.1940</c:v>
                </c:pt>
                <c:pt idx="21475">
                  <c:v>25.04.1940</c:v>
                </c:pt>
                <c:pt idx="21476">
                  <c:v>24.04.1940</c:v>
                </c:pt>
                <c:pt idx="21477">
                  <c:v>23.04.1940</c:v>
                </c:pt>
                <c:pt idx="21478">
                  <c:v>22.04.1940</c:v>
                </c:pt>
                <c:pt idx="21479">
                  <c:v>19.04.1940</c:v>
                </c:pt>
                <c:pt idx="21480">
                  <c:v>18.04.1940</c:v>
                </c:pt>
                <c:pt idx="21481">
                  <c:v>17.04.1940</c:v>
                </c:pt>
                <c:pt idx="21482">
                  <c:v>16.04.1940</c:v>
                </c:pt>
                <c:pt idx="21483">
                  <c:v>15.04.1940</c:v>
                </c:pt>
                <c:pt idx="21484">
                  <c:v>12.04.1940</c:v>
                </c:pt>
                <c:pt idx="21485">
                  <c:v>11.04.1940</c:v>
                </c:pt>
                <c:pt idx="21486">
                  <c:v>10.04.1940</c:v>
                </c:pt>
                <c:pt idx="21487">
                  <c:v>09.04.1940</c:v>
                </c:pt>
                <c:pt idx="21488">
                  <c:v>08.04.1940</c:v>
                </c:pt>
                <c:pt idx="21489">
                  <c:v>05.04.1940</c:v>
                </c:pt>
                <c:pt idx="21490">
                  <c:v>04.04.1940</c:v>
                </c:pt>
                <c:pt idx="21491">
                  <c:v>03.04.1940</c:v>
                </c:pt>
                <c:pt idx="21492">
                  <c:v>02.04.1940</c:v>
                </c:pt>
                <c:pt idx="21493">
                  <c:v>01.04.1940</c:v>
                </c:pt>
                <c:pt idx="21494">
                  <c:v>29.03.1940</c:v>
                </c:pt>
                <c:pt idx="21495">
                  <c:v>28.03.1940</c:v>
                </c:pt>
                <c:pt idx="21496">
                  <c:v>27.03.1940</c:v>
                </c:pt>
                <c:pt idx="21497">
                  <c:v>26.03.1940</c:v>
                </c:pt>
                <c:pt idx="21498">
                  <c:v>25.03.1940</c:v>
                </c:pt>
                <c:pt idx="21499">
                  <c:v>22.03.1940</c:v>
                </c:pt>
                <c:pt idx="21500">
                  <c:v>21.03.1940</c:v>
                </c:pt>
                <c:pt idx="21501">
                  <c:v>20.03.1940</c:v>
                </c:pt>
                <c:pt idx="21502">
                  <c:v>19.03.1940</c:v>
                </c:pt>
                <c:pt idx="21503">
                  <c:v>18.03.1940</c:v>
                </c:pt>
                <c:pt idx="21504">
                  <c:v>15.03.1940</c:v>
                </c:pt>
                <c:pt idx="21505">
                  <c:v>14.03.1940</c:v>
                </c:pt>
                <c:pt idx="21506">
                  <c:v>13.03.1940</c:v>
                </c:pt>
                <c:pt idx="21507">
                  <c:v>12.03.1940</c:v>
                </c:pt>
                <c:pt idx="21508">
                  <c:v>11.03.1940</c:v>
                </c:pt>
                <c:pt idx="21509">
                  <c:v>08.03.1940</c:v>
                </c:pt>
                <c:pt idx="21510">
                  <c:v>07.03.1940</c:v>
                </c:pt>
                <c:pt idx="21511">
                  <c:v>06.03.1940</c:v>
                </c:pt>
                <c:pt idx="21512">
                  <c:v>05.03.1940</c:v>
                </c:pt>
                <c:pt idx="21513">
                  <c:v>04.03.1940</c:v>
                </c:pt>
                <c:pt idx="21514">
                  <c:v>01.03.1940</c:v>
                </c:pt>
                <c:pt idx="21515">
                  <c:v>29.02.1940</c:v>
                </c:pt>
                <c:pt idx="21516">
                  <c:v>28.02.1940</c:v>
                </c:pt>
                <c:pt idx="21517">
                  <c:v>27.02.1940</c:v>
                </c:pt>
                <c:pt idx="21518">
                  <c:v>26.02.1940</c:v>
                </c:pt>
                <c:pt idx="21519">
                  <c:v>23.02.1940</c:v>
                </c:pt>
                <c:pt idx="21520">
                  <c:v>22.02.1940</c:v>
                </c:pt>
                <c:pt idx="21521">
                  <c:v>21.02.1940</c:v>
                </c:pt>
                <c:pt idx="21522">
                  <c:v>20.02.1940</c:v>
                </c:pt>
                <c:pt idx="21523">
                  <c:v>19.02.1940</c:v>
                </c:pt>
                <c:pt idx="21524">
                  <c:v>16.02.1940</c:v>
                </c:pt>
                <c:pt idx="21525">
                  <c:v>15.02.1940</c:v>
                </c:pt>
                <c:pt idx="21526">
                  <c:v>14.02.1940</c:v>
                </c:pt>
                <c:pt idx="21527">
                  <c:v>13.02.1940</c:v>
                </c:pt>
                <c:pt idx="21528">
                  <c:v>12.02.1940</c:v>
                </c:pt>
                <c:pt idx="21529">
                  <c:v>09.02.1940</c:v>
                </c:pt>
                <c:pt idx="21530">
                  <c:v>08.02.1940</c:v>
                </c:pt>
                <c:pt idx="21531">
                  <c:v>07.02.1940</c:v>
                </c:pt>
                <c:pt idx="21532">
                  <c:v>06.02.1940</c:v>
                </c:pt>
                <c:pt idx="21533">
                  <c:v>05.02.1940</c:v>
                </c:pt>
                <c:pt idx="21534">
                  <c:v>02.02.1940</c:v>
                </c:pt>
                <c:pt idx="21535">
                  <c:v>01.02.1940</c:v>
                </c:pt>
                <c:pt idx="21536">
                  <c:v>31.01.1940</c:v>
                </c:pt>
                <c:pt idx="21537">
                  <c:v>30.01.1940</c:v>
                </c:pt>
                <c:pt idx="21538">
                  <c:v>29.01.1940</c:v>
                </c:pt>
                <c:pt idx="21539">
                  <c:v>26.01.1940</c:v>
                </c:pt>
                <c:pt idx="21540">
                  <c:v>25.01.1940</c:v>
                </c:pt>
                <c:pt idx="21541">
                  <c:v>24.01.1940</c:v>
                </c:pt>
                <c:pt idx="21542">
                  <c:v>23.01.1940</c:v>
                </c:pt>
                <c:pt idx="21543">
                  <c:v>22.01.1940</c:v>
                </c:pt>
                <c:pt idx="21544">
                  <c:v>19.01.1940</c:v>
                </c:pt>
                <c:pt idx="21545">
                  <c:v>18.01.1940</c:v>
                </c:pt>
                <c:pt idx="21546">
                  <c:v>17.01.1940</c:v>
                </c:pt>
                <c:pt idx="21547">
                  <c:v>16.01.1940</c:v>
                </c:pt>
                <c:pt idx="21548">
                  <c:v>15.01.1940</c:v>
                </c:pt>
                <c:pt idx="21549">
                  <c:v>12.01.1940</c:v>
                </c:pt>
                <c:pt idx="21550">
                  <c:v>11.01.1940</c:v>
                </c:pt>
                <c:pt idx="21551">
                  <c:v>10.01.1940</c:v>
                </c:pt>
                <c:pt idx="21552">
                  <c:v>09.01.1940</c:v>
                </c:pt>
                <c:pt idx="21553">
                  <c:v>08.01.1940</c:v>
                </c:pt>
                <c:pt idx="21554">
                  <c:v>05.01.1940</c:v>
                </c:pt>
                <c:pt idx="21555">
                  <c:v>04.01.1940</c:v>
                </c:pt>
                <c:pt idx="21556">
                  <c:v>03.01.1940</c:v>
                </c:pt>
                <c:pt idx="21557">
                  <c:v>02.01.1940</c:v>
                </c:pt>
                <c:pt idx="21558">
                  <c:v>01.01.1940</c:v>
                </c:pt>
                <c:pt idx="21559">
                  <c:v>29.12.1939</c:v>
                </c:pt>
                <c:pt idx="21560">
                  <c:v>28.12.1939</c:v>
                </c:pt>
                <c:pt idx="21561">
                  <c:v>27.12.1939</c:v>
                </c:pt>
                <c:pt idx="21562">
                  <c:v>26.12.1939</c:v>
                </c:pt>
                <c:pt idx="21563">
                  <c:v>25.12.1939</c:v>
                </c:pt>
                <c:pt idx="21564">
                  <c:v>22.12.1939</c:v>
                </c:pt>
                <c:pt idx="21565">
                  <c:v>21.12.1939</c:v>
                </c:pt>
                <c:pt idx="21566">
                  <c:v>20.12.1939</c:v>
                </c:pt>
                <c:pt idx="21567">
                  <c:v>19.12.1939</c:v>
                </c:pt>
                <c:pt idx="21568">
                  <c:v>18.12.1939</c:v>
                </c:pt>
                <c:pt idx="21569">
                  <c:v>15.12.1939</c:v>
                </c:pt>
                <c:pt idx="21570">
                  <c:v>14.12.1939</c:v>
                </c:pt>
                <c:pt idx="21571">
                  <c:v>13.12.1939</c:v>
                </c:pt>
                <c:pt idx="21572">
                  <c:v>12.12.1939</c:v>
                </c:pt>
                <c:pt idx="21573">
                  <c:v>11.12.1939</c:v>
                </c:pt>
                <c:pt idx="21574">
                  <c:v>08.12.1939</c:v>
                </c:pt>
                <c:pt idx="21575">
                  <c:v>07.12.1939</c:v>
                </c:pt>
                <c:pt idx="21576">
                  <c:v>06.12.1939</c:v>
                </c:pt>
                <c:pt idx="21577">
                  <c:v>05.12.1939</c:v>
                </c:pt>
                <c:pt idx="21578">
                  <c:v>04.12.1939</c:v>
                </c:pt>
                <c:pt idx="21579">
                  <c:v>01.12.1939</c:v>
                </c:pt>
                <c:pt idx="21580">
                  <c:v>30.11.1939</c:v>
                </c:pt>
                <c:pt idx="21581">
                  <c:v>29.11.1939</c:v>
                </c:pt>
                <c:pt idx="21582">
                  <c:v>28.11.1939</c:v>
                </c:pt>
                <c:pt idx="21583">
                  <c:v>27.11.1939</c:v>
                </c:pt>
                <c:pt idx="21584">
                  <c:v>24.11.1939</c:v>
                </c:pt>
                <c:pt idx="21585">
                  <c:v>23.11.1939</c:v>
                </c:pt>
                <c:pt idx="21586">
                  <c:v>22.11.1939</c:v>
                </c:pt>
                <c:pt idx="21587">
                  <c:v>21.11.1939</c:v>
                </c:pt>
                <c:pt idx="21588">
                  <c:v>20.11.1939</c:v>
                </c:pt>
                <c:pt idx="21589">
                  <c:v>17.11.1939</c:v>
                </c:pt>
                <c:pt idx="21590">
                  <c:v>16.11.1939</c:v>
                </c:pt>
                <c:pt idx="21591">
                  <c:v>15.11.1939</c:v>
                </c:pt>
                <c:pt idx="21592">
                  <c:v>14.11.1939</c:v>
                </c:pt>
                <c:pt idx="21593">
                  <c:v>13.11.1939</c:v>
                </c:pt>
                <c:pt idx="21594">
                  <c:v>10.11.1939</c:v>
                </c:pt>
                <c:pt idx="21595">
                  <c:v>09.11.1939</c:v>
                </c:pt>
                <c:pt idx="21596">
                  <c:v>08.11.1939</c:v>
                </c:pt>
                <c:pt idx="21597">
                  <c:v>07.11.1939</c:v>
                </c:pt>
                <c:pt idx="21598">
                  <c:v>06.11.1939</c:v>
                </c:pt>
                <c:pt idx="21599">
                  <c:v>03.11.1939</c:v>
                </c:pt>
                <c:pt idx="21600">
                  <c:v>02.11.1939</c:v>
                </c:pt>
                <c:pt idx="21601">
                  <c:v>01.11.1939</c:v>
                </c:pt>
                <c:pt idx="21602">
                  <c:v>31.10.1939</c:v>
                </c:pt>
                <c:pt idx="21603">
                  <c:v>30.10.1939</c:v>
                </c:pt>
                <c:pt idx="21604">
                  <c:v>27.10.1939</c:v>
                </c:pt>
                <c:pt idx="21605">
                  <c:v>26.10.1939</c:v>
                </c:pt>
                <c:pt idx="21606">
                  <c:v>25.10.1939</c:v>
                </c:pt>
                <c:pt idx="21607">
                  <c:v>24.10.1939</c:v>
                </c:pt>
                <c:pt idx="21608">
                  <c:v>23.10.1939</c:v>
                </c:pt>
                <c:pt idx="21609">
                  <c:v>20.10.1939</c:v>
                </c:pt>
                <c:pt idx="21610">
                  <c:v>19.10.1939</c:v>
                </c:pt>
                <c:pt idx="21611">
                  <c:v>18.10.1939</c:v>
                </c:pt>
                <c:pt idx="21612">
                  <c:v>17.10.1939</c:v>
                </c:pt>
                <c:pt idx="21613">
                  <c:v>16.10.1939</c:v>
                </c:pt>
                <c:pt idx="21614">
                  <c:v>13.10.1939</c:v>
                </c:pt>
                <c:pt idx="21615">
                  <c:v>12.10.1939</c:v>
                </c:pt>
                <c:pt idx="21616">
                  <c:v>11.10.1939</c:v>
                </c:pt>
                <c:pt idx="21617">
                  <c:v>10.10.1939</c:v>
                </c:pt>
                <c:pt idx="21618">
                  <c:v>09.10.1939</c:v>
                </c:pt>
                <c:pt idx="21619">
                  <c:v>06.10.1939</c:v>
                </c:pt>
                <c:pt idx="21620">
                  <c:v>05.10.1939</c:v>
                </c:pt>
                <c:pt idx="21621">
                  <c:v>04.10.1939</c:v>
                </c:pt>
                <c:pt idx="21622">
                  <c:v>03.10.1939</c:v>
                </c:pt>
                <c:pt idx="21623">
                  <c:v>02.10.1939</c:v>
                </c:pt>
                <c:pt idx="21624">
                  <c:v>29.09.1939</c:v>
                </c:pt>
                <c:pt idx="21625">
                  <c:v>28.09.1939</c:v>
                </c:pt>
                <c:pt idx="21626">
                  <c:v>27.09.1939</c:v>
                </c:pt>
                <c:pt idx="21627">
                  <c:v>26.09.1939</c:v>
                </c:pt>
                <c:pt idx="21628">
                  <c:v>25.09.1939</c:v>
                </c:pt>
                <c:pt idx="21629">
                  <c:v>22.09.1939</c:v>
                </c:pt>
                <c:pt idx="21630">
                  <c:v>21.09.1939</c:v>
                </c:pt>
                <c:pt idx="21631">
                  <c:v>20.09.1939</c:v>
                </c:pt>
                <c:pt idx="21632">
                  <c:v>19.09.1939</c:v>
                </c:pt>
                <c:pt idx="21633">
                  <c:v>18.09.1939</c:v>
                </c:pt>
                <c:pt idx="21634">
                  <c:v>15.09.1939</c:v>
                </c:pt>
                <c:pt idx="21635">
                  <c:v>14.09.1939</c:v>
                </c:pt>
                <c:pt idx="21636">
                  <c:v>13.09.1939</c:v>
                </c:pt>
                <c:pt idx="21637">
                  <c:v>12.09.1939</c:v>
                </c:pt>
                <c:pt idx="21638">
                  <c:v>11.09.1939</c:v>
                </c:pt>
                <c:pt idx="21639">
                  <c:v>08.09.1939</c:v>
                </c:pt>
                <c:pt idx="21640">
                  <c:v>07.09.1939</c:v>
                </c:pt>
                <c:pt idx="21641">
                  <c:v>06.09.1939</c:v>
                </c:pt>
                <c:pt idx="21642">
                  <c:v>05.09.1939</c:v>
                </c:pt>
                <c:pt idx="21643">
                  <c:v>04.09.1939</c:v>
                </c:pt>
                <c:pt idx="21644">
                  <c:v>01.09.1939</c:v>
                </c:pt>
                <c:pt idx="21645">
                  <c:v>31.08.1939</c:v>
                </c:pt>
                <c:pt idx="21646">
                  <c:v>30.08.1939</c:v>
                </c:pt>
                <c:pt idx="21647">
                  <c:v>29.08.1939</c:v>
                </c:pt>
                <c:pt idx="21648">
                  <c:v>28.08.1939</c:v>
                </c:pt>
                <c:pt idx="21649">
                  <c:v>25.08.1939</c:v>
                </c:pt>
                <c:pt idx="21650">
                  <c:v>24.08.1939</c:v>
                </c:pt>
                <c:pt idx="21651">
                  <c:v>23.08.1939</c:v>
                </c:pt>
                <c:pt idx="21652">
                  <c:v>22.08.1939</c:v>
                </c:pt>
                <c:pt idx="21653">
                  <c:v>21.08.1939</c:v>
                </c:pt>
                <c:pt idx="21654">
                  <c:v>18.08.1939</c:v>
                </c:pt>
                <c:pt idx="21655">
                  <c:v>17.08.1939</c:v>
                </c:pt>
                <c:pt idx="21656">
                  <c:v>16.08.1939</c:v>
                </c:pt>
                <c:pt idx="21657">
                  <c:v>15.08.1939</c:v>
                </c:pt>
                <c:pt idx="21658">
                  <c:v>14.08.1939</c:v>
                </c:pt>
                <c:pt idx="21659">
                  <c:v>11.08.1939</c:v>
                </c:pt>
                <c:pt idx="21660">
                  <c:v>10.08.1939</c:v>
                </c:pt>
                <c:pt idx="21661">
                  <c:v>09.08.1939</c:v>
                </c:pt>
                <c:pt idx="21662">
                  <c:v>08.08.1939</c:v>
                </c:pt>
                <c:pt idx="21663">
                  <c:v>07.08.1939</c:v>
                </c:pt>
                <c:pt idx="21664">
                  <c:v>04.08.1939</c:v>
                </c:pt>
                <c:pt idx="21665">
                  <c:v>03.08.1939</c:v>
                </c:pt>
                <c:pt idx="21666">
                  <c:v>02.08.1939</c:v>
                </c:pt>
                <c:pt idx="21667">
                  <c:v>01.08.1939</c:v>
                </c:pt>
                <c:pt idx="21668">
                  <c:v>31.07.1939</c:v>
                </c:pt>
                <c:pt idx="21669">
                  <c:v>28.07.1939</c:v>
                </c:pt>
                <c:pt idx="21670">
                  <c:v>27.07.1939</c:v>
                </c:pt>
                <c:pt idx="21671">
                  <c:v>26.07.1939</c:v>
                </c:pt>
                <c:pt idx="21672">
                  <c:v>25.07.1939</c:v>
                </c:pt>
                <c:pt idx="21673">
                  <c:v>24.07.1939</c:v>
                </c:pt>
                <c:pt idx="21674">
                  <c:v>21.07.1939</c:v>
                </c:pt>
                <c:pt idx="21675">
                  <c:v>20.07.1939</c:v>
                </c:pt>
                <c:pt idx="21676">
                  <c:v>19.07.1939</c:v>
                </c:pt>
                <c:pt idx="21677">
                  <c:v>18.07.1939</c:v>
                </c:pt>
                <c:pt idx="21678">
                  <c:v>17.07.1939</c:v>
                </c:pt>
                <c:pt idx="21679">
                  <c:v>14.07.1939</c:v>
                </c:pt>
                <c:pt idx="21680">
                  <c:v>13.07.1939</c:v>
                </c:pt>
                <c:pt idx="21681">
                  <c:v>12.07.1939</c:v>
                </c:pt>
                <c:pt idx="21682">
                  <c:v>11.07.1939</c:v>
                </c:pt>
                <c:pt idx="21683">
                  <c:v>10.07.1939</c:v>
                </c:pt>
                <c:pt idx="21684">
                  <c:v>07.07.1939</c:v>
                </c:pt>
                <c:pt idx="21685">
                  <c:v>06.07.1939</c:v>
                </c:pt>
                <c:pt idx="21686">
                  <c:v>05.07.1939</c:v>
                </c:pt>
                <c:pt idx="21687">
                  <c:v>04.07.1939</c:v>
                </c:pt>
                <c:pt idx="21688">
                  <c:v>03.07.1939</c:v>
                </c:pt>
                <c:pt idx="21689">
                  <c:v>30.06.1939</c:v>
                </c:pt>
                <c:pt idx="21690">
                  <c:v>29.06.1939</c:v>
                </c:pt>
                <c:pt idx="21691">
                  <c:v>28.06.1939</c:v>
                </c:pt>
                <c:pt idx="21692">
                  <c:v>27.06.1939</c:v>
                </c:pt>
                <c:pt idx="21693">
                  <c:v>26.06.1939</c:v>
                </c:pt>
                <c:pt idx="21694">
                  <c:v>23.06.1939</c:v>
                </c:pt>
                <c:pt idx="21695">
                  <c:v>22.06.1939</c:v>
                </c:pt>
                <c:pt idx="21696">
                  <c:v>21.06.1939</c:v>
                </c:pt>
                <c:pt idx="21697">
                  <c:v>20.06.1939</c:v>
                </c:pt>
                <c:pt idx="21698">
                  <c:v>19.06.1939</c:v>
                </c:pt>
                <c:pt idx="21699">
                  <c:v>16.06.1939</c:v>
                </c:pt>
                <c:pt idx="21700">
                  <c:v>15.06.1939</c:v>
                </c:pt>
                <c:pt idx="21701">
                  <c:v>14.06.1939</c:v>
                </c:pt>
                <c:pt idx="21702">
                  <c:v>13.06.1939</c:v>
                </c:pt>
                <c:pt idx="21703">
                  <c:v>12.06.1939</c:v>
                </c:pt>
                <c:pt idx="21704">
                  <c:v>09.06.1939</c:v>
                </c:pt>
                <c:pt idx="21705">
                  <c:v>08.06.1939</c:v>
                </c:pt>
                <c:pt idx="21706">
                  <c:v>07.06.1939</c:v>
                </c:pt>
                <c:pt idx="21707">
                  <c:v>06.06.1939</c:v>
                </c:pt>
                <c:pt idx="21708">
                  <c:v>05.06.1939</c:v>
                </c:pt>
                <c:pt idx="21709">
                  <c:v>02.06.1939</c:v>
                </c:pt>
                <c:pt idx="21710">
                  <c:v>01.06.1939</c:v>
                </c:pt>
                <c:pt idx="21711">
                  <c:v>31.05.1939</c:v>
                </c:pt>
                <c:pt idx="21712">
                  <c:v>30.05.1939</c:v>
                </c:pt>
                <c:pt idx="21713">
                  <c:v>29.05.1939</c:v>
                </c:pt>
                <c:pt idx="21714">
                  <c:v>26.05.1939</c:v>
                </c:pt>
                <c:pt idx="21715">
                  <c:v>25.05.1939</c:v>
                </c:pt>
                <c:pt idx="21716">
                  <c:v>24.05.1939</c:v>
                </c:pt>
                <c:pt idx="21717">
                  <c:v>23.05.1939</c:v>
                </c:pt>
                <c:pt idx="21718">
                  <c:v>22.05.1939</c:v>
                </c:pt>
                <c:pt idx="21719">
                  <c:v>19.05.1939</c:v>
                </c:pt>
                <c:pt idx="21720">
                  <c:v>18.05.1939</c:v>
                </c:pt>
                <c:pt idx="21721">
                  <c:v>17.05.1939</c:v>
                </c:pt>
                <c:pt idx="21722">
                  <c:v>16.05.1939</c:v>
                </c:pt>
                <c:pt idx="21723">
                  <c:v>15.05.1939</c:v>
                </c:pt>
                <c:pt idx="21724">
                  <c:v>12.05.1939</c:v>
                </c:pt>
                <c:pt idx="21725">
                  <c:v>11.05.1939</c:v>
                </c:pt>
                <c:pt idx="21726">
                  <c:v>10.05.1939</c:v>
                </c:pt>
                <c:pt idx="21727">
                  <c:v>09.05.1939</c:v>
                </c:pt>
                <c:pt idx="21728">
                  <c:v>08.05.1939</c:v>
                </c:pt>
                <c:pt idx="21729">
                  <c:v>05.05.1939</c:v>
                </c:pt>
                <c:pt idx="21730">
                  <c:v>04.05.1939</c:v>
                </c:pt>
                <c:pt idx="21731">
                  <c:v>03.05.1939</c:v>
                </c:pt>
                <c:pt idx="21732">
                  <c:v>02.05.1939</c:v>
                </c:pt>
                <c:pt idx="21733">
                  <c:v>01.05.1939</c:v>
                </c:pt>
                <c:pt idx="21734">
                  <c:v>28.04.1939</c:v>
                </c:pt>
                <c:pt idx="21735">
                  <c:v>27.04.1939</c:v>
                </c:pt>
                <c:pt idx="21736">
                  <c:v>26.04.1939</c:v>
                </c:pt>
                <c:pt idx="21737">
                  <c:v>25.04.1939</c:v>
                </c:pt>
                <c:pt idx="21738">
                  <c:v>24.04.1939</c:v>
                </c:pt>
                <c:pt idx="21739">
                  <c:v>21.04.1939</c:v>
                </c:pt>
                <c:pt idx="21740">
                  <c:v>20.04.1939</c:v>
                </c:pt>
                <c:pt idx="21741">
                  <c:v>19.04.1939</c:v>
                </c:pt>
                <c:pt idx="21742">
                  <c:v>18.04.1939</c:v>
                </c:pt>
                <c:pt idx="21743">
                  <c:v>17.04.1939</c:v>
                </c:pt>
                <c:pt idx="21744">
                  <c:v>14.04.1939</c:v>
                </c:pt>
                <c:pt idx="21745">
                  <c:v>13.04.1939</c:v>
                </c:pt>
                <c:pt idx="21746">
                  <c:v>12.04.1939</c:v>
                </c:pt>
                <c:pt idx="21747">
                  <c:v>11.04.1939</c:v>
                </c:pt>
                <c:pt idx="21748">
                  <c:v>10.04.1939</c:v>
                </c:pt>
                <c:pt idx="21749">
                  <c:v>07.04.1939</c:v>
                </c:pt>
                <c:pt idx="21750">
                  <c:v>06.04.1939</c:v>
                </c:pt>
                <c:pt idx="21751">
                  <c:v>05.04.1939</c:v>
                </c:pt>
                <c:pt idx="21752">
                  <c:v>04.04.1939</c:v>
                </c:pt>
                <c:pt idx="21753">
                  <c:v>03.04.1939</c:v>
                </c:pt>
                <c:pt idx="21754">
                  <c:v>31.03.1939</c:v>
                </c:pt>
                <c:pt idx="21755">
                  <c:v>30.03.1939</c:v>
                </c:pt>
                <c:pt idx="21756">
                  <c:v>29.03.1939</c:v>
                </c:pt>
                <c:pt idx="21757">
                  <c:v>28.03.1939</c:v>
                </c:pt>
                <c:pt idx="21758">
                  <c:v>27.03.1939</c:v>
                </c:pt>
                <c:pt idx="21759">
                  <c:v>24.03.1939</c:v>
                </c:pt>
                <c:pt idx="21760">
                  <c:v>23.03.1939</c:v>
                </c:pt>
                <c:pt idx="21761">
                  <c:v>22.03.1939</c:v>
                </c:pt>
                <c:pt idx="21762">
                  <c:v>21.03.1939</c:v>
                </c:pt>
                <c:pt idx="21763">
                  <c:v>20.03.1939</c:v>
                </c:pt>
                <c:pt idx="21764">
                  <c:v>17.03.1939</c:v>
                </c:pt>
                <c:pt idx="21765">
                  <c:v>16.03.1939</c:v>
                </c:pt>
                <c:pt idx="21766">
                  <c:v>15.03.1939</c:v>
                </c:pt>
                <c:pt idx="21767">
                  <c:v>14.03.1939</c:v>
                </c:pt>
                <c:pt idx="21768">
                  <c:v>13.03.1939</c:v>
                </c:pt>
                <c:pt idx="21769">
                  <c:v>10.03.1939</c:v>
                </c:pt>
                <c:pt idx="21770">
                  <c:v>09.03.1939</c:v>
                </c:pt>
                <c:pt idx="21771">
                  <c:v>08.03.1939</c:v>
                </c:pt>
                <c:pt idx="21772">
                  <c:v>07.03.1939</c:v>
                </c:pt>
                <c:pt idx="21773">
                  <c:v>06.03.1939</c:v>
                </c:pt>
                <c:pt idx="21774">
                  <c:v>03.03.1939</c:v>
                </c:pt>
                <c:pt idx="21775">
                  <c:v>02.03.1939</c:v>
                </c:pt>
                <c:pt idx="21776">
                  <c:v>01.03.1939</c:v>
                </c:pt>
                <c:pt idx="21777">
                  <c:v>28.02.1939</c:v>
                </c:pt>
                <c:pt idx="21778">
                  <c:v>27.02.1939</c:v>
                </c:pt>
                <c:pt idx="21779">
                  <c:v>24.02.1939</c:v>
                </c:pt>
                <c:pt idx="21780">
                  <c:v>23.02.1939</c:v>
                </c:pt>
                <c:pt idx="21781">
                  <c:v>22.02.1939</c:v>
                </c:pt>
                <c:pt idx="21782">
                  <c:v>21.02.1939</c:v>
                </c:pt>
                <c:pt idx="21783">
                  <c:v>20.02.1939</c:v>
                </c:pt>
                <c:pt idx="21784">
                  <c:v>17.02.1939</c:v>
                </c:pt>
                <c:pt idx="21785">
                  <c:v>16.02.1939</c:v>
                </c:pt>
                <c:pt idx="21786">
                  <c:v>15.02.1939</c:v>
                </c:pt>
                <c:pt idx="21787">
                  <c:v>14.02.1939</c:v>
                </c:pt>
                <c:pt idx="21788">
                  <c:v>13.02.1939</c:v>
                </c:pt>
                <c:pt idx="21789">
                  <c:v>10.02.1939</c:v>
                </c:pt>
                <c:pt idx="21790">
                  <c:v>09.02.1939</c:v>
                </c:pt>
                <c:pt idx="21791">
                  <c:v>08.02.1939</c:v>
                </c:pt>
                <c:pt idx="21792">
                  <c:v>07.02.1939</c:v>
                </c:pt>
                <c:pt idx="21793">
                  <c:v>06.02.1939</c:v>
                </c:pt>
                <c:pt idx="21794">
                  <c:v>03.02.1939</c:v>
                </c:pt>
                <c:pt idx="21795">
                  <c:v>02.02.1939</c:v>
                </c:pt>
                <c:pt idx="21796">
                  <c:v>01.02.1939</c:v>
                </c:pt>
                <c:pt idx="21797">
                  <c:v>31.01.1939</c:v>
                </c:pt>
                <c:pt idx="21798">
                  <c:v>30.01.1939</c:v>
                </c:pt>
                <c:pt idx="21799">
                  <c:v>27.01.1939</c:v>
                </c:pt>
                <c:pt idx="21800">
                  <c:v>26.01.1939</c:v>
                </c:pt>
                <c:pt idx="21801">
                  <c:v>25.01.1939</c:v>
                </c:pt>
                <c:pt idx="21802">
                  <c:v>24.01.1939</c:v>
                </c:pt>
                <c:pt idx="21803">
                  <c:v>23.01.1939</c:v>
                </c:pt>
                <c:pt idx="21804">
                  <c:v>20.01.1939</c:v>
                </c:pt>
                <c:pt idx="21805">
                  <c:v>19.01.1939</c:v>
                </c:pt>
                <c:pt idx="21806">
                  <c:v>18.01.1939</c:v>
                </c:pt>
                <c:pt idx="21807">
                  <c:v>17.01.1939</c:v>
                </c:pt>
                <c:pt idx="21808">
                  <c:v>16.01.1939</c:v>
                </c:pt>
                <c:pt idx="21809">
                  <c:v>13.01.1939</c:v>
                </c:pt>
                <c:pt idx="21810">
                  <c:v>12.01.1939</c:v>
                </c:pt>
                <c:pt idx="21811">
                  <c:v>11.01.1939</c:v>
                </c:pt>
                <c:pt idx="21812">
                  <c:v>10.01.1939</c:v>
                </c:pt>
                <c:pt idx="21813">
                  <c:v>09.01.1939</c:v>
                </c:pt>
                <c:pt idx="21814">
                  <c:v>06.01.1939</c:v>
                </c:pt>
                <c:pt idx="21815">
                  <c:v>05.01.1939</c:v>
                </c:pt>
                <c:pt idx="21816">
                  <c:v>04.01.1939</c:v>
                </c:pt>
                <c:pt idx="21817">
                  <c:v>03.01.1939</c:v>
                </c:pt>
                <c:pt idx="21818">
                  <c:v>02.01.1939</c:v>
                </c:pt>
                <c:pt idx="21819">
                  <c:v>30.12.1938</c:v>
                </c:pt>
                <c:pt idx="21820">
                  <c:v>29.12.1938</c:v>
                </c:pt>
                <c:pt idx="21821">
                  <c:v>28.12.1938</c:v>
                </c:pt>
                <c:pt idx="21822">
                  <c:v>27.12.1938</c:v>
                </c:pt>
                <c:pt idx="21823">
                  <c:v>26.12.1938</c:v>
                </c:pt>
                <c:pt idx="21824">
                  <c:v>23.12.1938</c:v>
                </c:pt>
                <c:pt idx="21825">
                  <c:v>22.12.1938</c:v>
                </c:pt>
                <c:pt idx="21826">
                  <c:v>21.12.1938</c:v>
                </c:pt>
                <c:pt idx="21827">
                  <c:v>20.12.1938</c:v>
                </c:pt>
                <c:pt idx="21828">
                  <c:v>19.12.1938</c:v>
                </c:pt>
                <c:pt idx="21829">
                  <c:v>16.12.1938</c:v>
                </c:pt>
                <c:pt idx="21830">
                  <c:v>15.12.1938</c:v>
                </c:pt>
                <c:pt idx="21831">
                  <c:v>14.12.1938</c:v>
                </c:pt>
                <c:pt idx="21832">
                  <c:v>13.12.1938</c:v>
                </c:pt>
                <c:pt idx="21833">
                  <c:v>12.12.1938</c:v>
                </c:pt>
                <c:pt idx="21834">
                  <c:v>09.12.1938</c:v>
                </c:pt>
                <c:pt idx="21835">
                  <c:v>08.12.1938</c:v>
                </c:pt>
                <c:pt idx="21836">
                  <c:v>07.12.1938</c:v>
                </c:pt>
                <c:pt idx="21837">
                  <c:v>06.12.1938</c:v>
                </c:pt>
                <c:pt idx="21838">
                  <c:v>05.12.1938</c:v>
                </c:pt>
                <c:pt idx="21839">
                  <c:v>02.12.1938</c:v>
                </c:pt>
                <c:pt idx="21840">
                  <c:v>01.12.1938</c:v>
                </c:pt>
                <c:pt idx="21841">
                  <c:v>30.11.1938</c:v>
                </c:pt>
                <c:pt idx="21842">
                  <c:v>29.11.1938</c:v>
                </c:pt>
                <c:pt idx="21843">
                  <c:v>28.11.1938</c:v>
                </c:pt>
                <c:pt idx="21844">
                  <c:v>25.11.1938</c:v>
                </c:pt>
                <c:pt idx="21845">
                  <c:v>24.11.1938</c:v>
                </c:pt>
                <c:pt idx="21846">
                  <c:v>23.11.1938</c:v>
                </c:pt>
                <c:pt idx="21847">
                  <c:v>22.11.1938</c:v>
                </c:pt>
                <c:pt idx="21848">
                  <c:v>21.11.1938</c:v>
                </c:pt>
                <c:pt idx="21849">
                  <c:v>18.11.1938</c:v>
                </c:pt>
                <c:pt idx="21850">
                  <c:v>17.11.1938</c:v>
                </c:pt>
                <c:pt idx="21851">
                  <c:v>16.11.1938</c:v>
                </c:pt>
                <c:pt idx="21852">
                  <c:v>15.11.1938</c:v>
                </c:pt>
                <c:pt idx="21853">
                  <c:v>14.11.1938</c:v>
                </c:pt>
                <c:pt idx="21854">
                  <c:v>11.11.1938</c:v>
                </c:pt>
                <c:pt idx="21855">
                  <c:v>10.11.1938</c:v>
                </c:pt>
                <c:pt idx="21856">
                  <c:v>09.11.1938</c:v>
                </c:pt>
                <c:pt idx="21857">
                  <c:v>08.11.1938</c:v>
                </c:pt>
                <c:pt idx="21858">
                  <c:v>07.11.1938</c:v>
                </c:pt>
                <c:pt idx="21859">
                  <c:v>04.11.1938</c:v>
                </c:pt>
                <c:pt idx="21860">
                  <c:v>03.11.1938</c:v>
                </c:pt>
                <c:pt idx="21861">
                  <c:v>02.11.1938</c:v>
                </c:pt>
                <c:pt idx="21862">
                  <c:v>01.11.1938</c:v>
                </c:pt>
                <c:pt idx="21863">
                  <c:v>31.10.1938</c:v>
                </c:pt>
                <c:pt idx="21864">
                  <c:v>28.10.1938</c:v>
                </c:pt>
                <c:pt idx="21865">
                  <c:v>27.10.1938</c:v>
                </c:pt>
                <c:pt idx="21866">
                  <c:v>26.10.1938</c:v>
                </c:pt>
                <c:pt idx="21867">
                  <c:v>25.10.1938</c:v>
                </c:pt>
                <c:pt idx="21868">
                  <c:v>24.10.1938</c:v>
                </c:pt>
                <c:pt idx="21869">
                  <c:v>21.10.1938</c:v>
                </c:pt>
                <c:pt idx="21870">
                  <c:v>20.10.1938</c:v>
                </c:pt>
                <c:pt idx="21871">
                  <c:v>19.10.1938</c:v>
                </c:pt>
                <c:pt idx="21872">
                  <c:v>18.10.1938</c:v>
                </c:pt>
                <c:pt idx="21873">
                  <c:v>17.10.1938</c:v>
                </c:pt>
                <c:pt idx="21874">
                  <c:v>14.10.1938</c:v>
                </c:pt>
                <c:pt idx="21875">
                  <c:v>13.10.1938</c:v>
                </c:pt>
                <c:pt idx="21876">
                  <c:v>12.10.1938</c:v>
                </c:pt>
                <c:pt idx="21877">
                  <c:v>11.10.1938</c:v>
                </c:pt>
                <c:pt idx="21878">
                  <c:v>10.10.1938</c:v>
                </c:pt>
                <c:pt idx="21879">
                  <c:v>07.10.1938</c:v>
                </c:pt>
                <c:pt idx="21880">
                  <c:v>06.10.1938</c:v>
                </c:pt>
                <c:pt idx="21881">
                  <c:v>05.10.1938</c:v>
                </c:pt>
                <c:pt idx="21882">
                  <c:v>04.10.1938</c:v>
                </c:pt>
                <c:pt idx="21883">
                  <c:v>03.10.1938</c:v>
                </c:pt>
                <c:pt idx="21884">
                  <c:v>30.09.1938</c:v>
                </c:pt>
                <c:pt idx="21885">
                  <c:v>29.09.1938</c:v>
                </c:pt>
                <c:pt idx="21886">
                  <c:v>28.09.1938</c:v>
                </c:pt>
                <c:pt idx="21887">
                  <c:v>27.09.1938</c:v>
                </c:pt>
                <c:pt idx="21888">
                  <c:v>26.09.1938</c:v>
                </c:pt>
                <c:pt idx="21889">
                  <c:v>23.09.1938</c:v>
                </c:pt>
                <c:pt idx="21890">
                  <c:v>22.09.1938</c:v>
                </c:pt>
                <c:pt idx="21891">
                  <c:v>21.09.1938</c:v>
                </c:pt>
                <c:pt idx="21892">
                  <c:v>20.09.1938</c:v>
                </c:pt>
                <c:pt idx="21893">
                  <c:v>19.09.1938</c:v>
                </c:pt>
                <c:pt idx="21894">
                  <c:v>16.09.1938</c:v>
                </c:pt>
                <c:pt idx="21895">
                  <c:v>15.09.1938</c:v>
                </c:pt>
                <c:pt idx="21896">
                  <c:v>14.09.1938</c:v>
                </c:pt>
                <c:pt idx="21897">
                  <c:v>13.09.1938</c:v>
                </c:pt>
                <c:pt idx="21898">
                  <c:v>12.09.1938</c:v>
                </c:pt>
                <c:pt idx="21899">
                  <c:v>09.09.1938</c:v>
                </c:pt>
                <c:pt idx="21900">
                  <c:v>08.09.1938</c:v>
                </c:pt>
                <c:pt idx="21901">
                  <c:v>07.09.1938</c:v>
                </c:pt>
                <c:pt idx="21902">
                  <c:v>06.09.1938</c:v>
                </c:pt>
                <c:pt idx="21903">
                  <c:v>05.09.1938</c:v>
                </c:pt>
                <c:pt idx="21904">
                  <c:v>02.09.1938</c:v>
                </c:pt>
                <c:pt idx="21905">
                  <c:v>01.09.1938</c:v>
                </c:pt>
                <c:pt idx="21906">
                  <c:v>31.08.1938</c:v>
                </c:pt>
                <c:pt idx="21907">
                  <c:v>30.08.1938</c:v>
                </c:pt>
                <c:pt idx="21908">
                  <c:v>29.08.1938</c:v>
                </c:pt>
                <c:pt idx="21909">
                  <c:v>26.08.1938</c:v>
                </c:pt>
                <c:pt idx="21910">
                  <c:v>25.08.1938</c:v>
                </c:pt>
                <c:pt idx="21911">
                  <c:v>24.08.1938</c:v>
                </c:pt>
                <c:pt idx="21912">
                  <c:v>23.08.1938</c:v>
                </c:pt>
                <c:pt idx="21913">
                  <c:v>22.08.1938</c:v>
                </c:pt>
                <c:pt idx="21914">
                  <c:v>19.08.1938</c:v>
                </c:pt>
                <c:pt idx="21915">
                  <c:v>18.08.1938</c:v>
                </c:pt>
                <c:pt idx="21916">
                  <c:v>17.08.1938</c:v>
                </c:pt>
                <c:pt idx="21917">
                  <c:v>16.08.1938</c:v>
                </c:pt>
                <c:pt idx="21918">
                  <c:v>15.08.1938</c:v>
                </c:pt>
                <c:pt idx="21919">
                  <c:v>12.08.1938</c:v>
                </c:pt>
                <c:pt idx="21920">
                  <c:v>11.08.1938</c:v>
                </c:pt>
                <c:pt idx="21921">
                  <c:v>10.08.1938</c:v>
                </c:pt>
                <c:pt idx="21922">
                  <c:v>09.08.1938</c:v>
                </c:pt>
                <c:pt idx="21923">
                  <c:v>08.08.1938</c:v>
                </c:pt>
                <c:pt idx="21924">
                  <c:v>05.08.1938</c:v>
                </c:pt>
                <c:pt idx="21925">
                  <c:v>04.08.1938</c:v>
                </c:pt>
                <c:pt idx="21926">
                  <c:v>03.08.1938</c:v>
                </c:pt>
                <c:pt idx="21927">
                  <c:v>02.08.1938</c:v>
                </c:pt>
                <c:pt idx="21928">
                  <c:v>01.08.1938</c:v>
                </c:pt>
                <c:pt idx="21929">
                  <c:v>29.07.1938</c:v>
                </c:pt>
                <c:pt idx="21930">
                  <c:v>28.07.1938</c:v>
                </c:pt>
                <c:pt idx="21931">
                  <c:v>27.07.1938</c:v>
                </c:pt>
                <c:pt idx="21932">
                  <c:v>26.07.1938</c:v>
                </c:pt>
                <c:pt idx="21933">
                  <c:v>25.07.1938</c:v>
                </c:pt>
                <c:pt idx="21934">
                  <c:v>22.07.1938</c:v>
                </c:pt>
                <c:pt idx="21935">
                  <c:v>21.07.1938</c:v>
                </c:pt>
                <c:pt idx="21936">
                  <c:v>20.07.1938</c:v>
                </c:pt>
                <c:pt idx="21937">
                  <c:v>19.07.1938</c:v>
                </c:pt>
                <c:pt idx="21938">
                  <c:v>18.07.1938</c:v>
                </c:pt>
                <c:pt idx="21939">
                  <c:v>15.07.1938</c:v>
                </c:pt>
                <c:pt idx="21940">
                  <c:v>14.07.1938</c:v>
                </c:pt>
                <c:pt idx="21941">
                  <c:v>13.07.1938</c:v>
                </c:pt>
                <c:pt idx="21942">
                  <c:v>12.07.1938</c:v>
                </c:pt>
                <c:pt idx="21943">
                  <c:v>11.07.1938</c:v>
                </c:pt>
                <c:pt idx="21944">
                  <c:v>08.07.1938</c:v>
                </c:pt>
                <c:pt idx="21945">
                  <c:v>07.07.1938</c:v>
                </c:pt>
                <c:pt idx="21946">
                  <c:v>06.07.1938</c:v>
                </c:pt>
                <c:pt idx="21947">
                  <c:v>05.07.1938</c:v>
                </c:pt>
                <c:pt idx="21948">
                  <c:v>04.07.1938</c:v>
                </c:pt>
                <c:pt idx="21949">
                  <c:v>01.07.1938</c:v>
                </c:pt>
                <c:pt idx="21950">
                  <c:v>30.06.1938</c:v>
                </c:pt>
                <c:pt idx="21951">
                  <c:v>29.06.1938</c:v>
                </c:pt>
                <c:pt idx="21952">
                  <c:v>28.06.1938</c:v>
                </c:pt>
                <c:pt idx="21953">
                  <c:v>27.06.1938</c:v>
                </c:pt>
                <c:pt idx="21954">
                  <c:v>24.06.1938</c:v>
                </c:pt>
                <c:pt idx="21955">
                  <c:v>23.06.1938</c:v>
                </c:pt>
                <c:pt idx="21956">
                  <c:v>22.06.1938</c:v>
                </c:pt>
                <c:pt idx="21957">
                  <c:v>21.06.1938</c:v>
                </c:pt>
                <c:pt idx="21958">
                  <c:v>20.06.1938</c:v>
                </c:pt>
                <c:pt idx="21959">
                  <c:v>17.06.1938</c:v>
                </c:pt>
                <c:pt idx="21960">
                  <c:v>16.06.1938</c:v>
                </c:pt>
                <c:pt idx="21961">
                  <c:v>15.06.1938</c:v>
                </c:pt>
                <c:pt idx="21962">
                  <c:v>14.06.1938</c:v>
                </c:pt>
                <c:pt idx="21963">
                  <c:v>13.06.1938</c:v>
                </c:pt>
                <c:pt idx="21964">
                  <c:v>10.06.1938</c:v>
                </c:pt>
                <c:pt idx="21965">
                  <c:v>09.06.1938</c:v>
                </c:pt>
                <c:pt idx="21966">
                  <c:v>08.06.1938</c:v>
                </c:pt>
                <c:pt idx="21967">
                  <c:v>07.06.1938</c:v>
                </c:pt>
                <c:pt idx="21968">
                  <c:v>06.06.1938</c:v>
                </c:pt>
                <c:pt idx="21969">
                  <c:v>03.06.1938</c:v>
                </c:pt>
                <c:pt idx="21970">
                  <c:v>02.06.1938</c:v>
                </c:pt>
                <c:pt idx="21971">
                  <c:v>01.06.1938</c:v>
                </c:pt>
                <c:pt idx="21972">
                  <c:v>31.05.1938</c:v>
                </c:pt>
                <c:pt idx="21973">
                  <c:v>30.05.1938</c:v>
                </c:pt>
                <c:pt idx="21974">
                  <c:v>27.05.1938</c:v>
                </c:pt>
                <c:pt idx="21975">
                  <c:v>26.05.1938</c:v>
                </c:pt>
                <c:pt idx="21976">
                  <c:v>25.05.1938</c:v>
                </c:pt>
                <c:pt idx="21977">
                  <c:v>24.05.1938</c:v>
                </c:pt>
                <c:pt idx="21978">
                  <c:v>23.05.1938</c:v>
                </c:pt>
                <c:pt idx="21979">
                  <c:v>20.05.1938</c:v>
                </c:pt>
                <c:pt idx="21980">
                  <c:v>19.05.1938</c:v>
                </c:pt>
                <c:pt idx="21981">
                  <c:v>18.05.1938</c:v>
                </c:pt>
                <c:pt idx="21982">
                  <c:v>17.05.1938</c:v>
                </c:pt>
                <c:pt idx="21983">
                  <c:v>16.05.1938</c:v>
                </c:pt>
                <c:pt idx="21984">
                  <c:v>13.05.1938</c:v>
                </c:pt>
                <c:pt idx="21985">
                  <c:v>12.05.1938</c:v>
                </c:pt>
                <c:pt idx="21986">
                  <c:v>11.05.1938</c:v>
                </c:pt>
                <c:pt idx="21987">
                  <c:v>10.05.1938</c:v>
                </c:pt>
                <c:pt idx="21988">
                  <c:v>09.05.1938</c:v>
                </c:pt>
                <c:pt idx="21989">
                  <c:v>06.05.1938</c:v>
                </c:pt>
                <c:pt idx="21990">
                  <c:v>05.05.1938</c:v>
                </c:pt>
                <c:pt idx="21991">
                  <c:v>04.05.1938</c:v>
                </c:pt>
                <c:pt idx="21992">
                  <c:v>03.05.1938</c:v>
                </c:pt>
                <c:pt idx="21993">
                  <c:v>02.05.1938</c:v>
                </c:pt>
                <c:pt idx="21994">
                  <c:v>29.04.1938</c:v>
                </c:pt>
                <c:pt idx="21995">
                  <c:v>28.04.1938</c:v>
                </c:pt>
                <c:pt idx="21996">
                  <c:v>27.04.1938</c:v>
                </c:pt>
                <c:pt idx="21997">
                  <c:v>26.04.1938</c:v>
                </c:pt>
                <c:pt idx="21998">
                  <c:v>25.04.1938</c:v>
                </c:pt>
                <c:pt idx="21999">
                  <c:v>22.04.1938</c:v>
                </c:pt>
                <c:pt idx="22000">
                  <c:v>21.04.1938</c:v>
                </c:pt>
                <c:pt idx="22001">
                  <c:v>20.04.1938</c:v>
                </c:pt>
                <c:pt idx="22002">
                  <c:v>19.04.1938</c:v>
                </c:pt>
                <c:pt idx="22003">
                  <c:v>18.04.1938</c:v>
                </c:pt>
                <c:pt idx="22004">
                  <c:v>15.04.1938</c:v>
                </c:pt>
                <c:pt idx="22005">
                  <c:v>14.04.1938</c:v>
                </c:pt>
                <c:pt idx="22006">
                  <c:v>13.04.1938</c:v>
                </c:pt>
                <c:pt idx="22007">
                  <c:v>12.04.1938</c:v>
                </c:pt>
                <c:pt idx="22008">
                  <c:v>11.04.1938</c:v>
                </c:pt>
                <c:pt idx="22009">
                  <c:v>08.04.1938</c:v>
                </c:pt>
                <c:pt idx="22010">
                  <c:v>07.04.1938</c:v>
                </c:pt>
                <c:pt idx="22011">
                  <c:v>06.04.1938</c:v>
                </c:pt>
                <c:pt idx="22012">
                  <c:v>05.04.1938</c:v>
                </c:pt>
                <c:pt idx="22013">
                  <c:v>04.04.1938</c:v>
                </c:pt>
                <c:pt idx="22014">
                  <c:v>01.04.1938</c:v>
                </c:pt>
                <c:pt idx="22015">
                  <c:v>31.03.1938</c:v>
                </c:pt>
                <c:pt idx="22016">
                  <c:v>30.03.1938</c:v>
                </c:pt>
                <c:pt idx="22017">
                  <c:v>29.03.1938</c:v>
                </c:pt>
                <c:pt idx="22018">
                  <c:v>28.03.1938</c:v>
                </c:pt>
                <c:pt idx="22019">
                  <c:v>25.03.1938</c:v>
                </c:pt>
                <c:pt idx="22020">
                  <c:v>24.03.1938</c:v>
                </c:pt>
                <c:pt idx="22021">
                  <c:v>23.03.1938</c:v>
                </c:pt>
                <c:pt idx="22022">
                  <c:v>22.03.1938</c:v>
                </c:pt>
                <c:pt idx="22023">
                  <c:v>21.03.1938</c:v>
                </c:pt>
                <c:pt idx="22024">
                  <c:v>18.03.1938</c:v>
                </c:pt>
                <c:pt idx="22025">
                  <c:v>17.03.1938</c:v>
                </c:pt>
                <c:pt idx="22026">
                  <c:v>16.03.1938</c:v>
                </c:pt>
                <c:pt idx="22027">
                  <c:v>15.03.1938</c:v>
                </c:pt>
                <c:pt idx="22028">
                  <c:v>14.03.1938</c:v>
                </c:pt>
                <c:pt idx="22029">
                  <c:v>11.03.1938</c:v>
                </c:pt>
                <c:pt idx="22030">
                  <c:v>10.03.1938</c:v>
                </c:pt>
                <c:pt idx="22031">
                  <c:v>09.03.1938</c:v>
                </c:pt>
                <c:pt idx="22032">
                  <c:v>08.03.1938</c:v>
                </c:pt>
                <c:pt idx="22033">
                  <c:v>07.03.1938</c:v>
                </c:pt>
                <c:pt idx="22034">
                  <c:v>04.03.1938</c:v>
                </c:pt>
                <c:pt idx="22035">
                  <c:v>03.03.1938</c:v>
                </c:pt>
                <c:pt idx="22036">
                  <c:v>02.03.1938</c:v>
                </c:pt>
                <c:pt idx="22037">
                  <c:v>01.03.1938</c:v>
                </c:pt>
                <c:pt idx="22038">
                  <c:v>28.02.1938</c:v>
                </c:pt>
                <c:pt idx="22039">
                  <c:v>25.02.1938</c:v>
                </c:pt>
                <c:pt idx="22040">
                  <c:v>24.02.1938</c:v>
                </c:pt>
                <c:pt idx="22041">
                  <c:v>23.02.1938</c:v>
                </c:pt>
                <c:pt idx="22042">
                  <c:v>22.02.1938</c:v>
                </c:pt>
                <c:pt idx="22043">
                  <c:v>21.02.1938</c:v>
                </c:pt>
                <c:pt idx="22044">
                  <c:v>18.02.1938</c:v>
                </c:pt>
                <c:pt idx="22045">
                  <c:v>17.02.1938</c:v>
                </c:pt>
                <c:pt idx="22046">
                  <c:v>16.02.1938</c:v>
                </c:pt>
                <c:pt idx="22047">
                  <c:v>15.02.1938</c:v>
                </c:pt>
                <c:pt idx="22048">
                  <c:v>14.02.1938</c:v>
                </c:pt>
                <c:pt idx="22049">
                  <c:v>11.02.1938</c:v>
                </c:pt>
                <c:pt idx="22050">
                  <c:v>10.02.1938</c:v>
                </c:pt>
                <c:pt idx="22051">
                  <c:v>09.02.1938</c:v>
                </c:pt>
                <c:pt idx="22052">
                  <c:v>08.02.1938</c:v>
                </c:pt>
                <c:pt idx="22053">
                  <c:v>07.02.1938</c:v>
                </c:pt>
                <c:pt idx="22054">
                  <c:v>04.02.1938</c:v>
                </c:pt>
                <c:pt idx="22055">
                  <c:v>03.02.1938</c:v>
                </c:pt>
                <c:pt idx="22056">
                  <c:v>02.02.1938</c:v>
                </c:pt>
                <c:pt idx="22057">
                  <c:v>01.02.1938</c:v>
                </c:pt>
                <c:pt idx="22058">
                  <c:v>31.01.1938</c:v>
                </c:pt>
                <c:pt idx="22059">
                  <c:v>28.01.1938</c:v>
                </c:pt>
                <c:pt idx="22060">
                  <c:v>27.01.1938</c:v>
                </c:pt>
                <c:pt idx="22061">
                  <c:v>26.01.1938</c:v>
                </c:pt>
                <c:pt idx="22062">
                  <c:v>25.01.1938</c:v>
                </c:pt>
                <c:pt idx="22063">
                  <c:v>24.01.1938</c:v>
                </c:pt>
                <c:pt idx="22064">
                  <c:v>21.01.1938</c:v>
                </c:pt>
                <c:pt idx="22065">
                  <c:v>20.01.1938</c:v>
                </c:pt>
                <c:pt idx="22066">
                  <c:v>19.01.1938</c:v>
                </c:pt>
                <c:pt idx="22067">
                  <c:v>18.01.1938</c:v>
                </c:pt>
                <c:pt idx="22068">
                  <c:v>17.01.1938</c:v>
                </c:pt>
                <c:pt idx="22069">
                  <c:v>14.01.1938</c:v>
                </c:pt>
                <c:pt idx="22070">
                  <c:v>13.01.1938</c:v>
                </c:pt>
                <c:pt idx="22071">
                  <c:v>12.01.1938</c:v>
                </c:pt>
                <c:pt idx="22072">
                  <c:v>11.01.1938</c:v>
                </c:pt>
                <c:pt idx="22073">
                  <c:v>10.01.1938</c:v>
                </c:pt>
                <c:pt idx="22074">
                  <c:v>07.01.1938</c:v>
                </c:pt>
                <c:pt idx="22075">
                  <c:v>06.01.1938</c:v>
                </c:pt>
                <c:pt idx="22076">
                  <c:v>05.01.1938</c:v>
                </c:pt>
                <c:pt idx="22077">
                  <c:v>04.01.1938</c:v>
                </c:pt>
                <c:pt idx="22078">
                  <c:v>03.01.1938</c:v>
                </c:pt>
                <c:pt idx="22079">
                  <c:v>31.12.1937</c:v>
                </c:pt>
                <c:pt idx="22080">
                  <c:v>30.12.1937</c:v>
                </c:pt>
                <c:pt idx="22081">
                  <c:v>29.12.1937</c:v>
                </c:pt>
                <c:pt idx="22082">
                  <c:v>28.12.1937</c:v>
                </c:pt>
                <c:pt idx="22083">
                  <c:v>27.12.1937</c:v>
                </c:pt>
                <c:pt idx="22084">
                  <c:v>24.12.1937</c:v>
                </c:pt>
                <c:pt idx="22085">
                  <c:v>23.12.1937</c:v>
                </c:pt>
                <c:pt idx="22086">
                  <c:v>22.12.1937</c:v>
                </c:pt>
                <c:pt idx="22087">
                  <c:v>21.12.1937</c:v>
                </c:pt>
                <c:pt idx="22088">
                  <c:v>20.12.1937</c:v>
                </c:pt>
                <c:pt idx="22089">
                  <c:v>17.12.1937</c:v>
                </c:pt>
                <c:pt idx="22090">
                  <c:v>16.12.1937</c:v>
                </c:pt>
                <c:pt idx="22091">
                  <c:v>15.12.1937</c:v>
                </c:pt>
                <c:pt idx="22092">
                  <c:v>14.12.1937</c:v>
                </c:pt>
                <c:pt idx="22093">
                  <c:v>13.12.1937</c:v>
                </c:pt>
                <c:pt idx="22094">
                  <c:v>10.12.1937</c:v>
                </c:pt>
                <c:pt idx="22095">
                  <c:v>09.12.1937</c:v>
                </c:pt>
                <c:pt idx="22096">
                  <c:v>08.12.1937</c:v>
                </c:pt>
                <c:pt idx="22097">
                  <c:v>07.12.1937</c:v>
                </c:pt>
                <c:pt idx="22098">
                  <c:v>06.12.1937</c:v>
                </c:pt>
                <c:pt idx="22099">
                  <c:v>03.12.1937</c:v>
                </c:pt>
                <c:pt idx="22100">
                  <c:v>02.12.1937</c:v>
                </c:pt>
                <c:pt idx="22101">
                  <c:v>01.12.1937</c:v>
                </c:pt>
                <c:pt idx="22102">
                  <c:v>30.11.1937</c:v>
                </c:pt>
                <c:pt idx="22103">
                  <c:v>29.11.1937</c:v>
                </c:pt>
                <c:pt idx="22104">
                  <c:v>26.11.1937</c:v>
                </c:pt>
                <c:pt idx="22105">
                  <c:v>25.11.1937</c:v>
                </c:pt>
                <c:pt idx="22106">
                  <c:v>24.11.1937</c:v>
                </c:pt>
                <c:pt idx="22107">
                  <c:v>23.11.1937</c:v>
                </c:pt>
                <c:pt idx="22108">
                  <c:v>22.11.1937</c:v>
                </c:pt>
                <c:pt idx="22109">
                  <c:v>19.11.1937</c:v>
                </c:pt>
                <c:pt idx="22110">
                  <c:v>18.11.1937</c:v>
                </c:pt>
                <c:pt idx="22111">
                  <c:v>17.11.1937</c:v>
                </c:pt>
                <c:pt idx="22112">
                  <c:v>16.11.1937</c:v>
                </c:pt>
                <c:pt idx="22113">
                  <c:v>15.11.1937</c:v>
                </c:pt>
                <c:pt idx="22114">
                  <c:v>12.11.1937</c:v>
                </c:pt>
                <c:pt idx="22115">
                  <c:v>11.11.1937</c:v>
                </c:pt>
                <c:pt idx="22116">
                  <c:v>10.11.1937</c:v>
                </c:pt>
                <c:pt idx="22117">
                  <c:v>09.11.1937</c:v>
                </c:pt>
                <c:pt idx="22118">
                  <c:v>08.11.1937</c:v>
                </c:pt>
                <c:pt idx="22119">
                  <c:v>05.11.1937</c:v>
                </c:pt>
                <c:pt idx="22120">
                  <c:v>04.11.1937</c:v>
                </c:pt>
                <c:pt idx="22121">
                  <c:v>03.11.1937</c:v>
                </c:pt>
                <c:pt idx="22122">
                  <c:v>02.11.1937</c:v>
                </c:pt>
                <c:pt idx="22123">
                  <c:v>01.11.1937</c:v>
                </c:pt>
                <c:pt idx="22124">
                  <c:v>29.10.1937</c:v>
                </c:pt>
                <c:pt idx="22125">
                  <c:v>28.10.1937</c:v>
                </c:pt>
                <c:pt idx="22126">
                  <c:v>27.10.1937</c:v>
                </c:pt>
                <c:pt idx="22127">
                  <c:v>26.10.1937</c:v>
                </c:pt>
                <c:pt idx="22128">
                  <c:v>25.10.1937</c:v>
                </c:pt>
                <c:pt idx="22129">
                  <c:v>22.10.1937</c:v>
                </c:pt>
                <c:pt idx="22130">
                  <c:v>21.10.1937</c:v>
                </c:pt>
                <c:pt idx="22131">
                  <c:v>20.10.1937</c:v>
                </c:pt>
                <c:pt idx="22132">
                  <c:v>19.10.1937</c:v>
                </c:pt>
                <c:pt idx="22133">
                  <c:v>18.10.1937</c:v>
                </c:pt>
                <c:pt idx="22134">
                  <c:v>15.10.1937</c:v>
                </c:pt>
                <c:pt idx="22135">
                  <c:v>14.10.1937</c:v>
                </c:pt>
                <c:pt idx="22136">
                  <c:v>13.10.1937</c:v>
                </c:pt>
                <c:pt idx="22137">
                  <c:v>12.10.1937</c:v>
                </c:pt>
                <c:pt idx="22138">
                  <c:v>11.10.1937</c:v>
                </c:pt>
                <c:pt idx="22139">
                  <c:v>08.10.1937</c:v>
                </c:pt>
                <c:pt idx="22140">
                  <c:v>07.10.1937</c:v>
                </c:pt>
                <c:pt idx="22141">
                  <c:v>06.10.1937</c:v>
                </c:pt>
                <c:pt idx="22142">
                  <c:v>05.10.1937</c:v>
                </c:pt>
                <c:pt idx="22143">
                  <c:v>04.10.1937</c:v>
                </c:pt>
                <c:pt idx="22144">
                  <c:v>01.10.1937</c:v>
                </c:pt>
                <c:pt idx="22145">
                  <c:v>30.09.1937</c:v>
                </c:pt>
                <c:pt idx="22146">
                  <c:v>29.09.1937</c:v>
                </c:pt>
                <c:pt idx="22147">
                  <c:v>28.09.1937</c:v>
                </c:pt>
                <c:pt idx="22148">
                  <c:v>27.09.1937</c:v>
                </c:pt>
                <c:pt idx="22149">
                  <c:v>24.09.1937</c:v>
                </c:pt>
                <c:pt idx="22150">
                  <c:v>23.09.1937</c:v>
                </c:pt>
                <c:pt idx="22151">
                  <c:v>22.09.1937</c:v>
                </c:pt>
                <c:pt idx="22152">
                  <c:v>21.09.1937</c:v>
                </c:pt>
                <c:pt idx="22153">
                  <c:v>20.09.1937</c:v>
                </c:pt>
                <c:pt idx="22154">
                  <c:v>17.09.1937</c:v>
                </c:pt>
                <c:pt idx="22155">
                  <c:v>16.09.1937</c:v>
                </c:pt>
                <c:pt idx="22156">
                  <c:v>15.09.1937</c:v>
                </c:pt>
                <c:pt idx="22157">
                  <c:v>14.09.1937</c:v>
                </c:pt>
                <c:pt idx="22158">
                  <c:v>13.09.1937</c:v>
                </c:pt>
                <c:pt idx="22159">
                  <c:v>10.09.1937</c:v>
                </c:pt>
                <c:pt idx="22160">
                  <c:v>09.09.1937</c:v>
                </c:pt>
                <c:pt idx="22161">
                  <c:v>08.09.1937</c:v>
                </c:pt>
                <c:pt idx="22162">
                  <c:v>07.09.1937</c:v>
                </c:pt>
                <c:pt idx="22163">
                  <c:v>06.09.1937</c:v>
                </c:pt>
                <c:pt idx="22164">
                  <c:v>03.09.1937</c:v>
                </c:pt>
                <c:pt idx="22165">
                  <c:v>02.09.1937</c:v>
                </c:pt>
                <c:pt idx="22166">
                  <c:v>01.09.1937</c:v>
                </c:pt>
                <c:pt idx="22167">
                  <c:v>31.08.1937</c:v>
                </c:pt>
                <c:pt idx="22168">
                  <c:v>30.08.1937</c:v>
                </c:pt>
                <c:pt idx="22169">
                  <c:v>27.08.1937</c:v>
                </c:pt>
                <c:pt idx="22170">
                  <c:v>26.08.1937</c:v>
                </c:pt>
                <c:pt idx="22171">
                  <c:v>25.08.1937</c:v>
                </c:pt>
                <c:pt idx="22172">
                  <c:v>24.08.1937</c:v>
                </c:pt>
                <c:pt idx="22173">
                  <c:v>23.08.1937</c:v>
                </c:pt>
                <c:pt idx="22174">
                  <c:v>20.08.1937</c:v>
                </c:pt>
                <c:pt idx="22175">
                  <c:v>19.08.1937</c:v>
                </c:pt>
                <c:pt idx="22176">
                  <c:v>18.08.1937</c:v>
                </c:pt>
                <c:pt idx="22177">
                  <c:v>17.08.1937</c:v>
                </c:pt>
                <c:pt idx="22178">
                  <c:v>16.08.1937</c:v>
                </c:pt>
                <c:pt idx="22179">
                  <c:v>13.08.1937</c:v>
                </c:pt>
                <c:pt idx="22180">
                  <c:v>12.08.1937</c:v>
                </c:pt>
                <c:pt idx="22181">
                  <c:v>11.08.1937</c:v>
                </c:pt>
                <c:pt idx="22182">
                  <c:v>10.08.1937</c:v>
                </c:pt>
                <c:pt idx="22183">
                  <c:v>09.08.1937</c:v>
                </c:pt>
                <c:pt idx="22184">
                  <c:v>06.08.1937</c:v>
                </c:pt>
                <c:pt idx="22185">
                  <c:v>05.08.1937</c:v>
                </c:pt>
                <c:pt idx="22186">
                  <c:v>04.08.1937</c:v>
                </c:pt>
                <c:pt idx="22187">
                  <c:v>03.08.1937</c:v>
                </c:pt>
                <c:pt idx="22188">
                  <c:v>02.08.1937</c:v>
                </c:pt>
                <c:pt idx="22189">
                  <c:v>30.07.1937</c:v>
                </c:pt>
                <c:pt idx="22190">
                  <c:v>29.07.1937</c:v>
                </c:pt>
                <c:pt idx="22191">
                  <c:v>28.07.1937</c:v>
                </c:pt>
                <c:pt idx="22192">
                  <c:v>27.07.1937</c:v>
                </c:pt>
                <c:pt idx="22193">
                  <c:v>26.07.1937</c:v>
                </c:pt>
                <c:pt idx="22194">
                  <c:v>23.07.1937</c:v>
                </c:pt>
                <c:pt idx="22195">
                  <c:v>22.07.1937</c:v>
                </c:pt>
                <c:pt idx="22196">
                  <c:v>21.07.1937</c:v>
                </c:pt>
                <c:pt idx="22197">
                  <c:v>20.07.1937</c:v>
                </c:pt>
                <c:pt idx="22198">
                  <c:v>19.07.1937</c:v>
                </c:pt>
                <c:pt idx="22199">
                  <c:v>16.07.1937</c:v>
                </c:pt>
                <c:pt idx="22200">
                  <c:v>15.07.1937</c:v>
                </c:pt>
                <c:pt idx="22201">
                  <c:v>14.07.1937</c:v>
                </c:pt>
                <c:pt idx="22202">
                  <c:v>13.07.1937</c:v>
                </c:pt>
                <c:pt idx="22203">
                  <c:v>12.07.1937</c:v>
                </c:pt>
                <c:pt idx="22204">
                  <c:v>09.07.1937</c:v>
                </c:pt>
                <c:pt idx="22205">
                  <c:v>08.07.1937</c:v>
                </c:pt>
                <c:pt idx="22206">
                  <c:v>07.07.1937</c:v>
                </c:pt>
                <c:pt idx="22207">
                  <c:v>06.07.1937</c:v>
                </c:pt>
                <c:pt idx="22208">
                  <c:v>05.07.1937</c:v>
                </c:pt>
                <c:pt idx="22209">
                  <c:v>02.07.1937</c:v>
                </c:pt>
                <c:pt idx="22210">
                  <c:v>01.07.1937</c:v>
                </c:pt>
                <c:pt idx="22211">
                  <c:v>30.06.1937</c:v>
                </c:pt>
                <c:pt idx="22212">
                  <c:v>29.06.1937</c:v>
                </c:pt>
                <c:pt idx="22213">
                  <c:v>28.06.1937</c:v>
                </c:pt>
                <c:pt idx="22214">
                  <c:v>25.06.1937</c:v>
                </c:pt>
                <c:pt idx="22215">
                  <c:v>24.06.1937</c:v>
                </c:pt>
                <c:pt idx="22216">
                  <c:v>23.06.1937</c:v>
                </c:pt>
                <c:pt idx="22217">
                  <c:v>22.06.1937</c:v>
                </c:pt>
                <c:pt idx="22218">
                  <c:v>21.06.1937</c:v>
                </c:pt>
                <c:pt idx="22219">
                  <c:v>18.06.1937</c:v>
                </c:pt>
                <c:pt idx="22220">
                  <c:v>17.06.1937</c:v>
                </c:pt>
                <c:pt idx="22221">
                  <c:v>16.06.1937</c:v>
                </c:pt>
                <c:pt idx="22222">
                  <c:v>15.06.1937</c:v>
                </c:pt>
                <c:pt idx="22223">
                  <c:v>14.06.1937</c:v>
                </c:pt>
                <c:pt idx="22224">
                  <c:v>11.06.1937</c:v>
                </c:pt>
                <c:pt idx="22225">
                  <c:v>10.06.1937</c:v>
                </c:pt>
                <c:pt idx="22226">
                  <c:v>09.06.1937</c:v>
                </c:pt>
                <c:pt idx="22227">
                  <c:v>08.06.1937</c:v>
                </c:pt>
                <c:pt idx="22228">
                  <c:v>07.06.1937</c:v>
                </c:pt>
                <c:pt idx="22229">
                  <c:v>04.06.1937</c:v>
                </c:pt>
                <c:pt idx="22230">
                  <c:v>03.06.1937</c:v>
                </c:pt>
                <c:pt idx="22231">
                  <c:v>02.06.1937</c:v>
                </c:pt>
                <c:pt idx="22232">
                  <c:v>01.06.1937</c:v>
                </c:pt>
                <c:pt idx="22233">
                  <c:v>31.05.1937</c:v>
                </c:pt>
                <c:pt idx="22234">
                  <c:v>28.05.1937</c:v>
                </c:pt>
                <c:pt idx="22235">
                  <c:v>27.05.1937</c:v>
                </c:pt>
                <c:pt idx="22236">
                  <c:v>26.05.1937</c:v>
                </c:pt>
                <c:pt idx="22237">
                  <c:v>25.05.1937</c:v>
                </c:pt>
                <c:pt idx="22238">
                  <c:v>24.05.1937</c:v>
                </c:pt>
                <c:pt idx="22239">
                  <c:v>21.05.1937</c:v>
                </c:pt>
                <c:pt idx="22240">
                  <c:v>20.05.1937</c:v>
                </c:pt>
                <c:pt idx="22241">
                  <c:v>19.05.1937</c:v>
                </c:pt>
                <c:pt idx="22242">
                  <c:v>18.05.1937</c:v>
                </c:pt>
                <c:pt idx="22243">
                  <c:v>17.05.1937</c:v>
                </c:pt>
                <c:pt idx="22244">
                  <c:v>14.05.1937</c:v>
                </c:pt>
                <c:pt idx="22245">
                  <c:v>13.05.1937</c:v>
                </c:pt>
                <c:pt idx="22246">
                  <c:v>12.05.1937</c:v>
                </c:pt>
                <c:pt idx="22247">
                  <c:v>11.05.1937</c:v>
                </c:pt>
                <c:pt idx="22248">
                  <c:v>10.05.1937</c:v>
                </c:pt>
                <c:pt idx="22249">
                  <c:v>07.05.1937</c:v>
                </c:pt>
                <c:pt idx="22250">
                  <c:v>06.05.1937</c:v>
                </c:pt>
                <c:pt idx="22251">
                  <c:v>05.05.1937</c:v>
                </c:pt>
                <c:pt idx="22252">
                  <c:v>04.05.1937</c:v>
                </c:pt>
                <c:pt idx="22253">
                  <c:v>03.05.1937</c:v>
                </c:pt>
                <c:pt idx="22254">
                  <c:v>30.04.1937</c:v>
                </c:pt>
                <c:pt idx="22255">
                  <c:v>29.04.1937</c:v>
                </c:pt>
                <c:pt idx="22256">
                  <c:v>28.04.1937</c:v>
                </c:pt>
                <c:pt idx="22257">
                  <c:v>27.04.1937</c:v>
                </c:pt>
                <c:pt idx="22258">
                  <c:v>26.04.1937</c:v>
                </c:pt>
                <c:pt idx="22259">
                  <c:v>23.04.1937</c:v>
                </c:pt>
                <c:pt idx="22260">
                  <c:v>22.04.1937</c:v>
                </c:pt>
                <c:pt idx="22261">
                  <c:v>21.04.1937</c:v>
                </c:pt>
                <c:pt idx="22262">
                  <c:v>20.04.1937</c:v>
                </c:pt>
                <c:pt idx="22263">
                  <c:v>19.04.1937</c:v>
                </c:pt>
                <c:pt idx="22264">
                  <c:v>16.04.1937</c:v>
                </c:pt>
                <c:pt idx="22265">
                  <c:v>15.04.1937</c:v>
                </c:pt>
                <c:pt idx="22266">
                  <c:v>14.04.1937</c:v>
                </c:pt>
                <c:pt idx="22267">
                  <c:v>13.04.1937</c:v>
                </c:pt>
                <c:pt idx="22268">
                  <c:v>12.04.1937</c:v>
                </c:pt>
                <c:pt idx="22269">
                  <c:v>09.04.1937</c:v>
                </c:pt>
                <c:pt idx="22270">
                  <c:v>08.04.1937</c:v>
                </c:pt>
                <c:pt idx="22271">
                  <c:v>07.04.1937</c:v>
                </c:pt>
                <c:pt idx="22272">
                  <c:v>06.04.1937</c:v>
                </c:pt>
                <c:pt idx="22273">
                  <c:v>05.04.1937</c:v>
                </c:pt>
                <c:pt idx="22274">
                  <c:v>02.04.1937</c:v>
                </c:pt>
                <c:pt idx="22275">
                  <c:v>01.04.1937</c:v>
                </c:pt>
                <c:pt idx="22276">
                  <c:v>31.03.1937</c:v>
                </c:pt>
                <c:pt idx="22277">
                  <c:v>30.03.1937</c:v>
                </c:pt>
                <c:pt idx="22278">
                  <c:v>29.03.1937</c:v>
                </c:pt>
                <c:pt idx="22279">
                  <c:v>26.03.1937</c:v>
                </c:pt>
                <c:pt idx="22280">
                  <c:v>25.03.1937</c:v>
                </c:pt>
                <c:pt idx="22281">
                  <c:v>24.03.1937</c:v>
                </c:pt>
                <c:pt idx="22282">
                  <c:v>23.03.1937</c:v>
                </c:pt>
                <c:pt idx="22283">
                  <c:v>22.03.1937</c:v>
                </c:pt>
                <c:pt idx="22284">
                  <c:v>19.03.1937</c:v>
                </c:pt>
                <c:pt idx="22285">
                  <c:v>18.03.1937</c:v>
                </c:pt>
                <c:pt idx="22286">
                  <c:v>17.03.1937</c:v>
                </c:pt>
                <c:pt idx="22287">
                  <c:v>16.03.1937</c:v>
                </c:pt>
                <c:pt idx="22288">
                  <c:v>15.03.1937</c:v>
                </c:pt>
                <c:pt idx="22289">
                  <c:v>12.03.1937</c:v>
                </c:pt>
                <c:pt idx="22290">
                  <c:v>11.03.1937</c:v>
                </c:pt>
                <c:pt idx="22291">
                  <c:v>10.03.1937</c:v>
                </c:pt>
                <c:pt idx="22292">
                  <c:v>09.03.1937</c:v>
                </c:pt>
                <c:pt idx="22293">
                  <c:v>08.03.1937</c:v>
                </c:pt>
                <c:pt idx="22294">
                  <c:v>05.03.1937</c:v>
                </c:pt>
                <c:pt idx="22295">
                  <c:v>04.03.1937</c:v>
                </c:pt>
                <c:pt idx="22296">
                  <c:v>03.03.1937</c:v>
                </c:pt>
                <c:pt idx="22297">
                  <c:v>02.03.1937</c:v>
                </c:pt>
                <c:pt idx="22298">
                  <c:v>01.03.1937</c:v>
                </c:pt>
                <c:pt idx="22299">
                  <c:v>26.02.1937</c:v>
                </c:pt>
                <c:pt idx="22300">
                  <c:v>25.02.1937</c:v>
                </c:pt>
                <c:pt idx="22301">
                  <c:v>24.02.1937</c:v>
                </c:pt>
                <c:pt idx="22302">
                  <c:v>23.02.1937</c:v>
                </c:pt>
                <c:pt idx="22303">
                  <c:v>22.02.1937</c:v>
                </c:pt>
                <c:pt idx="22304">
                  <c:v>19.02.1937</c:v>
                </c:pt>
                <c:pt idx="22305">
                  <c:v>18.02.1937</c:v>
                </c:pt>
                <c:pt idx="22306">
                  <c:v>17.02.1937</c:v>
                </c:pt>
                <c:pt idx="22307">
                  <c:v>16.02.1937</c:v>
                </c:pt>
                <c:pt idx="22308">
                  <c:v>15.02.1937</c:v>
                </c:pt>
                <c:pt idx="22309">
                  <c:v>12.02.1937</c:v>
                </c:pt>
                <c:pt idx="22310">
                  <c:v>11.02.1937</c:v>
                </c:pt>
                <c:pt idx="22311">
                  <c:v>10.02.1937</c:v>
                </c:pt>
                <c:pt idx="22312">
                  <c:v>09.02.1937</c:v>
                </c:pt>
                <c:pt idx="22313">
                  <c:v>08.02.1937</c:v>
                </c:pt>
                <c:pt idx="22314">
                  <c:v>05.02.1937</c:v>
                </c:pt>
                <c:pt idx="22315">
                  <c:v>04.02.1937</c:v>
                </c:pt>
                <c:pt idx="22316">
                  <c:v>03.02.1937</c:v>
                </c:pt>
                <c:pt idx="22317">
                  <c:v>02.02.1937</c:v>
                </c:pt>
                <c:pt idx="22318">
                  <c:v>01.02.1937</c:v>
                </c:pt>
                <c:pt idx="22319">
                  <c:v>29.01.1937</c:v>
                </c:pt>
                <c:pt idx="22320">
                  <c:v>28.01.1937</c:v>
                </c:pt>
                <c:pt idx="22321">
                  <c:v>27.01.1937</c:v>
                </c:pt>
                <c:pt idx="22322">
                  <c:v>26.01.1937</c:v>
                </c:pt>
                <c:pt idx="22323">
                  <c:v>25.01.1937</c:v>
                </c:pt>
                <c:pt idx="22324">
                  <c:v>22.01.1937</c:v>
                </c:pt>
                <c:pt idx="22325">
                  <c:v>21.01.1937</c:v>
                </c:pt>
                <c:pt idx="22326">
                  <c:v>20.01.1937</c:v>
                </c:pt>
                <c:pt idx="22327">
                  <c:v>19.01.1937</c:v>
                </c:pt>
                <c:pt idx="22328">
                  <c:v>18.01.1937</c:v>
                </c:pt>
                <c:pt idx="22329">
                  <c:v>15.01.1937</c:v>
                </c:pt>
                <c:pt idx="22330">
                  <c:v>14.01.1937</c:v>
                </c:pt>
                <c:pt idx="22331">
                  <c:v>13.01.1937</c:v>
                </c:pt>
                <c:pt idx="22332">
                  <c:v>12.01.1937</c:v>
                </c:pt>
                <c:pt idx="22333">
                  <c:v>11.01.1937</c:v>
                </c:pt>
                <c:pt idx="22334">
                  <c:v>08.01.1937</c:v>
                </c:pt>
                <c:pt idx="22335">
                  <c:v>07.01.1937</c:v>
                </c:pt>
                <c:pt idx="22336">
                  <c:v>06.01.1937</c:v>
                </c:pt>
                <c:pt idx="22337">
                  <c:v>05.01.1937</c:v>
                </c:pt>
                <c:pt idx="22338">
                  <c:v>04.01.1937</c:v>
                </c:pt>
                <c:pt idx="22339">
                  <c:v>01.01.1937</c:v>
                </c:pt>
                <c:pt idx="22340">
                  <c:v>31.12.1936</c:v>
                </c:pt>
                <c:pt idx="22341">
                  <c:v>30.12.1936</c:v>
                </c:pt>
                <c:pt idx="22342">
                  <c:v>29.12.1936</c:v>
                </c:pt>
                <c:pt idx="22343">
                  <c:v>28.12.1936</c:v>
                </c:pt>
                <c:pt idx="22344">
                  <c:v>25.12.1936</c:v>
                </c:pt>
                <c:pt idx="22345">
                  <c:v>24.12.1936</c:v>
                </c:pt>
                <c:pt idx="22346">
                  <c:v>23.12.1936</c:v>
                </c:pt>
                <c:pt idx="22347">
                  <c:v>22.12.1936</c:v>
                </c:pt>
                <c:pt idx="22348">
                  <c:v>21.12.1936</c:v>
                </c:pt>
                <c:pt idx="22349">
                  <c:v>18.12.1936</c:v>
                </c:pt>
                <c:pt idx="22350">
                  <c:v>17.12.1936</c:v>
                </c:pt>
                <c:pt idx="22351">
                  <c:v>16.12.1936</c:v>
                </c:pt>
                <c:pt idx="22352">
                  <c:v>15.12.1936</c:v>
                </c:pt>
                <c:pt idx="22353">
                  <c:v>14.12.1936</c:v>
                </c:pt>
                <c:pt idx="22354">
                  <c:v>11.12.1936</c:v>
                </c:pt>
                <c:pt idx="22355">
                  <c:v>10.12.1936</c:v>
                </c:pt>
                <c:pt idx="22356">
                  <c:v>09.12.1936</c:v>
                </c:pt>
                <c:pt idx="22357">
                  <c:v>08.12.1936</c:v>
                </c:pt>
                <c:pt idx="22358">
                  <c:v>07.12.1936</c:v>
                </c:pt>
                <c:pt idx="22359">
                  <c:v>04.12.1936</c:v>
                </c:pt>
                <c:pt idx="22360">
                  <c:v>03.12.1936</c:v>
                </c:pt>
                <c:pt idx="22361">
                  <c:v>02.12.1936</c:v>
                </c:pt>
                <c:pt idx="22362">
                  <c:v>01.12.1936</c:v>
                </c:pt>
                <c:pt idx="22363">
                  <c:v>30.11.1936</c:v>
                </c:pt>
                <c:pt idx="22364">
                  <c:v>27.11.1936</c:v>
                </c:pt>
                <c:pt idx="22365">
                  <c:v>26.11.1936</c:v>
                </c:pt>
                <c:pt idx="22366">
                  <c:v>25.11.1936</c:v>
                </c:pt>
                <c:pt idx="22367">
                  <c:v>24.11.1936</c:v>
                </c:pt>
                <c:pt idx="22368">
                  <c:v>23.11.1936</c:v>
                </c:pt>
                <c:pt idx="22369">
                  <c:v>20.11.1936</c:v>
                </c:pt>
                <c:pt idx="22370">
                  <c:v>19.11.1936</c:v>
                </c:pt>
                <c:pt idx="22371">
                  <c:v>18.11.1936</c:v>
                </c:pt>
                <c:pt idx="22372">
                  <c:v>17.11.1936</c:v>
                </c:pt>
                <c:pt idx="22373">
                  <c:v>16.11.1936</c:v>
                </c:pt>
                <c:pt idx="22374">
                  <c:v>13.11.1936</c:v>
                </c:pt>
                <c:pt idx="22375">
                  <c:v>12.11.1936</c:v>
                </c:pt>
                <c:pt idx="22376">
                  <c:v>11.11.1936</c:v>
                </c:pt>
                <c:pt idx="22377">
                  <c:v>10.11.1936</c:v>
                </c:pt>
                <c:pt idx="22378">
                  <c:v>09.11.1936</c:v>
                </c:pt>
                <c:pt idx="22379">
                  <c:v>06.11.1936</c:v>
                </c:pt>
                <c:pt idx="22380">
                  <c:v>05.11.1936</c:v>
                </c:pt>
                <c:pt idx="22381">
                  <c:v>04.11.1936</c:v>
                </c:pt>
                <c:pt idx="22382">
                  <c:v>03.11.1936</c:v>
                </c:pt>
                <c:pt idx="22383">
                  <c:v>02.11.1936</c:v>
                </c:pt>
                <c:pt idx="22384">
                  <c:v>30.10.1936</c:v>
                </c:pt>
                <c:pt idx="22385">
                  <c:v>29.10.1936</c:v>
                </c:pt>
                <c:pt idx="22386">
                  <c:v>28.10.1936</c:v>
                </c:pt>
                <c:pt idx="22387">
                  <c:v>27.10.1936</c:v>
                </c:pt>
                <c:pt idx="22388">
                  <c:v>26.10.1936</c:v>
                </c:pt>
                <c:pt idx="22389">
                  <c:v>23.10.1936</c:v>
                </c:pt>
                <c:pt idx="22390">
                  <c:v>22.10.1936</c:v>
                </c:pt>
                <c:pt idx="22391">
                  <c:v>21.10.1936</c:v>
                </c:pt>
                <c:pt idx="22392">
                  <c:v>20.10.1936</c:v>
                </c:pt>
                <c:pt idx="22393">
                  <c:v>19.10.1936</c:v>
                </c:pt>
                <c:pt idx="22394">
                  <c:v>16.10.1936</c:v>
                </c:pt>
                <c:pt idx="22395">
                  <c:v>15.10.1936</c:v>
                </c:pt>
                <c:pt idx="22396">
                  <c:v>14.10.1936</c:v>
                </c:pt>
                <c:pt idx="22397">
                  <c:v>13.10.1936</c:v>
                </c:pt>
                <c:pt idx="22398">
                  <c:v>12.10.1936</c:v>
                </c:pt>
                <c:pt idx="22399">
                  <c:v>09.10.1936</c:v>
                </c:pt>
                <c:pt idx="22400">
                  <c:v>08.10.1936</c:v>
                </c:pt>
                <c:pt idx="22401">
                  <c:v>07.10.1936</c:v>
                </c:pt>
                <c:pt idx="22402">
                  <c:v>06.10.1936</c:v>
                </c:pt>
                <c:pt idx="22403">
                  <c:v>05.10.1936</c:v>
                </c:pt>
                <c:pt idx="22404">
                  <c:v>02.10.1936</c:v>
                </c:pt>
                <c:pt idx="22405">
                  <c:v>01.10.1936</c:v>
                </c:pt>
                <c:pt idx="22406">
                  <c:v>30.09.1936</c:v>
                </c:pt>
                <c:pt idx="22407">
                  <c:v>29.09.1936</c:v>
                </c:pt>
                <c:pt idx="22408">
                  <c:v>28.09.1936</c:v>
                </c:pt>
                <c:pt idx="22409">
                  <c:v>25.09.1936</c:v>
                </c:pt>
                <c:pt idx="22410">
                  <c:v>24.09.1936</c:v>
                </c:pt>
                <c:pt idx="22411">
                  <c:v>23.09.1936</c:v>
                </c:pt>
                <c:pt idx="22412">
                  <c:v>22.09.1936</c:v>
                </c:pt>
                <c:pt idx="22413">
                  <c:v>21.09.1936</c:v>
                </c:pt>
                <c:pt idx="22414">
                  <c:v>18.09.1936</c:v>
                </c:pt>
                <c:pt idx="22415">
                  <c:v>17.09.1936</c:v>
                </c:pt>
                <c:pt idx="22416">
                  <c:v>16.09.1936</c:v>
                </c:pt>
                <c:pt idx="22417">
                  <c:v>15.09.1936</c:v>
                </c:pt>
                <c:pt idx="22418">
                  <c:v>14.09.1936</c:v>
                </c:pt>
                <c:pt idx="22419">
                  <c:v>11.09.1936</c:v>
                </c:pt>
                <c:pt idx="22420">
                  <c:v>10.09.1936</c:v>
                </c:pt>
                <c:pt idx="22421">
                  <c:v>09.09.1936</c:v>
                </c:pt>
                <c:pt idx="22422">
                  <c:v>08.09.1936</c:v>
                </c:pt>
                <c:pt idx="22423">
                  <c:v>07.09.1936</c:v>
                </c:pt>
                <c:pt idx="22424">
                  <c:v>04.09.1936</c:v>
                </c:pt>
                <c:pt idx="22425">
                  <c:v>03.09.1936</c:v>
                </c:pt>
                <c:pt idx="22426">
                  <c:v>02.09.1936</c:v>
                </c:pt>
                <c:pt idx="22427">
                  <c:v>01.09.1936</c:v>
                </c:pt>
                <c:pt idx="22428">
                  <c:v>31.08.1936</c:v>
                </c:pt>
                <c:pt idx="22429">
                  <c:v>28.08.1936</c:v>
                </c:pt>
                <c:pt idx="22430">
                  <c:v>27.08.1936</c:v>
                </c:pt>
                <c:pt idx="22431">
                  <c:v>26.08.1936</c:v>
                </c:pt>
                <c:pt idx="22432">
                  <c:v>25.08.1936</c:v>
                </c:pt>
                <c:pt idx="22433">
                  <c:v>24.08.1936</c:v>
                </c:pt>
                <c:pt idx="22434">
                  <c:v>21.08.1936</c:v>
                </c:pt>
                <c:pt idx="22435">
                  <c:v>20.08.1936</c:v>
                </c:pt>
                <c:pt idx="22436">
                  <c:v>19.08.1936</c:v>
                </c:pt>
                <c:pt idx="22437">
                  <c:v>18.08.1936</c:v>
                </c:pt>
                <c:pt idx="22438">
                  <c:v>17.08.1936</c:v>
                </c:pt>
                <c:pt idx="22439">
                  <c:v>14.08.1936</c:v>
                </c:pt>
                <c:pt idx="22440">
                  <c:v>13.08.1936</c:v>
                </c:pt>
                <c:pt idx="22441">
                  <c:v>12.08.1936</c:v>
                </c:pt>
                <c:pt idx="22442">
                  <c:v>11.08.1936</c:v>
                </c:pt>
                <c:pt idx="22443">
                  <c:v>10.08.1936</c:v>
                </c:pt>
                <c:pt idx="22444">
                  <c:v>07.08.1936</c:v>
                </c:pt>
                <c:pt idx="22445">
                  <c:v>06.08.1936</c:v>
                </c:pt>
                <c:pt idx="22446">
                  <c:v>05.08.1936</c:v>
                </c:pt>
                <c:pt idx="22447">
                  <c:v>04.08.1936</c:v>
                </c:pt>
                <c:pt idx="22448">
                  <c:v>03.08.1936</c:v>
                </c:pt>
                <c:pt idx="22449">
                  <c:v>31.07.1936</c:v>
                </c:pt>
                <c:pt idx="22450">
                  <c:v>30.07.1936</c:v>
                </c:pt>
                <c:pt idx="22451">
                  <c:v>29.07.1936</c:v>
                </c:pt>
                <c:pt idx="22452">
                  <c:v>28.07.1936</c:v>
                </c:pt>
                <c:pt idx="22453">
                  <c:v>27.07.1936</c:v>
                </c:pt>
                <c:pt idx="22454">
                  <c:v>24.07.1936</c:v>
                </c:pt>
                <c:pt idx="22455">
                  <c:v>23.07.1936</c:v>
                </c:pt>
                <c:pt idx="22456">
                  <c:v>22.07.1936</c:v>
                </c:pt>
                <c:pt idx="22457">
                  <c:v>21.07.1936</c:v>
                </c:pt>
                <c:pt idx="22458">
                  <c:v>20.07.1936</c:v>
                </c:pt>
                <c:pt idx="22459">
                  <c:v>17.07.1936</c:v>
                </c:pt>
                <c:pt idx="22460">
                  <c:v>16.07.1936</c:v>
                </c:pt>
                <c:pt idx="22461">
                  <c:v>15.07.1936</c:v>
                </c:pt>
                <c:pt idx="22462">
                  <c:v>14.07.1936</c:v>
                </c:pt>
                <c:pt idx="22463">
                  <c:v>13.07.1936</c:v>
                </c:pt>
                <c:pt idx="22464">
                  <c:v>10.07.1936</c:v>
                </c:pt>
                <c:pt idx="22465">
                  <c:v>09.07.1936</c:v>
                </c:pt>
                <c:pt idx="22466">
                  <c:v>08.07.1936</c:v>
                </c:pt>
                <c:pt idx="22467">
                  <c:v>07.07.1936</c:v>
                </c:pt>
                <c:pt idx="22468">
                  <c:v>06.07.1936</c:v>
                </c:pt>
                <c:pt idx="22469">
                  <c:v>03.07.1936</c:v>
                </c:pt>
                <c:pt idx="22470">
                  <c:v>02.07.1936</c:v>
                </c:pt>
                <c:pt idx="22471">
                  <c:v>01.07.1936</c:v>
                </c:pt>
                <c:pt idx="22472">
                  <c:v>30.06.1936</c:v>
                </c:pt>
                <c:pt idx="22473">
                  <c:v>29.06.1936</c:v>
                </c:pt>
                <c:pt idx="22474">
                  <c:v>26.06.1936</c:v>
                </c:pt>
                <c:pt idx="22475">
                  <c:v>25.06.1936</c:v>
                </c:pt>
                <c:pt idx="22476">
                  <c:v>24.06.1936</c:v>
                </c:pt>
                <c:pt idx="22477">
                  <c:v>23.06.1936</c:v>
                </c:pt>
                <c:pt idx="22478">
                  <c:v>22.06.1936</c:v>
                </c:pt>
                <c:pt idx="22479">
                  <c:v>19.06.1936</c:v>
                </c:pt>
                <c:pt idx="22480">
                  <c:v>18.06.1936</c:v>
                </c:pt>
                <c:pt idx="22481">
                  <c:v>17.06.1936</c:v>
                </c:pt>
                <c:pt idx="22482">
                  <c:v>16.06.1936</c:v>
                </c:pt>
                <c:pt idx="22483">
                  <c:v>15.06.1936</c:v>
                </c:pt>
                <c:pt idx="22484">
                  <c:v>12.06.1936</c:v>
                </c:pt>
                <c:pt idx="22485">
                  <c:v>11.06.1936</c:v>
                </c:pt>
                <c:pt idx="22486">
                  <c:v>10.06.1936</c:v>
                </c:pt>
                <c:pt idx="22487">
                  <c:v>09.06.1936</c:v>
                </c:pt>
                <c:pt idx="22488">
                  <c:v>08.06.1936</c:v>
                </c:pt>
                <c:pt idx="22489">
                  <c:v>05.06.1936</c:v>
                </c:pt>
                <c:pt idx="22490">
                  <c:v>04.06.1936</c:v>
                </c:pt>
                <c:pt idx="22491">
                  <c:v>03.06.1936</c:v>
                </c:pt>
                <c:pt idx="22492">
                  <c:v>02.06.1936</c:v>
                </c:pt>
                <c:pt idx="22493">
                  <c:v>01.06.1936</c:v>
                </c:pt>
                <c:pt idx="22494">
                  <c:v>29.05.1936</c:v>
                </c:pt>
                <c:pt idx="22495">
                  <c:v>28.05.1936</c:v>
                </c:pt>
                <c:pt idx="22496">
                  <c:v>27.05.1936</c:v>
                </c:pt>
                <c:pt idx="22497">
                  <c:v>26.05.1936</c:v>
                </c:pt>
                <c:pt idx="22498">
                  <c:v>25.05.1936</c:v>
                </c:pt>
                <c:pt idx="22499">
                  <c:v>22.05.1936</c:v>
                </c:pt>
                <c:pt idx="22500">
                  <c:v>21.05.1936</c:v>
                </c:pt>
                <c:pt idx="22501">
                  <c:v>20.05.1936</c:v>
                </c:pt>
                <c:pt idx="22502">
                  <c:v>19.05.1936</c:v>
                </c:pt>
                <c:pt idx="22503">
                  <c:v>18.05.1936</c:v>
                </c:pt>
                <c:pt idx="22504">
                  <c:v>15.05.1936</c:v>
                </c:pt>
                <c:pt idx="22505">
                  <c:v>14.05.1936</c:v>
                </c:pt>
                <c:pt idx="22506">
                  <c:v>13.05.1936</c:v>
                </c:pt>
                <c:pt idx="22507">
                  <c:v>12.05.1936</c:v>
                </c:pt>
                <c:pt idx="22508">
                  <c:v>11.05.1936</c:v>
                </c:pt>
                <c:pt idx="22509">
                  <c:v>08.05.1936</c:v>
                </c:pt>
                <c:pt idx="22510">
                  <c:v>07.05.1936</c:v>
                </c:pt>
                <c:pt idx="22511">
                  <c:v>06.05.1936</c:v>
                </c:pt>
                <c:pt idx="22512">
                  <c:v>05.05.1936</c:v>
                </c:pt>
                <c:pt idx="22513">
                  <c:v>04.05.1936</c:v>
                </c:pt>
                <c:pt idx="22514">
                  <c:v>01.05.1936</c:v>
                </c:pt>
                <c:pt idx="22515">
                  <c:v>30.04.1936</c:v>
                </c:pt>
                <c:pt idx="22516">
                  <c:v>29.04.1936</c:v>
                </c:pt>
                <c:pt idx="22517">
                  <c:v>28.04.1936</c:v>
                </c:pt>
                <c:pt idx="22518">
                  <c:v>27.04.1936</c:v>
                </c:pt>
                <c:pt idx="22519">
                  <c:v>24.04.1936</c:v>
                </c:pt>
                <c:pt idx="22520">
                  <c:v>23.04.1936</c:v>
                </c:pt>
                <c:pt idx="22521">
                  <c:v>22.04.1936</c:v>
                </c:pt>
                <c:pt idx="22522">
                  <c:v>21.04.1936</c:v>
                </c:pt>
                <c:pt idx="22523">
                  <c:v>20.04.1936</c:v>
                </c:pt>
                <c:pt idx="22524">
                  <c:v>17.04.1936</c:v>
                </c:pt>
                <c:pt idx="22525">
                  <c:v>16.04.1936</c:v>
                </c:pt>
                <c:pt idx="22526">
                  <c:v>15.04.1936</c:v>
                </c:pt>
                <c:pt idx="22527">
                  <c:v>14.04.1936</c:v>
                </c:pt>
                <c:pt idx="22528">
                  <c:v>13.04.1936</c:v>
                </c:pt>
                <c:pt idx="22529">
                  <c:v>10.04.1936</c:v>
                </c:pt>
                <c:pt idx="22530">
                  <c:v>09.04.1936</c:v>
                </c:pt>
                <c:pt idx="22531">
                  <c:v>08.04.1936</c:v>
                </c:pt>
                <c:pt idx="22532">
                  <c:v>07.04.1936</c:v>
                </c:pt>
                <c:pt idx="22533">
                  <c:v>06.04.1936</c:v>
                </c:pt>
                <c:pt idx="22534">
                  <c:v>03.04.1936</c:v>
                </c:pt>
                <c:pt idx="22535">
                  <c:v>02.04.1936</c:v>
                </c:pt>
                <c:pt idx="22536">
                  <c:v>01.04.1936</c:v>
                </c:pt>
                <c:pt idx="22537">
                  <c:v>31.03.1936</c:v>
                </c:pt>
                <c:pt idx="22538">
                  <c:v>30.03.1936</c:v>
                </c:pt>
                <c:pt idx="22539">
                  <c:v>27.03.1936</c:v>
                </c:pt>
                <c:pt idx="22540">
                  <c:v>26.03.1936</c:v>
                </c:pt>
                <c:pt idx="22541">
                  <c:v>25.03.1936</c:v>
                </c:pt>
                <c:pt idx="22542">
                  <c:v>24.03.1936</c:v>
                </c:pt>
                <c:pt idx="22543">
                  <c:v>23.03.1936</c:v>
                </c:pt>
                <c:pt idx="22544">
                  <c:v>20.03.1936</c:v>
                </c:pt>
                <c:pt idx="22545">
                  <c:v>19.03.1936</c:v>
                </c:pt>
                <c:pt idx="22546">
                  <c:v>18.03.1936</c:v>
                </c:pt>
                <c:pt idx="22547">
                  <c:v>17.03.1936</c:v>
                </c:pt>
                <c:pt idx="22548">
                  <c:v>16.03.1936</c:v>
                </c:pt>
                <c:pt idx="22549">
                  <c:v>13.03.1936</c:v>
                </c:pt>
                <c:pt idx="22550">
                  <c:v>12.03.1936</c:v>
                </c:pt>
                <c:pt idx="22551">
                  <c:v>11.03.1936</c:v>
                </c:pt>
                <c:pt idx="22552">
                  <c:v>10.03.1936</c:v>
                </c:pt>
                <c:pt idx="22553">
                  <c:v>09.03.1936</c:v>
                </c:pt>
                <c:pt idx="22554">
                  <c:v>06.03.1936</c:v>
                </c:pt>
                <c:pt idx="22555">
                  <c:v>05.03.1936</c:v>
                </c:pt>
                <c:pt idx="22556">
                  <c:v>04.03.1936</c:v>
                </c:pt>
                <c:pt idx="22557">
                  <c:v>03.03.1936</c:v>
                </c:pt>
                <c:pt idx="22558">
                  <c:v>02.03.1936</c:v>
                </c:pt>
                <c:pt idx="22559">
                  <c:v>28.02.1936</c:v>
                </c:pt>
                <c:pt idx="22560">
                  <c:v>27.02.1936</c:v>
                </c:pt>
                <c:pt idx="22561">
                  <c:v>26.02.1936</c:v>
                </c:pt>
                <c:pt idx="22562">
                  <c:v>25.02.1936</c:v>
                </c:pt>
                <c:pt idx="22563">
                  <c:v>24.02.1936</c:v>
                </c:pt>
                <c:pt idx="22564">
                  <c:v>21.02.1936</c:v>
                </c:pt>
                <c:pt idx="22565">
                  <c:v>20.02.1936</c:v>
                </c:pt>
                <c:pt idx="22566">
                  <c:v>19.02.1936</c:v>
                </c:pt>
                <c:pt idx="22567">
                  <c:v>18.02.1936</c:v>
                </c:pt>
                <c:pt idx="22568">
                  <c:v>17.02.1936</c:v>
                </c:pt>
                <c:pt idx="22569">
                  <c:v>14.02.1936</c:v>
                </c:pt>
                <c:pt idx="22570">
                  <c:v>13.02.1936</c:v>
                </c:pt>
                <c:pt idx="22571">
                  <c:v>12.02.1936</c:v>
                </c:pt>
                <c:pt idx="22572">
                  <c:v>11.02.1936</c:v>
                </c:pt>
                <c:pt idx="22573">
                  <c:v>10.02.1936</c:v>
                </c:pt>
                <c:pt idx="22574">
                  <c:v>07.02.1936</c:v>
                </c:pt>
                <c:pt idx="22575">
                  <c:v>06.02.1936</c:v>
                </c:pt>
                <c:pt idx="22576">
                  <c:v>05.02.1936</c:v>
                </c:pt>
                <c:pt idx="22577">
                  <c:v>04.02.1936</c:v>
                </c:pt>
                <c:pt idx="22578">
                  <c:v>03.02.1936</c:v>
                </c:pt>
                <c:pt idx="22579">
                  <c:v>31.01.1936</c:v>
                </c:pt>
                <c:pt idx="22580">
                  <c:v>30.01.1936</c:v>
                </c:pt>
                <c:pt idx="22581">
                  <c:v>29.01.1936</c:v>
                </c:pt>
                <c:pt idx="22582">
                  <c:v>28.01.1936</c:v>
                </c:pt>
                <c:pt idx="22583">
                  <c:v>27.01.1936</c:v>
                </c:pt>
                <c:pt idx="22584">
                  <c:v>24.01.1936</c:v>
                </c:pt>
                <c:pt idx="22585">
                  <c:v>23.01.1936</c:v>
                </c:pt>
                <c:pt idx="22586">
                  <c:v>22.01.1936</c:v>
                </c:pt>
                <c:pt idx="22587">
                  <c:v>21.01.1936</c:v>
                </c:pt>
                <c:pt idx="22588">
                  <c:v>20.01.1936</c:v>
                </c:pt>
                <c:pt idx="22589">
                  <c:v>17.01.1936</c:v>
                </c:pt>
                <c:pt idx="22590">
                  <c:v>16.01.1936</c:v>
                </c:pt>
                <c:pt idx="22591">
                  <c:v>15.01.1936</c:v>
                </c:pt>
                <c:pt idx="22592">
                  <c:v>14.01.1936</c:v>
                </c:pt>
                <c:pt idx="22593">
                  <c:v>13.01.1936</c:v>
                </c:pt>
                <c:pt idx="22594">
                  <c:v>10.01.1936</c:v>
                </c:pt>
                <c:pt idx="22595">
                  <c:v>09.01.1936</c:v>
                </c:pt>
                <c:pt idx="22596">
                  <c:v>08.01.1936</c:v>
                </c:pt>
                <c:pt idx="22597">
                  <c:v>07.01.1936</c:v>
                </c:pt>
                <c:pt idx="22598">
                  <c:v>06.01.1936</c:v>
                </c:pt>
                <c:pt idx="22599">
                  <c:v>03.01.1936</c:v>
                </c:pt>
                <c:pt idx="22600">
                  <c:v>02.01.1936</c:v>
                </c:pt>
                <c:pt idx="22601">
                  <c:v>01.01.1936</c:v>
                </c:pt>
                <c:pt idx="22602">
                  <c:v>31.12.1935</c:v>
                </c:pt>
                <c:pt idx="22603">
                  <c:v>30.12.1935</c:v>
                </c:pt>
                <c:pt idx="22604">
                  <c:v>27.12.1935</c:v>
                </c:pt>
                <c:pt idx="22605">
                  <c:v>26.12.1935</c:v>
                </c:pt>
                <c:pt idx="22606">
                  <c:v>25.12.1935</c:v>
                </c:pt>
                <c:pt idx="22607">
                  <c:v>24.12.1935</c:v>
                </c:pt>
                <c:pt idx="22608">
                  <c:v>23.12.1935</c:v>
                </c:pt>
                <c:pt idx="22609">
                  <c:v>20.12.1935</c:v>
                </c:pt>
                <c:pt idx="22610">
                  <c:v>19.12.1935</c:v>
                </c:pt>
                <c:pt idx="22611">
                  <c:v>18.12.1935</c:v>
                </c:pt>
                <c:pt idx="22612">
                  <c:v>17.12.1935</c:v>
                </c:pt>
                <c:pt idx="22613">
                  <c:v>16.12.1935</c:v>
                </c:pt>
                <c:pt idx="22614">
                  <c:v>13.12.1935</c:v>
                </c:pt>
                <c:pt idx="22615">
                  <c:v>12.12.1935</c:v>
                </c:pt>
                <c:pt idx="22616">
                  <c:v>11.12.1935</c:v>
                </c:pt>
                <c:pt idx="22617">
                  <c:v>10.12.1935</c:v>
                </c:pt>
                <c:pt idx="22618">
                  <c:v>09.12.1935</c:v>
                </c:pt>
                <c:pt idx="22619">
                  <c:v>06.12.1935</c:v>
                </c:pt>
                <c:pt idx="22620">
                  <c:v>05.12.1935</c:v>
                </c:pt>
                <c:pt idx="22621">
                  <c:v>04.12.1935</c:v>
                </c:pt>
                <c:pt idx="22622">
                  <c:v>03.12.1935</c:v>
                </c:pt>
                <c:pt idx="22623">
                  <c:v>02.12.1935</c:v>
                </c:pt>
                <c:pt idx="22624">
                  <c:v>29.11.1935</c:v>
                </c:pt>
                <c:pt idx="22625">
                  <c:v>28.11.1935</c:v>
                </c:pt>
                <c:pt idx="22626">
                  <c:v>27.11.1935</c:v>
                </c:pt>
                <c:pt idx="22627">
                  <c:v>26.11.1935</c:v>
                </c:pt>
                <c:pt idx="22628">
                  <c:v>25.11.1935</c:v>
                </c:pt>
                <c:pt idx="22629">
                  <c:v>22.11.1935</c:v>
                </c:pt>
                <c:pt idx="22630">
                  <c:v>21.11.1935</c:v>
                </c:pt>
                <c:pt idx="22631">
                  <c:v>20.11.1935</c:v>
                </c:pt>
                <c:pt idx="22632">
                  <c:v>19.11.1935</c:v>
                </c:pt>
                <c:pt idx="22633">
                  <c:v>18.11.1935</c:v>
                </c:pt>
                <c:pt idx="22634">
                  <c:v>15.11.1935</c:v>
                </c:pt>
                <c:pt idx="22635">
                  <c:v>14.11.1935</c:v>
                </c:pt>
                <c:pt idx="22636">
                  <c:v>13.11.1935</c:v>
                </c:pt>
                <c:pt idx="22637">
                  <c:v>12.11.1935</c:v>
                </c:pt>
                <c:pt idx="22638">
                  <c:v>11.11.1935</c:v>
                </c:pt>
                <c:pt idx="22639">
                  <c:v>08.11.1935</c:v>
                </c:pt>
                <c:pt idx="22640">
                  <c:v>07.11.1935</c:v>
                </c:pt>
                <c:pt idx="22641">
                  <c:v>06.11.1935</c:v>
                </c:pt>
                <c:pt idx="22642">
                  <c:v>05.11.1935</c:v>
                </c:pt>
                <c:pt idx="22643">
                  <c:v>04.11.1935</c:v>
                </c:pt>
                <c:pt idx="22644">
                  <c:v>01.11.1935</c:v>
                </c:pt>
                <c:pt idx="22645">
                  <c:v>31.10.1935</c:v>
                </c:pt>
                <c:pt idx="22646">
                  <c:v>30.10.1935</c:v>
                </c:pt>
                <c:pt idx="22647">
                  <c:v>29.10.1935</c:v>
                </c:pt>
                <c:pt idx="22648">
                  <c:v>28.10.1935</c:v>
                </c:pt>
                <c:pt idx="22649">
                  <c:v>25.10.1935</c:v>
                </c:pt>
                <c:pt idx="22650">
                  <c:v>24.10.1935</c:v>
                </c:pt>
                <c:pt idx="22651">
                  <c:v>23.10.1935</c:v>
                </c:pt>
                <c:pt idx="22652">
                  <c:v>22.10.1935</c:v>
                </c:pt>
                <c:pt idx="22653">
                  <c:v>21.10.1935</c:v>
                </c:pt>
                <c:pt idx="22654">
                  <c:v>18.10.1935</c:v>
                </c:pt>
                <c:pt idx="22655">
                  <c:v>17.10.1935</c:v>
                </c:pt>
                <c:pt idx="22656">
                  <c:v>16.10.1935</c:v>
                </c:pt>
                <c:pt idx="22657">
                  <c:v>15.10.1935</c:v>
                </c:pt>
                <c:pt idx="22658">
                  <c:v>14.10.1935</c:v>
                </c:pt>
                <c:pt idx="22659">
                  <c:v>11.10.1935</c:v>
                </c:pt>
                <c:pt idx="22660">
                  <c:v>10.10.1935</c:v>
                </c:pt>
                <c:pt idx="22661">
                  <c:v>09.10.1935</c:v>
                </c:pt>
                <c:pt idx="22662">
                  <c:v>08.10.1935</c:v>
                </c:pt>
                <c:pt idx="22663">
                  <c:v>07.10.1935</c:v>
                </c:pt>
                <c:pt idx="22664">
                  <c:v>04.10.1935</c:v>
                </c:pt>
                <c:pt idx="22665">
                  <c:v>03.10.1935</c:v>
                </c:pt>
                <c:pt idx="22666">
                  <c:v>02.10.1935</c:v>
                </c:pt>
                <c:pt idx="22667">
                  <c:v>01.10.1935</c:v>
                </c:pt>
                <c:pt idx="22668">
                  <c:v>30.09.1935</c:v>
                </c:pt>
                <c:pt idx="22669">
                  <c:v>27.09.1935</c:v>
                </c:pt>
                <c:pt idx="22670">
                  <c:v>26.09.1935</c:v>
                </c:pt>
                <c:pt idx="22671">
                  <c:v>25.09.1935</c:v>
                </c:pt>
                <c:pt idx="22672">
                  <c:v>24.09.1935</c:v>
                </c:pt>
                <c:pt idx="22673">
                  <c:v>23.09.1935</c:v>
                </c:pt>
                <c:pt idx="22674">
                  <c:v>20.09.1935</c:v>
                </c:pt>
                <c:pt idx="22675">
                  <c:v>19.09.1935</c:v>
                </c:pt>
                <c:pt idx="22676">
                  <c:v>18.09.1935</c:v>
                </c:pt>
                <c:pt idx="22677">
                  <c:v>17.09.1935</c:v>
                </c:pt>
                <c:pt idx="22678">
                  <c:v>16.09.1935</c:v>
                </c:pt>
                <c:pt idx="22679">
                  <c:v>13.09.1935</c:v>
                </c:pt>
                <c:pt idx="22680">
                  <c:v>12.09.1935</c:v>
                </c:pt>
                <c:pt idx="22681">
                  <c:v>11.09.1935</c:v>
                </c:pt>
                <c:pt idx="22682">
                  <c:v>10.09.1935</c:v>
                </c:pt>
                <c:pt idx="22683">
                  <c:v>09.09.1935</c:v>
                </c:pt>
                <c:pt idx="22684">
                  <c:v>06.09.1935</c:v>
                </c:pt>
                <c:pt idx="22685">
                  <c:v>05.09.1935</c:v>
                </c:pt>
                <c:pt idx="22686">
                  <c:v>04.09.1935</c:v>
                </c:pt>
                <c:pt idx="22687">
                  <c:v>03.09.1935</c:v>
                </c:pt>
                <c:pt idx="22688">
                  <c:v>02.09.1935</c:v>
                </c:pt>
                <c:pt idx="22689">
                  <c:v>30.08.1935</c:v>
                </c:pt>
                <c:pt idx="22690">
                  <c:v>29.08.1935</c:v>
                </c:pt>
                <c:pt idx="22691">
                  <c:v>28.08.1935</c:v>
                </c:pt>
                <c:pt idx="22692">
                  <c:v>27.08.1935</c:v>
                </c:pt>
                <c:pt idx="22693">
                  <c:v>26.08.1935</c:v>
                </c:pt>
                <c:pt idx="22694">
                  <c:v>23.08.1935</c:v>
                </c:pt>
                <c:pt idx="22695">
                  <c:v>22.08.1935</c:v>
                </c:pt>
                <c:pt idx="22696">
                  <c:v>21.08.1935</c:v>
                </c:pt>
                <c:pt idx="22697">
                  <c:v>20.08.1935</c:v>
                </c:pt>
                <c:pt idx="22698">
                  <c:v>19.08.1935</c:v>
                </c:pt>
                <c:pt idx="22699">
                  <c:v>16.08.1935</c:v>
                </c:pt>
                <c:pt idx="22700">
                  <c:v>15.08.1935</c:v>
                </c:pt>
                <c:pt idx="22701">
                  <c:v>14.08.1935</c:v>
                </c:pt>
                <c:pt idx="22702">
                  <c:v>13.08.1935</c:v>
                </c:pt>
                <c:pt idx="22703">
                  <c:v>12.08.1935</c:v>
                </c:pt>
                <c:pt idx="22704">
                  <c:v>09.08.1935</c:v>
                </c:pt>
                <c:pt idx="22705">
                  <c:v>08.08.1935</c:v>
                </c:pt>
                <c:pt idx="22706">
                  <c:v>07.08.1935</c:v>
                </c:pt>
                <c:pt idx="22707">
                  <c:v>06.08.1935</c:v>
                </c:pt>
                <c:pt idx="22708">
                  <c:v>05.08.1935</c:v>
                </c:pt>
                <c:pt idx="22709">
                  <c:v>02.08.1935</c:v>
                </c:pt>
                <c:pt idx="22710">
                  <c:v>01.08.1935</c:v>
                </c:pt>
                <c:pt idx="22711">
                  <c:v>31.07.1935</c:v>
                </c:pt>
                <c:pt idx="22712">
                  <c:v>30.07.1935</c:v>
                </c:pt>
                <c:pt idx="22713">
                  <c:v>29.07.1935</c:v>
                </c:pt>
                <c:pt idx="22714">
                  <c:v>26.07.1935</c:v>
                </c:pt>
                <c:pt idx="22715">
                  <c:v>25.07.1935</c:v>
                </c:pt>
                <c:pt idx="22716">
                  <c:v>24.07.1935</c:v>
                </c:pt>
                <c:pt idx="22717">
                  <c:v>23.07.1935</c:v>
                </c:pt>
                <c:pt idx="22718">
                  <c:v>22.07.1935</c:v>
                </c:pt>
                <c:pt idx="22719">
                  <c:v>19.07.1935</c:v>
                </c:pt>
                <c:pt idx="22720">
                  <c:v>18.07.1935</c:v>
                </c:pt>
                <c:pt idx="22721">
                  <c:v>17.07.1935</c:v>
                </c:pt>
                <c:pt idx="22722">
                  <c:v>16.07.1935</c:v>
                </c:pt>
                <c:pt idx="22723">
                  <c:v>15.07.1935</c:v>
                </c:pt>
                <c:pt idx="22724">
                  <c:v>12.07.1935</c:v>
                </c:pt>
                <c:pt idx="22725">
                  <c:v>11.07.1935</c:v>
                </c:pt>
                <c:pt idx="22726">
                  <c:v>10.07.1935</c:v>
                </c:pt>
                <c:pt idx="22727">
                  <c:v>09.07.1935</c:v>
                </c:pt>
                <c:pt idx="22728">
                  <c:v>08.07.1935</c:v>
                </c:pt>
                <c:pt idx="22729">
                  <c:v>05.07.1935</c:v>
                </c:pt>
                <c:pt idx="22730">
                  <c:v>04.07.1935</c:v>
                </c:pt>
                <c:pt idx="22731">
                  <c:v>03.07.1935</c:v>
                </c:pt>
                <c:pt idx="22732">
                  <c:v>02.07.1935</c:v>
                </c:pt>
                <c:pt idx="22733">
                  <c:v>01.07.1935</c:v>
                </c:pt>
                <c:pt idx="22734">
                  <c:v>28.06.1935</c:v>
                </c:pt>
                <c:pt idx="22735">
                  <c:v>27.06.1935</c:v>
                </c:pt>
                <c:pt idx="22736">
                  <c:v>26.06.1935</c:v>
                </c:pt>
                <c:pt idx="22737">
                  <c:v>25.06.1935</c:v>
                </c:pt>
                <c:pt idx="22738">
                  <c:v>24.06.1935</c:v>
                </c:pt>
                <c:pt idx="22739">
                  <c:v>21.06.1935</c:v>
                </c:pt>
                <c:pt idx="22740">
                  <c:v>20.06.1935</c:v>
                </c:pt>
                <c:pt idx="22741">
                  <c:v>19.06.1935</c:v>
                </c:pt>
                <c:pt idx="22742">
                  <c:v>18.06.1935</c:v>
                </c:pt>
                <c:pt idx="22743">
                  <c:v>17.06.1935</c:v>
                </c:pt>
                <c:pt idx="22744">
                  <c:v>14.06.1935</c:v>
                </c:pt>
                <c:pt idx="22745">
                  <c:v>13.06.1935</c:v>
                </c:pt>
                <c:pt idx="22746">
                  <c:v>12.06.1935</c:v>
                </c:pt>
                <c:pt idx="22747">
                  <c:v>11.06.1935</c:v>
                </c:pt>
                <c:pt idx="22748">
                  <c:v>10.06.1935</c:v>
                </c:pt>
                <c:pt idx="22749">
                  <c:v>07.06.1935</c:v>
                </c:pt>
                <c:pt idx="22750">
                  <c:v>06.06.1935</c:v>
                </c:pt>
                <c:pt idx="22751">
                  <c:v>05.06.1935</c:v>
                </c:pt>
                <c:pt idx="22752">
                  <c:v>04.06.1935</c:v>
                </c:pt>
                <c:pt idx="22753">
                  <c:v>03.06.1935</c:v>
                </c:pt>
                <c:pt idx="22754">
                  <c:v>31.05.1935</c:v>
                </c:pt>
                <c:pt idx="22755">
                  <c:v>30.05.1935</c:v>
                </c:pt>
                <c:pt idx="22756">
                  <c:v>29.05.1935</c:v>
                </c:pt>
                <c:pt idx="22757">
                  <c:v>28.05.1935</c:v>
                </c:pt>
                <c:pt idx="22758">
                  <c:v>27.05.1935</c:v>
                </c:pt>
                <c:pt idx="22759">
                  <c:v>24.05.1935</c:v>
                </c:pt>
                <c:pt idx="22760">
                  <c:v>23.05.1935</c:v>
                </c:pt>
                <c:pt idx="22761">
                  <c:v>22.05.1935</c:v>
                </c:pt>
                <c:pt idx="22762">
                  <c:v>21.05.1935</c:v>
                </c:pt>
                <c:pt idx="22763">
                  <c:v>20.05.1935</c:v>
                </c:pt>
                <c:pt idx="22764">
                  <c:v>17.05.1935</c:v>
                </c:pt>
                <c:pt idx="22765">
                  <c:v>16.05.1935</c:v>
                </c:pt>
                <c:pt idx="22766">
                  <c:v>15.05.1935</c:v>
                </c:pt>
                <c:pt idx="22767">
                  <c:v>14.05.1935</c:v>
                </c:pt>
                <c:pt idx="22768">
                  <c:v>13.05.1935</c:v>
                </c:pt>
                <c:pt idx="22769">
                  <c:v>10.05.1935</c:v>
                </c:pt>
                <c:pt idx="22770">
                  <c:v>09.05.1935</c:v>
                </c:pt>
                <c:pt idx="22771">
                  <c:v>08.05.1935</c:v>
                </c:pt>
                <c:pt idx="22772">
                  <c:v>07.05.1935</c:v>
                </c:pt>
                <c:pt idx="22773">
                  <c:v>06.05.1935</c:v>
                </c:pt>
                <c:pt idx="22774">
                  <c:v>03.05.1935</c:v>
                </c:pt>
                <c:pt idx="22775">
                  <c:v>02.05.1935</c:v>
                </c:pt>
                <c:pt idx="22776">
                  <c:v>01.05.1935</c:v>
                </c:pt>
                <c:pt idx="22777">
                  <c:v>30.04.1935</c:v>
                </c:pt>
                <c:pt idx="22778">
                  <c:v>29.04.1935</c:v>
                </c:pt>
                <c:pt idx="22779">
                  <c:v>26.04.1935</c:v>
                </c:pt>
                <c:pt idx="22780">
                  <c:v>25.04.1935</c:v>
                </c:pt>
                <c:pt idx="22781">
                  <c:v>24.04.1935</c:v>
                </c:pt>
                <c:pt idx="22782">
                  <c:v>23.04.1935</c:v>
                </c:pt>
                <c:pt idx="22783">
                  <c:v>22.04.1935</c:v>
                </c:pt>
                <c:pt idx="22784">
                  <c:v>19.04.1935</c:v>
                </c:pt>
                <c:pt idx="22785">
                  <c:v>18.04.1935</c:v>
                </c:pt>
                <c:pt idx="22786">
                  <c:v>17.04.1935</c:v>
                </c:pt>
                <c:pt idx="22787">
                  <c:v>16.04.1935</c:v>
                </c:pt>
                <c:pt idx="22788">
                  <c:v>15.04.1935</c:v>
                </c:pt>
                <c:pt idx="22789">
                  <c:v>12.04.1935</c:v>
                </c:pt>
                <c:pt idx="22790">
                  <c:v>11.04.1935</c:v>
                </c:pt>
                <c:pt idx="22791">
                  <c:v>10.04.1935</c:v>
                </c:pt>
                <c:pt idx="22792">
                  <c:v>09.04.1935</c:v>
                </c:pt>
                <c:pt idx="22793">
                  <c:v>08.04.1935</c:v>
                </c:pt>
                <c:pt idx="22794">
                  <c:v>05.04.1935</c:v>
                </c:pt>
                <c:pt idx="22795">
                  <c:v>04.04.1935</c:v>
                </c:pt>
                <c:pt idx="22796">
                  <c:v>03.04.1935</c:v>
                </c:pt>
                <c:pt idx="22797">
                  <c:v>02.04.1935</c:v>
                </c:pt>
                <c:pt idx="22798">
                  <c:v>01.04.1935</c:v>
                </c:pt>
                <c:pt idx="22799">
                  <c:v>29.03.1935</c:v>
                </c:pt>
                <c:pt idx="22800">
                  <c:v>28.03.1935</c:v>
                </c:pt>
                <c:pt idx="22801">
                  <c:v>27.03.1935</c:v>
                </c:pt>
                <c:pt idx="22802">
                  <c:v>26.03.1935</c:v>
                </c:pt>
                <c:pt idx="22803">
                  <c:v>25.03.1935</c:v>
                </c:pt>
                <c:pt idx="22804">
                  <c:v>22.03.1935</c:v>
                </c:pt>
                <c:pt idx="22805">
                  <c:v>21.03.1935</c:v>
                </c:pt>
                <c:pt idx="22806">
                  <c:v>20.03.1935</c:v>
                </c:pt>
                <c:pt idx="22807">
                  <c:v>19.03.1935</c:v>
                </c:pt>
                <c:pt idx="22808">
                  <c:v>18.03.1935</c:v>
                </c:pt>
                <c:pt idx="22809">
                  <c:v>15.03.1935</c:v>
                </c:pt>
                <c:pt idx="22810">
                  <c:v>14.03.1935</c:v>
                </c:pt>
                <c:pt idx="22811">
                  <c:v>13.03.1935</c:v>
                </c:pt>
                <c:pt idx="22812">
                  <c:v>12.03.1935</c:v>
                </c:pt>
                <c:pt idx="22813">
                  <c:v>11.03.1935</c:v>
                </c:pt>
                <c:pt idx="22814">
                  <c:v>08.03.1935</c:v>
                </c:pt>
                <c:pt idx="22815">
                  <c:v>07.03.1935</c:v>
                </c:pt>
                <c:pt idx="22816">
                  <c:v>06.03.1935</c:v>
                </c:pt>
                <c:pt idx="22817">
                  <c:v>05.03.1935</c:v>
                </c:pt>
                <c:pt idx="22818">
                  <c:v>04.03.1935</c:v>
                </c:pt>
                <c:pt idx="22819">
                  <c:v>01.03.1935</c:v>
                </c:pt>
                <c:pt idx="22820">
                  <c:v>28.02.1935</c:v>
                </c:pt>
                <c:pt idx="22821">
                  <c:v>27.02.1935</c:v>
                </c:pt>
                <c:pt idx="22822">
                  <c:v>26.02.1935</c:v>
                </c:pt>
                <c:pt idx="22823">
                  <c:v>25.02.1935</c:v>
                </c:pt>
                <c:pt idx="22824">
                  <c:v>22.02.1935</c:v>
                </c:pt>
                <c:pt idx="22825">
                  <c:v>21.02.1935</c:v>
                </c:pt>
                <c:pt idx="22826">
                  <c:v>20.02.1935</c:v>
                </c:pt>
                <c:pt idx="22827">
                  <c:v>19.02.1935</c:v>
                </c:pt>
                <c:pt idx="22828">
                  <c:v>18.02.1935</c:v>
                </c:pt>
                <c:pt idx="22829">
                  <c:v>15.02.1935</c:v>
                </c:pt>
                <c:pt idx="22830">
                  <c:v>14.02.1935</c:v>
                </c:pt>
                <c:pt idx="22831">
                  <c:v>13.02.1935</c:v>
                </c:pt>
                <c:pt idx="22832">
                  <c:v>12.02.1935</c:v>
                </c:pt>
                <c:pt idx="22833">
                  <c:v>11.02.1935</c:v>
                </c:pt>
                <c:pt idx="22834">
                  <c:v>08.02.1935</c:v>
                </c:pt>
                <c:pt idx="22835">
                  <c:v>07.02.1935</c:v>
                </c:pt>
                <c:pt idx="22836">
                  <c:v>06.02.1935</c:v>
                </c:pt>
                <c:pt idx="22837">
                  <c:v>05.02.1935</c:v>
                </c:pt>
                <c:pt idx="22838">
                  <c:v>04.02.1935</c:v>
                </c:pt>
                <c:pt idx="22839">
                  <c:v>01.02.1935</c:v>
                </c:pt>
                <c:pt idx="22840">
                  <c:v>31.01.1935</c:v>
                </c:pt>
                <c:pt idx="22841">
                  <c:v>30.01.1935</c:v>
                </c:pt>
                <c:pt idx="22842">
                  <c:v>29.01.1935</c:v>
                </c:pt>
                <c:pt idx="22843">
                  <c:v>28.01.1935</c:v>
                </c:pt>
                <c:pt idx="22844">
                  <c:v>25.01.1935</c:v>
                </c:pt>
                <c:pt idx="22845">
                  <c:v>24.01.1935</c:v>
                </c:pt>
                <c:pt idx="22846">
                  <c:v>23.01.1935</c:v>
                </c:pt>
                <c:pt idx="22847">
                  <c:v>22.01.1935</c:v>
                </c:pt>
                <c:pt idx="22848">
                  <c:v>21.01.1935</c:v>
                </c:pt>
                <c:pt idx="22849">
                  <c:v>18.01.1935</c:v>
                </c:pt>
                <c:pt idx="22850">
                  <c:v>17.01.1935</c:v>
                </c:pt>
                <c:pt idx="22851">
                  <c:v>16.01.1935</c:v>
                </c:pt>
                <c:pt idx="22852">
                  <c:v>15.01.1935</c:v>
                </c:pt>
                <c:pt idx="22853">
                  <c:v>14.01.1935</c:v>
                </c:pt>
                <c:pt idx="22854">
                  <c:v>11.01.1935</c:v>
                </c:pt>
                <c:pt idx="22855">
                  <c:v>10.01.1935</c:v>
                </c:pt>
                <c:pt idx="22856">
                  <c:v>09.01.1935</c:v>
                </c:pt>
                <c:pt idx="22857">
                  <c:v>08.01.1935</c:v>
                </c:pt>
                <c:pt idx="22858">
                  <c:v>07.01.1935</c:v>
                </c:pt>
                <c:pt idx="22859">
                  <c:v>04.01.1935</c:v>
                </c:pt>
                <c:pt idx="22860">
                  <c:v>03.01.1935</c:v>
                </c:pt>
                <c:pt idx="22861">
                  <c:v>02.01.1935</c:v>
                </c:pt>
                <c:pt idx="22862">
                  <c:v>01.01.1935</c:v>
                </c:pt>
                <c:pt idx="22863">
                  <c:v>31.12.1934</c:v>
                </c:pt>
                <c:pt idx="22864">
                  <c:v>28.12.1934</c:v>
                </c:pt>
                <c:pt idx="22865">
                  <c:v>27.12.1934</c:v>
                </c:pt>
                <c:pt idx="22866">
                  <c:v>26.12.1934</c:v>
                </c:pt>
                <c:pt idx="22867">
                  <c:v>25.12.1934</c:v>
                </c:pt>
                <c:pt idx="22868">
                  <c:v>24.12.1934</c:v>
                </c:pt>
                <c:pt idx="22869">
                  <c:v>21.12.1934</c:v>
                </c:pt>
                <c:pt idx="22870">
                  <c:v>20.12.1934</c:v>
                </c:pt>
                <c:pt idx="22871">
                  <c:v>19.12.1934</c:v>
                </c:pt>
                <c:pt idx="22872">
                  <c:v>18.12.1934</c:v>
                </c:pt>
                <c:pt idx="22873">
                  <c:v>17.12.1934</c:v>
                </c:pt>
                <c:pt idx="22874">
                  <c:v>14.12.1934</c:v>
                </c:pt>
                <c:pt idx="22875">
                  <c:v>13.12.1934</c:v>
                </c:pt>
                <c:pt idx="22876">
                  <c:v>12.12.1934</c:v>
                </c:pt>
                <c:pt idx="22877">
                  <c:v>11.12.1934</c:v>
                </c:pt>
                <c:pt idx="22878">
                  <c:v>10.12.1934</c:v>
                </c:pt>
                <c:pt idx="22879">
                  <c:v>07.12.1934</c:v>
                </c:pt>
                <c:pt idx="22880">
                  <c:v>06.12.1934</c:v>
                </c:pt>
                <c:pt idx="22881">
                  <c:v>05.12.1934</c:v>
                </c:pt>
                <c:pt idx="22882">
                  <c:v>04.12.1934</c:v>
                </c:pt>
                <c:pt idx="22883">
                  <c:v>03.12.1934</c:v>
                </c:pt>
                <c:pt idx="22884">
                  <c:v>30.11.1934</c:v>
                </c:pt>
                <c:pt idx="22885">
                  <c:v>29.11.1934</c:v>
                </c:pt>
                <c:pt idx="22886">
                  <c:v>28.11.1934</c:v>
                </c:pt>
                <c:pt idx="22887">
                  <c:v>27.11.1934</c:v>
                </c:pt>
                <c:pt idx="22888">
                  <c:v>26.11.1934</c:v>
                </c:pt>
                <c:pt idx="22889">
                  <c:v>23.11.1934</c:v>
                </c:pt>
                <c:pt idx="22890">
                  <c:v>22.11.1934</c:v>
                </c:pt>
                <c:pt idx="22891">
                  <c:v>21.11.1934</c:v>
                </c:pt>
                <c:pt idx="22892">
                  <c:v>20.11.1934</c:v>
                </c:pt>
                <c:pt idx="22893">
                  <c:v>19.11.1934</c:v>
                </c:pt>
                <c:pt idx="22894">
                  <c:v>16.11.1934</c:v>
                </c:pt>
                <c:pt idx="22895">
                  <c:v>15.11.1934</c:v>
                </c:pt>
                <c:pt idx="22896">
                  <c:v>14.11.1934</c:v>
                </c:pt>
                <c:pt idx="22897">
                  <c:v>13.11.1934</c:v>
                </c:pt>
                <c:pt idx="22898">
                  <c:v>12.11.1934</c:v>
                </c:pt>
                <c:pt idx="22899">
                  <c:v>09.11.1934</c:v>
                </c:pt>
                <c:pt idx="22900">
                  <c:v>08.11.1934</c:v>
                </c:pt>
                <c:pt idx="22901">
                  <c:v>07.11.1934</c:v>
                </c:pt>
                <c:pt idx="22902">
                  <c:v>06.11.1934</c:v>
                </c:pt>
                <c:pt idx="22903">
                  <c:v>05.11.1934</c:v>
                </c:pt>
                <c:pt idx="22904">
                  <c:v>02.11.1934</c:v>
                </c:pt>
                <c:pt idx="22905">
                  <c:v>01.11.1934</c:v>
                </c:pt>
                <c:pt idx="22906">
                  <c:v>31.10.1934</c:v>
                </c:pt>
                <c:pt idx="22907">
                  <c:v>30.10.1934</c:v>
                </c:pt>
                <c:pt idx="22908">
                  <c:v>29.10.1934</c:v>
                </c:pt>
                <c:pt idx="22909">
                  <c:v>26.10.1934</c:v>
                </c:pt>
                <c:pt idx="22910">
                  <c:v>25.10.1934</c:v>
                </c:pt>
                <c:pt idx="22911">
                  <c:v>24.10.1934</c:v>
                </c:pt>
                <c:pt idx="22912">
                  <c:v>23.10.1934</c:v>
                </c:pt>
                <c:pt idx="22913">
                  <c:v>22.10.1934</c:v>
                </c:pt>
                <c:pt idx="22914">
                  <c:v>19.10.1934</c:v>
                </c:pt>
                <c:pt idx="22915">
                  <c:v>18.10.1934</c:v>
                </c:pt>
                <c:pt idx="22916">
                  <c:v>17.10.1934</c:v>
                </c:pt>
                <c:pt idx="22917">
                  <c:v>16.10.1934</c:v>
                </c:pt>
                <c:pt idx="22918">
                  <c:v>15.10.1934</c:v>
                </c:pt>
                <c:pt idx="22919">
                  <c:v>12.10.1934</c:v>
                </c:pt>
                <c:pt idx="22920">
                  <c:v>11.10.1934</c:v>
                </c:pt>
                <c:pt idx="22921">
                  <c:v>10.10.1934</c:v>
                </c:pt>
                <c:pt idx="22922">
                  <c:v>09.10.1934</c:v>
                </c:pt>
                <c:pt idx="22923">
                  <c:v>08.10.1934</c:v>
                </c:pt>
                <c:pt idx="22924">
                  <c:v>05.10.1934</c:v>
                </c:pt>
                <c:pt idx="22925">
                  <c:v>04.10.1934</c:v>
                </c:pt>
                <c:pt idx="22926">
                  <c:v>03.10.1934</c:v>
                </c:pt>
                <c:pt idx="22927">
                  <c:v>02.10.1934</c:v>
                </c:pt>
                <c:pt idx="22928">
                  <c:v>01.10.1934</c:v>
                </c:pt>
                <c:pt idx="22929">
                  <c:v>28.09.1934</c:v>
                </c:pt>
                <c:pt idx="22930">
                  <c:v>27.09.1934</c:v>
                </c:pt>
                <c:pt idx="22931">
                  <c:v>26.09.1934</c:v>
                </c:pt>
                <c:pt idx="22932">
                  <c:v>25.09.1934</c:v>
                </c:pt>
                <c:pt idx="22933">
                  <c:v>24.09.1934</c:v>
                </c:pt>
                <c:pt idx="22934">
                  <c:v>21.09.1934</c:v>
                </c:pt>
                <c:pt idx="22935">
                  <c:v>20.09.1934</c:v>
                </c:pt>
                <c:pt idx="22936">
                  <c:v>19.09.1934</c:v>
                </c:pt>
                <c:pt idx="22937">
                  <c:v>18.09.1934</c:v>
                </c:pt>
                <c:pt idx="22938">
                  <c:v>17.09.1934</c:v>
                </c:pt>
                <c:pt idx="22939">
                  <c:v>14.09.1934</c:v>
                </c:pt>
                <c:pt idx="22940">
                  <c:v>13.09.1934</c:v>
                </c:pt>
                <c:pt idx="22941">
                  <c:v>12.09.1934</c:v>
                </c:pt>
                <c:pt idx="22942">
                  <c:v>11.09.1934</c:v>
                </c:pt>
                <c:pt idx="22943">
                  <c:v>10.09.1934</c:v>
                </c:pt>
                <c:pt idx="22944">
                  <c:v>07.09.1934</c:v>
                </c:pt>
                <c:pt idx="22945">
                  <c:v>06.09.1934</c:v>
                </c:pt>
                <c:pt idx="22946">
                  <c:v>05.09.1934</c:v>
                </c:pt>
                <c:pt idx="22947">
                  <c:v>04.09.1934</c:v>
                </c:pt>
                <c:pt idx="22948">
                  <c:v>03.09.1934</c:v>
                </c:pt>
                <c:pt idx="22949">
                  <c:v>31.08.1934</c:v>
                </c:pt>
                <c:pt idx="22950">
                  <c:v>30.08.1934</c:v>
                </c:pt>
                <c:pt idx="22951">
                  <c:v>29.08.1934</c:v>
                </c:pt>
                <c:pt idx="22952">
                  <c:v>28.08.1934</c:v>
                </c:pt>
                <c:pt idx="22953">
                  <c:v>27.08.1934</c:v>
                </c:pt>
                <c:pt idx="22954">
                  <c:v>24.08.1934</c:v>
                </c:pt>
                <c:pt idx="22955">
                  <c:v>23.08.1934</c:v>
                </c:pt>
                <c:pt idx="22956">
                  <c:v>22.08.1934</c:v>
                </c:pt>
                <c:pt idx="22957">
                  <c:v>21.08.1934</c:v>
                </c:pt>
                <c:pt idx="22958">
                  <c:v>20.08.1934</c:v>
                </c:pt>
                <c:pt idx="22959">
                  <c:v>17.08.1934</c:v>
                </c:pt>
                <c:pt idx="22960">
                  <c:v>16.08.1934</c:v>
                </c:pt>
                <c:pt idx="22961">
                  <c:v>15.08.1934</c:v>
                </c:pt>
                <c:pt idx="22962">
                  <c:v>14.08.1934</c:v>
                </c:pt>
                <c:pt idx="22963">
                  <c:v>13.08.1934</c:v>
                </c:pt>
                <c:pt idx="22964">
                  <c:v>10.08.1934</c:v>
                </c:pt>
                <c:pt idx="22965">
                  <c:v>09.08.1934</c:v>
                </c:pt>
                <c:pt idx="22966">
                  <c:v>08.08.1934</c:v>
                </c:pt>
                <c:pt idx="22967">
                  <c:v>07.08.1934</c:v>
                </c:pt>
                <c:pt idx="22968">
                  <c:v>06.08.1934</c:v>
                </c:pt>
                <c:pt idx="22969">
                  <c:v>03.08.1934</c:v>
                </c:pt>
                <c:pt idx="22970">
                  <c:v>02.08.1934</c:v>
                </c:pt>
                <c:pt idx="22971">
                  <c:v>01.08.1934</c:v>
                </c:pt>
                <c:pt idx="22972">
                  <c:v>31.07.1934</c:v>
                </c:pt>
                <c:pt idx="22973">
                  <c:v>30.07.1934</c:v>
                </c:pt>
                <c:pt idx="22974">
                  <c:v>27.07.1934</c:v>
                </c:pt>
                <c:pt idx="22975">
                  <c:v>26.07.1934</c:v>
                </c:pt>
                <c:pt idx="22976">
                  <c:v>25.07.1934</c:v>
                </c:pt>
                <c:pt idx="22977">
                  <c:v>24.07.1934</c:v>
                </c:pt>
                <c:pt idx="22978">
                  <c:v>23.07.1934</c:v>
                </c:pt>
                <c:pt idx="22979">
                  <c:v>20.07.1934</c:v>
                </c:pt>
                <c:pt idx="22980">
                  <c:v>19.07.1934</c:v>
                </c:pt>
                <c:pt idx="22981">
                  <c:v>18.07.1934</c:v>
                </c:pt>
                <c:pt idx="22982">
                  <c:v>17.07.1934</c:v>
                </c:pt>
                <c:pt idx="22983">
                  <c:v>16.07.1934</c:v>
                </c:pt>
                <c:pt idx="22984">
                  <c:v>13.07.1934</c:v>
                </c:pt>
                <c:pt idx="22985">
                  <c:v>12.07.1934</c:v>
                </c:pt>
                <c:pt idx="22986">
                  <c:v>11.07.1934</c:v>
                </c:pt>
                <c:pt idx="22987">
                  <c:v>10.07.1934</c:v>
                </c:pt>
                <c:pt idx="22988">
                  <c:v>09.07.1934</c:v>
                </c:pt>
                <c:pt idx="22989">
                  <c:v>06.07.1934</c:v>
                </c:pt>
                <c:pt idx="22990">
                  <c:v>05.07.1934</c:v>
                </c:pt>
                <c:pt idx="22991">
                  <c:v>04.07.1934</c:v>
                </c:pt>
                <c:pt idx="22992">
                  <c:v>03.07.1934</c:v>
                </c:pt>
                <c:pt idx="22993">
                  <c:v>02.07.1934</c:v>
                </c:pt>
                <c:pt idx="22994">
                  <c:v>29.06.1934</c:v>
                </c:pt>
                <c:pt idx="22995">
                  <c:v>28.06.1934</c:v>
                </c:pt>
                <c:pt idx="22996">
                  <c:v>27.06.1934</c:v>
                </c:pt>
                <c:pt idx="22997">
                  <c:v>26.06.1934</c:v>
                </c:pt>
                <c:pt idx="22998">
                  <c:v>25.06.1934</c:v>
                </c:pt>
                <c:pt idx="22999">
                  <c:v>22.06.1934</c:v>
                </c:pt>
                <c:pt idx="23000">
                  <c:v>21.06.1934</c:v>
                </c:pt>
                <c:pt idx="23001">
                  <c:v>20.06.1934</c:v>
                </c:pt>
                <c:pt idx="23002">
                  <c:v>19.06.1934</c:v>
                </c:pt>
                <c:pt idx="23003">
                  <c:v>18.06.1934</c:v>
                </c:pt>
                <c:pt idx="23004">
                  <c:v>15.06.1934</c:v>
                </c:pt>
                <c:pt idx="23005">
                  <c:v>14.06.1934</c:v>
                </c:pt>
                <c:pt idx="23006">
                  <c:v>13.06.1934</c:v>
                </c:pt>
                <c:pt idx="23007">
                  <c:v>12.06.1934</c:v>
                </c:pt>
                <c:pt idx="23008">
                  <c:v>11.06.1934</c:v>
                </c:pt>
                <c:pt idx="23009">
                  <c:v>08.06.1934</c:v>
                </c:pt>
                <c:pt idx="23010">
                  <c:v>07.06.1934</c:v>
                </c:pt>
                <c:pt idx="23011">
                  <c:v>06.06.1934</c:v>
                </c:pt>
                <c:pt idx="23012">
                  <c:v>05.06.1934</c:v>
                </c:pt>
                <c:pt idx="23013">
                  <c:v>04.06.1934</c:v>
                </c:pt>
                <c:pt idx="23014">
                  <c:v>01.06.1934</c:v>
                </c:pt>
                <c:pt idx="23015">
                  <c:v>31.05.1934</c:v>
                </c:pt>
                <c:pt idx="23016">
                  <c:v>30.05.1934</c:v>
                </c:pt>
                <c:pt idx="23017">
                  <c:v>29.05.1934</c:v>
                </c:pt>
                <c:pt idx="23018">
                  <c:v>28.05.1934</c:v>
                </c:pt>
                <c:pt idx="23019">
                  <c:v>25.05.1934</c:v>
                </c:pt>
                <c:pt idx="23020">
                  <c:v>24.05.1934</c:v>
                </c:pt>
                <c:pt idx="23021">
                  <c:v>23.05.1934</c:v>
                </c:pt>
                <c:pt idx="23022">
                  <c:v>22.05.1934</c:v>
                </c:pt>
                <c:pt idx="23023">
                  <c:v>21.05.1934</c:v>
                </c:pt>
                <c:pt idx="23024">
                  <c:v>18.05.1934</c:v>
                </c:pt>
                <c:pt idx="23025">
                  <c:v>17.05.1934</c:v>
                </c:pt>
                <c:pt idx="23026">
                  <c:v>16.05.1934</c:v>
                </c:pt>
                <c:pt idx="23027">
                  <c:v>15.05.1934</c:v>
                </c:pt>
                <c:pt idx="23028">
                  <c:v>14.05.1934</c:v>
                </c:pt>
                <c:pt idx="23029">
                  <c:v>11.05.1934</c:v>
                </c:pt>
                <c:pt idx="23030">
                  <c:v>10.05.1934</c:v>
                </c:pt>
                <c:pt idx="23031">
                  <c:v>09.05.1934</c:v>
                </c:pt>
                <c:pt idx="23032">
                  <c:v>08.05.1934</c:v>
                </c:pt>
                <c:pt idx="23033">
                  <c:v>07.05.1934</c:v>
                </c:pt>
                <c:pt idx="23034">
                  <c:v>04.05.1934</c:v>
                </c:pt>
                <c:pt idx="23035">
                  <c:v>03.05.1934</c:v>
                </c:pt>
                <c:pt idx="23036">
                  <c:v>02.05.1934</c:v>
                </c:pt>
                <c:pt idx="23037">
                  <c:v>01.05.1934</c:v>
                </c:pt>
                <c:pt idx="23038">
                  <c:v>30.04.1934</c:v>
                </c:pt>
                <c:pt idx="23039">
                  <c:v>27.04.1934</c:v>
                </c:pt>
                <c:pt idx="23040">
                  <c:v>26.04.1934</c:v>
                </c:pt>
                <c:pt idx="23041">
                  <c:v>25.04.1934</c:v>
                </c:pt>
                <c:pt idx="23042">
                  <c:v>24.04.1934</c:v>
                </c:pt>
                <c:pt idx="23043">
                  <c:v>23.04.1934</c:v>
                </c:pt>
                <c:pt idx="23044">
                  <c:v>20.04.1934</c:v>
                </c:pt>
                <c:pt idx="23045">
                  <c:v>19.04.1934</c:v>
                </c:pt>
                <c:pt idx="23046">
                  <c:v>18.04.1934</c:v>
                </c:pt>
                <c:pt idx="23047">
                  <c:v>17.04.1934</c:v>
                </c:pt>
                <c:pt idx="23048">
                  <c:v>16.04.1934</c:v>
                </c:pt>
                <c:pt idx="23049">
                  <c:v>13.04.1934</c:v>
                </c:pt>
                <c:pt idx="23050">
                  <c:v>12.04.1934</c:v>
                </c:pt>
                <c:pt idx="23051">
                  <c:v>11.04.1934</c:v>
                </c:pt>
                <c:pt idx="23052">
                  <c:v>10.04.1934</c:v>
                </c:pt>
                <c:pt idx="23053">
                  <c:v>09.04.1934</c:v>
                </c:pt>
                <c:pt idx="23054">
                  <c:v>06.04.1934</c:v>
                </c:pt>
                <c:pt idx="23055">
                  <c:v>05.04.1934</c:v>
                </c:pt>
                <c:pt idx="23056">
                  <c:v>04.04.1934</c:v>
                </c:pt>
                <c:pt idx="23057">
                  <c:v>03.04.1934</c:v>
                </c:pt>
                <c:pt idx="23058">
                  <c:v>02.04.1934</c:v>
                </c:pt>
                <c:pt idx="23059">
                  <c:v>30.03.1934</c:v>
                </c:pt>
                <c:pt idx="23060">
                  <c:v>29.03.1934</c:v>
                </c:pt>
                <c:pt idx="23061">
                  <c:v>28.03.1934</c:v>
                </c:pt>
                <c:pt idx="23062">
                  <c:v>27.03.1934</c:v>
                </c:pt>
                <c:pt idx="23063">
                  <c:v>26.03.1934</c:v>
                </c:pt>
                <c:pt idx="23064">
                  <c:v>23.03.1934</c:v>
                </c:pt>
                <c:pt idx="23065">
                  <c:v>22.03.1934</c:v>
                </c:pt>
                <c:pt idx="23066">
                  <c:v>21.03.1934</c:v>
                </c:pt>
                <c:pt idx="23067">
                  <c:v>20.03.1934</c:v>
                </c:pt>
                <c:pt idx="23068">
                  <c:v>19.03.1934</c:v>
                </c:pt>
                <c:pt idx="23069">
                  <c:v>16.03.1934</c:v>
                </c:pt>
                <c:pt idx="23070">
                  <c:v>15.03.1934</c:v>
                </c:pt>
                <c:pt idx="23071">
                  <c:v>14.03.1934</c:v>
                </c:pt>
                <c:pt idx="23072">
                  <c:v>13.03.1934</c:v>
                </c:pt>
                <c:pt idx="23073">
                  <c:v>12.03.1934</c:v>
                </c:pt>
                <c:pt idx="23074">
                  <c:v>09.03.1934</c:v>
                </c:pt>
                <c:pt idx="23075">
                  <c:v>08.03.1934</c:v>
                </c:pt>
                <c:pt idx="23076">
                  <c:v>07.03.1934</c:v>
                </c:pt>
                <c:pt idx="23077">
                  <c:v>06.03.1934</c:v>
                </c:pt>
                <c:pt idx="23078">
                  <c:v>05.03.1934</c:v>
                </c:pt>
                <c:pt idx="23079">
                  <c:v>02.03.1934</c:v>
                </c:pt>
                <c:pt idx="23080">
                  <c:v>01.03.1934</c:v>
                </c:pt>
                <c:pt idx="23081">
                  <c:v>28.02.1934</c:v>
                </c:pt>
                <c:pt idx="23082">
                  <c:v>27.02.1934</c:v>
                </c:pt>
                <c:pt idx="23083">
                  <c:v>26.02.1934</c:v>
                </c:pt>
                <c:pt idx="23084">
                  <c:v>23.02.1934</c:v>
                </c:pt>
                <c:pt idx="23085">
                  <c:v>22.02.1934</c:v>
                </c:pt>
                <c:pt idx="23086">
                  <c:v>21.02.1934</c:v>
                </c:pt>
                <c:pt idx="23087">
                  <c:v>20.02.1934</c:v>
                </c:pt>
                <c:pt idx="23088">
                  <c:v>19.02.1934</c:v>
                </c:pt>
                <c:pt idx="23089">
                  <c:v>16.02.1934</c:v>
                </c:pt>
                <c:pt idx="23090">
                  <c:v>15.02.1934</c:v>
                </c:pt>
                <c:pt idx="23091">
                  <c:v>14.02.1934</c:v>
                </c:pt>
                <c:pt idx="23092">
                  <c:v>13.02.1934</c:v>
                </c:pt>
                <c:pt idx="23093">
                  <c:v>12.02.1934</c:v>
                </c:pt>
                <c:pt idx="23094">
                  <c:v>09.02.1934</c:v>
                </c:pt>
                <c:pt idx="23095">
                  <c:v>08.02.1934</c:v>
                </c:pt>
                <c:pt idx="23096">
                  <c:v>07.02.1934</c:v>
                </c:pt>
                <c:pt idx="23097">
                  <c:v>06.02.1934</c:v>
                </c:pt>
                <c:pt idx="23098">
                  <c:v>05.02.1934</c:v>
                </c:pt>
                <c:pt idx="23099">
                  <c:v>02.02.1934</c:v>
                </c:pt>
                <c:pt idx="23100">
                  <c:v>01.02.1934</c:v>
                </c:pt>
                <c:pt idx="23101">
                  <c:v>31.01.1934</c:v>
                </c:pt>
                <c:pt idx="23102">
                  <c:v>30.01.1934</c:v>
                </c:pt>
                <c:pt idx="23103">
                  <c:v>29.01.1934</c:v>
                </c:pt>
                <c:pt idx="23104">
                  <c:v>26.01.1934</c:v>
                </c:pt>
                <c:pt idx="23105">
                  <c:v>25.01.1934</c:v>
                </c:pt>
                <c:pt idx="23106">
                  <c:v>24.01.1934</c:v>
                </c:pt>
                <c:pt idx="23107">
                  <c:v>23.01.1934</c:v>
                </c:pt>
                <c:pt idx="23108">
                  <c:v>22.01.1934</c:v>
                </c:pt>
                <c:pt idx="23109">
                  <c:v>19.01.1934</c:v>
                </c:pt>
                <c:pt idx="23110">
                  <c:v>18.01.1934</c:v>
                </c:pt>
                <c:pt idx="23111">
                  <c:v>17.01.1934</c:v>
                </c:pt>
                <c:pt idx="23112">
                  <c:v>16.01.1934</c:v>
                </c:pt>
                <c:pt idx="23113">
                  <c:v>15.01.1934</c:v>
                </c:pt>
                <c:pt idx="23114">
                  <c:v>12.01.1934</c:v>
                </c:pt>
                <c:pt idx="23115">
                  <c:v>11.01.1934</c:v>
                </c:pt>
                <c:pt idx="23116">
                  <c:v>10.01.1934</c:v>
                </c:pt>
                <c:pt idx="23117">
                  <c:v>09.01.1934</c:v>
                </c:pt>
                <c:pt idx="23118">
                  <c:v>08.01.1934</c:v>
                </c:pt>
                <c:pt idx="23119">
                  <c:v>05.01.1934</c:v>
                </c:pt>
                <c:pt idx="23120">
                  <c:v>04.01.1934</c:v>
                </c:pt>
                <c:pt idx="23121">
                  <c:v>03.01.1934</c:v>
                </c:pt>
                <c:pt idx="23122">
                  <c:v>02.01.1934</c:v>
                </c:pt>
                <c:pt idx="23123">
                  <c:v>01.01.1934</c:v>
                </c:pt>
                <c:pt idx="23124">
                  <c:v>29.12.1933</c:v>
                </c:pt>
                <c:pt idx="23125">
                  <c:v>28.12.1933</c:v>
                </c:pt>
                <c:pt idx="23126">
                  <c:v>27.12.1933</c:v>
                </c:pt>
                <c:pt idx="23127">
                  <c:v>26.12.1933</c:v>
                </c:pt>
                <c:pt idx="23128">
                  <c:v>25.12.1933</c:v>
                </c:pt>
                <c:pt idx="23129">
                  <c:v>22.12.1933</c:v>
                </c:pt>
                <c:pt idx="23130">
                  <c:v>21.12.1933</c:v>
                </c:pt>
                <c:pt idx="23131">
                  <c:v>20.12.1933</c:v>
                </c:pt>
                <c:pt idx="23132">
                  <c:v>19.12.1933</c:v>
                </c:pt>
                <c:pt idx="23133">
                  <c:v>18.12.1933</c:v>
                </c:pt>
                <c:pt idx="23134">
                  <c:v>15.12.1933</c:v>
                </c:pt>
                <c:pt idx="23135">
                  <c:v>14.12.1933</c:v>
                </c:pt>
                <c:pt idx="23136">
                  <c:v>13.12.1933</c:v>
                </c:pt>
                <c:pt idx="23137">
                  <c:v>12.12.1933</c:v>
                </c:pt>
                <c:pt idx="23138">
                  <c:v>11.12.1933</c:v>
                </c:pt>
                <c:pt idx="23139">
                  <c:v>08.12.1933</c:v>
                </c:pt>
                <c:pt idx="23140">
                  <c:v>07.12.1933</c:v>
                </c:pt>
                <c:pt idx="23141">
                  <c:v>06.12.1933</c:v>
                </c:pt>
                <c:pt idx="23142">
                  <c:v>05.12.1933</c:v>
                </c:pt>
                <c:pt idx="23143">
                  <c:v>04.12.1933</c:v>
                </c:pt>
                <c:pt idx="23144">
                  <c:v>01.12.1933</c:v>
                </c:pt>
                <c:pt idx="23145">
                  <c:v>30.11.1933</c:v>
                </c:pt>
                <c:pt idx="23146">
                  <c:v>29.11.1933</c:v>
                </c:pt>
                <c:pt idx="23147">
                  <c:v>28.11.1933</c:v>
                </c:pt>
                <c:pt idx="23148">
                  <c:v>27.11.1933</c:v>
                </c:pt>
                <c:pt idx="23149">
                  <c:v>24.11.1933</c:v>
                </c:pt>
                <c:pt idx="23150">
                  <c:v>23.11.1933</c:v>
                </c:pt>
                <c:pt idx="23151">
                  <c:v>22.11.1933</c:v>
                </c:pt>
                <c:pt idx="23152">
                  <c:v>21.11.1933</c:v>
                </c:pt>
                <c:pt idx="23153">
                  <c:v>20.11.1933</c:v>
                </c:pt>
                <c:pt idx="23154">
                  <c:v>17.11.1933</c:v>
                </c:pt>
                <c:pt idx="23155">
                  <c:v>16.11.1933</c:v>
                </c:pt>
                <c:pt idx="23156">
                  <c:v>15.11.1933</c:v>
                </c:pt>
                <c:pt idx="23157">
                  <c:v>14.11.1933</c:v>
                </c:pt>
                <c:pt idx="23158">
                  <c:v>13.11.1933</c:v>
                </c:pt>
                <c:pt idx="23159">
                  <c:v>10.11.1933</c:v>
                </c:pt>
                <c:pt idx="23160">
                  <c:v>09.11.1933</c:v>
                </c:pt>
                <c:pt idx="23161">
                  <c:v>08.11.1933</c:v>
                </c:pt>
                <c:pt idx="23162">
                  <c:v>07.11.1933</c:v>
                </c:pt>
                <c:pt idx="23163">
                  <c:v>06.11.1933</c:v>
                </c:pt>
                <c:pt idx="23164">
                  <c:v>03.11.1933</c:v>
                </c:pt>
                <c:pt idx="23165">
                  <c:v>02.11.1933</c:v>
                </c:pt>
                <c:pt idx="23166">
                  <c:v>01.11.1933</c:v>
                </c:pt>
                <c:pt idx="23167">
                  <c:v>31.10.1933</c:v>
                </c:pt>
                <c:pt idx="23168">
                  <c:v>30.10.1933</c:v>
                </c:pt>
                <c:pt idx="23169">
                  <c:v>27.10.1933</c:v>
                </c:pt>
                <c:pt idx="23170">
                  <c:v>26.10.1933</c:v>
                </c:pt>
                <c:pt idx="23171">
                  <c:v>25.10.1933</c:v>
                </c:pt>
                <c:pt idx="23172">
                  <c:v>24.10.1933</c:v>
                </c:pt>
                <c:pt idx="23173">
                  <c:v>23.10.1933</c:v>
                </c:pt>
                <c:pt idx="23174">
                  <c:v>20.10.1933</c:v>
                </c:pt>
                <c:pt idx="23175">
                  <c:v>19.10.1933</c:v>
                </c:pt>
                <c:pt idx="23176">
                  <c:v>18.10.1933</c:v>
                </c:pt>
                <c:pt idx="23177">
                  <c:v>17.10.1933</c:v>
                </c:pt>
                <c:pt idx="23178">
                  <c:v>16.10.1933</c:v>
                </c:pt>
                <c:pt idx="23179">
                  <c:v>13.10.1933</c:v>
                </c:pt>
                <c:pt idx="23180">
                  <c:v>12.10.1933</c:v>
                </c:pt>
                <c:pt idx="23181">
                  <c:v>11.10.1933</c:v>
                </c:pt>
                <c:pt idx="23182">
                  <c:v>10.10.1933</c:v>
                </c:pt>
                <c:pt idx="23183">
                  <c:v>09.10.1933</c:v>
                </c:pt>
                <c:pt idx="23184">
                  <c:v>06.10.1933</c:v>
                </c:pt>
                <c:pt idx="23185">
                  <c:v>05.10.1933</c:v>
                </c:pt>
                <c:pt idx="23186">
                  <c:v>04.10.1933</c:v>
                </c:pt>
                <c:pt idx="23187">
                  <c:v>03.10.1933</c:v>
                </c:pt>
                <c:pt idx="23188">
                  <c:v>02.10.1933</c:v>
                </c:pt>
                <c:pt idx="23189">
                  <c:v>29.09.1933</c:v>
                </c:pt>
                <c:pt idx="23190">
                  <c:v>28.09.1933</c:v>
                </c:pt>
                <c:pt idx="23191">
                  <c:v>27.09.1933</c:v>
                </c:pt>
                <c:pt idx="23192">
                  <c:v>26.09.1933</c:v>
                </c:pt>
                <c:pt idx="23193">
                  <c:v>25.09.1933</c:v>
                </c:pt>
                <c:pt idx="23194">
                  <c:v>22.09.1933</c:v>
                </c:pt>
                <c:pt idx="23195">
                  <c:v>21.09.1933</c:v>
                </c:pt>
                <c:pt idx="23196">
                  <c:v>20.09.1933</c:v>
                </c:pt>
                <c:pt idx="23197">
                  <c:v>19.09.1933</c:v>
                </c:pt>
                <c:pt idx="23198">
                  <c:v>18.09.1933</c:v>
                </c:pt>
                <c:pt idx="23199">
                  <c:v>15.09.1933</c:v>
                </c:pt>
                <c:pt idx="23200">
                  <c:v>14.09.1933</c:v>
                </c:pt>
                <c:pt idx="23201">
                  <c:v>13.09.1933</c:v>
                </c:pt>
                <c:pt idx="23202">
                  <c:v>12.09.1933</c:v>
                </c:pt>
                <c:pt idx="23203">
                  <c:v>11.09.1933</c:v>
                </c:pt>
                <c:pt idx="23204">
                  <c:v>08.09.1933</c:v>
                </c:pt>
                <c:pt idx="23205">
                  <c:v>07.09.1933</c:v>
                </c:pt>
                <c:pt idx="23206">
                  <c:v>06.09.1933</c:v>
                </c:pt>
                <c:pt idx="23207">
                  <c:v>05.09.1933</c:v>
                </c:pt>
                <c:pt idx="23208">
                  <c:v>04.09.1933</c:v>
                </c:pt>
                <c:pt idx="23209">
                  <c:v>01.09.1933</c:v>
                </c:pt>
                <c:pt idx="23210">
                  <c:v>31.08.1933</c:v>
                </c:pt>
                <c:pt idx="23211">
                  <c:v>30.08.1933</c:v>
                </c:pt>
                <c:pt idx="23212">
                  <c:v>29.08.1933</c:v>
                </c:pt>
                <c:pt idx="23213">
                  <c:v>28.08.1933</c:v>
                </c:pt>
                <c:pt idx="23214">
                  <c:v>25.08.1933</c:v>
                </c:pt>
                <c:pt idx="23215">
                  <c:v>24.08.1933</c:v>
                </c:pt>
                <c:pt idx="23216">
                  <c:v>23.08.1933</c:v>
                </c:pt>
                <c:pt idx="23217">
                  <c:v>22.08.1933</c:v>
                </c:pt>
                <c:pt idx="23218">
                  <c:v>21.08.1933</c:v>
                </c:pt>
                <c:pt idx="23219">
                  <c:v>18.08.1933</c:v>
                </c:pt>
                <c:pt idx="23220">
                  <c:v>17.08.1933</c:v>
                </c:pt>
                <c:pt idx="23221">
                  <c:v>16.08.1933</c:v>
                </c:pt>
                <c:pt idx="23222">
                  <c:v>15.08.1933</c:v>
                </c:pt>
                <c:pt idx="23223">
                  <c:v>14.08.1933</c:v>
                </c:pt>
                <c:pt idx="23224">
                  <c:v>11.08.1933</c:v>
                </c:pt>
                <c:pt idx="23225">
                  <c:v>10.08.1933</c:v>
                </c:pt>
                <c:pt idx="23226">
                  <c:v>09.08.1933</c:v>
                </c:pt>
                <c:pt idx="23227">
                  <c:v>08.08.1933</c:v>
                </c:pt>
                <c:pt idx="23228">
                  <c:v>07.08.1933</c:v>
                </c:pt>
                <c:pt idx="23229">
                  <c:v>04.08.1933</c:v>
                </c:pt>
                <c:pt idx="23230">
                  <c:v>03.08.1933</c:v>
                </c:pt>
                <c:pt idx="23231">
                  <c:v>02.08.1933</c:v>
                </c:pt>
                <c:pt idx="23232">
                  <c:v>01.08.1933</c:v>
                </c:pt>
                <c:pt idx="23233">
                  <c:v>31.07.1933</c:v>
                </c:pt>
                <c:pt idx="23234">
                  <c:v>28.07.1933</c:v>
                </c:pt>
                <c:pt idx="23235">
                  <c:v>27.07.1933</c:v>
                </c:pt>
                <c:pt idx="23236">
                  <c:v>26.07.1933</c:v>
                </c:pt>
                <c:pt idx="23237">
                  <c:v>25.07.1933</c:v>
                </c:pt>
                <c:pt idx="23238">
                  <c:v>24.07.1933</c:v>
                </c:pt>
                <c:pt idx="23239">
                  <c:v>21.07.1933</c:v>
                </c:pt>
                <c:pt idx="23240">
                  <c:v>20.07.1933</c:v>
                </c:pt>
                <c:pt idx="23241">
                  <c:v>19.07.1933</c:v>
                </c:pt>
                <c:pt idx="23242">
                  <c:v>18.07.1933</c:v>
                </c:pt>
                <c:pt idx="23243">
                  <c:v>17.07.1933</c:v>
                </c:pt>
                <c:pt idx="23244">
                  <c:v>14.07.1933</c:v>
                </c:pt>
                <c:pt idx="23245">
                  <c:v>13.07.1933</c:v>
                </c:pt>
                <c:pt idx="23246">
                  <c:v>12.07.1933</c:v>
                </c:pt>
                <c:pt idx="23247">
                  <c:v>11.07.1933</c:v>
                </c:pt>
                <c:pt idx="23248">
                  <c:v>10.07.1933</c:v>
                </c:pt>
                <c:pt idx="23249">
                  <c:v>07.07.1933</c:v>
                </c:pt>
                <c:pt idx="23250">
                  <c:v>06.07.1933</c:v>
                </c:pt>
                <c:pt idx="23251">
                  <c:v>05.07.1933</c:v>
                </c:pt>
                <c:pt idx="23252">
                  <c:v>04.07.1933</c:v>
                </c:pt>
                <c:pt idx="23253">
                  <c:v>03.07.1933</c:v>
                </c:pt>
                <c:pt idx="23254">
                  <c:v>30.06.1933</c:v>
                </c:pt>
                <c:pt idx="23255">
                  <c:v>29.06.1933</c:v>
                </c:pt>
                <c:pt idx="23256">
                  <c:v>28.06.1933</c:v>
                </c:pt>
                <c:pt idx="23257">
                  <c:v>27.06.1933</c:v>
                </c:pt>
                <c:pt idx="23258">
                  <c:v>26.06.1933</c:v>
                </c:pt>
                <c:pt idx="23259">
                  <c:v>23.06.1933</c:v>
                </c:pt>
                <c:pt idx="23260">
                  <c:v>22.06.1933</c:v>
                </c:pt>
                <c:pt idx="23261">
                  <c:v>21.06.1933</c:v>
                </c:pt>
                <c:pt idx="23262">
                  <c:v>20.06.1933</c:v>
                </c:pt>
                <c:pt idx="23263">
                  <c:v>19.06.1933</c:v>
                </c:pt>
                <c:pt idx="23264">
                  <c:v>16.06.1933</c:v>
                </c:pt>
                <c:pt idx="23265">
                  <c:v>15.06.1933</c:v>
                </c:pt>
                <c:pt idx="23266">
                  <c:v>14.06.1933</c:v>
                </c:pt>
                <c:pt idx="23267">
                  <c:v>13.06.1933</c:v>
                </c:pt>
                <c:pt idx="23268">
                  <c:v>12.06.1933</c:v>
                </c:pt>
                <c:pt idx="23269">
                  <c:v>09.06.1933</c:v>
                </c:pt>
                <c:pt idx="23270">
                  <c:v>08.06.1933</c:v>
                </c:pt>
                <c:pt idx="23271">
                  <c:v>07.06.1933</c:v>
                </c:pt>
                <c:pt idx="23272">
                  <c:v>06.06.1933</c:v>
                </c:pt>
                <c:pt idx="23273">
                  <c:v>05.06.1933</c:v>
                </c:pt>
                <c:pt idx="23274">
                  <c:v>02.06.1933</c:v>
                </c:pt>
                <c:pt idx="23275">
                  <c:v>01.06.1933</c:v>
                </c:pt>
                <c:pt idx="23276">
                  <c:v>31.05.1933</c:v>
                </c:pt>
                <c:pt idx="23277">
                  <c:v>30.05.1933</c:v>
                </c:pt>
                <c:pt idx="23278">
                  <c:v>29.05.1933</c:v>
                </c:pt>
                <c:pt idx="23279">
                  <c:v>26.05.1933</c:v>
                </c:pt>
                <c:pt idx="23280">
                  <c:v>25.05.1933</c:v>
                </c:pt>
                <c:pt idx="23281">
                  <c:v>24.05.1933</c:v>
                </c:pt>
                <c:pt idx="23282">
                  <c:v>23.05.1933</c:v>
                </c:pt>
                <c:pt idx="23283">
                  <c:v>22.05.1933</c:v>
                </c:pt>
                <c:pt idx="23284">
                  <c:v>19.05.1933</c:v>
                </c:pt>
                <c:pt idx="23285">
                  <c:v>18.05.1933</c:v>
                </c:pt>
                <c:pt idx="23286">
                  <c:v>17.05.1933</c:v>
                </c:pt>
                <c:pt idx="23287">
                  <c:v>16.05.1933</c:v>
                </c:pt>
                <c:pt idx="23288">
                  <c:v>15.05.1933</c:v>
                </c:pt>
                <c:pt idx="23289">
                  <c:v>12.05.1933</c:v>
                </c:pt>
                <c:pt idx="23290">
                  <c:v>11.05.1933</c:v>
                </c:pt>
                <c:pt idx="23291">
                  <c:v>10.05.1933</c:v>
                </c:pt>
                <c:pt idx="23292">
                  <c:v>09.05.1933</c:v>
                </c:pt>
                <c:pt idx="23293">
                  <c:v>08.05.1933</c:v>
                </c:pt>
                <c:pt idx="23294">
                  <c:v>05.05.1933</c:v>
                </c:pt>
                <c:pt idx="23295">
                  <c:v>04.05.1933</c:v>
                </c:pt>
                <c:pt idx="23296">
                  <c:v>03.05.1933</c:v>
                </c:pt>
                <c:pt idx="23297">
                  <c:v>02.05.1933</c:v>
                </c:pt>
                <c:pt idx="23298">
                  <c:v>01.05.1933</c:v>
                </c:pt>
                <c:pt idx="23299">
                  <c:v>28.04.1933</c:v>
                </c:pt>
                <c:pt idx="23300">
                  <c:v>27.04.1933</c:v>
                </c:pt>
                <c:pt idx="23301">
                  <c:v>26.04.1933</c:v>
                </c:pt>
                <c:pt idx="23302">
                  <c:v>25.04.1933</c:v>
                </c:pt>
                <c:pt idx="23303">
                  <c:v>24.04.1933</c:v>
                </c:pt>
                <c:pt idx="23304">
                  <c:v>21.04.1933</c:v>
                </c:pt>
                <c:pt idx="23305">
                  <c:v>20.04.1933</c:v>
                </c:pt>
                <c:pt idx="23306">
                  <c:v>19.04.1933</c:v>
                </c:pt>
                <c:pt idx="23307">
                  <c:v>18.04.1933</c:v>
                </c:pt>
                <c:pt idx="23308">
                  <c:v>17.04.1933</c:v>
                </c:pt>
                <c:pt idx="23309">
                  <c:v>14.04.1933</c:v>
                </c:pt>
                <c:pt idx="23310">
                  <c:v>13.04.1933</c:v>
                </c:pt>
                <c:pt idx="23311">
                  <c:v>12.04.1933</c:v>
                </c:pt>
                <c:pt idx="23312">
                  <c:v>11.04.1933</c:v>
                </c:pt>
                <c:pt idx="23313">
                  <c:v>10.04.1933</c:v>
                </c:pt>
                <c:pt idx="23314">
                  <c:v>07.04.1933</c:v>
                </c:pt>
                <c:pt idx="23315">
                  <c:v>06.04.1933</c:v>
                </c:pt>
                <c:pt idx="23316">
                  <c:v>05.04.1933</c:v>
                </c:pt>
                <c:pt idx="23317">
                  <c:v>04.04.1933</c:v>
                </c:pt>
                <c:pt idx="23318">
                  <c:v>03.04.1933</c:v>
                </c:pt>
                <c:pt idx="23319">
                  <c:v>31.03.1933</c:v>
                </c:pt>
                <c:pt idx="23320">
                  <c:v>30.03.1933</c:v>
                </c:pt>
                <c:pt idx="23321">
                  <c:v>29.03.1933</c:v>
                </c:pt>
                <c:pt idx="23322">
                  <c:v>28.03.1933</c:v>
                </c:pt>
                <c:pt idx="23323">
                  <c:v>27.03.1933</c:v>
                </c:pt>
                <c:pt idx="23324">
                  <c:v>24.03.1933</c:v>
                </c:pt>
                <c:pt idx="23325">
                  <c:v>23.03.1933</c:v>
                </c:pt>
                <c:pt idx="23326">
                  <c:v>22.03.1933</c:v>
                </c:pt>
                <c:pt idx="23327">
                  <c:v>21.03.1933</c:v>
                </c:pt>
                <c:pt idx="23328">
                  <c:v>20.03.1933</c:v>
                </c:pt>
                <c:pt idx="23329">
                  <c:v>17.03.1933</c:v>
                </c:pt>
                <c:pt idx="23330">
                  <c:v>16.03.1933</c:v>
                </c:pt>
                <c:pt idx="23331">
                  <c:v>15.03.1933</c:v>
                </c:pt>
                <c:pt idx="23332">
                  <c:v>14.03.1933</c:v>
                </c:pt>
                <c:pt idx="23333">
                  <c:v>13.03.1933</c:v>
                </c:pt>
                <c:pt idx="23334">
                  <c:v>10.03.1933</c:v>
                </c:pt>
                <c:pt idx="23335">
                  <c:v>09.03.1933</c:v>
                </c:pt>
                <c:pt idx="23336">
                  <c:v>08.03.1933</c:v>
                </c:pt>
                <c:pt idx="23337">
                  <c:v>07.03.1933</c:v>
                </c:pt>
                <c:pt idx="23338">
                  <c:v>06.03.1933</c:v>
                </c:pt>
                <c:pt idx="23339">
                  <c:v>03.03.1933</c:v>
                </c:pt>
                <c:pt idx="23340">
                  <c:v>02.03.1933</c:v>
                </c:pt>
                <c:pt idx="23341">
                  <c:v>01.03.1933</c:v>
                </c:pt>
                <c:pt idx="23342">
                  <c:v>28.02.1933</c:v>
                </c:pt>
                <c:pt idx="23343">
                  <c:v>27.02.1933</c:v>
                </c:pt>
                <c:pt idx="23344">
                  <c:v>24.02.1933</c:v>
                </c:pt>
                <c:pt idx="23345">
                  <c:v>23.02.1933</c:v>
                </c:pt>
                <c:pt idx="23346">
                  <c:v>22.02.1933</c:v>
                </c:pt>
                <c:pt idx="23347">
                  <c:v>21.02.1933</c:v>
                </c:pt>
                <c:pt idx="23348">
                  <c:v>20.02.1933</c:v>
                </c:pt>
                <c:pt idx="23349">
                  <c:v>17.02.1933</c:v>
                </c:pt>
                <c:pt idx="23350">
                  <c:v>16.02.1933</c:v>
                </c:pt>
                <c:pt idx="23351">
                  <c:v>15.02.1933</c:v>
                </c:pt>
                <c:pt idx="23352">
                  <c:v>14.02.1933</c:v>
                </c:pt>
                <c:pt idx="23353">
                  <c:v>13.02.1933</c:v>
                </c:pt>
                <c:pt idx="23354">
                  <c:v>10.02.1933</c:v>
                </c:pt>
                <c:pt idx="23355">
                  <c:v>09.02.1933</c:v>
                </c:pt>
                <c:pt idx="23356">
                  <c:v>08.02.1933</c:v>
                </c:pt>
                <c:pt idx="23357">
                  <c:v>07.02.1933</c:v>
                </c:pt>
                <c:pt idx="23358">
                  <c:v>06.02.1933</c:v>
                </c:pt>
                <c:pt idx="23359">
                  <c:v>03.02.1933</c:v>
                </c:pt>
                <c:pt idx="23360">
                  <c:v>02.02.1933</c:v>
                </c:pt>
                <c:pt idx="23361">
                  <c:v>01.02.1933</c:v>
                </c:pt>
                <c:pt idx="23362">
                  <c:v>31.01.1933</c:v>
                </c:pt>
                <c:pt idx="23363">
                  <c:v>30.01.1933</c:v>
                </c:pt>
                <c:pt idx="23364">
                  <c:v>27.01.1933</c:v>
                </c:pt>
                <c:pt idx="23365">
                  <c:v>26.01.1933</c:v>
                </c:pt>
                <c:pt idx="23366">
                  <c:v>25.01.1933</c:v>
                </c:pt>
                <c:pt idx="23367">
                  <c:v>24.01.1933</c:v>
                </c:pt>
                <c:pt idx="23368">
                  <c:v>23.01.1933</c:v>
                </c:pt>
                <c:pt idx="23369">
                  <c:v>20.01.1933</c:v>
                </c:pt>
                <c:pt idx="23370">
                  <c:v>19.01.1933</c:v>
                </c:pt>
                <c:pt idx="23371">
                  <c:v>18.01.1933</c:v>
                </c:pt>
                <c:pt idx="23372">
                  <c:v>17.01.1933</c:v>
                </c:pt>
                <c:pt idx="23373">
                  <c:v>16.01.1933</c:v>
                </c:pt>
                <c:pt idx="23374">
                  <c:v>13.01.1933</c:v>
                </c:pt>
                <c:pt idx="23375">
                  <c:v>12.01.1933</c:v>
                </c:pt>
                <c:pt idx="23376">
                  <c:v>11.01.1933</c:v>
                </c:pt>
                <c:pt idx="23377">
                  <c:v>10.01.1933</c:v>
                </c:pt>
                <c:pt idx="23378">
                  <c:v>09.01.1933</c:v>
                </c:pt>
                <c:pt idx="23379">
                  <c:v>06.01.1933</c:v>
                </c:pt>
                <c:pt idx="23380">
                  <c:v>05.01.1933</c:v>
                </c:pt>
                <c:pt idx="23381">
                  <c:v>04.01.1933</c:v>
                </c:pt>
                <c:pt idx="23382">
                  <c:v>03.01.1933</c:v>
                </c:pt>
                <c:pt idx="23383">
                  <c:v>02.01.1933</c:v>
                </c:pt>
                <c:pt idx="23384">
                  <c:v>30.12.1932</c:v>
                </c:pt>
                <c:pt idx="23385">
                  <c:v>29.12.1932</c:v>
                </c:pt>
                <c:pt idx="23386">
                  <c:v>28.12.1932</c:v>
                </c:pt>
                <c:pt idx="23387">
                  <c:v>27.12.1932</c:v>
                </c:pt>
                <c:pt idx="23388">
                  <c:v>26.12.1932</c:v>
                </c:pt>
                <c:pt idx="23389">
                  <c:v>23.12.1932</c:v>
                </c:pt>
                <c:pt idx="23390">
                  <c:v>22.12.1932</c:v>
                </c:pt>
                <c:pt idx="23391">
                  <c:v>21.12.1932</c:v>
                </c:pt>
                <c:pt idx="23392">
                  <c:v>20.12.1932</c:v>
                </c:pt>
                <c:pt idx="23393">
                  <c:v>19.12.1932</c:v>
                </c:pt>
                <c:pt idx="23394">
                  <c:v>16.12.1932</c:v>
                </c:pt>
                <c:pt idx="23395">
                  <c:v>15.12.1932</c:v>
                </c:pt>
                <c:pt idx="23396">
                  <c:v>14.12.1932</c:v>
                </c:pt>
                <c:pt idx="23397">
                  <c:v>13.12.1932</c:v>
                </c:pt>
                <c:pt idx="23398">
                  <c:v>12.12.1932</c:v>
                </c:pt>
                <c:pt idx="23399">
                  <c:v>09.12.1932</c:v>
                </c:pt>
                <c:pt idx="23400">
                  <c:v>08.12.1932</c:v>
                </c:pt>
                <c:pt idx="23401">
                  <c:v>07.12.1932</c:v>
                </c:pt>
                <c:pt idx="23402">
                  <c:v>06.12.1932</c:v>
                </c:pt>
                <c:pt idx="23403">
                  <c:v>05.12.1932</c:v>
                </c:pt>
                <c:pt idx="23404">
                  <c:v>02.12.1932</c:v>
                </c:pt>
                <c:pt idx="23405">
                  <c:v>01.12.1932</c:v>
                </c:pt>
                <c:pt idx="23406">
                  <c:v>30.11.1932</c:v>
                </c:pt>
                <c:pt idx="23407">
                  <c:v>29.11.1932</c:v>
                </c:pt>
                <c:pt idx="23408">
                  <c:v>28.11.1932</c:v>
                </c:pt>
                <c:pt idx="23409">
                  <c:v>25.11.1932</c:v>
                </c:pt>
                <c:pt idx="23410">
                  <c:v>24.11.1932</c:v>
                </c:pt>
                <c:pt idx="23411">
                  <c:v>23.11.1932</c:v>
                </c:pt>
                <c:pt idx="23412">
                  <c:v>22.11.1932</c:v>
                </c:pt>
                <c:pt idx="23413">
                  <c:v>21.11.1932</c:v>
                </c:pt>
                <c:pt idx="23414">
                  <c:v>18.11.1932</c:v>
                </c:pt>
                <c:pt idx="23415">
                  <c:v>17.11.1932</c:v>
                </c:pt>
                <c:pt idx="23416">
                  <c:v>16.11.1932</c:v>
                </c:pt>
                <c:pt idx="23417">
                  <c:v>15.11.1932</c:v>
                </c:pt>
                <c:pt idx="23418">
                  <c:v>14.11.1932</c:v>
                </c:pt>
                <c:pt idx="23419">
                  <c:v>11.11.1932</c:v>
                </c:pt>
                <c:pt idx="23420">
                  <c:v>10.11.1932</c:v>
                </c:pt>
                <c:pt idx="23421">
                  <c:v>09.11.1932</c:v>
                </c:pt>
                <c:pt idx="23422">
                  <c:v>08.11.1932</c:v>
                </c:pt>
                <c:pt idx="23423">
                  <c:v>07.11.1932</c:v>
                </c:pt>
                <c:pt idx="23424">
                  <c:v>04.11.1932</c:v>
                </c:pt>
                <c:pt idx="23425">
                  <c:v>03.11.1932</c:v>
                </c:pt>
                <c:pt idx="23426">
                  <c:v>02.11.1932</c:v>
                </c:pt>
                <c:pt idx="23427">
                  <c:v>01.11.1932</c:v>
                </c:pt>
                <c:pt idx="23428">
                  <c:v>31.10.1932</c:v>
                </c:pt>
                <c:pt idx="23429">
                  <c:v>28.10.1932</c:v>
                </c:pt>
                <c:pt idx="23430">
                  <c:v>27.10.1932</c:v>
                </c:pt>
                <c:pt idx="23431">
                  <c:v>26.10.1932</c:v>
                </c:pt>
                <c:pt idx="23432">
                  <c:v>25.10.1932</c:v>
                </c:pt>
                <c:pt idx="23433">
                  <c:v>24.10.1932</c:v>
                </c:pt>
                <c:pt idx="23434">
                  <c:v>21.10.1932</c:v>
                </c:pt>
                <c:pt idx="23435">
                  <c:v>20.10.1932</c:v>
                </c:pt>
                <c:pt idx="23436">
                  <c:v>19.10.1932</c:v>
                </c:pt>
                <c:pt idx="23437">
                  <c:v>18.10.1932</c:v>
                </c:pt>
                <c:pt idx="23438">
                  <c:v>17.10.1932</c:v>
                </c:pt>
                <c:pt idx="23439">
                  <c:v>14.10.1932</c:v>
                </c:pt>
                <c:pt idx="23440">
                  <c:v>13.10.1932</c:v>
                </c:pt>
                <c:pt idx="23441">
                  <c:v>12.10.1932</c:v>
                </c:pt>
                <c:pt idx="23442">
                  <c:v>11.10.1932</c:v>
                </c:pt>
                <c:pt idx="23443">
                  <c:v>10.10.1932</c:v>
                </c:pt>
                <c:pt idx="23444">
                  <c:v>07.10.1932</c:v>
                </c:pt>
                <c:pt idx="23445">
                  <c:v>06.10.1932</c:v>
                </c:pt>
                <c:pt idx="23446">
                  <c:v>05.10.1932</c:v>
                </c:pt>
                <c:pt idx="23447">
                  <c:v>04.10.1932</c:v>
                </c:pt>
                <c:pt idx="23448">
                  <c:v>03.10.1932</c:v>
                </c:pt>
                <c:pt idx="23449">
                  <c:v>30.09.1932</c:v>
                </c:pt>
                <c:pt idx="23450">
                  <c:v>29.09.1932</c:v>
                </c:pt>
                <c:pt idx="23451">
                  <c:v>28.09.1932</c:v>
                </c:pt>
                <c:pt idx="23452">
                  <c:v>27.09.1932</c:v>
                </c:pt>
                <c:pt idx="23453">
                  <c:v>26.09.1932</c:v>
                </c:pt>
                <c:pt idx="23454">
                  <c:v>23.09.1932</c:v>
                </c:pt>
                <c:pt idx="23455">
                  <c:v>22.09.1932</c:v>
                </c:pt>
                <c:pt idx="23456">
                  <c:v>21.09.1932</c:v>
                </c:pt>
                <c:pt idx="23457">
                  <c:v>20.09.1932</c:v>
                </c:pt>
                <c:pt idx="23458">
                  <c:v>19.09.1932</c:v>
                </c:pt>
                <c:pt idx="23459">
                  <c:v>16.09.1932</c:v>
                </c:pt>
                <c:pt idx="23460">
                  <c:v>15.09.1932</c:v>
                </c:pt>
                <c:pt idx="23461">
                  <c:v>14.09.1932</c:v>
                </c:pt>
                <c:pt idx="23462">
                  <c:v>13.09.1932</c:v>
                </c:pt>
                <c:pt idx="23463">
                  <c:v>12.09.1932</c:v>
                </c:pt>
                <c:pt idx="23464">
                  <c:v>09.09.1932</c:v>
                </c:pt>
                <c:pt idx="23465">
                  <c:v>08.09.1932</c:v>
                </c:pt>
                <c:pt idx="23466">
                  <c:v>07.09.1932</c:v>
                </c:pt>
                <c:pt idx="23467">
                  <c:v>06.09.1932</c:v>
                </c:pt>
                <c:pt idx="23468">
                  <c:v>05.09.1932</c:v>
                </c:pt>
                <c:pt idx="23469">
                  <c:v>02.09.1932</c:v>
                </c:pt>
                <c:pt idx="23470">
                  <c:v>01.09.1932</c:v>
                </c:pt>
                <c:pt idx="23471">
                  <c:v>31.08.1932</c:v>
                </c:pt>
                <c:pt idx="23472">
                  <c:v>30.08.1932</c:v>
                </c:pt>
                <c:pt idx="23473">
                  <c:v>29.08.1932</c:v>
                </c:pt>
                <c:pt idx="23474">
                  <c:v>26.08.1932</c:v>
                </c:pt>
                <c:pt idx="23475">
                  <c:v>25.08.1932</c:v>
                </c:pt>
                <c:pt idx="23476">
                  <c:v>24.08.1932</c:v>
                </c:pt>
                <c:pt idx="23477">
                  <c:v>23.08.1932</c:v>
                </c:pt>
                <c:pt idx="23478">
                  <c:v>22.08.1932</c:v>
                </c:pt>
                <c:pt idx="23479">
                  <c:v>19.08.1932</c:v>
                </c:pt>
                <c:pt idx="23480">
                  <c:v>18.08.1932</c:v>
                </c:pt>
                <c:pt idx="23481">
                  <c:v>17.08.1932</c:v>
                </c:pt>
                <c:pt idx="23482">
                  <c:v>16.08.1932</c:v>
                </c:pt>
                <c:pt idx="23483">
                  <c:v>15.08.1932</c:v>
                </c:pt>
                <c:pt idx="23484">
                  <c:v>12.08.1932</c:v>
                </c:pt>
                <c:pt idx="23485">
                  <c:v>11.08.1932</c:v>
                </c:pt>
                <c:pt idx="23486">
                  <c:v>10.08.1932</c:v>
                </c:pt>
                <c:pt idx="23487">
                  <c:v>09.08.1932</c:v>
                </c:pt>
                <c:pt idx="23488">
                  <c:v>08.08.1932</c:v>
                </c:pt>
                <c:pt idx="23489">
                  <c:v>05.08.1932</c:v>
                </c:pt>
                <c:pt idx="23490">
                  <c:v>04.08.1932</c:v>
                </c:pt>
                <c:pt idx="23491">
                  <c:v>03.08.1932</c:v>
                </c:pt>
                <c:pt idx="23492">
                  <c:v>02.08.1932</c:v>
                </c:pt>
                <c:pt idx="23493">
                  <c:v>01.08.1932</c:v>
                </c:pt>
                <c:pt idx="23494">
                  <c:v>29.07.1932</c:v>
                </c:pt>
                <c:pt idx="23495">
                  <c:v>28.07.1932</c:v>
                </c:pt>
                <c:pt idx="23496">
                  <c:v>27.07.1932</c:v>
                </c:pt>
                <c:pt idx="23497">
                  <c:v>26.07.1932</c:v>
                </c:pt>
                <c:pt idx="23498">
                  <c:v>25.07.1932</c:v>
                </c:pt>
                <c:pt idx="23499">
                  <c:v>22.07.1932</c:v>
                </c:pt>
                <c:pt idx="23500">
                  <c:v>21.07.1932</c:v>
                </c:pt>
                <c:pt idx="23501">
                  <c:v>20.07.1932</c:v>
                </c:pt>
                <c:pt idx="23502">
                  <c:v>19.07.1932</c:v>
                </c:pt>
                <c:pt idx="23503">
                  <c:v>18.07.1932</c:v>
                </c:pt>
                <c:pt idx="23504">
                  <c:v>15.07.1932</c:v>
                </c:pt>
                <c:pt idx="23505">
                  <c:v>14.07.1932</c:v>
                </c:pt>
                <c:pt idx="23506">
                  <c:v>13.07.1932</c:v>
                </c:pt>
                <c:pt idx="23507">
                  <c:v>12.07.1932</c:v>
                </c:pt>
                <c:pt idx="23508">
                  <c:v>11.07.1932</c:v>
                </c:pt>
                <c:pt idx="23509">
                  <c:v>08.07.1932</c:v>
                </c:pt>
                <c:pt idx="23510">
                  <c:v>07.07.1932</c:v>
                </c:pt>
                <c:pt idx="23511">
                  <c:v>06.07.1932</c:v>
                </c:pt>
                <c:pt idx="23512">
                  <c:v>05.07.1932</c:v>
                </c:pt>
                <c:pt idx="23513">
                  <c:v>04.07.1932</c:v>
                </c:pt>
                <c:pt idx="23514">
                  <c:v>01.07.1932</c:v>
                </c:pt>
                <c:pt idx="23515">
                  <c:v>30.06.1932</c:v>
                </c:pt>
                <c:pt idx="23516">
                  <c:v>29.06.1932</c:v>
                </c:pt>
                <c:pt idx="23517">
                  <c:v>28.06.1932</c:v>
                </c:pt>
                <c:pt idx="23518">
                  <c:v>27.06.1932</c:v>
                </c:pt>
                <c:pt idx="23519">
                  <c:v>24.06.1932</c:v>
                </c:pt>
                <c:pt idx="23520">
                  <c:v>23.06.1932</c:v>
                </c:pt>
                <c:pt idx="23521">
                  <c:v>22.06.1932</c:v>
                </c:pt>
                <c:pt idx="23522">
                  <c:v>21.06.1932</c:v>
                </c:pt>
                <c:pt idx="23523">
                  <c:v>20.06.1932</c:v>
                </c:pt>
                <c:pt idx="23524">
                  <c:v>17.06.1932</c:v>
                </c:pt>
                <c:pt idx="23525">
                  <c:v>16.06.1932</c:v>
                </c:pt>
                <c:pt idx="23526">
                  <c:v>15.06.1932</c:v>
                </c:pt>
                <c:pt idx="23527">
                  <c:v>14.06.1932</c:v>
                </c:pt>
                <c:pt idx="23528">
                  <c:v>13.06.1932</c:v>
                </c:pt>
                <c:pt idx="23529">
                  <c:v>10.06.1932</c:v>
                </c:pt>
                <c:pt idx="23530">
                  <c:v>09.06.1932</c:v>
                </c:pt>
                <c:pt idx="23531">
                  <c:v>08.06.1932</c:v>
                </c:pt>
                <c:pt idx="23532">
                  <c:v>07.06.1932</c:v>
                </c:pt>
                <c:pt idx="23533">
                  <c:v>06.06.1932</c:v>
                </c:pt>
                <c:pt idx="23534">
                  <c:v>03.06.1932</c:v>
                </c:pt>
                <c:pt idx="23535">
                  <c:v>02.06.1932</c:v>
                </c:pt>
                <c:pt idx="23536">
                  <c:v>01.06.1932</c:v>
                </c:pt>
                <c:pt idx="23537">
                  <c:v>31.05.1932</c:v>
                </c:pt>
                <c:pt idx="23538">
                  <c:v>30.05.1932</c:v>
                </c:pt>
                <c:pt idx="23539">
                  <c:v>27.05.1932</c:v>
                </c:pt>
                <c:pt idx="23540">
                  <c:v>26.05.1932</c:v>
                </c:pt>
                <c:pt idx="23541">
                  <c:v>25.05.1932</c:v>
                </c:pt>
                <c:pt idx="23542">
                  <c:v>24.05.1932</c:v>
                </c:pt>
                <c:pt idx="23543">
                  <c:v>23.05.1932</c:v>
                </c:pt>
                <c:pt idx="23544">
                  <c:v>20.05.1932</c:v>
                </c:pt>
                <c:pt idx="23545">
                  <c:v>19.05.1932</c:v>
                </c:pt>
                <c:pt idx="23546">
                  <c:v>18.05.1932</c:v>
                </c:pt>
                <c:pt idx="23547">
                  <c:v>17.05.1932</c:v>
                </c:pt>
                <c:pt idx="23548">
                  <c:v>16.05.1932</c:v>
                </c:pt>
                <c:pt idx="23549">
                  <c:v>13.05.1932</c:v>
                </c:pt>
                <c:pt idx="23550">
                  <c:v>12.05.1932</c:v>
                </c:pt>
                <c:pt idx="23551">
                  <c:v>11.05.1932</c:v>
                </c:pt>
                <c:pt idx="23552">
                  <c:v>10.05.1932</c:v>
                </c:pt>
                <c:pt idx="23553">
                  <c:v>09.05.1932</c:v>
                </c:pt>
                <c:pt idx="23554">
                  <c:v>06.05.1932</c:v>
                </c:pt>
                <c:pt idx="23555">
                  <c:v>05.05.1932</c:v>
                </c:pt>
                <c:pt idx="23556">
                  <c:v>04.05.1932</c:v>
                </c:pt>
                <c:pt idx="23557">
                  <c:v>03.05.1932</c:v>
                </c:pt>
                <c:pt idx="23558">
                  <c:v>02.05.1932</c:v>
                </c:pt>
                <c:pt idx="23559">
                  <c:v>29.04.1932</c:v>
                </c:pt>
                <c:pt idx="23560">
                  <c:v>28.04.1932</c:v>
                </c:pt>
                <c:pt idx="23561">
                  <c:v>27.04.1932</c:v>
                </c:pt>
                <c:pt idx="23562">
                  <c:v>26.04.1932</c:v>
                </c:pt>
                <c:pt idx="23563">
                  <c:v>25.04.1932</c:v>
                </c:pt>
                <c:pt idx="23564">
                  <c:v>22.04.1932</c:v>
                </c:pt>
                <c:pt idx="23565">
                  <c:v>21.04.1932</c:v>
                </c:pt>
                <c:pt idx="23566">
                  <c:v>20.04.1932</c:v>
                </c:pt>
                <c:pt idx="23567">
                  <c:v>19.04.1932</c:v>
                </c:pt>
                <c:pt idx="23568">
                  <c:v>18.04.1932</c:v>
                </c:pt>
                <c:pt idx="23569">
                  <c:v>15.04.1932</c:v>
                </c:pt>
                <c:pt idx="23570">
                  <c:v>14.04.1932</c:v>
                </c:pt>
                <c:pt idx="23571">
                  <c:v>13.04.1932</c:v>
                </c:pt>
                <c:pt idx="23572">
                  <c:v>12.04.1932</c:v>
                </c:pt>
                <c:pt idx="23573">
                  <c:v>11.04.1932</c:v>
                </c:pt>
                <c:pt idx="23574">
                  <c:v>08.04.1932</c:v>
                </c:pt>
                <c:pt idx="23575">
                  <c:v>07.04.1932</c:v>
                </c:pt>
                <c:pt idx="23576">
                  <c:v>06.04.1932</c:v>
                </c:pt>
                <c:pt idx="23577">
                  <c:v>05.04.1932</c:v>
                </c:pt>
                <c:pt idx="23578">
                  <c:v>04.04.1932</c:v>
                </c:pt>
                <c:pt idx="23579">
                  <c:v>01.04.1932</c:v>
                </c:pt>
                <c:pt idx="23580">
                  <c:v>31.03.1932</c:v>
                </c:pt>
                <c:pt idx="23581">
                  <c:v>30.03.1932</c:v>
                </c:pt>
                <c:pt idx="23582">
                  <c:v>29.03.1932</c:v>
                </c:pt>
                <c:pt idx="23583">
                  <c:v>28.03.1932</c:v>
                </c:pt>
                <c:pt idx="23584">
                  <c:v>25.03.1932</c:v>
                </c:pt>
                <c:pt idx="23585">
                  <c:v>24.03.1932</c:v>
                </c:pt>
                <c:pt idx="23586">
                  <c:v>23.03.1932</c:v>
                </c:pt>
                <c:pt idx="23587">
                  <c:v>22.03.1932</c:v>
                </c:pt>
                <c:pt idx="23588">
                  <c:v>21.03.1932</c:v>
                </c:pt>
                <c:pt idx="23589">
                  <c:v>18.03.1932</c:v>
                </c:pt>
                <c:pt idx="23590">
                  <c:v>17.03.1932</c:v>
                </c:pt>
                <c:pt idx="23591">
                  <c:v>16.03.1932</c:v>
                </c:pt>
                <c:pt idx="23592">
                  <c:v>15.03.1932</c:v>
                </c:pt>
                <c:pt idx="23593">
                  <c:v>14.03.1932</c:v>
                </c:pt>
                <c:pt idx="23594">
                  <c:v>11.03.1932</c:v>
                </c:pt>
                <c:pt idx="23595">
                  <c:v>10.03.1932</c:v>
                </c:pt>
                <c:pt idx="23596">
                  <c:v>09.03.1932</c:v>
                </c:pt>
                <c:pt idx="23597">
                  <c:v>08.03.1932</c:v>
                </c:pt>
                <c:pt idx="23598">
                  <c:v>07.03.1932</c:v>
                </c:pt>
                <c:pt idx="23599">
                  <c:v>04.03.1932</c:v>
                </c:pt>
                <c:pt idx="23600">
                  <c:v>03.03.1932</c:v>
                </c:pt>
                <c:pt idx="23601">
                  <c:v>02.03.1932</c:v>
                </c:pt>
                <c:pt idx="23602">
                  <c:v>01.03.1932</c:v>
                </c:pt>
                <c:pt idx="23603">
                  <c:v>29.02.1932</c:v>
                </c:pt>
                <c:pt idx="23604">
                  <c:v>26.02.1932</c:v>
                </c:pt>
                <c:pt idx="23605">
                  <c:v>25.02.1932</c:v>
                </c:pt>
                <c:pt idx="23606">
                  <c:v>24.02.1932</c:v>
                </c:pt>
                <c:pt idx="23607">
                  <c:v>23.02.1932</c:v>
                </c:pt>
                <c:pt idx="23608">
                  <c:v>22.02.1932</c:v>
                </c:pt>
                <c:pt idx="23609">
                  <c:v>19.02.1932</c:v>
                </c:pt>
                <c:pt idx="23610">
                  <c:v>18.02.1932</c:v>
                </c:pt>
                <c:pt idx="23611">
                  <c:v>17.02.1932</c:v>
                </c:pt>
                <c:pt idx="23612">
                  <c:v>16.02.1932</c:v>
                </c:pt>
                <c:pt idx="23613">
                  <c:v>15.02.1932</c:v>
                </c:pt>
                <c:pt idx="23614">
                  <c:v>12.02.1932</c:v>
                </c:pt>
                <c:pt idx="23615">
                  <c:v>11.02.1932</c:v>
                </c:pt>
                <c:pt idx="23616">
                  <c:v>10.02.1932</c:v>
                </c:pt>
                <c:pt idx="23617">
                  <c:v>09.02.1932</c:v>
                </c:pt>
                <c:pt idx="23618">
                  <c:v>08.02.1932</c:v>
                </c:pt>
                <c:pt idx="23619">
                  <c:v>05.02.1932</c:v>
                </c:pt>
                <c:pt idx="23620">
                  <c:v>04.02.1932</c:v>
                </c:pt>
                <c:pt idx="23621">
                  <c:v>03.02.1932</c:v>
                </c:pt>
                <c:pt idx="23622">
                  <c:v>02.02.1932</c:v>
                </c:pt>
                <c:pt idx="23623">
                  <c:v>01.02.1932</c:v>
                </c:pt>
                <c:pt idx="23624">
                  <c:v>29.01.1932</c:v>
                </c:pt>
                <c:pt idx="23625">
                  <c:v>28.01.1932</c:v>
                </c:pt>
                <c:pt idx="23626">
                  <c:v>27.01.1932</c:v>
                </c:pt>
                <c:pt idx="23627">
                  <c:v>26.01.1932</c:v>
                </c:pt>
                <c:pt idx="23628">
                  <c:v>25.01.1932</c:v>
                </c:pt>
                <c:pt idx="23629">
                  <c:v>22.01.1932</c:v>
                </c:pt>
                <c:pt idx="23630">
                  <c:v>21.01.1932</c:v>
                </c:pt>
                <c:pt idx="23631">
                  <c:v>20.01.1932</c:v>
                </c:pt>
                <c:pt idx="23632">
                  <c:v>19.01.1932</c:v>
                </c:pt>
                <c:pt idx="23633">
                  <c:v>18.01.1932</c:v>
                </c:pt>
                <c:pt idx="23634">
                  <c:v>15.01.1932</c:v>
                </c:pt>
                <c:pt idx="23635">
                  <c:v>14.01.1932</c:v>
                </c:pt>
                <c:pt idx="23636">
                  <c:v>13.01.1932</c:v>
                </c:pt>
                <c:pt idx="23637">
                  <c:v>12.01.1932</c:v>
                </c:pt>
                <c:pt idx="23638">
                  <c:v>11.01.1932</c:v>
                </c:pt>
                <c:pt idx="23639">
                  <c:v>08.01.1932</c:v>
                </c:pt>
                <c:pt idx="23640">
                  <c:v>07.01.1932</c:v>
                </c:pt>
                <c:pt idx="23641">
                  <c:v>06.01.1932</c:v>
                </c:pt>
                <c:pt idx="23642">
                  <c:v>05.01.1932</c:v>
                </c:pt>
                <c:pt idx="23643">
                  <c:v>04.01.1932</c:v>
                </c:pt>
                <c:pt idx="23644">
                  <c:v>01.01.1932</c:v>
                </c:pt>
                <c:pt idx="23645">
                  <c:v>31.12.1931</c:v>
                </c:pt>
                <c:pt idx="23646">
                  <c:v>30.12.1931</c:v>
                </c:pt>
                <c:pt idx="23647">
                  <c:v>29.12.1931</c:v>
                </c:pt>
                <c:pt idx="23648">
                  <c:v>28.12.1931</c:v>
                </c:pt>
                <c:pt idx="23649">
                  <c:v>25.12.1931</c:v>
                </c:pt>
                <c:pt idx="23650">
                  <c:v>24.12.1931</c:v>
                </c:pt>
                <c:pt idx="23651">
                  <c:v>23.12.1931</c:v>
                </c:pt>
                <c:pt idx="23652">
                  <c:v>22.12.1931</c:v>
                </c:pt>
                <c:pt idx="23653">
                  <c:v>21.12.1931</c:v>
                </c:pt>
                <c:pt idx="23654">
                  <c:v>18.12.1931</c:v>
                </c:pt>
                <c:pt idx="23655">
                  <c:v>17.12.1931</c:v>
                </c:pt>
                <c:pt idx="23656">
                  <c:v>16.12.1931</c:v>
                </c:pt>
                <c:pt idx="23657">
                  <c:v>15.12.1931</c:v>
                </c:pt>
                <c:pt idx="23658">
                  <c:v>14.12.1931</c:v>
                </c:pt>
                <c:pt idx="23659">
                  <c:v>11.12.1931</c:v>
                </c:pt>
                <c:pt idx="23660">
                  <c:v>10.12.1931</c:v>
                </c:pt>
                <c:pt idx="23661">
                  <c:v>09.12.1931</c:v>
                </c:pt>
                <c:pt idx="23662">
                  <c:v>08.12.1931</c:v>
                </c:pt>
                <c:pt idx="23663">
                  <c:v>07.12.1931</c:v>
                </c:pt>
                <c:pt idx="23664">
                  <c:v>04.12.1931</c:v>
                </c:pt>
                <c:pt idx="23665">
                  <c:v>03.12.1931</c:v>
                </c:pt>
                <c:pt idx="23666">
                  <c:v>02.12.1931</c:v>
                </c:pt>
                <c:pt idx="23667">
                  <c:v>01.12.1931</c:v>
                </c:pt>
                <c:pt idx="23668">
                  <c:v>30.11.1931</c:v>
                </c:pt>
                <c:pt idx="23669">
                  <c:v>27.11.1931</c:v>
                </c:pt>
                <c:pt idx="23670">
                  <c:v>26.11.1931</c:v>
                </c:pt>
                <c:pt idx="23671">
                  <c:v>25.11.1931</c:v>
                </c:pt>
                <c:pt idx="23672">
                  <c:v>24.11.1931</c:v>
                </c:pt>
                <c:pt idx="23673">
                  <c:v>23.11.1931</c:v>
                </c:pt>
                <c:pt idx="23674">
                  <c:v>20.11.1931</c:v>
                </c:pt>
                <c:pt idx="23675">
                  <c:v>19.11.1931</c:v>
                </c:pt>
                <c:pt idx="23676">
                  <c:v>18.11.1931</c:v>
                </c:pt>
                <c:pt idx="23677">
                  <c:v>17.11.1931</c:v>
                </c:pt>
                <c:pt idx="23678">
                  <c:v>16.11.1931</c:v>
                </c:pt>
                <c:pt idx="23679">
                  <c:v>13.11.1931</c:v>
                </c:pt>
                <c:pt idx="23680">
                  <c:v>12.11.1931</c:v>
                </c:pt>
                <c:pt idx="23681">
                  <c:v>11.11.1931</c:v>
                </c:pt>
                <c:pt idx="23682">
                  <c:v>10.11.1931</c:v>
                </c:pt>
                <c:pt idx="23683">
                  <c:v>09.11.1931</c:v>
                </c:pt>
                <c:pt idx="23684">
                  <c:v>06.11.1931</c:v>
                </c:pt>
                <c:pt idx="23685">
                  <c:v>05.11.1931</c:v>
                </c:pt>
                <c:pt idx="23686">
                  <c:v>04.11.1931</c:v>
                </c:pt>
                <c:pt idx="23687">
                  <c:v>03.11.1931</c:v>
                </c:pt>
                <c:pt idx="23688">
                  <c:v>02.11.1931</c:v>
                </c:pt>
                <c:pt idx="23689">
                  <c:v>30.10.1931</c:v>
                </c:pt>
                <c:pt idx="23690">
                  <c:v>29.10.1931</c:v>
                </c:pt>
                <c:pt idx="23691">
                  <c:v>28.10.1931</c:v>
                </c:pt>
                <c:pt idx="23692">
                  <c:v>27.10.1931</c:v>
                </c:pt>
                <c:pt idx="23693">
                  <c:v>26.10.1931</c:v>
                </c:pt>
                <c:pt idx="23694">
                  <c:v>23.10.1931</c:v>
                </c:pt>
                <c:pt idx="23695">
                  <c:v>22.10.1931</c:v>
                </c:pt>
                <c:pt idx="23696">
                  <c:v>21.10.1931</c:v>
                </c:pt>
                <c:pt idx="23697">
                  <c:v>20.10.1931</c:v>
                </c:pt>
                <c:pt idx="23698">
                  <c:v>19.10.1931</c:v>
                </c:pt>
                <c:pt idx="23699">
                  <c:v>16.10.1931</c:v>
                </c:pt>
                <c:pt idx="23700">
                  <c:v>15.10.1931</c:v>
                </c:pt>
                <c:pt idx="23701">
                  <c:v>14.10.1931</c:v>
                </c:pt>
                <c:pt idx="23702">
                  <c:v>13.10.1931</c:v>
                </c:pt>
                <c:pt idx="23703">
                  <c:v>12.10.1931</c:v>
                </c:pt>
                <c:pt idx="23704">
                  <c:v>09.10.1931</c:v>
                </c:pt>
                <c:pt idx="23705">
                  <c:v>08.10.1931</c:v>
                </c:pt>
                <c:pt idx="23706">
                  <c:v>07.10.1931</c:v>
                </c:pt>
                <c:pt idx="23707">
                  <c:v>06.10.1931</c:v>
                </c:pt>
                <c:pt idx="23708">
                  <c:v>05.10.1931</c:v>
                </c:pt>
                <c:pt idx="23709">
                  <c:v>02.10.1931</c:v>
                </c:pt>
                <c:pt idx="23710">
                  <c:v>01.10.1931</c:v>
                </c:pt>
                <c:pt idx="23711">
                  <c:v>30.09.1931</c:v>
                </c:pt>
                <c:pt idx="23712">
                  <c:v>29.09.1931</c:v>
                </c:pt>
                <c:pt idx="23713">
                  <c:v>28.09.1931</c:v>
                </c:pt>
                <c:pt idx="23714">
                  <c:v>25.09.1931</c:v>
                </c:pt>
                <c:pt idx="23715">
                  <c:v>24.09.1931</c:v>
                </c:pt>
                <c:pt idx="23716">
                  <c:v>23.09.1931</c:v>
                </c:pt>
                <c:pt idx="23717">
                  <c:v>22.09.1931</c:v>
                </c:pt>
                <c:pt idx="23718">
                  <c:v>21.09.1931</c:v>
                </c:pt>
                <c:pt idx="23719">
                  <c:v>18.09.1931</c:v>
                </c:pt>
                <c:pt idx="23720">
                  <c:v>17.09.1931</c:v>
                </c:pt>
                <c:pt idx="23721">
                  <c:v>16.09.1931</c:v>
                </c:pt>
                <c:pt idx="23722">
                  <c:v>15.09.1931</c:v>
                </c:pt>
                <c:pt idx="23723">
                  <c:v>14.09.1931</c:v>
                </c:pt>
                <c:pt idx="23724">
                  <c:v>11.09.1931</c:v>
                </c:pt>
                <c:pt idx="23725">
                  <c:v>10.09.1931</c:v>
                </c:pt>
                <c:pt idx="23726">
                  <c:v>09.09.1931</c:v>
                </c:pt>
                <c:pt idx="23727">
                  <c:v>08.09.1931</c:v>
                </c:pt>
                <c:pt idx="23728">
                  <c:v>07.09.1931</c:v>
                </c:pt>
                <c:pt idx="23729">
                  <c:v>04.09.1931</c:v>
                </c:pt>
                <c:pt idx="23730">
                  <c:v>03.09.1931</c:v>
                </c:pt>
                <c:pt idx="23731">
                  <c:v>02.09.1931</c:v>
                </c:pt>
                <c:pt idx="23732">
                  <c:v>01.09.1931</c:v>
                </c:pt>
                <c:pt idx="23733">
                  <c:v>31.08.1931</c:v>
                </c:pt>
                <c:pt idx="23734">
                  <c:v>28.08.1931</c:v>
                </c:pt>
                <c:pt idx="23735">
                  <c:v>27.08.1931</c:v>
                </c:pt>
                <c:pt idx="23736">
                  <c:v>26.08.1931</c:v>
                </c:pt>
                <c:pt idx="23737">
                  <c:v>25.08.1931</c:v>
                </c:pt>
                <c:pt idx="23738">
                  <c:v>24.08.1931</c:v>
                </c:pt>
                <c:pt idx="23739">
                  <c:v>21.08.1931</c:v>
                </c:pt>
                <c:pt idx="23740">
                  <c:v>20.08.1931</c:v>
                </c:pt>
                <c:pt idx="23741">
                  <c:v>19.08.1931</c:v>
                </c:pt>
                <c:pt idx="23742">
                  <c:v>18.08.1931</c:v>
                </c:pt>
                <c:pt idx="23743">
                  <c:v>17.08.1931</c:v>
                </c:pt>
                <c:pt idx="23744">
                  <c:v>14.08.1931</c:v>
                </c:pt>
                <c:pt idx="23745">
                  <c:v>13.08.1931</c:v>
                </c:pt>
                <c:pt idx="23746">
                  <c:v>12.08.1931</c:v>
                </c:pt>
                <c:pt idx="23747">
                  <c:v>11.08.1931</c:v>
                </c:pt>
                <c:pt idx="23748">
                  <c:v>10.08.1931</c:v>
                </c:pt>
                <c:pt idx="23749">
                  <c:v>07.08.1931</c:v>
                </c:pt>
                <c:pt idx="23750">
                  <c:v>06.08.1931</c:v>
                </c:pt>
                <c:pt idx="23751">
                  <c:v>05.08.1931</c:v>
                </c:pt>
                <c:pt idx="23752">
                  <c:v>04.08.1931</c:v>
                </c:pt>
                <c:pt idx="23753">
                  <c:v>03.08.1931</c:v>
                </c:pt>
                <c:pt idx="23754">
                  <c:v>31.07.1931</c:v>
                </c:pt>
                <c:pt idx="23755">
                  <c:v>30.07.1931</c:v>
                </c:pt>
                <c:pt idx="23756">
                  <c:v>29.07.1931</c:v>
                </c:pt>
                <c:pt idx="23757">
                  <c:v>28.07.1931</c:v>
                </c:pt>
                <c:pt idx="23758">
                  <c:v>27.07.1931</c:v>
                </c:pt>
                <c:pt idx="23759">
                  <c:v>24.07.1931</c:v>
                </c:pt>
                <c:pt idx="23760">
                  <c:v>23.07.1931</c:v>
                </c:pt>
                <c:pt idx="23761">
                  <c:v>22.07.1931</c:v>
                </c:pt>
                <c:pt idx="23762">
                  <c:v>21.07.1931</c:v>
                </c:pt>
                <c:pt idx="23763">
                  <c:v>20.07.1931</c:v>
                </c:pt>
                <c:pt idx="23764">
                  <c:v>17.07.1931</c:v>
                </c:pt>
                <c:pt idx="23765">
                  <c:v>16.07.1931</c:v>
                </c:pt>
                <c:pt idx="23766">
                  <c:v>15.07.1931</c:v>
                </c:pt>
                <c:pt idx="23767">
                  <c:v>14.07.1931</c:v>
                </c:pt>
                <c:pt idx="23768">
                  <c:v>13.07.1931</c:v>
                </c:pt>
                <c:pt idx="23769">
                  <c:v>10.07.1931</c:v>
                </c:pt>
                <c:pt idx="23770">
                  <c:v>09.07.1931</c:v>
                </c:pt>
                <c:pt idx="23771">
                  <c:v>08.07.1931</c:v>
                </c:pt>
                <c:pt idx="23772">
                  <c:v>07.07.1931</c:v>
                </c:pt>
                <c:pt idx="23773">
                  <c:v>06.07.1931</c:v>
                </c:pt>
                <c:pt idx="23774">
                  <c:v>03.07.1931</c:v>
                </c:pt>
                <c:pt idx="23775">
                  <c:v>02.07.1931</c:v>
                </c:pt>
                <c:pt idx="23776">
                  <c:v>01.07.1931</c:v>
                </c:pt>
                <c:pt idx="23777">
                  <c:v>30.06.1931</c:v>
                </c:pt>
                <c:pt idx="23778">
                  <c:v>29.06.1931</c:v>
                </c:pt>
                <c:pt idx="23779">
                  <c:v>26.06.1931</c:v>
                </c:pt>
                <c:pt idx="23780">
                  <c:v>25.06.1931</c:v>
                </c:pt>
                <c:pt idx="23781">
                  <c:v>24.06.1931</c:v>
                </c:pt>
                <c:pt idx="23782">
                  <c:v>23.06.1931</c:v>
                </c:pt>
                <c:pt idx="23783">
                  <c:v>22.06.1931</c:v>
                </c:pt>
                <c:pt idx="23784">
                  <c:v>19.06.1931</c:v>
                </c:pt>
                <c:pt idx="23785">
                  <c:v>18.06.1931</c:v>
                </c:pt>
                <c:pt idx="23786">
                  <c:v>17.06.1931</c:v>
                </c:pt>
                <c:pt idx="23787">
                  <c:v>16.06.1931</c:v>
                </c:pt>
                <c:pt idx="23788">
                  <c:v>15.06.1931</c:v>
                </c:pt>
                <c:pt idx="23789">
                  <c:v>12.06.1931</c:v>
                </c:pt>
                <c:pt idx="23790">
                  <c:v>11.06.1931</c:v>
                </c:pt>
                <c:pt idx="23791">
                  <c:v>10.06.1931</c:v>
                </c:pt>
                <c:pt idx="23792">
                  <c:v>09.06.1931</c:v>
                </c:pt>
                <c:pt idx="23793">
                  <c:v>08.06.1931</c:v>
                </c:pt>
                <c:pt idx="23794">
                  <c:v>05.06.1931</c:v>
                </c:pt>
                <c:pt idx="23795">
                  <c:v>04.06.1931</c:v>
                </c:pt>
                <c:pt idx="23796">
                  <c:v>03.06.1931</c:v>
                </c:pt>
                <c:pt idx="23797">
                  <c:v>02.06.1931</c:v>
                </c:pt>
                <c:pt idx="23798">
                  <c:v>01.06.1931</c:v>
                </c:pt>
                <c:pt idx="23799">
                  <c:v>29.05.1931</c:v>
                </c:pt>
                <c:pt idx="23800">
                  <c:v>28.05.1931</c:v>
                </c:pt>
                <c:pt idx="23801">
                  <c:v>27.05.1931</c:v>
                </c:pt>
                <c:pt idx="23802">
                  <c:v>26.05.1931</c:v>
                </c:pt>
                <c:pt idx="23803">
                  <c:v>25.05.1931</c:v>
                </c:pt>
                <c:pt idx="23804">
                  <c:v>22.05.1931</c:v>
                </c:pt>
                <c:pt idx="23805">
                  <c:v>21.05.1931</c:v>
                </c:pt>
                <c:pt idx="23806">
                  <c:v>20.05.1931</c:v>
                </c:pt>
                <c:pt idx="23807">
                  <c:v>19.05.1931</c:v>
                </c:pt>
                <c:pt idx="23808">
                  <c:v>18.05.1931</c:v>
                </c:pt>
                <c:pt idx="23809">
                  <c:v>15.05.1931</c:v>
                </c:pt>
                <c:pt idx="23810">
                  <c:v>14.05.1931</c:v>
                </c:pt>
                <c:pt idx="23811">
                  <c:v>13.05.1931</c:v>
                </c:pt>
                <c:pt idx="23812">
                  <c:v>12.05.1931</c:v>
                </c:pt>
                <c:pt idx="23813">
                  <c:v>11.05.1931</c:v>
                </c:pt>
                <c:pt idx="23814">
                  <c:v>08.05.1931</c:v>
                </c:pt>
                <c:pt idx="23815">
                  <c:v>07.05.1931</c:v>
                </c:pt>
                <c:pt idx="23816">
                  <c:v>06.05.1931</c:v>
                </c:pt>
                <c:pt idx="23817">
                  <c:v>05.05.1931</c:v>
                </c:pt>
                <c:pt idx="23818">
                  <c:v>04.05.1931</c:v>
                </c:pt>
                <c:pt idx="23819">
                  <c:v>01.05.1931</c:v>
                </c:pt>
                <c:pt idx="23820">
                  <c:v>30.04.1931</c:v>
                </c:pt>
                <c:pt idx="23821">
                  <c:v>29.04.1931</c:v>
                </c:pt>
                <c:pt idx="23822">
                  <c:v>28.04.1931</c:v>
                </c:pt>
                <c:pt idx="23823">
                  <c:v>27.04.1931</c:v>
                </c:pt>
                <c:pt idx="23824">
                  <c:v>24.04.1931</c:v>
                </c:pt>
                <c:pt idx="23825">
                  <c:v>23.04.1931</c:v>
                </c:pt>
                <c:pt idx="23826">
                  <c:v>22.04.1931</c:v>
                </c:pt>
                <c:pt idx="23827">
                  <c:v>21.04.1931</c:v>
                </c:pt>
                <c:pt idx="23828">
                  <c:v>20.04.1931</c:v>
                </c:pt>
                <c:pt idx="23829">
                  <c:v>17.04.1931</c:v>
                </c:pt>
                <c:pt idx="23830">
                  <c:v>16.04.1931</c:v>
                </c:pt>
                <c:pt idx="23831">
                  <c:v>15.04.1931</c:v>
                </c:pt>
                <c:pt idx="23832">
                  <c:v>14.04.1931</c:v>
                </c:pt>
                <c:pt idx="23833">
                  <c:v>13.04.1931</c:v>
                </c:pt>
                <c:pt idx="23834">
                  <c:v>10.04.1931</c:v>
                </c:pt>
                <c:pt idx="23835">
                  <c:v>09.04.1931</c:v>
                </c:pt>
                <c:pt idx="23836">
                  <c:v>08.04.1931</c:v>
                </c:pt>
                <c:pt idx="23837">
                  <c:v>07.04.1931</c:v>
                </c:pt>
                <c:pt idx="23838">
                  <c:v>06.04.1931</c:v>
                </c:pt>
                <c:pt idx="23839">
                  <c:v>03.04.1931</c:v>
                </c:pt>
                <c:pt idx="23840">
                  <c:v>02.04.1931</c:v>
                </c:pt>
                <c:pt idx="23841">
                  <c:v>01.04.1931</c:v>
                </c:pt>
                <c:pt idx="23842">
                  <c:v>31.03.1931</c:v>
                </c:pt>
                <c:pt idx="23843">
                  <c:v>30.03.1931</c:v>
                </c:pt>
                <c:pt idx="23844">
                  <c:v>27.03.1931</c:v>
                </c:pt>
                <c:pt idx="23845">
                  <c:v>26.03.1931</c:v>
                </c:pt>
                <c:pt idx="23846">
                  <c:v>25.03.1931</c:v>
                </c:pt>
                <c:pt idx="23847">
                  <c:v>24.03.1931</c:v>
                </c:pt>
                <c:pt idx="23848">
                  <c:v>23.03.1931</c:v>
                </c:pt>
                <c:pt idx="23849">
                  <c:v>20.03.1931</c:v>
                </c:pt>
                <c:pt idx="23850">
                  <c:v>19.03.1931</c:v>
                </c:pt>
                <c:pt idx="23851">
                  <c:v>18.03.1931</c:v>
                </c:pt>
                <c:pt idx="23852">
                  <c:v>17.03.1931</c:v>
                </c:pt>
                <c:pt idx="23853">
                  <c:v>16.03.1931</c:v>
                </c:pt>
                <c:pt idx="23854">
                  <c:v>13.03.1931</c:v>
                </c:pt>
                <c:pt idx="23855">
                  <c:v>12.03.1931</c:v>
                </c:pt>
                <c:pt idx="23856">
                  <c:v>11.03.1931</c:v>
                </c:pt>
                <c:pt idx="23857">
                  <c:v>10.03.1931</c:v>
                </c:pt>
                <c:pt idx="23858">
                  <c:v>09.03.1931</c:v>
                </c:pt>
                <c:pt idx="23859">
                  <c:v>06.03.1931</c:v>
                </c:pt>
                <c:pt idx="23860">
                  <c:v>05.03.1931</c:v>
                </c:pt>
                <c:pt idx="23861">
                  <c:v>04.03.1931</c:v>
                </c:pt>
                <c:pt idx="23862">
                  <c:v>03.03.1931</c:v>
                </c:pt>
                <c:pt idx="23863">
                  <c:v>02.03.1931</c:v>
                </c:pt>
                <c:pt idx="23864">
                  <c:v>27.02.1931</c:v>
                </c:pt>
                <c:pt idx="23865">
                  <c:v>26.02.1931</c:v>
                </c:pt>
                <c:pt idx="23866">
                  <c:v>25.02.1931</c:v>
                </c:pt>
                <c:pt idx="23867">
                  <c:v>24.02.1931</c:v>
                </c:pt>
                <c:pt idx="23868">
                  <c:v>23.02.1931</c:v>
                </c:pt>
                <c:pt idx="23869">
                  <c:v>20.02.1931</c:v>
                </c:pt>
                <c:pt idx="23870">
                  <c:v>19.02.1931</c:v>
                </c:pt>
                <c:pt idx="23871">
                  <c:v>18.02.1931</c:v>
                </c:pt>
                <c:pt idx="23872">
                  <c:v>17.02.1931</c:v>
                </c:pt>
                <c:pt idx="23873">
                  <c:v>16.02.1931</c:v>
                </c:pt>
                <c:pt idx="23874">
                  <c:v>13.02.1931</c:v>
                </c:pt>
                <c:pt idx="23875">
                  <c:v>12.02.1931</c:v>
                </c:pt>
                <c:pt idx="23876">
                  <c:v>11.02.1931</c:v>
                </c:pt>
                <c:pt idx="23877">
                  <c:v>10.02.1931</c:v>
                </c:pt>
                <c:pt idx="23878">
                  <c:v>09.02.1931</c:v>
                </c:pt>
                <c:pt idx="23879">
                  <c:v>06.02.1931</c:v>
                </c:pt>
                <c:pt idx="23880">
                  <c:v>05.02.1931</c:v>
                </c:pt>
                <c:pt idx="23881">
                  <c:v>04.02.1931</c:v>
                </c:pt>
                <c:pt idx="23882">
                  <c:v>03.02.1931</c:v>
                </c:pt>
                <c:pt idx="23883">
                  <c:v>02.02.1931</c:v>
                </c:pt>
                <c:pt idx="23884">
                  <c:v>30.01.1931</c:v>
                </c:pt>
                <c:pt idx="23885">
                  <c:v>29.01.1931</c:v>
                </c:pt>
                <c:pt idx="23886">
                  <c:v>28.01.1931</c:v>
                </c:pt>
                <c:pt idx="23887">
                  <c:v>27.01.1931</c:v>
                </c:pt>
                <c:pt idx="23888">
                  <c:v>26.01.1931</c:v>
                </c:pt>
                <c:pt idx="23889">
                  <c:v>23.01.1931</c:v>
                </c:pt>
                <c:pt idx="23890">
                  <c:v>22.01.1931</c:v>
                </c:pt>
                <c:pt idx="23891">
                  <c:v>21.01.1931</c:v>
                </c:pt>
                <c:pt idx="23892">
                  <c:v>20.01.1931</c:v>
                </c:pt>
                <c:pt idx="23893">
                  <c:v>19.01.1931</c:v>
                </c:pt>
                <c:pt idx="23894">
                  <c:v>16.01.1931</c:v>
                </c:pt>
                <c:pt idx="23895">
                  <c:v>15.01.1931</c:v>
                </c:pt>
                <c:pt idx="23896">
                  <c:v>14.01.1931</c:v>
                </c:pt>
                <c:pt idx="23897">
                  <c:v>13.01.1931</c:v>
                </c:pt>
                <c:pt idx="23898">
                  <c:v>12.01.1931</c:v>
                </c:pt>
                <c:pt idx="23899">
                  <c:v>09.01.1931</c:v>
                </c:pt>
                <c:pt idx="23900">
                  <c:v>08.01.1931</c:v>
                </c:pt>
                <c:pt idx="23901">
                  <c:v>07.01.1931</c:v>
                </c:pt>
                <c:pt idx="23902">
                  <c:v>06.01.1931</c:v>
                </c:pt>
                <c:pt idx="23903">
                  <c:v>05.01.1931</c:v>
                </c:pt>
                <c:pt idx="23904">
                  <c:v>02.01.1931</c:v>
                </c:pt>
                <c:pt idx="23905">
                  <c:v>01.01.1931</c:v>
                </c:pt>
                <c:pt idx="23906">
                  <c:v>31.12.1930</c:v>
                </c:pt>
                <c:pt idx="23907">
                  <c:v>30.12.1930</c:v>
                </c:pt>
                <c:pt idx="23908">
                  <c:v>29.12.1930</c:v>
                </c:pt>
                <c:pt idx="23909">
                  <c:v>26.12.1930</c:v>
                </c:pt>
                <c:pt idx="23910">
                  <c:v>25.12.1930</c:v>
                </c:pt>
                <c:pt idx="23911">
                  <c:v>24.12.1930</c:v>
                </c:pt>
                <c:pt idx="23912">
                  <c:v>23.12.1930</c:v>
                </c:pt>
                <c:pt idx="23913">
                  <c:v>22.12.1930</c:v>
                </c:pt>
                <c:pt idx="23914">
                  <c:v>19.12.1930</c:v>
                </c:pt>
                <c:pt idx="23915">
                  <c:v>18.12.1930</c:v>
                </c:pt>
                <c:pt idx="23916">
                  <c:v>17.12.1930</c:v>
                </c:pt>
                <c:pt idx="23917">
                  <c:v>16.12.1930</c:v>
                </c:pt>
                <c:pt idx="23918">
                  <c:v>15.12.1930</c:v>
                </c:pt>
                <c:pt idx="23919">
                  <c:v>12.12.1930</c:v>
                </c:pt>
                <c:pt idx="23920">
                  <c:v>11.12.1930</c:v>
                </c:pt>
                <c:pt idx="23921">
                  <c:v>10.12.1930</c:v>
                </c:pt>
                <c:pt idx="23922">
                  <c:v>09.12.1930</c:v>
                </c:pt>
                <c:pt idx="23923">
                  <c:v>08.12.1930</c:v>
                </c:pt>
                <c:pt idx="23924">
                  <c:v>05.12.1930</c:v>
                </c:pt>
                <c:pt idx="23925">
                  <c:v>04.12.1930</c:v>
                </c:pt>
                <c:pt idx="23926">
                  <c:v>03.12.1930</c:v>
                </c:pt>
                <c:pt idx="23927">
                  <c:v>02.12.1930</c:v>
                </c:pt>
                <c:pt idx="23928">
                  <c:v>01.12.1930</c:v>
                </c:pt>
                <c:pt idx="23929">
                  <c:v>28.11.1930</c:v>
                </c:pt>
                <c:pt idx="23930">
                  <c:v>27.11.1930</c:v>
                </c:pt>
                <c:pt idx="23931">
                  <c:v>26.11.1930</c:v>
                </c:pt>
                <c:pt idx="23932">
                  <c:v>25.11.1930</c:v>
                </c:pt>
                <c:pt idx="23933">
                  <c:v>24.11.1930</c:v>
                </c:pt>
                <c:pt idx="23934">
                  <c:v>21.11.1930</c:v>
                </c:pt>
                <c:pt idx="23935">
                  <c:v>20.11.1930</c:v>
                </c:pt>
                <c:pt idx="23936">
                  <c:v>19.11.1930</c:v>
                </c:pt>
                <c:pt idx="23937">
                  <c:v>18.11.1930</c:v>
                </c:pt>
                <c:pt idx="23938">
                  <c:v>17.11.1930</c:v>
                </c:pt>
                <c:pt idx="23939">
                  <c:v>14.11.1930</c:v>
                </c:pt>
                <c:pt idx="23940">
                  <c:v>13.11.1930</c:v>
                </c:pt>
                <c:pt idx="23941">
                  <c:v>12.11.1930</c:v>
                </c:pt>
                <c:pt idx="23942">
                  <c:v>11.11.1930</c:v>
                </c:pt>
                <c:pt idx="23943">
                  <c:v>10.11.1930</c:v>
                </c:pt>
                <c:pt idx="23944">
                  <c:v>07.11.1930</c:v>
                </c:pt>
                <c:pt idx="23945">
                  <c:v>06.11.1930</c:v>
                </c:pt>
                <c:pt idx="23946">
                  <c:v>05.11.1930</c:v>
                </c:pt>
                <c:pt idx="23947">
                  <c:v>04.11.1930</c:v>
                </c:pt>
                <c:pt idx="23948">
                  <c:v>03.11.1930</c:v>
                </c:pt>
                <c:pt idx="23949">
                  <c:v>31.10.1930</c:v>
                </c:pt>
                <c:pt idx="23950">
                  <c:v>30.10.1930</c:v>
                </c:pt>
                <c:pt idx="23951">
                  <c:v>29.10.1930</c:v>
                </c:pt>
                <c:pt idx="23952">
                  <c:v>28.10.1930</c:v>
                </c:pt>
                <c:pt idx="23953">
                  <c:v>27.10.1930</c:v>
                </c:pt>
                <c:pt idx="23954">
                  <c:v>24.10.1930</c:v>
                </c:pt>
                <c:pt idx="23955">
                  <c:v>23.10.1930</c:v>
                </c:pt>
                <c:pt idx="23956">
                  <c:v>22.10.1930</c:v>
                </c:pt>
                <c:pt idx="23957">
                  <c:v>21.10.1930</c:v>
                </c:pt>
                <c:pt idx="23958">
                  <c:v>20.10.1930</c:v>
                </c:pt>
                <c:pt idx="23959">
                  <c:v>17.10.1930</c:v>
                </c:pt>
                <c:pt idx="23960">
                  <c:v>16.10.1930</c:v>
                </c:pt>
                <c:pt idx="23961">
                  <c:v>15.10.1930</c:v>
                </c:pt>
                <c:pt idx="23962">
                  <c:v>14.10.1930</c:v>
                </c:pt>
                <c:pt idx="23963">
                  <c:v>13.10.1930</c:v>
                </c:pt>
                <c:pt idx="23964">
                  <c:v>10.10.1930</c:v>
                </c:pt>
                <c:pt idx="23965">
                  <c:v>09.10.1930</c:v>
                </c:pt>
                <c:pt idx="23966">
                  <c:v>08.10.1930</c:v>
                </c:pt>
                <c:pt idx="23967">
                  <c:v>07.10.1930</c:v>
                </c:pt>
                <c:pt idx="23968">
                  <c:v>06.10.1930</c:v>
                </c:pt>
                <c:pt idx="23969">
                  <c:v>03.10.1930</c:v>
                </c:pt>
                <c:pt idx="23970">
                  <c:v>02.10.1930</c:v>
                </c:pt>
                <c:pt idx="23971">
                  <c:v>01.10.1930</c:v>
                </c:pt>
                <c:pt idx="23972">
                  <c:v>30.09.1930</c:v>
                </c:pt>
                <c:pt idx="23973">
                  <c:v>29.09.1930</c:v>
                </c:pt>
                <c:pt idx="23974">
                  <c:v>26.09.1930</c:v>
                </c:pt>
                <c:pt idx="23975">
                  <c:v>25.09.1930</c:v>
                </c:pt>
                <c:pt idx="23976">
                  <c:v>24.09.1930</c:v>
                </c:pt>
                <c:pt idx="23977">
                  <c:v>23.09.1930</c:v>
                </c:pt>
                <c:pt idx="23978">
                  <c:v>22.09.1930</c:v>
                </c:pt>
                <c:pt idx="23979">
                  <c:v>19.09.1930</c:v>
                </c:pt>
                <c:pt idx="23980">
                  <c:v>18.09.1930</c:v>
                </c:pt>
                <c:pt idx="23981">
                  <c:v>17.09.1930</c:v>
                </c:pt>
                <c:pt idx="23982">
                  <c:v>16.09.1930</c:v>
                </c:pt>
                <c:pt idx="23983">
                  <c:v>15.09.1930</c:v>
                </c:pt>
                <c:pt idx="23984">
                  <c:v>12.09.1930</c:v>
                </c:pt>
                <c:pt idx="23985">
                  <c:v>11.09.1930</c:v>
                </c:pt>
                <c:pt idx="23986">
                  <c:v>10.09.1930</c:v>
                </c:pt>
                <c:pt idx="23987">
                  <c:v>09.09.1930</c:v>
                </c:pt>
                <c:pt idx="23988">
                  <c:v>08.09.1930</c:v>
                </c:pt>
                <c:pt idx="23989">
                  <c:v>05.09.1930</c:v>
                </c:pt>
                <c:pt idx="23990">
                  <c:v>04.09.1930</c:v>
                </c:pt>
                <c:pt idx="23991">
                  <c:v>03.09.1930</c:v>
                </c:pt>
                <c:pt idx="23992">
                  <c:v>02.09.1930</c:v>
                </c:pt>
                <c:pt idx="23993">
                  <c:v>01.09.1930</c:v>
                </c:pt>
                <c:pt idx="23994">
                  <c:v>29.08.1930</c:v>
                </c:pt>
                <c:pt idx="23995">
                  <c:v>28.08.1930</c:v>
                </c:pt>
                <c:pt idx="23996">
                  <c:v>27.08.1930</c:v>
                </c:pt>
                <c:pt idx="23997">
                  <c:v>26.08.1930</c:v>
                </c:pt>
                <c:pt idx="23998">
                  <c:v>25.08.1930</c:v>
                </c:pt>
                <c:pt idx="23999">
                  <c:v>22.08.1930</c:v>
                </c:pt>
                <c:pt idx="24000">
                  <c:v>21.08.1930</c:v>
                </c:pt>
                <c:pt idx="24001">
                  <c:v>20.08.1930</c:v>
                </c:pt>
                <c:pt idx="24002">
                  <c:v>19.08.1930</c:v>
                </c:pt>
                <c:pt idx="24003">
                  <c:v>18.08.1930</c:v>
                </c:pt>
                <c:pt idx="24004">
                  <c:v>15.08.1930</c:v>
                </c:pt>
                <c:pt idx="24005">
                  <c:v>14.08.1930</c:v>
                </c:pt>
                <c:pt idx="24006">
                  <c:v>13.08.1930</c:v>
                </c:pt>
                <c:pt idx="24007">
                  <c:v>12.08.1930</c:v>
                </c:pt>
                <c:pt idx="24008">
                  <c:v>11.08.1930</c:v>
                </c:pt>
                <c:pt idx="24009">
                  <c:v>08.08.1930</c:v>
                </c:pt>
                <c:pt idx="24010">
                  <c:v>07.08.1930</c:v>
                </c:pt>
                <c:pt idx="24011">
                  <c:v>06.08.1930</c:v>
                </c:pt>
                <c:pt idx="24012">
                  <c:v>05.08.1930</c:v>
                </c:pt>
                <c:pt idx="24013">
                  <c:v>04.08.1930</c:v>
                </c:pt>
                <c:pt idx="24014">
                  <c:v>01.08.1930</c:v>
                </c:pt>
                <c:pt idx="24015">
                  <c:v>31.07.1930</c:v>
                </c:pt>
                <c:pt idx="24016">
                  <c:v>30.07.1930</c:v>
                </c:pt>
                <c:pt idx="24017">
                  <c:v>29.07.1930</c:v>
                </c:pt>
                <c:pt idx="24018">
                  <c:v>28.07.1930</c:v>
                </c:pt>
                <c:pt idx="24019">
                  <c:v>25.07.1930</c:v>
                </c:pt>
                <c:pt idx="24020">
                  <c:v>24.07.1930</c:v>
                </c:pt>
                <c:pt idx="24021">
                  <c:v>23.07.1930</c:v>
                </c:pt>
                <c:pt idx="24022">
                  <c:v>22.07.1930</c:v>
                </c:pt>
                <c:pt idx="24023">
                  <c:v>21.07.1930</c:v>
                </c:pt>
                <c:pt idx="24024">
                  <c:v>18.07.1930</c:v>
                </c:pt>
                <c:pt idx="24025">
                  <c:v>17.07.1930</c:v>
                </c:pt>
                <c:pt idx="24026">
                  <c:v>16.07.1930</c:v>
                </c:pt>
                <c:pt idx="24027">
                  <c:v>15.07.1930</c:v>
                </c:pt>
                <c:pt idx="24028">
                  <c:v>14.07.1930</c:v>
                </c:pt>
                <c:pt idx="24029">
                  <c:v>11.07.1930</c:v>
                </c:pt>
                <c:pt idx="24030">
                  <c:v>10.07.1930</c:v>
                </c:pt>
                <c:pt idx="24031">
                  <c:v>09.07.1930</c:v>
                </c:pt>
                <c:pt idx="24032">
                  <c:v>08.07.1930</c:v>
                </c:pt>
                <c:pt idx="24033">
                  <c:v>07.07.1930</c:v>
                </c:pt>
                <c:pt idx="24034">
                  <c:v>04.07.1930</c:v>
                </c:pt>
                <c:pt idx="24035">
                  <c:v>03.07.1930</c:v>
                </c:pt>
                <c:pt idx="24036">
                  <c:v>02.07.1930</c:v>
                </c:pt>
                <c:pt idx="24037">
                  <c:v>01.07.1930</c:v>
                </c:pt>
                <c:pt idx="24038">
                  <c:v>30.06.1930</c:v>
                </c:pt>
                <c:pt idx="24039">
                  <c:v>27.06.1930</c:v>
                </c:pt>
                <c:pt idx="24040">
                  <c:v>26.06.1930</c:v>
                </c:pt>
                <c:pt idx="24041">
                  <c:v>25.06.1930</c:v>
                </c:pt>
                <c:pt idx="24042">
                  <c:v>24.06.1930</c:v>
                </c:pt>
                <c:pt idx="24043">
                  <c:v>23.06.1930</c:v>
                </c:pt>
                <c:pt idx="24044">
                  <c:v>20.06.1930</c:v>
                </c:pt>
                <c:pt idx="24045">
                  <c:v>19.06.1930</c:v>
                </c:pt>
                <c:pt idx="24046">
                  <c:v>18.06.1930</c:v>
                </c:pt>
                <c:pt idx="24047">
                  <c:v>17.06.1930</c:v>
                </c:pt>
                <c:pt idx="24048">
                  <c:v>16.06.1930</c:v>
                </c:pt>
                <c:pt idx="24049">
                  <c:v>13.06.1930</c:v>
                </c:pt>
                <c:pt idx="24050">
                  <c:v>12.06.1930</c:v>
                </c:pt>
                <c:pt idx="24051">
                  <c:v>11.06.1930</c:v>
                </c:pt>
                <c:pt idx="24052">
                  <c:v>10.06.1930</c:v>
                </c:pt>
                <c:pt idx="24053">
                  <c:v>09.06.1930</c:v>
                </c:pt>
                <c:pt idx="24054">
                  <c:v>06.06.1930</c:v>
                </c:pt>
                <c:pt idx="24055">
                  <c:v>05.06.1930</c:v>
                </c:pt>
                <c:pt idx="24056">
                  <c:v>04.06.1930</c:v>
                </c:pt>
                <c:pt idx="24057">
                  <c:v>03.06.1930</c:v>
                </c:pt>
                <c:pt idx="24058">
                  <c:v>02.06.1930</c:v>
                </c:pt>
                <c:pt idx="24059">
                  <c:v>30.05.1930</c:v>
                </c:pt>
                <c:pt idx="24060">
                  <c:v>29.05.1930</c:v>
                </c:pt>
                <c:pt idx="24061">
                  <c:v>28.05.1930</c:v>
                </c:pt>
                <c:pt idx="24062">
                  <c:v>27.05.1930</c:v>
                </c:pt>
                <c:pt idx="24063">
                  <c:v>26.05.1930</c:v>
                </c:pt>
                <c:pt idx="24064">
                  <c:v>23.05.1930</c:v>
                </c:pt>
                <c:pt idx="24065">
                  <c:v>22.05.1930</c:v>
                </c:pt>
                <c:pt idx="24066">
                  <c:v>21.05.1930</c:v>
                </c:pt>
                <c:pt idx="24067">
                  <c:v>20.05.1930</c:v>
                </c:pt>
                <c:pt idx="24068">
                  <c:v>19.05.1930</c:v>
                </c:pt>
                <c:pt idx="24069">
                  <c:v>16.05.1930</c:v>
                </c:pt>
                <c:pt idx="24070">
                  <c:v>15.05.1930</c:v>
                </c:pt>
                <c:pt idx="24071">
                  <c:v>14.05.1930</c:v>
                </c:pt>
                <c:pt idx="24072">
                  <c:v>13.05.1930</c:v>
                </c:pt>
                <c:pt idx="24073">
                  <c:v>12.05.1930</c:v>
                </c:pt>
                <c:pt idx="24074">
                  <c:v>09.05.1930</c:v>
                </c:pt>
                <c:pt idx="24075">
                  <c:v>08.05.1930</c:v>
                </c:pt>
                <c:pt idx="24076">
                  <c:v>07.05.1930</c:v>
                </c:pt>
                <c:pt idx="24077">
                  <c:v>06.05.1930</c:v>
                </c:pt>
                <c:pt idx="24078">
                  <c:v>05.05.1930</c:v>
                </c:pt>
                <c:pt idx="24079">
                  <c:v>02.05.1930</c:v>
                </c:pt>
                <c:pt idx="24080">
                  <c:v>01.05.1930</c:v>
                </c:pt>
                <c:pt idx="24081">
                  <c:v>30.04.1930</c:v>
                </c:pt>
                <c:pt idx="24082">
                  <c:v>29.04.1930</c:v>
                </c:pt>
                <c:pt idx="24083">
                  <c:v>28.04.1930</c:v>
                </c:pt>
                <c:pt idx="24084">
                  <c:v>25.04.1930</c:v>
                </c:pt>
                <c:pt idx="24085">
                  <c:v>24.04.1930</c:v>
                </c:pt>
                <c:pt idx="24086">
                  <c:v>23.04.1930</c:v>
                </c:pt>
                <c:pt idx="24087">
                  <c:v>22.04.1930</c:v>
                </c:pt>
                <c:pt idx="24088">
                  <c:v>21.04.1930</c:v>
                </c:pt>
                <c:pt idx="24089">
                  <c:v>18.04.1930</c:v>
                </c:pt>
                <c:pt idx="24090">
                  <c:v>17.04.1930</c:v>
                </c:pt>
                <c:pt idx="24091">
                  <c:v>16.04.1930</c:v>
                </c:pt>
                <c:pt idx="24092">
                  <c:v>15.04.1930</c:v>
                </c:pt>
                <c:pt idx="24093">
                  <c:v>14.04.1930</c:v>
                </c:pt>
                <c:pt idx="24094">
                  <c:v>11.04.1930</c:v>
                </c:pt>
                <c:pt idx="24095">
                  <c:v>10.04.1930</c:v>
                </c:pt>
                <c:pt idx="24096">
                  <c:v>09.04.1930</c:v>
                </c:pt>
                <c:pt idx="24097">
                  <c:v>08.04.1930</c:v>
                </c:pt>
                <c:pt idx="24098">
                  <c:v>07.04.1930</c:v>
                </c:pt>
                <c:pt idx="24099">
                  <c:v>04.04.1930</c:v>
                </c:pt>
                <c:pt idx="24100">
                  <c:v>03.04.1930</c:v>
                </c:pt>
                <c:pt idx="24101">
                  <c:v>02.04.1930</c:v>
                </c:pt>
                <c:pt idx="24102">
                  <c:v>01.04.1930</c:v>
                </c:pt>
                <c:pt idx="24103">
                  <c:v>31.03.1930</c:v>
                </c:pt>
                <c:pt idx="24104">
                  <c:v>28.03.1930</c:v>
                </c:pt>
                <c:pt idx="24105">
                  <c:v>27.03.1930</c:v>
                </c:pt>
                <c:pt idx="24106">
                  <c:v>26.03.1930</c:v>
                </c:pt>
                <c:pt idx="24107">
                  <c:v>25.03.1930</c:v>
                </c:pt>
                <c:pt idx="24108">
                  <c:v>24.03.1930</c:v>
                </c:pt>
                <c:pt idx="24109">
                  <c:v>21.03.1930</c:v>
                </c:pt>
                <c:pt idx="24110">
                  <c:v>20.03.1930</c:v>
                </c:pt>
                <c:pt idx="24111">
                  <c:v>19.03.1930</c:v>
                </c:pt>
                <c:pt idx="24112">
                  <c:v>18.03.1930</c:v>
                </c:pt>
                <c:pt idx="24113">
                  <c:v>17.03.1930</c:v>
                </c:pt>
                <c:pt idx="24114">
                  <c:v>14.03.1930</c:v>
                </c:pt>
                <c:pt idx="24115">
                  <c:v>13.03.1930</c:v>
                </c:pt>
                <c:pt idx="24116">
                  <c:v>12.03.1930</c:v>
                </c:pt>
                <c:pt idx="24117">
                  <c:v>11.03.1930</c:v>
                </c:pt>
                <c:pt idx="24118">
                  <c:v>10.03.1930</c:v>
                </c:pt>
                <c:pt idx="24119">
                  <c:v>07.03.1930</c:v>
                </c:pt>
                <c:pt idx="24120">
                  <c:v>06.03.1930</c:v>
                </c:pt>
                <c:pt idx="24121">
                  <c:v>05.03.1930</c:v>
                </c:pt>
                <c:pt idx="24122">
                  <c:v>04.03.1930</c:v>
                </c:pt>
                <c:pt idx="24123">
                  <c:v>03.03.1930</c:v>
                </c:pt>
                <c:pt idx="24124">
                  <c:v>28.02.1930</c:v>
                </c:pt>
                <c:pt idx="24125">
                  <c:v>27.02.1930</c:v>
                </c:pt>
                <c:pt idx="24126">
                  <c:v>26.02.1930</c:v>
                </c:pt>
                <c:pt idx="24127">
                  <c:v>25.02.1930</c:v>
                </c:pt>
                <c:pt idx="24128">
                  <c:v>24.02.1930</c:v>
                </c:pt>
                <c:pt idx="24129">
                  <c:v>21.02.1930</c:v>
                </c:pt>
                <c:pt idx="24130">
                  <c:v>20.02.1930</c:v>
                </c:pt>
                <c:pt idx="24131">
                  <c:v>19.02.1930</c:v>
                </c:pt>
                <c:pt idx="24132">
                  <c:v>18.02.1930</c:v>
                </c:pt>
                <c:pt idx="24133">
                  <c:v>17.02.1930</c:v>
                </c:pt>
                <c:pt idx="24134">
                  <c:v>14.02.1930</c:v>
                </c:pt>
                <c:pt idx="24135">
                  <c:v>13.02.1930</c:v>
                </c:pt>
                <c:pt idx="24136">
                  <c:v>12.02.1930</c:v>
                </c:pt>
                <c:pt idx="24137">
                  <c:v>11.02.1930</c:v>
                </c:pt>
                <c:pt idx="24138">
                  <c:v>10.02.1930</c:v>
                </c:pt>
                <c:pt idx="24139">
                  <c:v>07.02.1930</c:v>
                </c:pt>
                <c:pt idx="24140">
                  <c:v>06.02.1930</c:v>
                </c:pt>
                <c:pt idx="24141">
                  <c:v>05.02.1930</c:v>
                </c:pt>
                <c:pt idx="24142">
                  <c:v>04.02.1930</c:v>
                </c:pt>
                <c:pt idx="24143">
                  <c:v>03.02.1930</c:v>
                </c:pt>
                <c:pt idx="24144">
                  <c:v>31.01.1930</c:v>
                </c:pt>
                <c:pt idx="24145">
                  <c:v>30.01.1930</c:v>
                </c:pt>
                <c:pt idx="24146">
                  <c:v>29.01.1930</c:v>
                </c:pt>
                <c:pt idx="24147">
                  <c:v>28.01.1930</c:v>
                </c:pt>
                <c:pt idx="24148">
                  <c:v>27.01.1930</c:v>
                </c:pt>
                <c:pt idx="24149">
                  <c:v>24.01.1930</c:v>
                </c:pt>
                <c:pt idx="24150">
                  <c:v>23.01.1930</c:v>
                </c:pt>
                <c:pt idx="24151">
                  <c:v>22.01.1930</c:v>
                </c:pt>
                <c:pt idx="24152">
                  <c:v>21.01.1930</c:v>
                </c:pt>
                <c:pt idx="24153">
                  <c:v>20.01.1930</c:v>
                </c:pt>
                <c:pt idx="24154">
                  <c:v>17.01.1930</c:v>
                </c:pt>
                <c:pt idx="24155">
                  <c:v>16.01.1930</c:v>
                </c:pt>
                <c:pt idx="24156">
                  <c:v>15.01.1930</c:v>
                </c:pt>
                <c:pt idx="24157">
                  <c:v>14.01.1930</c:v>
                </c:pt>
                <c:pt idx="24158">
                  <c:v>13.01.1930</c:v>
                </c:pt>
                <c:pt idx="24159">
                  <c:v>10.01.1930</c:v>
                </c:pt>
                <c:pt idx="24160">
                  <c:v>09.01.1930</c:v>
                </c:pt>
                <c:pt idx="24161">
                  <c:v>08.01.1930</c:v>
                </c:pt>
                <c:pt idx="24162">
                  <c:v>07.01.1930</c:v>
                </c:pt>
                <c:pt idx="24163">
                  <c:v>06.01.1930</c:v>
                </c:pt>
                <c:pt idx="24164">
                  <c:v>03.01.1930</c:v>
                </c:pt>
                <c:pt idx="24165">
                  <c:v>02.01.1930</c:v>
                </c:pt>
              </c:strCache>
            </c:strRef>
          </c:cat>
          <c:val>
            <c:numRef>
              <c:f>Sheet1!$R$14:$R$25259</c:f>
              <c:numCache>
                <c:formatCode>General</c:formatCode>
                <c:ptCount val="25246"/>
                <c:pt idx="0">
                  <c:v>0.67101675378934811</c:v>
                </c:pt>
                <c:pt idx="1">
                  <c:v>0.66598475608905217</c:v>
                </c:pt>
                <c:pt idx="2">
                  <c:v>0.66022712366769265</c:v>
                </c:pt>
                <c:pt idx="3">
                  <c:v>0.65140787090400121</c:v>
                </c:pt>
                <c:pt idx="4">
                  <c:v>0.65137158916794791</c:v>
                </c:pt>
                <c:pt idx="5">
                  <c:v>0.64485204028947241</c:v>
                </c:pt>
                <c:pt idx="6">
                  <c:v>0.63843296391083615</c:v>
                </c:pt>
                <c:pt idx="7">
                  <c:v>0.66035550519526542</c:v>
                </c:pt>
                <c:pt idx="8">
                  <c:v>0.67046136413745749</c:v>
                </c:pt>
                <c:pt idx="9">
                  <c:v>0.67007342865196584</c:v>
                </c:pt>
                <c:pt idx="10">
                  <c:v>0.67491843586644973</c:v>
                </c:pt>
                <c:pt idx="11">
                  <c:v>0.67329692135515073</c:v>
                </c:pt>
                <c:pt idx="12">
                  <c:v>0.66703413553182056</c:v>
                </c:pt>
                <c:pt idx="13">
                  <c:v>0.65473741791257201</c:v>
                </c:pt>
                <c:pt idx="14">
                  <c:v>0.61391209214444586</c:v>
                </c:pt>
                <c:pt idx="15">
                  <c:v>0.59435623641179203</c:v>
                </c:pt>
                <c:pt idx="16">
                  <c:v>0.59885238077961067</c:v>
                </c:pt>
                <c:pt idx="17">
                  <c:v>0.59233562280390828</c:v>
                </c:pt>
                <c:pt idx="18">
                  <c:v>0.62253877261677837</c:v>
                </c:pt>
                <c:pt idx="19">
                  <c:v>0.62791126045541956</c:v>
                </c:pt>
                <c:pt idx="20">
                  <c:v>0.62528781184849858</c:v>
                </c:pt>
                <c:pt idx="21">
                  <c:v>0.62098982157758553</c:v>
                </c:pt>
                <c:pt idx="22">
                  <c:v>0.62147543866014332</c:v>
                </c:pt>
                <c:pt idx="23">
                  <c:v>0.61800355561013309</c:v>
                </c:pt>
                <c:pt idx="24">
                  <c:v>0.63301303072504855</c:v>
                </c:pt>
                <c:pt idx="25">
                  <c:v>0.63378890169603141</c:v>
                </c:pt>
                <c:pt idx="26">
                  <c:v>0.63677237676071075</c:v>
                </c:pt>
                <c:pt idx="27">
                  <c:v>0.63029748232660809</c:v>
                </c:pt>
                <c:pt idx="28">
                  <c:v>0.63057657260394029</c:v>
                </c:pt>
                <c:pt idx="29">
                  <c:v>0.62298252615773619</c:v>
                </c:pt>
                <c:pt idx="30">
                  <c:v>0.63542716162397062</c:v>
                </c:pt>
                <c:pt idx="31">
                  <c:v>0.62291833539394981</c:v>
                </c:pt>
                <c:pt idx="32">
                  <c:v>0.6131557574928761</c:v>
                </c:pt>
                <c:pt idx="33">
                  <c:v>0.61650204991808688</c:v>
                </c:pt>
                <c:pt idx="34">
                  <c:v>0.60508446667243443</c:v>
                </c:pt>
                <c:pt idx="35">
                  <c:v>0.58968147426648088</c:v>
                </c:pt>
                <c:pt idx="36">
                  <c:v>0.60506772125579444</c:v>
                </c:pt>
                <c:pt idx="37">
                  <c:v>0.59079783537580877</c:v>
                </c:pt>
                <c:pt idx="38">
                  <c:v>0.59347710203819615</c:v>
                </c:pt>
                <c:pt idx="39">
                  <c:v>0.5932566207191039</c:v>
                </c:pt>
                <c:pt idx="40">
                  <c:v>0.60825214132015271</c:v>
                </c:pt>
                <c:pt idx="41">
                  <c:v>0.60146745667821166</c:v>
                </c:pt>
                <c:pt idx="42">
                  <c:v>0.60347690667500209</c:v>
                </c:pt>
                <c:pt idx="43">
                  <c:v>0.59702713036585942</c:v>
                </c:pt>
                <c:pt idx="44">
                  <c:v>0.60000502362499208</c:v>
                </c:pt>
                <c:pt idx="45">
                  <c:v>0.59599728724250411</c:v>
                </c:pt>
                <c:pt idx="46">
                  <c:v>0.59152626099964545</c:v>
                </c:pt>
                <c:pt idx="47">
                  <c:v>0.59462137217525757</c:v>
                </c:pt>
                <c:pt idx="48">
                  <c:v>0.56800174152333049</c:v>
                </c:pt>
                <c:pt idx="49">
                  <c:v>0.57255649484938886</c:v>
                </c:pt>
                <c:pt idx="50">
                  <c:v>0.57214065033616412</c:v>
                </c:pt>
                <c:pt idx="51">
                  <c:v>0.570167482075427</c:v>
                </c:pt>
                <c:pt idx="52">
                  <c:v>0.56172221028336033</c:v>
                </c:pt>
                <c:pt idx="53">
                  <c:v>0.55010368203802873</c:v>
                </c:pt>
                <c:pt idx="54">
                  <c:v>0.53374620088359981</c:v>
                </c:pt>
                <c:pt idx="55">
                  <c:v>0.52691686179728547</c:v>
                </c:pt>
                <c:pt idx="56">
                  <c:v>0.50943743772798178</c:v>
                </c:pt>
                <c:pt idx="57">
                  <c:v>0.53594822317174917</c:v>
                </c:pt>
                <c:pt idx="58">
                  <c:v>0.54059786719210057</c:v>
                </c:pt>
                <c:pt idx="59">
                  <c:v>0.54307060704926213</c:v>
                </c:pt>
                <c:pt idx="60">
                  <c:v>0.57641352248211719</c:v>
                </c:pt>
                <c:pt idx="61">
                  <c:v>0.56066166722949862</c:v>
                </c:pt>
                <c:pt idx="62">
                  <c:v>0.56072306709051167</c:v>
                </c:pt>
                <c:pt idx="63">
                  <c:v>0.57010608221441395</c:v>
                </c:pt>
                <c:pt idx="64">
                  <c:v>0.56760543332951907</c:v>
                </c:pt>
                <c:pt idx="65">
                  <c:v>0.57256486755770863</c:v>
                </c:pt>
                <c:pt idx="66">
                  <c:v>0.55471146251678038</c:v>
                </c:pt>
                <c:pt idx="67">
                  <c:v>0.56872458534162051</c:v>
                </c:pt>
                <c:pt idx="68">
                  <c:v>0.56210177306053177</c:v>
                </c:pt>
                <c:pt idx="69">
                  <c:v>0.56520804784723699</c:v>
                </c:pt>
                <c:pt idx="70">
                  <c:v>0.5501371728713087</c:v>
                </c:pt>
                <c:pt idx="71">
                  <c:v>0.54705880711233656</c:v>
                </c:pt>
                <c:pt idx="72">
                  <c:v>0.52249607180434654</c:v>
                </c:pt>
                <c:pt idx="73">
                  <c:v>0.51669657584138751</c:v>
                </c:pt>
                <c:pt idx="74">
                  <c:v>0.49156728727041332</c:v>
                </c:pt>
                <c:pt idx="75">
                  <c:v>0.49150309650662694</c:v>
                </c:pt>
                <c:pt idx="76">
                  <c:v>0.4845677031149267</c:v>
                </c:pt>
                <c:pt idx="77">
                  <c:v>0.45112989698777861</c:v>
                </c:pt>
                <c:pt idx="78">
                  <c:v>0.46244142592804471</c:v>
                </c:pt>
                <c:pt idx="79">
                  <c:v>0.4474542780353159</c:v>
                </c:pt>
                <c:pt idx="80">
                  <c:v>0.49217291317222389</c:v>
                </c:pt>
                <c:pt idx="81">
                  <c:v>0.52011543173870445</c:v>
                </c:pt>
                <c:pt idx="82">
                  <c:v>0.5412202385105509</c:v>
                </c:pt>
                <c:pt idx="83">
                  <c:v>0.51725754729882456</c:v>
                </c:pt>
                <c:pt idx="84">
                  <c:v>0.52482089381452202</c:v>
                </c:pt>
                <c:pt idx="85">
                  <c:v>0.52358173298316801</c:v>
                </c:pt>
                <c:pt idx="86">
                  <c:v>0.50686980717652741</c:v>
                </c:pt>
                <c:pt idx="87">
                  <c:v>0.51465921681686377</c:v>
                </c:pt>
                <c:pt idx="88">
                  <c:v>0.55055301738453322</c:v>
                </c:pt>
                <c:pt idx="89">
                  <c:v>0.55297273008900172</c:v>
                </c:pt>
                <c:pt idx="90">
                  <c:v>0.53639197671270722</c:v>
                </c:pt>
                <c:pt idx="91">
                  <c:v>0.54744116079228156</c:v>
                </c:pt>
                <c:pt idx="92">
                  <c:v>0.55963182410614376</c:v>
                </c:pt>
                <c:pt idx="93">
                  <c:v>0.58166041969595894</c:v>
                </c:pt>
                <c:pt idx="94">
                  <c:v>0.57161875151755348</c:v>
                </c:pt>
                <c:pt idx="95">
                  <c:v>0.56718958881629433</c:v>
                </c:pt>
                <c:pt idx="96">
                  <c:v>0.55859081737169514</c:v>
                </c:pt>
                <c:pt idx="97">
                  <c:v>0.57236950436357636</c:v>
                </c:pt>
                <c:pt idx="98">
                  <c:v>0.55648089487506502</c:v>
                </c:pt>
                <c:pt idx="99">
                  <c:v>0.55532825202968406</c:v>
                </c:pt>
                <c:pt idx="100">
                  <c:v>0.55374860105998458</c:v>
                </c:pt>
                <c:pt idx="101">
                  <c:v>0.54532844739287833</c:v>
                </c:pt>
                <c:pt idx="102">
                  <c:v>0.53751112872480866</c:v>
                </c:pt>
                <c:pt idx="103">
                  <c:v>0.52804438651770691</c:v>
                </c:pt>
                <c:pt idx="104">
                  <c:v>0.52396687756588611</c:v>
                </c:pt>
                <c:pt idx="105">
                  <c:v>0.53021570887534986</c:v>
                </c:pt>
                <c:pt idx="106">
                  <c:v>0.52882863019700976</c:v>
                </c:pt>
                <c:pt idx="107">
                  <c:v>0.52642845381195458</c:v>
                </c:pt>
                <c:pt idx="108">
                  <c:v>0.52044754916872948</c:v>
                </c:pt>
                <c:pt idx="109">
                  <c:v>0.52512231131404064</c:v>
                </c:pt>
                <c:pt idx="110">
                  <c:v>0.52750853318522939</c:v>
                </c:pt>
                <c:pt idx="111">
                  <c:v>0.53137672442905082</c:v>
                </c:pt>
                <c:pt idx="112">
                  <c:v>0.52752527860186915</c:v>
                </c:pt>
                <c:pt idx="113">
                  <c:v>0.51590675035653777</c:v>
                </c:pt>
                <c:pt idx="114">
                  <c:v>0.51650400355002812</c:v>
                </c:pt>
                <c:pt idx="115">
                  <c:v>0.51295676612513841</c:v>
                </c:pt>
                <c:pt idx="116">
                  <c:v>0.50019954954829227</c:v>
                </c:pt>
                <c:pt idx="117">
                  <c:v>0.49614436781865812</c:v>
                </c:pt>
                <c:pt idx="118">
                  <c:v>0.49229292199147645</c:v>
                </c:pt>
                <c:pt idx="119">
                  <c:v>0.49395909094714852</c:v>
                </c:pt>
                <c:pt idx="120">
                  <c:v>0.4942577175438938</c:v>
                </c:pt>
                <c:pt idx="121">
                  <c:v>0.47676154805795035</c:v>
                </c:pt>
                <c:pt idx="122">
                  <c:v>0.47454557125593388</c:v>
                </c:pt>
                <c:pt idx="123">
                  <c:v>0.47290172952244869</c:v>
                </c:pt>
                <c:pt idx="124">
                  <c:v>0.46117156516618407</c:v>
                </c:pt>
                <c:pt idx="125">
                  <c:v>0.46995453619382244</c:v>
                </c:pt>
                <c:pt idx="126">
                  <c:v>0.48086417513473068</c:v>
                </c:pt>
                <c:pt idx="127">
                  <c:v>0.48049577596865256</c:v>
                </c:pt>
                <c:pt idx="128">
                  <c:v>0.47020292654064799</c:v>
                </c:pt>
                <c:pt idx="129">
                  <c:v>0.48113489270374288</c:v>
                </c:pt>
                <c:pt idx="130">
                  <c:v>0.48515379269732373</c:v>
                </c:pt>
                <c:pt idx="131">
                  <c:v>0.4814474738143546</c:v>
                </c:pt>
                <c:pt idx="132">
                  <c:v>0.48009109506652115</c:v>
                </c:pt>
                <c:pt idx="133">
                  <c:v>0.47836910805538269</c:v>
                </c:pt>
                <c:pt idx="134">
                  <c:v>0.48145305561990126</c:v>
                </c:pt>
                <c:pt idx="135">
                  <c:v>0.46429737627230283</c:v>
                </c:pt>
                <c:pt idx="136">
                  <c:v>0.45724755586689625</c:v>
                </c:pt>
                <c:pt idx="137">
                  <c:v>0.4575992096163346</c:v>
                </c:pt>
                <c:pt idx="138">
                  <c:v>0.45519903323127919</c:v>
                </c:pt>
                <c:pt idx="139">
                  <c:v>0.4478282590069409</c:v>
                </c:pt>
                <c:pt idx="140">
                  <c:v>0.44783663171526089</c:v>
                </c:pt>
                <c:pt idx="141">
                  <c:v>0.44589416338502996</c:v>
                </c:pt>
                <c:pt idx="142">
                  <c:v>0.43111633320030029</c:v>
                </c:pt>
                <c:pt idx="143">
                  <c:v>0.41336898246475773</c:v>
                </c:pt>
                <c:pt idx="144">
                  <c:v>0.4005838568601785</c:v>
                </c:pt>
                <c:pt idx="145">
                  <c:v>0.40541211865802218</c:v>
                </c:pt>
                <c:pt idx="146">
                  <c:v>0.42787330417770231</c:v>
                </c:pt>
                <c:pt idx="147">
                  <c:v>0.42334925078215035</c:v>
                </c:pt>
                <c:pt idx="148">
                  <c:v>0.40896493788845878</c:v>
                </c:pt>
                <c:pt idx="149">
                  <c:v>0.41544262322533476</c:v>
                </c:pt>
                <c:pt idx="150">
                  <c:v>0.41514120572581614</c:v>
                </c:pt>
                <c:pt idx="151">
                  <c:v>0.39840974359976222</c:v>
                </c:pt>
                <c:pt idx="152">
                  <c:v>0.38630559827187283</c:v>
                </c:pt>
                <c:pt idx="153">
                  <c:v>0.39855487054397476</c:v>
                </c:pt>
                <c:pt idx="154">
                  <c:v>0.40164998171958688</c:v>
                </c:pt>
                <c:pt idx="155">
                  <c:v>0.40979941781768137</c:v>
                </c:pt>
                <c:pt idx="156">
                  <c:v>0.41270474760470766</c:v>
                </c:pt>
                <c:pt idx="157">
                  <c:v>0.42989391778558605</c:v>
                </c:pt>
                <c:pt idx="158">
                  <c:v>0.4510070972657525</c:v>
                </c:pt>
                <c:pt idx="159">
                  <c:v>0.44028444881065676</c:v>
                </c:pt>
                <c:pt idx="160">
                  <c:v>0.45403522677480468</c:v>
                </c:pt>
                <c:pt idx="161">
                  <c:v>0.45193646788926811</c:v>
                </c:pt>
                <c:pt idx="162">
                  <c:v>0.45248069393006562</c:v>
                </c:pt>
                <c:pt idx="163">
                  <c:v>0.43653626638608789</c:v>
                </c:pt>
                <c:pt idx="164">
                  <c:v>0.4544761894129894</c:v>
                </c:pt>
                <c:pt idx="165">
                  <c:v>0.4528909566377437</c:v>
                </c:pt>
                <c:pt idx="166">
                  <c:v>0.46348522356526667</c:v>
                </c:pt>
                <c:pt idx="167">
                  <c:v>0.46643799869943936</c:v>
                </c:pt>
                <c:pt idx="168">
                  <c:v>0.46480252967427371</c:v>
                </c:pt>
                <c:pt idx="169">
                  <c:v>0.45226858531929315</c:v>
                </c:pt>
                <c:pt idx="170">
                  <c:v>0.45634609427111372</c:v>
                </c:pt>
                <c:pt idx="171">
                  <c:v>0.46080874780565262</c:v>
                </c:pt>
                <c:pt idx="172">
                  <c:v>0.46286006134404278</c:v>
                </c:pt>
                <c:pt idx="173">
                  <c:v>0.45814064475435856</c:v>
                </c:pt>
                <c:pt idx="174">
                  <c:v>0.44527179206657985</c:v>
                </c:pt>
                <c:pt idx="175">
                  <c:v>0.43715305589899156</c:v>
                </c:pt>
                <c:pt idx="176">
                  <c:v>0.42813006723284786</c:v>
                </c:pt>
                <c:pt idx="177">
                  <c:v>0.4374488915929633</c:v>
                </c:pt>
                <c:pt idx="178">
                  <c:v>0.44158780040579737</c:v>
                </c:pt>
                <c:pt idx="179">
                  <c:v>0.44436753956802422</c:v>
                </c:pt>
                <c:pt idx="180">
                  <c:v>0.42836729396857987</c:v>
                </c:pt>
                <c:pt idx="181">
                  <c:v>0.42997206306323887</c:v>
                </c:pt>
                <c:pt idx="182">
                  <c:v>0.43936903270100758</c:v>
                </c:pt>
                <c:pt idx="183">
                  <c:v>0.42468888411334405</c:v>
                </c:pt>
                <c:pt idx="184">
                  <c:v>0.41740183697220523</c:v>
                </c:pt>
                <c:pt idx="185">
                  <c:v>0.43199825847666928</c:v>
                </c:pt>
                <c:pt idx="186">
                  <c:v>0.43370908187671464</c:v>
                </c:pt>
                <c:pt idx="187">
                  <c:v>0.4223194076587955</c:v>
                </c:pt>
                <c:pt idx="188">
                  <c:v>0.4149207244067239</c:v>
                </c:pt>
                <c:pt idx="189">
                  <c:v>0.41727066454185935</c:v>
                </c:pt>
                <c:pt idx="190">
                  <c:v>0.41485653364293729</c:v>
                </c:pt>
                <c:pt idx="191">
                  <c:v>0.42023460328712536</c:v>
                </c:pt>
                <c:pt idx="192">
                  <c:v>0.41974061349624758</c:v>
                </c:pt>
                <c:pt idx="193">
                  <c:v>0.3903719436126003</c:v>
                </c:pt>
                <c:pt idx="194">
                  <c:v>0.3886164657681821</c:v>
                </c:pt>
                <c:pt idx="195">
                  <c:v>0.39700591950478215</c:v>
                </c:pt>
                <c:pt idx="196">
                  <c:v>0.40374874060512345</c:v>
                </c:pt>
                <c:pt idx="197">
                  <c:v>0.39562442263198871</c:v>
                </c:pt>
                <c:pt idx="198">
                  <c:v>0.38238158897258501</c:v>
                </c:pt>
                <c:pt idx="199">
                  <c:v>0.40154671831697386</c:v>
                </c:pt>
                <c:pt idx="200">
                  <c:v>0.40287797893984756</c:v>
                </c:pt>
                <c:pt idx="201">
                  <c:v>0.39486808798041895</c:v>
                </c:pt>
                <c:pt idx="202">
                  <c:v>0.39407268069002277</c:v>
                </c:pt>
                <c:pt idx="203">
                  <c:v>0.38267742466655674</c:v>
                </c:pt>
                <c:pt idx="204">
                  <c:v>0.37949021369942537</c:v>
                </c:pt>
                <c:pt idx="205">
                  <c:v>0.38389984008127098</c:v>
                </c:pt>
                <c:pt idx="206">
                  <c:v>0.36926992774352696</c:v>
                </c:pt>
                <c:pt idx="207">
                  <c:v>0.35237380235384719</c:v>
                </c:pt>
                <c:pt idx="208">
                  <c:v>0.37451124315182227</c:v>
                </c:pt>
                <c:pt idx="209">
                  <c:v>0.37533735037272509</c:v>
                </c:pt>
                <c:pt idx="210">
                  <c:v>0.36502217372253409</c:v>
                </c:pt>
                <c:pt idx="211">
                  <c:v>0.36591247170722307</c:v>
                </c:pt>
                <c:pt idx="212">
                  <c:v>0.35876496970475036</c:v>
                </c:pt>
                <c:pt idx="213">
                  <c:v>0.3576625631092889</c:v>
                </c:pt>
                <c:pt idx="214">
                  <c:v>0.35370785387949444</c:v>
                </c:pt>
                <c:pt idx="215">
                  <c:v>0.35074391513422842</c:v>
                </c:pt>
                <c:pt idx="216">
                  <c:v>0.3343138705076929</c:v>
                </c:pt>
                <c:pt idx="217">
                  <c:v>0.32266743323462843</c:v>
                </c:pt>
                <c:pt idx="218">
                  <c:v>0.33013867995880619</c:v>
                </c:pt>
                <c:pt idx="219">
                  <c:v>0.33512044140918262</c:v>
                </c:pt>
                <c:pt idx="220">
                  <c:v>0.33411850731356063</c:v>
                </c:pt>
                <c:pt idx="221">
                  <c:v>0.33501438710379627</c:v>
                </c:pt>
                <c:pt idx="222">
                  <c:v>0.32749290412969878</c:v>
                </c:pt>
                <c:pt idx="223">
                  <c:v>0.32945769968211613</c:v>
                </c:pt>
                <c:pt idx="224">
                  <c:v>0.3109540142950038</c:v>
                </c:pt>
                <c:pt idx="225">
                  <c:v>0.30856500152104194</c:v>
                </c:pt>
                <c:pt idx="226">
                  <c:v>0.31306672769440747</c:v>
                </c:pt>
                <c:pt idx="227">
                  <c:v>0.32367774003857019</c:v>
                </c:pt>
                <c:pt idx="228">
                  <c:v>0.33121317752653434</c:v>
                </c:pt>
                <c:pt idx="229">
                  <c:v>0.33498647807606341</c:v>
                </c:pt>
                <c:pt idx="230">
                  <c:v>0.33449248828518563</c:v>
                </c:pt>
                <c:pt idx="231">
                  <c:v>0.332586301691008</c:v>
                </c:pt>
                <c:pt idx="232">
                  <c:v>0.32697100531108791</c:v>
                </c:pt>
                <c:pt idx="233">
                  <c:v>0.32477177392571166</c:v>
                </c:pt>
                <c:pt idx="234">
                  <c:v>0.31126380450284263</c:v>
                </c:pt>
                <c:pt idx="235">
                  <c:v>0.33080570572162959</c:v>
                </c:pt>
                <c:pt idx="236">
                  <c:v>0.32304420510902676</c:v>
                </c:pt>
                <c:pt idx="237">
                  <c:v>0.31708004588244143</c:v>
                </c:pt>
                <c:pt idx="238">
                  <c:v>0.31718051838228112</c:v>
                </c:pt>
                <c:pt idx="239">
                  <c:v>0.31370305352672423</c:v>
                </c:pt>
                <c:pt idx="240">
                  <c:v>0.29601152084664806</c:v>
                </c:pt>
                <c:pt idx="241">
                  <c:v>0.29007806155056959</c:v>
                </c:pt>
                <c:pt idx="242">
                  <c:v>0.28503490023918032</c:v>
                </c:pt>
                <c:pt idx="243">
                  <c:v>0.27979358483088523</c:v>
                </c:pt>
                <c:pt idx="244">
                  <c:v>0.26967656227759984</c:v>
                </c:pt>
                <c:pt idx="245">
                  <c:v>0.27465553282520294</c:v>
                </c:pt>
                <c:pt idx="246">
                  <c:v>0.27538116754626607</c:v>
                </c:pt>
                <c:pt idx="247">
                  <c:v>0.28231656093796653</c:v>
                </c:pt>
                <c:pt idx="248">
                  <c:v>0.27482856879714879</c:v>
                </c:pt>
                <c:pt idx="249">
                  <c:v>0.27002263422149153</c:v>
                </c:pt>
                <c:pt idx="250">
                  <c:v>0.27122551331679268</c:v>
                </c:pt>
                <c:pt idx="251">
                  <c:v>0.26998077067989179</c:v>
                </c:pt>
                <c:pt idx="252">
                  <c:v>0.27246746505092001</c:v>
                </c:pt>
                <c:pt idx="253">
                  <c:v>0.27170833949657691</c:v>
                </c:pt>
                <c:pt idx="254">
                  <c:v>0.26656470568534796</c:v>
                </c:pt>
                <c:pt idx="255">
                  <c:v>0.26912954533402922</c:v>
                </c:pt>
                <c:pt idx="256">
                  <c:v>0.25981909368223355</c:v>
                </c:pt>
                <c:pt idx="257">
                  <c:v>0.25820595187925433</c:v>
                </c:pt>
                <c:pt idx="258">
                  <c:v>0.25671002799275477</c:v>
                </c:pt>
                <c:pt idx="259">
                  <c:v>0.25470615980151079</c:v>
                </c:pt>
                <c:pt idx="260">
                  <c:v>0.23122071296402247</c:v>
                </c:pt>
                <c:pt idx="261">
                  <c:v>0.23225055608737755</c:v>
                </c:pt>
                <c:pt idx="262">
                  <c:v>0.21330311715930761</c:v>
                </c:pt>
                <c:pt idx="263">
                  <c:v>0.22319128568518054</c:v>
                </c:pt>
                <c:pt idx="264">
                  <c:v>0.22196328846491964</c:v>
                </c:pt>
                <c:pt idx="265">
                  <c:v>0.21850256902600274</c:v>
                </c:pt>
                <c:pt idx="266">
                  <c:v>0.2163703193071862</c:v>
                </c:pt>
                <c:pt idx="267">
                  <c:v>0.20505041765859988</c:v>
                </c:pt>
                <c:pt idx="268">
                  <c:v>0.18274552269422584</c:v>
                </c:pt>
                <c:pt idx="269">
                  <c:v>0.17044880507497751</c:v>
                </c:pt>
                <c:pt idx="270">
                  <c:v>0.1629189493925598</c:v>
                </c:pt>
                <c:pt idx="271">
                  <c:v>0.14911793517849214</c:v>
                </c:pt>
                <c:pt idx="272">
                  <c:v>0.15466066808630563</c:v>
                </c:pt>
                <c:pt idx="273">
                  <c:v>0.1684868004253337</c:v>
                </c:pt>
                <c:pt idx="274">
                  <c:v>0.18548618921762627</c:v>
                </c:pt>
                <c:pt idx="275">
                  <c:v>0.17693486312017348</c:v>
                </c:pt>
                <c:pt idx="276">
                  <c:v>0.17892198589477726</c:v>
                </c:pt>
                <c:pt idx="277">
                  <c:v>0.1939482064263327</c:v>
                </c:pt>
                <c:pt idx="278">
                  <c:v>0.20416291057668423</c:v>
                </c:pt>
                <c:pt idx="279">
                  <c:v>0.22051760082833982</c:v>
                </c:pt>
                <c:pt idx="280">
                  <c:v>0.2206376096475926</c:v>
                </c:pt>
                <c:pt idx="281">
                  <c:v>0.20784132043192005</c:v>
                </c:pt>
                <c:pt idx="282">
                  <c:v>0.21393386118607771</c:v>
                </c:pt>
                <c:pt idx="283">
                  <c:v>0.22156418936833489</c:v>
                </c:pt>
                <c:pt idx="284">
                  <c:v>0.21634241027945289</c:v>
                </c:pt>
                <c:pt idx="285">
                  <c:v>0.21004055181729631</c:v>
                </c:pt>
                <c:pt idx="286">
                  <c:v>0.20246045988495887</c:v>
                </c:pt>
                <c:pt idx="287">
                  <c:v>0.18841942803238543</c:v>
                </c:pt>
                <c:pt idx="288">
                  <c:v>0.18997116997435159</c:v>
                </c:pt>
                <c:pt idx="289">
                  <c:v>0.18039837346186371</c:v>
                </c:pt>
                <c:pt idx="290">
                  <c:v>0.19684795440781233</c:v>
                </c:pt>
                <c:pt idx="291">
                  <c:v>0.19675306371351931</c:v>
                </c:pt>
                <c:pt idx="292">
                  <c:v>0.20000446544443728</c:v>
                </c:pt>
                <c:pt idx="293">
                  <c:v>0.19297418135844402</c:v>
                </c:pt>
                <c:pt idx="294">
                  <c:v>0.19270067288665849</c:v>
                </c:pt>
                <c:pt idx="295">
                  <c:v>0.21053733251094719</c:v>
                </c:pt>
                <c:pt idx="296">
                  <c:v>0.20568674349091709</c:v>
                </c:pt>
                <c:pt idx="297">
                  <c:v>0.20846090084759705</c:v>
                </c:pt>
                <c:pt idx="298">
                  <c:v>0.22861121887096814</c:v>
                </c:pt>
                <c:pt idx="299">
                  <c:v>0.24026323794957949</c:v>
                </c:pt>
                <c:pt idx="300">
                  <c:v>0.24293692280641999</c:v>
                </c:pt>
                <c:pt idx="301">
                  <c:v>0.24204104301618434</c:v>
                </c:pt>
                <c:pt idx="302">
                  <c:v>0.257329608408432</c:v>
                </c:pt>
                <c:pt idx="303">
                  <c:v>0.24681906856410829</c:v>
                </c:pt>
                <c:pt idx="304">
                  <c:v>0.24527290842768901</c:v>
                </c:pt>
                <c:pt idx="305">
                  <c:v>0.25240645591629529</c:v>
                </c:pt>
                <c:pt idx="306">
                  <c:v>0.24404212030465477</c:v>
                </c:pt>
                <c:pt idx="307">
                  <c:v>0.2422698970435968</c:v>
                </c:pt>
                <c:pt idx="308">
                  <c:v>0.24627205162053745</c:v>
                </c:pt>
                <c:pt idx="309">
                  <c:v>0.25502153181489606</c:v>
                </c:pt>
                <c:pt idx="310">
                  <c:v>0.26030750166756444</c:v>
                </c:pt>
                <c:pt idx="311">
                  <c:v>0.2580440795184018</c:v>
                </c:pt>
                <c:pt idx="312">
                  <c:v>0.26005632041796556</c:v>
                </c:pt>
                <c:pt idx="313">
                  <c:v>0.25524480403676164</c:v>
                </c:pt>
                <c:pt idx="314">
                  <c:v>0.23729371739876703</c:v>
                </c:pt>
                <c:pt idx="315">
                  <c:v>0.22959082574440348</c:v>
                </c:pt>
                <c:pt idx="316">
                  <c:v>0.2213855715908426</c:v>
                </c:pt>
                <c:pt idx="317">
                  <c:v>0.23804726114756347</c:v>
                </c:pt>
                <c:pt idx="318">
                  <c:v>0.22452254630805424</c:v>
                </c:pt>
                <c:pt idx="319">
                  <c:v>0.22793302949705141</c:v>
                </c:pt>
                <c:pt idx="320">
                  <c:v>0.21954357576045114</c:v>
                </c:pt>
                <c:pt idx="321">
                  <c:v>0.21972498444071697</c:v>
                </c:pt>
                <c:pt idx="322">
                  <c:v>0.22920568116168538</c:v>
                </c:pt>
                <c:pt idx="323">
                  <c:v>0.23856357816062745</c:v>
                </c:pt>
                <c:pt idx="324">
                  <c:v>0.25303719994306562</c:v>
                </c:pt>
                <c:pt idx="325">
                  <c:v>0.24587295252395291</c:v>
                </c:pt>
                <c:pt idx="326">
                  <c:v>0.24720700404959994</c:v>
                </c:pt>
                <c:pt idx="327">
                  <c:v>0.246894422938988</c:v>
                </c:pt>
                <c:pt idx="328">
                  <c:v>0.25573321202209276</c:v>
                </c:pt>
                <c:pt idx="329">
                  <c:v>0.26105267270804067</c:v>
                </c:pt>
                <c:pt idx="330">
                  <c:v>0.24977463460105431</c:v>
                </c:pt>
                <c:pt idx="331">
                  <c:v>0.25643372861819613</c:v>
                </c:pt>
                <c:pt idx="332">
                  <c:v>0.25964326680751415</c:v>
                </c:pt>
                <c:pt idx="333">
                  <c:v>0.27732084497372345</c:v>
                </c:pt>
                <c:pt idx="334">
                  <c:v>0.28073411906549417</c:v>
                </c:pt>
                <c:pt idx="335">
                  <c:v>0.27885584149904963</c:v>
                </c:pt>
                <c:pt idx="336">
                  <c:v>0.26634701526902904</c:v>
                </c:pt>
                <c:pt idx="337">
                  <c:v>0.27453552400595016</c:v>
                </c:pt>
                <c:pt idx="338">
                  <c:v>0.27473367810285598</c:v>
                </c:pt>
                <c:pt idx="339">
                  <c:v>0.27115574074745963</c:v>
                </c:pt>
                <c:pt idx="340">
                  <c:v>0.26604838867228375</c:v>
                </c:pt>
                <c:pt idx="341">
                  <c:v>0.26563812596460568</c:v>
                </c:pt>
                <c:pt idx="342">
                  <c:v>0.27424806102029819</c:v>
                </c:pt>
                <c:pt idx="343">
                  <c:v>0.27125063144175221</c:v>
                </c:pt>
                <c:pt idx="344">
                  <c:v>0.26226671541443514</c:v>
                </c:pt>
                <c:pt idx="345">
                  <c:v>0.25741891729717814</c:v>
                </c:pt>
                <c:pt idx="346">
                  <c:v>0.25870831437845188</c:v>
                </c:pt>
                <c:pt idx="347">
                  <c:v>0.24813637467311533</c:v>
                </c:pt>
                <c:pt idx="348">
                  <c:v>0.23895430454889244</c:v>
                </c:pt>
                <c:pt idx="349">
                  <c:v>0.23065695060381164</c:v>
                </c:pt>
                <c:pt idx="350">
                  <c:v>0.22770417546963895</c:v>
                </c:pt>
                <c:pt idx="351">
                  <c:v>0.23123187657511579</c:v>
                </c:pt>
                <c:pt idx="352">
                  <c:v>0.24106422704552233</c:v>
                </c:pt>
                <c:pt idx="353">
                  <c:v>0.24351184877772414</c:v>
                </c:pt>
                <c:pt idx="354">
                  <c:v>0.24205778843282433</c:v>
                </c:pt>
                <c:pt idx="355">
                  <c:v>0.22700365887353557</c:v>
                </c:pt>
                <c:pt idx="356">
                  <c:v>0.22153907124337491</c:v>
                </c:pt>
                <c:pt idx="357">
                  <c:v>0.22197166117323963</c:v>
                </c:pt>
                <c:pt idx="358">
                  <c:v>0.20813157432034535</c:v>
                </c:pt>
                <c:pt idx="359">
                  <c:v>0.21357662563109292</c:v>
                </c:pt>
                <c:pt idx="360">
                  <c:v>0.22294289533835521</c:v>
                </c:pt>
                <c:pt idx="361">
                  <c:v>0.21842163284557636</c:v>
                </c:pt>
                <c:pt idx="362">
                  <c:v>0.22484629102975928</c:v>
                </c:pt>
                <c:pt idx="363">
                  <c:v>0.23067369602045162</c:v>
                </c:pt>
                <c:pt idx="364">
                  <c:v>0.2352089130270969</c:v>
                </c:pt>
                <c:pt idx="365">
                  <c:v>0.22034735575916731</c:v>
                </c:pt>
                <c:pt idx="366">
                  <c:v>0.21934821256631887</c:v>
                </c:pt>
                <c:pt idx="367">
                  <c:v>0.21095317702417193</c:v>
                </c:pt>
                <c:pt idx="368">
                  <c:v>0.19977002961147838</c:v>
                </c:pt>
                <c:pt idx="369">
                  <c:v>0.19839411454423161</c:v>
                </c:pt>
                <c:pt idx="370">
                  <c:v>0.19102334031989332</c:v>
                </c:pt>
                <c:pt idx="371">
                  <c:v>0.19558088454872502</c:v>
                </c:pt>
                <c:pt idx="372">
                  <c:v>0.19277323635876487</c:v>
                </c:pt>
                <c:pt idx="373">
                  <c:v>0.19516783093827361</c:v>
                </c:pt>
                <c:pt idx="374">
                  <c:v>0.17804564242395493</c:v>
                </c:pt>
                <c:pt idx="375">
                  <c:v>0.16654991390064944</c:v>
                </c:pt>
                <c:pt idx="376">
                  <c:v>0.1737197431253088</c:v>
                </c:pt>
                <c:pt idx="377">
                  <c:v>0.17370020680589549</c:v>
                </c:pt>
                <c:pt idx="378">
                  <c:v>0.15858188648282057</c:v>
                </c:pt>
                <c:pt idx="379">
                  <c:v>0.1485234728877749</c:v>
                </c:pt>
                <c:pt idx="380">
                  <c:v>0.15699107190202799</c:v>
                </c:pt>
                <c:pt idx="381">
                  <c:v>0.17012226945049913</c:v>
                </c:pt>
                <c:pt idx="382">
                  <c:v>0.16994086077023307</c:v>
                </c:pt>
                <c:pt idx="383">
                  <c:v>0.17163493875363867</c:v>
                </c:pt>
                <c:pt idx="384">
                  <c:v>0.16067227266003736</c:v>
                </c:pt>
                <c:pt idx="385">
                  <c:v>0.14703313080682201</c:v>
                </c:pt>
                <c:pt idx="386">
                  <c:v>0.15439553232284031</c:v>
                </c:pt>
                <c:pt idx="387">
                  <c:v>0.1509906309393898</c:v>
                </c:pt>
                <c:pt idx="388">
                  <c:v>0.15281588135314128</c:v>
                </c:pt>
                <c:pt idx="389">
                  <c:v>0.15477509510001197</c:v>
                </c:pt>
                <c:pt idx="390">
                  <c:v>0.1496202976776897</c:v>
                </c:pt>
                <c:pt idx="391">
                  <c:v>0.15490905843313119</c:v>
                </c:pt>
                <c:pt idx="392">
                  <c:v>0.15438715961452054</c:v>
                </c:pt>
                <c:pt idx="393">
                  <c:v>0.13344701610629972</c:v>
                </c:pt>
                <c:pt idx="394">
                  <c:v>0.14168855199591412</c:v>
                </c:pt>
                <c:pt idx="395">
                  <c:v>0.14973472469139582</c:v>
                </c:pt>
                <c:pt idx="396">
                  <c:v>0.16321199418375865</c:v>
                </c:pt>
                <c:pt idx="397">
                  <c:v>0.16366132953026291</c:v>
                </c:pt>
                <c:pt idx="398">
                  <c:v>0.15413597836492166</c:v>
                </c:pt>
                <c:pt idx="399">
                  <c:v>0.13198737395585347</c:v>
                </c:pt>
                <c:pt idx="400">
                  <c:v>0.13635234589332601</c:v>
                </c:pt>
                <c:pt idx="401">
                  <c:v>0.15460764093361279</c:v>
                </c:pt>
                <c:pt idx="402">
                  <c:v>0.15362524315740411</c:v>
                </c:pt>
                <c:pt idx="403">
                  <c:v>0.15258423642295571</c:v>
                </c:pt>
                <c:pt idx="404">
                  <c:v>0.15948613898137642</c:v>
                </c:pt>
                <c:pt idx="405">
                  <c:v>0.15958382057844234</c:v>
                </c:pt>
                <c:pt idx="406">
                  <c:v>0.15859305009391367</c:v>
                </c:pt>
                <c:pt idx="407">
                  <c:v>0.15477509510001197</c:v>
                </c:pt>
                <c:pt idx="408">
                  <c:v>0.15716968967952072</c:v>
                </c:pt>
                <c:pt idx="409">
                  <c:v>0.14202346032871249</c:v>
                </c:pt>
                <c:pt idx="410">
                  <c:v>0.14676520414058314</c:v>
                </c:pt>
                <c:pt idx="411">
                  <c:v>0.14681264948772976</c:v>
                </c:pt>
                <c:pt idx="412">
                  <c:v>0.1456711702534419</c:v>
                </c:pt>
                <c:pt idx="413">
                  <c:v>0.14158528859330133</c:v>
                </c:pt>
                <c:pt idx="414">
                  <c:v>0.14443759122763455</c:v>
                </c:pt>
                <c:pt idx="415">
                  <c:v>0.15111063975864281</c:v>
                </c:pt>
                <c:pt idx="416">
                  <c:v>0.14686846754319616</c:v>
                </c:pt>
                <c:pt idx="417">
                  <c:v>0.13054726812482031</c:v>
                </c:pt>
                <c:pt idx="418">
                  <c:v>0.1241226099406374</c:v>
                </c:pt>
                <c:pt idx="419">
                  <c:v>0.10834284566028574</c:v>
                </c:pt>
                <c:pt idx="420">
                  <c:v>0.11008995079638417</c:v>
                </c:pt>
                <c:pt idx="421">
                  <c:v>0.10826470038263269</c:v>
                </c:pt>
                <c:pt idx="422">
                  <c:v>0.10204935990644892</c:v>
                </c:pt>
                <c:pt idx="423">
                  <c:v>9.8770049147797634E-2</c:v>
                </c:pt>
                <c:pt idx="424">
                  <c:v>0.11716209842397718</c:v>
                </c:pt>
                <c:pt idx="425">
                  <c:v>0.1028447671968451</c:v>
                </c:pt>
                <c:pt idx="426">
                  <c:v>9.3096143809638043E-2</c:v>
                </c:pt>
                <c:pt idx="427">
                  <c:v>0.10527564351240692</c:v>
                </c:pt>
                <c:pt idx="428">
                  <c:v>8.6199823056763991E-2</c:v>
                </c:pt>
                <c:pt idx="429">
                  <c:v>9.3835733044567826E-2</c:v>
                </c:pt>
                <c:pt idx="430">
                  <c:v>7.6105127725665467E-2</c:v>
                </c:pt>
                <c:pt idx="431">
                  <c:v>7.7732224042511122E-2</c:v>
                </c:pt>
                <c:pt idx="432">
                  <c:v>9.3565015475555846E-2</c:v>
                </c:pt>
                <c:pt idx="433">
                  <c:v>0.11413117801215167</c:v>
                </c:pt>
                <c:pt idx="434">
                  <c:v>0.11255710884799908</c:v>
                </c:pt>
                <c:pt idx="435">
                  <c:v>0.12987466055645025</c:v>
                </c:pt>
                <c:pt idx="436">
                  <c:v>0.12909878958546717</c:v>
                </c:pt>
                <c:pt idx="437">
                  <c:v>0.11115607565579233</c:v>
                </c:pt>
                <c:pt idx="438">
                  <c:v>0.10279453094692537</c:v>
                </c:pt>
                <c:pt idx="439">
                  <c:v>0.10803026454967379</c:v>
                </c:pt>
                <c:pt idx="440">
                  <c:v>0.11140446600261766</c:v>
                </c:pt>
                <c:pt idx="441">
                  <c:v>0.10799956461916738</c:v>
                </c:pt>
                <c:pt idx="442">
                  <c:v>0.1197995015447646</c:v>
                </c:pt>
                <c:pt idx="443">
                  <c:v>0.1138632513459128</c:v>
                </c:pt>
                <c:pt idx="444">
                  <c:v>0.11561872919033123</c:v>
                </c:pt>
                <c:pt idx="445">
                  <c:v>0.13843435936222281</c:v>
                </c:pt>
                <c:pt idx="446">
                  <c:v>0.1415936613016211</c:v>
                </c:pt>
                <c:pt idx="447">
                  <c:v>0.15755483426223882</c:v>
                </c:pt>
                <c:pt idx="448">
                  <c:v>0.15435366878124057</c:v>
                </c:pt>
                <c:pt idx="449">
                  <c:v>0.15467741350294584</c:v>
                </c:pt>
                <c:pt idx="450">
                  <c:v>0.14160761581548775</c:v>
                </c:pt>
                <c:pt idx="451">
                  <c:v>0.13910696693059288</c:v>
                </c:pt>
                <c:pt idx="452">
                  <c:v>0.14925468941438469</c:v>
                </c:pt>
                <c:pt idx="453">
                  <c:v>0.16213191481048361</c:v>
                </c:pt>
                <c:pt idx="454">
                  <c:v>0.14736245733407372</c:v>
                </c:pt>
                <c:pt idx="455">
                  <c:v>0.15445135037830671</c:v>
                </c:pt>
                <c:pt idx="456">
                  <c:v>0.16653037758123612</c:v>
                </c:pt>
                <c:pt idx="457">
                  <c:v>0.14963146128878302</c:v>
                </c:pt>
                <c:pt idx="458">
                  <c:v>0.1377394245716661</c:v>
                </c:pt>
                <c:pt idx="459">
                  <c:v>0.12132054355622413</c:v>
                </c:pt>
                <c:pt idx="460">
                  <c:v>0.13605371929658072</c:v>
                </c:pt>
                <c:pt idx="461">
                  <c:v>0.13322653478720747</c:v>
                </c:pt>
                <c:pt idx="462">
                  <c:v>0.1208879536263594</c:v>
                </c:pt>
                <c:pt idx="463">
                  <c:v>0.12109168952881189</c:v>
                </c:pt>
                <c:pt idx="464">
                  <c:v>0.12188988772198139</c:v>
                </c:pt>
                <c:pt idx="465">
                  <c:v>0.10871682663191051</c:v>
                </c:pt>
                <c:pt idx="466">
                  <c:v>8.8131127775901597E-2</c:v>
                </c:pt>
                <c:pt idx="467">
                  <c:v>9.6506626998635214E-2</c:v>
                </c:pt>
                <c:pt idx="468">
                  <c:v>0.11384092412372615</c:v>
                </c:pt>
                <c:pt idx="469">
                  <c:v>0.11610713717566212</c:v>
                </c:pt>
                <c:pt idx="470">
                  <c:v>0.11166401996053654</c:v>
                </c:pt>
                <c:pt idx="471">
                  <c:v>0.10787955579991459</c:v>
                </c:pt>
                <c:pt idx="472">
                  <c:v>9.3824569433474503E-2</c:v>
                </c:pt>
                <c:pt idx="473">
                  <c:v>8.6244477501137284E-2</c:v>
                </c:pt>
                <c:pt idx="474">
                  <c:v>8.7078957430359871E-2</c:v>
                </c:pt>
                <c:pt idx="475">
                  <c:v>6.2803685108021812E-2</c:v>
                </c:pt>
                <c:pt idx="476">
                  <c:v>7.5326465851909052E-2</c:v>
                </c:pt>
                <c:pt idx="477">
                  <c:v>6.728029315642714E-2</c:v>
                </c:pt>
                <c:pt idx="478">
                  <c:v>7.156711981624686E-2</c:v>
                </c:pt>
                <c:pt idx="479">
                  <c:v>7.4296622728553974E-2</c:v>
                </c:pt>
                <c:pt idx="480">
                  <c:v>5.5859919008001357E-2</c:v>
                </c:pt>
                <c:pt idx="481">
                  <c:v>6.8706444473593864E-2</c:v>
                </c:pt>
                <c:pt idx="482">
                  <c:v>7.305188009165331E-2</c:v>
                </c:pt>
                <c:pt idx="483">
                  <c:v>6.6791885171096244E-2</c:v>
                </c:pt>
                <c:pt idx="484">
                  <c:v>8.2434895215555359E-2</c:v>
                </c:pt>
                <c:pt idx="485">
                  <c:v>6.6576985657550658E-2</c:v>
                </c:pt>
                <c:pt idx="486">
                  <c:v>6.5471788159315869E-2</c:v>
                </c:pt>
                <c:pt idx="487">
                  <c:v>7.5156220782736538E-2</c:v>
                </c:pt>
                <c:pt idx="488">
                  <c:v>8.7265947916172371E-2</c:v>
                </c:pt>
                <c:pt idx="489">
                  <c:v>0.11505496683012062</c:v>
                </c:pt>
                <c:pt idx="490">
                  <c:v>0.12184523327760832</c:v>
                </c:pt>
                <c:pt idx="491">
                  <c:v>0.11372649711002003</c:v>
                </c:pt>
                <c:pt idx="492">
                  <c:v>9.8047205329507836E-2</c:v>
                </c:pt>
                <c:pt idx="493">
                  <c:v>0.10617710510818945</c:v>
                </c:pt>
                <c:pt idx="494">
                  <c:v>9.7918823801935284E-2</c:v>
                </c:pt>
                <c:pt idx="495">
                  <c:v>9.9967346437552118E-2</c:v>
                </c:pt>
                <c:pt idx="496">
                  <c:v>0.1160373646063293</c:v>
                </c:pt>
                <c:pt idx="497">
                  <c:v>0.13637188221273933</c:v>
                </c:pt>
                <c:pt idx="498">
                  <c:v>0.13773105186334633</c:v>
                </c:pt>
                <c:pt idx="499">
                  <c:v>0.13871903144510145</c:v>
                </c:pt>
                <c:pt idx="500">
                  <c:v>0.10453605427747714</c:v>
                </c:pt>
                <c:pt idx="501">
                  <c:v>0.10629711392744201</c:v>
                </c:pt>
                <c:pt idx="502">
                  <c:v>0.12365094737194626</c:v>
                </c:pt>
                <c:pt idx="503">
                  <c:v>0.12396911028810487</c:v>
                </c:pt>
                <c:pt idx="504">
                  <c:v>0.11736025252088278</c:v>
                </c:pt>
                <c:pt idx="505">
                  <c:v>0.10238985004479395</c:v>
                </c:pt>
                <c:pt idx="506">
                  <c:v>0.10668784031570699</c:v>
                </c:pt>
                <c:pt idx="507">
                  <c:v>0.10144652490741168</c:v>
                </c:pt>
                <c:pt idx="508">
                  <c:v>0.10485979899918219</c:v>
                </c:pt>
                <c:pt idx="509">
                  <c:v>0.11405303273449863</c:v>
                </c:pt>
                <c:pt idx="510">
                  <c:v>0.10442999997209101</c:v>
                </c:pt>
                <c:pt idx="511">
                  <c:v>0.11438794106729699</c:v>
                </c:pt>
                <c:pt idx="512">
                  <c:v>0.10418440052803879</c:v>
                </c:pt>
                <c:pt idx="513">
                  <c:v>4.6189440898447343E-2</c:v>
                </c:pt>
                <c:pt idx="514">
                  <c:v>6.838828155743526E-2</c:v>
                </c:pt>
                <c:pt idx="515">
                  <c:v>6.2440867747490358E-2</c:v>
                </c:pt>
                <c:pt idx="516">
                  <c:v>5.2323845194204965E-2</c:v>
                </c:pt>
                <c:pt idx="517">
                  <c:v>3.8185131744565393E-2</c:v>
                </c:pt>
                <c:pt idx="518">
                  <c:v>4.9292924782379233E-2</c:v>
                </c:pt>
                <c:pt idx="519">
                  <c:v>7.6200018419958271E-2</c:v>
                </c:pt>
                <c:pt idx="520">
                  <c:v>8.0631972023990528E-2</c:v>
                </c:pt>
                <c:pt idx="521">
                  <c:v>8.8747917288805267E-2</c:v>
                </c:pt>
                <c:pt idx="522">
                  <c:v>6.2580412886156234E-2</c:v>
                </c:pt>
                <c:pt idx="523">
                  <c:v>6.9083216347991971E-2</c:v>
                </c:pt>
                <c:pt idx="524">
                  <c:v>7.7040080154727741E-2</c:v>
                </c:pt>
                <c:pt idx="525">
                  <c:v>5.9800673723929387E-2</c:v>
                </c:pt>
                <c:pt idx="526">
                  <c:v>4.7356038257695188E-2</c:v>
                </c:pt>
                <c:pt idx="527">
                  <c:v>2.3083556838130459E-2</c:v>
                </c:pt>
                <c:pt idx="528">
                  <c:v>3.1283229186144679E-2</c:v>
                </c:pt>
                <c:pt idx="529">
                  <c:v>3.8210249869525148E-2</c:v>
                </c:pt>
                <c:pt idx="530">
                  <c:v>2.6480085513260976E-2</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1.1424599982122103</c:v>
                </c:pt>
                <c:pt idx="728">
                  <c:v>1.1438097792080093</c:v>
                </c:pt>
                <c:pt idx="729">
                  <c:v>1.1302315187270939</c:v>
                </c:pt>
                <c:pt idx="730">
                  <c:v>1.1358407079646016</c:v>
                </c:pt>
                <c:pt idx="731">
                  <c:v>1.1422454634844015</c:v>
                </c:pt>
                <c:pt idx="732">
                  <c:v>1.1392464467685706</c:v>
                </c:pt>
                <c:pt idx="733">
                  <c:v>1.1414096719406452</c:v>
                </c:pt>
                <c:pt idx="734">
                  <c:v>1.1121793152766601</c:v>
                </c:pt>
                <c:pt idx="735">
                  <c:v>1.0991150442477875</c:v>
                </c:pt>
                <c:pt idx="736">
                  <c:v>1.0779610261911143</c:v>
                </c:pt>
                <c:pt idx="737">
                  <c:v>1.0416644319299189</c:v>
                </c:pt>
                <c:pt idx="738">
                  <c:v>1.0651828014659874</c:v>
                </c:pt>
                <c:pt idx="739">
                  <c:v>1.0866496826673817</c:v>
                </c:pt>
                <c:pt idx="740">
                  <c:v>1.105054974524001</c:v>
                </c:pt>
                <c:pt idx="741">
                  <c:v>1.071194243318137</c:v>
                </c:pt>
                <c:pt idx="742">
                  <c:v>1.0867837668722626</c:v>
                </c:pt>
                <c:pt idx="743">
                  <c:v>1.1060248502726382</c:v>
                </c:pt>
                <c:pt idx="744">
                  <c:v>1.086104406900867</c:v>
                </c:pt>
                <c:pt idx="745">
                  <c:v>1.1011933494234381</c:v>
                </c:pt>
                <c:pt idx="746">
                  <c:v>1.0947304907481898</c:v>
                </c:pt>
                <c:pt idx="747">
                  <c:v>1.0522347367480109</c:v>
                </c:pt>
                <c:pt idx="748">
                  <c:v>1.028439259855189</c:v>
                </c:pt>
                <c:pt idx="749">
                  <c:v>1.0457227138643068</c:v>
                </c:pt>
                <c:pt idx="750">
                  <c:v>1.0170912666487886</c:v>
                </c:pt>
                <c:pt idx="751">
                  <c:v>1.0412085456333244</c:v>
                </c:pt>
                <c:pt idx="752">
                  <c:v>1.0806605881827123</c:v>
                </c:pt>
                <c:pt idx="753">
                  <c:v>1.0535532314293374</c:v>
                </c:pt>
                <c:pt idx="754">
                  <c:v>1.1013050862608385</c:v>
                </c:pt>
                <c:pt idx="755">
                  <c:v>1.0964959327791184</c:v>
                </c:pt>
                <c:pt idx="756">
                  <c:v>1.0930276213462053</c:v>
                </c:pt>
                <c:pt idx="757">
                  <c:v>1.0997407705372306</c:v>
                </c:pt>
                <c:pt idx="758">
                  <c:v>1.1026816840976132</c:v>
                </c:pt>
                <c:pt idx="759">
                  <c:v>1.0955886296594262</c:v>
                </c:pt>
                <c:pt idx="760">
                  <c:v>1.1010547957450609</c:v>
                </c:pt>
                <c:pt idx="761">
                  <c:v>1.0929650487172613</c:v>
                </c:pt>
                <c:pt idx="762">
                  <c:v>1.0929873960847414</c:v>
                </c:pt>
                <c:pt idx="763">
                  <c:v>1.0779789040850987</c:v>
                </c:pt>
                <c:pt idx="764">
                  <c:v>1.0768347188701171</c:v>
                </c:pt>
                <c:pt idx="765">
                  <c:v>1.0940600697237866</c:v>
                </c:pt>
                <c:pt idx="766">
                  <c:v>1.1014123536247427</c:v>
                </c:pt>
                <c:pt idx="767">
                  <c:v>1.0995485831769014</c:v>
                </c:pt>
                <c:pt idx="768">
                  <c:v>1.0917404129793513</c:v>
                </c:pt>
                <c:pt idx="769">
                  <c:v>1.0830294091356034</c:v>
                </c:pt>
                <c:pt idx="770">
                  <c:v>1.0696567444355054</c:v>
                </c:pt>
                <c:pt idx="771">
                  <c:v>1.0620675784392599</c:v>
                </c:pt>
                <c:pt idx="772">
                  <c:v>1.0583623849110575</c:v>
                </c:pt>
                <c:pt idx="773">
                  <c:v>1.0543577366586216</c:v>
                </c:pt>
                <c:pt idx="774">
                  <c:v>1.0343613122374187</c:v>
                </c:pt>
                <c:pt idx="775">
                  <c:v>1.0446902654867256</c:v>
                </c:pt>
                <c:pt idx="776">
                  <c:v>1.0409761330115308</c:v>
                </c:pt>
                <c:pt idx="777">
                  <c:v>1.0313310092071153</c:v>
                </c:pt>
                <c:pt idx="778">
                  <c:v>1.0335121122731739</c:v>
                </c:pt>
                <c:pt idx="779">
                  <c:v>1.0274380977920798</c:v>
                </c:pt>
                <c:pt idx="780">
                  <c:v>1.0200366496826674</c:v>
                </c:pt>
                <c:pt idx="781">
                  <c:v>1.0052114060963619</c:v>
                </c:pt>
                <c:pt idx="782">
                  <c:v>0.9984669705908642</c:v>
                </c:pt>
                <c:pt idx="783">
                  <c:v>0.98366854384553504</c:v>
                </c:pt>
                <c:pt idx="784">
                  <c:v>0.95038884419415393</c:v>
                </c:pt>
                <c:pt idx="785">
                  <c:v>0.94451148654688444</c:v>
                </c:pt>
                <c:pt idx="786">
                  <c:v>0.94922231161169179</c:v>
                </c:pt>
                <c:pt idx="787">
                  <c:v>0.96269777420219893</c:v>
                </c:pt>
                <c:pt idx="788">
                  <c:v>0.96646107088584965</c:v>
                </c:pt>
                <c:pt idx="789">
                  <c:v>0.9502771073567533</c:v>
                </c:pt>
                <c:pt idx="790">
                  <c:v>0.94230803611334579</c:v>
                </c:pt>
                <c:pt idx="791">
                  <c:v>0.92207919907034941</c:v>
                </c:pt>
                <c:pt idx="792">
                  <c:v>0.94736748011084293</c:v>
                </c:pt>
                <c:pt idx="793">
                  <c:v>0.92524358630553305</c:v>
                </c:pt>
                <c:pt idx="794">
                  <c:v>0.94844909269688027</c:v>
                </c:pt>
                <c:pt idx="795">
                  <c:v>0.94539644229909703</c:v>
                </c:pt>
                <c:pt idx="796">
                  <c:v>0.98583623849110547</c:v>
                </c:pt>
                <c:pt idx="797">
                  <c:v>0.99136497720568495</c:v>
                </c:pt>
                <c:pt idx="798">
                  <c:v>0.98845981943327055</c:v>
                </c:pt>
                <c:pt idx="799">
                  <c:v>0.96461964780548848</c:v>
                </c:pt>
                <c:pt idx="800">
                  <c:v>0.94609368016447637</c:v>
                </c:pt>
                <c:pt idx="801">
                  <c:v>0.9476758737820683</c:v>
                </c:pt>
                <c:pt idx="802">
                  <c:v>0.98131313131313114</c:v>
                </c:pt>
                <c:pt idx="803">
                  <c:v>0.99953070528291765</c:v>
                </c:pt>
                <c:pt idx="804">
                  <c:v>1.002636989362653</c:v>
                </c:pt>
                <c:pt idx="805">
                  <c:v>0.98580942165012964</c:v>
                </c:pt>
                <c:pt idx="806">
                  <c:v>0.99728702958791438</c:v>
                </c:pt>
                <c:pt idx="807">
                  <c:v>0.99275051398945191</c:v>
                </c:pt>
                <c:pt idx="808">
                  <c:v>1.0082595870206488</c:v>
                </c:pt>
                <c:pt idx="809">
                  <c:v>1.0175516224188788</c:v>
                </c:pt>
                <c:pt idx="810">
                  <c:v>1.020215428622508</c:v>
                </c:pt>
                <c:pt idx="811">
                  <c:v>1.0270984178063824</c:v>
                </c:pt>
                <c:pt idx="812">
                  <c:v>1.0277777777777777</c:v>
                </c:pt>
                <c:pt idx="813">
                  <c:v>1.0220300348618934</c:v>
                </c:pt>
                <c:pt idx="814">
                  <c:v>1.021399839098954</c:v>
                </c:pt>
                <c:pt idx="815">
                  <c:v>1.0241306874050236</c:v>
                </c:pt>
                <c:pt idx="816">
                  <c:v>1.0154509698757486</c:v>
                </c:pt>
                <c:pt idx="817">
                  <c:v>0.99785465272190921</c:v>
                </c:pt>
                <c:pt idx="818">
                  <c:v>1.0095602038079909</c:v>
                </c:pt>
                <c:pt idx="819">
                  <c:v>1.005108608205953</c:v>
                </c:pt>
                <c:pt idx="820">
                  <c:v>1.0021140609636183</c:v>
                </c:pt>
                <c:pt idx="821">
                  <c:v>0.98519263430767845</c:v>
                </c:pt>
                <c:pt idx="822">
                  <c:v>0.96916063287744714</c:v>
                </c:pt>
                <c:pt idx="823">
                  <c:v>0.96668901403414687</c:v>
                </c:pt>
                <c:pt idx="824">
                  <c:v>0.98805756681862866</c:v>
                </c:pt>
                <c:pt idx="825">
                  <c:v>1.0021945114865467</c:v>
                </c:pt>
                <c:pt idx="826">
                  <c:v>0.9969607580227049</c:v>
                </c:pt>
                <c:pt idx="827">
                  <c:v>0.99375614552605684</c:v>
                </c:pt>
                <c:pt idx="828">
                  <c:v>0.98788772682577974</c:v>
                </c:pt>
                <c:pt idx="829">
                  <c:v>0.98299365334763555</c:v>
                </c:pt>
                <c:pt idx="830">
                  <c:v>0.98102708500938607</c:v>
                </c:pt>
                <c:pt idx="831">
                  <c:v>0.98289085545722732</c:v>
                </c:pt>
                <c:pt idx="832">
                  <c:v>0.97957450612317887</c:v>
                </c:pt>
                <c:pt idx="833">
                  <c:v>0.96775721819969585</c:v>
                </c:pt>
                <c:pt idx="834">
                  <c:v>0.97691516939304535</c:v>
                </c:pt>
                <c:pt idx="835">
                  <c:v>0.96082953428086149</c:v>
                </c:pt>
                <c:pt idx="836">
                  <c:v>0.96444980781263978</c:v>
                </c:pt>
                <c:pt idx="837">
                  <c:v>0.97512737999463628</c:v>
                </c:pt>
                <c:pt idx="838">
                  <c:v>0.96685438455349959</c:v>
                </c:pt>
                <c:pt idx="839">
                  <c:v>0.96722088138017326</c:v>
                </c:pt>
                <c:pt idx="840">
                  <c:v>0.97653526414588354</c:v>
                </c:pt>
                <c:pt idx="841">
                  <c:v>0.97183784750156432</c:v>
                </c:pt>
                <c:pt idx="842">
                  <c:v>0.9520336104406899</c:v>
                </c:pt>
                <c:pt idx="843">
                  <c:v>0.94810494323768624</c:v>
                </c:pt>
                <c:pt idx="844">
                  <c:v>0.9321802091713598</c:v>
                </c:pt>
                <c:pt idx="845">
                  <c:v>0.90332081880754433</c:v>
                </c:pt>
                <c:pt idx="846">
                  <c:v>0.93401269330472858</c:v>
                </c:pt>
                <c:pt idx="847">
                  <c:v>0.94870385268615331</c:v>
                </c:pt>
                <c:pt idx="848">
                  <c:v>0.95508179136497717</c:v>
                </c:pt>
                <c:pt idx="849">
                  <c:v>0.95280682935550187</c:v>
                </c:pt>
                <c:pt idx="850">
                  <c:v>0.95969875748636801</c:v>
                </c:pt>
                <c:pt idx="851">
                  <c:v>0.95295879145436668</c:v>
                </c:pt>
                <c:pt idx="852">
                  <c:v>0.93117904710825039</c:v>
                </c:pt>
                <c:pt idx="853">
                  <c:v>0.94785465272190939</c:v>
                </c:pt>
                <c:pt idx="854">
                  <c:v>0.94133369089121288</c:v>
                </c:pt>
                <c:pt idx="855">
                  <c:v>0.94526682756771252</c:v>
                </c:pt>
                <c:pt idx="856">
                  <c:v>0.93078573344060045</c:v>
                </c:pt>
                <c:pt idx="857">
                  <c:v>0.92075623491552694</c:v>
                </c:pt>
                <c:pt idx="858">
                  <c:v>0.91820863502279426</c:v>
                </c:pt>
                <c:pt idx="859">
                  <c:v>0.91767676767676742</c:v>
                </c:pt>
                <c:pt idx="860">
                  <c:v>0.91324751944220961</c:v>
                </c:pt>
                <c:pt idx="861">
                  <c:v>0.90689639760436203</c:v>
                </c:pt>
                <c:pt idx="862">
                  <c:v>0.89587914543666747</c:v>
                </c:pt>
                <c:pt idx="863">
                  <c:v>0.8979351032448375</c:v>
                </c:pt>
                <c:pt idx="864">
                  <c:v>0.88825869312594974</c:v>
                </c:pt>
                <c:pt idx="865">
                  <c:v>0.86218378475015633</c:v>
                </c:pt>
                <c:pt idx="866">
                  <c:v>0.88694913739161496</c:v>
                </c:pt>
                <c:pt idx="867">
                  <c:v>0.88777152051488328</c:v>
                </c:pt>
                <c:pt idx="868">
                  <c:v>0.89800214534727818</c:v>
                </c:pt>
                <c:pt idx="869">
                  <c:v>0.90182801465987272</c:v>
                </c:pt>
                <c:pt idx="870">
                  <c:v>0.89838205059443976</c:v>
                </c:pt>
                <c:pt idx="871">
                  <c:v>0.8946902654867257</c:v>
                </c:pt>
                <c:pt idx="872">
                  <c:v>0.8859166890140342</c:v>
                </c:pt>
                <c:pt idx="873">
                  <c:v>0.88936265307946716</c:v>
                </c:pt>
                <c:pt idx="874">
                  <c:v>0.88903191204076171</c:v>
                </c:pt>
                <c:pt idx="875">
                  <c:v>0.89053812460892123</c:v>
                </c:pt>
                <c:pt idx="876">
                  <c:v>0.87398319477965503</c:v>
                </c:pt>
                <c:pt idx="877">
                  <c:v>0.88080808080808071</c:v>
                </c:pt>
                <c:pt idx="878">
                  <c:v>0.87809064092249933</c:v>
                </c:pt>
                <c:pt idx="879">
                  <c:v>0.87901582193617567</c:v>
                </c:pt>
                <c:pt idx="880">
                  <c:v>0.87757218199696063</c:v>
                </c:pt>
                <c:pt idx="881">
                  <c:v>0.87538660945740565</c:v>
                </c:pt>
                <c:pt idx="882">
                  <c:v>0.87187360328953245</c:v>
                </c:pt>
                <c:pt idx="883">
                  <c:v>0.87586037364798419</c:v>
                </c:pt>
                <c:pt idx="884">
                  <c:v>0.85745061231786868</c:v>
                </c:pt>
                <c:pt idx="885">
                  <c:v>0.85890766067757207</c:v>
                </c:pt>
                <c:pt idx="886">
                  <c:v>0.83949226781085184</c:v>
                </c:pt>
                <c:pt idx="887">
                  <c:v>0.84492267810851862</c:v>
                </c:pt>
                <c:pt idx="888">
                  <c:v>0.86077143112541332</c:v>
                </c:pt>
                <c:pt idx="889">
                  <c:v>0.86549119513721284</c:v>
                </c:pt>
                <c:pt idx="890">
                  <c:v>0.83807097523911667</c:v>
                </c:pt>
                <c:pt idx="891">
                  <c:v>0.81596495932779112</c:v>
                </c:pt>
                <c:pt idx="892">
                  <c:v>0.8557700902833647</c:v>
                </c:pt>
                <c:pt idx="893">
                  <c:v>0.87200768749441315</c:v>
                </c:pt>
                <c:pt idx="894">
                  <c:v>0.89174935192634308</c:v>
                </c:pt>
                <c:pt idx="895">
                  <c:v>0.8779029230356663</c:v>
                </c:pt>
                <c:pt idx="896">
                  <c:v>0.86269330472870287</c:v>
                </c:pt>
                <c:pt idx="897">
                  <c:v>0.86138374899436831</c:v>
                </c:pt>
                <c:pt idx="898">
                  <c:v>0.87389827478323046</c:v>
                </c:pt>
                <c:pt idx="899">
                  <c:v>0.86876284973630091</c:v>
                </c:pt>
                <c:pt idx="900">
                  <c:v>0.88230535442924829</c:v>
                </c:pt>
                <c:pt idx="901">
                  <c:v>0.86966121390900164</c:v>
                </c:pt>
                <c:pt idx="902">
                  <c:v>0.87124340752659335</c:v>
                </c:pt>
                <c:pt idx="903">
                  <c:v>0.87164566014123523</c:v>
                </c:pt>
                <c:pt idx="904">
                  <c:v>0.86831590238669887</c:v>
                </c:pt>
                <c:pt idx="905">
                  <c:v>0.84811835165817451</c:v>
                </c:pt>
                <c:pt idx="906">
                  <c:v>0.86529900777688384</c:v>
                </c:pt>
                <c:pt idx="907">
                  <c:v>0.8481004737641904</c:v>
                </c:pt>
                <c:pt idx="908">
                  <c:v>0.86075802270492541</c:v>
                </c:pt>
                <c:pt idx="909">
                  <c:v>0.87068472333959068</c:v>
                </c:pt>
                <c:pt idx="910">
                  <c:v>0.86395816572807727</c:v>
                </c:pt>
                <c:pt idx="911">
                  <c:v>0.84350585501027964</c:v>
                </c:pt>
                <c:pt idx="912">
                  <c:v>0.85107267363904526</c:v>
                </c:pt>
                <c:pt idx="913">
                  <c:v>0.84499418968445505</c:v>
                </c:pt>
                <c:pt idx="914">
                  <c:v>0.84535621703763297</c:v>
                </c:pt>
                <c:pt idx="915">
                  <c:v>0.83121927236971471</c:v>
                </c:pt>
                <c:pt idx="916">
                  <c:v>0.82352283900956458</c:v>
                </c:pt>
                <c:pt idx="917">
                  <c:v>0.82083668543845523</c:v>
                </c:pt>
                <c:pt idx="918">
                  <c:v>0.82261106641637594</c:v>
                </c:pt>
                <c:pt idx="919">
                  <c:v>0.79667024224546346</c:v>
                </c:pt>
                <c:pt idx="920">
                  <c:v>0.7756726557611513</c:v>
                </c:pt>
                <c:pt idx="921">
                  <c:v>0.76926343076785564</c:v>
                </c:pt>
                <c:pt idx="922">
                  <c:v>0.77486815053186731</c:v>
                </c:pt>
                <c:pt idx="923">
                  <c:v>0.77641011888799483</c:v>
                </c:pt>
                <c:pt idx="924">
                  <c:v>0.74734960221685887</c:v>
                </c:pt>
                <c:pt idx="925">
                  <c:v>0.7382408152319655</c:v>
                </c:pt>
                <c:pt idx="926">
                  <c:v>0.74779654956646091</c:v>
                </c:pt>
                <c:pt idx="927">
                  <c:v>0.76123625636899983</c:v>
                </c:pt>
                <c:pt idx="928">
                  <c:v>0.74894967372843468</c:v>
                </c:pt>
                <c:pt idx="929">
                  <c:v>0.75000446947349597</c:v>
                </c:pt>
                <c:pt idx="930">
                  <c:v>0.77622240100116202</c:v>
                </c:pt>
                <c:pt idx="931">
                  <c:v>0.7711227317422007</c:v>
                </c:pt>
                <c:pt idx="932">
                  <c:v>0.77390721373022253</c:v>
                </c:pt>
                <c:pt idx="933">
                  <c:v>0.76246536158040579</c:v>
                </c:pt>
                <c:pt idx="934">
                  <c:v>0.76067757218199694</c:v>
                </c:pt>
                <c:pt idx="935">
                  <c:v>0.7425627961026191</c:v>
                </c:pt>
                <c:pt idx="936">
                  <c:v>0.73211763654241535</c:v>
                </c:pt>
                <c:pt idx="937">
                  <c:v>0.70794225440243119</c:v>
                </c:pt>
                <c:pt idx="938">
                  <c:v>0.71714490033074108</c:v>
                </c:pt>
                <c:pt idx="939">
                  <c:v>0.68430767855546604</c:v>
                </c:pt>
                <c:pt idx="940">
                  <c:v>0.70721373022257961</c:v>
                </c:pt>
                <c:pt idx="941">
                  <c:v>0.72981585769196378</c:v>
                </c:pt>
                <c:pt idx="942">
                  <c:v>0.74390810762492188</c:v>
                </c:pt>
                <c:pt idx="943">
                  <c:v>0.70338339143648865</c:v>
                </c:pt>
                <c:pt idx="944">
                  <c:v>0.71151336372575313</c:v>
                </c:pt>
                <c:pt idx="945">
                  <c:v>0.75446053454903006</c:v>
                </c:pt>
                <c:pt idx="946">
                  <c:v>0.73476803432555626</c:v>
                </c:pt>
                <c:pt idx="947">
                  <c:v>0.73259140073299367</c:v>
                </c:pt>
                <c:pt idx="948">
                  <c:v>0.74609368016447664</c:v>
                </c:pt>
                <c:pt idx="949">
                  <c:v>0.74933851792258865</c:v>
                </c:pt>
                <c:pt idx="950">
                  <c:v>0.75709752391168306</c:v>
                </c:pt>
                <c:pt idx="951">
                  <c:v>0.75766067757218192</c:v>
                </c:pt>
                <c:pt idx="952">
                  <c:v>0.75866183963529088</c:v>
                </c:pt>
                <c:pt idx="953">
                  <c:v>0.75041566103513002</c:v>
                </c:pt>
                <c:pt idx="954">
                  <c:v>0.74751050326271562</c:v>
                </c:pt>
                <c:pt idx="955">
                  <c:v>0.74811388218467867</c:v>
                </c:pt>
                <c:pt idx="956">
                  <c:v>0.75006257262894427</c:v>
                </c:pt>
                <c:pt idx="957">
                  <c:v>0.73720836685438451</c:v>
                </c:pt>
                <c:pt idx="958">
                  <c:v>0.73046393134888699</c:v>
                </c:pt>
                <c:pt idx="959">
                  <c:v>0.711884330025923</c:v>
                </c:pt>
                <c:pt idx="960">
                  <c:v>0.7101591132564582</c:v>
                </c:pt>
                <c:pt idx="961">
                  <c:v>0.68671672476982204</c:v>
                </c:pt>
                <c:pt idx="962">
                  <c:v>0.66006972378653783</c:v>
                </c:pt>
                <c:pt idx="963">
                  <c:v>0.69275945293644403</c:v>
                </c:pt>
                <c:pt idx="964">
                  <c:v>0.67639671046750682</c:v>
                </c:pt>
                <c:pt idx="965">
                  <c:v>0.7205774559756859</c:v>
                </c:pt>
                <c:pt idx="966">
                  <c:v>0.72314293376240268</c:v>
                </c:pt>
                <c:pt idx="967">
                  <c:v>0.71693483507642775</c:v>
                </c:pt>
                <c:pt idx="968">
                  <c:v>0.72211942433181364</c:v>
                </c:pt>
                <c:pt idx="969">
                  <c:v>0.72157414856529889</c:v>
                </c:pt>
                <c:pt idx="970">
                  <c:v>0.69791275587735746</c:v>
                </c:pt>
                <c:pt idx="971">
                  <c:v>0.68420935013855355</c:v>
                </c:pt>
                <c:pt idx="972">
                  <c:v>0.69640654330919816</c:v>
                </c:pt>
                <c:pt idx="973">
                  <c:v>0.70279789040850993</c:v>
                </c:pt>
                <c:pt idx="974">
                  <c:v>0.69893179583445075</c:v>
                </c:pt>
                <c:pt idx="975">
                  <c:v>0.69822561902207925</c:v>
                </c:pt>
                <c:pt idx="976">
                  <c:v>0.70943058907660661</c:v>
                </c:pt>
                <c:pt idx="977">
                  <c:v>0.70009385894341647</c:v>
                </c:pt>
                <c:pt idx="978">
                  <c:v>0.67522123893805297</c:v>
                </c:pt>
                <c:pt idx="979">
                  <c:v>0.66571019933851794</c:v>
                </c:pt>
                <c:pt idx="980">
                  <c:v>0.65399570930544382</c:v>
                </c:pt>
                <c:pt idx="981">
                  <c:v>0.67876553142039864</c:v>
                </c:pt>
                <c:pt idx="982">
                  <c:v>0.66802538660945743</c:v>
                </c:pt>
                <c:pt idx="983">
                  <c:v>0.66579064986144632</c:v>
                </c:pt>
                <c:pt idx="984">
                  <c:v>0.66950925181013665</c:v>
                </c:pt>
                <c:pt idx="985">
                  <c:v>0.65507285241798496</c:v>
                </c:pt>
                <c:pt idx="986">
                  <c:v>0.6492401895056763</c:v>
                </c:pt>
                <c:pt idx="987">
                  <c:v>0.64801108429427012</c:v>
                </c:pt>
                <c:pt idx="988">
                  <c:v>0.651434700992223</c:v>
                </c:pt>
                <c:pt idx="989">
                  <c:v>0.65791096808795912</c:v>
                </c:pt>
                <c:pt idx="990">
                  <c:v>0.66375256994726017</c:v>
                </c:pt>
                <c:pt idx="991">
                  <c:v>0.65422812192723701</c:v>
                </c:pt>
                <c:pt idx="992">
                  <c:v>0.6513006167873423</c:v>
                </c:pt>
                <c:pt idx="993">
                  <c:v>0.6302359882005899</c:v>
                </c:pt>
                <c:pt idx="994">
                  <c:v>0.63737373737373737</c:v>
                </c:pt>
                <c:pt idx="995">
                  <c:v>0.63944757307589151</c:v>
                </c:pt>
                <c:pt idx="996">
                  <c:v>0.64155716456601408</c:v>
                </c:pt>
                <c:pt idx="997">
                  <c:v>0.65471082506480727</c:v>
                </c:pt>
                <c:pt idx="998">
                  <c:v>0.65011173683740053</c:v>
                </c:pt>
                <c:pt idx="999">
                  <c:v>0.65331187986055239</c:v>
                </c:pt>
                <c:pt idx="1000">
                  <c:v>0.63883078573344054</c:v>
                </c:pt>
                <c:pt idx="1001">
                  <c:v>0.63985429516402981</c:v>
                </c:pt>
                <c:pt idx="1002">
                  <c:v>0.63692232055063891</c:v>
                </c:pt>
                <c:pt idx="1003">
                  <c:v>0.61867792973987656</c:v>
                </c:pt>
                <c:pt idx="1004">
                  <c:v>0.62615088942522568</c:v>
                </c:pt>
                <c:pt idx="1005">
                  <c:v>0.62226244748368642</c:v>
                </c:pt>
                <c:pt idx="1006">
                  <c:v>0.62483686421739515</c:v>
                </c:pt>
                <c:pt idx="1007">
                  <c:v>0.59899436846339493</c:v>
                </c:pt>
                <c:pt idx="1008">
                  <c:v>0.5900330741038704</c:v>
                </c:pt>
                <c:pt idx="1009">
                  <c:v>0.60090730311969232</c:v>
                </c:pt>
                <c:pt idx="1010">
                  <c:v>0.59461428443729325</c:v>
                </c:pt>
                <c:pt idx="1011">
                  <c:v>0.61326986680968987</c:v>
                </c:pt>
                <c:pt idx="1012">
                  <c:v>0.62103781174577621</c:v>
                </c:pt>
                <c:pt idx="1013">
                  <c:v>0.60237329042638765</c:v>
                </c:pt>
                <c:pt idx="1014">
                  <c:v>0.58085724501653702</c:v>
                </c:pt>
                <c:pt idx="1015">
                  <c:v>0.59679091802985584</c:v>
                </c:pt>
                <c:pt idx="1016">
                  <c:v>0.58466523643514789</c:v>
                </c:pt>
                <c:pt idx="1017">
                  <c:v>0.58688656476267087</c:v>
                </c:pt>
                <c:pt idx="1018">
                  <c:v>0.56853490658800387</c:v>
                </c:pt>
                <c:pt idx="1019">
                  <c:v>0.56898632341110211</c:v>
                </c:pt>
                <c:pt idx="1020">
                  <c:v>0.53903638151425759</c:v>
                </c:pt>
                <c:pt idx="1021">
                  <c:v>0.50583713238580486</c:v>
                </c:pt>
                <c:pt idx="1022">
                  <c:v>0.47950299454724221</c:v>
                </c:pt>
                <c:pt idx="1023">
                  <c:v>0.461499955305265</c:v>
                </c:pt>
                <c:pt idx="1024">
                  <c:v>0.47944489139179414</c:v>
                </c:pt>
                <c:pt idx="1025">
                  <c:v>0.46197818896933951</c:v>
                </c:pt>
                <c:pt idx="1026">
                  <c:v>0.51545543934924454</c:v>
                </c:pt>
                <c:pt idx="1027">
                  <c:v>0.52005452757665127</c:v>
                </c:pt>
                <c:pt idx="1028">
                  <c:v>0.54884687583802627</c:v>
                </c:pt>
                <c:pt idx="1029">
                  <c:v>0.54352820237775967</c:v>
                </c:pt>
                <c:pt idx="1030">
                  <c:v>0.535514436399392</c:v>
                </c:pt>
                <c:pt idx="1031">
                  <c:v>0.53889335836238472</c:v>
                </c:pt>
                <c:pt idx="1032">
                  <c:v>0.53165281129882902</c:v>
                </c:pt>
                <c:pt idx="1033">
                  <c:v>0.55707964601769899</c:v>
                </c:pt>
                <c:pt idx="1034">
                  <c:v>0.55686958076338611</c:v>
                </c:pt>
                <c:pt idx="1035">
                  <c:v>0.55925181013676584</c:v>
                </c:pt>
                <c:pt idx="1036">
                  <c:v>0.56964780548851324</c:v>
                </c:pt>
                <c:pt idx="1037">
                  <c:v>0.57961026191114673</c:v>
                </c:pt>
                <c:pt idx="1038">
                  <c:v>0.55409403772235621</c:v>
                </c:pt>
                <c:pt idx="1039">
                  <c:v>0.54055153302940906</c:v>
                </c:pt>
                <c:pt idx="1040">
                  <c:v>0.52831411459730027</c:v>
                </c:pt>
                <c:pt idx="1041">
                  <c:v>0.50216769464557065</c:v>
                </c:pt>
                <c:pt idx="1042">
                  <c:v>0.52347814427460437</c:v>
                </c:pt>
                <c:pt idx="1043">
                  <c:v>0.4965763833020469</c:v>
                </c:pt>
                <c:pt idx="1044">
                  <c:v>0.51103959953517486</c:v>
                </c:pt>
                <c:pt idx="1045">
                  <c:v>0.50308393671225526</c:v>
                </c:pt>
                <c:pt idx="1046">
                  <c:v>0.49077947617770601</c:v>
                </c:pt>
                <c:pt idx="1047">
                  <c:v>0.49798873692678991</c:v>
                </c:pt>
                <c:pt idx="1048">
                  <c:v>0.47423795476892816</c:v>
                </c:pt>
                <c:pt idx="1049">
                  <c:v>0.45105479574506124</c:v>
                </c:pt>
                <c:pt idx="1050">
                  <c:v>0.44673281487440786</c:v>
                </c:pt>
                <c:pt idx="1051">
                  <c:v>0.48188522392062216</c:v>
                </c:pt>
                <c:pt idx="1052">
                  <c:v>0.46646107088584965</c:v>
                </c:pt>
                <c:pt idx="1053">
                  <c:v>0.48362831858407063</c:v>
                </c:pt>
                <c:pt idx="1054">
                  <c:v>0.50040672208813808</c:v>
                </c:pt>
                <c:pt idx="1055">
                  <c:v>0.51313578260480908</c:v>
                </c:pt>
                <c:pt idx="1056">
                  <c:v>0.52015732546705973</c:v>
                </c:pt>
                <c:pt idx="1057">
                  <c:v>0.51226423527308484</c:v>
                </c:pt>
                <c:pt idx="1058">
                  <c:v>0.49323768660051837</c:v>
                </c:pt>
                <c:pt idx="1059">
                  <c:v>0.49244212031822654</c:v>
                </c:pt>
                <c:pt idx="1060">
                  <c:v>0.51915616340395099</c:v>
                </c:pt>
                <c:pt idx="1061">
                  <c:v>0.48915705729865033</c:v>
                </c:pt>
                <c:pt idx="1062">
                  <c:v>0.53167068919281313</c:v>
                </c:pt>
                <c:pt idx="1063">
                  <c:v>0.54422990971663521</c:v>
                </c:pt>
                <c:pt idx="1064">
                  <c:v>0.60044694734960213</c:v>
                </c:pt>
                <c:pt idx="1065">
                  <c:v>0.57622687047465804</c:v>
                </c:pt>
                <c:pt idx="1066">
                  <c:v>0.56445427728613562</c:v>
                </c:pt>
                <c:pt idx="1067">
                  <c:v>0.56789577187807283</c:v>
                </c:pt>
                <c:pt idx="1068">
                  <c:v>0.55741038705640467</c:v>
                </c:pt>
                <c:pt idx="1069">
                  <c:v>0.55480915348171989</c:v>
                </c:pt>
                <c:pt idx="1070">
                  <c:v>0.53911683203718597</c:v>
                </c:pt>
                <c:pt idx="1071">
                  <c:v>0.53360150174309462</c:v>
                </c:pt>
                <c:pt idx="1072">
                  <c:v>0.518351658174667</c:v>
                </c:pt>
                <c:pt idx="1073">
                  <c:v>0.51314472155180124</c:v>
                </c:pt>
                <c:pt idx="1074">
                  <c:v>0.50838026280504156</c:v>
                </c:pt>
                <c:pt idx="1075">
                  <c:v>0.51505318673460265</c:v>
                </c:pt>
                <c:pt idx="1076">
                  <c:v>0.51157146688120125</c:v>
                </c:pt>
                <c:pt idx="1077">
                  <c:v>0.50748636810583703</c:v>
                </c:pt>
                <c:pt idx="1078">
                  <c:v>0.50774559756860627</c:v>
                </c:pt>
                <c:pt idx="1079">
                  <c:v>0.5108384732278537</c:v>
                </c:pt>
                <c:pt idx="1080">
                  <c:v>0.48998390989541418</c:v>
                </c:pt>
                <c:pt idx="1081">
                  <c:v>0.50195315991776157</c:v>
                </c:pt>
                <c:pt idx="1082">
                  <c:v>0.49784571377491726</c:v>
                </c:pt>
                <c:pt idx="1083">
                  <c:v>0.49689818539376041</c:v>
                </c:pt>
                <c:pt idx="1084">
                  <c:v>0.48733798158576902</c:v>
                </c:pt>
                <c:pt idx="1085">
                  <c:v>0.47783588093322615</c:v>
                </c:pt>
                <c:pt idx="1086">
                  <c:v>0.47251720747295978</c:v>
                </c:pt>
                <c:pt idx="1087">
                  <c:v>0.46201841423080348</c:v>
                </c:pt>
                <c:pt idx="1088">
                  <c:v>0.4508894252257083</c:v>
                </c:pt>
                <c:pt idx="1089">
                  <c:v>0.45635112183784754</c:v>
                </c:pt>
                <c:pt idx="1090">
                  <c:v>0.43847322785375886</c:v>
                </c:pt>
                <c:pt idx="1091">
                  <c:v>0.44784571377491722</c:v>
                </c:pt>
                <c:pt idx="1092">
                  <c:v>0.43721730580137663</c:v>
                </c:pt>
                <c:pt idx="1093">
                  <c:v>0.44616966121390877</c:v>
                </c:pt>
                <c:pt idx="1094">
                  <c:v>0.46420845624385443</c:v>
                </c:pt>
                <c:pt idx="1095">
                  <c:v>0.455841601859301</c:v>
                </c:pt>
                <c:pt idx="1096">
                  <c:v>0.45340126933047298</c:v>
                </c:pt>
                <c:pt idx="1097">
                  <c:v>0.44128452668275675</c:v>
                </c:pt>
                <c:pt idx="1098">
                  <c:v>0.43719048896040058</c:v>
                </c:pt>
                <c:pt idx="1099">
                  <c:v>0.44210244033252866</c:v>
                </c:pt>
                <c:pt idx="1100">
                  <c:v>0.42912308930008036</c:v>
                </c:pt>
                <c:pt idx="1101">
                  <c:v>0.41021721641190645</c:v>
                </c:pt>
                <c:pt idx="1102">
                  <c:v>0.42354518637704475</c:v>
                </c:pt>
                <c:pt idx="1103">
                  <c:v>0.40880039331366769</c:v>
                </c:pt>
                <c:pt idx="1104">
                  <c:v>0.41679628139805125</c:v>
                </c:pt>
                <c:pt idx="1105">
                  <c:v>0.40579243765084483</c:v>
                </c:pt>
                <c:pt idx="1106">
                  <c:v>0.42116742647716077</c:v>
                </c:pt>
                <c:pt idx="1107">
                  <c:v>0.39894967372843482</c:v>
                </c:pt>
                <c:pt idx="1108">
                  <c:v>0.39262536873156351</c:v>
                </c:pt>
                <c:pt idx="1109">
                  <c:v>0.3856663984982569</c:v>
                </c:pt>
                <c:pt idx="1110">
                  <c:v>0.3646375256994725</c:v>
                </c:pt>
                <c:pt idx="1111">
                  <c:v>0.34488692232055063</c:v>
                </c:pt>
                <c:pt idx="1112">
                  <c:v>0.37827835880933236</c:v>
                </c:pt>
                <c:pt idx="1113">
                  <c:v>0.36333690891213011</c:v>
                </c:pt>
                <c:pt idx="1114">
                  <c:v>0.39952176633592562</c:v>
                </c:pt>
                <c:pt idx="1115">
                  <c:v>0.39351926343076782</c:v>
                </c:pt>
                <c:pt idx="1116">
                  <c:v>0.38452668275677104</c:v>
                </c:pt>
                <c:pt idx="1117">
                  <c:v>0.39239295610977032</c:v>
                </c:pt>
                <c:pt idx="1118">
                  <c:v>0.39156610351300603</c:v>
                </c:pt>
                <c:pt idx="1119">
                  <c:v>0.39659426119603092</c:v>
                </c:pt>
                <c:pt idx="1120">
                  <c:v>0.37060427281666231</c:v>
                </c:pt>
                <c:pt idx="1121">
                  <c:v>0.35930544381871798</c:v>
                </c:pt>
                <c:pt idx="1122">
                  <c:v>0.34178063824081506</c:v>
                </c:pt>
                <c:pt idx="1123">
                  <c:v>0.42582461786001602</c:v>
                </c:pt>
                <c:pt idx="1124">
                  <c:v>0.43344060069723778</c:v>
                </c:pt>
                <c:pt idx="1125">
                  <c:v>0.44470814338070963</c:v>
                </c:pt>
                <c:pt idx="1126">
                  <c:v>0.42751854831500835</c:v>
                </c:pt>
                <c:pt idx="1127">
                  <c:v>0.39105658353445949</c:v>
                </c:pt>
                <c:pt idx="1128">
                  <c:v>0.3957584696522749</c:v>
                </c:pt>
                <c:pt idx="1129">
                  <c:v>0.37696433360150183</c:v>
                </c:pt>
                <c:pt idx="1130">
                  <c:v>0.36575042459998208</c:v>
                </c:pt>
                <c:pt idx="1131">
                  <c:v>0.36064628586752479</c:v>
                </c:pt>
                <c:pt idx="1132">
                  <c:v>0.35412979351032448</c:v>
                </c:pt>
                <c:pt idx="1133">
                  <c:v>0.35699025654777872</c:v>
                </c:pt>
                <c:pt idx="1134">
                  <c:v>0.33716367211942422</c:v>
                </c:pt>
                <c:pt idx="1135">
                  <c:v>0.32093054438187174</c:v>
                </c:pt>
                <c:pt idx="1136">
                  <c:v>0.31782872977563237</c:v>
                </c:pt>
                <c:pt idx="1137">
                  <c:v>0.32815321355144356</c:v>
                </c:pt>
                <c:pt idx="1138">
                  <c:v>0.30640028604630376</c:v>
                </c:pt>
                <c:pt idx="1139">
                  <c:v>0.32024224546348434</c:v>
                </c:pt>
                <c:pt idx="1140">
                  <c:v>0.27992312505586825</c:v>
                </c:pt>
                <c:pt idx="1141">
                  <c:v>0.27491731474032344</c:v>
                </c:pt>
                <c:pt idx="1142">
                  <c:v>0.26039152587825143</c:v>
                </c:pt>
                <c:pt idx="1143">
                  <c:v>0.28279252704031466</c:v>
                </c:pt>
                <c:pt idx="1144">
                  <c:v>0.3096987574863681</c:v>
                </c:pt>
                <c:pt idx="1145">
                  <c:v>0.30946634486457492</c:v>
                </c:pt>
                <c:pt idx="1146">
                  <c:v>0.28774023420041117</c:v>
                </c:pt>
                <c:pt idx="1147">
                  <c:v>0.2730937695539466</c:v>
                </c:pt>
                <c:pt idx="1148">
                  <c:v>0.28204165549298299</c:v>
                </c:pt>
                <c:pt idx="1149">
                  <c:v>0.27055510860820586</c:v>
                </c:pt>
                <c:pt idx="1150">
                  <c:v>0.26517833199249119</c:v>
                </c:pt>
                <c:pt idx="1151">
                  <c:v>0.30170286940198432</c:v>
                </c:pt>
                <c:pt idx="1152">
                  <c:v>0.31380620362921263</c:v>
                </c:pt>
                <c:pt idx="1153">
                  <c:v>0.27978457137749158</c:v>
                </c:pt>
                <c:pt idx="1154">
                  <c:v>0.2865290068829891</c:v>
                </c:pt>
                <c:pt idx="1155">
                  <c:v>0.26787342451059248</c:v>
                </c:pt>
                <c:pt idx="1156">
                  <c:v>0.25046929471708235</c:v>
                </c:pt>
                <c:pt idx="1157">
                  <c:v>0.25114418521498161</c:v>
                </c:pt>
                <c:pt idx="1158">
                  <c:v>0.22309823902744252</c:v>
                </c:pt>
                <c:pt idx="1159">
                  <c:v>0.26180387950299444</c:v>
                </c:pt>
                <c:pt idx="1160">
                  <c:v>0.28477697327254847</c:v>
                </c:pt>
                <c:pt idx="1161">
                  <c:v>0.25125145257888626</c:v>
                </c:pt>
                <c:pt idx="1162">
                  <c:v>0.24401537498882631</c:v>
                </c:pt>
                <c:pt idx="1163">
                  <c:v>0.27203897380888531</c:v>
                </c:pt>
                <c:pt idx="1164">
                  <c:v>0.23430320908197011</c:v>
                </c:pt>
                <c:pt idx="1165">
                  <c:v>0.2469026548672566</c:v>
                </c:pt>
                <c:pt idx="1166">
                  <c:v>0.22909627245910436</c:v>
                </c:pt>
                <c:pt idx="1167">
                  <c:v>0.18861625100563151</c:v>
                </c:pt>
                <c:pt idx="1168">
                  <c:v>0.19052471618843292</c:v>
                </c:pt>
                <c:pt idx="1169">
                  <c:v>0.11229552158755696</c:v>
                </c:pt>
                <c:pt idx="1170">
                  <c:v>0.12939125770984172</c:v>
                </c:pt>
                <c:pt idx="1171">
                  <c:v>0.1041834271922768</c:v>
                </c:pt>
                <c:pt idx="1172">
                  <c:v>0.15517565030839364</c:v>
                </c:pt>
                <c:pt idx="1173">
                  <c:v>0.17397425583266291</c:v>
                </c:pt>
                <c:pt idx="1174">
                  <c:v>0.13590328059354584</c:v>
                </c:pt>
                <c:pt idx="1175">
                  <c:v>0.17550281576830251</c:v>
                </c:pt>
                <c:pt idx="1176">
                  <c:v>0.10644498078126396</c:v>
                </c:pt>
                <c:pt idx="1177">
                  <c:v>9.3827657101993367E-2</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4.005173458678847</c:v>
                </c:pt>
                <c:pt idx="1202">
                  <c:v>3.981730300208417</c:v>
                </c:pt>
                <c:pt idx="1203">
                  <c:v>3.9963194536827631</c:v>
                </c:pt>
                <c:pt idx="1204">
                  <c:v>3.9871254785449279</c:v>
                </c:pt>
                <c:pt idx="1205">
                  <c:v>3.9952699806364835</c:v>
                </c:pt>
                <c:pt idx="1206">
                  <c:v>3.9631945368276353</c:v>
                </c:pt>
                <c:pt idx="1207">
                  <c:v>3.9548283150784149</c:v>
                </c:pt>
                <c:pt idx="1208">
                  <c:v>3.9187914800526213</c:v>
                </c:pt>
                <c:pt idx="1209">
                  <c:v>3.9455013081459809</c:v>
                </c:pt>
                <c:pt idx="1210">
                  <c:v>3.9291088347892931</c:v>
                </c:pt>
                <c:pt idx="1211">
                  <c:v>3.87427017279352</c:v>
                </c:pt>
                <c:pt idx="1212">
                  <c:v>3.8023295345365327</c:v>
                </c:pt>
                <c:pt idx="1213">
                  <c:v>3.7677412679408162</c:v>
                </c:pt>
                <c:pt idx="1214">
                  <c:v>3.8536798072517113</c:v>
                </c:pt>
                <c:pt idx="1215">
                  <c:v>3.8385141826674358</c:v>
                </c:pt>
                <c:pt idx="1216">
                  <c:v>3.8427120748525567</c:v>
                </c:pt>
                <c:pt idx="1217">
                  <c:v>3.7945102212762185</c:v>
                </c:pt>
                <c:pt idx="1218">
                  <c:v>3.8711365349651903</c:v>
                </c:pt>
                <c:pt idx="1219">
                  <c:v>3.9155839356717372</c:v>
                </c:pt>
                <c:pt idx="1220">
                  <c:v>3.9099818189880713</c:v>
                </c:pt>
                <c:pt idx="1221">
                  <c:v>3.9085628131790164</c:v>
                </c:pt>
                <c:pt idx="1222">
                  <c:v>3.9216147103602204</c:v>
                </c:pt>
                <c:pt idx="1223">
                  <c:v>3.9026798515956429</c:v>
                </c:pt>
                <c:pt idx="1224">
                  <c:v>3.8620016850693988</c:v>
                </c:pt>
                <c:pt idx="1225">
                  <c:v>3.8529259604156509</c:v>
                </c:pt>
                <c:pt idx="1226">
                  <c:v>3.8602870530501239</c:v>
                </c:pt>
                <c:pt idx="1227">
                  <c:v>3.8266152277060881</c:v>
                </c:pt>
                <c:pt idx="1228">
                  <c:v>3.840435753033864</c:v>
                </c:pt>
                <c:pt idx="1229">
                  <c:v>3.808434215777571</c:v>
                </c:pt>
                <c:pt idx="1230">
                  <c:v>3.7849762759966294</c:v>
                </c:pt>
                <c:pt idx="1231">
                  <c:v>3.7984272685616309</c:v>
                </c:pt>
                <c:pt idx="1232">
                  <c:v>3.7815322306475689</c:v>
                </c:pt>
                <c:pt idx="1233">
                  <c:v>3.8155292448228462</c:v>
                </c:pt>
                <c:pt idx="1234">
                  <c:v>3.7755162372695965</c:v>
                </c:pt>
                <c:pt idx="1235">
                  <c:v>3.7614887735946674</c:v>
                </c:pt>
                <c:pt idx="1236">
                  <c:v>3.7891741681817512</c:v>
                </c:pt>
                <c:pt idx="1237">
                  <c:v>3.7890115737661301</c:v>
                </c:pt>
                <c:pt idx="1238">
                  <c:v>3.7645780674914642</c:v>
                </c:pt>
                <c:pt idx="1239">
                  <c:v>3.7655092900536564</c:v>
                </c:pt>
                <c:pt idx="1240">
                  <c:v>3.7613853044210899</c:v>
                </c:pt>
                <c:pt idx="1241">
                  <c:v>3.7379569272611706</c:v>
                </c:pt>
                <c:pt idx="1242">
                  <c:v>3.7169231224040322</c:v>
                </c:pt>
                <c:pt idx="1243">
                  <c:v>3.7189629432545495</c:v>
                </c:pt>
                <c:pt idx="1244">
                  <c:v>3.7173813430298726</c:v>
                </c:pt>
                <c:pt idx="1245">
                  <c:v>3.6839016747224811</c:v>
                </c:pt>
                <c:pt idx="1246">
                  <c:v>3.683561704580729</c:v>
                </c:pt>
                <c:pt idx="1247">
                  <c:v>3.6437408540641218</c:v>
                </c:pt>
                <c:pt idx="1248">
                  <c:v>3.6302750801886097</c:v>
                </c:pt>
                <c:pt idx="1249">
                  <c:v>3.6353598510043899</c:v>
                </c:pt>
                <c:pt idx="1250">
                  <c:v>3.650067254962825</c:v>
                </c:pt>
                <c:pt idx="1251">
                  <c:v>3.6079700826275261</c:v>
                </c:pt>
                <c:pt idx="1252">
                  <c:v>3.6010672106188943</c:v>
                </c:pt>
                <c:pt idx="1253">
                  <c:v>3.5721549672593973</c:v>
                </c:pt>
                <c:pt idx="1254">
                  <c:v>3.6027079360856131</c:v>
                </c:pt>
                <c:pt idx="1255">
                  <c:v>3.6427800688809073</c:v>
                </c:pt>
                <c:pt idx="1256">
                  <c:v>3.6614784266773093</c:v>
                </c:pt>
                <c:pt idx="1257">
                  <c:v>3.6421001285974013</c:v>
                </c:pt>
                <c:pt idx="1258">
                  <c:v>3.63193058696584</c:v>
                </c:pt>
                <c:pt idx="1259">
                  <c:v>3.5974162269226788</c:v>
                </c:pt>
                <c:pt idx="1260">
                  <c:v>3.587438842327761</c:v>
                </c:pt>
                <c:pt idx="1261">
                  <c:v>3.594711247099168</c:v>
                </c:pt>
                <c:pt idx="1262">
                  <c:v>3.6120349430180481</c:v>
                </c:pt>
                <c:pt idx="1263">
                  <c:v>3.614769485462582</c:v>
                </c:pt>
                <c:pt idx="1264">
                  <c:v>3.6124488197123563</c:v>
                </c:pt>
                <c:pt idx="1265">
                  <c:v>3.5772249567646668</c:v>
                </c:pt>
                <c:pt idx="1266">
                  <c:v>3.5733965973423203</c:v>
                </c:pt>
                <c:pt idx="1267">
                  <c:v>3.5701447090299032</c:v>
                </c:pt>
                <c:pt idx="1268">
                  <c:v>3.5630053360530951</c:v>
                </c:pt>
                <c:pt idx="1269">
                  <c:v>3.5719775915332654</c:v>
                </c:pt>
                <c:pt idx="1270">
                  <c:v>3.5603003562295834</c:v>
                </c:pt>
                <c:pt idx="1271">
                  <c:v>3.5478840554003526</c:v>
                </c:pt>
                <c:pt idx="1272">
                  <c:v>3.5446912923299783</c:v>
                </c:pt>
                <c:pt idx="1273">
                  <c:v>3.5500864706664892</c:v>
                </c:pt>
                <c:pt idx="1274">
                  <c:v>3.5332949019260047</c:v>
                </c:pt>
                <c:pt idx="1275">
                  <c:v>3.4899117555762498</c:v>
                </c:pt>
                <c:pt idx="1276">
                  <c:v>3.5035253425568715</c:v>
                </c:pt>
                <c:pt idx="1277">
                  <c:v>3.488921407772013</c:v>
                </c:pt>
                <c:pt idx="1278">
                  <c:v>3.4926610793312935</c:v>
                </c:pt>
                <c:pt idx="1279">
                  <c:v>3.4677250084992544</c:v>
                </c:pt>
                <c:pt idx="1280">
                  <c:v>3.4496031218127801</c:v>
                </c:pt>
                <c:pt idx="1281">
                  <c:v>3.4410743056479385</c:v>
                </c:pt>
                <c:pt idx="1282">
                  <c:v>3.4284658477820642</c:v>
                </c:pt>
                <c:pt idx="1283">
                  <c:v>3.4443261939603564</c:v>
                </c:pt>
                <c:pt idx="1284">
                  <c:v>3.4139949447918054</c:v>
                </c:pt>
                <c:pt idx="1285">
                  <c:v>3.4313629846422184</c:v>
                </c:pt>
                <c:pt idx="1286">
                  <c:v>3.4191536221601408</c:v>
                </c:pt>
                <c:pt idx="1287">
                  <c:v>3.4280076271562239</c:v>
                </c:pt>
                <c:pt idx="1288">
                  <c:v>3.3843584172172712</c:v>
                </c:pt>
                <c:pt idx="1289">
                  <c:v>3.3904483171477988</c:v>
                </c:pt>
                <c:pt idx="1290">
                  <c:v>3.3429411851654773</c:v>
                </c:pt>
                <c:pt idx="1291">
                  <c:v>3.3152557905783926</c:v>
                </c:pt>
                <c:pt idx="1292">
                  <c:v>3.2763218186924457</c:v>
                </c:pt>
                <c:pt idx="1293">
                  <c:v>3.3439167516592025</c:v>
                </c:pt>
                <c:pt idx="1294">
                  <c:v>3.3634576441547317</c:v>
                </c:pt>
                <c:pt idx="1295">
                  <c:v>3.3022925812602546</c:v>
                </c:pt>
                <c:pt idx="1296">
                  <c:v>3.268266004463956</c:v>
                </c:pt>
                <c:pt idx="1297">
                  <c:v>3.3460748229938071</c:v>
                </c:pt>
                <c:pt idx="1298">
                  <c:v>3.4000118250484084</c:v>
                </c:pt>
                <c:pt idx="1299">
                  <c:v>3.3779137658344789</c:v>
                </c:pt>
                <c:pt idx="1300">
                  <c:v>3.4013125803733759</c:v>
                </c:pt>
                <c:pt idx="1301">
                  <c:v>3.4120290304938434</c:v>
                </c:pt>
                <c:pt idx="1302">
                  <c:v>3.3850235761902647</c:v>
                </c:pt>
                <c:pt idx="1303">
                  <c:v>3.4222429160569376</c:v>
                </c:pt>
                <c:pt idx="1304">
                  <c:v>3.4226715740617566</c:v>
                </c:pt>
                <c:pt idx="1305">
                  <c:v>3.4444296631339339</c:v>
                </c:pt>
                <c:pt idx="1306">
                  <c:v>3.444340975270868</c:v>
                </c:pt>
                <c:pt idx="1307">
                  <c:v>3.4428185002882357</c:v>
                </c:pt>
                <c:pt idx="1308">
                  <c:v>3.43137776595273</c:v>
                </c:pt>
                <c:pt idx="1309">
                  <c:v>3.4453165417645932</c:v>
                </c:pt>
                <c:pt idx="1310">
                  <c:v>3.4485388674559889</c:v>
                </c:pt>
                <c:pt idx="1311">
                  <c:v>3.4357678151744935</c:v>
                </c:pt>
                <c:pt idx="1312">
                  <c:v>3.4039288723338208</c:v>
                </c:pt>
                <c:pt idx="1313">
                  <c:v>3.4025098665247659</c:v>
                </c:pt>
                <c:pt idx="1314">
                  <c:v>3.4029237432190742</c:v>
                </c:pt>
                <c:pt idx="1315">
                  <c:v>3.3989180080705959</c:v>
                </c:pt>
                <c:pt idx="1316">
                  <c:v>3.3424238392975925</c:v>
                </c:pt>
                <c:pt idx="1317">
                  <c:v>3.2958479298774632</c:v>
                </c:pt>
                <c:pt idx="1318">
                  <c:v>3.3256913957991516</c:v>
                </c:pt>
                <c:pt idx="1319">
                  <c:v>3.3229125094230856</c:v>
                </c:pt>
                <c:pt idx="1320">
                  <c:v>3.2687537877108186</c:v>
                </c:pt>
                <c:pt idx="1321">
                  <c:v>3.2409944865711795</c:v>
                </c:pt>
                <c:pt idx="1322">
                  <c:v>3.2546228548623128</c:v>
                </c:pt>
                <c:pt idx="1323">
                  <c:v>3.2084016968944473</c:v>
                </c:pt>
                <c:pt idx="1324">
                  <c:v>3.3205031558097939</c:v>
                </c:pt>
                <c:pt idx="1325">
                  <c:v>3.3226907897654208</c:v>
                </c:pt>
                <c:pt idx="1326">
                  <c:v>3.2873338950231332</c:v>
                </c:pt>
                <c:pt idx="1327">
                  <c:v>3.3215378475455637</c:v>
                </c:pt>
                <c:pt idx="1328">
                  <c:v>3.269847604688632</c:v>
                </c:pt>
                <c:pt idx="1329">
                  <c:v>3.2091259811094854</c:v>
                </c:pt>
                <c:pt idx="1330">
                  <c:v>3.1987790637517923</c:v>
                </c:pt>
                <c:pt idx="1331">
                  <c:v>3.3254844574519984</c:v>
                </c:pt>
                <c:pt idx="1332">
                  <c:v>3.2625604186067134</c:v>
                </c:pt>
                <c:pt idx="1333">
                  <c:v>3.3141471922900685</c:v>
                </c:pt>
                <c:pt idx="1334">
                  <c:v>3.3428820599234328</c:v>
                </c:pt>
                <c:pt idx="1335">
                  <c:v>3.2629003887484664</c:v>
                </c:pt>
                <c:pt idx="1336">
                  <c:v>3.2596337191255378</c:v>
                </c:pt>
                <c:pt idx="1337">
                  <c:v>3.2048985263033423</c:v>
                </c:pt>
                <c:pt idx="1338">
                  <c:v>3.3339541483747954</c:v>
                </c:pt>
                <c:pt idx="1339">
                  <c:v>3.3657487472839343</c:v>
                </c:pt>
                <c:pt idx="1340">
                  <c:v>3.4053922220744095</c:v>
                </c:pt>
                <c:pt idx="1341">
                  <c:v>3.4538749205504562</c:v>
                </c:pt>
                <c:pt idx="1342">
                  <c:v>3.4653895614385171</c:v>
                </c:pt>
                <c:pt idx="1343">
                  <c:v>3.472617622278392</c:v>
                </c:pt>
                <c:pt idx="1344">
                  <c:v>3.4398178942545048</c:v>
                </c:pt>
                <c:pt idx="1345">
                  <c:v>3.4633053966564677</c:v>
                </c:pt>
                <c:pt idx="1346">
                  <c:v>3.4424785301464826</c:v>
                </c:pt>
                <c:pt idx="1347">
                  <c:v>3.4122655314620198</c:v>
                </c:pt>
                <c:pt idx="1348">
                  <c:v>3.3998196680117667</c:v>
                </c:pt>
                <c:pt idx="1349">
                  <c:v>3.4271650924570976</c:v>
                </c:pt>
                <c:pt idx="1350">
                  <c:v>3.411363871520849</c:v>
                </c:pt>
                <c:pt idx="1351">
                  <c:v>3.4403648027434111</c:v>
                </c:pt>
                <c:pt idx="1352">
                  <c:v>3.4555304273276874</c:v>
                </c:pt>
                <c:pt idx="1353">
                  <c:v>3.4547470178706048</c:v>
                </c:pt>
                <c:pt idx="1354">
                  <c:v>3.4342601215023727</c:v>
                </c:pt>
                <c:pt idx="1355">
                  <c:v>3.424149705112856</c:v>
                </c:pt>
                <c:pt idx="1356">
                  <c:v>3.4042836237860854</c:v>
                </c:pt>
                <c:pt idx="1357">
                  <c:v>3.3988441015180406</c:v>
                </c:pt>
                <c:pt idx="1358">
                  <c:v>3.420217876516932</c:v>
                </c:pt>
                <c:pt idx="1359">
                  <c:v>3.428214565503378</c:v>
                </c:pt>
                <c:pt idx="1360">
                  <c:v>3.3944983962278101</c:v>
                </c:pt>
                <c:pt idx="1361">
                  <c:v>3.3816682187042701</c:v>
                </c:pt>
                <c:pt idx="1362">
                  <c:v>3.3483068008809669</c:v>
                </c:pt>
                <c:pt idx="1363">
                  <c:v>3.3234150739804598</c:v>
                </c:pt>
                <c:pt idx="1364">
                  <c:v>3.3069486940712167</c:v>
                </c:pt>
                <c:pt idx="1365">
                  <c:v>3.3122699658551733</c:v>
                </c:pt>
                <c:pt idx="1366">
                  <c:v>3.3536132913544119</c:v>
                </c:pt>
                <c:pt idx="1367">
                  <c:v>3.3611665410255274</c:v>
                </c:pt>
                <c:pt idx="1368">
                  <c:v>3.3666651885356158</c:v>
                </c:pt>
                <c:pt idx="1369">
                  <c:v>3.3256913957991516</c:v>
                </c:pt>
                <c:pt idx="1370">
                  <c:v>3.3128168743440796</c:v>
                </c:pt>
                <c:pt idx="1371">
                  <c:v>3.2713109544292198</c:v>
                </c:pt>
                <c:pt idx="1372">
                  <c:v>3.2673347819017637</c:v>
                </c:pt>
                <c:pt idx="1373">
                  <c:v>3.2742228725998848</c:v>
                </c:pt>
                <c:pt idx="1374">
                  <c:v>3.2567809261969174</c:v>
                </c:pt>
                <c:pt idx="1375">
                  <c:v>3.2654723367773784</c:v>
                </c:pt>
                <c:pt idx="1376">
                  <c:v>3.2669652491389884</c:v>
                </c:pt>
                <c:pt idx="1377">
                  <c:v>3.247173074364774</c:v>
                </c:pt>
                <c:pt idx="1378">
                  <c:v>3.2030508624894685</c:v>
                </c:pt>
                <c:pt idx="1379">
                  <c:v>3.1774200700634125</c:v>
                </c:pt>
                <c:pt idx="1380">
                  <c:v>3.1436004316142672</c:v>
                </c:pt>
                <c:pt idx="1381">
                  <c:v>3.0566567631886246</c:v>
                </c:pt>
                <c:pt idx="1382">
                  <c:v>3.0679053404874876</c:v>
                </c:pt>
                <c:pt idx="1383">
                  <c:v>3.122300563167931</c:v>
                </c:pt>
                <c:pt idx="1384">
                  <c:v>3.1136682778295128</c:v>
                </c:pt>
                <c:pt idx="1385">
                  <c:v>3.1422996762892996</c:v>
                </c:pt>
                <c:pt idx="1386">
                  <c:v>3.1772870382688128</c:v>
                </c:pt>
                <c:pt idx="1387">
                  <c:v>3.1716405776536147</c:v>
                </c:pt>
                <c:pt idx="1388">
                  <c:v>3.2219413773225138</c:v>
                </c:pt>
                <c:pt idx="1389">
                  <c:v>3.2338994575259044</c:v>
                </c:pt>
                <c:pt idx="1390">
                  <c:v>3.1982321552628861</c:v>
                </c:pt>
                <c:pt idx="1391">
                  <c:v>3.2267600845490962</c:v>
                </c:pt>
                <c:pt idx="1392">
                  <c:v>3.251577904897049</c:v>
                </c:pt>
                <c:pt idx="1393">
                  <c:v>3.2140925014411783</c:v>
                </c:pt>
                <c:pt idx="1394">
                  <c:v>3.1896294325454893</c:v>
                </c:pt>
                <c:pt idx="1395">
                  <c:v>3.1563123586537181</c:v>
                </c:pt>
                <c:pt idx="1396">
                  <c:v>3.2590868106366315</c:v>
                </c:pt>
                <c:pt idx="1397">
                  <c:v>3.2433003710108936</c:v>
                </c:pt>
                <c:pt idx="1398">
                  <c:v>3.256160111155455</c:v>
                </c:pt>
                <c:pt idx="1399">
                  <c:v>3.2630038579220439</c:v>
                </c:pt>
                <c:pt idx="1400">
                  <c:v>3.334574963416256</c:v>
                </c:pt>
                <c:pt idx="1401">
                  <c:v>3.3540419493592299</c:v>
                </c:pt>
                <c:pt idx="1402">
                  <c:v>3.3124769042023265</c:v>
                </c:pt>
                <c:pt idx="1403">
                  <c:v>3.3216560980296519</c:v>
                </c:pt>
                <c:pt idx="1404">
                  <c:v>3.3543227942589393</c:v>
                </c:pt>
                <c:pt idx="1405">
                  <c:v>3.3501840273158621</c:v>
                </c:pt>
                <c:pt idx="1406">
                  <c:v>3.3455279145048999</c:v>
                </c:pt>
                <c:pt idx="1407">
                  <c:v>3.3252627377943336</c:v>
                </c:pt>
                <c:pt idx="1408">
                  <c:v>3.3268591193295203</c:v>
                </c:pt>
                <c:pt idx="1409">
                  <c:v>3.3363635019880862</c:v>
                </c:pt>
                <c:pt idx="1410">
                  <c:v>3.2983607526643315</c:v>
                </c:pt>
                <c:pt idx="1411">
                  <c:v>3.294015047374101</c:v>
                </c:pt>
                <c:pt idx="1412">
                  <c:v>3.2872452071600664</c:v>
                </c:pt>
                <c:pt idx="1413">
                  <c:v>3.297015653407831</c:v>
                </c:pt>
                <c:pt idx="1414">
                  <c:v>3.294828019452205</c:v>
                </c:pt>
                <c:pt idx="1415">
                  <c:v>3.2975329992757159</c:v>
                </c:pt>
                <c:pt idx="1416">
                  <c:v>3.2693154775102364</c:v>
                </c:pt>
                <c:pt idx="1417">
                  <c:v>3.2691528830946153</c:v>
                </c:pt>
                <c:pt idx="1418">
                  <c:v>3.2543567912731142</c:v>
                </c:pt>
                <c:pt idx="1419">
                  <c:v>3.280327553840924</c:v>
                </c:pt>
                <c:pt idx="1420">
                  <c:v>3.2758488167560937</c:v>
                </c:pt>
                <c:pt idx="1421">
                  <c:v>3.256115767223922</c:v>
                </c:pt>
                <c:pt idx="1422">
                  <c:v>3.247261762227839</c:v>
                </c:pt>
                <c:pt idx="1423">
                  <c:v>3.2381564749530689</c:v>
                </c:pt>
                <c:pt idx="1424">
                  <c:v>3.2380825684005146</c:v>
                </c:pt>
                <c:pt idx="1425">
                  <c:v>3.1896146512349786</c:v>
                </c:pt>
                <c:pt idx="1426">
                  <c:v>3.1615892865061417</c:v>
                </c:pt>
                <c:pt idx="1427">
                  <c:v>3.1467045068215747</c:v>
                </c:pt>
                <c:pt idx="1428">
                  <c:v>3.1660532422804604</c:v>
                </c:pt>
                <c:pt idx="1429">
                  <c:v>3.1363428081533709</c:v>
                </c:pt>
                <c:pt idx="1430">
                  <c:v>3.1398164161234536</c:v>
                </c:pt>
                <c:pt idx="1431">
                  <c:v>3.2198867751614859</c:v>
                </c:pt>
                <c:pt idx="1432">
                  <c:v>3.1745820584453019</c:v>
                </c:pt>
                <c:pt idx="1433">
                  <c:v>3.1869096714114677</c:v>
                </c:pt>
                <c:pt idx="1434">
                  <c:v>3.187456579900374</c:v>
                </c:pt>
                <c:pt idx="1435">
                  <c:v>3.1719953291058784</c:v>
                </c:pt>
                <c:pt idx="1436">
                  <c:v>3.1513014943904931</c:v>
                </c:pt>
                <c:pt idx="1437">
                  <c:v>3.1549081341551748</c:v>
                </c:pt>
                <c:pt idx="1438">
                  <c:v>3.1262323917638541</c:v>
                </c:pt>
                <c:pt idx="1439">
                  <c:v>3.1140821545238202</c:v>
                </c:pt>
                <c:pt idx="1440">
                  <c:v>3.0546169423381082</c:v>
                </c:pt>
                <c:pt idx="1441">
                  <c:v>3.0632787902975478</c:v>
                </c:pt>
                <c:pt idx="1442">
                  <c:v>3.0965663015682967</c:v>
                </c:pt>
                <c:pt idx="1443">
                  <c:v>3.1234682866982988</c:v>
                </c:pt>
                <c:pt idx="1444">
                  <c:v>3.1281391808197716</c:v>
                </c:pt>
                <c:pt idx="1445">
                  <c:v>3.1442212466557287</c:v>
                </c:pt>
                <c:pt idx="1446">
                  <c:v>3.1158411304746281</c:v>
                </c:pt>
                <c:pt idx="1447">
                  <c:v>3.1275035844677994</c:v>
                </c:pt>
                <c:pt idx="1448">
                  <c:v>3.1297503436654699</c:v>
                </c:pt>
                <c:pt idx="1449">
                  <c:v>3.1330170132883985</c:v>
                </c:pt>
                <c:pt idx="1450">
                  <c:v>3.1279322424726175</c:v>
                </c:pt>
                <c:pt idx="1451">
                  <c:v>3.1016362910735671</c:v>
                </c:pt>
                <c:pt idx="1452">
                  <c:v>3.1161515379953588</c:v>
                </c:pt>
                <c:pt idx="1453">
                  <c:v>3.1088495706029304</c:v>
                </c:pt>
                <c:pt idx="1454">
                  <c:v>3.1027005454303582</c:v>
                </c:pt>
                <c:pt idx="1455">
                  <c:v>3.0585487709340313</c:v>
                </c:pt>
                <c:pt idx="1456">
                  <c:v>3.0693391276070541</c:v>
                </c:pt>
                <c:pt idx="1457">
                  <c:v>3.0570706398829319</c:v>
                </c:pt>
                <c:pt idx="1458">
                  <c:v>3.0054395222680448</c:v>
                </c:pt>
                <c:pt idx="1459">
                  <c:v>3.0026015106499342</c:v>
                </c:pt>
                <c:pt idx="1460">
                  <c:v>2.9998965308264234</c:v>
                </c:pt>
                <c:pt idx="1461">
                  <c:v>3.0376775604925133</c:v>
                </c:pt>
                <c:pt idx="1462">
                  <c:v>3.0466793785937059</c:v>
                </c:pt>
                <c:pt idx="1463">
                  <c:v>3.0277149572081061</c:v>
                </c:pt>
                <c:pt idx="1464">
                  <c:v>3.0006060337309508</c:v>
                </c:pt>
                <c:pt idx="1465">
                  <c:v>2.9970141752767803</c:v>
                </c:pt>
                <c:pt idx="1466">
                  <c:v>2.9629432545489487</c:v>
                </c:pt>
                <c:pt idx="1467">
                  <c:v>2.9022659749013351</c:v>
                </c:pt>
                <c:pt idx="1468">
                  <c:v>2.9079567794480661</c:v>
                </c:pt>
                <c:pt idx="1469">
                  <c:v>2.9388644997265461</c:v>
                </c:pt>
                <c:pt idx="1470">
                  <c:v>2.9057100202503956</c:v>
                </c:pt>
                <c:pt idx="1471">
                  <c:v>2.9003444045349061</c:v>
                </c:pt>
                <c:pt idx="1472">
                  <c:v>2.8917712444385324</c:v>
                </c:pt>
                <c:pt idx="1473">
                  <c:v>2.947659379480585</c:v>
                </c:pt>
                <c:pt idx="1474">
                  <c:v>2.8962943254548952</c:v>
                </c:pt>
                <c:pt idx="1475">
                  <c:v>2.8669386427800689</c:v>
                </c:pt>
                <c:pt idx="1476">
                  <c:v>2.8583654826836953</c:v>
                </c:pt>
                <c:pt idx="1477">
                  <c:v>2.8174360338787641</c:v>
                </c:pt>
                <c:pt idx="1478">
                  <c:v>2.8376125227262654</c:v>
                </c:pt>
                <c:pt idx="1479">
                  <c:v>2.8381742125256824</c:v>
                </c:pt>
                <c:pt idx="1480">
                  <c:v>2.8209096418488464</c:v>
                </c:pt>
                <c:pt idx="1481">
                  <c:v>2.805315359259752</c:v>
                </c:pt>
                <c:pt idx="1482">
                  <c:v>2.7687759596765851</c:v>
                </c:pt>
                <c:pt idx="1483">
                  <c:v>2.7425391335195779</c:v>
                </c:pt>
                <c:pt idx="1484">
                  <c:v>2.6183022186747076</c:v>
                </c:pt>
                <c:pt idx="1485">
                  <c:v>2.7101532821899994</c:v>
                </c:pt>
                <c:pt idx="1486">
                  <c:v>2.7054528254475043</c:v>
                </c:pt>
                <c:pt idx="1487">
                  <c:v>2.6742494789588043</c:v>
                </c:pt>
                <c:pt idx="1488">
                  <c:v>2.6788169039067005</c:v>
                </c:pt>
                <c:pt idx="1489">
                  <c:v>2.6475839947969786</c:v>
                </c:pt>
                <c:pt idx="1490">
                  <c:v>2.4752339142388364</c:v>
                </c:pt>
                <c:pt idx="1491">
                  <c:v>2.5720810607068421</c:v>
                </c:pt>
                <c:pt idx="1492">
                  <c:v>2.6471701181026712</c:v>
                </c:pt>
                <c:pt idx="1493">
                  <c:v>2.7056154198631255</c:v>
                </c:pt>
                <c:pt idx="1494">
                  <c:v>2.7635581570662056</c:v>
                </c:pt>
                <c:pt idx="1495">
                  <c:v>2.7632329682349641</c:v>
                </c:pt>
                <c:pt idx="1496">
                  <c:v>2.84306682630482</c:v>
                </c:pt>
                <c:pt idx="1497">
                  <c:v>2.9178454761799184</c:v>
                </c:pt>
                <c:pt idx="1498">
                  <c:v>2.9186288856370011</c:v>
                </c:pt>
                <c:pt idx="1499">
                  <c:v>2.8975063929167963</c:v>
                </c:pt>
                <c:pt idx="1500">
                  <c:v>2.8988958361048289</c:v>
                </c:pt>
                <c:pt idx="1501">
                  <c:v>2.8920373080277297</c:v>
                </c:pt>
                <c:pt idx="1502">
                  <c:v>2.9849674072103229</c:v>
                </c:pt>
                <c:pt idx="1503">
                  <c:v>2.9910425258303404</c:v>
                </c:pt>
                <c:pt idx="1504">
                  <c:v>3.1245325410550899</c:v>
                </c:pt>
                <c:pt idx="1505">
                  <c:v>3.0798929833119004</c:v>
                </c:pt>
                <c:pt idx="1506">
                  <c:v>3.0467680664567727</c:v>
                </c:pt>
                <c:pt idx="1507">
                  <c:v>3.0556811966948993</c:v>
                </c:pt>
                <c:pt idx="1508">
                  <c:v>2.9645987613261795</c:v>
                </c:pt>
                <c:pt idx="1509">
                  <c:v>2.9517094585605959</c:v>
                </c:pt>
                <c:pt idx="1510">
                  <c:v>2.8912686798811582</c:v>
                </c:pt>
                <c:pt idx="1511">
                  <c:v>2.9169438162387475</c:v>
                </c:pt>
                <c:pt idx="1512">
                  <c:v>2.9050596425879118</c:v>
                </c:pt>
                <c:pt idx="1513">
                  <c:v>2.9772515631235867</c:v>
                </c:pt>
                <c:pt idx="1514">
                  <c:v>3.0445656511906343</c:v>
                </c:pt>
                <c:pt idx="1515">
                  <c:v>3.0355933957104639</c:v>
                </c:pt>
                <c:pt idx="1516">
                  <c:v>2.9932892850280108</c:v>
                </c:pt>
                <c:pt idx="1517">
                  <c:v>3.02373878468065</c:v>
                </c:pt>
                <c:pt idx="1518">
                  <c:v>3.0297104341270895</c:v>
                </c:pt>
                <c:pt idx="1519">
                  <c:v>3.1106972344168042</c:v>
                </c:pt>
                <c:pt idx="1520">
                  <c:v>3.1488625781561792</c:v>
                </c:pt>
                <c:pt idx="1521">
                  <c:v>3.1592981833769382</c:v>
                </c:pt>
                <c:pt idx="1522">
                  <c:v>3.0729162047507135</c:v>
                </c:pt>
                <c:pt idx="1523">
                  <c:v>3.0475810385348767</c:v>
                </c:pt>
                <c:pt idx="1524">
                  <c:v>3.0250395400056167</c:v>
                </c:pt>
                <c:pt idx="1525">
                  <c:v>3.0506259885001406</c:v>
                </c:pt>
                <c:pt idx="1526">
                  <c:v>3.0083070965071759</c:v>
                </c:pt>
                <c:pt idx="1527">
                  <c:v>2.9652787016096851</c:v>
                </c:pt>
                <c:pt idx="1528">
                  <c:v>2.9041136387152084</c:v>
                </c:pt>
                <c:pt idx="1529">
                  <c:v>2.9298922442463753</c:v>
                </c:pt>
                <c:pt idx="1530">
                  <c:v>2.999187027921896</c:v>
                </c:pt>
                <c:pt idx="1531">
                  <c:v>2.9260638848240283</c:v>
                </c:pt>
                <c:pt idx="1532">
                  <c:v>3.0510989904364925</c:v>
                </c:pt>
                <c:pt idx="1533">
                  <c:v>3.0735518011026857</c:v>
                </c:pt>
                <c:pt idx="1534">
                  <c:v>3.0911415606107644</c:v>
                </c:pt>
                <c:pt idx="1535">
                  <c:v>3.0926196916618629</c:v>
                </c:pt>
                <c:pt idx="1536">
                  <c:v>3.1523805300577949</c:v>
                </c:pt>
                <c:pt idx="1537">
                  <c:v>3.1534300031040754</c:v>
                </c:pt>
                <c:pt idx="1538">
                  <c:v>3.0660281140525925</c:v>
                </c:pt>
                <c:pt idx="1539">
                  <c:v>3.0901807754275499</c:v>
                </c:pt>
                <c:pt idx="1540">
                  <c:v>3.0328884158869522</c:v>
                </c:pt>
                <c:pt idx="1541">
                  <c:v>3.1176001064254359</c:v>
                </c:pt>
                <c:pt idx="1542">
                  <c:v>3.2575199917224662</c:v>
                </c:pt>
                <c:pt idx="1543">
                  <c:v>3.2635655477214609</c:v>
                </c:pt>
                <c:pt idx="1544">
                  <c:v>3.2652506171197144</c:v>
                </c:pt>
                <c:pt idx="1545">
                  <c:v>3.2889598391793422</c:v>
                </c:pt>
                <c:pt idx="1546">
                  <c:v>3.3242871713006084</c:v>
                </c:pt>
                <c:pt idx="1547">
                  <c:v>3.3212126587143214</c:v>
                </c:pt>
                <c:pt idx="1548">
                  <c:v>3.3229272907335972</c:v>
                </c:pt>
                <c:pt idx="1549">
                  <c:v>3.3072443202814368</c:v>
                </c:pt>
                <c:pt idx="1550">
                  <c:v>3.3072738829024582</c:v>
                </c:pt>
                <c:pt idx="1551">
                  <c:v>3.2954044905621327</c:v>
                </c:pt>
                <c:pt idx="1552">
                  <c:v>3.3095797673421723</c:v>
                </c:pt>
                <c:pt idx="1553">
                  <c:v>3.3152114466468596</c:v>
                </c:pt>
                <c:pt idx="1554">
                  <c:v>3.3304361964731797</c:v>
                </c:pt>
                <c:pt idx="1555">
                  <c:v>3.3320325780083664</c:v>
                </c:pt>
                <c:pt idx="1556">
                  <c:v>3.2983311900433092</c:v>
                </c:pt>
                <c:pt idx="1557">
                  <c:v>3.292950793017309</c:v>
                </c:pt>
                <c:pt idx="1558">
                  <c:v>3.2700249804147639</c:v>
                </c:pt>
                <c:pt idx="1559">
                  <c:v>3.2939411408215458</c:v>
                </c:pt>
                <c:pt idx="1560">
                  <c:v>3.2927586359806655</c:v>
                </c:pt>
                <c:pt idx="1561">
                  <c:v>3.2702023561408957</c:v>
                </c:pt>
                <c:pt idx="1562">
                  <c:v>3.2686798811582634</c:v>
                </c:pt>
                <c:pt idx="1563">
                  <c:v>3.252775191048439</c:v>
                </c:pt>
                <c:pt idx="1564">
                  <c:v>3.2447193768199485</c:v>
                </c:pt>
                <c:pt idx="1565">
                  <c:v>3.2541350716154502</c:v>
                </c:pt>
                <c:pt idx="1566">
                  <c:v>3.2697293542045438</c:v>
                </c:pt>
                <c:pt idx="1567">
                  <c:v>3.2817317783394673</c:v>
                </c:pt>
                <c:pt idx="1568">
                  <c:v>3.2888268073847433</c:v>
                </c:pt>
                <c:pt idx="1569">
                  <c:v>3.2882503362748148</c:v>
                </c:pt>
                <c:pt idx="1570">
                  <c:v>3.3073330081445018</c:v>
                </c:pt>
                <c:pt idx="1571">
                  <c:v>3.2829142831803466</c:v>
                </c:pt>
                <c:pt idx="1572">
                  <c:v>3.2817613409604895</c:v>
                </c:pt>
                <c:pt idx="1573">
                  <c:v>3.2491685512837574</c:v>
                </c:pt>
                <c:pt idx="1574">
                  <c:v>3.2229908503687943</c:v>
                </c:pt>
                <c:pt idx="1575">
                  <c:v>3.2301450046561131</c:v>
                </c:pt>
                <c:pt idx="1576">
                  <c:v>3.2318300740543657</c:v>
                </c:pt>
                <c:pt idx="1577">
                  <c:v>3.2230943195423709</c:v>
                </c:pt>
                <c:pt idx="1578">
                  <c:v>3.212865652668766</c:v>
                </c:pt>
                <c:pt idx="1579">
                  <c:v>3.1989120955463912</c:v>
                </c:pt>
                <c:pt idx="1580">
                  <c:v>3.1659202104858615</c:v>
                </c:pt>
                <c:pt idx="1581">
                  <c:v>3.1978330598790894</c:v>
                </c:pt>
                <c:pt idx="1582">
                  <c:v>3.1711823570277744</c:v>
                </c:pt>
                <c:pt idx="1583">
                  <c:v>3.1879591444577482</c:v>
                </c:pt>
                <c:pt idx="1584">
                  <c:v>3.2179652047950569</c:v>
                </c:pt>
                <c:pt idx="1585">
                  <c:v>3.2240551047255845</c:v>
                </c:pt>
                <c:pt idx="1586">
                  <c:v>3.2251637030139095</c:v>
                </c:pt>
                <c:pt idx="1587">
                  <c:v>3.2132647480525627</c:v>
                </c:pt>
                <c:pt idx="1588">
                  <c:v>3.1984095309890179</c:v>
                </c:pt>
                <c:pt idx="1589">
                  <c:v>3.1790016702880877</c:v>
                </c:pt>
                <c:pt idx="1590">
                  <c:v>3.1585147739198565</c:v>
                </c:pt>
                <c:pt idx="1591">
                  <c:v>3.1628456978995763</c:v>
                </c:pt>
                <c:pt idx="1592">
                  <c:v>3.1426100838100304</c:v>
                </c:pt>
                <c:pt idx="1593">
                  <c:v>3.1665853694588568</c:v>
                </c:pt>
                <c:pt idx="1594">
                  <c:v>3.1941081696303195</c:v>
                </c:pt>
                <c:pt idx="1595">
                  <c:v>3.2068644406013043</c:v>
                </c:pt>
                <c:pt idx="1596">
                  <c:v>3.1689208165195932</c:v>
                </c:pt>
                <c:pt idx="1597">
                  <c:v>3.149084297813844</c:v>
                </c:pt>
                <c:pt idx="1598">
                  <c:v>3.141471922900684</c:v>
                </c:pt>
                <c:pt idx="1599">
                  <c:v>3.1454037514966071</c:v>
                </c:pt>
                <c:pt idx="1600">
                  <c:v>3.1618553500953395</c:v>
                </c:pt>
                <c:pt idx="1601">
                  <c:v>3.1528830946151691</c:v>
                </c:pt>
                <c:pt idx="1602">
                  <c:v>3.1364462773269475</c:v>
                </c:pt>
                <c:pt idx="1603">
                  <c:v>3.1407032947541129</c:v>
                </c:pt>
                <c:pt idx="1604">
                  <c:v>3.1362393389797942</c:v>
                </c:pt>
                <c:pt idx="1605">
                  <c:v>3.1003650983696218</c:v>
                </c:pt>
                <c:pt idx="1606">
                  <c:v>3.129661655802404</c:v>
                </c:pt>
                <c:pt idx="1607">
                  <c:v>3.1153681285382762</c:v>
                </c:pt>
                <c:pt idx="1608">
                  <c:v>3.0793756374440164</c:v>
                </c:pt>
                <c:pt idx="1609">
                  <c:v>3.0450682157480085</c:v>
                </c:pt>
                <c:pt idx="1610">
                  <c:v>3.0104947304628027</c:v>
                </c:pt>
                <c:pt idx="1611">
                  <c:v>3.0304347183421285</c:v>
                </c:pt>
                <c:pt idx="1612">
                  <c:v>3.0181071053759627</c:v>
                </c:pt>
                <c:pt idx="1613">
                  <c:v>3.0150621554106989</c:v>
                </c:pt>
                <c:pt idx="1614">
                  <c:v>2.9904069294783677</c:v>
                </c:pt>
                <c:pt idx="1615">
                  <c:v>3.0250395400056167</c:v>
                </c:pt>
                <c:pt idx="1616">
                  <c:v>3.0161855350095346</c:v>
                </c:pt>
                <c:pt idx="1617">
                  <c:v>3.0720736700515872</c:v>
                </c:pt>
                <c:pt idx="1618">
                  <c:v>3.0645056390699601</c:v>
                </c:pt>
                <c:pt idx="1619">
                  <c:v>3.0904616203272584</c:v>
                </c:pt>
                <c:pt idx="1620">
                  <c:v>3.0834700604555607</c:v>
                </c:pt>
                <c:pt idx="1621">
                  <c:v>3.0999660029858251</c:v>
                </c:pt>
                <c:pt idx="1622">
                  <c:v>3.10870175749782</c:v>
                </c:pt>
                <c:pt idx="1623">
                  <c:v>3.1128848683724302</c:v>
                </c:pt>
                <c:pt idx="1624">
                  <c:v>3.1027448893618912</c:v>
                </c:pt>
                <c:pt idx="1625">
                  <c:v>3.1193295197552215</c:v>
                </c:pt>
                <c:pt idx="1626">
                  <c:v>3.1121605841573912</c:v>
                </c:pt>
                <c:pt idx="1627">
                  <c:v>3.1077705349356277</c:v>
                </c:pt>
                <c:pt idx="1628">
                  <c:v>3.09496992003311</c:v>
                </c:pt>
                <c:pt idx="1629">
                  <c:v>3.0978966195142865</c:v>
                </c:pt>
                <c:pt idx="1630">
                  <c:v>3.0630866332609052</c:v>
                </c:pt>
                <c:pt idx="1631">
                  <c:v>3.060233840332284</c:v>
                </c:pt>
                <c:pt idx="1632">
                  <c:v>3.0421267349563212</c:v>
                </c:pt>
                <c:pt idx="1633">
                  <c:v>2.9987435886065659</c:v>
                </c:pt>
                <c:pt idx="1634">
                  <c:v>3.0264437645041617</c:v>
                </c:pt>
                <c:pt idx="1635">
                  <c:v>2.9759655891091308</c:v>
                </c:pt>
                <c:pt idx="1636">
                  <c:v>3.0224823732872155</c:v>
                </c:pt>
                <c:pt idx="1637">
                  <c:v>3.0319867559457823</c:v>
                </c:pt>
                <c:pt idx="1638">
                  <c:v>3.0401608206583592</c:v>
                </c:pt>
                <c:pt idx="1639">
                  <c:v>3.0270793608561339</c:v>
                </c:pt>
                <c:pt idx="1640">
                  <c:v>3.0397469439640528</c:v>
                </c:pt>
                <c:pt idx="1641">
                  <c:v>3.0101251977000283</c:v>
                </c:pt>
                <c:pt idx="1642">
                  <c:v>3.0207086160258969</c:v>
                </c:pt>
                <c:pt idx="1643">
                  <c:v>3.0241526613749574</c:v>
                </c:pt>
                <c:pt idx="1644">
                  <c:v>3.0078784385023578</c:v>
                </c:pt>
                <c:pt idx="1645">
                  <c:v>3.0354899265368873</c:v>
                </c:pt>
                <c:pt idx="1646">
                  <c:v>3.0319276307037377</c:v>
                </c:pt>
                <c:pt idx="1647">
                  <c:v>3.0250543213161283</c:v>
                </c:pt>
                <c:pt idx="1648">
                  <c:v>2.9876871683443453</c:v>
                </c:pt>
                <c:pt idx="1649">
                  <c:v>2.9494479180524147</c:v>
                </c:pt>
                <c:pt idx="1650">
                  <c:v>2.9504973910986951</c:v>
                </c:pt>
                <c:pt idx="1651">
                  <c:v>2.9368838041180734</c:v>
                </c:pt>
                <c:pt idx="1652">
                  <c:v>2.8870855690065484</c:v>
                </c:pt>
                <c:pt idx="1653">
                  <c:v>2.8958656674500762</c:v>
                </c:pt>
                <c:pt idx="1654">
                  <c:v>2.9241423144576002</c:v>
                </c:pt>
                <c:pt idx="1655">
                  <c:v>2.9141649298626819</c:v>
                </c:pt>
                <c:pt idx="1656">
                  <c:v>2.9464768746397056</c:v>
                </c:pt>
                <c:pt idx="1657">
                  <c:v>2.9420868254179418</c:v>
                </c:pt>
                <c:pt idx="1658">
                  <c:v>2.9013790962706758</c:v>
                </c:pt>
                <c:pt idx="1659">
                  <c:v>2.8942249419833561</c:v>
                </c:pt>
                <c:pt idx="1660">
                  <c:v>2.9470385644391235</c:v>
                </c:pt>
                <c:pt idx="1661">
                  <c:v>2.9468168447814582</c:v>
                </c:pt>
                <c:pt idx="1662">
                  <c:v>2.9807990776462243</c:v>
                </c:pt>
                <c:pt idx="1663">
                  <c:v>3.003724890248769</c:v>
                </c:pt>
                <c:pt idx="1664">
                  <c:v>3.0003990953837967</c:v>
                </c:pt>
                <c:pt idx="1665">
                  <c:v>2.9581984538749211</c:v>
                </c:pt>
                <c:pt idx="1666">
                  <c:v>2.9263595110342489</c:v>
                </c:pt>
                <c:pt idx="1667">
                  <c:v>2.9377263388171992</c:v>
                </c:pt>
                <c:pt idx="1668">
                  <c:v>2.9055030819032419</c:v>
                </c:pt>
                <c:pt idx="1669">
                  <c:v>2.9272020457333747</c:v>
                </c:pt>
                <c:pt idx="1670">
                  <c:v>2.862592937489838</c:v>
                </c:pt>
                <c:pt idx="1671">
                  <c:v>2.8497479786557873</c:v>
                </c:pt>
                <c:pt idx="1672">
                  <c:v>2.9360264881084359</c:v>
                </c:pt>
                <c:pt idx="1673">
                  <c:v>2.9091984095309891</c:v>
                </c:pt>
                <c:pt idx="1674">
                  <c:v>2.8644997265457555</c:v>
                </c:pt>
                <c:pt idx="1675">
                  <c:v>2.8163569982114618</c:v>
                </c:pt>
                <c:pt idx="1676">
                  <c:v>2.903551948915791</c:v>
                </c:pt>
                <c:pt idx="1677">
                  <c:v>2.8505313881128704</c:v>
                </c:pt>
                <c:pt idx="1678">
                  <c:v>2.8617947467222442</c:v>
                </c:pt>
                <c:pt idx="1679">
                  <c:v>2.9296853058992216</c:v>
                </c:pt>
                <c:pt idx="1680">
                  <c:v>2.8257874743174733</c:v>
                </c:pt>
                <c:pt idx="1681">
                  <c:v>2.9077202784798901</c:v>
                </c:pt>
                <c:pt idx="1682">
                  <c:v>3.0085879414068852</c:v>
                </c:pt>
                <c:pt idx="1683">
                  <c:v>3.0159933779728911</c:v>
                </c:pt>
                <c:pt idx="1684">
                  <c:v>3.0100512911474731</c:v>
                </c:pt>
                <c:pt idx="1685">
                  <c:v>3.0678314339349333</c:v>
                </c:pt>
                <c:pt idx="1686">
                  <c:v>3.0609137806157891</c:v>
                </c:pt>
                <c:pt idx="1687">
                  <c:v>3.0640917623756527</c:v>
                </c:pt>
                <c:pt idx="1688">
                  <c:v>3.0874905769145498</c:v>
                </c:pt>
                <c:pt idx="1689">
                  <c:v>3.1136682778295128</c:v>
                </c:pt>
                <c:pt idx="1690">
                  <c:v>3.1189156430609142</c:v>
                </c:pt>
                <c:pt idx="1691">
                  <c:v>3.0485566050286019</c:v>
                </c:pt>
                <c:pt idx="1692">
                  <c:v>3.0305677501367274</c:v>
                </c:pt>
                <c:pt idx="1693">
                  <c:v>3.0325188831241778</c:v>
                </c:pt>
                <c:pt idx="1694">
                  <c:v>3.0219059021772869</c:v>
                </c:pt>
                <c:pt idx="1695">
                  <c:v>2.9780201912701583</c:v>
                </c:pt>
                <c:pt idx="1696">
                  <c:v>2.957947171596234</c:v>
                </c:pt>
                <c:pt idx="1697">
                  <c:v>3.0113963904039736</c:v>
                </c:pt>
                <c:pt idx="1698">
                  <c:v>3.0564054809099384</c:v>
                </c:pt>
                <c:pt idx="1699">
                  <c:v>3.108613069634754</c:v>
                </c:pt>
                <c:pt idx="1700">
                  <c:v>3.060869436684257</c:v>
                </c:pt>
                <c:pt idx="1701">
                  <c:v>2.9968072369296266</c:v>
                </c:pt>
                <c:pt idx="1702">
                  <c:v>2.992919752265236</c:v>
                </c:pt>
                <c:pt idx="1703">
                  <c:v>3.0149882488581445</c:v>
                </c:pt>
                <c:pt idx="1704">
                  <c:v>3.0385792204336832</c:v>
                </c:pt>
                <c:pt idx="1705">
                  <c:v>3.0370715267615624</c:v>
                </c:pt>
                <c:pt idx="1706">
                  <c:v>2.9889287984272688</c:v>
                </c:pt>
                <c:pt idx="1707">
                  <c:v>2.9361743012135459</c:v>
                </c:pt>
                <c:pt idx="1708">
                  <c:v>2.9259160717189188</c:v>
                </c:pt>
                <c:pt idx="1709">
                  <c:v>2.8720381949063607</c:v>
                </c:pt>
                <c:pt idx="1710">
                  <c:v>2.8150562428864943</c:v>
                </c:pt>
                <c:pt idx="1711">
                  <c:v>2.9638449144901187</c:v>
                </c:pt>
                <c:pt idx="1712">
                  <c:v>2.9837701210589329</c:v>
                </c:pt>
                <c:pt idx="1713">
                  <c:v>2.9154804664981602</c:v>
                </c:pt>
                <c:pt idx="1714">
                  <c:v>3.0827901201720547</c:v>
                </c:pt>
                <c:pt idx="1715">
                  <c:v>3.1712562635803296</c:v>
                </c:pt>
                <c:pt idx="1716">
                  <c:v>3.1739612434038404</c:v>
                </c:pt>
                <c:pt idx="1717">
                  <c:v>3.1719214225533232</c:v>
                </c:pt>
                <c:pt idx="1718">
                  <c:v>3.2178912982425025</c:v>
                </c:pt>
                <c:pt idx="1719">
                  <c:v>3.2464783527707564</c:v>
                </c:pt>
                <c:pt idx="1720">
                  <c:v>3.1967835868328089</c:v>
                </c:pt>
                <c:pt idx="1721">
                  <c:v>3.1942559827354291</c:v>
                </c:pt>
                <c:pt idx="1722">
                  <c:v>3.1966062111066771</c:v>
                </c:pt>
                <c:pt idx="1723">
                  <c:v>3.187500923831907</c:v>
                </c:pt>
                <c:pt idx="1724">
                  <c:v>3.1539916929034932</c:v>
                </c:pt>
                <c:pt idx="1725">
                  <c:v>3.1358550249065082</c:v>
                </c:pt>
                <c:pt idx="1726">
                  <c:v>3.1425509585679867</c:v>
                </c:pt>
                <c:pt idx="1727">
                  <c:v>3.1039126128922589</c:v>
                </c:pt>
                <c:pt idx="1728">
                  <c:v>3.1184278598140507</c:v>
                </c:pt>
                <c:pt idx="1729">
                  <c:v>3.0908163717795221</c:v>
                </c:pt>
                <c:pt idx="1730">
                  <c:v>3.0622440985617789</c:v>
                </c:pt>
                <c:pt idx="1731">
                  <c:v>3.0667671795781413</c:v>
                </c:pt>
                <c:pt idx="1732">
                  <c:v>3.061475470415207</c:v>
                </c:pt>
                <c:pt idx="1733">
                  <c:v>3.0547351928221955</c:v>
                </c:pt>
                <c:pt idx="1734">
                  <c:v>3.0264142018831386</c:v>
                </c:pt>
                <c:pt idx="1735">
                  <c:v>3.0102582294946272</c:v>
                </c:pt>
                <c:pt idx="1736">
                  <c:v>2.9847604688631697</c:v>
                </c:pt>
                <c:pt idx="1737">
                  <c:v>2.9519459595287723</c:v>
                </c:pt>
                <c:pt idx="1738">
                  <c:v>2.972536325070581</c:v>
                </c:pt>
                <c:pt idx="1739">
                  <c:v>2.9652639202991735</c:v>
                </c:pt>
                <c:pt idx="1740">
                  <c:v>2.9621302824708442</c:v>
                </c:pt>
                <c:pt idx="1741">
                  <c:v>2.9663281746559655</c:v>
                </c:pt>
                <c:pt idx="1742">
                  <c:v>2.9681462758488171</c:v>
                </c:pt>
                <c:pt idx="1743">
                  <c:v>2.9602826186569704</c:v>
                </c:pt>
                <c:pt idx="1744">
                  <c:v>2.9635640695904097</c:v>
                </c:pt>
                <c:pt idx="1745">
                  <c:v>2.97640902842446</c:v>
                </c:pt>
                <c:pt idx="1746">
                  <c:v>2.9551978478411898</c:v>
                </c:pt>
                <c:pt idx="1747">
                  <c:v>2.9200183288250341</c:v>
                </c:pt>
                <c:pt idx="1748">
                  <c:v>2.9360412694189466</c:v>
                </c:pt>
                <c:pt idx="1749">
                  <c:v>2.9379037145433315</c:v>
                </c:pt>
                <c:pt idx="1750">
                  <c:v>2.9318138146128034</c:v>
                </c:pt>
                <c:pt idx="1751">
                  <c:v>2.9192644819889733</c:v>
                </c:pt>
                <c:pt idx="1752">
                  <c:v>2.897802019127016</c:v>
                </c:pt>
                <c:pt idx="1753">
                  <c:v>2.8864056287230428</c:v>
                </c:pt>
                <c:pt idx="1754">
                  <c:v>2.8868490680383725</c:v>
                </c:pt>
                <c:pt idx="1755">
                  <c:v>2.9014382215127195</c:v>
                </c:pt>
                <c:pt idx="1756">
                  <c:v>2.9055474258347744</c:v>
                </c:pt>
                <c:pt idx="1757">
                  <c:v>2.9134702082686652</c:v>
                </c:pt>
                <c:pt idx="1758">
                  <c:v>2.8816756093595264</c:v>
                </c:pt>
                <c:pt idx="1759">
                  <c:v>2.8831093964790919</c:v>
                </c:pt>
                <c:pt idx="1760">
                  <c:v>2.8452396789499361</c:v>
                </c:pt>
                <c:pt idx="1761">
                  <c:v>2.8467178100010351</c:v>
                </c:pt>
                <c:pt idx="1762">
                  <c:v>2.8388245901881661</c:v>
                </c:pt>
                <c:pt idx="1763">
                  <c:v>2.8417069457378097</c:v>
                </c:pt>
                <c:pt idx="1764">
                  <c:v>2.8167413122847473</c:v>
                </c:pt>
                <c:pt idx="1765">
                  <c:v>2.8118782611266315</c:v>
                </c:pt>
                <c:pt idx="1766">
                  <c:v>2.8219147709635934</c:v>
                </c:pt>
                <c:pt idx="1767">
                  <c:v>2.7908444562694927</c:v>
                </c:pt>
                <c:pt idx="1768">
                  <c:v>2.8119078237476534</c:v>
                </c:pt>
                <c:pt idx="1769">
                  <c:v>2.820732266122715</c:v>
                </c:pt>
                <c:pt idx="1770">
                  <c:v>2.8169778132529233</c:v>
                </c:pt>
                <c:pt idx="1771">
                  <c:v>2.8204070772914727</c:v>
                </c:pt>
                <c:pt idx="1772">
                  <c:v>2.8348336363501989</c:v>
                </c:pt>
                <c:pt idx="1773">
                  <c:v>2.8293054262190886</c:v>
                </c:pt>
                <c:pt idx="1774">
                  <c:v>2.8300297104341272</c:v>
                </c:pt>
                <c:pt idx="1775">
                  <c:v>2.8251666592760118</c:v>
                </c:pt>
                <c:pt idx="1776">
                  <c:v>2.8133563921777305</c:v>
                </c:pt>
                <c:pt idx="1777">
                  <c:v>2.8126321079626924</c:v>
                </c:pt>
                <c:pt idx="1778">
                  <c:v>2.8065717706531865</c:v>
                </c:pt>
                <c:pt idx="1779">
                  <c:v>2.8029799121990155</c:v>
                </c:pt>
                <c:pt idx="1780">
                  <c:v>2.8151597120600718</c:v>
                </c:pt>
                <c:pt idx="1781">
                  <c:v>2.7846067432338555</c:v>
                </c:pt>
                <c:pt idx="1782">
                  <c:v>2.7798028173177838</c:v>
                </c:pt>
                <c:pt idx="1783">
                  <c:v>2.7975108273099498</c:v>
                </c:pt>
                <c:pt idx="1784">
                  <c:v>2.7913765834478887</c:v>
                </c:pt>
                <c:pt idx="1785">
                  <c:v>2.8064978641006313</c:v>
                </c:pt>
                <c:pt idx="1786">
                  <c:v>2.7871195660207233</c:v>
                </c:pt>
                <c:pt idx="1787">
                  <c:v>2.7858779359378008</c:v>
                </c:pt>
                <c:pt idx="1788">
                  <c:v>2.7830694869407124</c:v>
                </c:pt>
                <c:pt idx="1789">
                  <c:v>2.7805271015328219</c:v>
                </c:pt>
                <c:pt idx="1790">
                  <c:v>2.7739198557344098</c:v>
                </c:pt>
                <c:pt idx="1791">
                  <c:v>2.7706088421799477</c:v>
                </c:pt>
                <c:pt idx="1792">
                  <c:v>2.7769795870101843</c:v>
                </c:pt>
                <c:pt idx="1793">
                  <c:v>2.7701801841751288</c:v>
                </c:pt>
                <c:pt idx="1794">
                  <c:v>2.761444429663134</c:v>
                </c:pt>
                <c:pt idx="1795">
                  <c:v>2.7682438324981895</c:v>
                </c:pt>
                <c:pt idx="1796">
                  <c:v>2.7722939115782008</c:v>
                </c:pt>
                <c:pt idx="1797">
                  <c:v>2.751112293615952</c:v>
                </c:pt>
                <c:pt idx="1798">
                  <c:v>2.7464413994944792</c:v>
                </c:pt>
                <c:pt idx="1799">
                  <c:v>2.7383708039554788</c:v>
                </c:pt>
                <c:pt idx="1800">
                  <c:v>2.723944244896753</c:v>
                </c:pt>
                <c:pt idx="1801">
                  <c:v>2.7101976261215319</c:v>
                </c:pt>
                <c:pt idx="1802">
                  <c:v>2.7057336703472132</c:v>
                </c:pt>
                <c:pt idx="1803">
                  <c:v>2.6906567336260037</c:v>
                </c:pt>
                <c:pt idx="1804">
                  <c:v>2.6903906700368054</c:v>
                </c:pt>
                <c:pt idx="1805">
                  <c:v>2.6986090786809158</c:v>
                </c:pt>
                <c:pt idx="1806">
                  <c:v>2.6962145063781353</c:v>
                </c:pt>
                <c:pt idx="1807">
                  <c:v>2.7075074276085318</c:v>
                </c:pt>
                <c:pt idx="1808">
                  <c:v>2.7051571992372847</c:v>
                </c:pt>
                <c:pt idx="1809">
                  <c:v>2.7010479949152293</c:v>
                </c:pt>
                <c:pt idx="1810">
                  <c:v>2.6956675978892291</c:v>
                </c:pt>
                <c:pt idx="1811">
                  <c:v>2.6888534137436624</c:v>
                </c:pt>
                <c:pt idx="1812">
                  <c:v>2.6929182741341848</c:v>
                </c:pt>
                <c:pt idx="1813">
                  <c:v>2.6901246064476076</c:v>
                </c:pt>
                <c:pt idx="1814">
                  <c:v>2.6777526495499093</c:v>
                </c:pt>
                <c:pt idx="1815">
                  <c:v>2.6383161131065878</c:v>
                </c:pt>
                <c:pt idx="1816">
                  <c:v>2.6437408540641214</c:v>
                </c:pt>
                <c:pt idx="1817">
                  <c:v>2.6443912317266052</c:v>
                </c:pt>
                <c:pt idx="1818">
                  <c:v>2.6330244039436534</c:v>
                </c:pt>
                <c:pt idx="1819">
                  <c:v>2.6606654545992052</c:v>
                </c:pt>
                <c:pt idx="1820">
                  <c:v>2.6534226124488201</c:v>
                </c:pt>
                <c:pt idx="1821">
                  <c:v>2.6326400898703683</c:v>
                </c:pt>
                <c:pt idx="1822">
                  <c:v>2.6159519903034609</c:v>
                </c:pt>
                <c:pt idx="1823">
                  <c:v>2.6129070403381962</c:v>
                </c:pt>
                <c:pt idx="1824">
                  <c:v>2.6111480643873888</c:v>
                </c:pt>
                <c:pt idx="1825">
                  <c:v>2.6051172896989048</c:v>
                </c:pt>
                <c:pt idx="1826">
                  <c:v>2.6126114141279766</c:v>
                </c:pt>
                <c:pt idx="1827">
                  <c:v>2.6251311841307854</c:v>
                </c:pt>
                <c:pt idx="1828">
                  <c:v>2.5894491005572555</c:v>
                </c:pt>
                <c:pt idx="1829">
                  <c:v>2.5852807709931565</c:v>
                </c:pt>
                <c:pt idx="1830">
                  <c:v>2.5918732354810583</c:v>
                </c:pt>
                <c:pt idx="1831">
                  <c:v>2.6481900285279298</c:v>
                </c:pt>
                <c:pt idx="1832">
                  <c:v>2.6430165698490833</c:v>
                </c:pt>
                <c:pt idx="1833">
                  <c:v>2.6448346710419348</c:v>
                </c:pt>
                <c:pt idx="1834">
                  <c:v>2.6085908976689876</c:v>
                </c:pt>
                <c:pt idx="1835">
                  <c:v>2.6039939101000695</c:v>
                </c:pt>
                <c:pt idx="1836">
                  <c:v>2.6569257830399247</c:v>
                </c:pt>
                <c:pt idx="1837">
                  <c:v>2.6582561009859136</c:v>
                </c:pt>
                <c:pt idx="1838">
                  <c:v>2.6671101059819962</c:v>
                </c:pt>
                <c:pt idx="1839">
                  <c:v>2.6610793312935126</c:v>
                </c:pt>
                <c:pt idx="1840">
                  <c:v>2.65417645928488</c:v>
                </c:pt>
                <c:pt idx="1841">
                  <c:v>2.662173148271326</c:v>
                </c:pt>
                <c:pt idx="1842">
                  <c:v>2.6603698283889852</c:v>
                </c:pt>
                <c:pt idx="1843">
                  <c:v>2.6514271355298367</c:v>
                </c:pt>
                <c:pt idx="1844">
                  <c:v>2.6540877714218141</c:v>
                </c:pt>
                <c:pt idx="1845">
                  <c:v>2.6589951665114633</c:v>
                </c:pt>
                <c:pt idx="1846">
                  <c:v>2.6625574623446115</c:v>
                </c:pt>
                <c:pt idx="1847">
                  <c:v>2.6615227706088427</c:v>
                </c:pt>
                <c:pt idx="1848">
                  <c:v>2.6508506644199072</c:v>
                </c:pt>
                <c:pt idx="1849">
                  <c:v>2.6547381490842978</c:v>
                </c:pt>
                <c:pt idx="1850">
                  <c:v>2.6560832483407979</c:v>
                </c:pt>
                <c:pt idx="1851">
                  <c:v>2.6566449381402157</c:v>
                </c:pt>
                <c:pt idx="1852">
                  <c:v>2.637104045644687</c:v>
                </c:pt>
                <c:pt idx="1853">
                  <c:v>2.6349311929995713</c:v>
                </c:pt>
                <c:pt idx="1854">
                  <c:v>2.6351233500362143</c:v>
                </c:pt>
                <c:pt idx="1855">
                  <c:v>2.6182135308116417</c:v>
                </c:pt>
                <c:pt idx="1856">
                  <c:v>2.6114436905976084</c:v>
                </c:pt>
                <c:pt idx="1857">
                  <c:v>2.5852512083721346</c:v>
                </c:pt>
                <c:pt idx="1858">
                  <c:v>2.5880596573692221</c:v>
                </c:pt>
                <c:pt idx="1859">
                  <c:v>2.5847338625042497</c:v>
                </c:pt>
                <c:pt idx="1860">
                  <c:v>2.5619263003857924</c:v>
                </c:pt>
                <c:pt idx="1861">
                  <c:v>2.5956129070403384</c:v>
                </c:pt>
                <c:pt idx="1862">
                  <c:v>2.5903951044299593</c:v>
                </c:pt>
                <c:pt idx="1863">
                  <c:v>2.5821175705438044</c:v>
                </c:pt>
                <c:pt idx="1864">
                  <c:v>2.5766337043442271</c:v>
                </c:pt>
                <c:pt idx="1865">
                  <c:v>2.6076596751067953</c:v>
                </c:pt>
                <c:pt idx="1866">
                  <c:v>2.5761607024078756</c:v>
                </c:pt>
                <c:pt idx="1867">
                  <c:v>2.6052651028040148</c:v>
                </c:pt>
                <c:pt idx="1868">
                  <c:v>2.6041269418946689</c:v>
                </c:pt>
                <c:pt idx="1869">
                  <c:v>2.5985100439004922</c:v>
                </c:pt>
                <c:pt idx="1870">
                  <c:v>2.6001507693672123</c:v>
                </c:pt>
                <c:pt idx="1871">
                  <c:v>2.6022497154597732</c:v>
                </c:pt>
                <c:pt idx="1872">
                  <c:v>2.6265354086293291</c:v>
                </c:pt>
                <c:pt idx="1873">
                  <c:v>2.5965145669815088</c:v>
                </c:pt>
                <c:pt idx="1874">
                  <c:v>2.5954946565562507</c:v>
                </c:pt>
                <c:pt idx="1875">
                  <c:v>2.603565252095251</c:v>
                </c:pt>
                <c:pt idx="1876">
                  <c:v>2.6071571105494211</c:v>
                </c:pt>
                <c:pt idx="1877">
                  <c:v>2.5909567942293763</c:v>
                </c:pt>
                <c:pt idx="1878">
                  <c:v>2.594474746130992</c:v>
                </c:pt>
                <c:pt idx="1879">
                  <c:v>2.5974605708542122</c:v>
                </c:pt>
                <c:pt idx="1880">
                  <c:v>2.5964997856709977</c:v>
                </c:pt>
                <c:pt idx="1881">
                  <c:v>2.5908681063663104</c:v>
                </c:pt>
                <c:pt idx="1882">
                  <c:v>2.6008750535822505</c:v>
                </c:pt>
                <c:pt idx="1883">
                  <c:v>2.6052651028040148</c:v>
                </c:pt>
                <c:pt idx="1884">
                  <c:v>2.5919471420336126</c:v>
                </c:pt>
                <c:pt idx="1885">
                  <c:v>2.5649564690405455</c:v>
                </c:pt>
                <c:pt idx="1886">
                  <c:v>2.5665971945072648</c:v>
                </c:pt>
                <c:pt idx="1887">
                  <c:v>2.5708985558659636</c:v>
                </c:pt>
                <c:pt idx="1888">
                  <c:v>2.5697899575776391</c:v>
                </c:pt>
                <c:pt idx="1889">
                  <c:v>2.5540035179519016</c:v>
                </c:pt>
                <c:pt idx="1890">
                  <c:v>2.5451790755768409</c:v>
                </c:pt>
                <c:pt idx="1891">
                  <c:v>2.5386752989520054</c:v>
                </c:pt>
                <c:pt idx="1892">
                  <c:v>2.5205090683339986</c:v>
                </c:pt>
                <c:pt idx="1893">
                  <c:v>2.4968441902059033</c:v>
                </c:pt>
                <c:pt idx="1894">
                  <c:v>2.483999231371854</c:v>
                </c:pt>
                <c:pt idx="1895">
                  <c:v>2.5485048704418136</c:v>
                </c:pt>
                <c:pt idx="1896">
                  <c:v>2.5509437866761271</c:v>
                </c:pt>
                <c:pt idx="1897">
                  <c:v>2.5340635300725767</c:v>
                </c:pt>
                <c:pt idx="1898">
                  <c:v>2.5392961139934669</c:v>
                </c:pt>
                <c:pt idx="1899">
                  <c:v>2.5469676141486706</c:v>
                </c:pt>
                <c:pt idx="1900">
                  <c:v>2.5429618790001922</c:v>
                </c:pt>
                <c:pt idx="1901">
                  <c:v>2.5465980813858962</c:v>
                </c:pt>
                <c:pt idx="1902">
                  <c:v>2.5464650495912968</c:v>
                </c:pt>
                <c:pt idx="1903">
                  <c:v>2.5320237092220599</c:v>
                </c:pt>
                <c:pt idx="1904">
                  <c:v>2.5299691070610324</c:v>
                </c:pt>
                <c:pt idx="1905">
                  <c:v>2.5344626254563734</c:v>
                </c:pt>
                <c:pt idx="1906">
                  <c:v>2.530264733271252</c:v>
                </c:pt>
                <c:pt idx="1907">
                  <c:v>2.5241600520302128</c:v>
                </c:pt>
                <c:pt idx="1908">
                  <c:v>2.5309151109337353</c:v>
                </c:pt>
                <c:pt idx="1909">
                  <c:v>2.5289639779462845</c:v>
                </c:pt>
                <c:pt idx="1910">
                  <c:v>2.5306786099655598</c:v>
                </c:pt>
                <c:pt idx="1911">
                  <c:v>2.5093048349666685</c:v>
                </c:pt>
                <c:pt idx="1912">
                  <c:v>2.4716716184056882</c:v>
                </c:pt>
                <c:pt idx="1913">
                  <c:v>2.4822402554210461</c:v>
                </c:pt>
                <c:pt idx="1914">
                  <c:v>2.4561216797481267</c:v>
                </c:pt>
                <c:pt idx="1915">
                  <c:v>2.4620637665735448</c:v>
                </c:pt>
                <c:pt idx="1916">
                  <c:v>2.4721446203420401</c:v>
                </c:pt>
                <c:pt idx="1917">
                  <c:v>2.4424933114569938</c:v>
                </c:pt>
                <c:pt idx="1918">
                  <c:v>2.4661138456535556</c:v>
                </c:pt>
                <c:pt idx="1919">
                  <c:v>2.4791953054557823</c:v>
                </c:pt>
                <c:pt idx="1920">
                  <c:v>2.4841913884084961</c:v>
                </c:pt>
                <c:pt idx="1921">
                  <c:v>2.481796816105716</c:v>
                </c:pt>
                <c:pt idx="1922">
                  <c:v>2.4846791716553587</c:v>
                </c:pt>
                <c:pt idx="1923">
                  <c:v>2.4779684566833695</c:v>
                </c:pt>
                <c:pt idx="1924">
                  <c:v>2.4886257815617934</c:v>
                </c:pt>
                <c:pt idx="1925">
                  <c:v>2.4866746485743429</c:v>
                </c:pt>
                <c:pt idx="1926">
                  <c:v>2.4924097970526065</c:v>
                </c:pt>
                <c:pt idx="1927">
                  <c:v>2.5003030168654754</c:v>
                </c:pt>
                <c:pt idx="1928">
                  <c:v>2.4900595686813598</c:v>
                </c:pt>
                <c:pt idx="1929">
                  <c:v>2.4862755531905463</c:v>
                </c:pt>
                <c:pt idx="1930">
                  <c:v>2.4611768879428855</c:v>
                </c:pt>
                <c:pt idx="1931">
                  <c:v>2.4647096211550119</c:v>
                </c:pt>
                <c:pt idx="1932">
                  <c:v>2.467636320636188</c:v>
                </c:pt>
                <c:pt idx="1933">
                  <c:v>2.471316866953424</c:v>
                </c:pt>
                <c:pt idx="1934">
                  <c:v>2.4647687463970556</c:v>
                </c:pt>
                <c:pt idx="1935">
                  <c:v>2.5082997058519205</c:v>
                </c:pt>
                <c:pt idx="1936">
                  <c:v>2.5153651722761743</c:v>
                </c:pt>
                <c:pt idx="1937">
                  <c:v>2.5199917224661141</c:v>
                </c:pt>
                <c:pt idx="1938">
                  <c:v>2.5257268709443785</c:v>
                </c:pt>
                <c:pt idx="1939">
                  <c:v>2.4964450948221066</c:v>
                </c:pt>
                <c:pt idx="1940">
                  <c:v>2.5082997058519205</c:v>
                </c:pt>
                <c:pt idx="1941">
                  <c:v>2.5070137318374646</c:v>
                </c:pt>
                <c:pt idx="1942">
                  <c:v>2.4955877788124696</c:v>
                </c:pt>
                <c:pt idx="1943">
                  <c:v>2.4927941111258924</c:v>
                </c:pt>
                <c:pt idx="1944">
                  <c:v>2.500790800112338</c:v>
                </c:pt>
                <c:pt idx="1945">
                  <c:v>2.5110194669859429</c:v>
                </c:pt>
                <c:pt idx="1946">
                  <c:v>2.5225636704950261</c:v>
                </c:pt>
                <c:pt idx="1947">
                  <c:v>2.5207899132337075</c:v>
                </c:pt>
                <c:pt idx="1948">
                  <c:v>2.5415428731911374</c:v>
                </c:pt>
                <c:pt idx="1949">
                  <c:v>2.4937696776196177</c:v>
                </c:pt>
                <c:pt idx="1950">
                  <c:v>2.5028010583418325</c:v>
                </c:pt>
                <c:pt idx="1951">
                  <c:v>2.4992387625086843</c:v>
                </c:pt>
                <c:pt idx="1952">
                  <c:v>2.4940209598983047</c:v>
                </c:pt>
                <c:pt idx="1953">
                  <c:v>2.4925576101577169</c:v>
                </c:pt>
                <c:pt idx="1954">
                  <c:v>2.4963416256485305</c:v>
                </c:pt>
                <c:pt idx="1955">
                  <c:v>2.4753226021019024</c:v>
                </c:pt>
                <c:pt idx="1956">
                  <c:v>2.469498765760572</c:v>
                </c:pt>
                <c:pt idx="1957">
                  <c:v>2.4724993717943033</c:v>
                </c:pt>
                <c:pt idx="1958">
                  <c:v>2.4552495824279781</c:v>
                </c:pt>
                <c:pt idx="1959">
                  <c:v>2.4414586197212245</c:v>
                </c:pt>
                <c:pt idx="1960">
                  <c:v>2.4234993274503718</c:v>
                </c:pt>
                <c:pt idx="1961">
                  <c:v>2.4113343088998271</c:v>
                </c:pt>
                <c:pt idx="1962">
                  <c:v>2.3918229790253207</c:v>
                </c:pt>
                <c:pt idx="1963">
                  <c:v>2.3894727506540732</c:v>
                </c:pt>
                <c:pt idx="1964">
                  <c:v>2.3887041225075016</c:v>
                </c:pt>
                <c:pt idx="1965">
                  <c:v>2.3958878394158427</c:v>
                </c:pt>
                <c:pt idx="1966">
                  <c:v>2.3713952078991323</c:v>
                </c:pt>
                <c:pt idx="1967">
                  <c:v>2.3694736375327041</c:v>
                </c:pt>
                <c:pt idx="1968">
                  <c:v>2.3684685084179562</c:v>
                </c:pt>
                <c:pt idx="1969">
                  <c:v>2.3714691144516875</c:v>
                </c:pt>
                <c:pt idx="1970">
                  <c:v>2.3918525416463425</c:v>
                </c:pt>
                <c:pt idx="1971">
                  <c:v>2.3947940224380293</c:v>
                </c:pt>
                <c:pt idx="1972">
                  <c:v>2.3972920639143864</c:v>
                </c:pt>
                <c:pt idx="1973">
                  <c:v>2.3702422656792757</c:v>
                </c:pt>
                <c:pt idx="1974">
                  <c:v>2.348262456949433</c:v>
                </c:pt>
                <c:pt idx="1975">
                  <c:v>2.3572938376716479</c:v>
                </c:pt>
                <c:pt idx="1976">
                  <c:v>2.3460304790622737</c:v>
                </c:pt>
                <c:pt idx="1977">
                  <c:v>2.3581511536812854</c:v>
                </c:pt>
                <c:pt idx="1978">
                  <c:v>2.3522386294768896</c:v>
                </c:pt>
                <c:pt idx="1979">
                  <c:v>2.3622160140718074</c:v>
                </c:pt>
                <c:pt idx="1980">
                  <c:v>2.3560078636571919</c:v>
                </c:pt>
                <c:pt idx="1981">
                  <c:v>2.3632211431865553</c:v>
                </c:pt>
                <c:pt idx="1982">
                  <c:v>2.3537315418384996</c:v>
                </c:pt>
                <c:pt idx="1983">
                  <c:v>2.3537315418384996</c:v>
                </c:pt>
                <c:pt idx="1984">
                  <c:v>2.3656748407313795</c:v>
                </c:pt>
                <c:pt idx="1985">
                  <c:v>2.3538793549436092</c:v>
                </c:pt>
                <c:pt idx="1986">
                  <c:v>2.3564660842830327</c:v>
                </c:pt>
                <c:pt idx="1987">
                  <c:v>2.3373686311028337</c:v>
                </c:pt>
                <c:pt idx="1988">
                  <c:v>2.3092841411319527</c:v>
                </c:pt>
                <c:pt idx="1989">
                  <c:v>2.3247010479949157</c:v>
                </c:pt>
                <c:pt idx="1990">
                  <c:v>2.3256766144886409</c:v>
                </c:pt>
                <c:pt idx="1991">
                  <c:v>2.3537019792174778</c:v>
                </c:pt>
                <c:pt idx="1992">
                  <c:v>2.3461782921673837</c:v>
                </c:pt>
                <c:pt idx="1993">
                  <c:v>2.3419951812927735</c:v>
                </c:pt>
                <c:pt idx="1994">
                  <c:v>2.3482328943284112</c:v>
                </c:pt>
                <c:pt idx="1995">
                  <c:v>2.3564808655935439</c:v>
                </c:pt>
                <c:pt idx="1996">
                  <c:v>2.3443158470429992</c:v>
                </c:pt>
                <c:pt idx="1997">
                  <c:v>2.3377233825550978</c:v>
                </c:pt>
                <c:pt idx="1998">
                  <c:v>2.34357678151745</c:v>
                </c:pt>
                <c:pt idx="1999">
                  <c:v>2.3306431348203338</c:v>
                </c:pt>
                <c:pt idx="2000">
                  <c:v>2.3578998714025983</c:v>
                </c:pt>
                <c:pt idx="2001">
                  <c:v>2.3360826570883777</c:v>
                </c:pt>
                <c:pt idx="2002">
                  <c:v>2.3398814538897024</c:v>
                </c:pt>
                <c:pt idx="2003">
                  <c:v>2.3201631856680414</c:v>
                </c:pt>
                <c:pt idx="2004">
                  <c:v>2.3130090313807221</c:v>
                </c:pt>
                <c:pt idx="2005">
                  <c:v>2.2699658551727198</c:v>
                </c:pt>
                <c:pt idx="2006">
                  <c:v>2.2588503096684556</c:v>
                </c:pt>
                <c:pt idx="2007">
                  <c:v>2.239989357456432</c:v>
                </c:pt>
                <c:pt idx="2008">
                  <c:v>2.2387033834419761</c:v>
                </c:pt>
                <c:pt idx="2009">
                  <c:v>2.250129336466971</c:v>
                </c:pt>
                <c:pt idx="2010">
                  <c:v>2.2587764031159003</c:v>
                </c:pt>
                <c:pt idx="2011">
                  <c:v>2.254430697825669</c:v>
                </c:pt>
                <c:pt idx="2012">
                  <c:v>2.2716213619499506</c:v>
                </c:pt>
                <c:pt idx="2013">
                  <c:v>2.2588650909789658</c:v>
                </c:pt>
                <c:pt idx="2014">
                  <c:v>2.2562340177080102</c:v>
                </c:pt>
                <c:pt idx="2015">
                  <c:v>2.2491981139047788</c:v>
                </c:pt>
                <c:pt idx="2016">
                  <c:v>2.2251341403928877</c:v>
                </c:pt>
                <c:pt idx="2017">
                  <c:v>2.2328499844796239</c:v>
                </c:pt>
                <c:pt idx="2018">
                  <c:v>2.2178026103794366</c:v>
                </c:pt>
                <c:pt idx="2019">
                  <c:v>2.2229021625057279</c:v>
                </c:pt>
                <c:pt idx="2020">
                  <c:v>2.1989712207884349</c:v>
                </c:pt>
                <c:pt idx="2021">
                  <c:v>2.1993407535512097</c:v>
                </c:pt>
                <c:pt idx="2022">
                  <c:v>2.20381949063604</c:v>
                </c:pt>
                <c:pt idx="2023">
                  <c:v>2.1975817776004023</c:v>
                </c:pt>
                <c:pt idx="2024">
                  <c:v>2.1625500716893562</c:v>
                </c:pt>
                <c:pt idx="2025">
                  <c:v>2.15066589803852</c:v>
                </c:pt>
                <c:pt idx="2026">
                  <c:v>2.0821693051305927</c:v>
                </c:pt>
                <c:pt idx="2027">
                  <c:v>2.0873132011884175</c:v>
                </c:pt>
                <c:pt idx="2028">
                  <c:v>2.1010302573426163</c:v>
                </c:pt>
                <c:pt idx="2029">
                  <c:v>2.1213989032267597</c:v>
                </c:pt>
                <c:pt idx="2030">
                  <c:v>2.1427283342941186</c:v>
                </c:pt>
                <c:pt idx="2031">
                  <c:v>2.1431126483674041</c:v>
                </c:pt>
                <c:pt idx="2032">
                  <c:v>2.1529126572361905</c:v>
                </c:pt>
                <c:pt idx="2033">
                  <c:v>2.1623579146527132</c:v>
                </c:pt>
                <c:pt idx="2034">
                  <c:v>2.1678713434733123</c:v>
                </c:pt>
                <c:pt idx="2035">
                  <c:v>2.179947674160791</c:v>
                </c:pt>
                <c:pt idx="2036">
                  <c:v>2.1649150813711144</c:v>
                </c:pt>
                <c:pt idx="2037">
                  <c:v>2.1651811449603127</c:v>
                </c:pt>
                <c:pt idx="2038">
                  <c:v>2.1695416315610543</c:v>
                </c:pt>
                <c:pt idx="2039">
                  <c:v>2.1626091969313999</c:v>
                </c:pt>
                <c:pt idx="2040">
                  <c:v>2.1432456801620035</c:v>
                </c:pt>
                <c:pt idx="2041">
                  <c:v>2.1528239693731246</c:v>
                </c:pt>
                <c:pt idx="2042">
                  <c:v>2.1521883730211524</c:v>
                </c:pt>
                <c:pt idx="2043">
                  <c:v>2.1619883818899384</c:v>
                </c:pt>
                <c:pt idx="2044">
                  <c:v>2.158366960814746</c:v>
                </c:pt>
                <c:pt idx="2045">
                  <c:v>2.1981730300208415</c:v>
                </c:pt>
                <c:pt idx="2046">
                  <c:v>2.1835099699939393</c:v>
                </c:pt>
                <c:pt idx="2047">
                  <c:v>2.1939012312831658</c:v>
                </c:pt>
                <c:pt idx="2048">
                  <c:v>2.1923639749900228</c:v>
                </c:pt>
                <c:pt idx="2049">
                  <c:v>2.1787060440778676</c:v>
                </c:pt>
                <c:pt idx="2050">
                  <c:v>2.194536827635138</c:v>
                </c:pt>
                <c:pt idx="2051">
                  <c:v>2.2049872141664082</c:v>
                </c:pt>
                <c:pt idx="2052">
                  <c:v>2.1796520479505714</c:v>
                </c:pt>
                <c:pt idx="2053">
                  <c:v>2.2095694204248146</c:v>
                </c:pt>
                <c:pt idx="2054">
                  <c:v>2.1926596012002424</c:v>
                </c:pt>
                <c:pt idx="2055">
                  <c:v>2.1722170487635433</c:v>
                </c:pt>
                <c:pt idx="2056">
                  <c:v>2.1996955050034739</c:v>
                </c:pt>
                <c:pt idx="2057">
                  <c:v>2.2181573618316999</c:v>
                </c:pt>
                <c:pt idx="2058">
                  <c:v>2.1973748392532482</c:v>
                </c:pt>
                <c:pt idx="2059">
                  <c:v>2.1628456978995763</c:v>
                </c:pt>
                <c:pt idx="2060">
                  <c:v>2.1618996940268724</c:v>
                </c:pt>
                <c:pt idx="2061">
                  <c:v>2.1619588192689161</c:v>
                </c:pt>
                <c:pt idx="2062">
                  <c:v>2.1739316807828186</c:v>
                </c:pt>
                <c:pt idx="2063">
                  <c:v>2.1421666444947012</c:v>
                </c:pt>
                <c:pt idx="2064">
                  <c:v>2.1440143083085745</c:v>
                </c:pt>
                <c:pt idx="2065">
                  <c:v>2.1913440645647646</c:v>
                </c:pt>
                <c:pt idx="2066">
                  <c:v>2.1451820318389427</c:v>
                </c:pt>
                <c:pt idx="2067">
                  <c:v>2.2242472617622284</c:v>
                </c:pt>
                <c:pt idx="2068">
                  <c:v>2.2314309786705691</c:v>
                </c:pt>
                <c:pt idx="2069">
                  <c:v>2.231903980606921</c:v>
                </c:pt>
                <c:pt idx="2070">
                  <c:v>2.2222961287747771</c:v>
                </c:pt>
                <c:pt idx="2071">
                  <c:v>2.2088155735887547</c:v>
                </c:pt>
                <c:pt idx="2072">
                  <c:v>2.2089486053833531</c:v>
                </c:pt>
                <c:pt idx="2073">
                  <c:v>2.216590542917535</c:v>
                </c:pt>
                <c:pt idx="2074">
                  <c:v>2.2228873811952172</c:v>
                </c:pt>
                <c:pt idx="2075">
                  <c:v>2.2061253750757541</c:v>
                </c:pt>
                <c:pt idx="2076">
                  <c:v>2.2111953645810236</c:v>
                </c:pt>
                <c:pt idx="2077">
                  <c:v>2.215585413802788</c:v>
                </c:pt>
                <c:pt idx="2078">
                  <c:v>2.2325247956483825</c:v>
                </c:pt>
                <c:pt idx="2079">
                  <c:v>2.2262279573707002</c:v>
                </c:pt>
                <c:pt idx="2080">
                  <c:v>2.2280460585635522</c:v>
                </c:pt>
                <c:pt idx="2081">
                  <c:v>2.2327021713745143</c:v>
                </c:pt>
                <c:pt idx="2082">
                  <c:v>2.2256071423292387</c:v>
                </c:pt>
                <c:pt idx="2083">
                  <c:v>2.2195911489512663</c:v>
                </c:pt>
                <c:pt idx="2084">
                  <c:v>2.2373287215644542</c:v>
                </c:pt>
                <c:pt idx="2085">
                  <c:v>2.2283121221527504</c:v>
                </c:pt>
                <c:pt idx="2086">
                  <c:v>2.2308840701816623</c:v>
                </c:pt>
                <c:pt idx="2087">
                  <c:v>2.2156593203553423</c:v>
                </c:pt>
                <c:pt idx="2088">
                  <c:v>2.2248976394247113</c:v>
                </c:pt>
                <c:pt idx="2089">
                  <c:v>2.2236412280312772</c:v>
                </c:pt>
                <c:pt idx="2090">
                  <c:v>2.2265679275124532</c:v>
                </c:pt>
                <c:pt idx="2091">
                  <c:v>2.1990451273409901</c:v>
                </c:pt>
                <c:pt idx="2092">
                  <c:v>2.1983651870574845</c:v>
                </c:pt>
                <c:pt idx="2093">
                  <c:v>2.1883730211520556</c:v>
                </c:pt>
                <c:pt idx="2094">
                  <c:v>2.2087860109677329</c:v>
                </c:pt>
                <c:pt idx="2095">
                  <c:v>2.2128656526687656</c:v>
                </c:pt>
                <c:pt idx="2096">
                  <c:v>2.2076330687478753</c:v>
                </c:pt>
                <c:pt idx="2097">
                  <c:v>2.2024891726900506</c:v>
                </c:pt>
                <c:pt idx="2098">
                  <c:v>2.2063323134229078</c:v>
                </c:pt>
                <c:pt idx="2099">
                  <c:v>2.2052976216871389</c:v>
                </c:pt>
                <c:pt idx="2100">
                  <c:v>2.2149793800718376</c:v>
                </c:pt>
                <c:pt idx="2101">
                  <c:v>2.2004050079080013</c:v>
                </c:pt>
                <c:pt idx="2102">
                  <c:v>2.2120083366591281</c:v>
                </c:pt>
                <c:pt idx="2103">
                  <c:v>2.1983504057469738</c:v>
                </c:pt>
                <c:pt idx="2104">
                  <c:v>2.2029473933158914</c:v>
                </c:pt>
                <c:pt idx="2105">
                  <c:v>2.1953350184027314</c:v>
                </c:pt>
                <c:pt idx="2106">
                  <c:v>2.1983060618154409</c:v>
                </c:pt>
                <c:pt idx="2107">
                  <c:v>2.181573618317</c:v>
                </c:pt>
                <c:pt idx="2108">
                  <c:v>2.1811449603121811</c:v>
                </c:pt>
                <c:pt idx="2109">
                  <c:v>2.1590025571667182</c:v>
                </c:pt>
                <c:pt idx="2110">
                  <c:v>2.14827132573574</c:v>
                </c:pt>
                <c:pt idx="2111">
                  <c:v>2.1009711321005722</c:v>
                </c:pt>
                <c:pt idx="2112">
                  <c:v>2.1036761119240834</c:v>
                </c:pt>
                <c:pt idx="2113">
                  <c:v>2.0871506067727967</c:v>
                </c:pt>
                <c:pt idx="2114">
                  <c:v>2.1084356939086217</c:v>
                </c:pt>
                <c:pt idx="2115">
                  <c:v>2.1023901379096275</c:v>
                </c:pt>
                <c:pt idx="2116">
                  <c:v>2.0608694366842566</c:v>
                </c:pt>
                <c:pt idx="2117">
                  <c:v>2.0096078518321434</c:v>
                </c:pt>
                <c:pt idx="2118">
                  <c:v>1.9570602929655743</c:v>
                </c:pt>
                <c:pt idx="2119">
                  <c:v>2.0115589848195943</c:v>
                </c:pt>
                <c:pt idx="2120">
                  <c:v>2.1237639129085188</c:v>
                </c:pt>
                <c:pt idx="2121">
                  <c:v>2.0825684005143894</c:v>
                </c:pt>
                <c:pt idx="2122">
                  <c:v>2.0876679526406812</c:v>
                </c:pt>
                <c:pt idx="2123">
                  <c:v>2.0793165122019719</c:v>
                </c:pt>
                <c:pt idx="2124">
                  <c:v>2.0615345956572506</c:v>
                </c:pt>
                <c:pt idx="2125">
                  <c:v>2.0715415428731911</c:v>
                </c:pt>
                <c:pt idx="2126">
                  <c:v>2.0619484723515589</c:v>
                </c:pt>
                <c:pt idx="2127">
                  <c:v>2.0675949329667573</c:v>
                </c:pt>
                <c:pt idx="2128">
                  <c:v>2.0731231430978672</c:v>
                </c:pt>
                <c:pt idx="2129">
                  <c:v>2.0982661522770614</c:v>
                </c:pt>
                <c:pt idx="2130">
                  <c:v>2.1269566759788923</c:v>
                </c:pt>
                <c:pt idx="2131">
                  <c:v>2.1323370730048925</c:v>
                </c:pt>
                <c:pt idx="2132">
                  <c:v>2.122004936957711</c:v>
                </c:pt>
                <c:pt idx="2133">
                  <c:v>2.1179844204987215</c:v>
                </c:pt>
                <c:pt idx="2134">
                  <c:v>2.1027892332934242</c:v>
                </c:pt>
                <c:pt idx="2135">
                  <c:v>2.1118501766366609</c:v>
                </c:pt>
                <c:pt idx="2136">
                  <c:v>2.1030848595036438</c:v>
                </c:pt>
                <c:pt idx="2137">
                  <c:v>2.0995816889125392</c:v>
                </c:pt>
                <c:pt idx="2138">
                  <c:v>2.1026857641198471</c:v>
                </c:pt>
                <c:pt idx="2139">
                  <c:v>2.0894417099019997</c:v>
                </c:pt>
                <c:pt idx="2140">
                  <c:v>2.0900920875644835</c:v>
                </c:pt>
                <c:pt idx="2141">
                  <c:v>2.0686887499445703</c:v>
                </c:pt>
                <c:pt idx="2142">
                  <c:v>2.0272715178927765</c:v>
                </c:pt>
                <c:pt idx="2143">
                  <c:v>2.0335979187914806</c:v>
                </c:pt>
                <c:pt idx="2144">
                  <c:v>2.0154464694839844</c:v>
                </c:pt>
                <c:pt idx="2145">
                  <c:v>2.0266654841618261</c:v>
                </c:pt>
                <c:pt idx="2146">
                  <c:v>2.0260446691203642</c:v>
                </c:pt>
                <c:pt idx="2147">
                  <c:v>2.0547943180642396</c:v>
                </c:pt>
                <c:pt idx="2148">
                  <c:v>2.0251577904897049</c:v>
                </c:pt>
                <c:pt idx="2149">
                  <c:v>2.0510250838839377</c:v>
                </c:pt>
                <c:pt idx="2150">
                  <c:v>2.0515424297518221</c:v>
                </c:pt>
                <c:pt idx="2151">
                  <c:v>2.0810015816002245</c:v>
                </c:pt>
                <c:pt idx="2152">
                  <c:v>2.043013613586981</c:v>
                </c:pt>
                <c:pt idx="2153">
                  <c:v>2.0407225104577771</c:v>
                </c:pt>
                <c:pt idx="2154">
                  <c:v>2.031099877315123</c:v>
                </c:pt>
                <c:pt idx="2155">
                  <c:v>2.0318241615301611</c:v>
                </c:pt>
                <c:pt idx="2156">
                  <c:v>2.0499312669061238</c:v>
                </c:pt>
                <c:pt idx="2157">
                  <c:v>2.0766263136889713</c:v>
                </c:pt>
                <c:pt idx="2158">
                  <c:v>2.0527840598347455</c:v>
                </c:pt>
                <c:pt idx="2159">
                  <c:v>2.0683192171817955</c:v>
                </c:pt>
                <c:pt idx="2160">
                  <c:v>2.0969062717100502</c:v>
                </c:pt>
                <c:pt idx="2161">
                  <c:v>2.091806719583758</c:v>
                </c:pt>
                <c:pt idx="2162">
                  <c:v>2.0860272271739615</c:v>
                </c:pt>
                <c:pt idx="2163">
                  <c:v>2.0916293438576266</c:v>
                </c:pt>
                <c:pt idx="2164">
                  <c:v>2.0914815307525165</c:v>
                </c:pt>
                <c:pt idx="2165">
                  <c:v>2.1076227218305177</c:v>
                </c:pt>
                <c:pt idx="2166">
                  <c:v>2.1052577121487595</c:v>
                </c:pt>
                <c:pt idx="2167">
                  <c:v>2.0957089855586601</c:v>
                </c:pt>
                <c:pt idx="2168">
                  <c:v>2.0755916219532025</c:v>
                </c:pt>
                <c:pt idx="2169">
                  <c:v>2.0786217906079556</c:v>
                </c:pt>
                <c:pt idx="2170">
                  <c:v>2.07808966342956</c:v>
                </c:pt>
                <c:pt idx="2171">
                  <c:v>2.0474923506718103</c:v>
                </c:pt>
                <c:pt idx="2172">
                  <c:v>2.0183288250336275</c:v>
                </c:pt>
                <c:pt idx="2173">
                  <c:v>2.0266211402302927</c:v>
                </c:pt>
                <c:pt idx="2174">
                  <c:v>2.0182105745495398</c:v>
                </c:pt>
                <c:pt idx="2175">
                  <c:v>2.0547943180642396</c:v>
                </c:pt>
                <c:pt idx="2176">
                  <c:v>2.0230292817761226</c:v>
                </c:pt>
                <c:pt idx="2177">
                  <c:v>2.0540109086071574</c:v>
                </c:pt>
                <c:pt idx="2178">
                  <c:v>2.0638404800969656</c:v>
                </c:pt>
                <c:pt idx="2179">
                  <c:v>2.0445656511906343</c:v>
                </c:pt>
                <c:pt idx="2180">
                  <c:v>2.0507885829157613</c:v>
                </c:pt>
                <c:pt idx="2181">
                  <c:v>2.0375740913189366</c:v>
                </c:pt>
                <c:pt idx="2182">
                  <c:v>2.0110268576411987</c:v>
                </c:pt>
                <c:pt idx="2183">
                  <c:v>2.0093861321744786</c:v>
                </c:pt>
                <c:pt idx="2184">
                  <c:v>2.010524293083825</c:v>
                </c:pt>
                <c:pt idx="2185">
                  <c:v>2.0298730285427111</c:v>
                </c:pt>
                <c:pt idx="2186">
                  <c:v>2.032533664434689</c:v>
                </c:pt>
                <c:pt idx="2187">
                  <c:v>2.0295478397114688</c:v>
                </c:pt>
                <c:pt idx="2188">
                  <c:v>2.0162594415620889</c:v>
                </c:pt>
                <c:pt idx="2189">
                  <c:v>1.9964968294088954</c:v>
                </c:pt>
                <c:pt idx="2190">
                  <c:v>1.979808729841988</c:v>
                </c:pt>
                <c:pt idx="2191">
                  <c:v>1.9852925960415653</c:v>
                </c:pt>
                <c:pt idx="2192">
                  <c:v>1.9890618302218677</c:v>
                </c:pt>
                <c:pt idx="2193">
                  <c:v>1.9408451953350183</c:v>
                </c:pt>
                <c:pt idx="2194">
                  <c:v>1.940386974709178</c:v>
                </c:pt>
                <c:pt idx="2195">
                  <c:v>1.925605664198188</c:v>
                </c:pt>
                <c:pt idx="2196">
                  <c:v>1.9588636128479151</c:v>
                </c:pt>
                <c:pt idx="2197">
                  <c:v>1.9562473208874702</c:v>
                </c:pt>
                <c:pt idx="2198">
                  <c:v>1.9465064372607279</c:v>
                </c:pt>
                <c:pt idx="2199">
                  <c:v>1.9362334264555896</c:v>
                </c:pt>
                <c:pt idx="2200">
                  <c:v>1.9242605649416875</c:v>
                </c:pt>
                <c:pt idx="2201">
                  <c:v>1.8560891608650025</c:v>
                </c:pt>
                <c:pt idx="2202">
                  <c:v>1.8794731940933884</c:v>
                </c:pt>
                <c:pt idx="2203">
                  <c:v>1.8848683724298998</c:v>
                </c:pt>
                <c:pt idx="2204">
                  <c:v>1.852497302410832</c:v>
                </c:pt>
                <c:pt idx="2205">
                  <c:v>1.8398888445449573</c:v>
                </c:pt>
                <c:pt idx="2206">
                  <c:v>1.875703959913086</c:v>
                </c:pt>
                <c:pt idx="2207">
                  <c:v>1.8347301671766219</c:v>
                </c:pt>
                <c:pt idx="2208">
                  <c:v>1.8348040737291766</c:v>
                </c:pt>
                <c:pt idx="2209">
                  <c:v>1.848092471878557</c:v>
                </c:pt>
                <c:pt idx="2210">
                  <c:v>1.8019156578422244</c:v>
                </c:pt>
                <c:pt idx="2211">
                  <c:v>1.7563892214683756</c:v>
                </c:pt>
                <c:pt idx="2212">
                  <c:v>1.7036199429441412</c:v>
                </c:pt>
                <c:pt idx="2213">
                  <c:v>1.7372917682881766</c:v>
                </c:pt>
                <c:pt idx="2214">
                  <c:v>1.7378091141560614</c:v>
                </c:pt>
                <c:pt idx="2215">
                  <c:v>1.739627215348913</c:v>
                </c:pt>
                <c:pt idx="2216">
                  <c:v>1.778960282618657</c:v>
                </c:pt>
                <c:pt idx="2217">
                  <c:v>1.8312861218275613</c:v>
                </c:pt>
                <c:pt idx="2218">
                  <c:v>1.8269699791583522</c:v>
                </c:pt>
                <c:pt idx="2219">
                  <c:v>1.812927734172912</c:v>
                </c:pt>
                <c:pt idx="2220">
                  <c:v>1.8666577978803605</c:v>
                </c:pt>
                <c:pt idx="2221">
                  <c:v>1.8679289905843053</c:v>
                </c:pt>
                <c:pt idx="2222">
                  <c:v>1.7986342069087846</c:v>
                </c:pt>
                <c:pt idx="2223">
                  <c:v>1.7832468626668443</c:v>
                </c:pt>
                <c:pt idx="2224">
                  <c:v>1.8138146128035713</c:v>
                </c:pt>
                <c:pt idx="2225">
                  <c:v>1.7745702333968931</c:v>
                </c:pt>
                <c:pt idx="2226">
                  <c:v>1.8186481013406652</c:v>
                </c:pt>
                <c:pt idx="2227">
                  <c:v>1.7626121531935022</c:v>
                </c:pt>
                <c:pt idx="2228">
                  <c:v>1.748333407239886</c:v>
                </c:pt>
                <c:pt idx="2229">
                  <c:v>1.7808522903640638</c:v>
                </c:pt>
                <c:pt idx="2230">
                  <c:v>1.7793741593129648</c:v>
                </c:pt>
                <c:pt idx="2231">
                  <c:v>1.8407313792440836</c:v>
                </c:pt>
                <c:pt idx="2232">
                  <c:v>1.7940815632713996</c:v>
                </c:pt>
                <c:pt idx="2233">
                  <c:v>1.8656231061445911</c:v>
                </c:pt>
                <c:pt idx="2234">
                  <c:v>1.8434363590675953</c:v>
                </c:pt>
                <c:pt idx="2235">
                  <c:v>1.8410122241437925</c:v>
                </c:pt>
                <c:pt idx="2236">
                  <c:v>1.8721416640799373</c:v>
                </c:pt>
                <c:pt idx="2237">
                  <c:v>1.9418651057602769</c:v>
                </c:pt>
                <c:pt idx="2238">
                  <c:v>1.980961672061845</c:v>
                </c:pt>
                <c:pt idx="2239">
                  <c:v>1.9749752413048944</c:v>
                </c:pt>
                <c:pt idx="2240">
                  <c:v>2.0212111805832707</c:v>
                </c:pt>
                <c:pt idx="2241">
                  <c:v>2.0499164855956131</c:v>
                </c:pt>
                <c:pt idx="2242">
                  <c:v>2.0720884513620983</c:v>
                </c:pt>
                <c:pt idx="2243">
                  <c:v>2.0397765065850741</c:v>
                </c:pt>
                <c:pt idx="2244">
                  <c:v>2.0464133150045081</c:v>
                </c:pt>
                <c:pt idx="2245">
                  <c:v>2.051291147473135</c:v>
                </c:pt>
                <c:pt idx="2246">
                  <c:v>2.0138648692593089</c:v>
                </c:pt>
                <c:pt idx="2247">
                  <c:v>1.9875245739287246</c:v>
                </c:pt>
                <c:pt idx="2248">
                  <c:v>1.9644657295315802</c:v>
                </c:pt>
                <c:pt idx="2249">
                  <c:v>2.018181011928518</c:v>
                </c:pt>
                <c:pt idx="2250">
                  <c:v>2.0642691381017846</c:v>
                </c:pt>
                <c:pt idx="2251">
                  <c:v>2.0204277711261884</c:v>
                </c:pt>
                <c:pt idx="2252">
                  <c:v>1.9886922974590928</c:v>
                </c:pt>
                <c:pt idx="2253">
                  <c:v>1.9745465833000755</c:v>
                </c:pt>
                <c:pt idx="2254">
                  <c:v>2.0334648869968812</c:v>
                </c:pt>
                <c:pt idx="2255">
                  <c:v>2.0266507028513145</c:v>
                </c:pt>
                <c:pt idx="2256">
                  <c:v>2.0502564557373661</c:v>
                </c:pt>
                <c:pt idx="2257">
                  <c:v>2.0701816623061804</c:v>
                </c:pt>
                <c:pt idx="2258">
                  <c:v>2.0917919382732477</c:v>
                </c:pt>
                <c:pt idx="2259">
                  <c:v>2.0296069649535129</c:v>
                </c:pt>
                <c:pt idx="2260">
                  <c:v>2.0737883020708621</c:v>
                </c:pt>
                <c:pt idx="2261">
                  <c:v>2.1079626919722707</c:v>
                </c:pt>
                <c:pt idx="2262">
                  <c:v>2.0751186200168505</c:v>
                </c:pt>
                <c:pt idx="2263">
                  <c:v>2.0894564912125113</c:v>
                </c:pt>
                <c:pt idx="2264">
                  <c:v>2.0876236087091482</c:v>
                </c:pt>
                <c:pt idx="2265">
                  <c:v>2.0880227040929449</c:v>
                </c:pt>
                <c:pt idx="2266">
                  <c:v>2.0842534699126429</c:v>
                </c:pt>
                <c:pt idx="2267">
                  <c:v>2.0880670480244783</c:v>
                </c:pt>
                <c:pt idx="2268">
                  <c:v>2.0763454687892628</c:v>
                </c:pt>
                <c:pt idx="2269">
                  <c:v>2.0798042954488345</c:v>
                </c:pt>
                <c:pt idx="2270">
                  <c:v>2.0308190324154141</c:v>
                </c:pt>
                <c:pt idx="2271">
                  <c:v>2.0348838928059365</c:v>
                </c:pt>
                <c:pt idx="2272">
                  <c:v>1.9903182416153018</c:v>
                </c:pt>
                <c:pt idx="2273">
                  <c:v>2.0242117866170015</c:v>
                </c:pt>
                <c:pt idx="2274">
                  <c:v>2.0671219310304054</c:v>
                </c:pt>
                <c:pt idx="2275">
                  <c:v>2.0770549716937903</c:v>
                </c:pt>
                <c:pt idx="2276">
                  <c:v>2.0724136401933397</c:v>
                </c:pt>
                <c:pt idx="2277">
                  <c:v>2.1028927024670008</c:v>
                </c:pt>
                <c:pt idx="2278">
                  <c:v>2.103971738134303</c:v>
                </c:pt>
                <c:pt idx="2279">
                  <c:v>2.1074896900359188</c:v>
                </c:pt>
                <c:pt idx="2280">
                  <c:v>2.1185461102981389</c:v>
                </c:pt>
                <c:pt idx="2281">
                  <c:v>2.1100616380648312</c:v>
                </c:pt>
                <c:pt idx="2282">
                  <c:v>2.0735665824131972</c:v>
                </c:pt>
                <c:pt idx="2283">
                  <c:v>2.0884217994767416</c:v>
                </c:pt>
                <c:pt idx="2284">
                  <c:v>2.0898112426647746</c:v>
                </c:pt>
                <c:pt idx="2285">
                  <c:v>2.0536561571548932</c:v>
                </c:pt>
                <c:pt idx="2286">
                  <c:v>2.061475470415207</c:v>
                </c:pt>
                <c:pt idx="2287">
                  <c:v>2.0673436506880702</c:v>
                </c:pt>
                <c:pt idx="2288">
                  <c:v>2.0338787636911895</c:v>
                </c:pt>
                <c:pt idx="2289">
                  <c:v>1.984257904305796</c:v>
                </c:pt>
                <c:pt idx="2290">
                  <c:v>2.0017441946402967</c:v>
                </c:pt>
                <c:pt idx="2291">
                  <c:v>2.0060159933779733</c:v>
                </c:pt>
                <c:pt idx="2292">
                  <c:v>2.0052030212998684</c:v>
                </c:pt>
                <c:pt idx="2293">
                  <c:v>1.991530309077203</c:v>
                </c:pt>
                <c:pt idx="2294">
                  <c:v>1.9477480673436509</c:v>
                </c:pt>
                <c:pt idx="2295">
                  <c:v>1.9617164057765364</c:v>
                </c:pt>
                <c:pt idx="2296">
                  <c:v>1.9820702703501696</c:v>
                </c:pt>
                <c:pt idx="2297">
                  <c:v>1.9782714735488449</c:v>
                </c:pt>
                <c:pt idx="2298">
                  <c:v>1.9761134022142404</c:v>
                </c:pt>
                <c:pt idx="2299">
                  <c:v>1.950098295714898</c:v>
                </c:pt>
                <c:pt idx="2300">
                  <c:v>1.9265812306919132</c:v>
                </c:pt>
                <c:pt idx="2301">
                  <c:v>1.9371203050862489</c:v>
                </c:pt>
                <c:pt idx="2302">
                  <c:v>1.8843658078725261</c:v>
                </c:pt>
                <c:pt idx="2303">
                  <c:v>1.8436580787252597</c:v>
                </c:pt>
                <c:pt idx="2304">
                  <c:v>1.8380559620415946</c:v>
                </c:pt>
                <c:pt idx="2305">
                  <c:v>1.7849319320650969</c:v>
                </c:pt>
                <c:pt idx="2306">
                  <c:v>1.7815026680265471</c:v>
                </c:pt>
                <c:pt idx="2307">
                  <c:v>1.8547736242295243</c:v>
                </c:pt>
                <c:pt idx="2308">
                  <c:v>1.8561039421755132</c:v>
                </c:pt>
                <c:pt idx="2309">
                  <c:v>1.8657413566286789</c:v>
                </c:pt>
                <c:pt idx="2310">
                  <c:v>1.8716243182120529</c:v>
                </c:pt>
                <c:pt idx="2311">
                  <c:v>1.9074394335801812</c:v>
                </c:pt>
                <c:pt idx="2312">
                  <c:v>1.8942249419833561</c:v>
                </c:pt>
                <c:pt idx="2313">
                  <c:v>1.941776417897211</c:v>
                </c:pt>
                <c:pt idx="2314">
                  <c:v>1.9493296675683265</c:v>
                </c:pt>
                <c:pt idx="2315">
                  <c:v>1.923876250868402</c:v>
                </c:pt>
                <c:pt idx="2316">
                  <c:v>1.8868342867278614</c:v>
                </c:pt>
                <c:pt idx="2317">
                  <c:v>1.8986888977576752</c:v>
                </c:pt>
                <c:pt idx="2318">
                  <c:v>1.8857404697500479</c:v>
                </c:pt>
                <c:pt idx="2319">
                  <c:v>1.8705896264762836</c:v>
                </c:pt>
                <c:pt idx="2320">
                  <c:v>1.9110460733448629</c:v>
                </c:pt>
                <c:pt idx="2321">
                  <c:v>1.8398149379924025</c:v>
                </c:pt>
                <c:pt idx="2322">
                  <c:v>1.8840258377307735</c:v>
                </c:pt>
                <c:pt idx="2323">
                  <c:v>1.8806704802447785</c:v>
                </c:pt>
                <c:pt idx="2324">
                  <c:v>1.8289211121458027</c:v>
                </c:pt>
                <c:pt idx="2325">
                  <c:v>1.9151404963564072</c:v>
                </c:pt>
                <c:pt idx="2326">
                  <c:v>1.939810503599249</c:v>
                </c:pt>
                <c:pt idx="2327">
                  <c:v>1.9380219650274197</c:v>
                </c:pt>
                <c:pt idx="2328">
                  <c:v>1.868328085968102</c:v>
                </c:pt>
                <c:pt idx="2329">
                  <c:v>1.7605723323429854</c:v>
                </c:pt>
                <c:pt idx="2330">
                  <c:v>1.7984124872511198</c:v>
                </c:pt>
                <c:pt idx="2331">
                  <c:v>1.9132337073004897</c:v>
                </c:pt>
                <c:pt idx="2332">
                  <c:v>2.0090757246537478</c:v>
                </c:pt>
                <c:pt idx="2333">
                  <c:v>2.0739361151759717</c:v>
                </c:pt>
                <c:pt idx="2334">
                  <c:v>2.0995225636704951</c:v>
                </c:pt>
                <c:pt idx="2335">
                  <c:v>2.1076818470725618</c:v>
                </c:pt>
                <c:pt idx="2336">
                  <c:v>2.0915702186155825</c:v>
                </c:pt>
                <c:pt idx="2337">
                  <c:v>2.0795234505491256</c:v>
                </c:pt>
                <c:pt idx="2338">
                  <c:v>2.0834552791450496</c:v>
                </c:pt>
                <c:pt idx="2339">
                  <c:v>2.0805285796638735</c:v>
                </c:pt>
                <c:pt idx="2340">
                  <c:v>2.1102537951014737</c:v>
                </c:pt>
                <c:pt idx="2341">
                  <c:v>2.0709207278317301</c:v>
                </c:pt>
                <c:pt idx="2342">
                  <c:v>2.0797747328278127</c:v>
                </c:pt>
                <c:pt idx="2343">
                  <c:v>2.1038387063397046</c:v>
                </c:pt>
                <c:pt idx="2344">
                  <c:v>2.0942012918865389</c:v>
                </c:pt>
                <c:pt idx="2345">
                  <c:v>2.1011780704477259</c:v>
                </c:pt>
                <c:pt idx="2346">
                  <c:v>2.1097512305441004</c:v>
                </c:pt>
                <c:pt idx="2347">
                  <c:v>2.1168314782788644</c:v>
                </c:pt>
                <c:pt idx="2348">
                  <c:v>2.1167427904157985</c:v>
                </c:pt>
                <c:pt idx="2349">
                  <c:v>2.0940978227129619</c:v>
                </c:pt>
                <c:pt idx="2350">
                  <c:v>2.0562428864943163</c:v>
                </c:pt>
                <c:pt idx="2351">
                  <c:v>2.0739952404180158</c:v>
                </c:pt>
                <c:pt idx="2352">
                  <c:v>2.1072531890677428</c:v>
                </c:pt>
                <c:pt idx="2353">
                  <c:v>2.1249907616809307</c:v>
                </c:pt>
                <c:pt idx="2354">
                  <c:v>2.1324701047994918</c:v>
                </c:pt>
                <c:pt idx="2355">
                  <c:v>2.1458767534329599</c:v>
                </c:pt>
                <c:pt idx="2356">
                  <c:v>2.1434526185091571</c:v>
                </c:pt>
                <c:pt idx="2357">
                  <c:v>2.1399790105390744</c:v>
                </c:pt>
                <c:pt idx="2358">
                  <c:v>2.1150133770860129</c:v>
                </c:pt>
                <c:pt idx="2359">
                  <c:v>2.1173044802152159</c:v>
                </c:pt>
                <c:pt idx="2360">
                  <c:v>2.1034839548874404</c:v>
                </c:pt>
                <c:pt idx="2361">
                  <c:v>2.0695165033331855</c:v>
                </c:pt>
                <c:pt idx="2362">
                  <c:v>2.03210500642987</c:v>
                </c:pt>
                <c:pt idx="2363">
                  <c:v>2.025261259663282</c:v>
                </c:pt>
                <c:pt idx="2364">
                  <c:v>2.0764932818943729</c:v>
                </c:pt>
                <c:pt idx="2365">
                  <c:v>2.057898393271548</c:v>
                </c:pt>
                <c:pt idx="2366">
                  <c:v>2.0697530043013619</c:v>
                </c:pt>
                <c:pt idx="2367">
                  <c:v>2.0706990081740648</c:v>
                </c:pt>
                <c:pt idx="2368">
                  <c:v>2.0495469528328383</c:v>
                </c:pt>
                <c:pt idx="2369">
                  <c:v>2.0414615759833268</c:v>
                </c:pt>
                <c:pt idx="2370">
                  <c:v>2.1062776225740172</c:v>
                </c:pt>
                <c:pt idx="2371">
                  <c:v>2.1074896900359188</c:v>
                </c:pt>
                <c:pt idx="2372">
                  <c:v>2.1167575717263092</c:v>
                </c:pt>
                <c:pt idx="2373">
                  <c:v>2.1398459787444755</c:v>
                </c:pt>
                <c:pt idx="2374">
                  <c:v>2.1378505018254916</c:v>
                </c:pt>
                <c:pt idx="2375">
                  <c:v>2.1188417365083585</c:v>
                </c:pt>
                <c:pt idx="2376">
                  <c:v>2.1354707108332223</c:v>
                </c:pt>
                <c:pt idx="2377">
                  <c:v>2.1047255849703639</c:v>
                </c:pt>
                <c:pt idx="2378">
                  <c:v>2.0985913411083028</c:v>
                </c:pt>
                <c:pt idx="2379">
                  <c:v>2.0810607068422686</c:v>
                </c:pt>
                <c:pt idx="2380">
                  <c:v>2.0953690154169071</c:v>
                </c:pt>
                <c:pt idx="2381">
                  <c:v>2.1171714484206174</c:v>
                </c:pt>
                <c:pt idx="2382">
                  <c:v>2.1117614887735945</c:v>
                </c:pt>
                <c:pt idx="2383">
                  <c:v>2.074734305943565</c:v>
                </c:pt>
                <c:pt idx="2384">
                  <c:v>2.073448331929109</c:v>
                </c:pt>
                <c:pt idx="2385">
                  <c:v>2.0934770076715004</c:v>
                </c:pt>
                <c:pt idx="2386">
                  <c:v>2.0979261821353083</c:v>
                </c:pt>
                <c:pt idx="2387">
                  <c:v>2.124872511196843</c:v>
                </c:pt>
                <c:pt idx="2388">
                  <c:v>2.1182652653984304</c:v>
                </c:pt>
                <c:pt idx="2389">
                  <c:v>2.1214136845372713</c:v>
                </c:pt>
                <c:pt idx="2390">
                  <c:v>2.1149985957755013</c:v>
                </c:pt>
                <c:pt idx="2391">
                  <c:v>2.1348055518602278</c:v>
                </c:pt>
                <c:pt idx="2392">
                  <c:v>2.1387817243876843</c:v>
                </c:pt>
                <c:pt idx="2393">
                  <c:v>2.1102833577224955</c:v>
                </c:pt>
                <c:pt idx="2394">
                  <c:v>2.1425953024995197</c:v>
                </c:pt>
                <c:pt idx="2395">
                  <c:v>2.1496312063027512</c:v>
                </c:pt>
                <c:pt idx="2396">
                  <c:v>2.1422848949787889</c:v>
                </c:pt>
                <c:pt idx="2397">
                  <c:v>2.145211594459965</c:v>
                </c:pt>
                <c:pt idx="2398">
                  <c:v>2.1472366339999702</c:v>
                </c:pt>
                <c:pt idx="2399">
                  <c:v>2.1376731260993602</c:v>
                </c:pt>
                <c:pt idx="2400">
                  <c:v>2.1352637724860686</c:v>
                </c:pt>
                <c:pt idx="2401">
                  <c:v>2.1018284481102096</c:v>
                </c:pt>
                <c:pt idx="2402">
                  <c:v>2.1027744519829126</c:v>
                </c:pt>
                <c:pt idx="2403">
                  <c:v>2.1119536458102375</c:v>
                </c:pt>
                <c:pt idx="2404">
                  <c:v>2.1278731172305738</c:v>
                </c:pt>
                <c:pt idx="2405">
                  <c:v>2.0863376346946922</c:v>
                </c:pt>
                <c:pt idx="2406">
                  <c:v>2.074734305943565</c:v>
                </c:pt>
                <c:pt idx="2407">
                  <c:v>2.0884957060292968</c:v>
                </c:pt>
                <c:pt idx="2408">
                  <c:v>2.125493326238304</c:v>
                </c:pt>
                <c:pt idx="2409">
                  <c:v>2.1163289137214907</c:v>
                </c:pt>
                <c:pt idx="2410">
                  <c:v>2.0826570883774558</c:v>
                </c:pt>
                <c:pt idx="2411">
                  <c:v>2.114200405007908</c:v>
                </c:pt>
                <c:pt idx="2412">
                  <c:v>2.1258924216221016</c:v>
                </c:pt>
                <c:pt idx="2413">
                  <c:v>2.1172601362836829</c:v>
                </c:pt>
                <c:pt idx="2414">
                  <c:v>2.1302233456018214</c:v>
                </c:pt>
                <c:pt idx="2415">
                  <c:v>2.1231874417985899</c:v>
                </c:pt>
                <c:pt idx="2416">
                  <c:v>2.1158411304746281</c:v>
                </c:pt>
                <c:pt idx="2417">
                  <c:v>2.1000694721594018</c:v>
                </c:pt>
                <c:pt idx="2418">
                  <c:v>2.1046664597283198</c:v>
                </c:pt>
                <c:pt idx="2419">
                  <c:v>2.0762567809261969</c:v>
                </c:pt>
                <c:pt idx="2420">
                  <c:v>2.1114510812528637</c:v>
                </c:pt>
                <c:pt idx="2421">
                  <c:v>2.1138752161766665</c:v>
                </c:pt>
                <c:pt idx="2422">
                  <c:v>2.0979261821353083</c:v>
                </c:pt>
                <c:pt idx="2423">
                  <c:v>2.0928857552510602</c:v>
                </c:pt>
                <c:pt idx="2424">
                  <c:v>2.1071201572731439</c:v>
                </c:pt>
                <c:pt idx="2425">
                  <c:v>2.0910380914371869</c:v>
                </c:pt>
                <c:pt idx="2426">
                  <c:v>2.0773210352829885</c:v>
                </c:pt>
                <c:pt idx="2427">
                  <c:v>2.069087845328367</c:v>
                </c:pt>
                <c:pt idx="2428">
                  <c:v>2.0754290275375813</c:v>
                </c:pt>
                <c:pt idx="2429">
                  <c:v>2.0552377573795693</c:v>
                </c:pt>
                <c:pt idx="2430">
                  <c:v>2.0444917446380799</c:v>
                </c:pt>
                <c:pt idx="2431">
                  <c:v>2.0566124192570912</c:v>
                </c:pt>
                <c:pt idx="2432">
                  <c:v>2.0837361240447576</c:v>
                </c:pt>
                <c:pt idx="2433">
                  <c:v>2.0464576589360415</c:v>
                </c:pt>
                <c:pt idx="2434">
                  <c:v>2.0392591607171893</c:v>
                </c:pt>
                <c:pt idx="2435">
                  <c:v>2.0465020028675744</c:v>
                </c:pt>
                <c:pt idx="2436">
                  <c:v>2.0915110933735388</c:v>
                </c:pt>
                <c:pt idx="2437">
                  <c:v>2.1106085465537379</c:v>
                </c:pt>
                <c:pt idx="2438">
                  <c:v>2.1160480688217818</c:v>
                </c:pt>
                <c:pt idx="2439">
                  <c:v>2.0882148611295879</c:v>
                </c:pt>
                <c:pt idx="2440">
                  <c:v>2.1033361417823304</c:v>
                </c:pt>
                <c:pt idx="2441">
                  <c:v>2.0660576766736143</c:v>
                </c:pt>
                <c:pt idx="2442">
                  <c:v>2.0762715622367081</c:v>
                </c:pt>
                <c:pt idx="2443">
                  <c:v>2.0351943003266673</c:v>
                </c:pt>
                <c:pt idx="2444">
                  <c:v>2.0537448450179592</c:v>
                </c:pt>
                <c:pt idx="2445">
                  <c:v>2.0157420956942045</c:v>
                </c:pt>
                <c:pt idx="2446">
                  <c:v>2.0215363694145125</c:v>
                </c:pt>
                <c:pt idx="2447">
                  <c:v>2.0736700515867734</c:v>
                </c:pt>
                <c:pt idx="2448">
                  <c:v>2.0615937208992952</c:v>
                </c:pt>
                <c:pt idx="2449">
                  <c:v>2.1056124636010227</c:v>
                </c:pt>
                <c:pt idx="2450">
                  <c:v>2.1019023546627649</c:v>
                </c:pt>
                <c:pt idx="2451">
                  <c:v>2.1155750668854303</c:v>
                </c:pt>
                <c:pt idx="2452">
                  <c:v>2.1297799062864913</c:v>
                </c:pt>
                <c:pt idx="2453">
                  <c:v>2.1107267970378256</c:v>
                </c:pt>
                <c:pt idx="2454">
                  <c:v>2.119950334796683</c:v>
                </c:pt>
                <c:pt idx="2455">
                  <c:v>2.1245621036761122</c:v>
                </c:pt>
                <c:pt idx="2456">
                  <c:v>2.1269566759788923</c:v>
                </c:pt>
                <c:pt idx="2457">
                  <c:v>2.1183539532614959</c:v>
                </c:pt>
                <c:pt idx="2458">
                  <c:v>2.1192999571341997</c:v>
                </c:pt>
                <c:pt idx="2459">
                  <c:v>2.1003059731275773</c:v>
                </c:pt>
                <c:pt idx="2460">
                  <c:v>2.1036022053715282</c:v>
                </c:pt>
                <c:pt idx="2461">
                  <c:v>2.1045777718652539</c:v>
                </c:pt>
                <c:pt idx="2462">
                  <c:v>2.0996260328440717</c:v>
                </c:pt>
                <c:pt idx="2463">
                  <c:v>2.0870471375992197</c:v>
                </c:pt>
                <c:pt idx="2464">
                  <c:v>2.057558423129795</c:v>
                </c:pt>
                <c:pt idx="2465">
                  <c:v>2.0576471109928609</c:v>
                </c:pt>
                <c:pt idx="2466">
                  <c:v>2.0253499475263479</c:v>
                </c:pt>
                <c:pt idx="2467">
                  <c:v>2.0382540316024418</c:v>
                </c:pt>
                <c:pt idx="2468">
                  <c:v>2.0486748555126897</c:v>
                </c:pt>
                <c:pt idx="2469">
                  <c:v>2.0176193221291001</c:v>
                </c:pt>
                <c:pt idx="2470">
                  <c:v>2.0302129986844637</c:v>
                </c:pt>
                <c:pt idx="2471">
                  <c:v>1.987081134613395</c:v>
                </c:pt>
                <c:pt idx="2472">
                  <c:v>1.948856665631975</c:v>
                </c:pt>
                <c:pt idx="2473">
                  <c:v>1.9876723870338346</c:v>
                </c:pt>
                <c:pt idx="2474">
                  <c:v>1.9594548652683548</c:v>
                </c:pt>
                <c:pt idx="2475">
                  <c:v>1.9999408747579559</c:v>
                </c:pt>
                <c:pt idx="2476">
                  <c:v>2.0406486039052227</c:v>
                </c:pt>
                <c:pt idx="2477">
                  <c:v>2.0328588532659309</c:v>
                </c:pt>
                <c:pt idx="2478">
                  <c:v>2.0496060780748824</c:v>
                </c:pt>
                <c:pt idx="2479">
                  <c:v>2.0037396715592806</c:v>
                </c:pt>
                <c:pt idx="2480">
                  <c:v>1.9895939574002632</c:v>
                </c:pt>
                <c:pt idx="2481">
                  <c:v>1.9849674072103234</c:v>
                </c:pt>
                <c:pt idx="2482">
                  <c:v>1.9454274015934256</c:v>
                </c:pt>
                <c:pt idx="2483">
                  <c:v>1.9729206391438665</c:v>
                </c:pt>
                <c:pt idx="2484">
                  <c:v>1.9903034603047907</c:v>
                </c:pt>
                <c:pt idx="2485">
                  <c:v>1.9980340857020384</c:v>
                </c:pt>
                <c:pt idx="2486">
                  <c:v>2.0224971545977266</c:v>
                </c:pt>
                <c:pt idx="2487">
                  <c:v>2.0481131657132723</c:v>
                </c:pt>
                <c:pt idx="2488">
                  <c:v>1.994545696421445</c:v>
                </c:pt>
                <c:pt idx="2489">
                  <c:v>1.9601200242413492</c:v>
                </c:pt>
                <c:pt idx="2490">
                  <c:v>1.9866820392295983</c:v>
                </c:pt>
                <c:pt idx="2491">
                  <c:v>2.042289329371942</c:v>
                </c:pt>
                <c:pt idx="2492">
                  <c:v>2.0433240211077117</c:v>
                </c:pt>
                <c:pt idx="2493">
                  <c:v>2.0750299321537846</c:v>
                </c:pt>
                <c:pt idx="2494">
                  <c:v>2.0901364314960169</c:v>
                </c:pt>
                <c:pt idx="2495">
                  <c:v>2.0874757956040382</c:v>
                </c:pt>
                <c:pt idx="2496">
                  <c:v>2.0772914726619667</c:v>
                </c:pt>
                <c:pt idx="2497">
                  <c:v>2.0777201306667852</c:v>
                </c:pt>
                <c:pt idx="2498">
                  <c:v>2.0723545149512956</c:v>
                </c:pt>
                <c:pt idx="2499">
                  <c:v>2.0606920609581247</c:v>
                </c:pt>
                <c:pt idx="2500">
                  <c:v>2.0467680664567722</c:v>
                </c:pt>
                <c:pt idx="2501">
                  <c:v>1.975315211446647</c:v>
                </c:pt>
                <c:pt idx="2502">
                  <c:v>1.9159682497450223</c:v>
                </c:pt>
                <c:pt idx="2503">
                  <c:v>1.9409338831980847</c:v>
                </c:pt>
                <c:pt idx="2504">
                  <c:v>1.9597061475470414</c:v>
                </c:pt>
                <c:pt idx="2505">
                  <c:v>2.0084844722333082</c:v>
                </c:pt>
                <c:pt idx="2506">
                  <c:v>1.9949004478737087</c:v>
                </c:pt>
                <c:pt idx="2507">
                  <c:v>2.0446839016747229</c:v>
                </c:pt>
                <c:pt idx="2508">
                  <c:v>2.045408185889761</c:v>
                </c:pt>
                <c:pt idx="2509">
                  <c:v>2.0676688395193117</c:v>
                </c:pt>
                <c:pt idx="2510">
                  <c:v>2.0625692873930204</c:v>
                </c:pt>
                <c:pt idx="2511">
                  <c:v>2.0661315832261686</c:v>
                </c:pt>
                <c:pt idx="2512">
                  <c:v>2.0546317236486189</c:v>
                </c:pt>
                <c:pt idx="2513">
                  <c:v>2.0352534255687109</c:v>
                </c:pt>
                <c:pt idx="2514">
                  <c:v>2.0561246360102285</c:v>
                </c:pt>
                <c:pt idx="2515">
                  <c:v>2.0639143866495204</c:v>
                </c:pt>
                <c:pt idx="2516">
                  <c:v>2.0553412265531468</c:v>
                </c:pt>
                <c:pt idx="2517">
                  <c:v>2.0588591784547616</c:v>
                </c:pt>
                <c:pt idx="2518">
                  <c:v>2.0501234239427668</c:v>
                </c:pt>
                <c:pt idx="2519">
                  <c:v>2.0342335151434527</c:v>
                </c:pt>
                <c:pt idx="2520">
                  <c:v>2.0282766470075235</c:v>
                </c:pt>
                <c:pt idx="2521">
                  <c:v>2.032829290644909</c:v>
                </c:pt>
                <c:pt idx="2522">
                  <c:v>2.0173384772293912</c:v>
                </c:pt>
                <c:pt idx="2523">
                  <c:v>2.0151212806527425</c:v>
                </c:pt>
                <c:pt idx="2524">
                  <c:v>2.014396996437704</c:v>
                </c:pt>
                <c:pt idx="2525">
                  <c:v>2.0128006149025173</c:v>
                </c:pt>
                <c:pt idx="2526">
                  <c:v>2.0149143423055889</c:v>
                </c:pt>
                <c:pt idx="2527">
                  <c:v>2.0128153962130284</c:v>
                </c:pt>
                <c:pt idx="2528">
                  <c:v>2.003444045349061</c:v>
                </c:pt>
                <c:pt idx="2529">
                  <c:v>2.0023945723027805</c:v>
                </c:pt>
                <c:pt idx="2530">
                  <c:v>1.991101651072384</c:v>
                </c:pt>
                <c:pt idx="2531">
                  <c:v>1.9741474879162788</c:v>
                </c:pt>
                <c:pt idx="2532">
                  <c:v>1.982587616218054</c:v>
                </c:pt>
                <c:pt idx="2533">
                  <c:v>1.9829423676703177</c:v>
                </c:pt>
                <c:pt idx="2534">
                  <c:v>1.9483541010746017</c:v>
                </c:pt>
                <c:pt idx="2535">
                  <c:v>1.930099182593529</c:v>
                </c:pt>
                <c:pt idx="2536">
                  <c:v>1.934164042984051</c:v>
                </c:pt>
                <c:pt idx="2537">
                  <c:v>1.8995462137673127</c:v>
                </c:pt>
                <c:pt idx="2538">
                  <c:v>1.9039067003680548</c:v>
                </c:pt>
                <c:pt idx="2539">
                  <c:v>1.8835676171049327</c:v>
                </c:pt>
                <c:pt idx="2540">
                  <c:v>1.8485211298833755</c:v>
                </c:pt>
                <c:pt idx="2541">
                  <c:v>1.8694662468774483</c:v>
                </c:pt>
                <c:pt idx="2542">
                  <c:v>1.8143763026029891</c:v>
                </c:pt>
                <c:pt idx="2543">
                  <c:v>1.7888785419715312</c:v>
                </c:pt>
                <c:pt idx="2544">
                  <c:v>1.7534033967451554</c:v>
                </c:pt>
                <c:pt idx="2545">
                  <c:v>1.7530043013613588</c:v>
                </c:pt>
                <c:pt idx="2546">
                  <c:v>1.7754866746485747</c:v>
                </c:pt>
                <c:pt idx="2547">
                  <c:v>1.7711114067373215</c:v>
                </c:pt>
                <c:pt idx="2548">
                  <c:v>1.8175099404313189</c:v>
                </c:pt>
                <c:pt idx="2549">
                  <c:v>1.8501470740395844</c:v>
                </c:pt>
                <c:pt idx="2550">
                  <c:v>1.9102774451982913</c:v>
                </c:pt>
                <c:pt idx="2551">
                  <c:v>1.8603313969816564</c:v>
                </c:pt>
                <c:pt idx="2552">
                  <c:v>1.9042614518203185</c:v>
                </c:pt>
                <c:pt idx="2553">
                  <c:v>1.9088140954577035</c:v>
                </c:pt>
                <c:pt idx="2554">
                  <c:v>1.8766943077173224</c:v>
                </c:pt>
                <c:pt idx="2555">
                  <c:v>1.8766795264068117</c:v>
                </c:pt>
                <c:pt idx="2556">
                  <c:v>1.9153030907720279</c:v>
                </c:pt>
                <c:pt idx="2557">
                  <c:v>1.9234475928635835</c:v>
                </c:pt>
                <c:pt idx="2558">
                  <c:v>1.930912154671633</c:v>
                </c:pt>
                <c:pt idx="2559">
                  <c:v>1.9059908651501045</c:v>
                </c:pt>
                <c:pt idx="2560">
                  <c:v>1.9537492794111126</c:v>
                </c:pt>
                <c:pt idx="2561">
                  <c:v>1.9307939041875453</c:v>
                </c:pt>
                <c:pt idx="2562">
                  <c:v>1.9478219738962057</c:v>
                </c:pt>
                <c:pt idx="2563">
                  <c:v>1.9716346651294105</c:v>
                </c:pt>
                <c:pt idx="2564">
                  <c:v>1.9730536709384654</c:v>
                </c:pt>
                <c:pt idx="2565">
                  <c:v>1.9585827679482062</c:v>
                </c:pt>
                <c:pt idx="2566">
                  <c:v>1.9547544085258601</c:v>
                </c:pt>
                <c:pt idx="2567">
                  <c:v>1.9328041624170402</c:v>
                </c:pt>
                <c:pt idx="2568">
                  <c:v>1.9348883271990895</c:v>
                </c:pt>
                <c:pt idx="2569">
                  <c:v>1.9524928680176785</c:v>
                </c:pt>
                <c:pt idx="2570">
                  <c:v>1.9498913573677443</c:v>
                </c:pt>
                <c:pt idx="2571">
                  <c:v>1.9391749072472768</c:v>
                </c:pt>
                <c:pt idx="2572">
                  <c:v>1.9585384240166732</c:v>
                </c:pt>
                <c:pt idx="2573">
                  <c:v>1.9676584926019545</c:v>
                </c:pt>
                <c:pt idx="2574">
                  <c:v>1.9527884942278986</c:v>
                </c:pt>
                <c:pt idx="2575">
                  <c:v>1.9573263565547725</c:v>
                </c:pt>
                <c:pt idx="2576">
                  <c:v>1.9596322409944866</c:v>
                </c:pt>
                <c:pt idx="2577">
                  <c:v>1.9612434038401845</c:v>
                </c:pt>
                <c:pt idx="2578">
                  <c:v>1.9514433949713985</c:v>
                </c:pt>
                <c:pt idx="2579">
                  <c:v>1.9564394779241128</c:v>
                </c:pt>
                <c:pt idx="2580">
                  <c:v>1.9562916648190027</c:v>
                </c:pt>
                <c:pt idx="2581">
                  <c:v>1.9531875896116953</c:v>
                </c:pt>
                <c:pt idx="2582">
                  <c:v>1.9391157820052327</c:v>
                </c:pt>
                <c:pt idx="2583">
                  <c:v>1.9449839622780956</c:v>
                </c:pt>
                <c:pt idx="2584">
                  <c:v>1.9363221143186555</c:v>
                </c:pt>
                <c:pt idx="2585">
                  <c:v>1.9290644908577592</c:v>
                </c:pt>
                <c:pt idx="2586">
                  <c:v>1.9144901186939234</c:v>
                </c:pt>
                <c:pt idx="2587">
                  <c:v>1.8898348927615922</c:v>
                </c:pt>
                <c:pt idx="2588">
                  <c:v>1.8900122684877245</c:v>
                </c:pt>
                <c:pt idx="2589">
                  <c:v>1.8775072797954269</c:v>
                </c:pt>
                <c:pt idx="2590">
                  <c:v>1.858335920062673</c:v>
                </c:pt>
                <c:pt idx="2591">
                  <c:v>1.863021595494657</c:v>
                </c:pt>
                <c:pt idx="2592">
                  <c:v>1.8551431569922991</c:v>
                </c:pt>
                <c:pt idx="2593">
                  <c:v>1.822594711247099</c:v>
                </c:pt>
                <c:pt idx="2594">
                  <c:v>1.8383663695623254</c:v>
                </c:pt>
                <c:pt idx="2595">
                  <c:v>1.8383220256307924</c:v>
                </c:pt>
                <c:pt idx="2596">
                  <c:v>1.8660813267704315</c:v>
                </c:pt>
                <c:pt idx="2597">
                  <c:v>1.8456239930232217</c:v>
                </c:pt>
                <c:pt idx="2598">
                  <c:v>1.853783276425288</c:v>
                </c:pt>
                <c:pt idx="2599">
                  <c:v>1.9120216398385881</c:v>
                </c:pt>
                <c:pt idx="2600">
                  <c:v>1.9118442641124562</c:v>
                </c:pt>
                <c:pt idx="2601">
                  <c:v>1.9250883183303036</c:v>
                </c:pt>
                <c:pt idx="2602">
                  <c:v>1.9242457836311768</c:v>
                </c:pt>
                <c:pt idx="2603">
                  <c:v>1.9384949669637712</c:v>
                </c:pt>
                <c:pt idx="2604">
                  <c:v>1.9370611798442052</c:v>
                </c:pt>
                <c:pt idx="2605">
                  <c:v>1.9319172837863805</c:v>
                </c:pt>
                <c:pt idx="2606">
                  <c:v>1.9172837863805006</c:v>
                </c:pt>
                <c:pt idx="2607">
                  <c:v>1.924068407905045</c:v>
                </c:pt>
                <c:pt idx="2608">
                  <c:v>1.894357973777955</c:v>
                </c:pt>
                <c:pt idx="2609">
                  <c:v>1.9290201469262267</c:v>
                </c:pt>
                <c:pt idx="2610">
                  <c:v>1.9167664405126161</c:v>
                </c:pt>
                <c:pt idx="2611">
                  <c:v>1.9224129011278142</c:v>
                </c:pt>
                <c:pt idx="2612">
                  <c:v>1.9083263122108405</c:v>
                </c:pt>
                <c:pt idx="2613">
                  <c:v>1.9040545134731648</c:v>
                </c:pt>
                <c:pt idx="2614">
                  <c:v>1.9161012815396212</c:v>
                </c:pt>
                <c:pt idx="2615">
                  <c:v>1.9026207263535988</c:v>
                </c:pt>
                <c:pt idx="2616">
                  <c:v>1.9232258732059186</c:v>
                </c:pt>
                <c:pt idx="2617">
                  <c:v>1.93474051409398</c:v>
                </c:pt>
                <c:pt idx="2618">
                  <c:v>1.9187471361210884</c:v>
                </c:pt>
                <c:pt idx="2619">
                  <c:v>1.9168255657546598</c:v>
                </c:pt>
                <c:pt idx="2620">
                  <c:v>1.8974768302957741</c:v>
                </c:pt>
                <c:pt idx="2621">
                  <c:v>1.8985558659630764</c:v>
                </c:pt>
                <c:pt idx="2622">
                  <c:v>1.8930276558319661</c:v>
                </c:pt>
                <c:pt idx="2623">
                  <c:v>1.8964421385600048</c:v>
                </c:pt>
                <c:pt idx="2624">
                  <c:v>1.8823259870220097</c:v>
                </c:pt>
                <c:pt idx="2625">
                  <c:v>1.9009947821973894</c:v>
                </c:pt>
                <c:pt idx="2626">
                  <c:v>1.9013790962706754</c:v>
                </c:pt>
                <c:pt idx="2627">
                  <c:v>1.89636823200745</c:v>
                </c:pt>
                <c:pt idx="2628">
                  <c:v>1.8926729043797024</c:v>
                </c:pt>
                <c:pt idx="2629">
                  <c:v>1.8705157199237288</c:v>
                </c:pt>
                <c:pt idx="2630">
                  <c:v>1.8642927881986018</c:v>
                </c:pt>
                <c:pt idx="2631">
                  <c:v>1.8618982158958217</c:v>
                </c:pt>
                <c:pt idx="2632">
                  <c:v>1.8529555230366723</c:v>
                </c:pt>
                <c:pt idx="2633">
                  <c:v>1.8733241689208167</c:v>
                </c:pt>
                <c:pt idx="2634">
                  <c:v>1.8835232731733997</c:v>
                </c:pt>
                <c:pt idx="2635">
                  <c:v>1.8842327760779272</c:v>
                </c:pt>
                <c:pt idx="2636">
                  <c:v>1.8815277962544159</c:v>
                </c:pt>
                <c:pt idx="2637">
                  <c:v>1.8682541794155472</c:v>
                </c:pt>
                <c:pt idx="2638">
                  <c:v>1.8496592907927218</c:v>
                </c:pt>
                <c:pt idx="2639">
                  <c:v>1.8442788937667216</c:v>
                </c:pt>
                <c:pt idx="2640">
                  <c:v>1.8453579294340239</c:v>
                </c:pt>
                <c:pt idx="2641">
                  <c:v>1.8432885459624853</c:v>
                </c:pt>
                <c:pt idx="2642">
                  <c:v>1.8380559620415946</c:v>
                </c:pt>
                <c:pt idx="2643">
                  <c:v>1.8229051187678302</c:v>
                </c:pt>
                <c:pt idx="2644">
                  <c:v>1.8260535379066711</c:v>
                </c:pt>
                <c:pt idx="2645">
                  <c:v>1.8092324065451644</c:v>
                </c:pt>
                <c:pt idx="2646">
                  <c:v>1.7973482328943287</c:v>
                </c:pt>
                <c:pt idx="2647">
                  <c:v>1.7907557684064268</c:v>
                </c:pt>
                <c:pt idx="2648">
                  <c:v>1.7682881764297225</c:v>
                </c:pt>
                <c:pt idx="2649">
                  <c:v>1.7863952818056847</c:v>
                </c:pt>
                <c:pt idx="2650">
                  <c:v>1.7757231756167502</c:v>
                </c:pt>
                <c:pt idx="2651">
                  <c:v>1.7653614769485464</c:v>
                </c:pt>
                <c:pt idx="2652">
                  <c:v>1.7914948339319765</c:v>
                </c:pt>
                <c:pt idx="2653">
                  <c:v>1.8046797629077798</c:v>
                </c:pt>
                <c:pt idx="2654">
                  <c:v>1.8034972580669004</c:v>
                </c:pt>
                <c:pt idx="2655">
                  <c:v>1.7766396168684317</c:v>
                </c:pt>
                <c:pt idx="2656">
                  <c:v>1.7724269433727997</c:v>
                </c:pt>
                <c:pt idx="2657">
                  <c:v>1.7762405214846351</c:v>
                </c:pt>
                <c:pt idx="2658">
                  <c:v>1.7607349267586065</c:v>
                </c:pt>
                <c:pt idx="2659">
                  <c:v>1.7857744667642237</c:v>
                </c:pt>
                <c:pt idx="2660">
                  <c:v>1.7805714454643553</c:v>
                </c:pt>
                <c:pt idx="2661">
                  <c:v>1.7843258983341466</c:v>
                </c:pt>
                <c:pt idx="2662">
                  <c:v>1.7847249937179432</c:v>
                </c:pt>
                <c:pt idx="2663">
                  <c:v>1.7764178972107669</c:v>
                </c:pt>
                <c:pt idx="2664">
                  <c:v>1.7632625308559859</c:v>
                </c:pt>
                <c:pt idx="2665">
                  <c:v>1.7543494006178588</c:v>
                </c:pt>
                <c:pt idx="2666">
                  <c:v>1.7768317739050743</c:v>
                </c:pt>
                <c:pt idx="2667">
                  <c:v>1.772072191920536</c:v>
                </c:pt>
                <c:pt idx="2668">
                  <c:v>1.7782212170931073</c:v>
                </c:pt>
                <c:pt idx="2669">
                  <c:v>1.7668987332416894</c:v>
                </c:pt>
                <c:pt idx="2670">
                  <c:v>1.7564926906419522</c:v>
                </c:pt>
                <c:pt idx="2671">
                  <c:v>1.752738237772161</c:v>
                </c:pt>
                <c:pt idx="2672">
                  <c:v>1.7241659645544174</c:v>
                </c:pt>
                <c:pt idx="2673">
                  <c:v>1.7058814834523228</c:v>
                </c:pt>
                <c:pt idx="2674">
                  <c:v>1.6838277681699263</c:v>
                </c:pt>
                <c:pt idx="2675">
                  <c:v>1.7095324671485375</c:v>
                </c:pt>
                <c:pt idx="2676">
                  <c:v>1.767327391246508</c:v>
                </c:pt>
                <c:pt idx="2677">
                  <c:v>1.7374395813932866</c:v>
                </c:pt>
                <c:pt idx="2678">
                  <c:v>1.7272109145196812</c:v>
                </c:pt>
                <c:pt idx="2679">
                  <c:v>1.7568474420942159</c:v>
                </c:pt>
                <c:pt idx="2680">
                  <c:v>1.7918495853842402</c:v>
                </c:pt>
                <c:pt idx="2681">
                  <c:v>1.7949980045230811</c:v>
                </c:pt>
                <c:pt idx="2682">
                  <c:v>1.7870456594681685</c:v>
                </c:pt>
                <c:pt idx="2683">
                  <c:v>1.7675638922146839</c:v>
                </c:pt>
                <c:pt idx="2684">
                  <c:v>1.7458058031425066</c:v>
                </c:pt>
                <c:pt idx="2685">
                  <c:v>1.7331234387240775</c:v>
                </c:pt>
                <c:pt idx="2686">
                  <c:v>1.7383264600239459</c:v>
                </c:pt>
                <c:pt idx="2687">
                  <c:v>1.7576308515512986</c:v>
                </c:pt>
                <c:pt idx="2688">
                  <c:v>1.7455397395533088</c:v>
                </c:pt>
                <c:pt idx="2689">
                  <c:v>1.7589611694972875</c:v>
                </c:pt>
                <c:pt idx="2690">
                  <c:v>1.7670761089678213</c:v>
                </c:pt>
                <c:pt idx="2691">
                  <c:v>1.7504619159534687</c:v>
                </c:pt>
                <c:pt idx="2692">
                  <c:v>1.767430860420085</c:v>
                </c:pt>
                <c:pt idx="2693">
                  <c:v>1.7475943417143363</c:v>
                </c:pt>
                <c:pt idx="2694">
                  <c:v>1.7214314221098843</c:v>
                </c:pt>
                <c:pt idx="2695">
                  <c:v>1.7291324848861098</c:v>
                </c:pt>
                <c:pt idx="2696">
                  <c:v>1.761444429663134</c:v>
                </c:pt>
                <c:pt idx="2697">
                  <c:v>1.7606018949640077</c:v>
                </c:pt>
                <c:pt idx="2698">
                  <c:v>1.774703265191492</c:v>
                </c:pt>
                <c:pt idx="2699">
                  <c:v>1.775989239205948</c:v>
                </c:pt>
                <c:pt idx="2700">
                  <c:v>1.7744963268443379</c:v>
                </c:pt>
                <c:pt idx="2701">
                  <c:v>1.7697367448597991</c:v>
                </c:pt>
                <c:pt idx="2702">
                  <c:v>1.7698845579649096</c:v>
                </c:pt>
                <c:pt idx="2703">
                  <c:v>1.7282308249449398</c:v>
                </c:pt>
                <c:pt idx="2704">
                  <c:v>1.7485107829660178</c:v>
                </c:pt>
                <c:pt idx="2705">
                  <c:v>1.7408836267423471</c:v>
                </c:pt>
                <c:pt idx="2706">
                  <c:v>1.7273882902458135</c:v>
                </c:pt>
                <c:pt idx="2707">
                  <c:v>1.727329165003769</c:v>
                </c:pt>
                <c:pt idx="2708">
                  <c:v>1.7310097113210059</c:v>
                </c:pt>
                <c:pt idx="2709">
                  <c:v>1.7142181425805214</c:v>
                </c:pt>
                <c:pt idx="2710">
                  <c:v>1.7194359451909005</c:v>
                </c:pt>
                <c:pt idx="2711">
                  <c:v>1.703132159697279</c:v>
                </c:pt>
                <c:pt idx="2712">
                  <c:v>1.7208845136209776</c:v>
                </c:pt>
                <c:pt idx="2713">
                  <c:v>1.7177360944821372</c:v>
                </c:pt>
                <c:pt idx="2714">
                  <c:v>1.7047285412324658</c:v>
                </c:pt>
                <c:pt idx="2715">
                  <c:v>1.6891046960223495</c:v>
                </c:pt>
                <c:pt idx="2716">
                  <c:v>1.689828980237388</c:v>
                </c:pt>
                <c:pt idx="2717">
                  <c:v>1.660399391010007</c:v>
                </c:pt>
                <c:pt idx="2718">
                  <c:v>1.6562310614459079</c:v>
                </c:pt>
                <c:pt idx="2719">
                  <c:v>1.621361949950483</c:v>
                </c:pt>
                <c:pt idx="2720">
                  <c:v>1.5891534743470359</c:v>
                </c:pt>
                <c:pt idx="2721">
                  <c:v>1.5944156208889484</c:v>
                </c:pt>
                <c:pt idx="2722">
                  <c:v>1.5747416965988208</c:v>
                </c:pt>
                <c:pt idx="2723">
                  <c:v>1.6349016303785495</c:v>
                </c:pt>
                <c:pt idx="2724">
                  <c:v>1.6520479505712977</c:v>
                </c:pt>
                <c:pt idx="2725">
                  <c:v>1.6225001108598289</c:v>
                </c:pt>
                <c:pt idx="2726">
                  <c:v>1.6495499090949406</c:v>
                </c:pt>
                <c:pt idx="2727">
                  <c:v>1.6333791553959176</c:v>
                </c:pt>
                <c:pt idx="2728">
                  <c:v>1.6462832394720115</c:v>
                </c:pt>
                <c:pt idx="2729">
                  <c:v>1.7027035016924601</c:v>
                </c:pt>
                <c:pt idx="2730">
                  <c:v>1.7269448509304834</c:v>
                </c:pt>
                <c:pt idx="2731">
                  <c:v>1.7253780320163186</c:v>
                </c:pt>
                <c:pt idx="2732">
                  <c:v>1.7178395636557138</c:v>
                </c:pt>
                <c:pt idx="2733">
                  <c:v>1.7284673259131158</c:v>
                </c:pt>
                <c:pt idx="2734">
                  <c:v>1.7321478722303523</c:v>
                </c:pt>
                <c:pt idx="2735">
                  <c:v>1.718105627244912</c:v>
                </c:pt>
                <c:pt idx="2736">
                  <c:v>1.6890160081592835</c:v>
                </c:pt>
                <c:pt idx="2737">
                  <c:v>1.723264304613247</c:v>
                </c:pt>
                <c:pt idx="2738">
                  <c:v>1.7169970289565875</c:v>
                </c:pt>
                <c:pt idx="2739">
                  <c:v>1.7160510250838841</c:v>
                </c:pt>
                <c:pt idx="2740">
                  <c:v>1.7166274961938126</c:v>
                </c:pt>
                <c:pt idx="2741">
                  <c:v>1.700205460216103</c:v>
                </c:pt>
                <c:pt idx="2742">
                  <c:v>1.7070048630511581</c:v>
                </c:pt>
                <c:pt idx="2743">
                  <c:v>1.7079065229923285</c:v>
                </c:pt>
                <c:pt idx="2744">
                  <c:v>1.73211830960933</c:v>
                </c:pt>
                <c:pt idx="2745">
                  <c:v>1.7213427342468184</c:v>
                </c:pt>
                <c:pt idx="2746">
                  <c:v>1.7218305174936814</c:v>
                </c:pt>
                <c:pt idx="2747">
                  <c:v>1.7227469587453625</c:v>
                </c:pt>
                <c:pt idx="2748">
                  <c:v>1.7098872186008012</c:v>
                </c:pt>
                <c:pt idx="2749">
                  <c:v>1.7020087800984438</c:v>
                </c:pt>
                <c:pt idx="2750">
                  <c:v>1.6877152528343164</c:v>
                </c:pt>
                <c:pt idx="2751">
                  <c:v>1.6748259500687332</c:v>
                </c:pt>
                <c:pt idx="2752">
                  <c:v>1.6763779876723874</c:v>
                </c:pt>
                <c:pt idx="2753">
                  <c:v>1.632551402007302</c:v>
                </c:pt>
                <c:pt idx="2754">
                  <c:v>1.6407402480303905</c:v>
                </c:pt>
                <c:pt idx="2755">
                  <c:v>1.6241556176370597</c:v>
                </c:pt>
                <c:pt idx="2756">
                  <c:v>1.6244216812262575</c:v>
                </c:pt>
                <c:pt idx="2757">
                  <c:v>1.6343547218896428</c:v>
                </c:pt>
                <c:pt idx="2758">
                  <c:v>1.664508595332062</c:v>
                </c:pt>
                <c:pt idx="2759">
                  <c:v>1.6730078488758813</c:v>
                </c:pt>
                <c:pt idx="2760">
                  <c:v>1.6681595790282766</c:v>
                </c:pt>
                <c:pt idx="2761">
                  <c:v>1.6385082701432307</c:v>
                </c:pt>
                <c:pt idx="2762">
                  <c:v>1.6500081297207809</c:v>
                </c:pt>
                <c:pt idx="2763">
                  <c:v>1.653466956380353</c:v>
                </c:pt>
                <c:pt idx="2764">
                  <c:v>1.6619662099241723</c:v>
                </c:pt>
                <c:pt idx="2765">
                  <c:v>1.6692238333850677</c:v>
                </c:pt>
                <c:pt idx="2766">
                  <c:v>1.6713227794776286</c:v>
                </c:pt>
                <c:pt idx="2767">
                  <c:v>1.664700752368705</c:v>
                </c:pt>
                <c:pt idx="2768">
                  <c:v>1.6643016569849083</c:v>
                </c:pt>
                <c:pt idx="2769">
                  <c:v>1.667671795781414</c:v>
                </c:pt>
                <c:pt idx="2770">
                  <c:v>1.6545016481161219</c:v>
                </c:pt>
                <c:pt idx="2771">
                  <c:v>1.6330983104962087</c:v>
                </c:pt>
                <c:pt idx="2772">
                  <c:v>1.6427061623283521</c:v>
                </c:pt>
                <c:pt idx="2773">
                  <c:v>1.6481161219753746</c:v>
                </c:pt>
                <c:pt idx="2774">
                  <c:v>1.6579456934651828</c:v>
                </c:pt>
                <c:pt idx="2775">
                  <c:v>1.6467710227188741</c:v>
                </c:pt>
                <c:pt idx="2776">
                  <c:v>1.6340295330584009</c:v>
                </c:pt>
                <c:pt idx="2777">
                  <c:v>1.6128774777171744</c:v>
                </c:pt>
                <c:pt idx="2778">
                  <c:v>1.6190856281317902</c:v>
                </c:pt>
                <c:pt idx="2779">
                  <c:v>1.6171936203863835</c:v>
                </c:pt>
                <c:pt idx="2780">
                  <c:v>1.5825166659276015</c:v>
                </c:pt>
                <c:pt idx="2781">
                  <c:v>1.6170162446602516</c:v>
                </c:pt>
                <c:pt idx="2782">
                  <c:v>1.6059006991559874</c:v>
                </c:pt>
                <c:pt idx="2783">
                  <c:v>1.6132322291694385</c:v>
                </c:pt>
                <c:pt idx="2784">
                  <c:v>1.6039347848580259</c:v>
                </c:pt>
                <c:pt idx="2785">
                  <c:v>1.5963963164974206</c:v>
                </c:pt>
                <c:pt idx="2786">
                  <c:v>1.6064032637133607</c:v>
                </c:pt>
                <c:pt idx="2787">
                  <c:v>1.6191743159948562</c:v>
                </c:pt>
                <c:pt idx="2788">
                  <c:v>1.6046295064520422</c:v>
                </c:pt>
                <c:pt idx="2789">
                  <c:v>1.6011706797924705</c:v>
                </c:pt>
                <c:pt idx="2790">
                  <c:v>1.5897890706990081</c:v>
                </c:pt>
                <c:pt idx="2791">
                  <c:v>1.5813785050182552</c:v>
                </c:pt>
                <c:pt idx="2792">
                  <c:v>1.5936322114318657</c:v>
                </c:pt>
                <c:pt idx="2793">
                  <c:v>1.5788361196103651</c:v>
                </c:pt>
                <c:pt idx="2794">
                  <c:v>1.5785996186421891</c:v>
                </c:pt>
                <c:pt idx="2795">
                  <c:v>1.5618228312122153</c:v>
                </c:pt>
                <c:pt idx="2796">
                  <c:v>1.544661729708956</c:v>
                </c:pt>
                <c:pt idx="2797">
                  <c:v>1.5099552126291518</c:v>
                </c:pt>
                <c:pt idx="2798">
                  <c:v>1.5278110357264278</c:v>
                </c:pt>
                <c:pt idx="2799">
                  <c:v>1.5175528062318007</c:v>
                </c:pt>
                <c:pt idx="2800">
                  <c:v>1.5018254918481073</c:v>
                </c:pt>
                <c:pt idx="2801">
                  <c:v>1.4483762730403682</c:v>
                </c:pt>
                <c:pt idx="2802">
                  <c:v>1.446972048541824</c:v>
                </c:pt>
                <c:pt idx="2803">
                  <c:v>1.4775250173680399</c:v>
                </c:pt>
                <c:pt idx="2804">
                  <c:v>1.4987805418828435</c:v>
                </c:pt>
                <c:pt idx="2805">
                  <c:v>1.4812794702378316</c:v>
                </c:pt>
                <c:pt idx="2806">
                  <c:v>1.503761843525047</c:v>
                </c:pt>
                <c:pt idx="2807">
                  <c:v>1.505432131612789</c:v>
                </c:pt>
                <c:pt idx="2808">
                  <c:v>1.4855512689755073</c:v>
                </c:pt>
                <c:pt idx="2809">
                  <c:v>1.5006282056967173</c:v>
                </c:pt>
                <c:pt idx="2810">
                  <c:v>1.5108568725703222</c:v>
                </c:pt>
                <c:pt idx="2811">
                  <c:v>1.5021358993688381</c:v>
                </c:pt>
                <c:pt idx="2812">
                  <c:v>1.5090092087564484</c:v>
                </c:pt>
                <c:pt idx="2813">
                  <c:v>1.5155425480023057</c:v>
                </c:pt>
                <c:pt idx="2814">
                  <c:v>1.5274710655846748</c:v>
                </c:pt>
                <c:pt idx="2815">
                  <c:v>1.5458442345498353</c:v>
                </c:pt>
                <c:pt idx="2816">
                  <c:v>1.55054469129233</c:v>
                </c:pt>
                <c:pt idx="2817">
                  <c:v>1.5198586906715152</c:v>
                </c:pt>
                <c:pt idx="2818">
                  <c:v>1.5092752723456462</c:v>
                </c:pt>
                <c:pt idx="2819">
                  <c:v>1.4950704329445852</c:v>
                </c:pt>
                <c:pt idx="2820">
                  <c:v>1.4883153740410626</c:v>
                </c:pt>
                <c:pt idx="2821">
                  <c:v>1.4967555023428378</c:v>
                </c:pt>
                <c:pt idx="2822">
                  <c:v>1.4891579087401889</c:v>
                </c:pt>
                <c:pt idx="2823">
                  <c:v>1.4710064594326933</c:v>
                </c:pt>
                <c:pt idx="2824">
                  <c:v>1.4465581718475162</c:v>
                </c:pt>
                <c:pt idx="2825">
                  <c:v>1.4464251400529169</c:v>
                </c:pt>
                <c:pt idx="2826">
                  <c:v>1.443468877950719</c:v>
                </c:pt>
                <c:pt idx="2827">
                  <c:v>1.4237949536605918</c:v>
                </c:pt>
                <c:pt idx="2828">
                  <c:v>1.4137436625131183</c:v>
                </c:pt>
                <c:pt idx="2829">
                  <c:v>1.4214299439788332</c:v>
                </c:pt>
                <c:pt idx="2830">
                  <c:v>1.4166851433048055</c:v>
                </c:pt>
                <c:pt idx="2831">
                  <c:v>1.4100631161958819</c:v>
                </c:pt>
                <c:pt idx="2832">
                  <c:v>1.4489379628397856</c:v>
                </c:pt>
                <c:pt idx="2833">
                  <c:v>1.4588710035031709</c:v>
                </c:pt>
                <c:pt idx="2834">
                  <c:v>1.4492040264289834</c:v>
                </c:pt>
                <c:pt idx="2835">
                  <c:v>1.4282736907454217</c:v>
                </c:pt>
                <c:pt idx="2836">
                  <c:v>1.4423898422834167</c:v>
                </c:pt>
                <c:pt idx="2837">
                  <c:v>1.4330923979720041</c:v>
                </c:pt>
                <c:pt idx="2838">
                  <c:v>1.4475337383412414</c:v>
                </c:pt>
                <c:pt idx="2839">
                  <c:v>1.4556486778117748</c:v>
                </c:pt>
                <c:pt idx="2840">
                  <c:v>1.4912272922117276</c:v>
                </c:pt>
                <c:pt idx="2841">
                  <c:v>1.504190501529866</c:v>
                </c:pt>
                <c:pt idx="2842">
                  <c:v>1.4972580669002116</c:v>
                </c:pt>
                <c:pt idx="2843">
                  <c:v>1.5001404224498547</c:v>
                </c:pt>
                <c:pt idx="2844">
                  <c:v>1.5090978966195143</c:v>
                </c:pt>
                <c:pt idx="2845">
                  <c:v>1.4993865756137943</c:v>
                </c:pt>
                <c:pt idx="2846">
                  <c:v>1.5089353022038932</c:v>
                </c:pt>
                <c:pt idx="2847">
                  <c:v>1.523376642573131</c:v>
                </c:pt>
                <c:pt idx="2848">
                  <c:v>1.5271163141324111</c:v>
                </c:pt>
                <c:pt idx="2849">
                  <c:v>1.5229775471893339</c:v>
                </c:pt>
                <c:pt idx="2850">
                  <c:v>1.4917298567691013</c:v>
                </c:pt>
                <c:pt idx="2851">
                  <c:v>1.4920698269108539</c:v>
                </c:pt>
                <c:pt idx="2852">
                  <c:v>1.4911386043486616</c:v>
                </c:pt>
                <c:pt idx="2853">
                  <c:v>1.5004803925916073</c:v>
                </c:pt>
                <c:pt idx="2854">
                  <c:v>1.4984110091200686</c:v>
                </c:pt>
                <c:pt idx="2855">
                  <c:v>1.4920402642898321</c:v>
                </c:pt>
                <c:pt idx="2856">
                  <c:v>1.5015742095694207</c:v>
                </c:pt>
                <c:pt idx="2857">
                  <c:v>1.5062155410698712</c:v>
                </c:pt>
                <c:pt idx="2858">
                  <c:v>1.5011307702540906</c:v>
                </c:pt>
                <c:pt idx="2859">
                  <c:v>1.4971102537951015</c:v>
                </c:pt>
                <c:pt idx="2860">
                  <c:v>1.4846052651028043</c:v>
                </c:pt>
                <c:pt idx="2861">
                  <c:v>1.477731955715194</c:v>
                </c:pt>
                <c:pt idx="2862">
                  <c:v>1.4869554934740514</c:v>
                </c:pt>
                <c:pt idx="2863">
                  <c:v>1.4835410107460127</c:v>
                </c:pt>
                <c:pt idx="2864">
                  <c:v>1.4758990732118309</c:v>
                </c:pt>
                <c:pt idx="2865">
                  <c:v>1.4427889376672134</c:v>
                </c:pt>
                <c:pt idx="2866">
                  <c:v>1.4423454983518837</c:v>
                </c:pt>
                <c:pt idx="2867">
                  <c:v>1.42481486408585</c:v>
                </c:pt>
                <c:pt idx="2868">
                  <c:v>1.4121472809779316</c:v>
                </c:pt>
                <c:pt idx="2869">
                  <c:v>1.3877876812558205</c:v>
                </c:pt>
                <c:pt idx="2870">
                  <c:v>1.3858217669578585</c:v>
                </c:pt>
                <c:pt idx="2871">
                  <c:v>1.3871225222828256</c:v>
                </c:pt>
                <c:pt idx="2872">
                  <c:v>1.3742923447592865</c:v>
                </c:pt>
                <c:pt idx="2873">
                  <c:v>1.3845210116328914</c:v>
                </c:pt>
                <c:pt idx="2874">
                  <c:v>1.3698283889849674</c:v>
                </c:pt>
                <c:pt idx="2875">
                  <c:v>1.3473164530767296</c:v>
                </c:pt>
                <c:pt idx="2876">
                  <c:v>1.3252331751733109</c:v>
                </c:pt>
                <c:pt idx="2877">
                  <c:v>1.3538202297015656</c:v>
                </c:pt>
                <c:pt idx="2878">
                  <c:v>1.3475529540449056</c:v>
                </c:pt>
                <c:pt idx="2879">
                  <c:v>1.4077720130666789</c:v>
                </c:pt>
                <c:pt idx="2880">
                  <c:v>1.4415916515158234</c:v>
                </c:pt>
                <c:pt idx="2881">
                  <c:v>1.4227159179932891</c:v>
                </c:pt>
                <c:pt idx="2882">
                  <c:v>1.4045201247542609</c:v>
                </c:pt>
                <c:pt idx="2883">
                  <c:v>1.4187545267763437</c:v>
                </c:pt>
                <c:pt idx="2884">
                  <c:v>1.3835158825181439</c:v>
                </c:pt>
                <c:pt idx="2885">
                  <c:v>1.4036332461236016</c:v>
                </c:pt>
                <c:pt idx="2886">
                  <c:v>1.4282884720559323</c:v>
                </c:pt>
                <c:pt idx="2887">
                  <c:v>1.4291310067550591</c:v>
                </c:pt>
                <c:pt idx="2888">
                  <c:v>1.398356318271178</c:v>
                </c:pt>
                <c:pt idx="2889">
                  <c:v>1.378165048113166</c:v>
                </c:pt>
                <c:pt idx="2890">
                  <c:v>1.4113934341418712</c:v>
                </c:pt>
                <c:pt idx="2891">
                  <c:v>1.4247557388438059</c:v>
                </c:pt>
                <c:pt idx="2892">
                  <c:v>1.4104474302691679</c:v>
                </c:pt>
                <c:pt idx="2893">
                  <c:v>1.445434792248681</c:v>
                </c:pt>
                <c:pt idx="2894">
                  <c:v>1.436492099389532</c:v>
                </c:pt>
                <c:pt idx="2895">
                  <c:v>1.4537862326873903</c:v>
                </c:pt>
                <c:pt idx="2896">
                  <c:v>1.4383249818928947</c:v>
                </c:pt>
                <c:pt idx="2897">
                  <c:v>1.4396700811493948</c:v>
                </c:pt>
                <c:pt idx="2898">
                  <c:v>1.4468242354367136</c:v>
                </c:pt>
                <c:pt idx="2899">
                  <c:v>1.4672372252523913</c:v>
                </c:pt>
                <c:pt idx="2900">
                  <c:v>1.462994989135737</c:v>
                </c:pt>
                <c:pt idx="2901">
                  <c:v>1.4647391837760337</c:v>
                </c:pt>
                <c:pt idx="2902">
                  <c:v>1.4396109559073507</c:v>
                </c:pt>
                <c:pt idx="2903">
                  <c:v>1.4518942249419835</c:v>
                </c:pt>
                <c:pt idx="2904">
                  <c:v>1.4394187988707077</c:v>
                </c:pt>
                <c:pt idx="2905">
                  <c:v>1.4149261673539977</c:v>
                </c:pt>
                <c:pt idx="2906">
                  <c:v>1.4148226981804211</c:v>
                </c:pt>
                <c:pt idx="2907">
                  <c:v>1.404431436891195</c:v>
                </c:pt>
                <c:pt idx="2908">
                  <c:v>1.413329785818811</c:v>
                </c:pt>
                <c:pt idx="2909">
                  <c:v>1.4033819638449145</c:v>
                </c:pt>
                <c:pt idx="2910">
                  <c:v>1.3908769751526173</c:v>
                </c:pt>
                <c:pt idx="2911">
                  <c:v>1.3863243315152323</c:v>
                </c:pt>
                <c:pt idx="2912">
                  <c:v>1.3614473859252363</c:v>
                </c:pt>
                <c:pt idx="2913">
                  <c:v>1.3394380145743723</c:v>
                </c:pt>
                <c:pt idx="2914">
                  <c:v>1.361417823304214</c:v>
                </c:pt>
                <c:pt idx="2915">
                  <c:v>1.3555644243418623</c:v>
                </c:pt>
                <c:pt idx="2916">
                  <c:v>1.3387580742908667</c:v>
                </c:pt>
                <c:pt idx="2917">
                  <c:v>1.3430742169600758</c:v>
                </c:pt>
                <c:pt idx="2918">
                  <c:v>1.3336585221645754</c:v>
                </c:pt>
                <c:pt idx="2919">
                  <c:v>1.3336437408540642</c:v>
                </c:pt>
                <c:pt idx="2920">
                  <c:v>1.3095797673421727</c:v>
                </c:pt>
                <c:pt idx="2921">
                  <c:v>1.2988633172217048</c:v>
                </c:pt>
                <c:pt idx="2922">
                  <c:v>1.2787016096847146</c:v>
                </c:pt>
                <c:pt idx="2923">
                  <c:v>1.2940741726161442</c:v>
                </c:pt>
                <c:pt idx="2924">
                  <c:v>1.3274208091289372</c:v>
                </c:pt>
                <c:pt idx="2925">
                  <c:v>1.2945915184840286</c:v>
                </c:pt>
                <c:pt idx="2926">
                  <c:v>1.3485285205386308</c:v>
                </c:pt>
                <c:pt idx="2927">
                  <c:v>1.3552096728895981</c:v>
                </c:pt>
                <c:pt idx="2928">
                  <c:v>1.3468730137614</c:v>
                </c:pt>
                <c:pt idx="2929">
                  <c:v>1.3186111480643872</c:v>
                </c:pt>
                <c:pt idx="2930">
                  <c:v>1.3104223020412991</c:v>
                </c:pt>
                <c:pt idx="2931">
                  <c:v>1.2959513990510398</c:v>
                </c:pt>
                <c:pt idx="2932">
                  <c:v>1.3058548770934033</c:v>
                </c:pt>
                <c:pt idx="2933">
                  <c:v>1.2965574327819906</c:v>
                </c:pt>
                <c:pt idx="2934">
                  <c:v>1.32103528298819</c:v>
                </c:pt>
                <c:pt idx="2935">
                  <c:v>1.3090919840953101</c:v>
                </c:pt>
                <c:pt idx="2936">
                  <c:v>1.3194684640740251</c:v>
                </c:pt>
                <c:pt idx="2937">
                  <c:v>1.3100971132100572</c:v>
                </c:pt>
                <c:pt idx="2938">
                  <c:v>1.3114569937770684</c:v>
                </c:pt>
                <c:pt idx="2939">
                  <c:v>1.2936011706797927</c:v>
                </c:pt>
                <c:pt idx="2940">
                  <c:v>1.3012874521455076</c:v>
                </c:pt>
                <c:pt idx="2941">
                  <c:v>1.2848949787888193</c:v>
                </c:pt>
                <c:pt idx="2942">
                  <c:v>1.3039776506585077</c:v>
                </c:pt>
                <c:pt idx="2943">
                  <c:v>1.288649431658611</c:v>
                </c:pt>
                <c:pt idx="2944">
                  <c:v>1.2942072044107431</c:v>
                </c:pt>
                <c:pt idx="2945">
                  <c:v>1.3069191314501944</c:v>
                </c:pt>
                <c:pt idx="2946">
                  <c:v>1.310658803009475</c:v>
                </c:pt>
                <c:pt idx="2947">
                  <c:v>1.2977842815544025</c:v>
                </c:pt>
                <c:pt idx="2948">
                  <c:v>1.2947688942101609</c:v>
                </c:pt>
                <c:pt idx="2949">
                  <c:v>1.3002971043412712</c:v>
                </c:pt>
                <c:pt idx="2950">
                  <c:v>1.2928473238437324</c:v>
                </c:pt>
                <c:pt idx="2951">
                  <c:v>1.282618656970127</c:v>
                </c:pt>
                <c:pt idx="2952">
                  <c:v>1.2784798900270498</c:v>
                </c:pt>
                <c:pt idx="2953">
                  <c:v>1.2760114111717145</c:v>
                </c:pt>
                <c:pt idx="2954">
                  <c:v>1.2544454791361805</c:v>
                </c:pt>
                <c:pt idx="2955">
                  <c:v>1.2440985617784874</c:v>
                </c:pt>
                <c:pt idx="2956">
                  <c:v>1.2388955404786191</c:v>
                </c:pt>
                <c:pt idx="2957">
                  <c:v>1.2408318921555588</c:v>
                </c:pt>
                <c:pt idx="2958">
                  <c:v>1.212673495632123</c:v>
                </c:pt>
                <c:pt idx="2959">
                  <c:v>1.1992372843776327</c:v>
                </c:pt>
                <c:pt idx="2960">
                  <c:v>1.2402554210456298</c:v>
                </c:pt>
                <c:pt idx="2961">
                  <c:v>1.2207736537921452</c:v>
                </c:pt>
                <c:pt idx="2962">
                  <c:v>1.2348602427091189</c:v>
                </c:pt>
                <c:pt idx="2963">
                  <c:v>1.2629299513694887</c:v>
                </c:pt>
                <c:pt idx="2964">
                  <c:v>1.2464487901497345</c:v>
                </c:pt>
                <c:pt idx="2965">
                  <c:v>1.2487990185209825</c:v>
                </c:pt>
                <c:pt idx="2966">
                  <c:v>1.2472469809173283</c:v>
                </c:pt>
                <c:pt idx="2967">
                  <c:v>1.2459166629713394</c:v>
                </c:pt>
                <c:pt idx="2968">
                  <c:v>1.2423395858276796</c:v>
                </c:pt>
                <c:pt idx="2969">
                  <c:v>1.2436994663946908</c:v>
                </c:pt>
                <c:pt idx="2970">
                  <c:v>1.2310762272183053</c:v>
                </c:pt>
                <c:pt idx="2971">
                  <c:v>1.2351115249878055</c:v>
                </c:pt>
                <c:pt idx="2972">
                  <c:v>1.2338846762153932</c:v>
                </c:pt>
                <c:pt idx="2973">
                  <c:v>1.210855394439271</c:v>
                </c:pt>
                <c:pt idx="2974">
                  <c:v>1.2366635625914597</c:v>
                </c:pt>
                <c:pt idx="2975">
                  <c:v>1.2144029089619086</c:v>
                </c:pt>
                <c:pt idx="2976">
                  <c:v>1.2200937135086396</c:v>
                </c:pt>
                <c:pt idx="2977">
                  <c:v>1.2287851240891019</c:v>
                </c:pt>
                <c:pt idx="2978">
                  <c:v>1.2174626402376836</c:v>
                </c:pt>
                <c:pt idx="2979">
                  <c:v>1.221571844559739</c:v>
                </c:pt>
                <c:pt idx="2980">
                  <c:v>1.2095398578037928</c:v>
                </c:pt>
                <c:pt idx="2981">
                  <c:v>1.2095250764932821</c:v>
                </c:pt>
                <c:pt idx="2982">
                  <c:v>1.2061992816283094</c:v>
                </c:pt>
                <c:pt idx="2983">
                  <c:v>1.1964731793120778</c:v>
                </c:pt>
                <c:pt idx="2984">
                  <c:v>1.1890233988145389</c:v>
                </c:pt>
                <c:pt idx="2985">
                  <c:v>1.1767401297799065</c:v>
                </c:pt>
                <c:pt idx="2986">
                  <c:v>1.1763114717750875</c:v>
                </c:pt>
                <c:pt idx="2987">
                  <c:v>1.1738577742302634</c:v>
                </c:pt>
                <c:pt idx="2988">
                  <c:v>1.175882813770269</c:v>
                </c:pt>
                <c:pt idx="2989">
                  <c:v>1.1759862829438457</c:v>
                </c:pt>
                <c:pt idx="2990">
                  <c:v>1.1595790282766472</c:v>
                </c:pt>
                <c:pt idx="2991">
                  <c:v>1.1538586611088943</c:v>
                </c:pt>
                <c:pt idx="2992">
                  <c:v>1.1608650022911036</c:v>
                </c:pt>
                <c:pt idx="2993">
                  <c:v>1.1676348425051368</c:v>
                </c:pt>
                <c:pt idx="2994">
                  <c:v>1.1571401120423337</c:v>
                </c:pt>
                <c:pt idx="2995">
                  <c:v>1.1616484117481858</c:v>
                </c:pt>
                <c:pt idx="2996">
                  <c:v>1.1080957237668692</c:v>
                </c:pt>
                <c:pt idx="2997">
                  <c:v>1.0729753299927571</c:v>
                </c:pt>
                <c:pt idx="2998">
                  <c:v>1.0961376435634782</c:v>
                </c:pt>
                <c:pt idx="2999">
                  <c:v>1.0986948102818794</c:v>
                </c:pt>
                <c:pt idx="3000">
                  <c:v>1.1087904453608859</c:v>
                </c:pt>
                <c:pt idx="3001">
                  <c:v>1.1139491227292213</c:v>
                </c:pt>
                <c:pt idx="3002">
                  <c:v>1.1339630171611015</c:v>
                </c:pt>
                <c:pt idx="3003">
                  <c:v>1.1223153444784413</c:v>
                </c:pt>
                <c:pt idx="3004">
                  <c:v>1.1385452234195084</c:v>
                </c:pt>
                <c:pt idx="3005">
                  <c:v>1.1142595302499521</c:v>
                </c:pt>
                <c:pt idx="3006">
                  <c:v>1.0894564912125109</c:v>
                </c:pt>
                <c:pt idx="3007">
                  <c:v>1.098133120482462</c:v>
                </c:pt>
                <c:pt idx="3008">
                  <c:v>1.111480643873886</c:v>
                </c:pt>
                <c:pt idx="3009">
                  <c:v>1.1105346400011826</c:v>
                </c:pt>
                <c:pt idx="3010">
                  <c:v>1.0968028025364731</c:v>
                </c:pt>
                <c:pt idx="3011">
                  <c:v>1.0960932996319452</c:v>
                </c:pt>
                <c:pt idx="3012">
                  <c:v>1.0899886183909069</c:v>
                </c:pt>
                <c:pt idx="3013">
                  <c:v>1.0831005276927854</c:v>
                </c:pt>
                <c:pt idx="3014">
                  <c:v>1.0798042954488345</c:v>
                </c:pt>
                <c:pt idx="3015">
                  <c:v>1.0833665912819832</c:v>
                </c:pt>
                <c:pt idx="3016">
                  <c:v>1.0932996319453685</c:v>
                </c:pt>
                <c:pt idx="3017">
                  <c:v>1.0929596618036155</c:v>
                </c:pt>
                <c:pt idx="3018">
                  <c:v>1.0840613128759999</c:v>
                </c:pt>
                <c:pt idx="3019">
                  <c:v>1.0678166526244217</c:v>
                </c:pt>
                <c:pt idx="3020">
                  <c:v>1.0786809158499993</c:v>
                </c:pt>
                <c:pt idx="3021">
                  <c:v>1.0829083706561424</c:v>
                </c:pt>
                <c:pt idx="3022">
                  <c:v>1.0561246360102285</c:v>
                </c:pt>
                <c:pt idx="3023">
                  <c:v>1.0513650540256898</c:v>
                </c:pt>
                <c:pt idx="3024">
                  <c:v>1.0500051734586791</c:v>
                </c:pt>
                <c:pt idx="3025">
                  <c:v>1.0100808537684953</c:v>
                </c:pt>
                <c:pt idx="3026">
                  <c:v>1.0003990953837967</c:v>
                </c:pt>
                <c:pt idx="3027">
                  <c:v>1.0035918584541705</c:v>
                </c:pt>
                <c:pt idx="3028">
                  <c:v>1.0317354736670952</c:v>
                </c:pt>
                <c:pt idx="3029">
                  <c:v>1.0398651944481396</c:v>
                </c:pt>
                <c:pt idx="3030">
                  <c:v>1.0395991308589418</c:v>
                </c:pt>
                <c:pt idx="3031">
                  <c:v>1.0361403041993702</c:v>
                </c:pt>
                <c:pt idx="3032">
                  <c:v>1.0612980946890751</c:v>
                </c:pt>
                <c:pt idx="3033">
                  <c:v>1.1113476120792871</c:v>
                </c:pt>
                <c:pt idx="3034">
                  <c:v>1.0948960134805552</c:v>
                </c:pt>
                <c:pt idx="3035">
                  <c:v>1.0903729324641924</c:v>
                </c:pt>
                <c:pt idx="3036">
                  <c:v>1.1101651072384078</c:v>
                </c:pt>
                <c:pt idx="3037">
                  <c:v>1.0873575451199504</c:v>
                </c:pt>
                <c:pt idx="3038">
                  <c:v>1.0870323562887085</c:v>
                </c:pt>
                <c:pt idx="3039">
                  <c:v>1.0885548312713405</c:v>
                </c:pt>
                <c:pt idx="3040">
                  <c:v>1.0823171182357028</c:v>
                </c:pt>
                <c:pt idx="3041">
                  <c:v>1.0887617696184941</c:v>
                </c:pt>
                <c:pt idx="3042">
                  <c:v>1.1193738636867545</c:v>
                </c:pt>
                <c:pt idx="3043">
                  <c:v>1.1184426411245623</c:v>
                </c:pt>
                <c:pt idx="3044">
                  <c:v>1.1541395060086028</c:v>
                </c:pt>
                <c:pt idx="3045">
                  <c:v>1.1594164338610264</c:v>
                </c:pt>
                <c:pt idx="3046">
                  <c:v>1.1505624288649434</c:v>
                </c:pt>
                <c:pt idx="3047">
                  <c:v>1.1287008706191894</c:v>
                </c:pt>
                <c:pt idx="3048">
                  <c:v>1.1116432382895067</c:v>
                </c:pt>
                <c:pt idx="3049">
                  <c:v>1.1179252952566774</c:v>
                </c:pt>
                <c:pt idx="3050">
                  <c:v>1.1175114185623696</c:v>
                </c:pt>
                <c:pt idx="3051">
                  <c:v>1.1306963475381728</c:v>
                </c:pt>
                <c:pt idx="3052">
                  <c:v>1.1519814346739983</c:v>
                </c:pt>
                <c:pt idx="3053">
                  <c:v>1.1594459964820483</c:v>
                </c:pt>
                <c:pt idx="3054">
                  <c:v>1.160140718076065</c:v>
                </c:pt>
                <c:pt idx="3055">
                  <c:v>1.1447533738341242</c:v>
                </c:pt>
                <c:pt idx="3056">
                  <c:v>1.1370079671263653</c:v>
                </c:pt>
                <c:pt idx="3057">
                  <c:v>1.1351455220019808</c:v>
                </c:pt>
                <c:pt idx="3058">
                  <c:v>1.1294990613867828</c:v>
                </c:pt>
                <c:pt idx="3059">
                  <c:v>1.1390773505979044</c:v>
                </c:pt>
                <c:pt idx="3060">
                  <c:v>1.1186347981612048</c:v>
                </c:pt>
                <c:pt idx="3061">
                  <c:v>1.1308589419537936</c:v>
                </c:pt>
                <c:pt idx="3062">
                  <c:v>1.1534743470356084</c:v>
                </c:pt>
                <c:pt idx="3063">
                  <c:v>1.1582930542621912</c:v>
                </c:pt>
                <c:pt idx="3064">
                  <c:v>1.1584556486778119</c:v>
                </c:pt>
                <c:pt idx="3065">
                  <c:v>1.1596233722081801</c:v>
                </c:pt>
                <c:pt idx="3066">
                  <c:v>1.1570662054897789</c:v>
                </c:pt>
                <c:pt idx="3067">
                  <c:v>1.1598303105553338</c:v>
                </c:pt>
                <c:pt idx="3068">
                  <c:v>1.1666001507693671</c:v>
                </c:pt>
                <c:pt idx="3069">
                  <c:v>1.1580565532940152</c:v>
                </c:pt>
                <c:pt idx="3070">
                  <c:v>1.1234239427667658</c:v>
                </c:pt>
                <c:pt idx="3071">
                  <c:v>1.1189895496134685</c:v>
                </c:pt>
                <c:pt idx="3072">
                  <c:v>1.1123675225045453</c:v>
                </c:pt>
                <c:pt idx="3073">
                  <c:v>1.1254342009962603</c:v>
                </c:pt>
                <c:pt idx="3074">
                  <c:v>1.1168610408998862</c:v>
                </c:pt>
                <c:pt idx="3075">
                  <c:v>1.0744682423543672</c:v>
                </c:pt>
                <c:pt idx="3076">
                  <c:v>1.0766854389310159</c:v>
                </c:pt>
                <c:pt idx="3077">
                  <c:v>1.0791095738548178</c:v>
                </c:pt>
                <c:pt idx="3078">
                  <c:v>1.0686148433920151</c:v>
                </c:pt>
                <c:pt idx="3079">
                  <c:v>1.0848890662646151</c:v>
                </c:pt>
                <c:pt idx="3080">
                  <c:v>1.0831300903138072</c:v>
                </c:pt>
                <c:pt idx="3081">
                  <c:v>1.0848151597120603</c:v>
                </c:pt>
                <c:pt idx="3082">
                  <c:v>1.0858350701373185</c:v>
                </c:pt>
                <c:pt idx="3083">
                  <c:v>1.0724579841248727</c:v>
                </c:pt>
                <c:pt idx="3084">
                  <c:v>1.089323459417912</c:v>
                </c:pt>
                <c:pt idx="3085">
                  <c:v>1.0888504574815605</c:v>
                </c:pt>
                <c:pt idx="3086">
                  <c:v>1.0961819874950116</c:v>
                </c:pt>
                <c:pt idx="3087">
                  <c:v>1.0962263314265446</c:v>
                </c:pt>
                <c:pt idx="3088">
                  <c:v>1.0923092841411322</c:v>
                </c:pt>
                <c:pt idx="3089">
                  <c:v>1.077557536251164</c:v>
                </c:pt>
                <c:pt idx="3090">
                  <c:v>1.0751925265694058</c:v>
                </c:pt>
                <c:pt idx="3091">
                  <c:v>1.0754585901586036</c:v>
                </c:pt>
                <c:pt idx="3092">
                  <c:v>1.0780601008085378</c:v>
                </c:pt>
                <c:pt idx="3093">
                  <c:v>1.0735222384816638</c:v>
                </c:pt>
                <c:pt idx="3094">
                  <c:v>1.0726649224720264</c:v>
                </c:pt>
                <c:pt idx="3095">
                  <c:v>1.07137894845757</c:v>
                </c:pt>
                <c:pt idx="3096">
                  <c:v>1.0608546553737455</c:v>
                </c:pt>
                <c:pt idx="3097">
                  <c:v>1.0560655107681849</c:v>
                </c:pt>
                <c:pt idx="3098">
                  <c:v>1.0176488847501219</c:v>
                </c:pt>
                <c:pt idx="3099">
                  <c:v>1.032637133608266</c:v>
                </c:pt>
                <c:pt idx="3100">
                  <c:v>1.0388157214018596</c:v>
                </c:pt>
                <c:pt idx="3101">
                  <c:v>1.0476549450874315</c:v>
                </c:pt>
                <c:pt idx="3102">
                  <c:v>1.0486452928916679</c:v>
                </c:pt>
                <c:pt idx="3103">
                  <c:v>1.010287792115649</c:v>
                </c:pt>
                <c:pt idx="3104">
                  <c:v>0.97757675195482863</c:v>
                </c:pt>
                <c:pt idx="3105">
                  <c:v>0.9781975669962899</c:v>
                </c:pt>
                <c:pt idx="3106">
                  <c:v>0.99624554713020852</c:v>
                </c:pt>
                <c:pt idx="3107">
                  <c:v>1.0141900580905503</c:v>
                </c:pt>
                <c:pt idx="3108">
                  <c:v>1.0346621731482712</c:v>
                </c:pt>
                <c:pt idx="3109">
                  <c:v>1.0291487443276721</c:v>
                </c:pt>
                <c:pt idx="3110">
                  <c:v>1.0156829704521604</c:v>
                </c:pt>
                <c:pt idx="3111">
                  <c:v>1.0008573160096375</c:v>
                </c:pt>
                <c:pt idx="3112">
                  <c:v>1.0054986475100884</c:v>
                </c:pt>
                <c:pt idx="3113">
                  <c:v>0.97295020176488856</c:v>
                </c:pt>
                <c:pt idx="3114">
                  <c:v>0.98283889849674089</c:v>
                </c:pt>
                <c:pt idx="3115">
                  <c:v>0.98286846111776272</c:v>
                </c:pt>
                <c:pt idx="3116">
                  <c:v>0.99911312136934072</c:v>
                </c:pt>
                <c:pt idx="3117">
                  <c:v>1.0023945723027805</c:v>
                </c:pt>
                <c:pt idx="3118">
                  <c:v>1.0214624628619573</c:v>
                </c:pt>
                <c:pt idx="3119">
                  <c:v>1.0309816268310348</c:v>
                </c:pt>
                <c:pt idx="3120">
                  <c:v>1.0184027315861823</c:v>
                </c:pt>
                <c:pt idx="3121">
                  <c:v>1.013450992565001</c:v>
                </c:pt>
                <c:pt idx="3122">
                  <c:v>0.96449529215260221</c:v>
                </c:pt>
                <c:pt idx="3123">
                  <c:v>0.96864884040619037</c:v>
                </c:pt>
                <c:pt idx="3124">
                  <c:v>0.95111820614015641</c:v>
                </c:pt>
                <c:pt idx="3125">
                  <c:v>0.9418503244497658</c:v>
                </c:pt>
                <c:pt idx="3126">
                  <c:v>0.97333451583817432</c:v>
                </c:pt>
                <c:pt idx="3127">
                  <c:v>0.95927748954222292</c:v>
                </c:pt>
                <c:pt idx="3128">
                  <c:v>1.0038874846643906</c:v>
                </c:pt>
                <c:pt idx="3129">
                  <c:v>1.007272404771407</c:v>
                </c:pt>
                <c:pt idx="3130">
                  <c:v>0.98776107489690035</c:v>
                </c:pt>
                <c:pt idx="3131">
                  <c:v>0.98489350065776837</c:v>
                </c:pt>
                <c:pt idx="3132">
                  <c:v>0.96458398001566814</c:v>
                </c:pt>
                <c:pt idx="3133">
                  <c:v>0.94356495646904071</c:v>
                </c:pt>
                <c:pt idx="3134">
                  <c:v>0.95731157524426136</c:v>
                </c:pt>
                <c:pt idx="3135">
                  <c:v>0.93477007671500179</c:v>
                </c:pt>
                <c:pt idx="3136">
                  <c:v>0.95949920919988796</c:v>
                </c:pt>
                <c:pt idx="3137">
                  <c:v>0.94372755088466143</c:v>
                </c:pt>
                <c:pt idx="3138">
                  <c:v>0.94393448923181555</c:v>
                </c:pt>
                <c:pt idx="3139">
                  <c:v>0.90013746618775237</c:v>
                </c:pt>
                <c:pt idx="3140">
                  <c:v>0.88931754689370779</c:v>
                </c:pt>
                <c:pt idx="3141">
                  <c:v>0.88911060854655366</c:v>
                </c:pt>
                <c:pt idx="3142">
                  <c:v>0.93683946018654018</c:v>
                </c:pt>
                <c:pt idx="3143">
                  <c:v>0.94125907202932613</c:v>
                </c:pt>
                <c:pt idx="3144">
                  <c:v>0.96949137510531713</c:v>
                </c:pt>
                <c:pt idx="3145">
                  <c:v>0.94791066175927163</c:v>
                </c:pt>
                <c:pt idx="3146">
                  <c:v>0.9521381165654148</c:v>
                </c:pt>
                <c:pt idx="3147">
                  <c:v>0.94944791805241446</c:v>
                </c:pt>
                <c:pt idx="3148">
                  <c:v>0.94615168580846398</c:v>
                </c:pt>
                <c:pt idx="3149">
                  <c:v>0.9452056819357606</c:v>
                </c:pt>
                <c:pt idx="3150">
                  <c:v>0.91450490000443452</c:v>
                </c:pt>
                <c:pt idx="3151">
                  <c:v>0.92875408333702869</c:v>
                </c:pt>
                <c:pt idx="3152">
                  <c:v>0.95822801649594247</c:v>
                </c:pt>
                <c:pt idx="3153">
                  <c:v>0.96688986445538272</c:v>
                </c:pt>
                <c:pt idx="3154">
                  <c:v>0.97825669223833378</c:v>
                </c:pt>
                <c:pt idx="3155">
                  <c:v>1.000487783246863</c:v>
                </c:pt>
                <c:pt idx="3156">
                  <c:v>1.0072871860819181</c:v>
                </c:pt>
                <c:pt idx="3157">
                  <c:v>1.0022467591976705</c:v>
                </c:pt>
                <c:pt idx="3158">
                  <c:v>1.0157568770047152</c:v>
                </c:pt>
                <c:pt idx="3159">
                  <c:v>1.0244187249641552</c:v>
                </c:pt>
                <c:pt idx="3160">
                  <c:v>1.0237092220596278</c:v>
                </c:pt>
                <c:pt idx="3161">
                  <c:v>1.0569228267778219</c:v>
                </c:pt>
                <c:pt idx="3162">
                  <c:v>1.0727979542666253</c:v>
                </c:pt>
                <c:pt idx="3163">
                  <c:v>1.0779861942559825</c:v>
                </c:pt>
                <c:pt idx="3164">
                  <c:v>1.0662941776417898</c:v>
                </c:pt>
                <c:pt idx="3165">
                  <c:v>1.074349991870279</c:v>
                </c:pt>
                <c:pt idx="3166">
                  <c:v>1.0693539089175648</c:v>
                </c:pt>
                <c:pt idx="3167">
                  <c:v>1.0556220714528552</c:v>
                </c:pt>
                <c:pt idx="3168">
                  <c:v>1.0279514581762821</c:v>
                </c:pt>
                <c:pt idx="3169">
                  <c:v>1.0205164589892544</c:v>
                </c:pt>
                <c:pt idx="3170">
                  <c:v>1.0376479978714914</c:v>
                </c:pt>
                <c:pt idx="3171">
                  <c:v>1.0352682068792221</c:v>
                </c:pt>
                <c:pt idx="3172">
                  <c:v>1.047418444119256</c:v>
                </c:pt>
                <c:pt idx="3173">
                  <c:v>1.0557551032474541</c:v>
                </c:pt>
                <c:pt idx="3174">
                  <c:v>1.0244039436536445</c:v>
                </c:pt>
                <c:pt idx="3175">
                  <c:v>1.0254238540789027</c:v>
                </c:pt>
                <c:pt idx="3176">
                  <c:v>1.0510103025734261</c:v>
                </c:pt>
                <c:pt idx="3177">
                  <c:v>1.0231327509496992</c:v>
                </c:pt>
                <c:pt idx="3178">
                  <c:v>1.0081740647125774</c:v>
                </c:pt>
                <c:pt idx="3179">
                  <c:v>1.0430727388290246</c:v>
                </c:pt>
                <c:pt idx="3180">
                  <c:v>1.0665454599204764</c:v>
                </c:pt>
                <c:pt idx="3181">
                  <c:v>1.067846215245444</c:v>
                </c:pt>
                <c:pt idx="3182">
                  <c:v>1.0891608650022913</c:v>
                </c:pt>
                <c:pt idx="3183">
                  <c:v>1.0975270867515112</c:v>
                </c:pt>
                <c:pt idx="3184">
                  <c:v>1.0819032415413954</c:v>
                </c:pt>
                <c:pt idx="3185">
                  <c:v>1.0742317413861913</c:v>
                </c:pt>
                <c:pt idx="3186">
                  <c:v>1.0775723175616752</c:v>
                </c:pt>
                <c:pt idx="3187">
                  <c:v>1.087889672298346</c:v>
                </c:pt>
                <c:pt idx="3188">
                  <c:v>1.0937874151922311</c:v>
                </c:pt>
                <c:pt idx="3189">
                  <c:v>1.0651116728009105</c:v>
                </c:pt>
                <c:pt idx="3190">
                  <c:v>1.058711365349652</c:v>
                </c:pt>
                <c:pt idx="3191">
                  <c:v>1.0736552702762627</c:v>
                </c:pt>
                <c:pt idx="3192">
                  <c:v>1.0775427549406529</c:v>
                </c:pt>
                <c:pt idx="3193">
                  <c:v>1.0837952492868017</c:v>
                </c:pt>
                <c:pt idx="3194">
                  <c:v>1.0755472780216695</c:v>
                </c:pt>
                <c:pt idx="3195">
                  <c:v>1.0732266122714438</c:v>
                </c:pt>
                <c:pt idx="3196">
                  <c:v>1.0609285619263003</c:v>
                </c:pt>
                <c:pt idx="3197">
                  <c:v>1.063397040781636</c:v>
                </c:pt>
                <c:pt idx="3198">
                  <c:v>1.0266507028513145</c:v>
                </c:pt>
                <c:pt idx="3199">
                  <c:v>1.0263255140200731</c:v>
                </c:pt>
                <c:pt idx="3200">
                  <c:v>1.0189939840066224</c:v>
                </c:pt>
                <c:pt idx="3201">
                  <c:v>0.99936440364802759</c:v>
                </c:pt>
                <c:pt idx="3202">
                  <c:v>0.98566212880433968</c:v>
                </c:pt>
                <c:pt idx="3203">
                  <c:v>1.0166585369458856</c:v>
                </c:pt>
                <c:pt idx="3204">
                  <c:v>1.0244926315167104</c:v>
                </c:pt>
                <c:pt idx="3205">
                  <c:v>1.0310850960046118</c:v>
                </c:pt>
                <c:pt idx="3206">
                  <c:v>1.0186540138648694</c:v>
                </c:pt>
                <c:pt idx="3207">
                  <c:v>1.0282618656970128</c:v>
                </c:pt>
                <c:pt idx="3208">
                  <c:v>1.0214772441724684</c:v>
                </c:pt>
                <c:pt idx="3209">
                  <c:v>1.0187427017279354</c:v>
                </c:pt>
                <c:pt idx="3210">
                  <c:v>1.0153725629314296</c:v>
                </c:pt>
                <c:pt idx="3211">
                  <c:v>1.0067994028350555</c:v>
                </c:pt>
                <c:pt idx="3212">
                  <c:v>1.0135248991175558</c:v>
                </c:pt>
                <c:pt idx="3213">
                  <c:v>1.0120763306874787</c:v>
                </c:pt>
                <c:pt idx="3214">
                  <c:v>1.0073610926344729</c:v>
                </c:pt>
                <c:pt idx="3215">
                  <c:v>0.98546997176769713</c:v>
                </c:pt>
                <c:pt idx="3216">
                  <c:v>0.99621598450918669</c:v>
                </c:pt>
                <c:pt idx="3217">
                  <c:v>0.99809321094408232</c:v>
                </c:pt>
                <c:pt idx="3218">
                  <c:v>0.98459787444754876</c:v>
                </c:pt>
                <c:pt idx="3219">
                  <c:v>0.99835927453328033</c:v>
                </c:pt>
                <c:pt idx="3220">
                  <c:v>0.99541779374159334</c:v>
                </c:pt>
                <c:pt idx="3221">
                  <c:v>0.99111643238289515</c:v>
                </c:pt>
                <c:pt idx="3222">
                  <c:v>0.98709591592390589</c:v>
                </c:pt>
                <c:pt idx="3223">
                  <c:v>0.98793845062303243</c:v>
                </c:pt>
                <c:pt idx="3224">
                  <c:v>0.95932183347375588</c:v>
                </c:pt>
                <c:pt idx="3225">
                  <c:v>0.95717854344966224</c:v>
                </c:pt>
                <c:pt idx="3226">
                  <c:v>0.93991397277282629</c:v>
                </c:pt>
                <c:pt idx="3227">
                  <c:v>0.94080085140348557</c:v>
                </c:pt>
                <c:pt idx="3228">
                  <c:v>0.94570824649313412</c:v>
                </c:pt>
                <c:pt idx="3229">
                  <c:v>0.94881232170044205</c:v>
                </c:pt>
                <c:pt idx="3230">
                  <c:v>0.96007568030981627</c:v>
                </c:pt>
                <c:pt idx="3231">
                  <c:v>0.94322498632728791</c:v>
                </c:pt>
                <c:pt idx="3232">
                  <c:v>0.94522046324627151</c:v>
                </c:pt>
                <c:pt idx="3233">
                  <c:v>0.94430402199459018</c:v>
                </c:pt>
                <c:pt idx="3234">
                  <c:v>0.94300326666962309</c:v>
                </c:pt>
                <c:pt idx="3235">
                  <c:v>0.93345454007952355</c:v>
                </c:pt>
                <c:pt idx="3236">
                  <c:v>0.91221379687523108</c:v>
                </c:pt>
                <c:pt idx="3237">
                  <c:v>0.90544395666119759</c:v>
                </c:pt>
                <c:pt idx="3238">
                  <c:v>0.91491877669874211</c:v>
                </c:pt>
                <c:pt idx="3239">
                  <c:v>0.9104548209244232</c:v>
                </c:pt>
                <c:pt idx="3240">
                  <c:v>0.90986356850398353</c:v>
                </c:pt>
                <c:pt idx="3241">
                  <c:v>0.89304243714247722</c:v>
                </c:pt>
                <c:pt idx="3242">
                  <c:v>0.88877063840480086</c:v>
                </c:pt>
                <c:pt idx="3243">
                  <c:v>0.89357456432087279</c:v>
                </c:pt>
                <c:pt idx="3244">
                  <c:v>0.88801679156874047</c:v>
                </c:pt>
                <c:pt idx="3245">
                  <c:v>0.88766204011647676</c:v>
                </c:pt>
                <c:pt idx="3246">
                  <c:v>0.85889760986209041</c:v>
                </c:pt>
                <c:pt idx="3247">
                  <c:v>0.86690908015904689</c:v>
                </c:pt>
                <c:pt idx="3248">
                  <c:v>0.84713168669534267</c:v>
                </c:pt>
                <c:pt idx="3249">
                  <c:v>0.8704713759921956</c:v>
                </c:pt>
                <c:pt idx="3250">
                  <c:v>0.87032356288708557</c:v>
                </c:pt>
                <c:pt idx="3251">
                  <c:v>0.85357633807813404</c:v>
                </c:pt>
                <c:pt idx="3252">
                  <c:v>0.83838115087283649</c:v>
                </c:pt>
                <c:pt idx="3253">
                  <c:v>0.83480407372917687</c:v>
                </c:pt>
                <c:pt idx="3254">
                  <c:v>0.78166526244216805</c:v>
                </c:pt>
                <c:pt idx="3255">
                  <c:v>0.80281731778339482</c:v>
                </c:pt>
                <c:pt idx="3256">
                  <c:v>0.79703782537359769</c:v>
                </c:pt>
                <c:pt idx="3257">
                  <c:v>0.7912287703427785</c:v>
                </c:pt>
                <c:pt idx="3258">
                  <c:v>0.8117895732635656</c:v>
                </c:pt>
                <c:pt idx="3259">
                  <c:v>0.82766470075236875</c:v>
                </c:pt>
                <c:pt idx="3260">
                  <c:v>0.85533531402894192</c:v>
                </c:pt>
                <c:pt idx="3261">
                  <c:v>0.82453106292403877</c:v>
                </c:pt>
                <c:pt idx="3262">
                  <c:v>0.86393803674633807</c:v>
                </c:pt>
                <c:pt idx="3263">
                  <c:v>0.86018358387654659</c:v>
                </c:pt>
                <c:pt idx="3264">
                  <c:v>0.85812898171551888</c:v>
                </c:pt>
                <c:pt idx="3265">
                  <c:v>0.83920890426145189</c:v>
                </c:pt>
                <c:pt idx="3266">
                  <c:v>0.83965234357678153</c:v>
                </c:pt>
                <c:pt idx="3267">
                  <c:v>0.84317029547839728</c:v>
                </c:pt>
                <c:pt idx="3268">
                  <c:v>0.76664745096300257</c:v>
                </c:pt>
                <c:pt idx="3269">
                  <c:v>0.76274518498810107</c:v>
                </c:pt>
                <c:pt idx="3270">
                  <c:v>0.71266610497686744</c:v>
                </c:pt>
                <c:pt idx="3271">
                  <c:v>0.71727787385629616</c:v>
                </c:pt>
                <c:pt idx="3272">
                  <c:v>0.75607881394764465</c:v>
                </c:pt>
                <c:pt idx="3273">
                  <c:v>0.7633807813400737</c:v>
                </c:pt>
                <c:pt idx="3274">
                  <c:v>0.79689001226848788</c:v>
                </c:pt>
                <c:pt idx="3275">
                  <c:v>0.79759951517301553</c:v>
                </c:pt>
                <c:pt idx="3276">
                  <c:v>0.82831507841485252</c:v>
                </c:pt>
                <c:pt idx="3277">
                  <c:v>0.85920801738282115</c:v>
                </c:pt>
                <c:pt idx="3278">
                  <c:v>0.85029488714469426</c:v>
                </c:pt>
                <c:pt idx="3279">
                  <c:v>0.86813592893145897</c:v>
                </c:pt>
                <c:pt idx="3280">
                  <c:v>0.83242428273690772</c:v>
                </c:pt>
                <c:pt idx="3281">
                  <c:v>0.81677087490576916</c:v>
                </c:pt>
                <c:pt idx="3282">
                  <c:v>0.88597697071822412</c:v>
                </c:pt>
                <c:pt idx="3283">
                  <c:v>0.86410063116195879</c:v>
                </c:pt>
                <c:pt idx="3284">
                  <c:v>0.85243817716878789</c:v>
                </c:pt>
                <c:pt idx="3285">
                  <c:v>0.86414497509349197</c:v>
                </c:pt>
                <c:pt idx="3286">
                  <c:v>0.82977842815544056</c:v>
                </c:pt>
                <c:pt idx="3287">
                  <c:v>0.80077749693287803</c:v>
                </c:pt>
                <c:pt idx="3288">
                  <c:v>0.85254164634236473</c:v>
                </c:pt>
                <c:pt idx="3289">
                  <c:v>0.89953143245680156</c:v>
                </c:pt>
                <c:pt idx="3290">
                  <c:v>0.89879236693125208</c:v>
                </c:pt>
                <c:pt idx="3291">
                  <c:v>0.83583876546494618</c:v>
                </c:pt>
                <c:pt idx="3292">
                  <c:v>0.81669696835321415</c:v>
                </c:pt>
                <c:pt idx="3293">
                  <c:v>0.85385718297784297</c:v>
                </c:pt>
                <c:pt idx="3294">
                  <c:v>0.830295774023325</c:v>
                </c:pt>
                <c:pt idx="3295">
                  <c:v>0.79650569819520212</c:v>
                </c:pt>
                <c:pt idx="3296">
                  <c:v>0.78836119610364674</c:v>
                </c:pt>
                <c:pt idx="3297">
                  <c:v>0.81127222739568117</c:v>
                </c:pt>
                <c:pt idx="3298">
                  <c:v>0.77502845402273368</c:v>
                </c:pt>
                <c:pt idx="3299">
                  <c:v>0.81008972255480161</c:v>
                </c:pt>
                <c:pt idx="3300">
                  <c:v>0.77916722096581092</c:v>
                </c:pt>
                <c:pt idx="3301">
                  <c:v>0.78447371143925637</c:v>
                </c:pt>
                <c:pt idx="3302">
                  <c:v>0.76716479683088701</c:v>
                </c:pt>
                <c:pt idx="3303">
                  <c:v>0.76620401164767293</c:v>
                </c:pt>
                <c:pt idx="3304">
                  <c:v>0.70792130430283962</c:v>
                </c:pt>
                <c:pt idx="3305">
                  <c:v>0.72197833059879102</c:v>
                </c:pt>
                <c:pt idx="3306">
                  <c:v>0.69102626638877807</c:v>
                </c:pt>
                <c:pt idx="3307">
                  <c:v>0.66134539488271038</c:v>
                </c:pt>
                <c:pt idx="3308">
                  <c:v>0.62480599529954328</c:v>
                </c:pt>
                <c:pt idx="3309">
                  <c:v>0.67238703383442</c:v>
                </c:pt>
                <c:pt idx="3310">
                  <c:v>0.71522327169526867</c:v>
                </c:pt>
                <c:pt idx="3311">
                  <c:v>0.70141752767800392</c:v>
                </c:pt>
                <c:pt idx="3312">
                  <c:v>0.73736567484073157</c:v>
                </c:pt>
                <c:pt idx="3313">
                  <c:v>0.71899250587557106</c:v>
                </c:pt>
                <c:pt idx="3314">
                  <c:v>0.6797924704004259</c:v>
                </c:pt>
                <c:pt idx="3315">
                  <c:v>0.66963771007937556</c:v>
                </c:pt>
                <c:pt idx="3316">
                  <c:v>0.72462418518025817</c:v>
                </c:pt>
                <c:pt idx="3317">
                  <c:v>0.77684655521558543</c:v>
                </c:pt>
                <c:pt idx="3318">
                  <c:v>0.77980281731778334</c:v>
                </c:pt>
                <c:pt idx="3319">
                  <c:v>0.79742213944688345</c:v>
                </c:pt>
                <c:pt idx="3320">
                  <c:v>0.78722303519430015</c:v>
                </c:pt>
                <c:pt idx="3321">
                  <c:v>0.75702481782034803</c:v>
                </c:pt>
                <c:pt idx="3322">
                  <c:v>0.73365556590247283</c:v>
                </c:pt>
                <c:pt idx="3323">
                  <c:v>0.71798737676082358</c:v>
                </c:pt>
                <c:pt idx="3324">
                  <c:v>0.70610320310998786</c:v>
                </c:pt>
                <c:pt idx="3325">
                  <c:v>0.75291561349829306</c:v>
                </c:pt>
                <c:pt idx="3326">
                  <c:v>0.77171744046827184</c:v>
                </c:pt>
                <c:pt idx="3327">
                  <c:v>0.7223774259825877</c:v>
                </c:pt>
                <c:pt idx="3328">
                  <c:v>0.73528151005868181</c:v>
                </c:pt>
                <c:pt idx="3329">
                  <c:v>0.78029060056464616</c:v>
                </c:pt>
                <c:pt idx="3330">
                  <c:v>0.80167915687404867</c:v>
                </c:pt>
                <c:pt idx="3331">
                  <c:v>0.7928547144989877</c:v>
                </c:pt>
                <c:pt idx="3332">
                  <c:v>0.78865682231386636</c:v>
                </c:pt>
                <c:pt idx="3333">
                  <c:v>0.73946462093329202</c:v>
                </c:pt>
                <c:pt idx="3334">
                  <c:v>0.71355298360752673</c:v>
                </c:pt>
                <c:pt idx="3335">
                  <c:v>0.74064712577417113</c:v>
                </c:pt>
                <c:pt idx="3336">
                  <c:v>0.71810562724491156</c:v>
                </c:pt>
                <c:pt idx="3337">
                  <c:v>0.66115323784606739</c:v>
                </c:pt>
                <c:pt idx="3338">
                  <c:v>0.66072457984124866</c:v>
                </c:pt>
                <c:pt idx="3339">
                  <c:v>0.68603018343606359</c:v>
                </c:pt>
                <c:pt idx="3340">
                  <c:v>0.76472588059657398</c:v>
                </c:pt>
                <c:pt idx="3341">
                  <c:v>0.76305559250883181</c:v>
                </c:pt>
                <c:pt idx="3342">
                  <c:v>0.78039406973822301</c:v>
                </c:pt>
                <c:pt idx="3343">
                  <c:v>0.74243566434600083</c:v>
                </c:pt>
                <c:pt idx="3344">
                  <c:v>0.73331559576072047</c:v>
                </c:pt>
                <c:pt idx="3345">
                  <c:v>0.6566301568297046</c:v>
                </c:pt>
                <c:pt idx="3346">
                  <c:v>0.73315300134509931</c:v>
                </c:pt>
                <c:pt idx="3347">
                  <c:v>0.65470858646327601</c:v>
                </c:pt>
                <c:pt idx="3348">
                  <c:v>0.7728408200671073</c:v>
                </c:pt>
                <c:pt idx="3349">
                  <c:v>0.77386073049236548</c:v>
                </c:pt>
                <c:pt idx="3350">
                  <c:v>0.8629476889421015</c:v>
                </c:pt>
                <c:pt idx="3351">
                  <c:v>0.85365024463068906</c:v>
                </c:pt>
                <c:pt idx="3352">
                  <c:v>0.90226597490133487</c:v>
                </c:pt>
                <c:pt idx="3353">
                  <c:v>0.91015919471420337</c:v>
                </c:pt>
                <c:pt idx="3354">
                  <c:v>0.92256071423292418</c:v>
                </c:pt>
                <c:pt idx="3355">
                  <c:v>0.92879842726856188</c:v>
                </c:pt>
                <c:pt idx="3356">
                  <c:v>0.96878187220078948</c:v>
                </c:pt>
                <c:pt idx="3357">
                  <c:v>0.97689681167132303</c:v>
                </c:pt>
                <c:pt idx="3358">
                  <c:v>0.98811582634916406</c:v>
                </c:pt>
                <c:pt idx="3359">
                  <c:v>0.98631250646682345</c:v>
                </c:pt>
                <c:pt idx="3360">
                  <c:v>0.95976527278908552</c:v>
                </c:pt>
                <c:pt idx="3361">
                  <c:v>0.96108080942456375</c:v>
                </c:pt>
                <c:pt idx="3362">
                  <c:v>0.92961139934666615</c:v>
                </c:pt>
                <c:pt idx="3363">
                  <c:v>0.94542740159342542</c:v>
                </c:pt>
                <c:pt idx="3364">
                  <c:v>0.93468138885193564</c:v>
                </c:pt>
                <c:pt idx="3365">
                  <c:v>0.94776284865416183</c:v>
                </c:pt>
                <c:pt idx="3366">
                  <c:v>0.94173207396567804</c:v>
                </c:pt>
                <c:pt idx="3367">
                  <c:v>0.95037914061460693</c:v>
                </c:pt>
                <c:pt idx="3368">
                  <c:v>0.98631250646682345</c:v>
                </c:pt>
                <c:pt idx="3369">
                  <c:v>1.000236500968176</c:v>
                </c:pt>
                <c:pt idx="3370">
                  <c:v>0.97954266625279018</c:v>
                </c:pt>
                <c:pt idx="3371">
                  <c:v>0.97756197064431749</c:v>
                </c:pt>
                <c:pt idx="3372">
                  <c:v>0.98020782522578465</c:v>
                </c:pt>
                <c:pt idx="3373">
                  <c:v>0.95207899132337093</c:v>
                </c:pt>
                <c:pt idx="3374">
                  <c:v>0.93252331751733131</c:v>
                </c:pt>
                <c:pt idx="3375">
                  <c:v>0.91664819002852815</c:v>
                </c:pt>
                <c:pt idx="3376">
                  <c:v>0.89215555851181749</c:v>
                </c:pt>
                <c:pt idx="3377">
                  <c:v>0.8749353317665145</c:v>
                </c:pt>
                <c:pt idx="3378">
                  <c:v>0.89718120408555424</c:v>
                </c:pt>
                <c:pt idx="3379">
                  <c:v>0.9025616011115547</c:v>
                </c:pt>
                <c:pt idx="3380">
                  <c:v>0.91494833931976416</c:v>
                </c:pt>
                <c:pt idx="3381">
                  <c:v>0.88958361048290535</c:v>
                </c:pt>
                <c:pt idx="3382">
                  <c:v>0.87944363147236637</c:v>
                </c:pt>
                <c:pt idx="3383">
                  <c:v>0.87373804561512447</c:v>
                </c:pt>
                <c:pt idx="3384">
                  <c:v>0.87045659468168468</c:v>
                </c:pt>
                <c:pt idx="3385">
                  <c:v>0.90364063677885675</c:v>
                </c:pt>
                <c:pt idx="3386">
                  <c:v>0.87993141471922898</c:v>
                </c:pt>
                <c:pt idx="3387">
                  <c:v>0.87867500332579507</c:v>
                </c:pt>
                <c:pt idx="3388">
                  <c:v>0.9053109248665987</c:v>
                </c:pt>
                <c:pt idx="3389">
                  <c:v>0.89135736774422414</c:v>
                </c:pt>
                <c:pt idx="3390">
                  <c:v>0.89930971279913696</c:v>
                </c:pt>
                <c:pt idx="3391">
                  <c:v>0.90112781399198871</c:v>
                </c:pt>
                <c:pt idx="3392">
                  <c:v>0.92180686739686357</c:v>
                </c:pt>
                <c:pt idx="3393">
                  <c:v>0.94069738222990873</c:v>
                </c:pt>
                <c:pt idx="3394">
                  <c:v>0.94307717322217788</c:v>
                </c:pt>
                <c:pt idx="3395">
                  <c:v>0.98838188993836207</c:v>
                </c:pt>
                <c:pt idx="3396">
                  <c:v>0.96754024211786605</c:v>
                </c:pt>
                <c:pt idx="3397">
                  <c:v>0.9595435531314207</c:v>
                </c:pt>
                <c:pt idx="3398">
                  <c:v>0.95182770904468406</c:v>
                </c:pt>
                <c:pt idx="3399">
                  <c:v>0.94563433994057911</c:v>
                </c:pt>
                <c:pt idx="3400">
                  <c:v>0.94724550278627695</c:v>
                </c:pt>
                <c:pt idx="3401">
                  <c:v>0.97074778649875104</c:v>
                </c:pt>
                <c:pt idx="3402">
                  <c:v>0.98601688025660339</c:v>
                </c:pt>
                <c:pt idx="3403">
                  <c:v>0.98170073758739473</c:v>
                </c:pt>
                <c:pt idx="3404">
                  <c:v>0.96440660428953651</c:v>
                </c:pt>
                <c:pt idx="3405">
                  <c:v>0.96513088850457485</c:v>
                </c:pt>
                <c:pt idx="3406">
                  <c:v>0.97739937622869655</c:v>
                </c:pt>
                <c:pt idx="3407">
                  <c:v>0.99348144206465361</c:v>
                </c:pt>
                <c:pt idx="3408">
                  <c:v>0.98377012105893313</c:v>
                </c:pt>
                <c:pt idx="3409">
                  <c:v>1.0060603373095063</c:v>
                </c:pt>
                <c:pt idx="3410">
                  <c:v>0.98999305278405991</c:v>
                </c:pt>
                <c:pt idx="3411">
                  <c:v>0.98099123468286709</c:v>
                </c:pt>
                <c:pt idx="3412">
                  <c:v>0.97345276632226208</c:v>
                </c:pt>
                <c:pt idx="3413">
                  <c:v>0.99151552776669183</c:v>
                </c:pt>
                <c:pt idx="3414">
                  <c:v>1.0052621465419125</c:v>
                </c:pt>
                <c:pt idx="3415">
                  <c:v>1.012061549376968</c:v>
                </c:pt>
                <c:pt idx="3416">
                  <c:v>1.0155942825890945</c:v>
                </c:pt>
                <c:pt idx="3417">
                  <c:v>1.0109677323991546</c:v>
                </c:pt>
                <c:pt idx="3418">
                  <c:v>1.0038431407328576</c:v>
                </c:pt>
                <c:pt idx="3419">
                  <c:v>0.99139727728260407</c:v>
                </c:pt>
                <c:pt idx="3420">
                  <c:v>0.97367448597992712</c:v>
                </c:pt>
                <c:pt idx="3421">
                  <c:v>0.97682290511876801</c:v>
                </c:pt>
                <c:pt idx="3422">
                  <c:v>0.96644642514005286</c:v>
                </c:pt>
                <c:pt idx="3423">
                  <c:v>0.94022438029355682</c:v>
                </c:pt>
                <c:pt idx="3424">
                  <c:v>0.9291679600313365</c:v>
                </c:pt>
                <c:pt idx="3425">
                  <c:v>0.95065998551431585</c:v>
                </c:pt>
                <c:pt idx="3426">
                  <c:v>0.94303282929064491</c:v>
                </c:pt>
                <c:pt idx="3427">
                  <c:v>0.94287023487502419</c:v>
                </c:pt>
                <c:pt idx="3428">
                  <c:v>0.94250070211224957</c:v>
                </c:pt>
                <c:pt idx="3429">
                  <c:v>0.95772545193856895</c:v>
                </c:pt>
                <c:pt idx="3430">
                  <c:v>0.96320931813814625</c:v>
                </c:pt>
                <c:pt idx="3431">
                  <c:v>0.97110253795101475</c:v>
                </c:pt>
                <c:pt idx="3432">
                  <c:v>0.97410314398474562</c:v>
                </c:pt>
                <c:pt idx="3433">
                  <c:v>0.96980178262604788</c:v>
                </c:pt>
                <c:pt idx="3434">
                  <c:v>0.97015653407831137</c:v>
                </c:pt>
                <c:pt idx="3435">
                  <c:v>0.969476593794806</c:v>
                </c:pt>
                <c:pt idx="3436">
                  <c:v>0.95975049147857439</c:v>
                </c:pt>
                <c:pt idx="3437">
                  <c:v>0.96334234993274515</c:v>
                </c:pt>
                <c:pt idx="3438">
                  <c:v>0.95030523406205214</c:v>
                </c:pt>
                <c:pt idx="3439">
                  <c:v>0.9366325218393865</c:v>
                </c:pt>
                <c:pt idx="3440">
                  <c:v>0.94196857493385355</c:v>
                </c:pt>
                <c:pt idx="3441">
                  <c:v>0.93584911238230406</c:v>
                </c:pt>
                <c:pt idx="3442">
                  <c:v>0.91793416404298411</c:v>
                </c:pt>
                <c:pt idx="3443">
                  <c:v>0.91236160998034088</c:v>
                </c:pt>
                <c:pt idx="3444">
                  <c:v>0.91917579412590755</c:v>
                </c:pt>
                <c:pt idx="3445">
                  <c:v>0.89082524056582879</c:v>
                </c:pt>
                <c:pt idx="3446">
                  <c:v>0.88272508240580616</c:v>
                </c:pt>
                <c:pt idx="3447">
                  <c:v>0.85783335550529927</c:v>
                </c:pt>
                <c:pt idx="3448">
                  <c:v>0.89477185047226282</c:v>
                </c:pt>
                <c:pt idx="3449">
                  <c:v>0.91623431333422034</c:v>
                </c:pt>
                <c:pt idx="3450">
                  <c:v>0.92789676732739124</c:v>
                </c:pt>
                <c:pt idx="3451">
                  <c:v>0.91434230558881335</c:v>
                </c:pt>
                <c:pt idx="3452">
                  <c:v>0.95116255007168937</c:v>
                </c:pt>
                <c:pt idx="3453">
                  <c:v>0.95382318596366744</c:v>
                </c:pt>
                <c:pt idx="3454">
                  <c:v>0.93654383397632057</c:v>
                </c:pt>
                <c:pt idx="3455">
                  <c:v>0.95283283815943154</c:v>
                </c:pt>
                <c:pt idx="3456">
                  <c:v>0.9673480850812235</c:v>
                </c:pt>
                <c:pt idx="3457">
                  <c:v>0.93404579249996322</c:v>
                </c:pt>
                <c:pt idx="3458">
                  <c:v>0.93092693598214415</c:v>
                </c:pt>
                <c:pt idx="3459">
                  <c:v>0.96180509363960232</c:v>
                </c:pt>
                <c:pt idx="3460">
                  <c:v>0.95095561172453569</c:v>
                </c:pt>
                <c:pt idx="3461">
                  <c:v>0.93058696584039136</c:v>
                </c:pt>
                <c:pt idx="3462">
                  <c:v>0.93250853620682039</c:v>
                </c:pt>
                <c:pt idx="3463">
                  <c:v>0.94439270985765611</c:v>
                </c:pt>
                <c:pt idx="3464">
                  <c:v>0.98514478293645524</c:v>
                </c:pt>
                <c:pt idx="3465">
                  <c:v>0.98133120482461988</c:v>
                </c:pt>
                <c:pt idx="3466">
                  <c:v>0.97525608620460291</c:v>
                </c:pt>
                <c:pt idx="3467">
                  <c:v>0.9629728171699703</c:v>
                </c:pt>
                <c:pt idx="3468">
                  <c:v>0.96934356200020688</c:v>
                </c:pt>
                <c:pt idx="3469">
                  <c:v>0.96465788656822338</c:v>
                </c:pt>
                <c:pt idx="3470">
                  <c:v>0.95389709251622246</c:v>
                </c:pt>
                <c:pt idx="3471">
                  <c:v>0.95243374277563464</c:v>
                </c:pt>
                <c:pt idx="3472">
                  <c:v>0.95788804635418967</c:v>
                </c:pt>
                <c:pt idx="3473">
                  <c:v>0.94972876295212338</c:v>
                </c:pt>
                <c:pt idx="3474">
                  <c:v>0.93763765095413354</c:v>
                </c:pt>
                <c:pt idx="3475">
                  <c:v>0.93206509689149031</c:v>
                </c:pt>
                <c:pt idx="3476">
                  <c:v>0.92752723456461661</c:v>
                </c:pt>
                <c:pt idx="3477">
                  <c:v>0.93278938110652887</c:v>
                </c:pt>
                <c:pt idx="3478">
                  <c:v>0.90105390743943348</c:v>
                </c:pt>
                <c:pt idx="3479">
                  <c:v>0.8865977857596854</c:v>
                </c:pt>
                <c:pt idx="3480">
                  <c:v>0.92089042614518202</c:v>
                </c:pt>
                <c:pt idx="3481">
                  <c:v>0.91658906478648428</c:v>
                </c:pt>
                <c:pt idx="3482">
                  <c:v>0.90853325055799461</c:v>
                </c:pt>
                <c:pt idx="3483">
                  <c:v>0.90803068600062087</c:v>
                </c:pt>
                <c:pt idx="3484">
                  <c:v>0.89695948442788942</c:v>
                </c:pt>
                <c:pt idx="3485">
                  <c:v>0.89239205947999345</c:v>
                </c:pt>
                <c:pt idx="3486">
                  <c:v>0.89484575702481806</c:v>
                </c:pt>
                <c:pt idx="3487">
                  <c:v>0.91420927379421468</c:v>
                </c:pt>
                <c:pt idx="3488">
                  <c:v>0.91157820052325844</c:v>
                </c:pt>
                <c:pt idx="3489">
                  <c:v>0.89756551815884</c:v>
                </c:pt>
                <c:pt idx="3490">
                  <c:v>0.90081740647125796</c:v>
                </c:pt>
                <c:pt idx="3491">
                  <c:v>0.8838484620046414</c:v>
                </c:pt>
                <c:pt idx="3492">
                  <c:v>0.87685690213294309</c:v>
                </c:pt>
                <c:pt idx="3493">
                  <c:v>0.87944363147236637</c:v>
                </c:pt>
                <c:pt idx="3494">
                  <c:v>0.88291723944244893</c:v>
                </c:pt>
                <c:pt idx="3495">
                  <c:v>0.88692297459092728</c:v>
                </c:pt>
                <c:pt idx="3496">
                  <c:v>0.87752206110593778</c:v>
                </c:pt>
                <c:pt idx="3497">
                  <c:v>0.87999053996127286</c:v>
                </c:pt>
                <c:pt idx="3498">
                  <c:v>0.85895673510413451</c:v>
                </c:pt>
                <c:pt idx="3499">
                  <c:v>0.85931148655639822</c:v>
                </c:pt>
                <c:pt idx="3500">
                  <c:v>0.86211993555348632</c:v>
                </c:pt>
                <c:pt idx="3501">
                  <c:v>0.86024270911859047</c:v>
                </c:pt>
                <c:pt idx="3502">
                  <c:v>0.85880892199902448</c:v>
                </c:pt>
                <c:pt idx="3503">
                  <c:v>0.85767076108967832</c:v>
                </c:pt>
                <c:pt idx="3504">
                  <c:v>0.86073049236545307</c:v>
                </c:pt>
                <c:pt idx="3505">
                  <c:v>0.85446321670879333</c:v>
                </c:pt>
                <c:pt idx="3506">
                  <c:v>0.84334767120452891</c:v>
                </c:pt>
                <c:pt idx="3507">
                  <c:v>0.83866199577254541</c:v>
                </c:pt>
                <c:pt idx="3508">
                  <c:v>0.83712473947940214</c:v>
                </c:pt>
                <c:pt idx="3509">
                  <c:v>0.82583181824900609</c:v>
                </c:pt>
                <c:pt idx="3510">
                  <c:v>0.83523273173399559</c:v>
                </c:pt>
                <c:pt idx="3511">
                  <c:v>0.83356244364625387</c:v>
                </c:pt>
                <c:pt idx="3512">
                  <c:v>0.83347375578318794</c:v>
                </c:pt>
                <c:pt idx="3513">
                  <c:v>0.82253558600505539</c:v>
                </c:pt>
                <c:pt idx="3514">
                  <c:v>0.81555880744386799</c:v>
                </c:pt>
                <c:pt idx="3515">
                  <c:v>0.80886287378238952</c:v>
                </c:pt>
                <c:pt idx="3516">
                  <c:v>0.80793165122019706</c:v>
                </c:pt>
                <c:pt idx="3517">
                  <c:v>0.8102818795914446</c:v>
                </c:pt>
                <c:pt idx="3518">
                  <c:v>0.80558142284894974</c:v>
                </c:pt>
                <c:pt idx="3519">
                  <c:v>0.78272951679895941</c:v>
                </c:pt>
                <c:pt idx="3520">
                  <c:v>0.7450076123749132</c:v>
                </c:pt>
                <c:pt idx="3521">
                  <c:v>0.75566493725333683</c:v>
                </c:pt>
                <c:pt idx="3522">
                  <c:v>0.75808907217713939</c:v>
                </c:pt>
                <c:pt idx="3523">
                  <c:v>0.77131834508447517</c:v>
                </c:pt>
                <c:pt idx="3524">
                  <c:v>0.74527367596411098</c:v>
                </c:pt>
                <c:pt idx="3525">
                  <c:v>0.77056449824841455</c:v>
                </c:pt>
                <c:pt idx="3526">
                  <c:v>0.77335816593499196</c:v>
                </c:pt>
                <c:pt idx="3527">
                  <c:v>0.768864647539651</c:v>
                </c:pt>
                <c:pt idx="3528">
                  <c:v>0.74211047551475917</c:v>
                </c:pt>
                <c:pt idx="3529">
                  <c:v>0.74174094275198432</c:v>
                </c:pt>
                <c:pt idx="3530">
                  <c:v>0.77043146645381588</c:v>
                </c:pt>
                <c:pt idx="3531">
                  <c:v>0.77258953778842043</c:v>
                </c:pt>
                <c:pt idx="3532">
                  <c:v>0.79377115575066881</c:v>
                </c:pt>
                <c:pt idx="3533">
                  <c:v>0.80141309328485066</c:v>
                </c:pt>
                <c:pt idx="3534">
                  <c:v>0.79356421740351513</c:v>
                </c:pt>
                <c:pt idx="3535">
                  <c:v>0.80812380825684005</c:v>
                </c:pt>
                <c:pt idx="3536">
                  <c:v>0.81196694898969746</c:v>
                </c:pt>
                <c:pt idx="3537">
                  <c:v>0.80488670125493322</c:v>
                </c:pt>
                <c:pt idx="3538">
                  <c:v>0.77074187397454663</c:v>
                </c:pt>
                <c:pt idx="3539">
                  <c:v>0.76425287866022207</c:v>
                </c:pt>
                <c:pt idx="3540">
                  <c:v>0.75066885430062258</c:v>
                </c:pt>
                <c:pt idx="3541">
                  <c:v>0.74901334752339155</c:v>
                </c:pt>
                <c:pt idx="3542">
                  <c:v>0.74978197566996285</c:v>
                </c:pt>
                <c:pt idx="3543">
                  <c:v>0.7478160613720013</c:v>
                </c:pt>
                <c:pt idx="3544">
                  <c:v>0.75253129942500729</c:v>
                </c:pt>
                <c:pt idx="3545">
                  <c:v>0.75250173680398502</c:v>
                </c:pt>
                <c:pt idx="3546">
                  <c:v>0.74874728393419354</c:v>
                </c:pt>
                <c:pt idx="3547">
                  <c:v>0.74457895437009447</c:v>
                </c:pt>
                <c:pt idx="3548">
                  <c:v>0.74148966047329767</c:v>
                </c:pt>
                <c:pt idx="3549">
                  <c:v>0.72335299247631313</c:v>
                </c:pt>
                <c:pt idx="3550">
                  <c:v>0.75115663754748518</c:v>
                </c:pt>
                <c:pt idx="3551">
                  <c:v>0.73856296099212182</c:v>
                </c:pt>
                <c:pt idx="3552">
                  <c:v>0.73504500909050585</c:v>
                </c:pt>
                <c:pt idx="3553">
                  <c:v>0.74138619129972061</c:v>
                </c:pt>
                <c:pt idx="3554">
                  <c:v>0.72907335964406617</c:v>
                </c:pt>
                <c:pt idx="3555">
                  <c:v>0.72249567646667545</c:v>
                </c:pt>
                <c:pt idx="3556">
                  <c:v>0.7222443941879888</c:v>
                </c:pt>
                <c:pt idx="3557">
                  <c:v>0.7117644450356968</c:v>
                </c:pt>
                <c:pt idx="3558">
                  <c:v>0.71458767534329604</c:v>
                </c:pt>
                <c:pt idx="3559">
                  <c:v>0.71574061756315333</c:v>
                </c:pt>
                <c:pt idx="3560">
                  <c:v>0.68067934903108518</c:v>
                </c:pt>
                <c:pt idx="3561">
                  <c:v>0.69429293601170694</c:v>
                </c:pt>
                <c:pt idx="3562">
                  <c:v>0.68684315551416808</c:v>
                </c:pt>
                <c:pt idx="3563">
                  <c:v>0.69206095812454738</c:v>
                </c:pt>
                <c:pt idx="3564">
                  <c:v>0.69645100734631149</c:v>
                </c:pt>
                <c:pt idx="3565">
                  <c:v>0.68826216132322315</c:v>
                </c:pt>
                <c:pt idx="3566">
                  <c:v>0.69788479446587748</c:v>
                </c:pt>
                <c:pt idx="3567">
                  <c:v>0.66264615020767748</c:v>
                </c:pt>
                <c:pt idx="3568">
                  <c:v>0.67661448864056295</c:v>
                </c:pt>
                <c:pt idx="3569">
                  <c:v>0.68474420942160741</c:v>
                </c:pt>
                <c:pt idx="3570">
                  <c:v>0.68907513340132742</c:v>
                </c:pt>
                <c:pt idx="3571">
                  <c:v>0.66376952980651249</c:v>
                </c:pt>
                <c:pt idx="3572">
                  <c:v>0.66239486792899083</c:v>
                </c:pt>
                <c:pt idx="3573">
                  <c:v>0.66300090165994119</c:v>
                </c:pt>
                <c:pt idx="3574">
                  <c:v>0.65713272138707812</c:v>
                </c:pt>
                <c:pt idx="3575">
                  <c:v>0.65831522622795746</c:v>
                </c:pt>
                <c:pt idx="3576">
                  <c:v>0.64006030774688494</c:v>
                </c:pt>
                <c:pt idx="3577">
                  <c:v>0.63212274400248347</c:v>
                </c:pt>
                <c:pt idx="3578">
                  <c:v>0.62427386812114749</c:v>
                </c:pt>
                <c:pt idx="3579">
                  <c:v>0.61388260683192164</c:v>
                </c:pt>
                <c:pt idx="3580">
                  <c:v>0.63261052724934608</c:v>
                </c:pt>
                <c:pt idx="3581">
                  <c:v>0.6113106588030095</c:v>
                </c:pt>
                <c:pt idx="3582">
                  <c:v>0.59681019319172846</c:v>
                </c:pt>
                <c:pt idx="3583">
                  <c:v>0.55104725584970349</c:v>
                </c:pt>
                <c:pt idx="3584">
                  <c:v>0.55044122211875313</c:v>
                </c:pt>
                <c:pt idx="3585">
                  <c:v>0.5736035356894742</c:v>
                </c:pt>
                <c:pt idx="3586">
                  <c:v>0.54792839933188486</c:v>
                </c:pt>
                <c:pt idx="3587">
                  <c:v>0.55991604215629742</c:v>
                </c:pt>
                <c:pt idx="3588">
                  <c:v>0.55480170871949497</c:v>
                </c:pt>
                <c:pt idx="3589">
                  <c:v>0.57769795870101825</c:v>
                </c:pt>
                <c:pt idx="3590">
                  <c:v>0.58409826615227711</c:v>
                </c:pt>
                <c:pt idx="3591">
                  <c:v>0.58992210249360721</c:v>
                </c:pt>
                <c:pt idx="3592">
                  <c:v>0.61731187087047146</c:v>
                </c:pt>
                <c:pt idx="3593">
                  <c:v>0.61491729856769095</c:v>
                </c:pt>
                <c:pt idx="3594">
                  <c:v>0.59546509393522862</c:v>
                </c:pt>
                <c:pt idx="3595">
                  <c:v>0.5952729368985854</c:v>
                </c:pt>
                <c:pt idx="3596">
                  <c:v>0.601717588281377</c:v>
                </c:pt>
                <c:pt idx="3597">
                  <c:v>0.61037943624081725</c:v>
                </c:pt>
                <c:pt idx="3598">
                  <c:v>0.65707359614503424</c:v>
                </c:pt>
                <c:pt idx="3599">
                  <c:v>0.66702141811893045</c:v>
                </c:pt>
                <c:pt idx="3600">
                  <c:v>0.65793091215467192</c:v>
                </c:pt>
                <c:pt idx="3601">
                  <c:v>0.66409471863775438</c:v>
                </c:pt>
                <c:pt idx="3602">
                  <c:v>0.66620844604082596</c:v>
                </c:pt>
                <c:pt idx="3603">
                  <c:v>0.65618671751437496</c:v>
                </c:pt>
                <c:pt idx="3604">
                  <c:v>0.66416862519030939</c:v>
                </c:pt>
                <c:pt idx="3605">
                  <c:v>0.62830916589064789</c:v>
                </c:pt>
                <c:pt idx="3606">
                  <c:v>0.62820569671707105</c:v>
                </c:pt>
                <c:pt idx="3607">
                  <c:v>0.63500509955212658</c:v>
                </c:pt>
                <c:pt idx="3608">
                  <c:v>0.64640148995609947</c:v>
                </c:pt>
                <c:pt idx="3609">
                  <c:v>0.6481309032858853</c:v>
                </c:pt>
                <c:pt idx="3610">
                  <c:v>0.62987598480481299</c:v>
                </c:pt>
                <c:pt idx="3611">
                  <c:v>0.61658758665543312</c:v>
                </c:pt>
                <c:pt idx="3612">
                  <c:v>0.58099419094496918</c:v>
                </c:pt>
                <c:pt idx="3613">
                  <c:v>0.60152543124473423</c:v>
                </c:pt>
                <c:pt idx="3614">
                  <c:v>0.58344788848979356</c:v>
                </c:pt>
                <c:pt idx="3615">
                  <c:v>0.57403219369429315</c:v>
                </c:pt>
                <c:pt idx="3616">
                  <c:v>0.62074113490902105</c:v>
                </c:pt>
                <c:pt idx="3617">
                  <c:v>0.61880478323208155</c:v>
                </c:pt>
                <c:pt idx="3618">
                  <c:v>0.61905606551076819</c:v>
                </c:pt>
                <c:pt idx="3619">
                  <c:v>0.59453387137303593</c:v>
                </c:pt>
                <c:pt idx="3620">
                  <c:v>0.59336614784266795</c:v>
                </c:pt>
                <c:pt idx="3621">
                  <c:v>0.58196975743869461</c:v>
                </c:pt>
                <c:pt idx="3622">
                  <c:v>0.5672180095487267</c:v>
                </c:pt>
                <c:pt idx="3623">
                  <c:v>0.51960740839282815</c:v>
                </c:pt>
                <c:pt idx="3624">
                  <c:v>0.51150725023280574</c:v>
                </c:pt>
                <c:pt idx="3625">
                  <c:v>0.51858749796756975</c:v>
                </c:pt>
                <c:pt idx="3626">
                  <c:v>0.52352445567824057</c:v>
                </c:pt>
                <c:pt idx="3627">
                  <c:v>0.53908917564631298</c:v>
                </c:pt>
                <c:pt idx="3628">
                  <c:v>0.58835528357944211</c:v>
                </c:pt>
                <c:pt idx="3629">
                  <c:v>0.59159239058134894</c:v>
                </c:pt>
                <c:pt idx="3630">
                  <c:v>0.58705452825447524</c:v>
                </c:pt>
                <c:pt idx="3631">
                  <c:v>0.61417823304214147</c:v>
                </c:pt>
                <c:pt idx="3632">
                  <c:v>0.61901172157923523</c:v>
                </c:pt>
                <c:pt idx="3633">
                  <c:v>0.64545548608339631</c:v>
                </c:pt>
                <c:pt idx="3634">
                  <c:v>0.6518262309136329</c:v>
                </c:pt>
                <c:pt idx="3635">
                  <c:v>0.64965337826851721</c:v>
                </c:pt>
                <c:pt idx="3636">
                  <c:v>0.64753965086544563</c:v>
                </c:pt>
                <c:pt idx="3637">
                  <c:v>0.64845609211712718</c:v>
                </c:pt>
                <c:pt idx="3638">
                  <c:v>0.61061593720899321</c:v>
                </c:pt>
                <c:pt idx="3639">
                  <c:v>0.61352785537965793</c:v>
                </c:pt>
                <c:pt idx="3640">
                  <c:v>0.60649195157642666</c:v>
                </c:pt>
                <c:pt idx="3641">
                  <c:v>0.56044816933469344</c:v>
                </c:pt>
                <c:pt idx="3642">
                  <c:v>0.56977517626712793</c:v>
                </c:pt>
                <c:pt idx="3643">
                  <c:v>0.55273232524795657</c:v>
                </c:pt>
                <c:pt idx="3644">
                  <c:v>0.57403219369429315</c:v>
                </c:pt>
                <c:pt idx="3645">
                  <c:v>0.63012726708349964</c:v>
                </c:pt>
                <c:pt idx="3646">
                  <c:v>0.62354958390610937</c:v>
                </c:pt>
                <c:pt idx="3647">
                  <c:v>0.58264969772220021</c:v>
                </c:pt>
                <c:pt idx="3648">
                  <c:v>0.61029074837775132</c:v>
                </c:pt>
                <c:pt idx="3649">
                  <c:v>0.63046723722525244</c:v>
                </c:pt>
                <c:pt idx="3650">
                  <c:v>0.57857005602116707</c:v>
                </c:pt>
                <c:pt idx="3651">
                  <c:v>0.58755709281184876</c:v>
                </c:pt>
                <c:pt idx="3652">
                  <c:v>0.58699540301243136</c:v>
                </c:pt>
                <c:pt idx="3653">
                  <c:v>0.60774836296986101</c:v>
                </c:pt>
                <c:pt idx="3654">
                  <c:v>0.58395045304716708</c:v>
                </c:pt>
                <c:pt idx="3655">
                  <c:v>0.6481900285279294</c:v>
                </c:pt>
                <c:pt idx="3656">
                  <c:v>0.65668928207174848</c:v>
                </c:pt>
                <c:pt idx="3657">
                  <c:v>0.68054631723648629</c:v>
                </c:pt>
                <c:pt idx="3658">
                  <c:v>0.67868387211210157</c:v>
                </c:pt>
                <c:pt idx="3659">
                  <c:v>0.71084800378401569</c:v>
                </c:pt>
                <c:pt idx="3660">
                  <c:v>0.73188180864115426</c:v>
                </c:pt>
                <c:pt idx="3661">
                  <c:v>0.70840908754970222</c:v>
                </c:pt>
                <c:pt idx="3662">
                  <c:v>0.71423292389103232</c:v>
                </c:pt>
                <c:pt idx="3663">
                  <c:v>0.64202622204484672</c:v>
                </c:pt>
                <c:pt idx="3664">
                  <c:v>0.66755354529732625</c:v>
                </c:pt>
                <c:pt idx="3665">
                  <c:v>0.72335299247631313</c:v>
                </c:pt>
                <c:pt idx="3666">
                  <c:v>0.7347346015697751</c:v>
                </c:pt>
                <c:pt idx="3667">
                  <c:v>0.7770978374942723</c:v>
                </c:pt>
                <c:pt idx="3668">
                  <c:v>0.75408333702866104</c:v>
                </c:pt>
                <c:pt idx="3669">
                  <c:v>0.78377898984523964</c:v>
                </c:pt>
                <c:pt idx="3670">
                  <c:v>0.76098620903729319</c:v>
                </c:pt>
                <c:pt idx="3671">
                  <c:v>0.74967850649638601</c:v>
                </c:pt>
                <c:pt idx="3672">
                  <c:v>0.7915687404845313</c:v>
                </c:pt>
                <c:pt idx="3673">
                  <c:v>0.79929936588177908</c:v>
                </c:pt>
                <c:pt idx="3674">
                  <c:v>0.78657265753181704</c:v>
                </c:pt>
                <c:pt idx="3675">
                  <c:v>0.78253735976231664</c:v>
                </c:pt>
                <c:pt idx="3676">
                  <c:v>0.78435546095516839</c:v>
                </c:pt>
                <c:pt idx="3677">
                  <c:v>0.77009149631206308</c:v>
                </c:pt>
                <c:pt idx="3678">
                  <c:v>0.76212436994663979</c:v>
                </c:pt>
                <c:pt idx="3679">
                  <c:v>0.7910070506851139</c:v>
                </c:pt>
                <c:pt idx="3680">
                  <c:v>0.7894993570129929</c:v>
                </c:pt>
                <c:pt idx="3681">
                  <c:v>0.7697663074808212</c:v>
                </c:pt>
                <c:pt idx="3682">
                  <c:v>0.76855424001892025</c:v>
                </c:pt>
                <c:pt idx="3683">
                  <c:v>0.76543538350110119</c:v>
                </c:pt>
                <c:pt idx="3684">
                  <c:v>0.75371380426588641</c:v>
                </c:pt>
                <c:pt idx="3685">
                  <c:v>0.7478160613720013</c:v>
                </c:pt>
                <c:pt idx="3686">
                  <c:v>0.75814819741918327</c:v>
                </c:pt>
                <c:pt idx="3687">
                  <c:v>0.75519193531698536</c:v>
                </c:pt>
                <c:pt idx="3688">
                  <c:v>0.74138619129972061</c:v>
                </c:pt>
                <c:pt idx="3689">
                  <c:v>0.72857079508669265</c:v>
                </c:pt>
                <c:pt idx="3690">
                  <c:v>0.7342468183229125</c:v>
                </c:pt>
                <c:pt idx="3691">
                  <c:v>0.73417291177035771</c:v>
                </c:pt>
                <c:pt idx="3692">
                  <c:v>0.7243729029015713</c:v>
                </c:pt>
                <c:pt idx="3693">
                  <c:v>0.72310171019762626</c:v>
                </c:pt>
                <c:pt idx="3694">
                  <c:v>0.72604319098931325</c:v>
                </c:pt>
                <c:pt idx="3695">
                  <c:v>0.73557713626890187</c:v>
                </c:pt>
                <c:pt idx="3696">
                  <c:v>0.72321996068171401</c:v>
                </c:pt>
                <c:pt idx="3697">
                  <c:v>0.71448420616971919</c:v>
                </c:pt>
                <c:pt idx="3698">
                  <c:v>0.72324952330273606</c:v>
                </c:pt>
                <c:pt idx="3699">
                  <c:v>0.72381121310215368</c:v>
                </c:pt>
                <c:pt idx="3700">
                  <c:v>0.71383382850723565</c:v>
                </c:pt>
                <c:pt idx="3701">
                  <c:v>0.70060455559989965</c:v>
                </c:pt>
                <c:pt idx="3702">
                  <c:v>0.69983592745332812</c:v>
                </c:pt>
                <c:pt idx="3703">
                  <c:v>0.70020546021610275</c:v>
                </c:pt>
                <c:pt idx="3704">
                  <c:v>0.69336171344951425</c:v>
                </c:pt>
                <c:pt idx="3705">
                  <c:v>0.68573455722584375</c:v>
                </c:pt>
                <c:pt idx="3706">
                  <c:v>0.68285220167620064</c:v>
                </c:pt>
                <c:pt idx="3707">
                  <c:v>0.68314782788642048</c:v>
                </c:pt>
                <c:pt idx="3708">
                  <c:v>0.65989682645263348</c:v>
                </c:pt>
                <c:pt idx="3709">
                  <c:v>0.65371823865903944</c:v>
                </c:pt>
                <c:pt idx="3710">
                  <c:v>0.65300873575451202</c:v>
                </c:pt>
                <c:pt idx="3711">
                  <c:v>0.64916559502165483</c:v>
                </c:pt>
                <c:pt idx="3712">
                  <c:v>0.63258096462832403</c:v>
                </c:pt>
                <c:pt idx="3713">
                  <c:v>0.63028986149912059</c:v>
                </c:pt>
                <c:pt idx="3714">
                  <c:v>0.63368956291664835</c:v>
                </c:pt>
                <c:pt idx="3715">
                  <c:v>0.61796224853295478</c:v>
                </c:pt>
                <c:pt idx="3716">
                  <c:v>0.63778398592819241</c:v>
                </c:pt>
                <c:pt idx="3717">
                  <c:v>0.63949861794746732</c:v>
                </c:pt>
                <c:pt idx="3718">
                  <c:v>0.63592154080380769</c:v>
                </c:pt>
                <c:pt idx="3719">
                  <c:v>0.6252198719938511</c:v>
                </c:pt>
                <c:pt idx="3720">
                  <c:v>0.61836134391675146</c:v>
                </c:pt>
                <c:pt idx="3721">
                  <c:v>0.58974472676747536</c:v>
                </c:pt>
                <c:pt idx="3722">
                  <c:v>0.59411999467872834</c:v>
                </c:pt>
                <c:pt idx="3723">
                  <c:v>0.57883611961036485</c:v>
                </c:pt>
                <c:pt idx="3724">
                  <c:v>0.58236885282249129</c:v>
                </c:pt>
                <c:pt idx="3725">
                  <c:v>0.56200020693834718</c:v>
                </c:pt>
                <c:pt idx="3726">
                  <c:v>0.57596854537123265</c:v>
                </c:pt>
                <c:pt idx="3727">
                  <c:v>0.5714159017338476</c:v>
                </c:pt>
                <c:pt idx="3728">
                  <c:v>0.62192363974990017</c:v>
                </c:pt>
                <c:pt idx="3729">
                  <c:v>0.6308515512985382</c:v>
                </c:pt>
                <c:pt idx="3730">
                  <c:v>0.60996555954650944</c:v>
                </c:pt>
                <c:pt idx="3731">
                  <c:v>0.5873205918436728</c:v>
                </c:pt>
                <c:pt idx="3732">
                  <c:v>0.6030774688483882</c:v>
                </c:pt>
                <c:pt idx="3733">
                  <c:v>0.62224882858114205</c:v>
                </c:pt>
                <c:pt idx="3734">
                  <c:v>0.61437039007878447</c:v>
                </c:pt>
                <c:pt idx="3735">
                  <c:v>0.62118457422435069</c:v>
                </c:pt>
                <c:pt idx="3736">
                  <c:v>0.61376435634783388</c:v>
                </c:pt>
                <c:pt idx="3737">
                  <c:v>0.65030375593100098</c:v>
                </c:pt>
                <c:pt idx="3738">
                  <c:v>0.68217226139269505</c:v>
                </c:pt>
                <c:pt idx="3739">
                  <c:v>0.70019067890559183</c:v>
                </c:pt>
                <c:pt idx="3740">
                  <c:v>0.67920121797998623</c:v>
                </c:pt>
                <c:pt idx="3741">
                  <c:v>0.69757438694514673</c:v>
                </c:pt>
                <c:pt idx="3742">
                  <c:v>0.69346518262309154</c:v>
                </c:pt>
                <c:pt idx="3743">
                  <c:v>0.67948206287969493</c:v>
                </c:pt>
                <c:pt idx="3744">
                  <c:v>0.69538675298952013</c:v>
                </c:pt>
                <c:pt idx="3745">
                  <c:v>0.69243049088732223</c:v>
                </c:pt>
                <c:pt idx="3746">
                  <c:v>0.68756743972920664</c:v>
                </c:pt>
                <c:pt idx="3747">
                  <c:v>0.68084194344670612</c:v>
                </c:pt>
                <c:pt idx="3748">
                  <c:v>0.67992550219502457</c:v>
                </c:pt>
                <c:pt idx="3749">
                  <c:v>0.67470769958464527</c:v>
                </c:pt>
                <c:pt idx="3750">
                  <c:v>0.64826393508048419</c:v>
                </c:pt>
                <c:pt idx="3751">
                  <c:v>0.66499637857892502</c:v>
                </c:pt>
                <c:pt idx="3752">
                  <c:v>0.66467118974768313</c:v>
                </c:pt>
                <c:pt idx="3753">
                  <c:v>0.66700663680841954</c:v>
                </c:pt>
                <c:pt idx="3754">
                  <c:v>0.66508506644199095</c:v>
                </c:pt>
                <c:pt idx="3755">
                  <c:v>0.65637887455101773</c:v>
                </c:pt>
                <c:pt idx="3756">
                  <c:v>0.65258007774969329</c:v>
                </c:pt>
                <c:pt idx="3757">
                  <c:v>0.64671189747683022</c:v>
                </c:pt>
                <c:pt idx="3758">
                  <c:v>0.62959513990510407</c:v>
                </c:pt>
                <c:pt idx="3759">
                  <c:v>0.62014988248858138</c:v>
                </c:pt>
                <c:pt idx="3760">
                  <c:v>0.63951339925797845</c:v>
                </c:pt>
                <c:pt idx="3761">
                  <c:v>0.63766573544410465</c:v>
                </c:pt>
                <c:pt idx="3762">
                  <c:v>0.64680058533989615</c:v>
                </c:pt>
                <c:pt idx="3763">
                  <c:v>0.63541897624643418</c:v>
                </c:pt>
                <c:pt idx="3764">
                  <c:v>0.62941776417897199</c:v>
                </c:pt>
                <c:pt idx="3765">
                  <c:v>0.61995772545193861</c:v>
                </c:pt>
                <c:pt idx="3766">
                  <c:v>0.61403041993703167</c:v>
                </c:pt>
                <c:pt idx="3767">
                  <c:v>0.63074808212496136</c:v>
                </c:pt>
                <c:pt idx="3768">
                  <c:v>0.63478337989446154</c:v>
                </c:pt>
                <c:pt idx="3769">
                  <c:v>0.62582590572480168</c:v>
                </c:pt>
                <c:pt idx="3770">
                  <c:v>0.63960208712104416</c:v>
                </c:pt>
                <c:pt idx="3771">
                  <c:v>0.63904039732162654</c:v>
                </c:pt>
                <c:pt idx="3772">
                  <c:v>0.61948472351558714</c:v>
                </c:pt>
                <c:pt idx="3773">
                  <c:v>0.61336526096403721</c:v>
                </c:pt>
                <c:pt idx="3774">
                  <c:v>0.64165668928207187</c:v>
                </c:pt>
                <c:pt idx="3775">
                  <c:v>0.63429559664759894</c:v>
                </c:pt>
                <c:pt idx="3776">
                  <c:v>0.6351676939677473</c:v>
                </c:pt>
                <c:pt idx="3777">
                  <c:v>0.61320266654841649</c:v>
                </c:pt>
                <c:pt idx="3778">
                  <c:v>0.61840568784828487</c:v>
                </c:pt>
                <c:pt idx="3779">
                  <c:v>0.64042984050965956</c:v>
                </c:pt>
                <c:pt idx="3780">
                  <c:v>0.64119846865623109</c:v>
                </c:pt>
                <c:pt idx="3781">
                  <c:v>0.63969077498411009</c:v>
                </c:pt>
                <c:pt idx="3782">
                  <c:v>0.6163067417557242</c:v>
                </c:pt>
                <c:pt idx="3783">
                  <c:v>0.60708320399686655</c:v>
                </c:pt>
                <c:pt idx="3784">
                  <c:v>0.62374174094275214</c:v>
                </c:pt>
                <c:pt idx="3785">
                  <c:v>0.61561202016170768</c:v>
                </c:pt>
                <c:pt idx="3786">
                  <c:v>0.61571548933528453</c:v>
                </c:pt>
                <c:pt idx="3787">
                  <c:v>0.58056553294015045</c:v>
                </c:pt>
                <c:pt idx="3788">
                  <c:v>0.57661892303371642</c:v>
                </c:pt>
                <c:pt idx="3789">
                  <c:v>0.5468641449750935</c:v>
                </c:pt>
                <c:pt idx="3790">
                  <c:v>0.54525298212939588</c:v>
                </c:pt>
                <c:pt idx="3791">
                  <c:v>0.54151331057011531</c:v>
                </c:pt>
                <c:pt idx="3792">
                  <c:v>0.53162461383826298</c:v>
                </c:pt>
                <c:pt idx="3793">
                  <c:v>0.57585029488714468</c:v>
                </c:pt>
                <c:pt idx="3794">
                  <c:v>0.54114377780734069</c:v>
                </c:pt>
                <c:pt idx="3795">
                  <c:v>0.57185934104917768</c:v>
                </c:pt>
                <c:pt idx="3796">
                  <c:v>0.57709192497006789</c:v>
                </c:pt>
                <c:pt idx="3797">
                  <c:v>0.59579028276647006</c:v>
                </c:pt>
                <c:pt idx="3798">
                  <c:v>0.61546420705659788</c:v>
                </c:pt>
                <c:pt idx="3799">
                  <c:v>0.59845091865844835</c:v>
                </c:pt>
                <c:pt idx="3800">
                  <c:v>0.61272966461206457</c:v>
                </c:pt>
                <c:pt idx="3801">
                  <c:v>0.62285486231209286</c:v>
                </c:pt>
                <c:pt idx="3802">
                  <c:v>0.6077335816593501</c:v>
                </c:pt>
                <c:pt idx="3803">
                  <c:v>0.62085938539310903</c:v>
                </c:pt>
                <c:pt idx="3804">
                  <c:v>0.61414867042111965</c:v>
                </c:pt>
                <c:pt idx="3805">
                  <c:v>0.58631546272892576</c:v>
                </c:pt>
                <c:pt idx="3806">
                  <c:v>0.59074985588222262</c:v>
                </c:pt>
                <c:pt idx="3807">
                  <c:v>0.58380263994205728</c:v>
                </c:pt>
                <c:pt idx="3808">
                  <c:v>0.57491907232495243</c:v>
                </c:pt>
                <c:pt idx="3809">
                  <c:v>0.56324183702127018</c:v>
                </c:pt>
                <c:pt idx="3810">
                  <c:v>0.55901438221512723</c:v>
                </c:pt>
                <c:pt idx="3811">
                  <c:v>0.53793623342645569</c:v>
                </c:pt>
                <c:pt idx="3812">
                  <c:v>0.51539473489719612</c:v>
                </c:pt>
                <c:pt idx="3813">
                  <c:v>0.52225326297429531</c:v>
                </c:pt>
                <c:pt idx="3814">
                  <c:v>0.5625027714957207</c:v>
                </c:pt>
                <c:pt idx="3815">
                  <c:v>0.56772057410610022</c:v>
                </c:pt>
                <c:pt idx="3816">
                  <c:v>0.57122374469720505</c:v>
                </c:pt>
                <c:pt idx="3817">
                  <c:v>0.54373050714676396</c:v>
                </c:pt>
                <c:pt idx="3818">
                  <c:v>0.55319054587379712</c:v>
                </c:pt>
                <c:pt idx="3819">
                  <c:v>0.56810488817938598</c:v>
                </c:pt>
                <c:pt idx="3820">
                  <c:v>0.58405392222074437</c:v>
                </c:pt>
                <c:pt idx="3821">
                  <c:v>0.57370700486305126</c:v>
                </c:pt>
                <c:pt idx="3822">
                  <c:v>0.5790874018890515</c:v>
                </c:pt>
                <c:pt idx="3823">
                  <c:v>0.57493385363546334</c:v>
                </c:pt>
                <c:pt idx="3824">
                  <c:v>0.5797673421725571</c:v>
                </c:pt>
                <c:pt idx="3825">
                  <c:v>0.55592508831833043</c:v>
                </c:pt>
                <c:pt idx="3826">
                  <c:v>0.55106203716021462</c:v>
                </c:pt>
                <c:pt idx="3827">
                  <c:v>0.54129159091245049</c:v>
                </c:pt>
                <c:pt idx="3828">
                  <c:v>0.54337575569450003</c:v>
                </c:pt>
                <c:pt idx="3829">
                  <c:v>0.52745628427416369</c:v>
                </c:pt>
                <c:pt idx="3830">
                  <c:v>0.51566079848639412</c:v>
                </c:pt>
                <c:pt idx="3831">
                  <c:v>0.5023724003370138</c:v>
                </c:pt>
                <c:pt idx="3832">
                  <c:v>0.48292019570455125</c:v>
                </c:pt>
                <c:pt idx="3833">
                  <c:v>0.47037086308072085</c:v>
                </c:pt>
                <c:pt idx="3834">
                  <c:v>0.47523391423883643</c:v>
                </c:pt>
                <c:pt idx="3835">
                  <c:v>0.50861011337265172</c:v>
                </c:pt>
                <c:pt idx="3836">
                  <c:v>0.52089338240728433</c:v>
                </c:pt>
                <c:pt idx="3837">
                  <c:v>0.52392355106203725</c:v>
                </c:pt>
                <c:pt idx="3838">
                  <c:v>0.51969609625589386</c:v>
                </c:pt>
                <c:pt idx="3839">
                  <c:v>0.51951872052976222</c:v>
                </c:pt>
                <c:pt idx="3840">
                  <c:v>0.51592686207559169</c:v>
                </c:pt>
                <c:pt idx="3841">
                  <c:v>0.51675461546420731</c:v>
                </c:pt>
                <c:pt idx="3842">
                  <c:v>0.48902487694559005</c:v>
                </c:pt>
                <c:pt idx="3843">
                  <c:v>0.47289846717810002</c:v>
                </c:pt>
                <c:pt idx="3844">
                  <c:v>0.46286195734113789</c:v>
                </c:pt>
                <c:pt idx="3845">
                  <c:v>0.44816933469321407</c:v>
                </c:pt>
                <c:pt idx="3846">
                  <c:v>0.48417660709798538</c:v>
                </c:pt>
                <c:pt idx="3847">
                  <c:v>0.4969476593794806</c:v>
                </c:pt>
                <c:pt idx="3848">
                  <c:v>0.48671899250587547</c:v>
                </c:pt>
                <c:pt idx="3849">
                  <c:v>0.46977961066028118</c:v>
                </c:pt>
                <c:pt idx="3850">
                  <c:v>0.48862578156179337</c:v>
                </c:pt>
                <c:pt idx="3851">
                  <c:v>0.49362186451450785</c:v>
                </c:pt>
                <c:pt idx="3852">
                  <c:v>0.47381490842978158</c:v>
                </c:pt>
                <c:pt idx="3853">
                  <c:v>0.48215156755797972</c:v>
                </c:pt>
                <c:pt idx="3854">
                  <c:v>0.48648249153769973</c:v>
                </c:pt>
                <c:pt idx="3855">
                  <c:v>0.48201853576338083</c:v>
                </c:pt>
                <c:pt idx="3856">
                  <c:v>0.45962485033923106</c:v>
                </c:pt>
                <c:pt idx="3857">
                  <c:v>0.45854581467192879</c:v>
                </c:pt>
                <c:pt idx="3858">
                  <c:v>0.44139949447918059</c:v>
                </c:pt>
                <c:pt idx="3859">
                  <c:v>0.44800674027759313</c:v>
                </c:pt>
                <c:pt idx="3860">
                  <c:v>0.45179075576840644</c:v>
                </c:pt>
                <c:pt idx="3861">
                  <c:v>0.44747461309919734</c:v>
                </c:pt>
                <c:pt idx="3862">
                  <c:v>0.44308456387743345</c:v>
                </c:pt>
                <c:pt idx="3863">
                  <c:v>0.41024049192201395</c:v>
                </c:pt>
                <c:pt idx="3864">
                  <c:v>0.41099433875807434</c:v>
                </c:pt>
                <c:pt idx="3865">
                  <c:v>0.4058947866317828</c:v>
                </c:pt>
                <c:pt idx="3866">
                  <c:v>0.39000487783246873</c:v>
                </c:pt>
                <c:pt idx="3867">
                  <c:v>0.3905370050108643</c:v>
                </c:pt>
                <c:pt idx="3868">
                  <c:v>0.37862326873900631</c:v>
                </c:pt>
                <c:pt idx="3869">
                  <c:v>0.33895023132750968</c:v>
                </c:pt>
                <c:pt idx="3870">
                  <c:v>0.33186998359274522</c:v>
                </c:pt>
                <c:pt idx="3871">
                  <c:v>0.29946935095265559</c:v>
                </c:pt>
                <c:pt idx="3872">
                  <c:v>0.30471671618405693</c:v>
                </c:pt>
                <c:pt idx="3873">
                  <c:v>0.300104947304628</c:v>
                </c:pt>
                <c:pt idx="3874">
                  <c:v>0.30227779994974346</c:v>
                </c:pt>
                <c:pt idx="3875">
                  <c:v>0.32842593824368471</c:v>
                </c:pt>
                <c:pt idx="3876">
                  <c:v>0.32502623682615694</c:v>
                </c:pt>
                <c:pt idx="3877">
                  <c:v>0.36480274341123087</c:v>
                </c:pt>
                <c:pt idx="3878">
                  <c:v>0.35887543789632392</c:v>
                </c:pt>
                <c:pt idx="3879">
                  <c:v>0.37056745451051709</c:v>
                </c:pt>
                <c:pt idx="3880">
                  <c:v>0.35825462285486243</c:v>
                </c:pt>
                <c:pt idx="3881">
                  <c:v>0.36026488108435695</c:v>
                </c:pt>
                <c:pt idx="3882">
                  <c:v>0.3317073891771245</c:v>
                </c:pt>
                <c:pt idx="3883">
                  <c:v>0.32307510383870652</c:v>
                </c:pt>
                <c:pt idx="3884">
                  <c:v>0.32003015387344247</c:v>
                </c:pt>
                <c:pt idx="3885">
                  <c:v>0.36169866820392294</c:v>
                </c:pt>
                <c:pt idx="3886">
                  <c:v>0.35747121339777999</c:v>
                </c:pt>
                <c:pt idx="3887">
                  <c:v>0.34614872954636167</c:v>
                </c:pt>
                <c:pt idx="3888">
                  <c:v>0.34801117467074638</c:v>
                </c:pt>
                <c:pt idx="3889">
                  <c:v>0.36537921452115962</c:v>
                </c:pt>
                <c:pt idx="3890">
                  <c:v>0.3986223818603758</c:v>
                </c:pt>
                <c:pt idx="3891">
                  <c:v>0.39667124887292515</c:v>
                </c:pt>
                <c:pt idx="3892">
                  <c:v>0.38818677663961698</c:v>
                </c:pt>
                <c:pt idx="3893">
                  <c:v>0.39303504648722143</c:v>
                </c:pt>
                <c:pt idx="3894">
                  <c:v>0.38817199532910585</c:v>
                </c:pt>
                <c:pt idx="3895">
                  <c:v>0.38957621982765001</c:v>
                </c:pt>
                <c:pt idx="3896">
                  <c:v>0.39307939041875462</c:v>
                </c:pt>
                <c:pt idx="3897">
                  <c:v>0.37726338817199534</c:v>
                </c:pt>
                <c:pt idx="3898">
                  <c:v>0.39644952921526033</c:v>
                </c:pt>
                <c:pt idx="3899">
                  <c:v>0.3936854241497052</c:v>
                </c:pt>
                <c:pt idx="3900">
                  <c:v>0.35860937430712614</c:v>
                </c:pt>
                <c:pt idx="3901">
                  <c:v>0.34041358106809771</c:v>
                </c:pt>
                <c:pt idx="3902">
                  <c:v>0.3200597164944643</c:v>
                </c:pt>
                <c:pt idx="3903">
                  <c:v>0.34558703974694405</c:v>
                </c:pt>
                <c:pt idx="3904">
                  <c:v>0.31110224232480466</c:v>
                </c:pt>
                <c:pt idx="3905">
                  <c:v>0.31306815662276621</c:v>
                </c:pt>
                <c:pt idx="3906">
                  <c:v>0.33544706073640507</c:v>
                </c:pt>
                <c:pt idx="3907">
                  <c:v>0.34233515143452631</c:v>
                </c:pt>
                <c:pt idx="3908">
                  <c:v>0.34467059849526271</c:v>
                </c:pt>
                <c:pt idx="3909">
                  <c:v>0.30501234239427677</c:v>
                </c:pt>
                <c:pt idx="3910">
                  <c:v>0.32007449780497543</c:v>
                </c:pt>
                <c:pt idx="3911">
                  <c:v>0.3065495986874196</c:v>
                </c:pt>
                <c:pt idx="3912">
                  <c:v>0.34266034026576797</c:v>
                </c:pt>
                <c:pt idx="3913">
                  <c:v>0.3439758769012462</c:v>
                </c:pt>
                <c:pt idx="3914">
                  <c:v>0.373523716612715</c:v>
                </c:pt>
                <c:pt idx="3915">
                  <c:v>0.3412413344567129</c:v>
                </c:pt>
                <c:pt idx="3916">
                  <c:v>0.35918584541705467</c:v>
                </c:pt>
                <c:pt idx="3917">
                  <c:v>0.33593484398326745</c:v>
                </c:pt>
                <c:pt idx="3918">
                  <c:v>0.34101961479904808</c:v>
                </c:pt>
                <c:pt idx="3919">
                  <c:v>0.29708955996038622</c:v>
                </c:pt>
                <c:pt idx="3920">
                  <c:v>0.29012756270970974</c:v>
                </c:pt>
                <c:pt idx="3921">
                  <c:v>0.29135441148212204</c:v>
                </c:pt>
                <c:pt idx="3922">
                  <c:v>0.26403854965781259</c:v>
                </c:pt>
                <c:pt idx="3923">
                  <c:v>0.26751215762789538</c:v>
                </c:pt>
                <c:pt idx="3924">
                  <c:v>0.28040146039347857</c:v>
                </c:pt>
                <c:pt idx="3925">
                  <c:v>0.25924940505225202</c:v>
                </c:pt>
                <c:pt idx="3926">
                  <c:v>0.24687744815455326</c:v>
                </c:pt>
                <c:pt idx="3927">
                  <c:v>0.25652964391822985</c:v>
                </c:pt>
                <c:pt idx="3928">
                  <c:v>0.23038150562428861</c:v>
                </c:pt>
                <c:pt idx="3929">
                  <c:v>0.28538276203568214</c:v>
                </c:pt>
                <c:pt idx="3930">
                  <c:v>0.27902679851595646</c:v>
                </c:pt>
                <c:pt idx="3931">
                  <c:v>0.25945634339940571</c:v>
                </c:pt>
                <c:pt idx="3932">
                  <c:v>0.24384727949980056</c:v>
                </c:pt>
                <c:pt idx="3933">
                  <c:v>0.26931547751023621</c:v>
                </c:pt>
                <c:pt idx="3934">
                  <c:v>0.26610793312935122</c:v>
                </c:pt>
                <c:pt idx="3935">
                  <c:v>0.21969461812484292</c:v>
                </c:pt>
                <c:pt idx="3936">
                  <c:v>0.20548977872378171</c:v>
                </c:pt>
                <c:pt idx="3937">
                  <c:v>0.23494893057218458</c:v>
                </c:pt>
                <c:pt idx="3938">
                  <c:v>0.24532541055089951</c:v>
                </c:pt>
                <c:pt idx="3939">
                  <c:v>0.2333229864159756</c:v>
                </c:pt>
                <c:pt idx="3940">
                  <c:v>0.19888253292536917</c:v>
                </c:pt>
                <c:pt idx="3941">
                  <c:v>0.1793564217403516</c:v>
                </c:pt>
                <c:pt idx="3942">
                  <c:v>0.1640725466719879</c:v>
                </c:pt>
                <c:pt idx="3943">
                  <c:v>0.20606624983371047</c:v>
                </c:pt>
                <c:pt idx="3944">
                  <c:v>0.23107622721830534</c:v>
                </c:pt>
                <c:pt idx="3945">
                  <c:v>0.20302129986844641</c:v>
                </c:pt>
                <c:pt idx="3946">
                  <c:v>0.19155100291191829</c:v>
                </c:pt>
                <c:pt idx="3947">
                  <c:v>0.2163836045703813</c:v>
                </c:pt>
                <c:pt idx="3948">
                  <c:v>0.13600283801161805</c:v>
                </c:pt>
                <c:pt idx="3949">
                  <c:v>0.15891386930365248</c:v>
                </c:pt>
                <c:pt idx="3950">
                  <c:v>0.17415340044048322</c:v>
                </c:pt>
                <c:pt idx="3951">
                  <c:v>0.15016333348114652</c:v>
                </c:pt>
                <c:pt idx="3952">
                  <c:v>0.11434821811301799</c:v>
                </c:pt>
                <c:pt idx="3953">
                  <c:v>0.1182800467089411</c:v>
                </c:pt>
                <c:pt idx="3954">
                  <c:v>0.10969210530205609</c:v>
                </c:pt>
                <c:pt idx="3955">
                  <c:v>6.6264615020767748E-2</c:v>
                </c:pt>
                <c:pt idx="3956">
                  <c:v>6.3663104370833556E-2</c:v>
                </c:pt>
                <c:pt idx="3957">
                  <c:v>0</c:v>
                </c:pt>
                <c:pt idx="3958">
                  <c:v>0</c:v>
                </c:pt>
                <c:pt idx="3959">
                  <c:v>0</c:v>
                </c:pt>
                <c:pt idx="3960">
                  <c:v>0</c:v>
                </c:pt>
                <c:pt idx="3961">
                  <c:v>0</c:v>
                </c:pt>
                <c:pt idx="3962">
                  <c:v>0</c:v>
                </c:pt>
                <c:pt idx="3963">
                  <c:v>0</c:v>
                </c:pt>
                <c:pt idx="3964">
                  <c:v>0</c:v>
                </c:pt>
                <c:pt idx="3965">
                  <c:v>0</c:v>
                </c:pt>
                <c:pt idx="3966">
                  <c:v>0</c:v>
                </c:pt>
                <c:pt idx="3967">
                  <c:v>0</c:v>
                </c:pt>
                <c:pt idx="3968">
                  <c:v>0</c:v>
                </c:pt>
                <c:pt idx="3969">
                  <c:v>0</c:v>
                </c:pt>
                <c:pt idx="3970">
                  <c:v>0</c:v>
                </c:pt>
                <c:pt idx="3971">
                  <c:v>0</c:v>
                </c:pt>
                <c:pt idx="3972">
                  <c:v>0</c:v>
                </c:pt>
                <c:pt idx="3973">
                  <c:v>0</c:v>
                </c:pt>
                <c:pt idx="3974">
                  <c:v>0</c:v>
                </c:pt>
                <c:pt idx="3975">
                  <c:v>0</c:v>
                </c:pt>
                <c:pt idx="3976">
                  <c:v>0</c:v>
                </c:pt>
                <c:pt idx="3977">
                  <c:v>0</c:v>
                </c:pt>
                <c:pt idx="3978">
                  <c:v>0</c:v>
                </c:pt>
                <c:pt idx="3979">
                  <c:v>0</c:v>
                </c:pt>
                <c:pt idx="3980">
                  <c:v>0</c:v>
                </c:pt>
                <c:pt idx="3981">
                  <c:v>0</c:v>
                </c:pt>
                <c:pt idx="3982">
                  <c:v>0</c:v>
                </c:pt>
                <c:pt idx="3983">
                  <c:v>0</c:v>
                </c:pt>
                <c:pt idx="3984">
                  <c:v>0</c:v>
                </c:pt>
                <c:pt idx="3985">
                  <c:v>0</c:v>
                </c:pt>
                <c:pt idx="3986">
                  <c:v>0</c:v>
                </c:pt>
                <c:pt idx="3987">
                  <c:v>0</c:v>
                </c:pt>
                <c:pt idx="3988">
                  <c:v>0</c:v>
                </c:pt>
                <c:pt idx="3989">
                  <c:v>0</c:v>
                </c:pt>
                <c:pt idx="3990">
                  <c:v>0</c:v>
                </c:pt>
                <c:pt idx="3991">
                  <c:v>0</c:v>
                </c:pt>
                <c:pt idx="3992">
                  <c:v>0</c:v>
                </c:pt>
                <c:pt idx="3993">
                  <c:v>0</c:v>
                </c:pt>
                <c:pt idx="3994">
                  <c:v>0</c:v>
                </c:pt>
                <c:pt idx="3995">
                  <c:v>0</c:v>
                </c:pt>
                <c:pt idx="3996">
                  <c:v>0</c:v>
                </c:pt>
                <c:pt idx="3997">
                  <c:v>0</c:v>
                </c:pt>
                <c:pt idx="3998">
                  <c:v>0</c:v>
                </c:pt>
                <c:pt idx="3999">
                  <c:v>0</c:v>
                </c:pt>
                <c:pt idx="4000">
                  <c:v>0</c:v>
                </c:pt>
                <c:pt idx="4001">
                  <c:v>0</c:v>
                </c:pt>
                <c:pt idx="4002">
                  <c:v>0</c:v>
                </c:pt>
                <c:pt idx="4003">
                  <c:v>0</c:v>
                </c:pt>
                <c:pt idx="4004">
                  <c:v>0</c:v>
                </c:pt>
                <c:pt idx="4005">
                  <c:v>0</c:v>
                </c:pt>
                <c:pt idx="4006">
                  <c:v>0</c:v>
                </c:pt>
                <c:pt idx="4007">
                  <c:v>0</c:v>
                </c:pt>
                <c:pt idx="4008">
                  <c:v>0</c:v>
                </c:pt>
                <c:pt idx="4009">
                  <c:v>0</c:v>
                </c:pt>
                <c:pt idx="4010">
                  <c:v>0</c:v>
                </c:pt>
                <c:pt idx="4011">
                  <c:v>0</c:v>
                </c:pt>
                <c:pt idx="4012">
                  <c:v>0</c:v>
                </c:pt>
                <c:pt idx="4013">
                  <c:v>0</c:v>
                </c:pt>
                <c:pt idx="4014">
                  <c:v>0</c:v>
                </c:pt>
                <c:pt idx="4015">
                  <c:v>0</c:v>
                </c:pt>
                <c:pt idx="4016">
                  <c:v>0</c:v>
                </c:pt>
                <c:pt idx="4017">
                  <c:v>0</c:v>
                </c:pt>
                <c:pt idx="4018">
                  <c:v>0</c:v>
                </c:pt>
                <c:pt idx="4019">
                  <c:v>0</c:v>
                </c:pt>
                <c:pt idx="4020">
                  <c:v>0</c:v>
                </c:pt>
                <c:pt idx="4021">
                  <c:v>0</c:v>
                </c:pt>
                <c:pt idx="4022">
                  <c:v>0</c:v>
                </c:pt>
                <c:pt idx="4023">
                  <c:v>0</c:v>
                </c:pt>
                <c:pt idx="4024">
                  <c:v>0</c:v>
                </c:pt>
                <c:pt idx="4025">
                  <c:v>0</c:v>
                </c:pt>
                <c:pt idx="4026">
                  <c:v>0</c:v>
                </c:pt>
                <c:pt idx="4027">
                  <c:v>0</c:v>
                </c:pt>
                <c:pt idx="4028">
                  <c:v>0</c:v>
                </c:pt>
                <c:pt idx="4029">
                  <c:v>0</c:v>
                </c:pt>
                <c:pt idx="4030">
                  <c:v>0</c:v>
                </c:pt>
                <c:pt idx="4031">
                  <c:v>0</c:v>
                </c:pt>
                <c:pt idx="4032">
                  <c:v>0</c:v>
                </c:pt>
                <c:pt idx="4033">
                  <c:v>0</c:v>
                </c:pt>
                <c:pt idx="4034">
                  <c:v>0</c:v>
                </c:pt>
                <c:pt idx="4035">
                  <c:v>0</c:v>
                </c:pt>
                <c:pt idx="4036">
                  <c:v>0</c:v>
                </c:pt>
                <c:pt idx="4037">
                  <c:v>0</c:v>
                </c:pt>
                <c:pt idx="4038">
                  <c:v>0</c:v>
                </c:pt>
                <c:pt idx="4039">
                  <c:v>0</c:v>
                </c:pt>
                <c:pt idx="4040">
                  <c:v>0</c:v>
                </c:pt>
                <c:pt idx="4041">
                  <c:v>0</c:v>
                </c:pt>
                <c:pt idx="4042">
                  <c:v>0</c:v>
                </c:pt>
                <c:pt idx="4043">
                  <c:v>0</c:v>
                </c:pt>
                <c:pt idx="4044">
                  <c:v>0</c:v>
                </c:pt>
                <c:pt idx="4045">
                  <c:v>0</c:v>
                </c:pt>
                <c:pt idx="4046">
                  <c:v>0</c:v>
                </c:pt>
                <c:pt idx="4047">
                  <c:v>0</c:v>
                </c:pt>
                <c:pt idx="4048">
                  <c:v>0</c:v>
                </c:pt>
                <c:pt idx="4049">
                  <c:v>0</c:v>
                </c:pt>
                <c:pt idx="4050">
                  <c:v>0</c:v>
                </c:pt>
                <c:pt idx="4051">
                  <c:v>0</c:v>
                </c:pt>
                <c:pt idx="4052">
                  <c:v>0</c:v>
                </c:pt>
                <c:pt idx="4053">
                  <c:v>0</c:v>
                </c:pt>
                <c:pt idx="4054">
                  <c:v>0</c:v>
                </c:pt>
                <c:pt idx="4055">
                  <c:v>0</c:v>
                </c:pt>
                <c:pt idx="4056">
                  <c:v>0</c:v>
                </c:pt>
                <c:pt idx="4057">
                  <c:v>0</c:v>
                </c:pt>
                <c:pt idx="4058">
                  <c:v>0</c:v>
                </c:pt>
                <c:pt idx="4059">
                  <c:v>0</c:v>
                </c:pt>
                <c:pt idx="4060">
                  <c:v>0</c:v>
                </c:pt>
                <c:pt idx="4061">
                  <c:v>0</c:v>
                </c:pt>
                <c:pt idx="4062">
                  <c:v>0</c:v>
                </c:pt>
                <c:pt idx="4063">
                  <c:v>0</c:v>
                </c:pt>
                <c:pt idx="4064">
                  <c:v>0</c:v>
                </c:pt>
                <c:pt idx="4065">
                  <c:v>0</c:v>
                </c:pt>
                <c:pt idx="4066">
                  <c:v>0</c:v>
                </c:pt>
                <c:pt idx="4067">
                  <c:v>0</c:v>
                </c:pt>
                <c:pt idx="4068">
                  <c:v>0</c:v>
                </c:pt>
                <c:pt idx="4069">
                  <c:v>0</c:v>
                </c:pt>
                <c:pt idx="4070">
                  <c:v>0</c:v>
                </c:pt>
                <c:pt idx="4071">
                  <c:v>0</c:v>
                </c:pt>
                <c:pt idx="4072">
                  <c:v>0</c:v>
                </c:pt>
                <c:pt idx="4073">
                  <c:v>0</c:v>
                </c:pt>
                <c:pt idx="4074">
                  <c:v>0</c:v>
                </c:pt>
                <c:pt idx="4075">
                  <c:v>0</c:v>
                </c:pt>
                <c:pt idx="4076">
                  <c:v>0</c:v>
                </c:pt>
                <c:pt idx="4077">
                  <c:v>0</c:v>
                </c:pt>
                <c:pt idx="4078">
                  <c:v>0</c:v>
                </c:pt>
                <c:pt idx="4079">
                  <c:v>0</c:v>
                </c:pt>
                <c:pt idx="4080">
                  <c:v>0</c:v>
                </c:pt>
                <c:pt idx="4081">
                  <c:v>0</c:v>
                </c:pt>
                <c:pt idx="4082">
                  <c:v>0</c:v>
                </c:pt>
                <c:pt idx="4083">
                  <c:v>0</c:v>
                </c:pt>
                <c:pt idx="4084">
                  <c:v>0</c:v>
                </c:pt>
                <c:pt idx="4085">
                  <c:v>0</c:v>
                </c:pt>
                <c:pt idx="4086">
                  <c:v>0</c:v>
                </c:pt>
                <c:pt idx="4087">
                  <c:v>0</c:v>
                </c:pt>
                <c:pt idx="4088">
                  <c:v>0</c:v>
                </c:pt>
                <c:pt idx="4089">
                  <c:v>0</c:v>
                </c:pt>
                <c:pt idx="4090">
                  <c:v>0</c:v>
                </c:pt>
                <c:pt idx="4091">
                  <c:v>0</c:v>
                </c:pt>
                <c:pt idx="4092">
                  <c:v>0</c:v>
                </c:pt>
                <c:pt idx="4093">
                  <c:v>0</c:v>
                </c:pt>
                <c:pt idx="4094">
                  <c:v>0</c:v>
                </c:pt>
                <c:pt idx="4095">
                  <c:v>0</c:v>
                </c:pt>
                <c:pt idx="4096">
                  <c:v>0</c:v>
                </c:pt>
                <c:pt idx="4097">
                  <c:v>0</c:v>
                </c:pt>
                <c:pt idx="4098">
                  <c:v>0</c:v>
                </c:pt>
                <c:pt idx="4099">
                  <c:v>0</c:v>
                </c:pt>
                <c:pt idx="4100">
                  <c:v>0</c:v>
                </c:pt>
                <c:pt idx="4101">
                  <c:v>0</c:v>
                </c:pt>
                <c:pt idx="4102">
                  <c:v>0</c:v>
                </c:pt>
                <c:pt idx="4103">
                  <c:v>0</c:v>
                </c:pt>
                <c:pt idx="4104">
                  <c:v>0</c:v>
                </c:pt>
                <c:pt idx="4105">
                  <c:v>0</c:v>
                </c:pt>
                <c:pt idx="4106">
                  <c:v>0</c:v>
                </c:pt>
                <c:pt idx="4107">
                  <c:v>0</c:v>
                </c:pt>
                <c:pt idx="4108">
                  <c:v>0</c:v>
                </c:pt>
                <c:pt idx="4109">
                  <c:v>0</c:v>
                </c:pt>
                <c:pt idx="4110">
                  <c:v>0</c:v>
                </c:pt>
                <c:pt idx="4111">
                  <c:v>0</c:v>
                </c:pt>
                <c:pt idx="4112">
                  <c:v>0</c:v>
                </c:pt>
                <c:pt idx="4113">
                  <c:v>0</c:v>
                </c:pt>
                <c:pt idx="4114">
                  <c:v>0</c:v>
                </c:pt>
                <c:pt idx="4115">
                  <c:v>0</c:v>
                </c:pt>
                <c:pt idx="4116">
                  <c:v>0</c:v>
                </c:pt>
                <c:pt idx="4117">
                  <c:v>0</c:v>
                </c:pt>
                <c:pt idx="4118">
                  <c:v>0</c:v>
                </c:pt>
                <c:pt idx="4119">
                  <c:v>0</c:v>
                </c:pt>
                <c:pt idx="4120">
                  <c:v>0</c:v>
                </c:pt>
                <c:pt idx="4121">
                  <c:v>0</c:v>
                </c:pt>
                <c:pt idx="4122">
                  <c:v>0</c:v>
                </c:pt>
                <c:pt idx="4123">
                  <c:v>0</c:v>
                </c:pt>
                <c:pt idx="4124">
                  <c:v>0</c:v>
                </c:pt>
                <c:pt idx="4125">
                  <c:v>0</c:v>
                </c:pt>
                <c:pt idx="4126">
                  <c:v>0</c:v>
                </c:pt>
                <c:pt idx="4127">
                  <c:v>0</c:v>
                </c:pt>
                <c:pt idx="4128">
                  <c:v>0</c:v>
                </c:pt>
                <c:pt idx="4129">
                  <c:v>0</c:v>
                </c:pt>
                <c:pt idx="4130">
                  <c:v>0</c:v>
                </c:pt>
                <c:pt idx="4131">
                  <c:v>0</c:v>
                </c:pt>
                <c:pt idx="4132">
                  <c:v>0</c:v>
                </c:pt>
                <c:pt idx="4133">
                  <c:v>0</c:v>
                </c:pt>
                <c:pt idx="4134">
                  <c:v>0</c:v>
                </c:pt>
                <c:pt idx="4135">
                  <c:v>0</c:v>
                </c:pt>
                <c:pt idx="4136">
                  <c:v>0</c:v>
                </c:pt>
                <c:pt idx="4137">
                  <c:v>0</c:v>
                </c:pt>
                <c:pt idx="4138">
                  <c:v>0</c:v>
                </c:pt>
                <c:pt idx="4139">
                  <c:v>0</c:v>
                </c:pt>
                <c:pt idx="4140">
                  <c:v>0</c:v>
                </c:pt>
                <c:pt idx="4141">
                  <c:v>0</c:v>
                </c:pt>
                <c:pt idx="4142">
                  <c:v>0</c:v>
                </c:pt>
                <c:pt idx="4143">
                  <c:v>0</c:v>
                </c:pt>
                <c:pt idx="4144">
                  <c:v>0</c:v>
                </c:pt>
                <c:pt idx="4145">
                  <c:v>0</c:v>
                </c:pt>
                <c:pt idx="4146">
                  <c:v>0</c:v>
                </c:pt>
                <c:pt idx="4147">
                  <c:v>0</c:v>
                </c:pt>
                <c:pt idx="4148">
                  <c:v>0</c:v>
                </c:pt>
                <c:pt idx="4149">
                  <c:v>0</c:v>
                </c:pt>
                <c:pt idx="4150">
                  <c:v>0</c:v>
                </c:pt>
                <c:pt idx="4151">
                  <c:v>0</c:v>
                </c:pt>
                <c:pt idx="4152">
                  <c:v>0</c:v>
                </c:pt>
                <c:pt idx="4153">
                  <c:v>0</c:v>
                </c:pt>
                <c:pt idx="4154">
                  <c:v>0</c:v>
                </c:pt>
                <c:pt idx="4155">
                  <c:v>0</c:v>
                </c:pt>
                <c:pt idx="4156">
                  <c:v>0</c:v>
                </c:pt>
                <c:pt idx="4157">
                  <c:v>0</c:v>
                </c:pt>
                <c:pt idx="4158">
                  <c:v>0</c:v>
                </c:pt>
                <c:pt idx="4159">
                  <c:v>0</c:v>
                </c:pt>
                <c:pt idx="4160">
                  <c:v>0</c:v>
                </c:pt>
                <c:pt idx="4161">
                  <c:v>0</c:v>
                </c:pt>
                <c:pt idx="4162">
                  <c:v>0</c:v>
                </c:pt>
                <c:pt idx="4163">
                  <c:v>0</c:v>
                </c:pt>
                <c:pt idx="4164">
                  <c:v>0</c:v>
                </c:pt>
                <c:pt idx="4165">
                  <c:v>0</c:v>
                </c:pt>
                <c:pt idx="4166">
                  <c:v>0</c:v>
                </c:pt>
                <c:pt idx="4167">
                  <c:v>0</c:v>
                </c:pt>
                <c:pt idx="4168">
                  <c:v>0</c:v>
                </c:pt>
                <c:pt idx="4169">
                  <c:v>0</c:v>
                </c:pt>
                <c:pt idx="4170">
                  <c:v>0</c:v>
                </c:pt>
                <c:pt idx="4171">
                  <c:v>0</c:v>
                </c:pt>
                <c:pt idx="4172">
                  <c:v>0</c:v>
                </c:pt>
                <c:pt idx="4173">
                  <c:v>0</c:v>
                </c:pt>
                <c:pt idx="4174">
                  <c:v>0</c:v>
                </c:pt>
                <c:pt idx="4175">
                  <c:v>0</c:v>
                </c:pt>
                <c:pt idx="4176">
                  <c:v>0</c:v>
                </c:pt>
                <c:pt idx="4177">
                  <c:v>0</c:v>
                </c:pt>
                <c:pt idx="4178">
                  <c:v>0</c:v>
                </c:pt>
                <c:pt idx="4179">
                  <c:v>0</c:v>
                </c:pt>
                <c:pt idx="4180">
                  <c:v>0</c:v>
                </c:pt>
                <c:pt idx="4181">
                  <c:v>0</c:v>
                </c:pt>
                <c:pt idx="4182">
                  <c:v>0</c:v>
                </c:pt>
                <c:pt idx="4183">
                  <c:v>0</c:v>
                </c:pt>
                <c:pt idx="4184">
                  <c:v>0</c:v>
                </c:pt>
                <c:pt idx="4185">
                  <c:v>0</c:v>
                </c:pt>
                <c:pt idx="4186">
                  <c:v>0</c:v>
                </c:pt>
                <c:pt idx="4187">
                  <c:v>0</c:v>
                </c:pt>
                <c:pt idx="4188">
                  <c:v>0</c:v>
                </c:pt>
                <c:pt idx="4189">
                  <c:v>0</c:v>
                </c:pt>
                <c:pt idx="4190">
                  <c:v>0</c:v>
                </c:pt>
                <c:pt idx="4191">
                  <c:v>0</c:v>
                </c:pt>
                <c:pt idx="4192">
                  <c:v>0</c:v>
                </c:pt>
                <c:pt idx="4193">
                  <c:v>0</c:v>
                </c:pt>
                <c:pt idx="4194">
                  <c:v>0</c:v>
                </c:pt>
                <c:pt idx="4195">
                  <c:v>0</c:v>
                </c:pt>
                <c:pt idx="4196">
                  <c:v>0</c:v>
                </c:pt>
                <c:pt idx="4197">
                  <c:v>0</c:v>
                </c:pt>
                <c:pt idx="4198">
                  <c:v>0</c:v>
                </c:pt>
                <c:pt idx="4199">
                  <c:v>0</c:v>
                </c:pt>
                <c:pt idx="4200">
                  <c:v>0</c:v>
                </c:pt>
                <c:pt idx="4201">
                  <c:v>0</c:v>
                </c:pt>
                <c:pt idx="4202">
                  <c:v>0</c:v>
                </c:pt>
                <c:pt idx="4203">
                  <c:v>0</c:v>
                </c:pt>
                <c:pt idx="4204">
                  <c:v>0</c:v>
                </c:pt>
                <c:pt idx="4205">
                  <c:v>0</c:v>
                </c:pt>
                <c:pt idx="4206">
                  <c:v>0</c:v>
                </c:pt>
                <c:pt idx="4207">
                  <c:v>0</c:v>
                </c:pt>
                <c:pt idx="4208">
                  <c:v>0</c:v>
                </c:pt>
                <c:pt idx="4209">
                  <c:v>0</c:v>
                </c:pt>
                <c:pt idx="4210">
                  <c:v>0</c:v>
                </c:pt>
                <c:pt idx="4211">
                  <c:v>0</c:v>
                </c:pt>
                <c:pt idx="4212">
                  <c:v>0</c:v>
                </c:pt>
                <c:pt idx="4213">
                  <c:v>0</c:v>
                </c:pt>
                <c:pt idx="4214">
                  <c:v>0</c:v>
                </c:pt>
                <c:pt idx="4215">
                  <c:v>0</c:v>
                </c:pt>
                <c:pt idx="4216">
                  <c:v>0</c:v>
                </c:pt>
                <c:pt idx="4217">
                  <c:v>0</c:v>
                </c:pt>
                <c:pt idx="4218">
                  <c:v>0</c:v>
                </c:pt>
                <c:pt idx="4219">
                  <c:v>0</c:v>
                </c:pt>
                <c:pt idx="4220">
                  <c:v>0</c:v>
                </c:pt>
                <c:pt idx="4221">
                  <c:v>0</c:v>
                </c:pt>
                <c:pt idx="4222">
                  <c:v>0</c:v>
                </c:pt>
                <c:pt idx="4223">
                  <c:v>0</c:v>
                </c:pt>
                <c:pt idx="4224">
                  <c:v>0</c:v>
                </c:pt>
                <c:pt idx="4225">
                  <c:v>0</c:v>
                </c:pt>
                <c:pt idx="4226">
                  <c:v>0</c:v>
                </c:pt>
                <c:pt idx="4227">
                  <c:v>0</c:v>
                </c:pt>
                <c:pt idx="4228">
                  <c:v>0</c:v>
                </c:pt>
                <c:pt idx="4229">
                  <c:v>0</c:v>
                </c:pt>
                <c:pt idx="4230">
                  <c:v>0</c:v>
                </c:pt>
                <c:pt idx="4231">
                  <c:v>0</c:v>
                </c:pt>
                <c:pt idx="4232">
                  <c:v>0</c:v>
                </c:pt>
                <c:pt idx="4233">
                  <c:v>0</c:v>
                </c:pt>
                <c:pt idx="4234">
                  <c:v>0</c:v>
                </c:pt>
                <c:pt idx="4235">
                  <c:v>0</c:v>
                </c:pt>
                <c:pt idx="4236">
                  <c:v>0</c:v>
                </c:pt>
                <c:pt idx="4237">
                  <c:v>0</c:v>
                </c:pt>
                <c:pt idx="4238">
                  <c:v>0</c:v>
                </c:pt>
                <c:pt idx="4239">
                  <c:v>0</c:v>
                </c:pt>
                <c:pt idx="4240">
                  <c:v>0</c:v>
                </c:pt>
                <c:pt idx="4241">
                  <c:v>0</c:v>
                </c:pt>
                <c:pt idx="4242">
                  <c:v>0</c:v>
                </c:pt>
                <c:pt idx="4243">
                  <c:v>0</c:v>
                </c:pt>
                <c:pt idx="4244">
                  <c:v>0</c:v>
                </c:pt>
                <c:pt idx="4245">
                  <c:v>0</c:v>
                </c:pt>
                <c:pt idx="4246">
                  <c:v>0</c:v>
                </c:pt>
                <c:pt idx="4247">
                  <c:v>0</c:v>
                </c:pt>
                <c:pt idx="4248">
                  <c:v>0</c:v>
                </c:pt>
                <c:pt idx="4249">
                  <c:v>0</c:v>
                </c:pt>
                <c:pt idx="4250">
                  <c:v>0</c:v>
                </c:pt>
                <c:pt idx="4251">
                  <c:v>0</c:v>
                </c:pt>
                <c:pt idx="4252">
                  <c:v>0</c:v>
                </c:pt>
                <c:pt idx="4253">
                  <c:v>0</c:v>
                </c:pt>
                <c:pt idx="4254">
                  <c:v>0</c:v>
                </c:pt>
                <c:pt idx="4255">
                  <c:v>0</c:v>
                </c:pt>
                <c:pt idx="4256">
                  <c:v>0</c:v>
                </c:pt>
                <c:pt idx="4257">
                  <c:v>0</c:v>
                </c:pt>
                <c:pt idx="4258">
                  <c:v>0</c:v>
                </c:pt>
                <c:pt idx="4259">
                  <c:v>0</c:v>
                </c:pt>
                <c:pt idx="4260">
                  <c:v>0</c:v>
                </c:pt>
                <c:pt idx="4261">
                  <c:v>0</c:v>
                </c:pt>
                <c:pt idx="4262">
                  <c:v>0</c:v>
                </c:pt>
                <c:pt idx="4263">
                  <c:v>0</c:v>
                </c:pt>
                <c:pt idx="4264">
                  <c:v>0</c:v>
                </c:pt>
                <c:pt idx="4265">
                  <c:v>0</c:v>
                </c:pt>
                <c:pt idx="4266">
                  <c:v>0</c:v>
                </c:pt>
                <c:pt idx="4267">
                  <c:v>0</c:v>
                </c:pt>
                <c:pt idx="4268">
                  <c:v>0</c:v>
                </c:pt>
                <c:pt idx="4269">
                  <c:v>0</c:v>
                </c:pt>
                <c:pt idx="4270">
                  <c:v>0</c:v>
                </c:pt>
                <c:pt idx="4271">
                  <c:v>0</c:v>
                </c:pt>
                <c:pt idx="4272">
                  <c:v>0</c:v>
                </c:pt>
                <c:pt idx="4273">
                  <c:v>0</c:v>
                </c:pt>
                <c:pt idx="4274">
                  <c:v>0</c:v>
                </c:pt>
                <c:pt idx="4275">
                  <c:v>0</c:v>
                </c:pt>
                <c:pt idx="4276">
                  <c:v>0</c:v>
                </c:pt>
                <c:pt idx="4277">
                  <c:v>0</c:v>
                </c:pt>
                <c:pt idx="4278">
                  <c:v>0</c:v>
                </c:pt>
                <c:pt idx="4279">
                  <c:v>0</c:v>
                </c:pt>
                <c:pt idx="4280">
                  <c:v>0</c:v>
                </c:pt>
                <c:pt idx="4281">
                  <c:v>0</c:v>
                </c:pt>
                <c:pt idx="4282">
                  <c:v>0</c:v>
                </c:pt>
                <c:pt idx="4283">
                  <c:v>0</c:v>
                </c:pt>
                <c:pt idx="4284">
                  <c:v>0</c:v>
                </c:pt>
                <c:pt idx="4285">
                  <c:v>0</c:v>
                </c:pt>
                <c:pt idx="4286">
                  <c:v>0</c:v>
                </c:pt>
                <c:pt idx="4287">
                  <c:v>0</c:v>
                </c:pt>
                <c:pt idx="4288">
                  <c:v>0</c:v>
                </c:pt>
                <c:pt idx="4289">
                  <c:v>0</c:v>
                </c:pt>
                <c:pt idx="4290">
                  <c:v>0</c:v>
                </c:pt>
                <c:pt idx="4291">
                  <c:v>0</c:v>
                </c:pt>
                <c:pt idx="4292">
                  <c:v>0</c:v>
                </c:pt>
                <c:pt idx="4293">
                  <c:v>0</c:v>
                </c:pt>
                <c:pt idx="4294">
                  <c:v>0</c:v>
                </c:pt>
                <c:pt idx="4295">
                  <c:v>0</c:v>
                </c:pt>
                <c:pt idx="4296">
                  <c:v>0</c:v>
                </c:pt>
                <c:pt idx="4297">
                  <c:v>0</c:v>
                </c:pt>
                <c:pt idx="4298">
                  <c:v>0</c:v>
                </c:pt>
                <c:pt idx="4299">
                  <c:v>0</c:v>
                </c:pt>
                <c:pt idx="4300">
                  <c:v>0</c:v>
                </c:pt>
                <c:pt idx="4301">
                  <c:v>0</c:v>
                </c:pt>
                <c:pt idx="4302">
                  <c:v>0</c:v>
                </c:pt>
                <c:pt idx="4303">
                  <c:v>0</c:v>
                </c:pt>
                <c:pt idx="4304">
                  <c:v>0</c:v>
                </c:pt>
                <c:pt idx="4305">
                  <c:v>0</c:v>
                </c:pt>
                <c:pt idx="4306">
                  <c:v>0</c:v>
                </c:pt>
                <c:pt idx="4307">
                  <c:v>0</c:v>
                </c:pt>
                <c:pt idx="4308">
                  <c:v>0</c:v>
                </c:pt>
                <c:pt idx="4309">
                  <c:v>0</c:v>
                </c:pt>
                <c:pt idx="4310">
                  <c:v>0</c:v>
                </c:pt>
                <c:pt idx="4311">
                  <c:v>0</c:v>
                </c:pt>
                <c:pt idx="4312">
                  <c:v>1.0149724496627015</c:v>
                </c:pt>
                <c:pt idx="4313">
                  <c:v>0.99878984499716772</c:v>
                </c:pt>
                <c:pt idx="4314">
                  <c:v>1.0052397136824758</c:v>
                </c:pt>
                <c:pt idx="4315">
                  <c:v>0.98625057932952265</c:v>
                </c:pt>
                <c:pt idx="4316">
                  <c:v>0.98206653277717693</c:v>
                </c:pt>
                <c:pt idx="4317">
                  <c:v>0.99112982130902738</c:v>
                </c:pt>
                <c:pt idx="4318">
                  <c:v>0.9916576548740923</c:v>
                </c:pt>
                <c:pt idx="4319">
                  <c:v>0.96553633039806375</c:v>
                </c:pt>
                <c:pt idx="4320">
                  <c:v>0.9714969874864825</c:v>
                </c:pt>
                <c:pt idx="4321">
                  <c:v>0.96382408980895007</c:v>
                </c:pt>
                <c:pt idx="4322">
                  <c:v>0.95325454451825542</c:v>
                </c:pt>
                <c:pt idx="4323">
                  <c:v>0.95392399196663069</c:v>
                </c:pt>
                <c:pt idx="4324">
                  <c:v>0.96424893145888046</c:v>
                </c:pt>
                <c:pt idx="4325">
                  <c:v>0.95523713888459749</c:v>
                </c:pt>
                <c:pt idx="4326">
                  <c:v>0.96847159997940158</c:v>
                </c:pt>
                <c:pt idx="4327">
                  <c:v>0.95656315979195639</c:v>
                </c:pt>
                <c:pt idx="4328">
                  <c:v>0.90103764354498184</c:v>
                </c:pt>
                <c:pt idx="4329">
                  <c:v>0.9108218754827746</c:v>
                </c:pt>
                <c:pt idx="4330">
                  <c:v>0.91043565580101959</c:v>
                </c:pt>
                <c:pt idx="4331">
                  <c:v>0.89448478294453881</c:v>
                </c:pt>
                <c:pt idx="4332">
                  <c:v>0.89439466501879616</c:v>
                </c:pt>
                <c:pt idx="4333">
                  <c:v>0.86891704001235914</c:v>
                </c:pt>
                <c:pt idx="4334">
                  <c:v>0.87129872804984809</c:v>
                </c:pt>
                <c:pt idx="4335">
                  <c:v>0.90348370152942992</c:v>
                </c:pt>
                <c:pt idx="4336">
                  <c:v>0.8954245841701427</c:v>
                </c:pt>
                <c:pt idx="4337">
                  <c:v>0.91747772799835214</c:v>
                </c:pt>
                <c:pt idx="4338">
                  <c:v>0.89761316236675426</c:v>
                </c:pt>
                <c:pt idx="4339">
                  <c:v>0.87656418971110783</c:v>
                </c:pt>
                <c:pt idx="4340">
                  <c:v>0.8844430712189093</c:v>
                </c:pt>
                <c:pt idx="4341">
                  <c:v>0.8440187445285543</c:v>
                </c:pt>
                <c:pt idx="4342">
                  <c:v>0.88834389000463454</c:v>
                </c:pt>
                <c:pt idx="4343">
                  <c:v>0.90453936865956019</c:v>
                </c:pt>
                <c:pt idx="4344">
                  <c:v>0.8828209485555385</c:v>
                </c:pt>
                <c:pt idx="4345">
                  <c:v>0.88484216489005596</c:v>
                </c:pt>
                <c:pt idx="4346">
                  <c:v>0.86302075287089952</c:v>
                </c:pt>
                <c:pt idx="4347">
                  <c:v>0.86099953653638184</c:v>
                </c:pt>
                <c:pt idx="4348">
                  <c:v>0.86150162212266346</c:v>
                </c:pt>
                <c:pt idx="4349">
                  <c:v>0.81686750090117921</c:v>
                </c:pt>
                <c:pt idx="4350">
                  <c:v>0.81098408774911168</c:v>
                </c:pt>
                <c:pt idx="4351">
                  <c:v>0.83652608270250783</c:v>
                </c:pt>
                <c:pt idx="4352">
                  <c:v>0.87048766671816269</c:v>
                </c:pt>
                <c:pt idx="4353">
                  <c:v>0.87141459395437471</c:v>
                </c:pt>
                <c:pt idx="4354">
                  <c:v>0.8707065245378236</c:v>
                </c:pt>
                <c:pt idx="4355">
                  <c:v>0.92786703743756127</c:v>
                </c:pt>
                <c:pt idx="4356">
                  <c:v>0.90111488748133284</c:v>
                </c:pt>
                <c:pt idx="4357">
                  <c:v>0.88947680107111604</c:v>
                </c:pt>
                <c:pt idx="4358">
                  <c:v>0.8449199237859828</c:v>
                </c:pt>
                <c:pt idx="4359">
                  <c:v>0.89530871826561631</c:v>
                </c:pt>
                <c:pt idx="4360">
                  <c:v>0.887082239044235</c:v>
                </c:pt>
                <c:pt idx="4361">
                  <c:v>0.87351305422524339</c:v>
                </c:pt>
                <c:pt idx="4362">
                  <c:v>0.89751017045161974</c:v>
                </c:pt>
                <c:pt idx="4363">
                  <c:v>0.87825068232143777</c:v>
                </c:pt>
                <c:pt idx="4364">
                  <c:v>0.9087749111694734</c:v>
                </c:pt>
                <c:pt idx="4365">
                  <c:v>0.95438745558473648</c:v>
                </c:pt>
                <c:pt idx="4366">
                  <c:v>0.9453112930634946</c:v>
                </c:pt>
                <c:pt idx="4367">
                  <c:v>0.98461558267675975</c:v>
                </c:pt>
                <c:pt idx="4368">
                  <c:v>0.97499871260106064</c:v>
                </c:pt>
                <c:pt idx="4369">
                  <c:v>0.99943354446675925</c:v>
                </c:pt>
                <c:pt idx="4370">
                  <c:v>0.99053761779700311</c:v>
                </c:pt>
                <c:pt idx="4371">
                  <c:v>0.99465729440238926</c:v>
                </c:pt>
                <c:pt idx="4372">
                  <c:v>0.99485040424326687</c:v>
                </c:pt>
                <c:pt idx="4373">
                  <c:v>0.99868685308203298</c:v>
                </c:pt>
                <c:pt idx="4374">
                  <c:v>0.99250733817395353</c:v>
                </c:pt>
                <c:pt idx="4375">
                  <c:v>0.95525001287398936</c:v>
                </c:pt>
                <c:pt idx="4376">
                  <c:v>0.94412688603944583</c:v>
                </c:pt>
                <c:pt idx="4377">
                  <c:v>0.97210206498789842</c:v>
                </c:pt>
                <c:pt idx="4378">
                  <c:v>0.97028683248365022</c:v>
                </c:pt>
                <c:pt idx="4379">
                  <c:v>0.96379834183016655</c:v>
                </c:pt>
                <c:pt idx="4380">
                  <c:v>0.96311602039239919</c:v>
                </c:pt>
                <c:pt idx="4381">
                  <c:v>0.95611257016324225</c:v>
                </c:pt>
                <c:pt idx="4382">
                  <c:v>0.935411195221175</c:v>
                </c:pt>
                <c:pt idx="4383">
                  <c:v>0.93844945671764779</c:v>
                </c:pt>
                <c:pt idx="4384">
                  <c:v>0.93926051804933297</c:v>
                </c:pt>
                <c:pt idx="4385">
                  <c:v>0.92194500231731835</c:v>
                </c:pt>
                <c:pt idx="4386">
                  <c:v>0.92818888717235692</c:v>
                </c:pt>
                <c:pt idx="4387">
                  <c:v>0.93439415005922033</c:v>
                </c:pt>
                <c:pt idx="4388">
                  <c:v>0.95966579123538809</c:v>
                </c:pt>
                <c:pt idx="4389">
                  <c:v>0.94762861115402441</c:v>
                </c:pt>
                <c:pt idx="4390">
                  <c:v>0.97448375302538759</c:v>
                </c:pt>
                <c:pt idx="4391">
                  <c:v>0.97107214583655188</c:v>
                </c:pt>
                <c:pt idx="4392">
                  <c:v>0.97346670786343292</c:v>
                </c:pt>
                <c:pt idx="4393">
                  <c:v>0.96066996240795111</c:v>
                </c:pt>
                <c:pt idx="4394">
                  <c:v>0.95127195015191313</c:v>
                </c:pt>
                <c:pt idx="4395">
                  <c:v>0.92208661620062826</c:v>
                </c:pt>
                <c:pt idx="4396">
                  <c:v>0.94283948710026255</c:v>
                </c:pt>
                <c:pt idx="4397">
                  <c:v>0.94097275863844709</c:v>
                </c:pt>
                <c:pt idx="4398">
                  <c:v>0.91915134661929043</c:v>
                </c:pt>
                <c:pt idx="4399">
                  <c:v>0.95347340233791655</c:v>
                </c:pt>
                <c:pt idx="4400">
                  <c:v>0.97094340594263362</c:v>
                </c:pt>
                <c:pt idx="4401">
                  <c:v>0.98153869921211201</c:v>
                </c:pt>
                <c:pt idx="4402">
                  <c:v>0.9778824862248312</c:v>
                </c:pt>
                <c:pt idx="4403">
                  <c:v>0.970518564292703</c:v>
                </c:pt>
                <c:pt idx="4404">
                  <c:v>0.9700164787064216</c:v>
                </c:pt>
                <c:pt idx="4405">
                  <c:v>0.95441320356352022</c:v>
                </c:pt>
                <c:pt idx="4406">
                  <c:v>0.95134919408826413</c:v>
                </c:pt>
                <c:pt idx="4407">
                  <c:v>0.94076677480817761</c:v>
                </c:pt>
                <c:pt idx="4408">
                  <c:v>0.95978165713991448</c:v>
                </c:pt>
                <c:pt idx="4409">
                  <c:v>0.96215047118801156</c:v>
                </c:pt>
                <c:pt idx="4410">
                  <c:v>0.96341212214841132</c:v>
                </c:pt>
                <c:pt idx="4411">
                  <c:v>0.96038673464133062</c:v>
                </c:pt>
                <c:pt idx="4412">
                  <c:v>0.94751274524949802</c:v>
                </c:pt>
                <c:pt idx="4413">
                  <c:v>0.94930222977496292</c:v>
                </c:pt>
                <c:pt idx="4414">
                  <c:v>0.93263041351253939</c:v>
                </c:pt>
                <c:pt idx="4415">
                  <c:v>0.93515371543333869</c:v>
                </c:pt>
                <c:pt idx="4416">
                  <c:v>0.93862969256913331</c:v>
                </c:pt>
                <c:pt idx="4417">
                  <c:v>0.92011689582367784</c:v>
                </c:pt>
                <c:pt idx="4418">
                  <c:v>0.94729388742983667</c:v>
                </c:pt>
                <c:pt idx="4419">
                  <c:v>0.941037128585406</c:v>
                </c:pt>
                <c:pt idx="4420">
                  <c:v>0.94330295071836856</c:v>
                </c:pt>
                <c:pt idx="4421">
                  <c:v>0.93833359081312095</c:v>
                </c:pt>
                <c:pt idx="4422">
                  <c:v>0.93417529223955942</c:v>
                </c:pt>
                <c:pt idx="4423">
                  <c:v>0.92584582110304359</c:v>
                </c:pt>
                <c:pt idx="4424">
                  <c:v>0.9134610433081003</c:v>
                </c:pt>
                <c:pt idx="4425">
                  <c:v>0.90840156547710982</c:v>
                </c:pt>
                <c:pt idx="4426">
                  <c:v>0.92346413306555419</c:v>
                </c:pt>
                <c:pt idx="4427">
                  <c:v>0.92369586487460742</c:v>
                </c:pt>
                <c:pt idx="4428">
                  <c:v>0.92520212163345183</c:v>
                </c:pt>
                <c:pt idx="4429">
                  <c:v>0.90587826355631096</c:v>
                </c:pt>
                <c:pt idx="4430">
                  <c:v>0.90654771100468623</c:v>
                </c:pt>
                <c:pt idx="4431">
                  <c:v>0.91095061537669286</c:v>
                </c:pt>
                <c:pt idx="4432">
                  <c:v>0.89341624182501689</c:v>
                </c:pt>
                <c:pt idx="4433">
                  <c:v>0.89569493794737109</c:v>
                </c:pt>
                <c:pt idx="4434">
                  <c:v>0.89438179102940429</c:v>
                </c:pt>
                <c:pt idx="4435">
                  <c:v>0.89050672022246258</c:v>
                </c:pt>
                <c:pt idx="4436">
                  <c:v>0.8703975487924196</c:v>
                </c:pt>
                <c:pt idx="4437">
                  <c:v>0.86389618414954428</c:v>
                </c:pt>
                <c:pt idx="4438">
                  <c:v>0.85239971162263761</c:v>
                </c:pt>
                <c:pt idx="4439">
                  <c:v>0.86465574952366264</c:v>
                </c:pt>
                <c:pt idx="4440">
                  <c:v>0.85978938153354956</c:v>
                </c:pt>
                <c:pt idx="4441">
                  <c:v>0.85869509243524389</c:v>
                </c:pt>
                <c:pt idx="4442">
                  <c:v>0.85304341109222914</c:v>
                </c:pt>
                <c:pt idx="4443">
                  <c:v>0.85098357278953607</c:v>
                </c:pt>
                <c:pt idx="4444">
                  <c:v>0.83396415881353314</c:v>
                </c:pt>
                <c:pt idx="4445">
                  <c:v>0.82921365672794667</c:v>
                </c:pt>
                <c:pt idx="4446">
                  <c:v>0.83136361295638284</c:v>
                </c:pt>
                <c:pt idx="4447">
                  <c:v>0.82454039857871164</c:v>
                </c:pt>
                <c:pt idx="4448">
                  <c:v>0.83919099850661705</c:v>
                </c:pt>
                <c:pt idx="4449">
                  <c:v>0.85063597507595645</c:v>
                </c:pt>
                <c:pt idx="4450">
                  <c:v>0.84884649055049177</c:v>
                </c:pt>
                <c:pt idx="4451">
                  <c:v>0.84682527421597409</c:v>
                </c:pt>
                <c:pt idx="4452">
                  <c:v>0.84746897368556562</c:v>
                </c:pt>
                <c:pt idx="4453">
                  <c:v>0.81644265925124881</c:v>
                </c:pt>
                <c:pt idx="4454">
                  <c:v>0.80501055667130128</c:v>
                </c:pt>
                <c:pt idx="4455">
                  <c:v>0.78555795870024214</c:v>
                </c:pt>
                <c:pt idx="4456">
                  <c:v>0.79241979504608895</c:v>
                </c:pt>
                <c:pt idx="4457">
                  <c:v>0.78584118646686241</c:v>
                </c:pt>
                <c:pt idx="4458">
                  <c:v>0.77397136824759261</c:v>
                </c:pt>
                <c:pt idx="4459">
                  <c:v>0.8108553478551932</c:v>
                </c:pt>
                <c:pt idx="4460">
                  <c:v>0.80602760183325595</c:v>
                </c:pt>
                <c:pt idx="4461">
                  <c:v>0.80479169885164037</c:v>
                </c:pt>
                <c:pt idx="4462">
                  <c:v>0.79202070137494207</c:v>
                </c:pt>
                <c:pt idx="4463">
                  <c:v>0.79644935372573267</c:v>
                </c:pt>
                <c:pt idx="4464">
                  <c:v>0.76904063031052061</c:v>
                </c:pt>
                <c:pt idx="4465">
                  <c:v>0.78584118646686241</c:v>
                </c:pt>
                <c:pt idx="4466">
                  <c:v>0.80643956949379492</c:v>
                </c:pt>
                <c:pt idx="4467">
                  <c:v>0.81113857562181368</c:v>
                </c:pt>
                <c:pt idx="4468">
                  <c:v>0.80112261187496769</c:v>
                </c:pt>
                <c:pt idx="4469">
                  <c:v>0.86591740048406196</c:v>
                </c:pt>
                <c:pt idx="4470">
                  <c:v>0.86826046655337574</c:v>
                </c:pt>
                <c:pt idx="4471">
                  <c:v>0.8749420670477368</c:v>
                </c:pt>
                <c:pt idx="4472">
                  <c:v>0.87655131572171596</c:v>
                </c:pt>
                <c:pt idx="4473">
                  <c:v>0.87919048354704166</c:v>
                </c:pt>
                <c:pt idx="4474">
                  <c:v>0.87386065193882279</c:v>
                </c:pt>
                <c:pt idx="4475">
                  <c:v>0.87549564859158546</c:v>
                </c:pt>
                <c:pt idx="4476">
                  <c:v>0.87355167619341878</c:v>
                </c:pt>
                <c:pt idx="4477">
                  <c:v>0.85933879190483542</c:v>
                </c:pt>
                <c:pt idx="4478">
                  <c:v>0.84531901745712945</c:v>
                </c:pt>
                <c:pt idx="4479">
                  <c:v>0.85135691848189921</c:v>
                </c:pt>
                <c:pt idx="4480">
                  <c:v>0.86455275760852768</c:v>
                </c:pt>
                <c:pt idx="4481">
                  <c:v>0.86675420979453111</c:v>
                </c:pt>
                <c:pt idx="4482">
                  <c:v>0.86415366393738102</c:v>
                </c:pt>
                <c:pt idx="4483">
                  <c:v>0.86285339100880587</c:v>
                </c:pt>
                <c:pt idx="4484">
                  <c:v>0.86465574952366264</c:v>
                </c:pt>
                <c:pt idx="4485">
                  <c:v>0.86150162212266346</c:v>
                </c:pt>
                <c:pt idx="4486">
                  <c:v>0.85158865029095221</c:v>
                </c:pt>
                <c:pt idx="4487">
                  <c:v>0.83946135228384566</c:v>
                </c:pt>
                <c:pt idx="4488">
                  <c:v>0.82890468098254266</c:v>
                </c:pt>
                <c:pt idx="4489">
                  <c:v>0.83091302332766892</c:v>
                </c:pt>
                <c:pt idx="4490">
                  <c:v>0.83312734950306422</c:v>
                </c:pt>
                <c:pt idx="4491">
                  <c:v>0.85402183428600864</c:v>
                </c:pt>
                <c:pt idx="4492">
                  <c:v>0.83839281116432374</c:v>
                </c:pt>
                <c:pt idx="4493">
                  <c:v>0.83190432051084007</c:v>
                </c:pt>
                <c:pt idx="4494">
                  <c:v>0.8416241825016737</c:v>
                </c:pt>
                <c:pt idx="4495">
                  <c:v>0.83630722488284648</c:v>
                </c:pt>
                <c:pt idx="4496">
                  <c:v>0.84177867037437548</c:v>
                </c:pt>
                <c:pt idx="4497">
                  <c:v>0.84342654101653025</c:v>
                </c:pt>
                <c:pt idx="4498">
                  <c:v>0.84192028425768584</c:v>
                </c:pt>
                <c:pt idx="4499">
                  <c:v>0.83302435758792925</c:v>
                </c:pt>
                <c:pt idx="4500">
                  <c:v>0.82147638910345533</c:v>
                </c:pt>
                <c:pt idx="4501">
                  <c:v>0.81794891601009301</c:v>
                </c:pt>
                <c:pt idx="4502">
                  <c:v>0.81888871723569689</c:v>
                </c:pt>
                <c:pt idx="4503">
                  <c:v>0.8148591585560534</c:v>
                </c:pt>
                <c:pt idx="4504">
                  <c:v>0.82596941140120483</c:v>
                </c:pt>
                <c:pt idx="4505">
                  <c:v>0.82372933724702602</c:v>
                </c:pt>
                <c:pt idx="4506">
                  <c:v>0.82591791544363757</c:v>
                </c:pt>
                <c:pt idx="4507">
                  <c:v>0.83419589062258614</c:v>
                </c:pt>
                <c:pt idx="4508">
                  <c:v>0.83691230238426284</c:v>
                </c:pt>
                <c:pt idx="4509">
                  <c:v>0.82411555692878125</c:v>
                </c:pt>
                <c:pt idx="4510">
                  <c:v>0.81621092744219581</c:v>
                </c:pt>
                <c:pt idx="4511">
                  <c:v>0.82591791544363757</c:v>
                </c:pt>
                <c:pt idx="4512">
                  <c:v>0.83265101189556612</c:v>
                </c:pt>
                <c:pt idx="4513">
                  <c:v>0.83525155775271642</c:v>
                </c:pt>
                <c:pt idx="4514">
                  <c:v>0.83129924300942371</c:v>
                </c:pt>
                <c:pt idx="4515">
                  <c:v>0.83723415211905849</c:v>
                </c:pt>
                <c:pt idx="4516">
                  <c:v>0.83517431381636542</c:v>
                </c:pt>
                <c:pt idx="4517">
                  <c:v>0.81936505484319477</c:v>
                </c:pt>
                <c:pt idx="4518">
                  <c:v>0.81724084659354235</c:v>
                </c:pt>
                <c:pt idx="4519">
                  <c:v>0.81914619702353364</c:v>
                </c:pt>
                <c:pt idx="4520">
                  <c:v>0.81502652041814705</c:v>
                </c:pt>
                <c:pt idx="4521">
                  <c:v>0.81174365312322982</c:v>
                </c:pt>
                <c:pt idx="4522">
                  <c:v>0.81896596117204812</c:v>
                </c:pt>
                <c:pt idx="4523">
                  <c:v>0.82136052319892894</c:v>
                </c:pt>
                <c:pt idx="4524">
                  <c:v>0.81409959318193503</c:v>
                </c:pt>
                <c:pt idx="4525">
                  <c:v>0.79812297234667096</c:v>
                </c:pt>
                <c:pt idx="4526">
                  <c:v>0.80316957618826934</c:v>
                </c:pt>
                <c:pt idx="4527">
                  <c:v>0.80168906740820844</c:v>
                </c:pt>
                <c:pt idx="4528">
                  <c:v>0.78526185694423001</c:v>
                </c:pt>
                <c:pt idx="4529">
                  <c:v>0.7790565940573666</c:v>
                </c:pt>
                <c:pt idx="4530">
                  <c:v>0.80358154384880787</c:v>
                </c:pt>
                <c:pt idx="4531">
                  <c:v>0.8101987743962098</c:v>
                </c:pt>
                <c:pt idx="4532">
                  <c:v>0.80597610587568869</c:v>
                </c:pt>
                <c:pt idx="4533">
                  <c:v>0.80300221432617547</c:v>
                </c:pt>
                <c:pt idx="4534">
                  <c:v>0.80390339358360374</c:v>
                </c:pt>
                <c:pt idx="4535">
                  <c:v>0.80204953911117971</c:v>
                </c:pt>
                <c:pt idx="4536">
                  <c:v>0.79794273649518499</c:v>
                </c:pt>
                <c:pt idx="4537">
                  <c:v>0.79362995004892123</c:v>
                </c:pt>
                <c:pt idx="4538">
                  <c:v>0.78230083938410844</c:v>
                </c:pt>
                <c:pt idx="4539">
                  <c:v>0.77776919511818332</c:v>
                </c:pt>
                <c:pt idx="4540">
                  <c:v>0.77446057984448213</c:v>
                </c:pt>
                <c:pt idx="4541">
                  <c:v>0.78397445800504673</c:v>
                </c:pt>
                <c:pt idx="4542">
                  <c:v>0.78026674906019866</c:v>
                </c:pt>
                <c:pt idx="4543">
                  <c:v>0.77632730830629804</c:v>
                </c:pt>
                <c:pt idx="4544">
                  <c:v>0.7563983727277408</c:v>
                </c:pt>
                <c:pt idx="4545">
                  <c:v>0.7603120655028579</c:v>
                </c:pt>
                <c:pt idx="4546">
                  <c:v>0.76091714300427404</c:v>
                </c:pt>
                <c:pt idx="4547">
                  <c:v>0.77395849425820074</c:v>
                </c:pt>
                <c:pt idx="4548">
                  <c:v>0.77394562026880909</c:v>
                </c:pt>
                <c:pt idx="4549">
                  <c:v>0.77318605489469072</c:v>
                </c:pt>
                <c:pt idx="4550">
                  <c:v>0.78830011844070236</c:v>
                </c:pt>
                <c:pt idx="4551">
                  <c:v>0.77946856171790513</c:v>
                </c:pt>
                <c:pt idx="4552">
                  <c:v>0.7732375508522582</c:v>
                </c:pt>
                <c:pt idx="4553">
                  <c:v>0.7727740872341522</c:v>
                </c:pt>
                <c:pt idx="4554">
                  <c:v>0.76193418816622893</c:v>
                </c:pt>
                <c:pt idx="4555">
                  <c:v>0.75982285390596838</c:v>
                </c:pt>
                <c:pt idx="4556">
                  <c:v>0.75853545496678509</c:v>
                </c:pt>
                <c:pt idx="4557">
                  <c:v>0.75607652299294492</c:v>
                </c:pt>
                <c:pt idx="4558">
                  <c:v>0.76251351768886133</c:v>
                </c:pt>
                <c:pt idx="4559">
                  <c:v>0.75809773932746261</c:v>
                </c:pt>
                <c:pt idx="4560">
                  <c:v>0.75450589628714138</c:v>
                </c:pt>
                <c:pt idx="4561">
                  <c:v>0.73792419795046094</c:v>
                </c:pt>
                <c:pt idx="4562">
                  <c:v>0.74239147226942692</c:v>
                </c:pt>
                <c:pt idx="4563">
                  <c:v>0.73883825119728108</c:v>
                </c:pt>
                <c:pt idx="4564">
                  <c:v>0.73744786034296306</c:v>
                </c:pt>
                <c:pt idx="4565">
                  <c:v>0.74213399248159018</c:v>
                </c:pt>
                <c:pt idx="4566">
                  <c:v>0.73827179566404033</c:v>
                </c:pt>
                <c:pt idx="4567">
                  <c:v>0.71753179875379769</c:v>
                </c:pt>
                <c:pt idx="4568">
                  <c:v>0.71393995571347646</c:v>
                </c:pt>
                <c:pt idx="4569">
                  <c:v>0.71977187290797673</c:v>
                </c:pt>
                <c:pt idx="4570">
                  <c:v>0.72402028940728158</c:v>
                </c:pt>
                <c:pt idx="4571">
                  <c:v>0.72072454812297226</c:v>
                </c:pt>
                <c:pt idx="4572">
                  <c:v>0.72040269838817639</c:v>
                </c:pt>
                <c:pt idx="4573">
                  <c:v>0.70756733096451918</c:v>
                </c:pt>
                <c:pt idx="4574">
                  <c:v>0.69264637725938516</c:v>
                </c:pt>
                <c:pt idx="4575">
                  <c:v>0.69683042381173066</c:v>
                </c:pt>
                <c:pt idx="4576">
                  <c:v>0.70603532622689125</c:v>
                </c:pt>
                <c:pt idx="4577">
                  <c:v>0.69719089551470215</c:v>
                </c:pt>
                <c:pt idx="4578">
                  <c:v>0.70088573047015812</c:v>
                </c:pt>
                <c:pt idx="4579">
                  <c:v>0.69919923785982796</c:v>
                </c:pt>
                <c:pt idx="4580">
                  <c:v>0.69457747566815997</c:v>
                </c:pt>
                <c:pt idx="4581">
                  <c:v>0.69688191976929814</c:v>
                </c:pt>
                <c:pt idx="4582">
                  <c:v>0.69049642103094899</c:v>
                </c:pt>
                <c:pt idx="4583">
                  <c:v>0.67302641742623193</c:v>
                </c:pt>
                <c:pt idx="4584">
                  <c:v>0.67222823008393862</c:v>
                </c:pt>
                <c:pt idx="4585">
                  <c:v>0.66591997528194047</c:v>
                </c:pt>
                <c:pt idx="4586">
                  <c:v>0.67395334466244394</c:v>
                </c:pt>
                <c:pt idx="4587">
                  <c:v>0.69067665688243474</c:v>
                </c:pt>
                <c:pt idx="4588">
                  <c:v>0.68779288325866417</c:v>
                </c:pt>
                <c:pt idx="4589">
                  <c:v>0.67853648488593632</c:v>
                </c:pt>
                <c:pt idx="4590">
                  <c:v>0.67911581440856894</c:v>
                </c:pt>
                <c:pt idx="4591">
                  <c:v>0.67912868839796081</c:v>
                </c:pt>
                <c:pt idx="4592">
                  <c:v>0.6759101910500025</c:v>
                </c:pt>
                <c:pt idx="4593">
                  <c:v>0.6672974921468664</c:v>
                </c:pt>
                <c:pt idx="4594">
                  <c:v>0.66854626911787429</c:v>
                </c:pt>
                <c:pt idx="4595">
                  <c:v>0.66459395437458157</c:v>
                </c:pt>
                <c:pt idx="4596">
                  <c:v>0.67209949019001991</c:v>
                </c:pt>
                <c:pt idx="4597">
                  <c:v>0.67042587156908184</c:v>
                </c:pt>
                <c:pt idx="4598">
                  <c:v>0.67657963849837777</c:v>
                </c:pt>
                <c:pt idx="4599">
                  <c:v>0.67037437561151458</c:v>
                </c:pt>
                <c:pt idx="4600">
                  <c:v>0.66773520778618889</c:v>
                </c:pt>
                <c:pt idx="4601">
                  <c:v>0.65505432823523346</c:v>
                </c:pt>
                <c:pt idx="4602">
                  <c:v>0.63269220866162024</c:v>
                </c:pt>
                <c:pt idx="4603">
                  <c:v>0.63079973222102059</c:v>
                </c:pt>
                <c:pt idx="4604">
                  <c:v>0.63732684484267987</c:v>
                </c:pt>
                <c:pt idx="4605">
                  <c:v>0.62978268705906593</c:v>
                </c:pt>
                <c:pt idx="4606">
                  <c:v>0.63690200319274948</c:v>
                </c:pt>
                <c:pt idx="4607">
                  <c:v>0.64242494464184552</c:v>
                </c:pt>
                <c:pt idx="4608">
                  <c:v>0.64704670683351351</c:v>
                </c:pt>
                <c:pt idx="4609">
                  <c:v>0.6482182398681704</c:v>
                </c:pt>
                <c:pt idx="4610">
                  <c:v>0.6460039136927751</c:v>
                </c:pt>
                <c:pt idx="4611">
                  <c:v>0.63618105978680695</c:v>
                </c:pt>
                <c:pt idx="4612">
                  <c:v>0.64357072969771889</c:v>
                </c:pt>
                <c:pt idx="4613">
                  <c:v>0.6460039136927751</c:v>
                </c:pt>
                <c:pt idx="4614">
                  <c:v>0.62624233997631196</c:v>
                </c:pt>
                <c:pt idx="4615">
                  <c:v>0.63293681446006511</c:v>
                </c:pt>
                <c:pt idx="4616">
                  <c:v>0.63355476595087312</c:v>
                </c:pt>
                <c:pt idx="4617">
                  <c:v>0.62329419640558226</c:v>
                </c:pt>
                <c:pt idx="4618">
                  <c:v>0.59674803027962309</c:v>
                </c:pt>
                <c:pt idx="4619">
                  <c:v>0.60812863690200336</c:v>
                </c:pt>
                <c:pt idx="4620">
                  <c:v>0.62187805757248049</c:v>
                </c:pt>
                <c:pt idx="4621">
                  <c:v>0.59233225191822436</c:v>
                </c:pt>
                <c:pt idx="4622">
                  <c:v>0.58928111643236014</c:v>
                </c:pt>
                <c:pt idx="4623">
                  <c:v>0.59148256861836357</c:v>
                </c:pt>
                <c:pt idx="4624">
                  <c:v>0.59932282815798965</c:v>
                </c:pt>
                <c:pt idx="4625">
                  <c:v>0.62032030485606859</c:v>
                </c:pt>
                <c:pt idx="4626">
                  <c:v>0.63824089808950002</c:v>
                </c:pt>
                <c:pt idx="4627">
                  <c:v>0.63157217158453061</c:v>
                </c:pt>
                <c:pt idx="4628">
                  <c:v>0.62917760955764979</c:v>
                </c:pt>
                <c:pt idx="4629">
                  <c:v>0.64024924043462583</c:v>
                </c:pt>
                <c:pt idx="4630">
                  <c:v>0.63616818579741508</c:v>
                </c:pt>
                <c:pt idx="4631">
                  <c:v>0.64811524795303588</c:v>
                </c:pt>
                <c:pt idx="4632">
                  <c:v>0.63525413255059493</c:v>
                </c:pt>
                <c:pt idx="4633">
                  <c:v>0.63869148771821393</c:v>
                </c:pt>
                <c:pt idx="4634">
                  <c:v>0.60409907822235964</c:v>
                </c:pt>
                <c:pt idx="4635">
                  <c:v>0.59534476543591341</c:v>
                </c:pt>
                <c:pt idx="4636">
                  <c:v>0.6099696173850353</c:v>
                </c:pt>
                <c:pt idx="4637">
                  <c:v>0.60216797981358461</c:v>
                </c:pt>
                <c:pt idx="4638">
                  <c:v>0.60358411864668615</c:v>
                </c:pt>
                <c:pt idx="4639">
                  <c:v>0.61208095164529586</c:v>
                </c:pt>
                <c:pt idx="4640">
                  <c:v>0.59652917245996173</c:v>
                </c:pt>
                <c:pt idx="4641">
                  <c:v>0.59655492043874569</c:v>
                </c:pt>
                <c:pt idx="4642">
                  <c:v>0.61123126834543484</c:v>
                </c:pt>
                <c:pt idx="4643">
                  <c:v>0.61717905144446172</c:v>
                </c:pt>
                <c:pt idx="4644">
                  <c:v>0.58355219115299439</c:v>
                </c:pt>
                <c:pt idx="4645">
                  <c:v>0.57537720788918079</c:v>
                </c:pt>
                <c:pt idx="4646">
                  <c:v>0.59174004840620031</c:v>
                </c:pt>
                <c:pt idx="4647">
                  <c:v>0.61220969153921412</c:v>
                </c:pt>
                <c:pt idx="4648">
                  <c:v>0.61945774756681615</c:v>
                </c:pt>
                <c:pt idx="4649">
                  <c:v>0.61716617745506985</c:v>
                </c:pt>
                <c:pt idx="4650">
                  <c:v>0.62707914928678088</c:v>
                </c:pt>
                <c:pt idx="4651">
                  <c:v>0.62893300375920491</c:v>
                </c:pt>
                <c:pt idx="4652">
                  <c:v>0.65845306143467752</c:v>
                </c:pt>
                <c:pt idx="4653">
                  <c:v>0.65522169009732734</c:v>
                </c:pt>
                <c:pt idx="4654">
                  <c:v>0.63511251866728458</c:v>
                </c:pt>
                <c:pt idx="4655">
                  <c:v>0.62191667954065588</c:v>
                </c:pt>
                <c:pt idx="4656">
                  <c:v>0.64807662598486027</c:v>
                </c:pt>
                <c:pt idx="4657">
                  <c:v>0.63870436170760603</c:v>
                </c:pt>
                <c:pt idx="4658">
                  <c:v>0.6202816828878932</c:v>
                </c:pt>
                <c:pt idx="4659">
                  <c:v>0.61771975899891851</c:v>
                </c:pt>
                <c:pt idx="4660">
                  <c:v>0.6247875791750348</c:v>
                </c:pt>
                <c:pt idx="4661">
                  <c:v>0.63117307791338373</c:v>
                </c:pt>
                <c:pt idx="4662">
                  <c:v>0.62445285545084706</c:v>
                </c:pt>
                <c:pt idx="4663">
                  <c:v>0.63540862042329671</c:v>
                </c:pt>
                <c:pt idx="4664">
                  <c:v>0.66342242133992468</c:v>
                </c:pt>
                <c:pt idx="4665">
                  <c:v>0.66653792677274826</c:v>
                </c:pt>
                <c:pt idx="4666">
                  <c:v>0.66234100623101089</c:v>
                </c:pt>
                <c:pt idx="4667">
                  <c:v>0.68124002265822137</c:v>
                </c:pt>
                <c:pt idx="4668">
                  <c:v>0.70303568669859406</c:v>
                </c:pt>
                <c:pt idx="4669">
                  <c:v>0.70598383026932399</c:v>
                </c:pt>
                <c:pt idx="4670">
                  <c:v>0.70536587877851598</c:v>
                </c:pt>
                <c:pt idx="4671">
                  <c:v>0.70678201761161752</c:v>
                </c:pt>
                <c:pt idx="4672">
                  <c:v>0.68938925794325145</c:v>
                </c:pt>
                <c:pt idx="4673">
                  <c:v>0.68372470261084506</c:v>
                </c:pt>
                <c:pt idx="4674">
                  <c:v>0.69062516092486748</c:v>
                </c:pt>
                <c:pt idx="4675">
                  <c:v>0.6803002214326177</c:v>
                </c:pt>
                <c:pt idx="4676">
                  <c:v>0.68727792368299068</c:v>
                </c:pt>
                <c:pt idx="4677">
                  <c:v>0.68613213862711775</c:v>
                </c:pt>
                <c:pt idx="4678">
                  <c:v>0.68058344919923797</c:v>
                </c:pt>
                <c:pt idx="4679">
                  <c:v>0.67585869509243524</c:v>
                </c:pt>
                <c:pt idx="4680">
                  <c:v>0.68405942633503258</c:v>
                </c:pt>
                <c:pt idx="4681">
                  <c:v>0.68814048097224356</c:v>
                </c:pt>
                <c:pt idx="4682">
                  <c:v>0.68837221278129679</c:v>
                </c:pt>
                <c:pt idx="4683">
                  <c:v>0.68640249240434636</c:v>
                </c:pt>
                <c:pt idx="4684">
                  <c:v>0.68346722282300854</c:v>
                </c:pt>
                <c:pt idx="4685">
                  <c:v>0.65473247850043759</c:v>
                </c:pt>
                <c:pt idx="4686">
                  <c:v>0.6596117204799421</c:v>
                </c:pt>
                <c:pt idx="4687">
                  <c:v>0.65832432154075904</c:v>
                </c:pt>
                <c:pt idx="4688">
                  <c:v>0.65632885318502487</c:v>
                </c:pt>
                <c:pt idx="4689">
                  <c:v>0.66924146454503308</c:v>
                </c:pt>
                <c:pt idx="4690">
                  <c:v>0.66782532571193154</c:v>
                </c:pt>
                <c:pt idx="4691">
                  <c:v>0.68525670734847322</c:v>
                </c:pt>
                <c:pt idx="4692">
                  <c:v>0.68850095267521505</c:v>
                </c:pt>
                <c:pt idx="4693">
                  <c:v>0.68125289664761324</c:v>
                </c:pt>
                <c:pt idx="4694">
                  <c:v>0.67079921726144498</c:v>
                </c:pt>
                <c:pt idx="4695">
                  <c:v>0.66696276842267865</c:v>
                </c:pt>
                <c:pt idx="4696">
                  <c:v>0.67394047067305229</c:v>
                </c:pt>
                <c:pt idx="4697">
                  <c:v>0.67733920387249613</c:v>
                </c:pt>
                <c:pt idx="4698">
                  <c:v>0.66490293011998558</c:v>
                </c:pt>
                <c:pt idx="4699">
                  <c:v>0.67569133323034136</c:v>
                </c:pt>
                <c:pt idx="4700">
                  <c:v>0.67741644780884713</c:v>
                </c:pt>
                <c:pt idx="4701">
                  <c:v>0.67576857716669259</c:v>
                </c:pt>
                <c:pt idx="4702">
                  <c:v>0.68010711159174009</c:v>
                </c:pt>
                <c:pt idx="4703">
                  <c:v>0.67005252587671871</c:v>
                </c:pt>
                <c:pt idx="4704">
                  <c:v>0.68015860754930735</c:v>
                </c:pt>
                <c:pt idx="4705">
                  <c:v>0.68295226324733505</c:v>
                </c:pt>
                <c:pt idx="4706">
                  <c:v>0.68048045728410322</c:v>
                </c:pt>
                <c:pt idx="4707">
                  <c:v>0.67750656573458978</c:v>
                </c:pt>
                <c:pt idx="4708">
                  <c:v>0.67037437561151458</c:v>
                </c:pt>
                <c:pt idx="4709">
                  <c:v>0.653187599773418</c:v>
                </c:pt>
                <c:pt idx="4710">
                  <c:v>0.64990473247850034</c:v>
                </c:pt>
                <c:pt idx="4711">
                  <c:v>0.63786755239713688</c:v>
                </c:pt>
                <c:pt idx="4712">
                  <c:v>0.64590092177764058</c:v>
                </c:pt>
                <c:pt idx="4713">
                  <c:v>0.64256655852515587</c:v>
                </c:pt>
                <c:pt idx="4714">
                  <c:v>0.64563056800041196</c:v>
                </c:pt>
                <c:pt idx="4715">
                  <c:v>0.65717853648488589</c:v>
                </c:pt>
                <c:pt idx="4716">
                  <c:v>0.65963746845872606</c:v>
                </c:pt>
                <c:pt idx="4717">
                  <c:v>0.66234100623101089</c:v>
                </c:pt>
                <c:pt idx="4718">
                  <c:v>0.64872032545445202</c:v>
                </c:pt>
                <c:pt idx="4719">
                  <c:v>0.66604871517585851</c:v>
                </c:pt>
                <c:pt idx="4720">
                  <c:v>0.6600108141510892</c:v>
                </c:pt>
                <c:pt idx="4721">
                  <c:v>0.65789947989082864</c:v>
                </c:pt>
                <c:pt idx="4722">
                  <c:v>0.66418198671404305</c:v>
                </c:pt>
                <c:pt idx="4723">
                  <c:v>0.65177146094031624</c:v>
                </c:pt>
                <c:pt idx="4724">
                  <c:v>0.65719141047427776</c:v>
                </c:pt>
                <c:pt idx="4725">
                  <c:v>0.65994644420413007</c:v>
                </c:pt>
                <c:pt idx="4726">
                  <c:v>0.64787064215459078</c:v>
                </c:pt>
                <c:pt idx="4727">
                  <c:v>0.64211596889644151</c:v>
                </c:pt>
                <c:pt idx="4728">
                  <c:v>0.62580462433698947</c:v>
                </c:pt>
                <c:pt idx="4729">
                  <c:v>0.63112158195581647</c:v>
                </c:pt>
                <c:pt idx="4730">
                  <c:v>0.62698903136103823</c:v>
                </c:pt>
                <c:pt idx="4731">
                  <c:v>0.62939646737731092</c:v>
                </c:pt>
                <c:pt idx="4732">
                  <c:v>0.61540244090838869</c:v>
                </c:pt>
                <c:pt idx="4733">
                  <c:v>0.62858540604562552</c:v>
                </c:pt>
                <c:pt idx="4734">
                  <c:v>0.62731088109583388</c:v>
                </c:pt>
                <c:pt idx="4735">
                  <c:v>0.63607806787167198</c:v>
                </c:pt>
                <c:pt idx="4736">
                  <c:v>0.65103764354498184</c:v>
                </c:pt>
                <c:pt idx="4737">
                  <c:v>0.64797363406972552</c:v>
                </c:pt>
                <c:pt idx="4738">
                  <c:v>0.65456511663834394</c:v>
                </c:pt>
                <c:pt idx="4739">
                  <c:v>0.65265976620835264</c:v>
                </c:pt>
                <c:pt idx="4740">
                  <c:v>0.63992739069982996</c:v>
                </c:pt>
                <c:pt idx="4741">
                  <c:v>0.62814769040630325</c:v>
                </c:pt>
                <c:pt idx="4742">
                  <c:v>0.6309542200937226</c:v>
                </c:pt>
                <c:pt idx="4743">
                  <c:v>0.62704052731860549</c:v>
                </c:pt>
                <c:pt idx="4744">
                  <c:v>0.62404088779030853</c:v>
                </c:pt>
                <c:pt idx="4745">
                  <c:v>0.65435913280807445</c:v>
                </c:pt>
                <c:pt idx="4746">
                  <c:v>0.64520572635048157</c:v>
                </c:pt>
                <c:pt idx="4747">
                  <c:v>0.65164272104639798</c:v>
                </c:pt>
                <c:pt idx="4748">
                  <c:v>0.65766774808177542</c:v>
                </c:pt>
                <c:pt idx="4749">
                  <c:v>0.65567227972604147</c:v>
                </c:pt>
                <c:pt idx="4750">
                  <c:v>0.66612595911220973</c:v>
                </c:pt>
                <c:pt idx="4751">
                  <c:v>0.66034553787527694</c:v>
                </c:pt>
                <c:pt idx="4752">
                  <c:v>0.66093774138730121</c:v>
                </c:pt>
                <c:pt idx="4753">
                  <c:v>0.65488696637313981</c:v>
                </c:pt>
                <c:pt idx="4754">
                  <c:v>0.63947680107111604</c:v>
                </c:pt>
                <c:pt idx="4755">
                  <c:v>0.6394510530923323</c:v>
                </c:pt>
                <c:pt idx="4756">
                  <c:v>0.63345177403573816</c:v>
                </c:pt>
                <c:pt idx="4757">
                  <c:v>0.60704722179308912</c:v>
                </c:pt>
                <c:pt idx="4758">
                  <c:v>0.61493897729028291</c:v>
                </c:pt>
                <c:pt idx="4759">
                  <c:v>0.61976672331222016</c:v>
                </c:pt>
                <c:pt idx="4760">
                  <c:v>0.61766826304135125</c:v>
                </c:pt>
                <c:pt idx="4761">
                  <c:v>0.63327153818425264</c:v>
                </c:pt>
                <c:pt idx="4762">
                  <c:v>0.6325763427570934</c:v>
                </c:pt>
                <c:pt idx="4763">
                  <c:v>0.6257145064112466</c:v>
                </c:pt>
                <c:pt idx="4764">
                  <c:v>0.62163345177403562</c:v>
                </c:pt>
                <c:pt idx="4765">
                  <c:v>0.62201967145579085</c:v>
                </c:pt>
                <c:pt idx="4766">
                  <c:v>0.63154642360574686</c:v>
                </c:pt>
                <c:pt idx="4767">
                  <c:v>0.63620680776559047</c:v>
                </c:pt>
                <c:pt idx="4768">
                  <c:v>0.63852412585612028</c:v>
                </c:pt>
                <c:pt idx="4769">
                  <c:v>0.63168803748905722</c:v>
                </c:pt>
                <c:pt idx="4770">
                  <c:v>0.62267624491477425</c:v>
                </c:pt>
                <c:pt idx="4771">
                  <c:v>0.62131160203923974</c:v>
                </c:pt>
                <c:pt idx="4772">
                  <c:v>0.61676708378392298</c:v>
                </c:pt>
                <c:pt idx="4773">
                  <c:v>0.61873680416087318</c:v>
                </c:pt>
                <c:pt idx="4774">
                  <c:v>0.62688603944590349</c:v>
                </c:pt>
                <c:pt idx="4775">
                  <c:v>0.62481332715381832</c:v>
                </c:pt>
                <c:pt idx="4776">
                  <c:v>0.6286626499819763</c:v>
                </c:pt>
                <c:pt idx="4777">
                  <c:v>0.62813481641691138</c:v>
                </c:pt>
                <c:pt idx="4778">
                  <c:v>0.60857922653071728</c:v>
                </c:pt>
                <c:pt idx="4779">
                  <c:v>0.61887841804418353</c:v>
                </c:pt>
                <c:pt idx="4780">
                  <c:v>0.61885267006540001</c:v>
                </c:pt>
                <c:pt idx="4781">
                  <c:v>0.6327437046191875</c:v>
                </c:pt>
                <c:pt idx="4782">
                  <c:v>0.62934497141974344</c:v>
                </c:pt>
                <c:pt idx="4783">
                  <c:v>0.62370616406612078</c:v>
                </c:pt>
                <c:pt idx="4784">
                  <c:v>0.61549255883413134</c:v>
                </c:pt>
                <c:pt idx="4785">
                  <c:v>0.6070214738143056</c:v>
                </c:pt>
                <c:pt idx="4786">
                  <c:v>0.59997940161697305</c:v>
                </c:pt>
                <c:pt idx="4787">
                  <c:v>0.58505844791183903</c:v>
                </c:pt>
                <c:pt idx="4788">
                  <c:v>0.58222617024563572</c:v>
                </c:pt>
                <c:pt idx="4789">
                  <c:v>0.58834131520675625</c:v>
                </c:pt>
                <c:pt idx="4790">
                  <c:v>0.58957721818837228</c:v>
                </c:pt>
                <c:pt idx="4791">
                  <c:v>0.58473659817704315</c:v>
                </c:pt>
                <c:pt idx="4792">
                  <c:v>0.57146351511406368</c:v>
                </c:pt>
                <c:pt idx="4793">
                  <c:v>0.56881147329934589</c:v>
                </c:pt>
                <c:pt idx="4794">
                  <c:v>0.57424429682269928</c:v>
                </c:pt>
                <c:pt idx="4795">
                  <c:v>0.57080694165508028</c:v>
                </c:pt>
                <c:pt idx="4796">
                  <c:v>0.57054946186724353</c:v>
                </c:pt>
                <c:pt idx="4797">
                  <c:v>0.56388073536227412</c:v>
                </c:pt>
                <c:pt idx="4798">
                  <c:v>0.54843194809207474</c:v>
                </c:pt>
                <c:pt idx="4799">
                  <c:v>0.55390339358360374</c:v>
                </c:pt>
                <c:pt idx="4800">
                  <c:v>0.5428317627066277</c:v>
                </c:pt>
                <c:pt idx="4801">
                  <c:v>0.51771460940316194</c:v>
                </c:pt>
                <c:pt idx="4802">
                  <c:v>0.53378134816416933</c:v>
                </c:pt>
                <c:pt idx="4803">
                  <c:v>0.54042432669035478</c:v>
                </c:pt>
                <c:pt idx="4804">
                  <c:v>0.54408053967763537</c:v>
                </c:pt>
                <c:pt idx="4805">
                  <c:v>0.51860291467119812</c:v>
                </c:pt>
                <c:pt idx="4806">
                  <c:v>0.51629847057006018</c:v>
                </c:pt>
                <c:pt idx="4807">
                  <c:v>0.53942015551779177</c:v>
                </c:pt>
                <c:pt idx="4808">
                  <c:v>0.51673618620938266</c:v>
                </c:pt>
                <c:pt idx="4809">
                  <c:v>0.53213347752201434</c:v>
                </c:pt>
                <c:pt idx="4810">
                  <c:v>0.52758895926669758</c:v>
                </c:pt>
                <c:pt idx="4811">
                  <c:v>0.51506256758844415</c:v>
                </c:pt>
                <c:pt idx="4812">
                  <c:v>0.51614398269735839</c:v>
                </c:pt>
                <c:pt idx="4813">
                  <c:v>0.5254003810700858</c:v>
                </c:pt>
                <c:pt idx="4814">
                  <c:v>0.52856738246047685</c:v>
                </c:pt>
                <c:pt idx="4815">
                  <c:v>0.53960039136927773</c:v>
                </c:pt>
                <c:pt idx="4816">
                  <c:v>0.53392296204747924</c:v>
                </c:pt>
                <c:pt idx="4817">
                  <c:v>0.54023121684947739</c:v>
                </c:pt>
                <c:pt idx="4818">
                  <c:v>0.56350738966991099</c:v>
                </c:pt>
                <c:pt idx="4819">
                  <c:v>0.5792522786961225</c:v>
                </c:pt>
                <c:pt idx="4820">
                  <c:v>0.58196869045779898</c:v>
                </c:pt>
                <c:pt idx="4821">
                  <c:v>0.58051392965652204</c:v>
                </c:pt>
                <c:pt idx="4822">
                  <c:v>0.56662289510273456</c:v>
                </c:pt>
                <c:pt idx="4823">
                  <c:v>0.56503939440753914</c:v>
                </c:pt>
                <c:pt idx="4824">
                  <c:v>0.56500077243936375</c:v>
                </c:pt>
                <c:pt idx="4825">
                  <c:v>0.56456305680004126</c:v>
                </c:pt>
                <c:pt idx="4826">
                  <c:v>0.56370049951078838</c:v>
                </c:pt>
                <c:pt idx="4827">
                  <c:v>0.55801019619959846</c:v>
                </c:pt>
                <c:pt idx="4828">
                  <c:v>0.57235182038209986</c:v>
                </c:pt>
                <c:pt idx="4829">
                  <c:v>0.58481384211339416</c:v>
                </c:pt>
                <c:pt idx="4830">
                  <c:v>0.593684020804367</c:v>
                </c:pt>
                <c:pt idx="4831">
                  <c:v>0.58057829960348117</c:v>
                </c:pt>
                <c:pt idx="4832">
                  <c:v>0.57984448220814677</c:v>
                </c:pt>
                <c:pt idx="4833">
                  <c:v>0.58504557392244716</c:v>
                </c:pt>
                <c:pt idx="4834">
                  <c:v>0.59709562799320248</c:v>
                </c:pt>
                <c:pt idx="4835">
                  <c:v>0.59828003501725124</c:v>
                </c:pt>
                <c:pt idx="4836">
                  <c:v>0.5856506514238633</c:v>
                </c:pt>
                <c:pt idx="4837">
                  <c:v>0.59168855244863261</c:v>
                </c:pt>
                <c:pt idx="4838">
                  <c:v>0.5878649775992586</c:v>
                </c:pt>
                <c:pt idx="4839">
                  <c:v>0.56807765590401149</c:v>
                </c:pt>
                <c:pt idx="4840">
                  <c:v>0.57267367011689574</c:v>
                </c:pt>
                <c:pt idx="4841">
                  <c:v>0.57105154745352493</c:v>
                </c:pt>
                <c:pt idx="4842">
                  <c:v>0.55570575209846029</c:v>
                </c:pt>
                <c:pt idx="4843">
                  <c:v>0.56068798599309955</c:v>
                </c:pt>
                <c:pt idx="4844">
                  <c:v>0.55144446160976357</c:v>
                </c:pt>
                <c:pt idx="4845">
                  <c:v>0.5608295998764099</c:v>
                </c:pt>
                <c:pt idx="4846">
                  <c:v>0.55722488284669636</c:v>
                </c:pt>
                <c:pt idx="4847">
                  <c:v>0.56749832638137909</c:v>
                </c:pt>
                <c:pt idx="4848">
                  <c:v>0.57285390596838148</c:v>
                </c:pt>
                <c:pt idx="4849">
                  <c:v>0.5702533601112314</c:v>
                </c:pt>
                <c:pt idx="4850">
                  <c:v>0.56936505484319477</c:v>
                </c:pt>
                <c:pt idx="4851">
                  <c:v>0.57093568154899854</c:v>
                </c:pt>
                <c:pt idx="4852">
                  <c:v>0.5697770225037333</c:v>
                </c:pt>
                <c:pt idx="4853">
                  <c:v>0.58848292909006639</c:v>
                </c:pt>
                <c:pt idx="4854">
                  <c:v>0.58400278078170875</c:v>
                </c:pt>
                <c:pt idx="4855">
                  <c:v>0.59355528091044851</c:v>
                </c:pt>
                <c:pt idx="4856">
                  <c:v>0.58238065811833795</c:v>
                </c:pt>
                <c:pt idx="4857">
                  <c:v>0.58527730573150016</c:v>
                </c:pt>
                <c:pt idx="4858">
                  <c:v>0.57465626448323825</c:v>
                </c:pt>
                <c:pt idx="4859">
                  <c:v>0.57889180699315124</c:v>
                </c:pt>
                <c:pt idx="4860">
                  <c:v>0.59104485297904108</c:v>
                </c:pt>
                <c:pt idx="4861">
                  <c:v>0.60286317524074362</c:v>
                </c:pt>
                <c:pt idx="4862">
                  <c:v>0.60167876821669486</c:v>
                </c:pt>
                <c:pt idx="4863">
                  <c:v>0.59038827952005768</c:v>
                </c:pt>
                <c:pt idx="4864">
                  <c:v>0.58888202276121326</c:v>
                </c:pt>
                <c:pt idx="4865">
                  <c:v>0.60116380864102181</c:v>
                </c:pt>
                <c:pt idx="4866">
                  <c:v>0.59224213399248149</c:v>
                </c:pt>
                <c:pt idx="4867">
                  <c:v>0.5849940779648799</c:v>
                </c:pt>
                <c:pt idx="4868">
                  <c:v>0.58225191822441946</c:v>
                </c:pt>
                <c:pt idx="4869">
                  <c:v>0.58823832329162173</c:v>
                </c:pt>
                <c:pt idx="4870">
                  <c:v>0.57968999433544455</c:v>
                </c:pt>
                <c:pt idx="4871">
                  <c:v>0.59019516967918029</c:v>
                </c:pt>
                <c:pt idx="4872">
                  <c:v>0.58266388588495799</c:v>
                </c:pt>
                <c:pt idx="4873">
                  <c:v>0.57208146660487169</c:v>
                </c:pt>
                <c:pt idx="4874">
                  <c:v>0.58082290540192605</c:v>
                </c:pt>
                <c:pt idx="4875">
                  <c:v>0.57899479890828576</c:v>
                </c:pt>
                <c:pt idx="4876">
                  <c:v>0.5748622483135073</c:v>
                </c:pt>
                <c:pt idx="4877">
                  <c:v>0.57347185745918949</c:v>
                </c:pt>
                <c:pt idx="4878">
                  <c:v>0.56990576239765178</c:v>
                </c:pt>
                <c:pt idx="4879">
                  <c:v>0.56014727843864254</c:v>
                </c:pt>
                <c:pt idx="4880">
                  <c:v>0.54213656727946846</c:v>
                </c:pt>
                <c:pt idx="4881">
                  <c:v>0.53836448838766171</c:v>
                </c:pt>
                <c:pt idx="4882">
                  <c:v>0.55130284772645344</c:v>
                </c:pt>
                <c:pt idx="4883">
                  <c:v>0.53772078891806996</c:v>
                </c:pt>
                <c:pt idx="4884">
                  <c:v>0.53371697821720998</c:v>
                </c:pt>
                <c:pt idx="4885">
                  <c:v>0.54468561717905128</c:v>
                </c:pt>
                <c:pt idx="4886">
                  <c:v>0.54689994335444658</c:v>
                </c:pt>
                <c:pt idx="4887">
                  <c:v>0.53289304289613271</c:v>
                </c:pt>
                <c:pt idx="4888">
                  <c:v>0.53402595396261376</c:v>
                </c:pt>
                <c:pt idx="4889">
                  <c:v>0.54581852824553279</c:v>
                </c:pt>
                <c:pt idx="4890">
                  <c:v>0.56274782429579284</c:v>
                </c:pt>
                <c:pt idx="4891">
                  <c:v>0.56240022658221323</c:v>
                </c:pt>
                <c:pt idx="4892">
                  <c:v>0.56560584994077945</c:v>
                </c:pt>
                <c:pt idx="4893">
                  <c:v>0.56671301302847743</c:v>
                </c:pt>
                <c:pt idx="4894">
                  <c:v>0.55898861939337774</c:v>
                </c:pt>
                <c:pt idx="4895">
                  <c:v>0.55334981203975486</c:v>
                </c:pt>
                <c:pt idx="4896">
                  <c:v>0.54991245687213564</c:v>
                </c:pt>
                <c:pt idx="4897">
                  <c:v>0.54593439415005918</c:v>
                </c:pt>
                <c:pt idx="4898">
                  <c:v>0.54244554302487247</c:v>
                </c:pt>
                <c:pt idx="4899">
                  <c:v>0.54607600803336953</c:v>
                </c:pt>
                <c:pt idx="4900">
                  <c:v>0.53801689067408209</c:v>
                </c:pt>
                <c:pt idx="4901">
                  <c:v>0.5413512539265668</c:v>
                </c:pt>
                <c:pt idx="4902">
                  <c:v>0.54167310366136268</c:v>
                </c:pt>
                <c:pt idx="4903">
                  <c:v>0.53975487924197951</c:v>
                </c:pt>
                <c:pt idx="4904">
                  <c:v>0.55040166846902516</c:v>
                </c:pt>
                <c:pt idx="4905">
                  <c:v>0.54780112261187486</c:v>
                </c:pt>
                <c:pt idx="4906">
                  <c:v>0.53393583603687111</c:v>
                </c:pt>
                <c:pt idx="4907">
                  <c:v>0.54330810031412535</c:v>
                </c:pt>
                <c:pt idx="4908">
                  <c:v>0.54181471754467259</c:v>
                </c:pt>
                <c:pt idx="4909">
                  <c:v>0.53201761161748795</c:v>
                </c:pt>
                <c:pt idx="4910">
                  <c:v>0.53724445131057208</c:v>
                </c:pt>
                <c:pt idx="4911">
                  <c:v>0.53697409753334346</c:v>
                </c:pt>
                <c:pt idx="4912">
                  <c:v>0.53107781039188429</c:v>
                </c:pt>
                <c:pt idx="4913">
                  <c:v>0.5333951284824141</c:v>
                </c:pt>
                <c:pt idx="4914">
                  <c:v>0.52628868633812242</c:v>
                </c:pt>
                <c:pt idx="4915">
                  <c:v>0.51114887481332705</c:v>
                </c:pt>
                <c:pt idx="4916">
                  <c:v>0.50070806941655088</c:v>
                </c:pt>
                <c:pt idx="4917">
                  <c:v>0.48572274576445751</c:v>
                </c:pt>
                <c:pt idx="4918">
                  <c:v>0.49255883413152057</c:v>
                </c:pt>
                <c:pt idx="4919">
                  <c:v>0.50768577166692408</c:v>
                </c:pt>
                <c:pt idx="4920">
                  <c:v>0.50139039085431802</c:v>
                </c:pt>
                <c:pt idx="4921">
                  <c:v>0.51763736546681072</c:v>
                </c:pt>
                <c:pt idx="4922">
                  <c:v>0.50799474741232808</c:v>
                </c:pt>
                <c:pt idx="4923">
                  <c:v>0.50964261805448285</c:v>
                </c:pt>
                <c:pt idx="4924">
                  <c:v>0.51353056285081644</c:v>
                </c:pt>
                <c:pt idx="4925">
                  <c:v>0.49488902621144248</c:v>
                </c:pt>
                <c:pt idx="4926">
                  <c:v>0.4961635511612339</c:v>
                </c:pt>
                <c:pt idx="4927">
                  <c:v>0.48932746279417061</c:v>
                </c:pt>
                <c:pt idx="4928">
                  <c:v>0.47178021525310276</c:v>
                </c:pt>
                <c:pt idx="4929">
                  <c:v>0.48872238529275469</c:v>
                </c:pt>
                <c:pt idx="4930">
                  <c:v>0.48274885421494407</c:v>
                </c:pt>
                <c:pt idx="4931">
                  <c:v>0.49608630722488267</c:v>
                </c:pt>
                <c:pt idx="4932">
                  <c:v>0.48323806581183359</c:v>
                </c:pt>
                <c:pt idx="4933">
                  <c:v>0.49331839950563894</c:v>
                </c:pt>
                <c:pt idx="4934">
                  <c:v>0.46441629332097434</c:v>
                </c:pt>
                <c:pt idx="4935">
                  <c:v>0.48408774911169461</c:v>
                </c:pt>
                <c:pt idx="4936">
                  <c:v>0.4753334363252486</c:v>
                </c:pt>
                <c:pt idx="4937">
                  <c:v>0.47100777588959253</c:v>
                </c:pt>
                <c:pt idx="4938">
                  <c:v>0.49602193727792354</c:v>
                </c:pt>
                <c:pt idx="4939">
                  <c:v>0.5111360008239354</c:v>
                </c:pt>
                <c:pt idx="4940">
                  <c:v>0.52912096400432573</c:v>
                </c:pt>
                <c:pt idx="4941">
                  <c:v>0.52068850095267538</c:v>
                </c:pt>
                <c:pt idx="4942">
                  <c:v>0.52067562696328351</c:v>
                </c:pt>
                <c:pt idx="4943">
                  <c:v>0.53347237241876533</c:v>
                </c:pt>
                <c:pt idx="4944">
                  <c:v>0.52437046191873926</c:v>
                </c:pt>
                <c:pt idx="4945">
                  <c:v>0.52092023276172839</c:v>
                </c:pt>
                <c:pt idx="4946">
                  <c:v>0.51413564035223214</c:v>
                </c:pt>
                <c:pt idx="4947">
                  <c:v>0.51001596374684599</c:v>
                </c:pt>
                <c:pt idx="4948">
                  <c:v>0.5198903136103814</c:v>
                </c:pt>
                <c:pt idx="4949">
                  <c:v>0.5209459807405119</c:v>
                </c:pt>
                <c:pt idx="4950">
                  <c:v>0.50028322776662026</c:v>
                </c:pt>
                <c:pt idx="4951">
                  <c:v>0.51176682630413506</c:v>
                </c:pt>
                <c:pt idx="4952">
                  <c:v>0.50808486533807118</c:v>
                </c:pt>
                <c:pt idx="4953">
                  <c:v>0.50951387816056437</c:v>
                </c:pt>
                <c:pt idx="4954">
                  <c:v>0.50845821103043409</c:v>
                </c:pt>
                <c:pt idx="4955">
                  <c:v>0.52399711622637613</c:v>
                </c:pt>
                <c:pt idx="4956">
                  <c:v>0.53155414799938216</c:v>
                </c:pt>
                <c:pt idx="4957">
                  <c:v>0.5322750914053247</c:v>
                </c:pt>
                <c:pt idx="4958">
                  <c:v>0.52952005767547239</c:v>
                </c:pt>
                <c:pt idx="4959">
                  <c:v>0.54198207940676668</c:v>
                </c:pt>
                <c:pt idx="4960">
                  <c:v>0.55367166177455052</c:v>
                </c:pt>
                <c:pt idx="4961">
                  <c:v>0.54498171893506342</c:v>
                </c:pt>
                <c:pt idx="4962">
                  <c:v>0.55678716720737431</c:v>
                </c:pt>
                <c:pt idx="4963">
                  <c:v>0.55390339358360374</c:v>
                </c:pt>
                <c:pt idx="4964">
                  <c:v>0.56989288840826013</c:v>
                </c:pt>
                <c:pt idx="4965">
                  <c:v>0.5774627941706576</c:v>
                </c:pt>
                <c:pt idx="4966">
                  <c:v>0.57335599155466288</c:v>
                </c:pt>
                <c:pt idx="4967">
                  <c:v>0.55835779391317786</c:v>
                </c:pt>
                <c:pt idx="4968">
                  <c:v>0.55785570832689624</c:v>
                </c:pt>
                <c:pt idx="4969">
                  <c:v>0.55828054997682686</c:v>
                </c:pt>
                <c:pt idx="4970">
                  <c:v>0.54951336320098854</c:v>
                </c:pt>
                <c:pt idx="4971">
                  <c:v>0.55951645295844266</c:v>
                </c:pt>
                <c:pt idx="4972">
                  <c:v>0.54513620680776564</c:v>
                </c:pt>
                <c:pt idx="4973">
                  <c:v>0.53303465677944284</c:v>
                </c:pt>
                <c:pt idx="4974">
                  <c:v>0.5244863278232661</c:v>
                </c:pt>
                <c:pt idx="4975">
                  <c:v>0.54692569133323032</c:v>
                </c:pt>
                <c:pt idx="4976">
                  <c:v>0.5458442762243163</c:v>
                </c:pt>
                <c:pt idx="4977">
                  <c:v>0.55819043205108398</c:v>
                </c:pt>
                <c:pt idx="4978">
                  <c:v>0.5579072042844635</c:v>
                </c:pt>
                <c:pt idx="4979">
                  <c:v>0.55278335650651433</c:v>
                </c:pt>
                <c:pt idx="4980">
                  <c:v>0.55170194139760032</c:v>
                </c:pt>
                <c:pt idx="4981">
                  <c:v>0.54102940419177092</c:v>
                </c:pt>
                <c:pt idx="4982">
                  <c:v>0.534566661517071</c:v>
                </c:pt>
                <c:pt idx="4983">
                  <c:v>0.54783974458005047</c:v>
                </c:pt>
                <c:pt idx="4984">
                  <c:v>0.5470930531953242</c:v>
                </c:pt>
                <c:pt idx="4985">
                  <c:v>0.54877954580565413</c:v>
                </c:pt>
                <c:pt idx="4986">
                  <c:v>0.53186312374478617</c:v>
                </c:pt>
                <c:pt idx="4987">
                  <c:v>0.53611154024409102</c:v>
                </c:pt>
                <c:pt idx="4988">
                  <c:v>0.53124517225397816</c:v>
                </c:pt>
                <c:pt idx="4989">
                  <c:v>0.52076574488902616</c:v>
                </c:pt>
                <c:pt idx="4990">
                  <c:v>0.50800762140171996</c:v>
                </c:pt>
                <c:pt idx="4991">
                  <c:v>0.51211442401771468</c:v>
                </c:pt>
                <c:pt idx="4992">
                  <c:v>0.51149647252690666</c:v>
                </c:pt>
                <c:pt idx="4993">
                  <c:v>0.50420979453112946</c:v>
                </c:pt>
                <c:pt idx="4994">
                  <c:v>0.49821051547453532</c:v>
                </c:pt>
                <c:pt idx="4995">
                  <c:v>0.50351459910397023</c:v>
                </c:pt>
                <c:pt idx="4996">
                  <c:v>0.51322158710541244</c:v>
                </c:pt>
                <c:pt idx="4997">
                  <c:v>0.52509140532468224</c:v>
                </c:pt>
                <c:pt idx="4998">
                  <c:v>0.53970338328441225</c:v>
                </c:pt>
                <c:pt idx="4999">
                  <c:v>0.52494979144137188</c:v>
                </c:pt>
                <c:pt idx="5000">
                  <c:v>0.51584788094134626</c:v>
                </c:pt>
                <c:pt idx="5001">
                  <c:v>0.52904372006797473</c:v>
                </c:pt>
                <c:pt idx="5002">
                  <c:v>0.52298007106442146</c:v>
                </c:pt>
                <c:pt idx="5003">
                  <c:v>0.53232658736289196</c:v>
                </c:pt>
                <c:pt idx="5004">
                  <c:v>0.52709974766980805</c:v>
                </c:pt>
                <c:pt idx="5005">
                  <c:v>0.52928832586641961</c:v>
                </c:pt>
                <c:pt idx="5006">
                  <c:v>0.52394562026880886</c:v>
                </c:pt>
                <c:pt idx="5007">
                  <c:v>0.52949430969668887</c:v>
                </c:pt>
                <c:pt idx="5008">
                  <c:v>0.54755651681342998</c:v>
                </c:pt>
                <c:pt idx="5009">
                  <c:v>0.56022452237499376</c:v>
                </c:pt>
                <c:pt idx="5010">
                  <c:v>0.56232298264586222</c:v>
                </c:pt>
                <c:pt idx="5011">
                  <c:v>0.56219424275194396</c:v>
                </c:pt>
                <c:pt idx="5012">
                  <c:v>0.56231010865647035</c:v>
                </c:pt>
                <c:pt idx="5013">
                  <c:v>0.55121272980071079</c:v>
                </c:pt>
                <c:pt idx="5014">
                  <c:v>0.55792007827385559</c:v>
                </c:pt>
                <c:pt idx="5015">
                  <c:v>0.55719913486791284</c:v>
                </c:pt>
                <c:pt idx="5016">
                  <c:v>0.55189505123847793</c:v>
                </c:pt>
                <c:pt idx="5017">
                  <c:v>0.53799114269529857</c:v>
                </c:pt>
                <c:pt idx="5018">
                  <c:v>0.53743756115144969</c:v>
                </c:pt>
                <c:pt idx="5019">
                  <c:v>0.54901127761470736</c:v>
                </c:pt>
                <c:pt idx="5020">
                  <c:v>0.55224264895205732</c:v>
                </c:pt>
                <c:pt idx="5021">
                  <c:v>0.54923013543436849</c:v>
                </c:pt>
                <c:pt idx="5022">
                  <c:v>0.54317936042020709</c:v>
                </c:pt>
                <c:pt idx="5023">
                  <c:v>0.52942993974972974</c:v>
                </c:pt>
                <c:pt idx="5024">
                  <c:v>0.53102631443431703</c:v>
                </c:pt>
                <c:pt idx="5025">
                  <c:v>0.52274833925536845</c:v>
                </c:pt>
                <c:pt idx="5026">
                  <c:v>0.51535866934445629</c:v>
                </c:pt>
                <c:pt idx="5027">
                  <c:v>0.53232658736289196</c:v>
                </c:pt>
                <c:pt idx="5028">
                  <c:v>0.53351099438694072</c:v>
                </c:pt>
                <c:pt idx="5029">
                  <c:v>0.5324295792780267</c:v>
                </c:pt>
                <c:pt idx="5030">
                  <c:v>0.53376847417477724</c:v>
                </c:pt>
                <c:pt idx="5031">
                  <c:v>0.51117462279211079</c:v>
                </c:pt>
                <c:pt idx="5032">
                  <c:v>0.51728976775323132</c:v>
                </c:pt>
                <c:pt idx="5033">
                  <c:v>0.52254235542509919</c:v>
                </c:pt>
                <c:pt idx="5034">
                  <c:v>0.52139657036922604</c:v>
                </c:pt>
                <c:pt idx="5035">
                  <c:v>0.51519130748236264</c:v>
                </c:pt>
                <c:pt idx="5036">
                  <c:v>0.51557752716411764</c:v>
                </c:pt>
                <c:pt idx="5037">
                  <c:v>0.50669447448375293</c:v>
                </c:pt>
                <c:pt idx="5038">
                  <c:v>0.52370101447036399</c:v>
                </c:pt>
                <c:pt idx="5039">
                  <c:v>0.52162830217827905</c:v>
                </c:pt>
                <c:pt idx="5040">
                  <c:v>0.51324733508419595</c:v>
                </c:pt>
                <c:pt idx="5041">
                  <c:v>0.52403573819455174</c:v>
                </c:pt>
                <c:pt idx="5042">
                  <c:v>0.52449920181265774</c:v>
                </c:pt>
                <c:pt idx="5043">
                  <c:v>0.51073690715278852</c:v>
                </c:pt>
                <c:pt idx="5044">
                  <c:v>0.49712910036562152</c:v>
                </c:pt>
                <c:pt idx="5045">
                  <c:v>0.49863535712446572</c:v>
                </c:pt>
                <c:pt idx="5046">
                  <c:v>0.49967815026520435</c:v>
                </c:pt>
                <c:pt idx="5047">
                  <c:v>0.50132602090735889</c:v>
                </c:pt>
                <c:pt idx="5048">
                  <c:v>0.49553272568103424</c:v>
                </c:pt>
                <c:pt idx="5049">
                  <c:v>0.47175446727431902</c:v>
                </c:pt>
                <c:pt idx="5050">
                  <c:v>0.45545599670425863</c:v>
                </c:pt>
                <c:pt idx="5051">
                  <c:v>0.45541737473608324</c:v>
                </c:pt>
                <c:pt idx="5052">
                  <c:v>0.45501828106493658</c:v>
                </c:pt>
                <c:pt idx="5053">
                  <c:v>0.45146505999279074</c:v>
                </c:pt>
                <c:pt idx="5054">
                  <c:v>0.44883876615685692</c:v>
                </c:pt>
                <c:pt idx="5055">
                  <c:v>0.43041608733714387</c:v>
                </c:pt>
                <c:pt idx="5056">
                  <c:v>0.40945723260724032</c:v>
                </c:pt>
                <c:pt idx="5057">
                  <c:v>0.41065451362068073</c:v>
                </c:pt>
                <c:pt idx="5058">
                  <c:v>0.42449405221690095</c:v>
                </c:pt>
                <c:pt idx="5059">
                  <c:v>0.42085071321901246</c:v>
                </c:pt>
                <c:pt idx="5060">
                  <c:v>0.42029713167516358</c:v>
                </c:pt>
                <c:pt idx="5061">
                  <c:v>0.43418816622895107</c:v>
                </c:pt>
                <c:pt idx="5062">
                  <c:v>0.42669550440290438</c:v>
                </c:pt>
                <c:pt idx="5063">
                  <c:v>0.42037437561151436</c:v>
                </c:pt>
                <c:pt idx="5064">
                  <c:v>0.43371182862145341</c:v>
                </c:pt>
                <c:pt idx="5065">
                  <c:v>0.4442556259333641</c:v>
                </c:pt>
                <c:pt idx="5066">
                  <c:v>0.44753849322828176</c:v>
                </c:pt>
                <c:pt idx="5067">
                  <c:v>0.44464184561511932</c:v>
                </c:pt>
                <c:pt idx="5068">
                  <c:v>0.45559761058756898</c:v>
                </c:pt>
                <c:pt idx="5069">
                  <c:v>0.47027395849425813</c:v>
                </c:pt>
                <c:pt idx="5070">
                  <c:v>0.46052834852464075</c:v>
                </c:pt>
                <c:pt idx="5071">
                  <c:v>0.46141665379267738</c:v>
                </c:pt>
                <c:pt idx="5072">
                  <c:v>0.45669189968587465</c:v>
                </c:pt>
                <c:pt idx="5073">
                  <c:v>0.4349091096348936</c:v>
                </c:pt>
                <c:pt idx="5074">
                  <c:v>0.43519233740151386</c:v>
                </c:pt>
                <c:pt idx="5075">
                  <c:v>0.4290900664297852</c:v>
                </c:pt>
                <c:pt idx="5076">
                  <c:v>0.42067047736752672</c:v>
                </c:pt>
                <c:pt idx="5077">
                  <c:v>0.42915443637674433</c:v>
                </c:pt>
                <c:pt idx="5078">
                  <c:v>0.42690148823317364</c:v>
                </c:pt>
                <c:pt idx="5079">
                  <c:v>0.43359596271692658</c:v>
                </c:pt>
                <c:pt idx="5080">
                  <c:v>0.45385962201967134</c:v>
                </c:pt>
                <c:pt idx="5081">
                  <c:v>0.44471908955147033</c:v>
                </c:pt>
                <c:pt idx="5082">
                  <c:v>0.45289407281528393</c:v>
                </c:pt>
                <c:pt idx="5083">
                  <c:v>0.44639270817240839</c:v>
                </c:pt>
                <c:pt idx="5084">
                  <c:v>0.44236314949276467</c:v>
                </c:pt>
                <c:pt idx="5085">
                  <c:v>0.45261084504866367</c:v>
                </c:pt>
                <c:pt idx="5086">
                  <c:v>0.4493794737113137</c:v>
                </c:pt>
                <c:pt idx="5087">
                  <c:v>0.44693341572686562</c:v>
                </c:pt>
                <c:pt idx="5088">
                  <c:v>0.4398012256037902</c:v>
                </c:pt>
                <c:pt idx="5089">
                  <c:v>0.43708481384211328</c:v>
                </c:pt>
                <c:pt idx="5090">
                  <c:v>0.44356043050620531</c:v>
                </c:pt>
                <c:pt idx="5091">
                  <c:v>0.43368608064266967</c:v>
                </c:pt>
                <c:pt idx="5092">
                  <c:v>0.43971110767804733</c:v>
                </c:pt>
                <c:pt idx="5093">
                  <c:v>0.4237473608321749</c:v>
                </c:pt>
                <c:pt idx="5094">
                  <c:v>0.42159740460373873</c:v>
                </c:pt>
                <c:pt idx="5095">
                  <c:v>0.41504454400329593</c:v>
                </c:pt>
                <c:pt idx="5096">
                  <c:v>0.4261419228590555</c:v>
                </c:pt>
                <c:pt idx="5097">
                  <c:v>0.4226916937020444</c:v>
                </c:pt>
                <c:pt idx="5098">
                  <c:v>0.42252433183995053</c:v>
                </c:pt>
                <c:pt idx="5099">
                  <c:v>0.41123384314331335</c:v>
                </c:pt>
                <c:pt idx="5100">
                  <c:v>0.41057726968432995</c:v>
                </c:pt>
                <c:pt idx="5101">
                  <c:v>0.41401462485194895</c:v>
                </c:pt>
                <c:pt idx="5102">
                  <c:v>0.4048483444049642</c:v>
                </c:pt>
                <c:pt idx="5103">
                  <c:v>0.40992069622534633</c:v>
                </c:pt>
                <c:pt idx="5104">
                  <c:v>0.39259230650393961</c:v>
                </c:pt>
                <c:pt idx="5105">
                  <c:v>0.38954117101807495</c:v>
                </c:pt>
                <c:pt idx="5106">
                  <c:v>0.37082239044235021</c:v>
                </c:pt>
                <c:pt idx="5107">
                  <c:v>0.36880117410783253</c:v>
                </c:pt>
                <c:pt idx="5108">
                  <c:v>0.38497090478397444</c:v>
                </c:pt>
                <c:pt idx="5109">
                  <c:v>0.38915495133632017</c:v>
                </c:pt>
                <c:pt idx="5110">
                  <c:v>0.37136309799680722</c:v>
                </c:pt>
                <c:pt idx="5111">
                  <c:v>0.36975384932282829</c:v>
                </c:pt>
                <c:pt idx="5112">
                  <c:v>0.39129203357536446</c:v>
                </c:pt>
                <c:pt idx="5113">
                  <c:v>0.41437509655492066</c:v>
                </c:pt>
                <c:pt idx="5114">
                  <c:v>0.41573973943045472</c:v>
                </c:pt>
                <c:pt idx="5115">
                  <c:v>0.4246614140789946</c:v>
                </c:pt>
                <c:pt idx="5116">
                  <c:v>0.4183531592769969</c:v>
                </c:pt>
                <c:pt idx="5117">
                  <c:v>0.41669241464545048</c:v>
                </c:pt>
                <c:pt idx="5118">
                  <c:v>0.4102425459601422</c:v>
                </c:pt>
                <c:pt idx="5119">
                  <c:v>0.40948298058602384</c:v>
                </c:pt>
                <c:pt idx="5120">
                  <c:v>0.39563056800041196</c:v>
                </c:pt>
                <c:pt idx="5121">
                  <c:v>0.3983727277408724</c:v>
                </c:pt>
                <c:pt idx="5122">
                  <c:v>0.41207065245378227</c:v>
                </c:pt>
                <c:pt idx="5123">
                  <c:v>0.40825995159380013</c:v>
                </c:pt>
                <c:pt idx="5124">
                  <c:v>0.42730058190432052</c:v>
                </c:pt>
                <c:pt idx="5125">
                  <c:v>0.41729749214686662</c:v>
                </c:pt>
                <c:pt idx="5126">
                  <c:v>0.4179283176270665</c:v>
                </c:pt>
                <c:pt idx="5127">
                  <c:v>0.4247515320047377</c:v>
                </c:pt>
                <c:pt idx="5128">
                  <c:v>0.43090529893403362</c:v>
                </c:pt>
                <c:pt idx="5129">
                  <c:v>0.43563005304083635</c:v>
                </c:pt>
                <c:pt idx="5130">
                  <c:v>0.43461300787888146</c:v>
                </c:pt>
                <c:pt idx="5131">
                  <c:v>0.43263041351253917</c:v>
                </c:pt>
                <c:pt idx="5132">
                  <c:v>0.42786703743756105</c:v>
                </c:pt>
                <c:pt idx="5133">
                  <c:v>0.43973685565683085</c:v>
                </c:pt>
                <c:pt idx="5134">
                  <c:v>0.43700756990576251</c:v>
                </c:pt>
                <c:pt idx="5135">
                  <c:v>0.44881301817807318</c:v>
                </c:pt>
                <c:pt idx="5136">
                  <c:v>0.45339615840156555</c:v>
                </c:pt>
                <c:pt idx="5137">
                  <c:v>0.46871620577784645</c:v>
                </c:pt>
                <c:pt idx="5138">
                  <c:v>0.46274267470003605</c:v>
                </c:pt>
                <c:pt idx="5139">
                  <c:v>0.4590735877233636</c:v>
                </c:pt>
                <c:pt idx="5140">
                  <c:v>0.46046397857768184</c:v>
                </c:pt>
                <c:pt idx="5141">
                  <c:v>0.4684715999794018</c:v>
                </c:pt>
                <c:pt idx="5142">
                  <c:v>0.47286163036201656</c:v>
                </c:pt>
                <c:pt idx="5143">
                  <c:v>0.4604382305988981</c:v>
                </c:pt>
                <c:pt idx="5144">
                  <c:v>0.45514702095885462</c:v>
                </c:pt>
                <c:pt idx="5145">
                  <c:v>0.46122354395179976</c:v>
                </c:pt>
                <c:pt idx="5146">
                  <c:v>0.45739996910242531</c:v>
                </c:pt>
                <c:pt idx="5147">
                  <c:v>0.45934394150059221</c:v>
                </c:pt>
                <c:pt idx="5148">
                  <c:v>0.45734847314485805</c:v>
                </c:pt>
                <c:pt idx="5149">
                  <c:v>0.44869715227354656</c:v>
                </c:pt>
                <c:pt idx="5150">
                  <c:v>0.46309027241361567</c:v>
                </c:pt>
                <c:pt idx="5151">
                  <c:v>0.45647304186621351</c:v>
                </c:pt>
                <c:pt idx="5152">
                  <c:v>0.47044132035635222</c:v>
                </c:pt>
                <c:pt idx="5153">
                  <c:v>0.46817549822338966</c:v>
                </c:pt>
                <c:pt idx="5154">
                  <c:v>0.44510530923322511</c:v>
                </c:pt>
                <c:pt idx="5155">
                  <c:v>0.43756115144961139</c:v>
                </c:pt>
                <c:pt idx="5156">
                  <c:v>0.44831093259179156</c:v>
                </c:pt>
                <c:pt idx="5157">
                  <c:v>0.44343169061228704</c:v>
                </c:pt>
                <c:pt idx="5158">
                  <c:v>0.44276224316391177</c:v>
                </c:pt>
                <c:pt idx="5159">
                  <c:v>0.44353468252742156</c:v>
                </c:pt>
                <c:pt idx="5160">
                  <c:v>0.43537257325299983</c:v>
                </c:pt>
                <c:pt idx="5161">
                  <c:v>0.43293938925794317</c:v>
                </c:pt>
                <c:pt idx="5162">
                  <c:v>0.41022967197075033</c:v>
                </c:pt>
                <c:pt idx="5163">
                  <c:v>0.40784798393326116</c:v>
                </c:pt>
                <c:pt idx="5164">
                  <c:v>0.40222205056903038</c:v>
                </c:pt>
                <c:pt idx="5165">
                  <c:v>0.40156547711004698</c:v>
                </c:pt>
                <c:pt idx="5166">
                  <c:v>0.40518306812915195</c:v>
                </c:pt>
                <c:pt idx="5167">
                  <c:v>0.39566918996858735</c:v>
                </c:pt>
                <c:pt idx="5168">
                  <c:v>0.41060301766311347</c:v>
                </c:pt>
                <c:pt idx="5169">
                  <c:v>0.41155569287810922</c:v>
                </c:pt>
                <c:pt idx="5170">
                  <c:v>0.41263710798702302</c:v>
                </c:pt>
                <c:pt idx="5171">
                  <c:v>0.41028116792831759</c:v>
                </c:pt>
                <c:pt idx="5172">
                  <c:v>0.39955713476492094</c:v>
                </c:pt>
                <c:pt idx="5173">
                  <c:v>0.41446521448066331</c:v>
                </c:pt>
                <c:pt idx="5174">
                  <c:v>0.43414954426077546</c:v>
                </c:pt>
                <c:pt idx="5175">
                  <c:v>0.44385653226221744</c:v>
                </c:pt>
                <c:pt idx="5176">
                  <c:v>0.4413074823626344</c:v>
                </c:pt>
                <c:pt idx="5177">
                  <c:v>0.43865544054791705</c:v>
                </c:pt>
                <c:pt idx="5178">
                  <c:v>0.42553684535763936</c:v>
                </c:pt>
                <c:pt idx="5179">
                  <c:v>0.43402080436685742</c:v>
                </c:pt>
                <c:pt idx="5180">
                  <c:v>0.44498944332869872</c:v>
                </c:pt>
                <c:pt idx="5181">
                  <c:v>0.465201606673876</c:v>
                </c:pt>
                <c:pt idx="5182">
                  <c:v>0.46188011741078316</c:v>
                </c:pt>
                <c:pt idx="5183">
                  <c:v>0.46840723003244245</c:v>
                </c:pt>
                <c:pt idx="5184">
                  <c:v>0.46754467274318978</c:v>
                </c:pt>
                <c:pt idx="5185">
                  <c:v>0.44715227354652654</c:v>
                </c:pt>
                <c:pt idx="5186">
                  <c:v>0.43950512384777807</c:v>
                </c:pt>
                <c:pt idx="5187">
                  <c:v>0.4622534631031463</c:v>
                </c:pt>
                <c:pt idx="5188">
                  <c:v>0.46069571038673462</c:v>
                </c:pt>
                <c:pt idx="5189">
                  <c:v>0.45326741850764707</c:v>
                </c:pt>
                <c:pt idx="5190">
                  <c:v>0.45240486121839441</c:v>
                </c:pt>
                <c:pt idx="5191">
                  <c:v>0.4540398578711573</c:v>
                </c:pt>
                <c:pt idx="5192">
                  <c:v>0.47432926515268559</c:v>
                </c:pt>
                <c:pt idx="5193">
                  <c:v>0.4667593593902879</c:v>
                </c:pt>
                <c:pt idx="5194">
                  <c:v>0.46831711210669957</c:v>
                </c:pt>
                <c:pt idx="5195">
                  <c:v>0.47813996601266817</c:v>
                </c:pt>
                <c:pt idx="5196">
                  <c:v>0.48124259745609965</c:v>
                </c:pt>
                <c:pt idx="5197">
                  <c:v>0.46996498274885412</c:v>
                </c:pt>
                <c:pt idx="5198">
                  <c:v>0.45755445697512753</c:v>
                </c:pt>
                <c:pt idx="5199">
                  <c:v>0.4498815592975951</c:v>
                </c:pt>
                <c:pt idx="5200">
                  <c:v>0.45089860445954999</c:v>
                </c:pt>
                <c:pt idx="5201">
                  <c:v>0.44506668726504972</c:v>
                </c:pt>
                <c:pt idx="5202">
                  <c:v>0.42651526855141864</c:v>
                </c:pt>
                <c:pt idx="5203">
                  <c:v>0.42797002935269579</c:v>
                </c:pt>
                <c:pt idx="5204">
                  <c:v>0.40497708429888246</c:v>
                </c:pt>
                <c:pt idx="5205">
                  <c:v>0.40835006951954278</c:v>
                </c:pt>
                <c:pt idx="5206">
                  <c:v>0.41021679798135868</c:v>
                </c:pt>
                <c:pt idx="5207">
                  <c:v>0.42872959472681393</c:v>
                </c:pt>
                <c:pt idx="5208">
                  <c:v>0.44487357742417211</c:v>
                </c:pt>
                <c:pt idx="5209">
                  <c:v>0.44671455790720427</c:v>
                </c:pt>
                <c:pt idx="5210">
                  <c:v>0.4299140017508627</c:v>
                </c:pt>
                <c:pt idx="5211">
                  <c:v>0.42191925433853439</c:v>
                </c:pt>
                <c:pt idx="5212">
                  <c:v>0.44262062928060142</c:v>
                </c:pt>
                <c:pt idx="5213">
                  <c:v>0.42486739790926409</c:v>
                </c:pt>
                <c:pt idx="5214">
                  <c:v>0.44689479375869001</c:v>
                </c:pt>
                <c:pt idx="5215">
                  <c:v>0.4683814820536587</c:v>
                </c:pt>
                <c:pt idx="5216">
                  <c:v>0.47691693702044402</c:v>
                </c:pt>
                <c:pt idx="5217">
                  <c:v>0.48935321077295413</c:v>
                </c:pt>
                <c:pt idx="5218">
                  <c:v>0.48679128688397966</c:v>
                </c:pt>
                <c:pt idx="5219">
                  <c:v>0.48184767495751579</c:v>
                </c:pt>
                <c:pt idx="5220">
                  <c:v>0.47935012101550023</c:v>
                </c:pt>
                <c:pt idx="5221">
                  <c:v>0.48818167773829768</c:v>
                </c:pt>
                <c:pt idx="5222">
                  <c:v>0.47399454142849784</c:v>
                </c:pt>
                <c:pt idx="5223">
                  <c:v>0.47395591946032245</c:v>
                </c:pt>
                <c:pt idx="5224">
                  <c:v>0.47235954477573516</c:v>
                </c:pt>
                <c:pt idx="5225">
                  <c:v>0.46646325763427554</c:v>
                </c:pt>
                <c:pt idx="5226">
                  <c:v>0.46890931561872407</c:v>
                </c:pt>
                <c:pt idx="5227">
                  <c:v>0.47292600030897569</c:v>
                </c:pt>
                <c:pt idx="5228">
                  <c:v>0.47672382717956641</c:v>
                </c:pt>
                <c:pt idx="5229">
                  <c:v>0.48285184613007881</c:v>
                </c:pt>
                <c:pt idx="5230">
                  <c:v>0.48950769864565635</c:v>
                </c:pt>
                <c:pt idx="5231">
                  <c:v>0.47511457850558725</c:v>
                </c:pt>
                <c:pt idx="5232">
                  <c:v>0.48322519182244172</c:v>
                </c:pt>
                <c:pt idx="5233">
                  <c:v>0.4904989958288275</c:v>
                </c:pt>
                <c:pt idx="5234">
                  <c:v>0.47476698079200785</c:v>
                </c:pt>
                <c:pt idx="5235">
                  <c:v>0.46739018487048756</c:v>
                </c:pt>
                <c:pt idx="5236">
                  <c:v>0.47118801174107827</c:v>
                </c:pt>
                <c:pt idx="5237">
                  <c:v>0.45294556877285119</c:v>
                </c:pt>
                <c:pt idx="5238">
                  <c:v>0.45028065296874198</c:v>
                </c:pt>
                <c:pt idx="5239">
                  <c:v>0.46252381688037492</c:v>
                </c:pt>
                <c:pt idx="5240">
                  <c:v>0.46153251969720377</c:v>
                </c:pt>
                <c:pt idx="5241">
                  <c:v>0.45621556207837699</c:v>
                </c:pt>
                <c:pt idx="5242">
                  <c:v>0.46005201091714287</c:v>
                </c:pt>
                <c:pt idx="5243">
                  <c:v>0.45280395488954128</c:v>
                </c:pt>
                <c:pt idx="5244">
                  <c:v>0.47284875637262469</c:v>
                </c:pt>
                <c:pt idx="5245">
                  <c:v>0.48742211236417932</c:v>
                </c:pt>
                <c:pt idx="5246">
                  <c:v>0.4696302590246666</c:v>
                </c:pt>
                <c:pt idx="5247">
                  <c:v>0.47270714248931478</c:v>
                </c:pt>
                <c:pt idx="5248">
                  <c:v>0.47744477058550894</c:v>
                </c:pt>
                <c:pt idx="5249">
                  <c:v>0.46605128997373702</c:v>
                </c:pt>
                <c:pt idx="5250">
                  <c:v>0.4674159328492713</c:v>
                </c:pt>
                <c:pt idx="5251">
                  <c:v>0.45739996910242531</c:v>
                </c:pt>
                <c:pt idx="5252">
                  <c:v>0.45543024872547511</c:v>
                </c:pt>
                <c:pt idx="5253">
                  <c:v>0.44345743859107056</c:v>
                </c:pt>
                <c:pt idx="5254">
                  <c:v>0.45119470621556212</c:v>
                </c:pt>
                <c:pt idx="5255">
                  <c:v>0.44428137391214784</c:v>
                </c:pt>
                <c:pt idx="5256">
                  <c:v>0.45723260724033166</c:v>
                </c:pt>
                <c:pt idx="5257">
                  <c:v>0.4500360471702971</c:v>
                </c:pt>
                <c:pt idx="5258">
                  <c:v>0.44661156599206975</c:v>
                </c:pt>
                <c:pt idx="5259">
                  <c:v>0.44474483753025384</c:v>
                </c:pt>
                <c:pt idx="5260">
                  <c:v>0.42705597610587565</c:v>
                </c:pt>
                <c:pt idx="5261">
                  <c:v>0.43148462845666624</c:v>
                </c:pt>
                <c:pt idx="5262">
                  <c:v>0.42854935887532841</c:v>
                </c:pt>
                <c:pt idx="5263">
                  <c:v>0.42834337504505893</c:v>
                </c:pt>
                <c:pt idx="5264">
                  <c:v>0.41084762346155834</c:v>
                </c:pt>
                <c:pt idx="5265">
                  <c:v>0.40846593542406917</c:v>
                </c:pt>
                <c:pt idx="5266">
                  <c:v>0.41101498532365199</c:v>
                </c:pt>
                <c:pt idx="5267">
                  <c:v>0.40704979659096763</c:v>
                </c:pt>
                <c:pt idx="5268">
                  <c:v>0.4015526031206551</c:v>
                </c:pt>
                <c:pt idx="5269">
                  <c:v>0.40220917657963851</c:v>
                </c:pt>
                <c:pt idx="5270">
                  <c:v>0.38585921005201085</c:v>
                </c:pt>
                <c:pt idx="5271">
                  <c:v>0.38412122148411365</c:v>
                </c:pt>
                <c:pt idx="5272">
                  <c:v>0.37499356300530406</c:v>
                </c:pt>
                <c:pt idx="5273">
                  <c:v>0.38284669653432224</c:v>
                </c:pt>
                <c:pt idx="5274">
                  <c:v>0.37907461764251504</c:v>
                </c:pt>
                <c:pt idx="5275">
                  <c:v>0.3634198465420464</c:v>
                </c:pt>
                <c:pt idx="5276">
                  <c:v>0.36487460734332355</c:v>
                </c:pt>
                <c:pt idx="5277">
                  <c:v>0.37661568566867487</c:v>
                </c:pt>
                <c:pt idx="5278">
                  <c:v>0.36657397394304558</c:v>
                </c:pt>
                <c:pt idx="5279">
                  <c:v>0.3771563932231321</c:v>
                </c:pt>
                <c:pt idx="5280">
                  <c:v>0.37073227251660756</c:v>
                </c:pt>
                <c:pt idx="5281">
                  <c:v>0.37316545651166377</c:v>
                </c:pt>
                <c:pt idx="5282">
                  <c:v>0.37767135279880515</c:v>
                </c:pt>
                <c:pt idx="5283">
                  <c:v>0.36232555744374073</c:v>
                </c:pt>
                <c:pt idx="5284">
                  <c:v>0.36264740717853661</c:v>
                </c:pt>
                <c:pt idx="5285">
                  <c:v>0.35677686801586095</c:v>
                </c:pt>
                <c:pt idx="5286">
                  <c:v>0.35444667593593904</c:v>
                </c:pt>
                <c:pt idx="5287">
                  <c:v>0.33281837375765999</c:v>
                </c:pt>
                <c:pt idx="5288">
                  <c:v>0.33071991348679153</c:v>
                </c:pt>
                <c:pt idx="5289">
                  <c:v>0.34203615016221245</c:v>
                </c:pt>
                <c:pt idx="5290">
                  <c:v>0.33136361295638306</c:v>
                </c:pt>
                <c:pt idx="5291">
                  <c:v>0.34356815489984061</c:v>
                </c:pt>
                <c:pt idx="5292">
                  <c:v>0.35221947577115187</c:v>
                </c:pt>
                <c:pt idx="5293">
                  <c:v>0.36259591122096935</c:v>
                </c:pt>
                <c:pt idx="5294">
                  <c:v>0.36278902106184652</c:v>
                </c:pt>
                <c:pt idx="5295">
                  <c:v>0.34735310778103923</c:v>
                </c:pt>
                <c:pt idx="5296">
                  <c:v>0.34804830320819802</c:v>
                </c:pt>
                <c:pt idx="5297">
                  <c:v>0.35590143673721619</c:v>
                </c:pt>
                <c:pt idx="5298">
                  <c:v>0.36213244760286312</c:v>
                </c:pt>
                <c:pt idx="5299">
                  <c:v>0.35409907822235942</c:v>
                </c:pt>
                <c:pt idx="5300">
                  <c:v>0.35595293269478345</c:v>
                </c:pt>
                <c:pt idx="5301">
                  <c:v>0.36338122457387101</c:v>
                </c:pt>
                <c:pt idx="5302">
                  <c:v>0.3526829393892581</c:v>
                </c:pt>
                <c:pt idx="5303">
                  <c:v>0.34782944538853711</c:v>
                </c:pt>
                <c:pt idx="5304">
                  <c:v>0.3493357021473813</c:v>
                </c:pt>
                <c:pt idx="5305">
                  <c:v>0.34763633554765949</c:v>
                </c:pt>
                <c:pt idx="5306">
                  <c:v>0.32747566816004969</c:v>
                </c:pt>
                <c:pt idx="5307">
                  <c:v>0.32461764251506264</c:v>
                </c:pt>
                <c:pt idx="5308">
                  <c:v>0.33087440135949331</c:v>
                </c:pt>
                <c:pt idx="5309">
                  <c:v>0.3264843709768781</c:v>
                </c:pt>
                <c:pt idx="5310">
                  <c:v>0.34665791235388022</c:v>
                </c:pt>
                <c:pt idx="5311">
                  <c:v>0.3449199237859828</c:v>
                </c:pt>
                <c:pt idx="5312">
                  <c:v>0.33801946547196038</c:v>
                </c:pt>
                <c:pt idx="5313">
                  <c:v>0.3518590040681806</c:v>
                </c:pt>
                <c:pt idx="5314">
                  <c:v>0.3475977135794841</c:v>
                </c:pt>
                <c:pt idx="5315">
                  <c:v>0.35109943869406246</c:v>
                </c:pt>
                <c:pt idx="5316">
                  <c:v>0.34578248107523546</c:v>
                </c:pt>
                <c:pt idx="5317">
                  <c:v>0.33639734280858957</c:v>
                </c:pt>
                <c:pt idx="5318">
                  <c:v>0.33725990009784246</c:v>
                </c:pt>
                <c:pt idx="5319">
                  <c:v>0.33088727534888518</c:v>
                </c:pt>
                <c:pt idx="5320">
                  <c:v>0.33792934754621773</c:v>
                </c:pt>
                <c:pt idx="5321">
                  <c:v>0.33162109274421958</c:v>
                </c:pt>
                <c:pt idx="5322">
                  <c:v>0.3258277975178947</c:v>
                </c:pt>
                <c:pt idx="5323">
                  <c:v>0.3134558937123435</c:v>
                </c:pt>
                <c:pt idx="5324">
                  <c:v>0.31085534785519342</c:v>
                </c:pt>
                <c:pt idx="5325">
                  <c:v>0.28221072145836557</c:v>
                </c:pt>
                <c:pt idx="5326">
                  <c:v>0.29587002420310005</c:v>
                </c:pt>
                <c:pt idx="5327">
                  <c:v>0.28334363252484684</c:v>
                </c:pt>
                <c:pt idx="5328">
                  <c:v>0.29160873371440332</c:v>
                </c:pt>
                <c:pt idx="5329">
                  <c:v>0.29947474123281315</c:v>
                </c:pt>
                <c:pt idx="5330">
                  <c:v>0.32477213038776465</c:v>
                </c:pt>
                <c:pt idx="5331">
                  <c:v>0.31677738297543656</c:v>
                </c:pt>
                <c:pt idx="5332">
                  <c:v>0.33413152067562701</c:v>
                </c:pt>
                <c:pt idx="5333">
                  <c:v>0.33835418919614813</c:v>
                </c:pt>
                <c:pt idx="5334">
                  <c:v>0.3208326896338638</c:v>
                </c:pt>
                <c:pt idx="5335">
                  <c:v>0.32514547608012756</c:v>
                </c:pt>
                <c:pt idx="5336">
                  <c:v>0.30646531747257844</c:v>
                </c:pt>
                <c:pt idx="5337">
                  <c:v>0.31138318142025856</c:v>
                </c:pt>
                <c:pt idx="5338">
                  <c:v>0.30853802976466338</c:v>
                </c:pt>
                <c:pt idx="5339">
                  <c:v>0.30145733559915544</c:v>
                </c:pt>
                <c:pt idx="5340">
                  <c:v>0.31722797260415048</c:v>
                </c:pt>
                <c:pt idx="5341">
                  <c:v>0.32813224161903309</c:v>
                </c:pt>
                <c:pt idx="5342">
                  <c:v>0.3149364024924044</c:v>
                </c:pt>
                <c:pt idx="5343">
                  <c:v>0.32340748751223036</c:v>
                </c:pt>
                <c:pt idx="5344">
                  <c:v>0.32121890931561881</c:v>
                </c:pt>
                <c:pt idx="5345">
                  <c:v>0.31570884185591441</c:v>
                </c:pt>
                <c:pt idx="5346">
                  <c:v>0.29771100468613221</c:v>
                </c:pt>
                <c:pt idx="5347">
                  <c:v>0.29105515217055467</c:v>
                </c:pt>
                <c:pt idx="5348">
                  <c:v>0.28326638858849584</c:v>
                </c:pt>
                <c:pt idx="5349">
                  <c:v>0.28318914465214484</c:v>
                </c:pt>
                <c:pt idx="5350">
                  <c:v>0.27930119985581148</c:v>
                </c:pt>
                <c:pt idx="5351">
                  <c:v>0.27846439054534211</c:v>
                </c:pt>
                <c:pt idx="5352">
                  <c:v>0.29160873371440332</c:v>
                </c:pt>
                <c:pt idx="5353">
                  <c:v>0.28778515886502909</c:v>
                </c:pt>
                <c:pt idx="5354">
                  <c:v>0.29042432669035478</c:v>
                </c:pt>
                <c:pt idx="5355">
                  <c:v>0.28706421545908656</c:v>
                </c:pt>
                <c:pt idx="5356">
                  <c:v>0.27538750708069415</c:v>
                </c:pt>
                <c:pt idx="5357">
                  <c:v>0.27518152325042489</c:v>
                </c:pt>
                <c:pt idx="5358">
                  <c:v>0.26683917812451718</c:v>
                </c:pt>
                <c:pt idx="5359">
                  <c:v>0.27497553942015562</c:v>
                </c:pt>
                <c:pt idx="5360">
                  <c:v>0.26241052577372681</c:v>
                </c:pt>
                <c:pt idx="5361">
                  <c:v>0.25854832895617696</c:v>
                </c:pt>
                <c:pt idx="5362">
                  <c:v>0.25408105463721098</c:v>
                </c:pt>
                <c:pt idx="5363">
                  <c:v>0.24501776610536075</c:v>
                </c:pt>
                <c:pt idx="5364">
                  <c:v>0.24293217982388393</c:v>
                </c:pt>
                <c:pt idx="5365">
                  <c:v>0.26528142540810551</c:v>
                </c:pt>
                <c:pt idx="5366">
                  <c:v>0.26184407024048606</c:v>
                </c:pt>
                <c:pt idx="5367">
                  <c:v>0.27492404346258814</c:v>
                </c:pt>
                <c:pt idx="5368">
                  <c:v>0.2712935784540913</c:v>
                </c:pt>
                <c:pt idx="5369">
                  <c:v>0.27359802255522947</c:v>
                </c:pt>
                <c:pt idx="5370">
                  <c:v>0.28291879087491623</c:v>
                </c:pt>
                <c:pt idx="5371">
                  <c:v>0.28569957258355205</c:v>
                </c:pt>
                <c:pt idx="5372">
                  <c:v>0.26371079870230196</c:v>
                </c:pt>
                <c:pt idx="5373">
                  <c:v>0.27273546526597658</c:v>
                </c:pt>
                <c:pt idx="5374">
                  <c:v>0.27209176579638505</c:v>
                </c:pt>
                <c:pt idx="5375">
                  <c:v>0.26010608167258864</c:v>
                </c:pt>
                <c:pt idx="5376">
                  <c:v>0.27879911426952986</c:v>
                </c:pt>
                <c:pt idx="5377">
                  <c:v>0.26387816056439584</c:v>
                </c:pt>
                <c:pt idx="5378">
                  <c:v>0.27967454554817439</c:v>
                </c:pt>
                <c:pt idx="5379">
                  <c:v>0.28793964673773109</c:v>
                </c:pt>
                <c:pt idx="5380">
                  <c:v>0.29236829908852169</c:v>
                </c:pt>
                <c:pt idx="5381">
                  <c:v>0.28500437715639326</c:v>
                </c:pt>
                <c:pt idx="5382">
                  <c:v>0.2728513311705032</c:v>
                </c:pt>
                <c:pt idx="5383">
                  <c:v>0.29024409083886926</c:v>
                </c:pt>
                <c:pt idx="5384">
                  <c:v>0.29749214686647107</c:v>
                </c:pt>
                <c:pt idx="5385">
                  <c:v>0.29308924249446422</c:v>
                </c:pt>
                <c:pt idx="5386">
                  <c:v>0.26898913435295335</c:v>
                </c:pt>
                <c:pt idx="5387">
                  <c:v>0.27935269581337874</c:v>
                </c:pt>
                <c:pt idx="5388">
                  <c:v>0.26463772593851398</c:v>
                </c:pt>
                <c:pt idx="5389">
                  <c:v>0.25457026623410073</c:v>
                </c:pt>
                <c:pt idx="5390">
                  <c:v>0.2567845924094958</c:v>
                </c:pt>
                <c:pt idx="5391">
                  <c:v>0.26914362222565535</c:v>
                </c:pt>
                <c:pt idx="5392">
                  <c:v>0.25562593336423101</c:v>
                </c:pt>
                <c:pt idx="5393">
                  <c:v>0.26609248673979091</c:v>
                </c:pt>
                <c:pt idx="5394">
                  <c:v>0.26376229465986922</c:v>
                </c:pt>
                <c:pt idx="5395">
                  <c:v>0.2818502497553943</c:v>
                </c:pt>
                <c:pt idx="5396">
                  <c:v>0.28057572480560289</c:v>
                </c:pt>
                <c:pt idx="5397">
                  <c:v>0.30038879447963351</c:v>
                </c:pt>
                <c:pt idx="5398">
                  <c:v>0.30241001081415098</c:v>
                </c:pt>
                <c:pt idx="5399">
                  <c:v>0.30122560379010244</c:v>
                </c:pt>
                <c:pt idx="5400">
                  <c:v>0.27273546526597658</c:v>
                </c:pt>
                <c:pt idx="5401">
                  <c:v>0.28548071476389114</c:v>
                </c:pt>
                <c:pt idx="5402">
                  <c:v>0.28415469385653225</c:v>
                </c:pt>
                <c:pt idx="5403">
                  <c:v>0.26788197126525581</c:v>
                </c:pt>
                <c:pt idx="5404">
                  <c:v>0.25641124671713267</c:v>
                </c:pt>
                <c:pt idx="5405">
                  <c:v>0.27164117616767092</c:v>
                </c:pt>
                <c:pt idx="5406">
                  <c:v>0.27470518564292701</c:v>
                </c:pt>
                <c:pt idx="5407">
                  <c:v>0.26968432978011236</c:v>
                </c:pt>
                <c:pt idx="5408">
                  <c:v>0.25078531335290166</c:v>
                </c:pt>
                <c:pt idx="5409">
                  <c:v>0.244914774190226</c:v>
                </c:pt>
                <c:pt idx="5410">
                  <c:v>0.24052474380761124</c:v>
                </c:pt>
                <c:pt idx="5411">
                  <c:v>0.22256552860600443</c:v>
                </c:pt>
                <c:pt idx="5412">
                  <c:v>0.22717441680828054</c:v>
                </c:pt>
                <c:pt idx="5413">
                  <c:v>0.22493434265410173</c:v>
                </c:pt>
                <c:pt idx="5414">
                  <c:v>0.20142643802461513</c:v>
                </c:pt>
                <c:pt idx="5415">
                  <c:v>0.19968844945671771</c:v>
                </c:pt>
                <c:pt idx="5416">
                  <c:v>0.18880992842061883</c:v>
                </c:pt>
                <c:pt idx="5417">
                  <c:v>0.18405942633503281</c:v>
                </c:pt>
                <c:pt idx="5418">
                  <c:v>0.18539832123178335</c:v>
                </c:pt>
                <c:pt idx="5419">
                  <c:v>0.21569081827076575</c:v>
                </c:pt>
                <c:pt idx="5420">
                  <c:v>0.21874195375662997</c:v>
                </c:pt>
                <c:pt idx="5421">
                  <c:v>0.2092280755960656</c:v>
                </c:pt>
                <c:pt idx="5422">
                  <c:v>0.21311602039239919</c:v>
                </c:pt>
                <c:pt idx="5423">
                  <c:v>0.21673361141150416</c:v>
                </c:pt>
                <c:pt idx="5424">
                  <c:v>0.20167104382305978</c:v>
                </c:pt>
                <c:pt idx="5425">
                  <c:v>0.1847546217621916</c:v>
                </c:pt>
                <c:pt idx="5426">
                  <c:v>0.19679180184355527</c:v>
                </c:pt>
                <c:pt idx="5427">
                  <c:v>0.20293269478345954</c:v>
                </c:pt>
                <c:pt idx="5428">
                  <c:v>0.19283948710026255</c:v>
                </c:pt>
                <c:pt idx="5429">
                  <c:v>0.19738400535557976</c:v>
                </c:pt>
                <c:pt idx="5430">
                  <c:v>0.17964364797363408</c:v>
                </c:pt>
                <c:pt idx="5431">
                  <c:v>0.18044183531592761</c:v>
                </c:pt>
                <c:pt idx="5432">
                  <c:v>0.18162624233997637</c:v>
                </c:pt>
                <c:pt idx="5433">
                  <c:v>0.17776404552242653</c:v>
                </c:pt>
                <c:pt idx="5434">
                  <c:v>0.15712704052731863</c:v>
                </c:pt>
                <c:pt idx="5435">
                  <c:v>0.17337401513981154</c:v>
                </c:pt>
                <c:pt idx="5436">
                  <c:v>0.18314537308821266</c:v>
                </c:pt>
                <c:pt idx="5437">
                  <c:v>0.17329677120346054</c:v>
                </c:pt>
                <c:pt idx="5438">
                  <c:v>0.1483727277408724</c:v>
                </c:pt>
                <c:pt idx="5439">
                  <c:v>0.15039394407539008</c:v>
                </c:pt>
                <c:pt idx="5440">
                  <c:v>0.13279520057675476</c:v>
                </c:pt>
                <c:pt idx="5441">
                  <c:v>0.14682784901385237</c:v>
                </c:pt>
                <c:pt idx="5442">
                  <c:v>0.13964416293320969</c:v>
                </c:pt>
                <c:pt idx="5443">
                  <c:v>0.11784849889283677</c:v>
                </c:pt>
                <c:pt idx="5444">
                  <c:v>0.12207116741335811</c:v>
                </c:pt>
                <c:pt idx="5445">
                  <c:v>0.11487460734332355</c:v>
                </c:pt>
                <c:pt idx="5446">
                  <c:v>0.13070961429527772</c:v>
                </c:pt>
                <c:pt idx="5447">
                  <c:v>0.13282094855553828</c:v>
                </c:pt>
                <c:pt idx="5448">
                  <c:v>0.13143055770122047</c:v>
                </c:pt>
                <c:pt idx="5449">
                  <c:v>0.12834080024718064</c:v>
                </c:pt>
                <c:pt idx="5450">
                  <c:v>0.13406972552654617</c:v>
                </c:pt>
                <c:pt idx="5451">
                  <c:v>0.10520624131005718</c:v>
                </c:pt>
                <c:pt idx="5452">
                  <c:v>9.1946032236469355E-2</c:v>
                </c:pt>
                <c:pt idx="5453">
                  <c:v>0.11166898398475711</c:v>
                </c:pt>
                <c:pt idx="5454">
                  <c:v>0.11813172665945726</c:v>
                </c:pt>
                <c:pt idx="5455">
                  <c:v>0.11997270714248942</c:v>
                </c:pt>
                <c:pt idx="5456">
                  <c:v>0.12613934806117721</c:v>
                </c:pt>
                <c:pt idx="5457">
                  <c:v>0.112608785210361</c:v>
                </c:pt>
                <c:pt idx="5458">
                  <c:v>0.15323909573098504</c:v>
                </c:pt>
                <c:pt idx="5459">
                  <c:v>0.12733662907461762</c:v>
                </c:pt>
                <c:pt idx="5460">
                  <c:v>0.1252124208249652</c:v>
                </c:pt>
                <c:pt idx="5461">
                  <c:v>0.11546681085534782</c:v>
                </c:pt>
                <c:pt idx="5462">
                  <c:v>0.11075493073793696</c:v>
                </c:pt>
                <c:pt idx="5463">
                  <c:v>7.275091405324674E-2</c:v>
                </c:pt>
                <c:pt idx="5464">
                  <c:v>7.0987177506565802E-2</c:v>
                </c:pt>
                <c:pt idx="5465">
                  <c:v>3.5313352901797268E-2</c:v>
                </c:pt>
                <c:pt idx="5466">
                  <c:v>3.0858952572223153E-2</c:v>
                </c:pt>
                <c:pt idx="5467">
                  <c:v>3.954889541171025E-2</c:v>
                </c:pt>
                <c:pt idx="5468">
                  <c:v>6.7112106699624086E-2</c:v>
                </c:pt>
                <c:pt idx="5469">
                  <c:v>5.8370667902569728E-2</c:v>
                </c:pt>
                <c:pt idx="5470">
                  <c:v>6.8348009681240107E-2</c:v>
                </c:pt>
                <c:pt idx="5471">
                  <c:v>5.8229054019259596E-2</c:v>
                </c:pt>
                <c:pt idx="5472">
                  <c:v>7.4733508419589034E-2</c:v>
                </c:pt>
                <c:pt idx="5473">
                  <c:v>8.2895617694010992E-2</c:v>
                </c:pt>
                <c:pt idx="5474">
                  <c:v>7.7913383799371738E-2</c:v>
                </c:pt>
                <c:pt idx="5475">
                  <c:v>6.5386992121118537E-2</c:v>
                </c:pt>
                <c:pt idx="5476">
                  <c:v>7.9574128430918156E-2</c:v>
                </c:pt>
                <c:pt idx="5477">
                  <c:v>7.1862608785210336E-2</c:v>
                </c:pt>
                <c:pt idx="5478">
                  <c:v>9.1933158247077484E-2</c:v>
                </c:pt>
                <c:pt idx="5479">
                  <c:v>7.7681651990318734E-2</c:v>
                </c:pt>
                <c:pt idx="5480">
                  <c:v>8.8019465471960379E-2</c:v>
                </c:pt>
                <c:pt idx="5481">
                  <c:v>9.579535506462733E-2</c:v>
                </c:pt>
                <c:pt idx="5482">
                  <c:v>7.4836500334723777E-2</c:v>
                </c:pt>
                <c:pt idx="5483">
                  <c:v>5.2281270920232714E-2</c:v>
                </c:pt>
                <c:pt idx="5484">
                  <c:v>5.3967763530562873E-2</c:v>
                </c:pt>
                <c:pt idx="5485">
                  <c:v>6.7511200370770963E-2</c:v>
                </c:pt>
                <c:pt idx="5486">
                  <c:v>7.6226891189041801E-2</c:v>
                </c:pt>
                <c:pt idx="5487">
                  <c:v>6.8142025850970844E-2</c:v>
                </c:pt>
                <c:pt idx="5488">
                  <c:v>7.9033420876461147E-2</c:v>
                </c:pt>
                <c:pt idx="5489">
                  <c:v>8.6036871105618307E-2</c:v>
                </c:pt>
                <c:pt idx="5490">
                  <c:v>9.1971780215253096E-2</c:v>
                </c:pt>
                <c:pt idx="5491">
                  <c:v>0.10757505535815448</c:v>
                </c:pt>
                <c:pt idx="5492">
                  <c:v>0.10162727225912782</c:v>
                </c:pt>
                <c:pt idx="5493">
                  <c:v>8.7350018023585108E-2</c:v>
                </c:pt>
                <c:pt idx="5494">
                  <c:v>0.11277614707245487</c:v>
                </c:pt>
                <c:pt idx="5495">
                  <c:v>0.10528348524640818</c:v>
                </c:pt>
                <c:pt idx="5496">
                  <c:v>9.104485297904108E-2</c:v>
                </c:pt>
                <c:pt idx="5497">
                  <c:v>0.10896544621247228</c:v>
                </c:pt>
                <c:pt idx="5498">
                  <c:v>0.14236057469488661</c:v>
                </c:pt>
                <c:pt idx="5499">
                  <c:v>0.13079973222102059</c:v>
                </c:pt>
                <c:pt idx="5500">
                  <c:v>0.14272104639785788</c:v>
                </c:pt>
                <c:pt idx="5501">
                  <c:v>0.16095061537669286</c:v>
                </c:pt>
                <c:pt idx="5502">
                  <c:v>0.17745506977702252</c:v>
                </c:pt>
                <c:pt idx="5503">
                  <c:v>0.1821154539368659</c:v>
                </c:pt>
                <c:pt idx="5504">
                  <c:v>0.19941809567948909</c:v>
                </c:pt>
                <c:pt idx="5505">
                  <c:v>0.19246614140789942</c:v>
                </c:pt>
                <c:pt idx="5506">
                  <c:v>0.19415263401822958</c:v>
                </c:pt>
                <c:pt idx="5507">
                  <c:v>0.19416550800762145</c:v>
                </c:pt>
                <c:pt idx="5508">
                  <c:v>0.17144291673103651</c:v>
                </c:pt>
                <c:pt idx="5509">
                  <c:v>0.18817910294041917</c:v>
                </c:pt>
                <c:pt idx="5510">
                  <c:v>0.19600648849065339</c:v>
                </c:pt>
                <c:pt idx="5511">
                  <c:v>0.16971780215253118</c:v>
                </c:pt>
                <c:pt idx="5512">
                  <c:v>0.17028425768577171</c:v>
                </c:pt>
                <c:pt idx="5513">
                  <c:v>0.13267933467222837</c:v>
                </c:pt>
                <c:pt idx="5514">
                  <c:v>0.13212575312837949</c:v>
                </c:pt>
                <c:pt idx="5515">
                  <c:v>0.12698903136103823</c:v>
                </c:pt>
                <c:pt idx="5516">
                  <c:v>0.1453473402337917</c:v>
                </c:pt>
                <c:pt idx="5517">
                  <c:v>0.14896493125289667</c:v>
                </c:pt>
                <c:pt idx="5518">
                  <c:v>0.15528606004428647</c:v>
                </c:pt>
                <c:pt idx="5519">
                  <c:v>0.15318759977341778</c:v>
                </c:pt>
                <c:pt idx="5520">
                  <c:v>0.13838251197281015</c:v>
                </c:pt>
                <c:pt idx="5521">
                  <c:v>0.14722694268499925</c:v>
                </c:pt>
                <c:pt idx="5522">
                  <c:v>0.16250836809310476</c:v>
                </c:pt>
                <c:pt idx="5523">
                  <c:v>0.17204799423245265</c:v>
                </c:pt>
                <c:pt idx="5524">
                  <c:v>0.1451156084247387</c:v>
                </c:pt>
                <c:pt idx="5525">
                  <c:v>0.16070600957824821</c:v>
                </c:pt>
                <c:pt idx="5526">
                  <c:v>0.16504454400329571</c:v>
                </c:pt>
                <c:pt idx="5527">
                  <c:v>0.16438797054431231</c:v>
                </c:pt>
                <c:pt idx="5528">
                  <c:v>0.14835985375148053</c:v>
                </c:pt>
                <c:pt idx="5529">
                  <c:v>0.17440393429115808</c:v>
                </c:pt>
                <c:pt idx="5530">
                  <c:v>0.16709150831659714</c:v>
                </c:pt>
                <c:pt idx="5531">
                  <c:v>0.18127864462639698</c:v>
                </c:pt>
                <c:pt idx="5532">
                  <c:v>0.18537257325299961</c:v>
                </c:pt>
                <c:pt idx="5533">
                  <c:v>0.20311293063494507</c:v>
                </c:pt>
                <c:pt idx="5534">
                  <c:v>0.20540450074669137</c:v>
                </c:pt>
                <c:pt idx="5535">
                  <c:v>0.20870024203100068</c:v>
                </c:pt>
                <c:pt idx="5536">
                  <c:v>0.1757943251454761</c:v>
                </c:pt>
                <c:pt idx="5537">
                  <c:v>0.20098872238529286</c:v>
                </c:pt>
                <c:pt idx="5538">
                  <c:v>0.19798908285699568</c:v>
                </c:pt>
                <c:pt idx="5539">
                  <c:v>0.20212163345177414</c:v>
                </c:pt>
                <c:pt idx="5540">
                  <c:v>0.17687574025439012</c:v>
                </c:pt>
                <c:pt idx="5541">
                  <c:v>0.15446212472320919</c:v>
                </c:pt>
                <c:pt idx="5542">
                  <c:v>0.15912250888305279</c:v>
                </c:pt>
                <c:pt idx="5543">
                  <c:v>0.17131417683711825</c:v>
                </c:pt>
                <c:pt idx="5544">
                  <c:v>0.16415623873525931</c:v>
                </c:pt>
                <c:pt idx="5545">
                  <c:v>0.13616818579741485</c:v>
                </c:pt>
                <c:pt idx="5546">
                  <c:v>0.13670889335187186</c:v>
                </c:pt>
                <c:pt idx="5547">
                  <c:v>0.12800607652299312</c:v>
                </c:pt>
                <c:pt idx="5548">
                  <c:v>0.15188732684484263</c:v>
                </c:pt>
                <c:pt idx="5549">
                  <c:v>0.16207065245378227</c:v>
                </c:pt>
                <c:pt idx="5550">
                  <c:v>0.18924764405994132</c:v>
                </c:pt>
                <c:pt idx="5551">
                  <c:v>0.17847211493897719</c:v>
                </c:pt>
                <c:pt idx="5552">
                  <c:v>0.16940882640712718</c:v>
                </c:pt>
                <c:pt idx="5553">
                  <c:v>0.15989494824656281</c:v>
                </c:pt>
                <c:pt idx="5554">
                  <c:v>0.14032648437097683</c:v>
                </c:pt>
                <c:pt idx="5555">
                  <c:v>0.14669910911993411</c:v>
                </c:pt>
                <c:pt idx="5556">
                  <c:v>0.13567897420052533</c:v>
                </c:pt>
                <c:pt idx="5557">
                  <c:v>0.1460811576291261</c:v>
                </c:pt>
                <c:pt idx="5558">
                  <c:v>0.15563365775786608</c:v>
                </c:pt>
                <c:pt idx="5559">
                  <c:v>0.13612956382923946</c:v>
                </c:pt>
                <c:pt idx="5560">
                  <c:v>0.15368968535969918</c:v>
                </c:pt>
                <c:pt idx="5561">
                  <c:v>0.14599103970338323</c:v>
                </c:pt>
                <c:pt idx="5562">
                  <c:v>0.15829857356197552</c:v>
                </c:pt>
                <c:pt idx="5563">
                  <c:v>0.1385627478242959</c:v>
                </c:pt>
                <c:pt idx="5564">
                  <c:v>0.13188114732993461</c:v>
                </c:pt>
                <c:pt idx="5565">
                  <c:v>0.10718883567639947</c:v>
                </c:pt>
                <c:pt idx="5566">
                  <c:v>0.13454606313404405</c:v>
                </c:pt>
                <c:pt idx="5567">
                  <c:v>8.3268963386374351E-2</c:v>
                </c:pt>
                <c:pt idx="5568">
                  <c:v>7.5390081878572657E-2</c:v>
                </c:pt>
                <c:pt idx="5569">
                  <c:v>3.4965755188217651E-2</c:v>
                </c:pt>
                <c:pt idx="5570">
                  <c:v>0</c:v>
                </c:pt>
                <c:pt idx="5571">
                  <c:v>0</c:v>
                </c:pt>
                <c:pt idx="5572">
                  <c:v>0</c:v>
                </c:pt>
                <c:pt idx="5573">
                  <c:v>0</c:v>
                </c:pt>
                <c:pt idx="5574">
                  <c:v>0</c:v>
                </c:pt>
                <c:pt idx="5575">
                  <c:v>0</c:v>
                </c:pt>
                <c:pt idx="5576">
                  <c:v>0</c:v>
                </c:pt>
                <c:pt idx="5577">
                  <c:v>0</c:v>
                </c:pt>
                <c:pt idx="5578">
                  <c:v>0</c:v>
                </c:pt>
                <c:pt idx="5579">
                  <c:v>0</c:v>
                </c:pt>
                <c:pt idx="5580">
                  <c:v>0</c:v>
                </c:pt>
                <c:pt idx="5581">
                  <c:v>0</c:v>
                </c:pt>
                <c:pt idx="5582">
                  <c:v>0</c:v>
                </c:pt>
                <c:pt idx="5583">
                  <c:v>0</c:v>
                </c:pt>
                <c:pt idx="5584">
                  <c:v>0</c:v>
                </c:pt>
                <c:pt idx="5585">
                  <c:v>0</c:v>
                </c:pt>
                <c:pt idx="5586">
                  <c:v>0</c:v>
                </c:pt>
                <c:pt idx="5587">
                  <c:v>0</c:v>
                </c:pt>
                <c:pt idx="5588">
                  <c:v>0</c:v>
                </c:pt>
                <c:pt idx="5589">
                  <c:v>0</c:v>
                </c:pt>
                <c:pt idx="5590">
                  <c:v>0</c:v>
                </c:pt>
                <c:pt idx="5591">
                  <c:v>0</c:v>
                </c:pt>
                <c:pt idx="5592">
                  <c:v>0</c:v>
                </c:pt>
                <c:pt idx="5593">
                  <c:v>0</c:v>
                </c:pt>
                <c:pt idx="5594">
                  <c:v>0</c:v>
                </c:pt>
                <c:pt idx="5595">
                  <c:v>0</c:v>
                </c:pt>
                <c:pt idx="5596">
                  <c:v>0</c:v>
                </c:pt>
                <c:pt idx="5597">
                  <c:v>0</c:v>
                </c:pt>
                <c:pt idx="5598">
                  <c:v>0</c:v>
                </c:pt>
                <c:pt idx="5599">
                  <c:v>0</c:v>
                </c:pt>
                <c:pt idx="5600">
                  <c:v>0</c:v>
                </c:pt>
                <c:pt idx="5601">
                  <c:v>0</c:v>
                </c:pt>
                <c:pt idx="5602">
                  <c:v>0</c:v>
                </c:pt>
                <c:pt idx="5603">
                  <c:v>0</c:v>
                </c:pt>
                <c:pt idx="5604">
                  <c:v>0</c:v>
                </c:pt>
                <c:pt idx="5605">
                  <c:v>0</c:v>
                </c:pt>
                <c:pt idx="5606">
                  <c:v>0</c:v>
                </c:pt>
                <c:pt idx="5607">
                  <c:v>0</c:v>
                </c:pt>
                <c:pt idx="5608">
                  <c:v>0</c:v>
                </c:pt>
                <c:pt idx="5609">
                  <c:v>0</c:v>
                </c:pt>
                <c:pt idx="5610">
                  <c:v>0</c:v>
                </c:pt>
                <c:pt idx="5611">
                  <c:v>0</c:v>
                </c:pt>
                <c:pt idx="5612">
                  <c:v>0</c:v>
                </c:pt>
                <c:pt idx="5613">
                  <c:v>0</c:v>
                </c:pt>
                <c:pt idx="5614">
                  <c:v>0</c:v>
                </c:pt>
                <c:pt idx="5615">
                  <c:v>0</c:v>
                </c:pt>
                <c:pt idx="5616">
                  <c:v>0</c:v>
                </c:pt>
                <c:pt idx="5617">
                  <c:v>0</c:v>
                </c:pt>
                <c:pt idx="5618">
                  <c:v>0</c:v>
                </c:pt>
                <c:pt idx="5619">
                  <c:v>0</c:v>
                </c:pt>
                <c:pt idx="5620">
                  <c:v>0</c:v>
                </c:pt>
                <c:pt idx="5621">
                  <c:v>0</c:v>
                </c:pt>
                <c:pt idx="5622">
                  <c:v>0</c:v>
                </c:pt>
                <c:pt idx="5623">
                  <c:v>0</c:v>
                </c:pt>
                <c:pt idx="5624">
                  <c:v>0</c:v>
                </c:pt>
                <c:pt idx="5625">
                  <c:v>0</c:v>
                </c:pt>
                <c:pt idx="5626">
                  <c:v>0</c:v>
                </c:pt>
                <c:pt idx="5627">
                  <c:v>0</c:v>
                </c:pt>
                <c:pt idx="5628">
                  <c:v>0</c:v>
                </c:pt>
                <c:pt idx="5629">
                  <c:v>0</c:v>
                </c:pt>
                <c:pt idx="5630">
                  <c:v>0</c:v>
                </c:pt>
                <c:pt idx="5631">
                  <c:v>0</c:v>
                </c:pt>
                <c:pt idx="5632">
                  <c:v>0</c:v>
                </c:pt>
                <c:pt idx="5633">
                  <c:v>0</c:v>
                </c:pt>
                <c:pt idx="5634">
                  <c:v>0</c:v>
                </c:pt>
                <c:pt idx="5635">
                  <c:v>0</c:v>
                </c:pt>
                <c:pt idx="5636">
                  <c:v>0</c:v>
                </c:pt>
                <c:pt idx="5637">
                  <c:v>0</c:v>
                </c:pt>
                <c:pt idx="5638">
                  <c:v>0</c:v>
                </c:pt>
                <c:pt idx="5639">
                  <c:v>0</c:v>
                </c:pt>
                <c:pt idx="5640">
                  <c:v>0</c:v>
                </c:pt>
                <c:pt idx="5641">
                  <c:v>0</c:v>
                </c:pt>
                <c:pt idx="5642">
                  <c:v>0</c:v>
                </c:pt>
                <c:pt idx="5643">
                  <c:v>0</c:v>
                </c:pt>
                <c:pt idx="5644">
                  <c:v>0</c:v>
                </c:pt>
                <c:pt idx="5645">
                  <c:v>0</c:v>
                </c:pt>
                <c:pt idx="5646">
                  <c:v>0</c:v>
                </c:pt>
                <c:pt idx="5647">
                  <c:v>0</c:v>
                </c:pt>
                <c:pt idx="5648">
                  <c:v>0</c:v>
                </c:pt>
                <c:pt idx="5649">
                  <c:v>0</c:v>
                </c:pt>
                <c:pt idx="5650">
                  <c:v>0</c:v>
                </c:pt>
                <c:pt idx="5651">
                  <c:v>0</c:v>
                </c:pt>
                <c:pt idx="5652">
                  <c:v>0</c:v>
                </c:pt>
                <c:pt idx="5653">
                  <c:v>0</c:v>
                </c:pt>
                <c:pt idx="5654">
                  <c:v>0</c:v>
                </c:pt>
                <c:pt idx="5655">
                  <c:v>0</c:v>
                </c:pt>
                <c:pt idx="5656">
                  <c:v>0</c:v>
                </c:pt>
                <c:pt idx="5657">
                  <c:v>0</c:v>
                </c:pt>
                <c:pt idx="5658">
                  <c:v>0</c:v>
                </c:pt>
                <c:pt idx="5659">
                  <c:v>0</c:v>
                </c:pt>
                <c:pt idx="5660">
                  <c:v>0</c:v>
                </c:pt>
                <c:pt idx="5661">
                  <c:v>0</c:v>
                </c:pt>
                <c:pt idx="5662">
                  <c:v>0</c:v>
                </c:pt>
                <c:pt idx="5663">
                  <c:v>0</c:v>
                </c:pt>
                <c:pt idx="5664">
                  <c:v>0</c:v>
                </c:pt>
                <c:pt idx="5665">
                  <c:v>0</c:v>
                </c:pt>
                <c:pt idx="5666">
                  <c:v>0</c:v>
                </c:pt>
                <c:pt idx="5667">
                  <c:v>0</c:v>
                </c:pt>
                <c:pt idx="5668">
                  <c:v>0</c:v>
                </c:pt>
                <c:pt idx="5669">
                  <c:v>0</c:v>
                </c:pt>
                <c:pt idx="5670">
                  <c:v>0</c:v>
                </c:pt>
                <c:pt idx="5671">
                  <c:v>0</c:v>
                </c:pt>
                <c:pt idx="5672">
                  <c:v>0</c:v>
                </c:pt>
                <c:pt idx="5673">
                  <c:v>0</c:v>
                </c:pt>
                <c:pt idx="5674">
                  <c:v>0</c:v>
                </c:pt>
                <c:pt idx="5675">
                  <c:v>0</c:v>
                </c:pt>
                <c:pt idx="5676">
                  <c:v>0</c:v>
                </c:pt>
                <c:pt idx="5677">
                  <c:v>0</c:v>
                </c:pt>
                <c:pt idx="5678">
                  <c:v>0</c:v>
                </c:pt>
                <c:pt idx="5679">
                  <c:v>0</c:v>
                </c:pt>
                <c:pt idx="5680">
                  <c:v>0</c:v>
                </c:pt>
                <c:pt idx="5681">
                  <c:v>0</c:v>
                </c:pt>
                <c:pt idx="5682">
                  <c:v>0</c:v>
                </c:pt>
                <c:pt idx="5683">
                  <c:v>0</c:v>
                </c:pt>
                <c:pt idx="5684">
                  <c:v>0</c:v>
                </c:pt>
                <c:pt idx="5685">
                  <c:v>0</c:v>
                </c:pt>
                <c:pt idx="5686">
                  <c:v>0</c:v>
                </c:pt>
                <c:pt idx="5687">
                  <c:v>0</c:v>
                </c:pt>
                <c:pt idx="5688">
                  <c:v>0</c:v>
                </c:pt>
                <c:pt idx="5689">
                  <c:v>0</c:v>
                </c:pt>
                <c:pt idx="5690">
                  <c:v>0</c:v>
                </c:pt>
                <c:pt idx="5691">
                  <c:v>0</c:v>
                </c:pt>
                <c:pt idx="5692">
                  <c:v>0</c:v>
                </c:pt>
                <c:pt idx="5693">
                  <c:v>0</c:v>
                </c:pt>
                <c:pt idx="5694">
                  <c:v>0</c:v>
                </c:pt>
                <c:pt idx="5695">
                  <c:v>0</c:v>
                </c:pt>
                <c:pt idx="5696">
                  <c:v>0</c:v>
                </c:pt>
                <c:pt idx="5697">
                  <c:v>0</c:v>
                </c:pt>
                <c:pt idx="5698">
                  <c:v>0</c:v>
                </c:pt>
                <c:pt idx="5699">
                  <c:v>0</c:v>
                </c:pt>
                <c:pt idx="5700">
                  <c:v>0</c:v>
                </c:pt>
                <c:pt idx="5701">
                  <c:v>0</c:v>
                </c:pt>
                <c:pt idx="5702">
                  <c:v>0</c:v>
                </c:pt>
                <c:pt idx="5703">
                  <c:v>0</c:v>
                </c:pt>
                <c:pt idx="5704">
                  <c:v>0</c:v>
                </c:pt>
                <c:pt idx="5705">
                  <c:v>0</c:v>
                </c:pt>
                <c:pt idx="5706">
                  <c:v>0</c:v>
                </c:pt>
                <c:pt idx="5707">
                  <c:v>0</c:v>
                </c:pt>
                <c:pt idx="5708">
                  <c:v>0</c:v>
                </c:pt>
                <c:pt idx="5709">
                  <c:v>0</c:v>
                </c:pt>
                <c:pt idx="5710">
                  <c:v>0</c:v>
                </c:pt>
                <c:pt idx="5711">
                  <c:v>0</c:v>
                </c:pt>
                <c:pt idx="5712">
                  <c:v>0</c:v>
                </c:pt>
                <c:pt idx="5713">
                  <c:v>0</c:v>
                </c:pt>
                <c:pt idx="5714">
                  <c:v>0</c:v>
                </c:pt>
                <c:pt idx="5715">
                  <c:v>0</c:v>
                </c:pt>
                <c:pt idx="5716">
                  <c:v>0</c:v>
                </c:pt>
                <c:pt idx="5717">
                  <c:v>0</c:v>
                </c:pt>
                <c:pt idx="5718">
                  <c:v>0</c:v>
                </c:pt>
                <c:pt idx="5719">
                  <c:v>0</c:v>
                </c:pt>
                <c:pt idx="5720">
                  <c:v>0</c:v>
                </c:pt>
                <c:pt idx="5721">
                  <c:v>0</c:v>
                </c:pt>
                <c:pt idx="5722">
                  <c:v>0</c:v>
                </c:pt>
                <c:pt idx="5723">
                  <c:v>0</c:v>
                </c:pt>
                <c:pt idx="5724">
                  <c:v>0</c:v>
                </c:pt>
                <c:pt idx="5725">
                  <c:v>0</c:v>
                </c:pt>
                <c:pt idx="5726">
                  <c:v>0</c:v>
                </c:pt>
                <c:pt idx="5727">
                  <c:v>0</c:v>
                </c:pt>
                <c:pt idx="5728">
                  <c:v>0</c:v>
                </c:pt>
                <c:pt idx="5729">
                  <c:v>0</c:v>
                </c:pt>
                <c:pt idx="5730">
                  <c:v>0</c:v>
                </c:pt>
                <c:pt idx="5731">
                  <c:v>0</c:v>
                </c:pt>
                <c:pt idx="5732">
                  <c:v>0</c:v>
                </c:pt>
                <c:pt idx="5733">
                  <c:v>0</c:v>
                </c:pt>
                <c:pt idx="5734">
                  <c:v>0</c:v>
                </c:pt>
                <c:pt idx="5735">
                  <c:v>0</c:v>
                </c:pt>
                <c:pt idx="5736">
                  <c:v>0</c:v>
                </c:pt>
                <c:pt idx="5737">
                  <c:v>0</c:v>
                </c:pt>
                <c:pt idx="5738">
                  <c:v>0</c:v>
                </c:pt>
                <c:pt idx="5739">
                  <c:v>0</c:v>
                </c:pt>
                <c:pt idx="5740">
                  <c:v>0</c:v>
                </c:pt>
                <c:pt idx="5741">
                  <c:v>0</c:v>
                </c:pt>
                <c:pt idx="5742">
                  <c:v>0</c:v>
                </c:pt>
                <c:pt idx="5743">
                  <c:v>0</c:v>
                </c:pt>
                <c:pt idx="5744">
                  <c:v>0</c:v>
                </c:pt>
                <c:pt idx="5745">
                  <c:v>0</c:v>
                </c:pt>
                <c:pt idx="5746">
                  <c:v>0</c:v>
                </c:pt>
                <c:pt idx="5747">
                  <c:v>0</c:v>
                </c:pt>
                <c:pt idx="5748">
                  <c:v>0</c:v>
                </c:pt>
                <c:pt idx="5749">
                  <c:v>0</c:v>
                </c:pt>
                <c:pt idx="5750">
                  <c:v>0</c:v>
                </c:pt>
                <c:pt idx="5751">
                  <c:v>0</c:v>
                </c:pt>
                <c:pt idx="5752">
                  <c:v>0</c:v>
                </c:pt>
                <c:pt idx="5753">
                  <c:v>0</c:v>
                </c:pt>
                <c:pt idx="5754">
                  <c:v>0</c:v>
                </c:pt>
                <c:pt idx="5755">
                  <c:v>0</c:v>
                </c:pt>
                <c:pt idx="5756">
                  <c:v>0</c:v>
                </c:pt>
                <c:pt idx="5757">
                  <c:v>0</c:v>
                </c:pt>
                <c:pt idx="5758">
                  <c:v>0</c:v>
                </c:pt>
                <c:pt idx="5759">
                  <c:v>0</c:v>
                </c:pt>
                <c:pt idx="5760">
                  <c:v>0</c:v>
                </c:pt>
                <c:pt idx="5761">
                  <c:v>0</c:v>
                </c:pt>
                <c:pt idx="5762">
                  <c:v>0</c:v>
                </c:pt>
                <c:pt idx="5763">
                  <c:v>0</c:v>
                </c:pt>
                <c:pt idx="5764">
                  <c:v>0</c:v>
                </c:pt>
                <c:pt idx="5765">
                  <c:v>0</c:v>
                </c:pt>
                <c:pt idx="5766">
                  <c:v>0</c:v>
                </c:pt>
                <c:pt idx="5767">
                  <c:v>0</c:v>
                </c:pt>
                <c:pt idx="5768">
                  <c:v>0</c:v>
                </c:pt>
                <c:pt idx="5769">
                  <c:v>0</c:v>
                </c:pt>
                <c:pt idx="5770">
                  <c:v>0</c:v>
                </c:pt>
                <c:pt idx="5771">
                  <c:v>0</c:v>
                </c:pt>
                <c:pt idx="5772">
                  <c:v>0</c:v>
                </c:pt>
                <c:pt idx="5773">
                  <c:v>0</c:v>
                </c:pt>
                <c:pt idx="5774">
                  <c:v>0</c:v>
                </c:pt>
                <c:pt idx="5775">
                  <c:v>0</c:v>
                </c:pt>
                <c:pt idx="5776">
                  <c:v>0</c:v>
                </c:pt>
                <c:pt idx="5777">
                  <c:v>0</c:v>
                </c:pt>
                <c:pt idx="5778">
                  <c:v>0</c:v>
                </c:pt>
                <c:pt idx="5779">
                  <c:v>0</c:v>
                </c:pt>
                <c:pt idx="5780">
                  <c:v>0</c:v>
                </c:pt>
                <c:pt idx="5781">
                  <c:v>0</c:v>
                </c:pt>
                <c:pt idx="5782">
                  <c:v>0</c:v>
                </c:pt>
                <c:pt idx="5783">
                  <c:v>0</c:v>
                </c:pt>
                <c:pt idx="5784">
                  <c:v>0</c:v>
                </c:pt>
                <c:pt idx="5785">
                  <c:v>0</c:v>
                </c:pt>
                <c:pt idx="5786">
                  <c:v>0</c:v>
                </c:pt>
                <c:pt idx="5787">
                  <c:v>0</c:v>
                </c:pt>
                <c:pt idx="5788">
                  <c:v>0</c:v>
                </c:pt>
                <c:pt idx="5789">
                  <c:v>0</c:v>
                </c:pt>
                <c:pt idx="5790">
                  <c:v>0</c:v>
                </c:pt>
                <c:pt idx="5791">
                  <c:v>0</c:v>
                </c:pt>
                <c:pt idx="5792">
                  <c:v>0</c:v>
                </c:pt>
                <c:pt idx="5793">
                  <c:v>0</c:v>
                </c:pt>
                <c:pt idx="5794">
                  <c:v>0</c:v>
                </c:pt>
                <c:pt idx="5795">
                  <c:v>0</c:v>
                </c:pt>
                <c:pt idx="5796">
                  <c:v>0</c:v>
                </c:pt>
                <c:pt idx="5797">
                  <c:v>0</c:v>
                </c:pt>
                <c:pt idx="5798">
                  <c:v>0</c:v>
                </c:pt>
                <c:pt idx="5799">
                  <c:v>0</c:v>
                </c:pt>
                <c:pt idx="5800">
                  <c:v>0</c:v>
                </c:pt>
                <c:pt idx="5801">
                  <c:v>0</c:v>
                </c:pt>
                <c:pt idx="5802">
                  <c:v>0</c:v>
                </c:pt>
                <c:pt idx="5803">
                  <c:v>0</c:v>
                </c:pt>
                <c:pt idx="5804">
                  <c:v>0</c:v>
                </c:pt>
                <c:pt idx="5805">
                  <c:v>0</c:v>
                </c:pt>
                <c:pt idx="5806">
                  <c:v>0</c:v>
                </c:pt>
                <c:pt idx="5807">
                  <c:v>0</c:v>
                </c:pt>
                <c:pt idx="5808">
                  <c:v>0</c:v>
                </c:pt>
                <c:pt idx="5809">
                  <c:v>0</c:v>
                </c:pt>
                <c:pt idx="5810">
                  <c:v>0</c:v>
                </c:pt>
                <c:pt idx="5811">
                  <c:v>0</c:v>
                </c:pt>
                <c:pt idx="5812">
                  <c:v>0</c:v>
                </c:pt>
                <c:pt idx="5813">
                  <c:v>0</c:v>
                </c:pt>
                <c:pt idx="5814">
                  <c:v>0</c:v>
                </c:pt>
                <c:pt idx="5815">
                  <c:v>0</c:v>
                </c:pt>
                <c:pt idx="5816">
                  <c:v>0</c:v>
                </c:pt>
                <c:pt idx="5817">
                  <c:v>0</c:v>
                </c:pt>
                <c:pt idx="5818">
                  <c:v>0</c:v>
                </c:pt>
                <c:pt idx="5819">
                  <c:v>0</c:v>
                </c:pt>
                <c:pt idx="5820">
                  <c:v>0</c:v>
                </c:pt>
                <c:pt idx="5821">
                  <c:v>0</c:v>
                </c:pt>
                <c:pt idx="5822">
                  <c:v>0</c:v>
                </c:pt>
                <c:pt idx="5823">
                  <c:v>0</c:v>
                </c:pt>
                <c:pt idx="5824">
                  <c:v>0</c:v>
                </c:pt>
                <c:pt idx="5825">
                  <c:v>0</c:v>
                </c:pt>
                <c:pt idx="5826">
                  <c:v>0</c:v>
                </c:pt>
                <c:pt idx="5827">
                  <c:v>0</c:v>
                </c:pt>
                <c:pt idx="5828">
                  <c:v>0</c:v>
                </c:pt>
                <c:pt idx="5829">
                  <c:v>0</c:v>
                </c:pt>
                <c:pt idx="5830">
                  <c:v>0</c:v>
                </c:pt>
                <c:pt idx="5831">
                  <c:v>0</c:v>
                </c:pt>
                <c:pt idx="5832">
                  <c:v>0</c:v>
                </c:pt>
                <c:pt idx="5833">
                  <c:v>0</c:v>
                </c:pt>
                <c:pt idx="5834">
                  <c:v>0</c:v>
                </c:pt>
                <c:pt idx="5835">
                  <c:v>0</c:v>
                </c:pt>
                <c:pt idx="5836">
                  <c:v>0</c:v>
                </c:pt>
                <c:pt idx="5837">
                  <c:v>0</c:v>
                </c:pt>
                <c:pt idx="5838">
                  <c:v>0</c:v>
                </c:pt>
                <c:pt idx="5839">
                  <c:v>0</c:v>
                </c:pt>
                <c:pt idx="5840">
                  <c:v>0</c:v>
                </c:pt>
                <c:pt idx="5841">
                  <c:v>0</c:v>
                </c:pt>
                <c:pt idx="5842">
                  <c:v>0</c:v>
                </c:pt>
                <c:pt idx="5843">
                  <c:v>0</c:v>
                </c:pt>
                <c:pt idx="5844">
                  <c:v>0</c:v>
                </c:pt>
                <c:pt idx="5845">
                  <c:v>0</c:v>
                </c:pt>
                <c:pt idx="5846">
                  <c:v>0</c:v>
                </c:pt>
                <c:pt idx="5847">
                  <c:v>0</c:v>
                </c:pt>
                <c:pt idx="5848">
                  <c:v>0</c:v>
                </c:pt>
                <c:pt idx="5849">
                  <c:v>0</c:v>
                </c:pt>
                <c:pt idx="5850">
                  <c:v>0</c:v>
                </c:pt>
                <c:pt idx="5851">
                  <c:v>0</c:v>
                </c:pt>
                <c:pt idx="5852">
                  <c:v>0</c:v>
                </c:pt>
                <c:pt idx="5853">
                  <c:v>0</c:v>
                </c:pt>
                <c:pt idx="5854">
                  <c:v>0</c:v>
                </c:pt>
                <c:pt idx="5855">
                  <c:v>0</c:v>
                </c:pt>
                <c:pt idx="5856">
                  <c:v>0</c:v>
                </c:pt>
                <c:pt idx="5857">
                  <c:v>0</c:v>
                </c:pt>
                <c:pt idx="5858">
                  <c:v>0</c:v>
                </c:pt>
                <c:pt idx="5859">
                  <c:v>0</c:v>
                </c:pt>
                <c:pt idx="5860">
                  <c:v>0</c:v>
                </c:pt>
                <c:pt idx="5861">
                  <c:v>0</c:v>
                </c:pt>
                <c:pt idx="5862">
                  <c:v>0</c:v>
                </c:pt>
                <c:pt idx="5863">
                  <c:v>0</c:v>
                </c:pt>
                <c:pt idx="5864">
                  <c:v>0</c:v>
                </c:pt>
                <c:pt idx="5865">
                  <c:v>0</c:v>
                </c:pt>
                <c:pt idx="5866">
                  <c:v>0</c:v>
                </c:pt>
                <c:pt idx="5867">
                  <c:v>0</c:v>
                </c:pt>
                <c:pt idx="5868">
                  <c:v>0</c:v>
                </c:pt>
                <c:pt idx="5869">
                  <c:v>0</c:v>
                </c:pt>
                <c:pt idx="5870">
                  <c:v>0</c:v>
                </c:pt>
                <c:pt idx="5871">
                  <c:v>0</c:v>
                </c:pt>
                <c:pt idx="5872">
                  <c:v>0</c:v>
                </c:pt>
                <c:pt idx="5873">
                  <c:v>0</c:v>
                </c:pt>
                <c:pt idx="5874">
                  <c:v>0</c:v>
                </c:pt>
                <c:pt idx="5875">
                  <c:v>0</c:v>
                </c:pt>
                <c:pt idx="5876">
                  <c:v>0</c:v>
                </c:pt>
                <c:pt idx="5877">
                  <c:v>0</c:v>
                </c:pt>
                <c:pt idx="5878">
                  <c:v>0</c:v>
                </c:pt>
                <c:pt idx="5879">
                  <c:v>0</c:v>
                </c:pt>
                <c:pt idx="5880">
                  <c:v>0</c:v>
                </c:pt>
                <c:pt idx="5881">
                  <c:v>0</c:v>
                </c:pt>
                <c:pt idx="5882">
                  <c:v>0</c:v>
                </c:pt>
                <c:pt idx="5883">
                  <c:v>0</c:v>
                </c:pt>
                <c:pt idx="5884">
                  <c:v>0</c:v>
                </c:pt>
                <c:pt idx="5885">
                  <c:v>0</c:v>
                </c:pt>
                <c:pt idx="5886">
                  <c:v>0</c:v>
                </c:pt>
                <c:pt idx="5887">
                  <c:v>0</c:v>
                </c:pt>
                <c:pt idx="5888">
                  <c:v>0</c:v>
                </c:pt>
                <c:pt idx="5889">
                  <c:v>0</c:v>
                </c:pt>
                <c:pt idx="5890">
                  <c:v>0</c:v>
                </c:pt>
                <c:pt idx="5891">
                  <c:v>0</c:v>
                </c:pt>
                <c:pt idx="5892">
                  <c:v>0</c:v>
                </c:pt>
                <c:pt idx="5893">
                  <c:v>0</c:v>
                </c:pt>
                <c:pt idx="5894">
                  <c:v>0</c:v>
                </c:pt>
                <c:pt idx="5895">
                  <c:v>0</c:v>
                </c:pt>
                <c:pt idx="5896">
                  <c:v>0</c:v>
                </c:pt>
                <c:pt idx="5897">
                  <c:v>0</c:v>
                </c:pt>
                <c:pt idx="5898">
                  <c:v>0</c:v>
                </c:pt>
                <c:pt idx="5899">
                  <c:v>0</c:v>
                </c:pt>
                <c:pt idx="5900">
                  <c:v>0</c:v>
                </c:pt>
                <c:pt idx="5901">
                  <c:v>0</c:v>
                </c:pt>
                <c:pt idx="5902">
                  <c:v>0</c:v>
                </c:pt>
                <c:pt idx="5903">
                  <c:v>0</c:v>
                </c:pt>
                <c:pt idx="5904">
                  <c:v>0</c:v>
                </c:pt>
                <c:pt idx="5905">
                  <c:v>0</c:v>
                </c:pt>
                <c:pt idx="5906">
                  <c:v>0</c:v>
                </c:pt>
                <c:pt idx="5907">
                  <c:v>0</c:v>
                </c:pt>
                <c:pt idx="5908">
                  <c:v>0</c:v>
                </c:pt>
                <c:pt idx="5909">
                  <c:v>0</c:v>
                </c:pt>
                <c:pt idx="5910">
                  <c:v>0</c:v>
                </c:pt>
                <c:pt idx="5911">
                  <c:v>0</c:v>
                </c:pt>
                <c:pt idx="5912">
                  <c:v>0</c:v>
                </c:pt>
                <c:pt idx="5913">
                  <c:v>0</c:v>
                </c:pt>
                <c:pt idx="5914">
                  <c:v>0</c:v>
                </c:pt>
                <c:pt idx="5915">
                  <c:v>0</c:v>
                </c:pt>
                <c:pt idx="5916">
                  <c:v>0</c:v>
                </c:pt>
                <c:pt idx="5917">
                  <c:v>0</c:v>
                </c:pt>
                <c:pt idx="5918">
                  <c:v>0</c:v>
                </c:pt>
                <c:pt idx="5919">
                  <c:v>0</c:v>
                </c:pt>
                <c:pt idx="5920">
                  <c:v>0</c:v>
                </c:pt>
                <c:pt idx="5921">
                  <c:v>0</c:v>
                </c:pt>
                <c:pt idx="5922">
                  <c:v>0</c:v>
                </c:pt>
                <c:pt idx="5923">
                  <c:v>0</c:v>
                </c:pt>
                <c:pt idx="5924">
                  <c:v>0</c:v>
                </c:pt>
                <c:pt idx="5925">
                  <c:v>0</c:v>
                </c:pt>
                <c:pt idx="5926">
                  <c:v>0</c:v>
                </c:pt>
                <c:pt idx="5927">
                  <c:v>0</c:v>
                </c:pt>
                <c:pt idx="5928">
                  <c:v>0</c:v>
                </c:pt>
                <c:pt idx="5929">
                  <c:v>0</c:v>
                </c:pt>
                <c:pt idx="5930">
                  <c:v>0</c:v>
                </c:pt>
                <c:pt idx="5931">
                  <c:v>0</c:v>
                </c:pt>
                <c:pt idx="5932">
                  <c:v>0</c:v>
                </c:pt>
                <c:pt idx="5933">
                  <c:v>0</c:v>
                </c:pt>
                <c:pt idx="5934">
                  <c:v>0</c:v>
                </c:pt>
                <c:pt idx="5935">
                  <c:v>0</c:v>
                </c:pt>
                <c:pt idx="5936">
                  <c:v>0</c:v>
                </c:pt>
                <c:pt idx="5937">
                  <c:v>0</c:v>
                </c:pt>
                <c:pt idx="5938">
                  <c:v>0</c:v>
                </c:pt>
                <c:pt idx="5939">
                  <c:v>0</c:v>
                </c:pt>
                <c:pt idx="5940">
                  <c:v>0</c:v>
                </c:pt>
                <c:pt idx="5941">
                  <c:v>0</c:v>
                </c:pt>
                <c:pt idx="5942">
                  <c:v>0</c:v>
                </c:pt>
                <c:pt idx="5943">
                  <c:v>0</c:v>
                </c:pt>
                <c:pt idx="5944">
                  <c:v>0</c:v>
                </c:pt>
                <c:pt idx="5945">
                  <c:v>0</c:v>
                </c:pt>
                <c:pt idx="5946">
                  <c:v>0</c:v>
                </c:pt>
                <c:pt idx="5947">
                  <c:v>0</c:v>
                </c:pt>
                <c:pt idx="5948">
                  <c:v>0</c:v>
                </c:pt>
                <c:pt idx="5949">
                  <c:v>0</c:v>
                </c:pt>
                <c:pt idx="5950">
                  <c:v>0</c:v>
                </c:pt>
                <c:pt idx="5951">
                  <c:v>0</c:v>
                </c:pt>
                <c:pt idx="5952">
                  <c:v>0</c:v>
                </c:pt>
                <c:pt idx="5953">
                  <c:v>0</c:v>
                </c:pt>
                <c:pt idx="5954">
                  <c:v>0</c:v>
                </c:pt>
                <c:pt idx="5955">
                  <c:v>0</c:v>
                </c:pt>
                <c:pt idx="5956">
                  <c:v>0</c:v>
                </c:pt>
                <c:pt idx="5957">
                  <c:v>0</c:v>
                </c:pt>
                <c:pt idx="5958">
                  <c:v>0</c:v>
                </c:pt>
                <c:pt idx="5959">
                  <c:v>0</c:v>
                </c:pt>
                <c:pt idx="5960">
                  <c:v>0</c:v>
                </c:pt>
                <c:pt idx="5961">
                  <c:v>0</c:v>
                </c:pt>
                <c:pt idx="5962">
                  <c:v>0</c:v>
                </c:pt>
                <c:pt idx="5963">
                  <c:v>0</c:v>
                </c:pt>
                <c:pt idx="5964">
                  <c:v>0</c:v>
                </c:pt>
                <c:pt idx="5965">
                  <c:v>0</c:v>
                </c:pt>
                <c:pt idx="5966">
                  <c:v>0</c:v>
                </c:pt>
                <c:pt idx="5967">
                  <c:v>0</c:v>
                </c:pt>
                <c:pt idx="5968">
                  <c:v>0</c:v>
                </c:pt>
                <c:pt idx="5969">
                  <c:v>0</c:v>
                </c:pt>
                <c:pt idx="5970">
                  <c:v>0</c:v>
                </c:pt>
                <c:pt idx="5971">
                  <c:v>0</c:v>
                </c:pt>
                <c:pt idx="5972">
                  <c:v>0</c:v>
                </c:pt>
                <c:pt idx="5973">
                  <c:v>0</c:v>
                </c:pt>
                <c:pt idx="5974">
                  <c:v>0</c:v>
                </c:pt>
                <c:pt idx="5975">
                  <c:v>0</c:v>
                </c:pt>
                <c:pt idx="5976">
                  <c:v>0</c:v>
                </c:pt>
                <c:pt idx="5977">
                  <c:v>0</c:v>
                </c:pt>
                <c:pt idx="5978">
                  <c:v>0</c:v>
                </c:pt>
                <c:pt idx="5979">
                  <c:v>0</c:v>
                </c:pt>
                <c:pt idx="5980">
                  <c:v>0</c:v>
                </c:pt>
                <c:pt idx="5981">
                  <c:v>0</c:v>
                </c:pt>
                <c:pt idx="5982">
                  <c:v>0</c:v>
                </c:pt>
                <c:pt idx="5983">
                  <c:v>0</c:v>
                </c:pt>
                <c:pt idx="5984">
                  <c:v>0</c:v>
                </c:pt>
                <c:pt idx="5985">
                  <c:v>0</c:v>
                </c:pt>
                <c:pt idx="5986">
                  <c:v>0</c:v>
                </c:pt>
                <c:pt idx="5987">
                  <c:v>0</c:v>
                </c:pt>
                <c:pt idx="5988">
                  <c:v>0</c:v>
                </c:pt>
                <c:pt idx="5989">
                  <c:v>0</c:v>
                </c:pt>
                <c:pt idx="5990">
                  <c:v>0</c:v>
                </c:pt>
                <c:pt idx="5991">
                  <c:v>0</c:v>
                </c:pt>
                <c:pt idx="5992">
                  <c:v>0</c:v>
                </c:pt>
                <c:pt idx="5993">
                  <c:v>0</c:v>
                </c:pt>
                <c:pt idx="5994">
                  <c:v>0</c:v>
                </c:pt>
                <c:pt idx="5995">
                  <c:v>0</c:v>
                </c:pt>
                <c:pt idx="5996">
                  <c:v>0</c:v>
                </c:pt>
                <c:pt idx="5997">
                  <c:v>0</c:v>
                </c:pt>
                <c:pt idx="5998">
                  <c:v>0</c:v>
                </c:pt>
                <c:pt idx="5999">
                  <c:v>0</c:v>
                </c:pt>
                <c:pt idx="6000">
                  <c:v>0</c:v>
                </c:pt>
                <c:pt idx="6001">
                  <c:v>0</c:v>
                </c:pt>
                <c:pt idx="6002">
                  <c:v>0</c:v>
                </c:pt>
                <c:pt idx="6003">
                  <c:v>0</c:v>
                </c:pt>
                <c:pt idx="6004">
                  <c:v>0</c:v>
                </c:pt>
                <c:pt idx="6005">
                  <c:v>0</c:v>
                </c:pt>
                <c:pt idx="6006">
                  <c:v>0</c:v>
                </c:pt>
                <c:pt idx="6007">
                  <c:v>0</c:v>
                </c:pt>
                <c:pt idx="6008">
                  <c:v>0</c:v>
                </c:pt>
                <c:pt idx="6009">
                  <c:v>0</c:v>
                </c:pt>
                <c:pt idx="6010">
                  <c:v>0</c:v>
                </c:pt>
                <c:pt idx="6011">
                  <c:v>0</c:v>
                </c:pt>
                <c:pt idx="6012">
                  <c:v>0</c:v>
                </c:pt>
                <c:pt idx="6013">
                  <c:v>0</c:v>
                </c:pt>
                <c:pt idx="6014">
                  <c:v>0</c:v>
                </c:pt>
                <c:pt idx="6015">
                  <c:v>0</c:v>
                </c:pt>
                <c:pt idx="6016">
                  <c:v>0</c:v>
                </c:pt>
                <c:pt idx="6017">
                  <c:v>0</c:v>
                </c:pt>
                <c:pt idx="6018">
                  <c:v>0</c:v>
                </c:pt>
                <c:pt idx="6019">
                  <c:v>0</c:v>
                </c:pt>
                <c:pt idx="6020">
                  <c:v>0</c:v>
                </c:pt>
                <c:pt idx="6021">
                  <c:v>0</c:v>
                </c:pt>
                <c:pt idx="6022">
                  <c:v>0</c:v>
                </c:pt>
                <c:pt idx="6023">
                  <c:v>0</c:v>
                </c:pt>
                <c:pt idx="6024">
                  <c:v>0</c:v>
                </c:pt>
                <c:pt idx="6025">
                  <c:v>0</c:v>
                </c:pt>
                <c:pt idx="6026">
                  <c:v>0</c:v>
                </c:pt>
                <c:pt idx="6027">
                  <c:v>0</c:v>
                </c:pt>
                <c:pt idx="6028">
                  <c:v>0</c:v>
                </c:pt>
                <c:pt idx="6029">
                  <c:v>0</c:v>
                </c:pt>
                <c:pt idx="6030">
                  <c:v>0</c:v>
                </c:pt>
                <c:pt idx="6031">
                  <c:v>0</c:v>
                </c:pt>
                <c:pt idx="6032">
                  <c:v>0</c:v>
                </c:pt>
                <c:pt idx="6033">
                  <c:v>0</c:v>
                </c:pt>
                <c:pt idx="6034">
                  <c:v>0</c:v>
                </c:pt>
                <c:pt idx="6035">
                  <c:v>0</c:v>
                </c:pt>
                <c:pt idx="6036">
                  <c:v>0</c:v>
                </c:pt>
                <c:pt idx="6037">
                  <c:v>0</c:v>
                </c:pt>
                <c:pt idx="6038">
                  <c:v>0</c:v>
                </c:pt>
                <c:pt idx="6039">
                  <c:v>0</c:v>
                </c:pt>
                <c:pt idx="6040">
                  <c:v>0</c:v>
                </c:pt>
                <c:pt idx="6041">
                  <c:v>0</c:v>
                </c:pt>
                <c:pt idx="6042">
                  <c:v>0</c:v>
                </c:pt>
                <c:pt idx="6043">
                  <c:v>0</c:v>
                </c:pt>
                <c:pt idx="6044">
                  <c:v>0</c:v>
                </c:pt>
                <c:pt idx="6045">
                  <c:v>0</c:v>
                </c:pt>
                <c:pt idx="6046">
                  <c:v>0</c:v>
                </c:pt>
                <c:pt idx="6047">
                  <c:v>0</c:v>
                </c:pt>
                <c:pt idx="6048">
                  <c:v>0</c:v>
                </c:pt>
                <c:pt idx="6049">
                  <c:v>0</c:v>
                </c:pt>
                <c:pt idx="6050">
                  <c:v>0</c:v>
                </c:pt>
                <c:pt idx="6051">
                  <c:v>0</c:v>
                </c:pt>
                <c:pt idx="6052">
                  <c:v>0</c:v>
                </c:pt>
                <c:pt idx="6053">
                  <c:v>0</c:v>
                </c:pt>
                <c:pt idx="6054">
                  <c:v>0</c:v>
                </c:pt>
                <c:pt idx="6055">
                  <c:v>0</c:v>
                </c:pt>
                <c:pt idx="6056">
                  <c:v>0</c:v>
                </c:pt>
                <c:pt idx="6057">
                  <c:v>0</c:v>
                </c:pt>
                <c:pt idx="6058">
                  <c:v>0</c:v>
                </c:pt>
                <c:pt idx="6059">
                  <c:v>0</c:v>
                </c:pt>
                <c:pt idx="6060">
                  <c:v>0</c:v>
                </c:pt>
                <c:pt idx="6061">
                  <c:v>0</c:v>
                </c:pt>
                <c:pt idx="6062">
                  <c:v>0</c:v>
                </c:pt>
                <c:pt idx="6063">
                  <c:v>0</c:v>
                </c:pt>
                <c:pt idx="6064">
                  <c:v>0</c:v>
                </c:pt>
                <c:pt idx="6065">
                  <c:v>0</c:v>
                </c:pt>
                <c:pt idx="6066">
                  <c:v>0</c:v>
                </c:pt>
                <c:pt idx="6067">
                  <c:v>0</c:v>
                </c:pt>
                <c:pt idx="6068">
                  <c:v>0</c:v>
                </c:pt>
                <c:pt idx="6069">
                  <c:v>0</c:v>
                </c:pt>
                <c:pt idx="6070">
                  <c:v>0</c:v>
                </c:pt>
                <c:pt idx="6071">
                  <c:v>0</c:v>
                </c:pt>
                <c:pt idx="6072">
                  <c:v>0</c:v>
                </c:pt>
                <c:pt idx="6073">
                  <c:v>0</c:v>
                </c:pt>
                <c:pt idx="6074">
                  <c:v>0</c:v>
                </c:pt>
                <c:pt idx="6075">
                  <c:v>0</c:v>
                </c:pt>
                <c:pt idx="6076">
                  <c:v>0</c:v>
                </c:pt>
                <c:pt idx="6077">
                  <c:v>0</c:v>
                </c:pt>
                <c:pt idx="6078">
                  <c:v>0</c:v>
                </c:pt>
                <c:pt idx="6079">
                  <c:v>0</c:v>
                </c:pt>
                <c:pt idx="6080">
                  <c:v>0</c:v>
                </c:pt>
                <c:pt idx="6081">
                  <c:v>0</c:v>
                </c:pt>
                <c:pt idx="6082">
                  <c:v>0</c:v>
                </c:pt>
                <c:pt idx="6083">
                  <c:v>0</c:v>
                </c:pt>
                <c:pt idx="6084">
                  <c:v>0</c:v>
                </c:pt>
                <c:pt idx="6085">
                  <c:v>0</c:v>
                </c:pt>
                <c:pt idx="6086">
                  <c:v>0</c:v>
                </c:pt>
                <c:pt idx="6087">
                  <c:v>0</c:v>
                </c:pt>
                <c:pt idx="6088">
                  <c:v>0</c:v>
                </c:pt>
                <c:pt idx="6089">
                  <c:v>0</c:v>
                </c:pt>
                <c:pt idx="6090">
                  <c:v>0</c:v>
                </c:pt>
                <c:pt idx="6091">
                  <c:v>0</c:v>
                </c:pt>
                <c:pt idx="6092">
                  <c:v>0</c:v>
                </c:pt>
                <c:pt idx="6093">
                  <c:v>0</c:v>
                </c:pt>
                <c:pt idx="6094">
                  <c:v>0</c:v>
                </c:pt>
                <c:pt idx="6095">
                  <c:v>0</c:v>
                </c:pt>
                <c:pt idx="6096">
                  <c:v>0</c:v>
                </c:pt>
                <c:pt idx="6097">
                  <c:v>0</c:v>
                </c:pt>
                <c:pt idx="6098">
                  <c:v>0</c:v>
                </c:pt>
                <c:pt idx="6099">
                  <c:v>0</c:v>
                </c:pt>
                <c:pt idx="6100">
                  <c:v>0</c:v>
                </c:pt>
                <c:pt idx="6101">
                  <c:v>0</c:v>
                </c:pt>
                <c:pt idx="6102">
                  <c:v>0</c:v>
                </c:pt>
                <c:pt idx="6103">
                  <c:v>0</c:v>
                </c:pt>
                <c:pt idx="6104">
                  <c:v>0</c:v>
                </c:pt>
                <c:pt idx="6105">
                  <c:v>0</c:v>
                </c:pt>
                <c:pt idx="6106">
                  <c:v>0</c:v>
                </c:pt>
                <c:pt idx="6107">
                  <c:v>0</c:v>
                </c:pt>
                <c:pt idx="6108">
                  <c:v>0</c:v>
                </c:pt>
                <c:pt idx="6109">
                  <c:v>0</c:v>
                </c:pt>
                <c:pt idx="6110">
                  <c:v>0</c:v>
                </c:pt>
                <c:pt idx="6111">
                  <c:v>0</c:v>
                </c:pt>
                <c:pt idx="6112">
                  <c:v>0</c:v>
                </c:pt>
                <c:pt idx="6113">
                  <c:v>0</c:v>
                </c:pt>
                <c:pt idx="6114">
                  <c:v>0</c:v>
                </c:pt>
                <c:pt idx="6115">
                  <c:v>0</c:v>
                </c:pt>
                <c:pt idx="6116">
                  <c:v>0</c:v>
                </c:pt>
                <c:pt idx="6117">
                  <c:v>0</c:v>
                </c:pt>
                <c:pt idx="6118">
                  <c:v>0</c:v>
                </c:pt>
                <c:pt idx="6119">
                  <c:v>0</c:v>
                </c:pt>
                <c:pt idx="6120">
                  <c:v>0</c:v>
                </c:pt>
                <c:pt idx="6121">
                  <c:v>0</c:v>
                </c:pt>
                <c:pt idx="6122">
                  <c:v>0</c:v>
                </c:pt>
                <c:pt idx="6123">
                  <c:v>0</c:v>
                </c:pt>
                <c:pt idx="6124">
                  <c:v>0</c:v>
                </c:pt>
                <c:pt idx="6125">
                  <c:v>0</c:v>
                </c:pt>
                <c:pt idx="6126">
                  <c:v>0</c:v>
                </c:pt>
                <c:pt idx="6127">
                  <c:v>0</c:v>
                </c:pt>
                <c:pt idx="6128">
                  <c:v>0</c:v>
                </c:pt>
                <c:pt idx="6129">
                  <c:v>0</c:v>
                </c:pt>
                <c:pt idx="6130">
                  <c:v>0</c:v>
                </c:pt>
                <c:pt idx="6131">
                  <c:v>0</c:v>
                </c:pt>
                <c:pt idx="6132">
                  <c:v>0</c:v>
                </c:pt>
                <c:pt idx="6133">
                  <c:v>0</c:v>
                </c:pt>
                <c:pt idx="6134">
                  <c:v>0</c:v>
                </c:pt>
                <c:pt idx="6135">
                  <c:v>0</c:v>
                </c:pt>
                <c:pt idx="6136">
                  <c:v>0</c:v>
                </c:pt>
                <c:pt idx="6137">
                  <c:v>0</c:v>
                </c:pt>
                <c:pt idx="6138">
                  <c:v>0</c:v>
                </c:pt>
                <c:pt idx="6139">
                  <c:v>0</c:v>
                </c:pt>
                <c:pt idx="6140">
                  <c:v>0</c:v>
                </c:pt>
                <c:pt idx="6141">
                  <c:v>0</c:v>
                </c:pt>
                <c:pt idx="6142">
                  <c:v>0</c:v>
                </c:pt>
                <c:pt idx="6143">
                  <c:v>0</c:v>
                </c:pt>
                <c:pt idx="6144">
                  <c:v>0</c:v>
                </c:pt>
                <c:pt idx="6145">
                  <c:v>0</c:v>
                </c:pt>
                <c:pt idx="6146">
                  <c:v>0</c:v>
                </c:pt>
                <c:pt idx="6147">
                  <c:v>0</c:v>
                </c:pt>
                <c:pt idx="6148">
                  <c:v>0</c:v>
                </c:pt>
                <c:pt idx="6149">
                  <c:v>0</c:v>
                </c:pt>
                <c:pt idx="6150">
                  <c:v>0</c:v>
                </c:pt>
                <c:pt idx="6151">
                  <c:v>0</c:v>
                </c:pt>
                <c:pt idx="6152">
                  <c:v>0</c:v>
                </c:pt>
                <c:pt idx="6153">
                  <c:v>0</c:v>
                </c:pt>
                <c:pt idx="6154">
                  <c:v>0</c:v>
                </c:pt>
                <c:pt idx="6155">
                  <c:v>0</c:v>
                </c:pt>
                <c:pt idx="6156">
                  <c:v>0</c:v>
                </c:pt>
                <c:pt idx="6157">
                  <c:v>0</c:v>
                </c:pt>
                <c:pt idx="6158">
                  <c:v>0</c:v>
                </c:pt>
                <c:pt idx="6159">
                  <c:v>0</c:v>
                </c:pt>
                <c:pt idx="6160">
                  <c:v>0</c:v>
                </c:pt>
                <c:pt idx="6161">
                  <c:v>0</c:v>
                </c:pt>
                <c:pt idx="6162">
                  <c:v>0</c:v>
                </c:pt>
                <c:pt idx="6163">
                  <c:v>0</c:v>
                </c:pt>
                <c:pt idx="6164">
                  <c:v>0</c:v>
                </c:pt>
                <c:pt idx="6165">
                  <c:v>0</c:v>
                </c:pt>
                <c:pt idx="6166">
                  <c:v>0</c:v>
                </c:pt>
                <c:pt idx="6167">
                  <c:v>0</c:v>
                </c:pt>
                <c:pt idx="6168">
                  <c:v>0</c:v>
                </c:pt>
                <c:pt idx="6169">
                  <c:v>0</c:v>
                </c:pt>
                <c:pt idx="6170">
                  <c:v>0</c:v>
                </c:pt>
                <c:pt idx="6171">
                  <c:v>0</c:v>
                </c:pt>
                <c:pt idx="6172">
                  <c:v>0</c:v>
                </c:pt>
                <c:pt idx="6173">
                  <c:v>0</c:v>
                </c:pt>
                <c:pt idx="6174">
                  <c:v>0</c:v>
                </c:pt>
                <c:pt idx="6175">
                  <c:v>0</c:v>
                </c:pt>
                <c:pt idx="6176">
                  <c:v>0</c:v>
                </c:pt>
                <c:pt idx="6177">
                  <c:v>0</c:v>
                </c:pt>
                <c:pt idx="6178">
                  <c:v>0</c:v>
                </c:pt>
                <c:pt idx="6179">
                  <c:v>0</c:v>
                </c:pt>
                <c:pt idx="6180">
                  <c:v>0</c:v>
                </c:pt>
                <c:pt idx="6181">
                  <c:v>0</c:v>
                </c:pt>
                <c:pt idx="6182">
                  <c:v>0</c:v>
                </c:pt>
                <c:pt idx="6183">
                  <c:v>0</c:v>
                </c:pt>
                <c:pt idx="6184">
                  <c:v>0</c:v>
                </c:pt>
                <c:pt idx="6185">
                  <c:v>0</c:v>
                </c:pt>
                <c:pt idx="6186">
                  <c:v>0</c:v>
                </c:pt>
                <c:pt idx="6187">
                  <c:v>0</c:v>
                </c:pt>
                <c:pt idx="6188">
                  <c:v>0</c:v>
                </c:pt>
                <c:pt idx="6189">
                  <c:v>0</c:v>
                </c:pt>
                <c:pt idx="6190">
                  <c:v>0</c:v>
                </c:pt>
                <c:pt idx="6191">
                  <c:v>0</c:v>
                </c:pt>
                <c:pt idx="6192">
                  <c:v>0</c:v>
                </c:pt>
                <c:pt idx="6193">
                  <c:v>0</c:v>
                </c:pt>
                <c:pt idx="6194">
                  <c:v>0</c:v>
                </c:pt>
                <c:pt idx="6195">
                  <c:v>0</c:v>
                </c:pt>
                <c:pt idx="6196">
                  <c:v>0</c:v>
                </c:pt>
                <c:pt idx="6197">
                  <c:v>0</c:v>
                </c:pt>
                <c:pt idx="6198">
                  <c:v>0</c:v>
                </c:pt>
                <c:pt idx="6199">
                  <c:v>0</c:v>
                </c:pt>
                <c:pt idx="6200">
                  <c:v>0</c:v>
                </c:pt>
                <c:pt idx="6201">
                  <c:v>0</c:v>
                </c:pt>
                <c:pt idx="6202">
                  <c:v>0</c:v>
                </c:pt>
                <c:pt idx="6203">
                  <c:v>0</c:v>
                </c:pt>
                <c:pt idx="6204">
                  <c:v>0</c:v>
                </c:pt>
                <c:pt idx="6205">
                  <c:v>0</c:v>
                </c:pt>
                <c:pt idx="6206">
                  <c:v>0</c:v>
                </c:pt>
                <c:pt idx="6207">
                  <c:v>4.169769173492182</c:v>
                </c:pt>
                <c:pt idx="6208">
                  <c:v>4.1693968726731203</c:v>
                </c:pt>
                <c:pt idx="6209">
                  <c:v>4.0789954646991138</c:v>
                </c:pt>
                <c:pt idx="6210">
                  <c:v>4.05608204156231</c:v>
                </c:pt>
                <c:pt idx="6211">
                  <c:v>3.9300412915453879</c:v>
                </c:pt>
                <c:pt idx="6212">
                  <c:v>3.9565761862857922</c:v>
                </c:pt>
                <c:pt idx="6213">
                  <c:v>3.9362688688824212</c:v>
                </c:pt>
                <c:pt idx="6214">
                  <c:v>3.7118053205171604</c:v>
                </c:pt>
                <c:pt idx="6215">
                  <c:v>3.6001150747986195</c:v>
                </c:pt>
                <c:pt idx="6216">
                  <c:v>3.6829350842753668</c:v>
                </c:pt>
                <c:pt idx="6217">
                  <c:v>3.7216882149868002</c:v>
                </c:pt>
                <c:pt idx="6218">
                  <c:v>3.7440939551885197</c:v>
                </c:pt>
                <c:pt idx="6219">
                  <c:v>3.6256684491978612</c:v>
                </c:pt>
                <c:pt idx="6220">
                  <c:v>3.5881676030596354</c:v>
                </c:pt>
                <c:pt idx="6221">
                  <c:v>3.7088607594936711</c:v>
                </c:pt>
                <c:pt idx="6222">
                  <c:v>3.7694104108847224</c:v>
                </c:pt>
                <c:pt idx="6223">
                  <c:v>3.6766398158803222</c:v>
                </c:pt>
                <c:pt idx="6224">
                  <c:v>3.6679415149258787</c:v>
                </c:pt>
                <c:pt idx="6225">
                  <c:v>3.6247207743857039</c:v>
                </c:pt>
                <c:pt idx="6226">
                  <c:v>3.5625465376023833</c:v>
                </c:pt>
                <c:pt idx="6227">
                  <c:v>3.5128274554931291</c:v>
                </c:pt>
                <c:pt idx="6228">
                  <c:v>3.5807554322074058</c:v>
                </c:pt>
                <c:pt idx="6229">
                  <c:v>3.605327286265485</c:v>
                </c:pt>
                <c:pt idx="6230">
                  <c:v>3.5764908955526984</c:v>
                </c:pt>
                <c:pt idx="6231">
                  <c:v>3.5559128139172813</c:v>
                </c:pt>
                <c:pt idx="6232">
                  <c:v>3.6986394097339748</c:v>
                </c:pt>
                <c:pt idx="6233">
                  <c:v>3.6966425235226437</c:v>
                </c:pt>
                <c:pt idx="6234">
                  <c:v>3.7453123942327222</c:v>
                </c:pt>
                <c:pt idx="6235">
                  <c:v>3.7043254586069185</c:v>
                </c:pt>
                <c:pt idx="6236">
                  <c:v>3.6947810194273334</c:v>
                </c:pt>
                <c:pt idx="6237">
                  <c:v>3.7953360861030259</c:v>
                </c:pt>
                <c:pt idx="6238">
                  <c:v>3.7779733297231441</c:v>
                </c:pt>
                <c:pt idx="6239">
                  <c:v>3.8795776077980104</c:v>
                </c:pt>
                <c:pt idx="6240">
                  <c:v>3.8204156230961894</c:v>
                </c:pt>
                <c:pt idx="6241">
                  <c:v>3.8208556149732624</c:v>
                </c:pt>
                <c:pt idx="6242">
                  <c:v>3.8228863467135996</c:v>
                </c:pt>
                <c:pt idx="6243">
                  <c:v>3.7692411832396937</c:v>
                </c:pt>
                <c:pt idx="6244">
                  <c:v>3.7697827117037841</c:v>
                </c:pt>
                <c:pt idx="6245">
                  <c:v>3.7196236377174579</c:v>
                </c:pt>
                <c:pt idx="6246">
                  <c:v>3.603533473228187</c:v>
                </c:pt>
                <c:pt idx="6247">
                  <c:v>3.7335003046097608</c:v>
                </c:pt>
                <c:pt idx="6248">
                  <c:v>3.7522168821498685</c:v>
                </c:pt>
                <c:pt idx="6249">
                  <c:v>3.7723211263792056</c:v>
                </c:pt>
                <c:pt idx="6250">
                  <c:v>3.7435524267244302</c:v>
                </c:pt>
                <c:pt idx="6251">
                  <c:v>3.8783591687538079</c:v>
                </c:pt>
                <c:pt idx="6252">
                  <c:v>3.8926081364651735</c:v>
                </c:pt>
                <c:pt idx="6253">
                  <c:v>3.9275705679279778</c:v>
                </c:pt>
                <c:pt idx="6254">
                  <c:v>3.9249983077235502</c:v>
                </c:pt>
                <c:pt idx="6255">
                  <c:v>3.9588776822581746</c:v>
                </c:pt>
                <c:pt idx="6256">
                  <c:v>3.9065186488864825</c:v>
                </c:pt>
                <c:pt idx="6257">
                  <c:v>3.8475258918296893</c:v>
                </c:pt>
                <c:pt idx="6258">
                  <c:v>3.868882420632235</c:v>
                </c:pt>
                <c:pt idx="6259">
                  <c:v>3.9333243078589319</c:v>
                </c:pt>
                <c:pt idx="6260">
                  <c:v>3.8787314695728696</c:v>
                </c:pt>
                <c:pt idx="6261">
                  <c:v>3.7500507682935087</c:v>
                </c:pt>
                <c:pt idx="6262">
                  <c:v>3.7455154674067552</c:v>
                </c:pt>
                <c:pt idx="6263">
                  <c:v>3.7364110201042449</c:v>
                </c:pt>
                <c:pt idx="6264">
                  <c:v>3.9252690719555954</c:v>
                </c:pt>
                <c:pt idx="6265">
                  <c:v>3.9727543491504775</c:v>
                </c:pt>
                <c:pt idx="6266">
                  <c:v>3.9565761862857922</c:v>
                </c:pt>
                <c:pt idx="6267">
                  <c:v>3.9531577878562247</c:v>
                </c:pt>
                <c:pt idx="6268">
                  <c:v>3.9335273810329658</c:v>
                </c:pt>
                <c:pt idx="6269">
                  <c:v>3.9316320314086513</c:v>
                </c:pt>
                <c:pt idx="6270">
                  <c:v>3.9358288770053473</c:v>
                </c:pt>
                <c:pt idx="6271">
                  <c:v>3.8606579570838697</c:v>
                </c:pt>
                <c:pt idx="6272">
                  <c:v>3.8515196642523533</c:v>
                </c:pt>
                <c:pt idx="6273">
                  <c:v>3.7996006227577341</c:v>
                </c:pt>
                <c:pt idx="6274">
                  <c:v>3.8095512082853862</c:v>
                </c:pt>
                <c:pt idx="6275">
                  <c:v>3.8019359642591217</c:v>
                </c:pt>
                <c:pt idx="6276">
                  <c:v>3.783456305422054</c:v>
                </c:pt>
                <c:pt idx="6277">
                  <c:v>3.7491030934813514</c:v>
                </c:pt>
                <c:pt idx="6278">
                  <c:v>3.7898869559331221</c:v>
                </c:pt>
                <c:pt idx="6279">
                  <c:v>3.7960468422121441</c:v>
                </c:pt>
                <c:pt idx="6280">
                  <c:v>3.7658227848101262</c:v>
                </c:pt>
                <c:pt idx="6281">
                  <c:v>3.7515061260407503</c:v>
                </c:pt>
                <c:pt idx="6282">
                  <c:v>3.7694104108847224</c:v>
                </c:pt>
                <c:pt idx="6283">
                  <c:v>3.8173356799566776</c:v>
                </c:pt>
                <c:pt idx="6284">
                  <c:v>3.8510796723752794</c:v>
                </c:pt>
                <c:pt idx="6285">
                  <c:v>3.7689704190076494</c:v>
                </c:pt>
                <c:pt idx="6286">
                  <c:v>3.7306572801732898</c:v>
                </c:pt>
                <c:pt idx="6287">
                  <c:v>3.7008393691193398</c:v>
                </c:pt>
                <c:pt idx="6288">
                  <c:v>3.7648751099979689</c:v>
                </c:pt>
                <c:pt idx="6289">
                  <c:v>3.7946253299939077</c:v>
                </c:pt>
                <c:pt idx="6290">
                  <c:v>3.7961822243281667</c:v>
                </c:pt>
                <c:pt idx="6291">
                  <c:v>3.7540783862451779</c:v>
                </c:pt>
                <c:pt idx="6292">
                  <c:v>3.8092465985243358</c:v>
                </c:pt>
                <c:pt idx="6293">
                  <c:v>3.8128342245989311</c:v>
                </c:pt>
                <c:pt idx="6294">
                  <c:v>3.8227848101265831</c:v>
                </c:pt>
                <c:pt idx="6295">
                  <c:v>3.774622622351588</c:v>
                </c:pt>
                <c:pt idx="6296">
                  <c:v>3.8063020375008465</c:v>
                </c:pt>
                <c:pt idx="6297">
                  <c:v>3.7193867190144188</c:v>
                </c:pt>
                <c:pt idx="6298">
                  <c:v>3.7250389223583564</c:v>
                </c:pt>
                <c:pt idx="6299">
                  <c:v>3.6756244500101545</c:v>
                </c:pt>
                <c:pt idx="6300">
                  <c:v>3.6485480268056598</c:v>
                </c:pt>
                <c:pt idx="6301">
                  <c:v>3.6208623840790635</c:v>
                </c:pt>
                <c:pt idx="6302">
                  <c:v>3.6605631896026534</c:v>
                </c:pt>
                <c:pt idx="6303">
                  <c:v>3.6376159209368444</c:v>
                </c:pt>
                <c:pt idx="6304">
                  <c:v>3.6119271644215809</c:v>
                </c:pt>
                <c:pt idx="6305">
                  <c:v>3.5858322615582487</c:v>
                </c:pt>
                <c:pt idx="6306">
                  <c:v>3.5614973262032086</c:v>
                </c:pt>
                <c:pt idx="6307">
                  <c:v>3.5830907737087934</c:v>
                </c:pt>
                <c:pt idx="6308">
                  <c:v>3.6129086847627434</c:v>
                </c:pt>
                <c:pt idx="6309">
                  <c:v>3.5435591958302313</c:v>
                </c:pt>
                <c:pt idx="6310">
                  <c:v>3.3887835916875382</c:v>
                </c:pt>
                <c:pt idx="6311">
                  <c:v>3.3386922087592232</c:v>
                </c:pt>
                <c:pt idx="6312">
                  <c:v>3.3783591687538079</c:v>
                </c:pt>
                <c:pt idx="6313">
                  <c:v>3.4055032830163139</c:v>
                </c:pt>
                <c:pt idx="6314">
                  <c:v>3.3444459486901783</c:v>
                </c:pt>
                <c:pt idx="6315">
                  <c:v>3.3641440465714485</c:v>
                </c:pt>
                <c:pt idx="6316">
                  <c:v>3.2690042645366546</c:v>
                </c:pt>
                <c:pt idx="6317">
                  <c:v>3.2446693291816162</c:v>
                </c:pt>
                <c:pt idx="6318">
                  <c:v>3.2219251336898402</c:v>
                </c:pt>
                <c:pt idx="6319">
                  <c:v>3.3438028836390714</c:v>
                </c:pt>
                <c:pt idx="6320">
                  <c:v>3.3510119813172681</c:v>
                </c:pt>
                <c:pt idx="6321">
                  <c:v>3.4440533405537135</c:v>
                </c:pt>
                <c:pt idx="6322">
                  <c:v>3.5190888783591694</c:v>
                </c:pt>
                <c:pt idx="6323">
                  <c:v>3.5218303662086239</c:v>
                </c:pt>
                <c:pt idx="6324">
                  <c:v>3.459622283896298</c:v>
                </c:pt>
                <c:pt idx="6325">
                  <c:v>3.485886414404658</c:v>
                </c:pt>
                <c:pt idx="6326">
                  <c:v>3.4044879171461453</c:v>
                </c:pt>
                <c:pt idx="6327">
                  <c:v>3.4154877140729711</c:v>
                </c:pt>
                <c:pt idx="6328">
                  <c:v>3.341738306369729</c:v>
                </c:pt>
                <c:pt idx="6329">
                  <c:v>3.3413998510796725</c:v>
                </c:pt>
                <c:pt idx="6330">
                  <c:v>3.2928653624856157</c:v>
                </c:pt>
                <c:pt idx="6331">
                  <c:v>3.3396737291003866</c:v>
                </c:pt>
                <c:pt idx="6332">
                  <c:v>3.3434305828200097</c:v>
                </c:pt>
                <c:pt idx="6333">
                  <c:v>3.3232924930616665</c:v>
                </c:pt>
                <c:pt idx="6334">
                  <c:v>3.3336153794083812</c:v>
                </c:pt>
                <c:pt idx="6335">
                  <c:v>3.4354904217152917</c:v>
                </c:pt>
                <c:pt idx="6336">
                  <c:v>3.4255736817166449</c:v>
                </c:pt>
                <c:pt idx="6337">
                  <c:v>3.5201719352873484</c:v>
                </c:pt>
                <c:pt idx="6338">
                  <c:v>3.5197996344682876</c:v>
                </c:pt>
                <c:pt idx="6339">
                  <c:v>3.4624653083327699</c:v>
                </c:pt>
                <c:pt idx="6340">
                  <c:v>3.4607391863534831</c:v>
                </c:pt>
                <c:pt idx="6341">
                  <c:v>3.522744195491776</c:v>
                </c:pt>
                <c:pt idx="6342">
                  <c:v>3.5492790902321811</c:v>
                </c:pt>
                <c:pt idx="6343">
                  <c:v>3.5747647735734116</c:v>
                </c:pt>
                <c:pt idx="6344">
                  <c:v>3.5612265619711643</c:v>
                </c:pt>
                <c:pt idx="6345">
                  <c:v>3.5493467812901924</c:v>
                </c:pt>
                <c:pt idx="6346">
                  <c:v>3.570669464563732</c:v>
                </c:pt>
                <c:pt idx="6347">
                  <c:v>3.5936505787585462</c:v>
                </c:pt>
                <c:pt idx="6348">
                  <c:v>3.4645975766601236</c:v>
                </c:pt>
                <c:pt idx="6349">
                  <c:v>3.505076829350843</c:v>
                </c:pt>
                <c:pt idx="6350">
                  <c:v>3.4689974954308544</c:v>
                </c:pt>
                <c:pt idx="6351">
                  <c:v>3.4812157314018819</c:v>
                </c:pt>
                <c:pt idx="6352">
                  <c:v>3.5632911392405067</c:v>
                </c:pt>
                <c:pt idx="6353">
                  <c:v>3.6097948960942263</c:v>
                </c:pt>
                <c:pt idx="6354">
                  <c:v>3.6767413524673396</c:v>
                </c:pt>
                <c:pt idx="6355">
                  <c:v>3.6148378799160632</c:v>
                </c:pt>
                <c:pt idx="6356">
                  <c:v>3.6037365464022209</c:v>
                </c:pt>
                <c:pt idx="6357">
                  <c:v>3.523827252419955</c:v>
                </c:pt>
                <c:pt idx="6358">
                  <c:v>3.4797603736546403</c:v>
                </c:pt>
                <c:pt idx="6359">
                  <c:v>3.5110674879848371</c:v>
                </c:pt>
                <c:pt idx="6360">
                  <c:v>3.5493806268191976</c:v>
                </c:pt>
                <c:pt idx="6361">
                  <c:v>3.5040614634806744</c:v>
                </c:pt>
                <c:pt idx="6362">
                  <c:v>3.4936031950179389</c:v>
                </c:pt>
                <c:pt idx="6363">
                  <c:v>3.3936911933933533</c:v>
                </c:pt>
                <c:pt idx="6364">
                  <c:v>3.4064509578284712</c:v>
                </c:pt>
                <c:pt idx="6365">
                  <c:v>3.3370676233669538</c:v>
                </c:pt>
                <c:pt idx="6366">
                  <c:v>3.3924727543491509</c:v>
                </c:pt>
                <c:pt idx="6367">
                  <c:v>3.40090029107155</c:v>
                </c:pt>
                <c:pt idx="6368">
                  <c:v>3.4463209909970898</c:v>
                </c:pt>
                <c:pt idx="6369">
                  <c:v>3.4179584376903813</c:v>
                </c:pt>
                <c:pt idx="6370">
                  <c:v>3.4749881540648486</c:v>
                </c:pt>
                <c:pt idx="6371">
                  <c:v>3.4948554795911457</c:v>
                </c:pt>
                <c:pt idx="6372">
                  <c:v>3.4971231300345229</c:v>
                </c:pt>
                <c:pt idx="6373">
                  <c:v>3.5387869762404387</c:v>
                </c:pt>
                <c:pt idx="6374">
                  <c:v>3.6212685304271313</c:v>
                </c:pt>
                <c:pt idx="6375">
                  <c:v>3.6126040750016921</c:v>
                </c:pt>
                <c:pt idx="6376">
                  <c:v>3.5615650172612199</c:v>
                </c:pt>
                <c:pt idx="6377">
                  <c:v>3.5926352128883776</c:v>
                </c:pt>
                <c:pt idx="6378">
                  <c:v>3.6062749610776423</c:v>
                </c:pt>
                <c:pt idx="6379">
                  <c:v>3.6682799702159343</c:v>
                </c:pt>
                <c:pt idx="6380">
                  <c:v>3.6608677993637038</c:v>
                </c:pt>
                <c:pt idx="6381">
                  <c:v>3.764265890475869</c:v>
                </c:pt>
                <c:pt idx="6382">
                  <c:v>3.8019359642591217</c:v>
                </c:pt>
                <c:pt idx="6383">
                  <c:v>3.7709334596899753</c:v>
                </c:pt>
                <c:pt idx="6384">
                  <c:v>3.7321803289785427</c:v>
                </c:pt>
                <c:pt idx="6385">
                  <c:v>3.7165775401069521</c:v>
                </c:pt>
                <c:pt idx="6386">
                  <c:v>3.7353279631760641</c:v>
                </c:pt>
                <c:pt idx="6387">
                  <c:v>3.7494753943004131</c:v>
                </c:pt>
                <c:pt idx="6388">
                  <c:v>3.7194882556014353</c:v>
                </c:pt>
                <c:pt idx="6389">
                  <c:v>3.7243620117782443</c:v>
                </c:pt>
                <c:pt idx="6390">
                  <c:v>3.6981655723278957</c:v>
                </c:pt>
                <c:pt idx="6391">
                  <c:v>3.7086576863196372</c:v>
                </c:pt>
                <c:pt idx="6392">
                  <c:v>3.6739321735598729</c:v>
                </c:pt>
                <c:pt idx="6393">
                  <c:v>3.6460096121302383</c:v>
                </c:pt>
                <c:pt idx="6394">
                  <c:v>3.5740540174642934</c:v>
                </c:pt>
                <c:pt idx="6395">
                  <c:v>3.5060245041630003</c:v>
                </c:pt>
                <c:pt idx="6396">
                  <c:v>3.4517362756379883</c:v>
                </c:pt>
                <c:pt idx="6397">
                  <c:v>3.4533270155012525</c:v>
                </c:pt>
                <c:pt idx="6398">
                  <c:v>3.5118120896229605</c:v>
                </c:pt>
                <c:pt idx="6399">
                  <c:v>3.5213565288025457</c:v>
                </c:pt>
                <c:pt idx="6400">
                  <c:v>3.5657618628579169</c:v>
                </c:pt>
                <c:pt idx="6401">
                  <c:v>3.5449130169904555</c:v>
                </c:pt>
                <c:pt idx="6402">
                  <c:v>3.5349624314628043</c:v>
                </c:pt>
                <c:pt idx="6403">
                  <c:v>3.5028430244364728</c:v>
                </c:pt>
                <c:pt idx="6404">
                  <c:v>3.4038448520950384</c:v>
                </c:pt>
                <c:pt idx="6405">
                  <c:v>3.3796114533270156</c:v>
                </c:pt>
                <c:pt idx="6406">
                  <c:v>3.378393014282814</c:v>
                </c:pt>
                <c:pt idx="6407">
                  <c:v>3.4094632099099709</c:v>
                </c:pt>
                <c:pt idx="6408">
                  <c:v>3.4630068367968594</c:v>
                </c:pt>
                <c:pt idx="6409">
                  <c:v>3.4585730724971233</c:v>
                </c:pt>
                <c:pt idx="6410">
                  <c:v>3.5167535368577809</c:v>
                </c:pt>
                <c:pt idx="6411">
                  <c:v>3.493840113720978</c:v>
                </c:pt>
                <c:pt idx="6412">
                  <c:v>3.3983618763961285</c:v>
                </c:pt>
                <c:pt idx="6413">
                  <c:v>3.382352941176471</c:v>
                </c:pt>
                <c:pt idx="6414">
                  <c:v>3.3804914370811616</c:v>
                </c:pt>
                <c:pt idx="6415">
                  <c:v>3.4061463480674199</c:v>
                </c:pt>
                <c:pt idx="6416">
                  <c:v>3.3369999323089425</c:v>
                </c:pt>
                <c:pt idx="6417">
                  <c:v>3.4160292425370615</c:v>
                </c:pt>
                <c:pt idx="6418">
                  <c:v>3.3471197454816224</c:v>
                </c:pt>
                <c:pt idx="6419">
                  <c:v>3.4224260475191235</c:v>
                </c:pt>
                <c:pt idx="6420">
                  <c:v>3.502436878088405</c:v>
                </c:pt>
                <c:pt idx="6421">
                  <c:v>3.5313409598592029</c:v>
                </c:pt>
                <c:pt idx="6422">
                  <c:v>3.5496175455222367</c:v>
                </c:pt>
                <c:pt idx="6423">
                  <c:v>3.5126920733771065</c:v>
                </c:pt>
                <c:pt idx="6424">
                  <c:v>3.533574764773574</c:v>
                </c:pt>
                <c:pt idx="6425">
                  <c:v>3.5278548703716242</c:v>
                </c:pt>
                <c:pt idx="6426">
                  <c:v>3.6285791646923444</c:v>
                </c:pt>
                <c:pt idx="6427">
                  <c:v>3.6165301563663439</c:v>
                </c:pt>
                <c:pt idx="6428">
                  <c:v>3.5881337575306302</c:v>
                </c:pt>
                <c:pt idx="6429">
                  <c:v>3.5363162526230285</c:v>
                </c:pt>
                <c:pt idx="6430">
                  <c:v>3.5522236512556695</c:v>
                </c:pt>
                <c:pt idx="6431">
                  <c:v>3.5083936911933939</c:v>
                </c:pt>
                <c:pt idx="6432">
                  <c:v>3.560041968455967</c:v>
                </c:pt>
                <c:pt idx="6433">
                  <c:v>3.5082244635483653</c:v>
                </c:pt>
                <c:pt idx="6434">
                  <c:v>3.5848168956880802</c:v>
                </c:pt>
                <c:pt idx="6435">
                  <c:v>3.518987341772152</c:v>
                </c:pt>
                <c:pt idx="6436">
                  <c:v>3.5448791714614503</c:v>
                </c:pt>
                <c:pt idx="6437">
                  <c:v>3.5722263588979901</c:v>
                </c:pt>
                <c:pt idx="6438">
                  <c:v>3.6124686928856704</c:v>
                </c:pt>
                <c:pt idx="6439">
                  <c:v>3.6031273268801192</c:v>
                </c:pt>
                <c:pt idx="6440">
                  <c:v>3.5923306031273272</c:v>
                </c:pt>
                <c:pt idx="6441">
                  <c:v>3.5989981723414335</c:v>
                </c:pt>
                <c:pt idx="6442">
                  <c:v>3.5221688214986804</c:v>
                </c:pt>
                <c:pt idx="6443">
                  <c:v>3.4208014621268532</c:v>
                </c:pt>
                <c:pt idx="6444">
                  <c:v>3.3643132742164763</c:v>
                </c:pt>
                <c:pt idx="6445">
                  <c:v>3.4642252758410619</c:v>
                </c:pt>
                <c:pt idx="6446">
                  <c:v>3.4772896500372301</c:v>
                </c:pt>
                <c:pt idx="6447">
                  <c:v>3.4961754552223656</c:v>
                </c:pt>
                <c:pt idx="6448">
                  <c:v>3.5685371962363774</c:v>
                </c:pt>
                <c:pt idx="6449">
                  <c:v>3.5983889528193336</c:v>
                </c:pt>
                <c:pt idx="6450">
                  <c:v>3.563561903472551</c:v>
                </c:pt>
                <c:pt idx="6451">
                  <c:v>3.5487714072970968</c:v>
                </c:pt>
                <c:pt idx="6452">
                  <c:v>3.4909293982264948</c:v>
                </c:pt>
                <c:pt idx="6453">
                  <c:v>3.4604684221214388</c:v>
                </c:pt>
                <c:pt idx="6454">
                  <c:v>3.4714005279902524</c:v>
                </c:pt>
                <c:pt idx="6455">
                  <c:v>3.3786637785148583</c:v>
                </c:pt>
                <c:pt idx="6456">
                  <c:v>3.3537873146957287</c:v>
                </c:pt>
                <c:pt idx="6457">
                  <c:v>3.4024571854058081</c:v>
                </c:pt>
                <c:pt idx="6458">
                  <c:v>3.4343396737291005</c:v>
                </c:pt>
                <c:pt idx="6459">
                  <c:v>3.3417044608407229</c:v>
                </c:pt>
                <c:pt idx="6460">
                  <c:v>3.3660393961957631</c:v>
                </c:pt>
                <c:pt idx="6461">
                  <c:v>3.2936099641237391</c:v>
                </c:pt>
                <c:pt idx="6462">
                  <c:v>3.2717795979151161</c:v>
                </c:pt>
                <c:pt idx="6463">
                  <c:v>3.3897989575577068</c:v>
                </c:pt>
                <c:pt idx="6464">
                  <c:v>3.3975157381709877</c:v>
                </c:pt>
                <c:pt idx="6465">
                  <c:v>3.4559331212346853</c:v>
                </c:pt>
                <c:pt idx="6466">
                  <c:v>3.3925404454071622</c:v>
                </c:pt>
                <c:pt idx="6467">
                  <c:v>3.4215122182359714</c:v>
                </c:pt>
                <c:pt idx="6468">
                  <c:v>3.4244906247884659</c:v>
                </c:pt>
                <c:pt idx="6469">
                  <c:v>3.3816083395383467</c:v>
                </c:pt>
                <c:pt idx="6470">
                  <c:v>3.3920666080010839</c:v>
                </c:pt>
                <c:pt idx="6471">
                  <c:v>3.3553780545589929</c:v>
                </c:pt>
                <c:pt idx="6472">
                  <c:v>3.3316861842550596</c:v>
                </c:pt>
                <c:pt idx="6473">
                  <c:v>3.3414675421376838</c:v>
                </c:pt>
                <c:pt idx="6474">
                  <c:v>3.3168956880796054</c:v>
                </c:pt>
                <c:pt idx="6475">
                  <c:v>3.2193190279564075</c:v>
                </c:pt>
                <c:pt idx="6476">
                  <c:v>3.1552155960197661</c:v>
                </c:pt>
                <c:pt idx="6477">
                  <c:v>3.1477695796385303</c:v>
                </c:pt>
                <c:pt idx="6478">
                  <c:v>3.1838489135585197</c:v>
                </c:pt>
                <c:pt idx="6479">
                  <c:v>3.1911933933527381</c:v>
                </c:pt>
                <c:pt idx="6480">
                  <c:v>3.2138360522574967</c:v>
                </c:pt>
                <c:pt idx="6481">
                  <c:v>3.2422324510932112</c:v>
                </c:pt>
                <c:pt idx="6482">
                  <c:v>3.3023759561361947</c:v>
                </c:pt>
                <c:pt idx="6483">
                  <c:v>3.3056251269207344</c:v>
                </c:pt>
                <c:pt idx="6484">
                  <c:v>3.1942056454342387</c:v>
                </c:pt>
                <c:pt idx="6485">
                  <c:v>3.187639612807148</c:v>
                </c:pt>
                <c:pt idx="6486">
                  <c:v>3.1427942868747039</c:v>
                </c:pt>
                <c:pt idx="6487">
                  <c:v>3.2031747106207273</c:v>
                </c:pt>
                <c:pt idx="6488">
                  <c:v>3.1634400595681313</c:v>
                </c:pt>
                <c:pt idx="6489">
                  <c:v>3.2443647194205649</c:v>
                </c:pt>
                <c:pt idx="6490">
                  <c:v>3.1411697014824345</c:v>
                </c:pt>
                <c:pt idx="6491">
                  <c:v>3.1160901644892718</c:v>
                </c:pt>
                <c:pt idx="6492">
                  <c:v>3.2096053611317945</c:v>
                </c:pt>
                <c:pt idx="6493">
                  <c:v>3.1948148649563395</c:v>
                </c:pt>
                <c:pt idx="6494">
                  <c:v>3.2255804508224468</c:v>
                </c:pt>
                <c:pt idx="6495">
                  <c:v>3.3053882082176944</c:v>
                </c:pt>
                <c:pt idx="6496">
                  <c:v>3.2712719149800318</c:v>
                </c:pt>
                <c:pt idx="6497">
                  <c:v>3.3085358424152176</c:v>
                </c:pt>
                <c:pt idx="6498">
                  <c:v>3.3310092736749484</c:v>
                </c:pt>
                <c:pt idx="6499">
                  <c:v>3.2827117037839297</c:v>
                </c:pt>
                <c:pt idx="6500">
                  <c:v>3.2075746293914582</c:v>
                </c:pt>
                <c:pt idx="6501">
                  <c:v>3.2385094429025925</c:v>
                </c:pt>
                <c:pt idx="6502">
                  <c:v>3.1764705882352944</c:v>
                </c:pt>
                <c:pt idx="6503">
                  <c:v>3.1467203682393556</c:v>
                </c:pt>
                <c:pt idx="6504">
                  <c:v>3.1804643606579575</c:v>
                </c:pt>
                <c:pt idx="6505">
                  <c:v>3.2530968659040136</c:v>
                </c:pt>
                <c:pt idx="6506">
                  <c:v>3.2374602315034187</c:v>
                </c:pt>
                <c:pt idx="6507">
                  <c:v>3.2078792391525086</c:v>
                </c:pt>
                <c:pt idx="6508">
                  <c:v>3.1027211805320523</c:v>
                </c:pt>
                <c:pt idx="6509">
                  <c:v>3.1778921004535308</c:v>
                </c:pt>
                <c:pt idx="6510">
                  <c:v>3.1951871657754012</c:v>
                </c:pt>
                <c:pt idx="6511">
                  <c:v>3.2776687199620937</c:v>
                </c:pt>
                <c:pt idx="6512">
                  <c:v>3.3156095579773908</c:v>
                </c:pt>
                <c:pt idx="6513">
                  <c:v>3.2974683544303804</c:v>
                </c:pt>
                <c:pt idx="6514">
                  <c:v>3.3063020375008465</c:v>
                </c:pt>
                <c:pt idx="6515">
                  <c:v>3.213023759561362</c:v>
                </c:pt>
                <c:pt idx="6516">
                  <c:v>3.1565694171799903</c:v>
                </c:pt>
                <c:pt idx="6517">
                  <c:v>3.1603939619576256</c:v>
                </c:pt>
                <c:pt idx="6518">
                  <c:v>3.1695322547891429</c:v>
                </c:pt>
                <c:pt idx="6519">
                  <c:v>3.2029716374466934</c:v>
                </c:pt>
                <c:pt idx="6520">
                  <c:v>3.1477357341095242</c:v>
                </c:pt>
                <c:pt idx="6521">
                  <c:v>3.1503756853719622</c:v>
                </c:pt>
                <c:pt idx="6522">
                  <c:v>3.158058620456238</c:v>
                </c:pt>
                <c:pt idx="6523">
                  <c:v>3.0735463345292091</c:v>
                </c:pt>
                <c:pt idx="6524">
                  <c:v>3.0710756109117989</c:v>
                </c:pt>
                <c:pt idx="6525">
                  <c:v>3.0209503824544779</c:v>
                </c:pt>
                <c:pt idx="6526">
                  <c:v>2.9937047316049554</c:v>
                </c:pt>
                <c:pt idx="6527">
                  <c:v>2.9326473972788198</c:v>
                </c:pt>
                <c:pt idx="6528">
                  <c:v>2.9356596493603195</c:v>
                </c:pt>
                <c:pt idx="6529">
                  <c:v>2.8624517701211674</c:v>
                </c:pt>
                <c:pt idx="6530">
                  <c:v>2.9479455763893592</c:v>
                </c:pt>
                <c:pt idx="6531">
                  <c:v>2.9430718202125501</c:v>
                </c:pt>
                <c:pt idx="6532">
                  <c:v>3.0055845122859273</c:v>
                </c:pt>
                <c:pt idx="6533">
                  <c:v>2.9984431056657423</c:v>
                </c:pt>
                <c:pt idx="6534">
                  <c:v>3.0198334799972928</c:v>
                </c:pt>
                <c:pt idx="6535">
                  <c:v>2.9827387802071348</c:v>
                </c:pt>
                <c:pt idx="6536">
                  <c:v>2.8927096730521904</c:v>
                </c:pt>
                <c:pt idx="6537">
                  <c:v>2.9641575847830506</c:v>
                </c:pt>
                <c:pt idx="6538">
                  <c:v>2.9777973329723144</c:v>
                </c:pt>
                <c:pt idx="6539">
                  <c:v>2.9383672916807697</c:v>
                </c:pt>
                <c:pt idx="6540">
                  <c:v>3.0355039599268938</c:v>
                </c:pt>
                <c:pt idx="6541">
                  <c:v>3.0170243010898261</c:v>
                </c:pt>
                <c:pt idx="6542">
                  <c:v>3.0038922358356466</c:v>
                </c:pt>
                <c:pt idx="6543">
                  <c:v>3.0215596019765796</c:v>
                </c:pt>
                <c:pt idx="6544">
                  <c:v>2.9380965274487241</c:v>
                </c:pt>
                <c:pt idx="6545">
                  <c:v>2.9010695187165774</c:v>
                </c:pt>
                <c:pt idx="6546">
                  <c:v>2.8735531036350102</c:v>
                </c:pt>
                <c:pt idx="6547">
                  <c:v>2.8560888106681106</c:v>
                </c:pt>
                <c:pt idx="6548">
                  <c:v>2.8444121031611722</c:v>
                </c:pt>
                <c:pt idx="6549">
                  <c:v>2.81005889122047</c:v>
                </c:pt>
                <c:pt idx="6550">
                  <c:v>2.7828809314289589</c:v>
                </c:pt>
                <c:pt idx="6551">
                  <c:v>2.7939822649428012</c:v>
                </c:pt>
                <c:pt idx="6552">
                  <c:v>2.818655655587897</c:v>
                </c:pt>
                <c:pt idx="6553">
                  <c:v>2.8252216882149872</c:v>
                </c:pt>
                <c:pt idx="6554">
                  <c:v>2.8618087050700605</c:v>
                </c:pt>
                <c:pt idx="6555">
                  <c:v>2.8375753063020372</c:v>
                </c:pt>
                <c:pt idx="6556">
                  <c:v>2.7861977932715094</c:v>
                </c:pt>
                <c:pt idx="6557">
                  <c:v>2.7596967440601095</c:v>
                </c:pt>
                <c:pt idx="6558">
                  <c:v>2.7622690042645366</c:v>
                </c:pt>
                <c:pt idx="6559">
                  <c:v>2.7185067352602728</c:v>
                </c:pt>
                <c:pt idx="6560">
                  <c:v>2.6753875313071149</c:v>
                </c:pt>
                <c:pt idx="6561">
                  <c:v>2.615007107561091</c:v>
                </c:pt>
                <c:pt idx="6562">
                  <c:v>2.6056995870845463</c:v>
                </c:pt>
                <c:pt idx="6563">
                  <c:v>2.6293237663304678</c:v>
                </c:pt>
                <c:pt idx="6564">
                  <c:v>2.623739254044541</c:v>
                </c:pt>
                <c:pt idx="6565">
                  <c:v>2.6501726121979288</c:v>
                </c:pt>
                <c:pt idx="6566">
                  <c:v>2.62120083936912</c:v>
                </c:pt>
                <c:pt idx="6567">
                  <c:v>2.6009273674947546</c:v>
                </c:pt>
                <c:pt idx="6568">
                  <c:v>2.5957151560278895</c:v>
                </c:pt>
                <c:pt idx="6569">
                  <c:v>2.575509375211535</c:v>
                </c:pt>
                <c:pt idx="6570">
                  <c:v>2.5452853178095176</c:v>
                </c:pt>
                <c:pt idx="6571">
                  <c:v>2.4032694781019428</c:v>
                </c:pt>
                <c:pt idx="6572">
                  <c:v>2.3669532254789143</c:v>
                </c:pt>
                <c:pt idx="6573">
                  <c:v>2.3768022744195494</c:v>
                </c:pt>
                <c:pt idx="6574">
                  <c:v>2.3317200297840657</c:v>
                </c:pt>
                <c:pt idx="6575">
                  <c:v>2.2472754349150481</c:v>
                </c:pt>
                <c:pt idx="6576">
                  <c:v>2.285317809517363</c:v>
                </c:pt>
                <c:pt idx="6577">
                  <c:v>2.3323969403641782</c:v>
                </c:pt>
                <c:pt idx="6578">
                  <c:v>2.3458336153794086</c:v>
                </c:pt>
                <c:pt idx="6579">
                  <c:v>2.3933527381032969</c:v>
                </c:pt>
                <c:pt idx="6580">
                  <c:v>2.3384891355851893</c:v>
                </c:pt>
                <c:pt idx="6581">
                  <c:v>2.4421241454003928</c:v>
                </c:pt>
                <c:pt idx="6582">
                  <c:v>2.5504636837473771</c:v>
                </c:pt>
                <c:pt idx="6583">
                  <c:v>2.549346781290192</c:v>
                </c:pt>
                <c:pt idx="6584">
                  <c:v>2.5360116428619781</c:v>
                </c:pt>
                <c:pt idx="6585">
                  <c:v>2.5291410004738379</c:v>
                </c:pt>
                <c:pt idx="6586">
                  <c:v>2.6082380017599673</c:v>
                </c:pt>
                <c:pt idx="6587">
                  <c:v>2.4848372030054837</c:v>
                </c:pt>
                <c:pt idx="6588">
                  <c:v>2.4654098693562583</c:v>
                </c:pt>
                <c:pt idx="6589">
                  <c:v>2.4525485683341235</c:v>
                </c:pt>
                <c:pt idx="6590">
                  <c:v>2.4484194137954378</c:v>
                </c:pt>
                <c:pt idx="6591">
                  <c:v>2.5384823664793883</c:v>
                </c:pt>
                <c:pt idx="6592">
                  <c:v>2.5120828538550062</c:v>
                </c:pt>
                <c:pt idx="6593">
                  <c:v>2.4851418127665337</c:v>
                </c:pt>
                <c:pt idx="6594">
                  <c:v>2.4152169498409259</c:v>
                </c:pt>
                <c:pt idx="6595">
                  <c:v>2.3175049076017062</c:v>
                </c:pt>
                <c:pt idx="6596">
                  <c:v>2.4055371285453195</c:v>
                </c:pt>
                <c:pt idx="6597">
                  <c:v>2.4639545116090167</c:v>
                </c:pt>
                <c:pt idx="6598">
                  <c:v>2.2961822243281662</c:v>
                </c:pt>
                <c:pt idx="6599">
                  <c:v>2.324510932105869</c:v>
                </c:pt>
                <c:pt idx="6600">
                  <c:v>2.3522981114194819</c:v>
                </c:pt>
                <c:pt idx="6601">
                  <c:v>2.365125566912611</c:v>
                </c:pt>
                <c:pt idx="6602">
                  <c:v>2.2399648006498345</c:v>
                </c:pt>
                <c:pt idx="6603">
                  <c:v>2.4764096662830846</c:v>
                </c:pt>
                <c:pt idx="6604">
                  <c:v>2.5287010085967645</c:v>
                </c:pt>
                <c:pt idx="6605">
                  <c:v>2.6694984092601373</c:v>
                </c:pt>
                <c:pt idx="6606">
                  <c:v>2.6988086373790021</c:v>
                </c:pt>
                <c:pt idx="6607">
                  <c:v>2.6828673932173568</c:v>
                </c:pt>
                <c:pt idx="6608">
                  <c:v>2.6595139782034796</c:v>
                </c:pt>
                <c:pt idx="6609">
                  <c:v>2.6945779462532999</c:v>
                </c:pt>
                <c:pt idx="6610">
                  <c:v>2.7164421579909295</c:v>
                </c:pt>
                <c:pt idx="6611">
                  <c:v>2.7270696540986941</c:v>
                </c:pt>
                <c:pt idx="6612">
                  <c:v>2.6677384417518453</c:v>
                </c:pt>
                <c:pt idx="6613">
                  <c:v>2.5969335950720911</c:v>
                </c:pt>
                <c:pt idx="6614">
                  <c:v>2.6380897583429235</c:v>
                </c:pt>
                <c:pt idx="6615">
                  <c:v>2.6695999458471538</c:v>
                </c:pt>
                <c:pt idx="6616">
                  <c:v>2.6180193596425916</c:v>
                </c:pt>
                <c:pt idx="6617">
                  <c:v>2.6659446287145472</c:v>
                </c:pt>
                <c:pt idx="6618">
                  <c:v>2.6873011575170924</c:v>
                </c:pt>
                <c:pt idx="6619">
                  <c:v>2.6879103770391937</c:v>
                </c:pt>
                <c:pt idx="6620">
                  <c:v>2.6601570432545865</c:v>
                </c:pt>
                <c:pt idx="6621">
                  <c:v>2.6286468557503553</c:v>
                </c:pt>
                <c:pt idx="6622">
                  <c:v>2.7651120287010089</c:v>
                </c:pt>
                <c:pt idx="6623">
                  <c:v>2.7929668990726331</c:v>
                </c:pt>
                <c:pt idx="6624">
                  <c:v>2.8683747376971507</c:v>
                </c:pt>
                <c:pt idx="6625">
                  <c:v>2.8083327692411837</c:v>
                </c:pt>
                <c:pt idx="6626">
                  <c:v>2.8253570703310094</c:v>
                </c:pt>
                <c:pt idx="6627">
                  <c:v>2.8829960062275775</c:v>
                </c:pt>
                <c:pt idx="6628">
                  <c:v>2.8610979489609423</c:v>
                </c:pt>
                <c:pt idx="6629">
                  <c:v>2.8575441684153526</c:v>
                </c:pt>
                <c:pt idx="6630">
                  <c:v>2.9398903404860217</c:v>
                </c:pt>
                <c:pt idx="6631">
                  <c:v>2.9432410478575779</c:v>
                </c:pt>
                <c:pt idx="6632">
                  <c:v>3.0076490895552697</c:v>
                </c:pt>
                <c:pt idx="6633">
                  <c:v>3.0166181547417592</c:v>
                </c:pt>
                <c:pt idx="6634">
                  <c:v>3.007276788736208</c:v>
                </c:pt>
                <c:pt idx="6635">
                  <c:v>2.9762065931090502</c:v>
                </c:pt>
                <c:pt idx="6636">
                  <c:v>2.9855818046436067</c:v>
                </c:pt>
                <c:pt idx="6637">
                  <c:v>2.9436471942056457</c:v>
                </c:pt>
                <c:pt idx="6638">
                  <c:v>2.9407364787111621</c:v>
                </c:pt>
                <c:pt idx="6639">
                  <c:v>2.9212076084749206</c:v>
                </c:pt>
                <c:pt idx="6640">
                  <c:v>2.9476748121573149</c:v>
                </c:pt>
                <c:pt idx="6641">
                  <c:v>2.9080078521627297</c:v>
                </c:pt>
                <c:pt idx="6642">
                  <c:v>2.9170446084072292</c:v>
                </c:pt>
                <c:pt idx="6643">
                  <c:v>2.8801191362621004</c:v>
                </c:pt>
                <c:pt idx="6644">
                  <c:v>2.8873620794693022</c:v>
                </c:pt>
                <c:pt idx="6645">
                  <c:v>2.837541460773032</c:v>
                </c:pt>
                <c:pt idx="6646">
                  <c:v>2.8532796317606448</c:v>
                </c:pt>
                <c:pt idx="6647">
                  <c:v>2.8353753469166727</c:v>
                </c:pt>
                <c:pt idx="6648">
                  <c:v>2.8221078995464701</c:v>
                </c:pt>
                <c:pt idx="6649">
                  <c:v>2.8342922899884933</c:v>
                </c:pt>
                <c:pt idx="6650">
                  <c:v>2.78897312664997</c:v>
                </c:pt>
                <c:pt idx="6651">
                  <c:v>2.7338726054288234</c:v>
                </c:pt>
                <c:pt idx="6652">
                  <c:v>2.7252081500033851</c:v>
                </c:pt>
                <c:pt idx="6653">
                  <c:v>2.7445677925945979</c:v>
                </c:pt>
                <c:pt idx="6654">
                  <c:v>2.7470723617410138</c:v>
                </c:pt>
                <c:pt idx="6655">
                  <c:v>2.681005889122047</c:v>
                </c:pt>
                <c:pt idx="6656">
                  <c:v>2.6451973194341032</c:v>
                </c:pt>
                <c:pt idx="6657">
                  <c:v>2.7190821092533675</c:v>
                </c:pt>
                <c:pt idx="6658">
                  <c:v>2.7046639138969741</c:v>
                </c:pt>
                <c:pt idx="6659">
                  <c:v>2.764570500236919</c:v>
                </c:pt>
                <c:pt idx="6660">
                  <c:v>2.7853178095173634</c:v>
                </c:pt>
                <c:pt idx="6661">
                  <c:v>2.7762133622148517</c:v>
                </c:pt>
                <c:pt idx="6662">
                  <c:v>2.7699180938198062</c:v>
                </c:pt>
                <c:pt idx="6663">
                  <c:v>2.7055100521221145</c:v>
                </c:pt>
                <c:pt idx="6664">
                  <c:v>2.6645569620253169</c:v>
                </c:pt>
                <c:pt idx="6665">
                  <c:v>2.7000609219522103</c:v>
                </c:pt>
                <c:pt idx="6666">
                  <c:v>2.6924795234549519</c:v>
                </c:pt>
                <c:pt idx="6667">
                  <c:v>2.6919379949908619</c:v>
                </c:pt>
                <c:pt idx="6668">
                  <c:v>2.7148852636566709</c:v>
                </c:pt>
                <c:pt idx="6669">
                  <c:v>2.6967102145806541</c:v>
                </c:pt>
                <c:pt idx="6670">
                  <c:v>2.70276856427266</c:v>
                </c:pt>
                <c:pt idx="6671">
                  <c:v>2.7584444594869022</c:v>
                </c:pt>
                <c:pt idx="6672">
                  <c:v>2.7725580450822451</c:v>
                </c:pt>
                <c:pt idx="6673">
                  <c:v>2.787517768902728</c:v>
                </c:pt>
                <c:pt idx="6674">
                  <c:v>2.7552291342313682</c:v>
                </c:pt>
                <c:pt idx="6675">
                  <c:v>2.7427062884992894</c:v>
                </c:pt>
                <c:pt idx="6676">
                  <c:v>2.7525553374399245</c:v>
                </c:pt>
                <c:pt idx="6677">
                  <c:v>2.7817978745007785</c:v>
                </c:pt>
                <c:pt idx="6678">
                  <c:v>2.7868408583226154</c:v>
                </c:pt>
                <c:pt idx="6679">
                  <c:v>2.7764502809178908</c:v>
                </c:pt>
                <c:pt idx="6680">
                  <c:v>2.7454816218777505</c:v>
                </c:pt>
                <c:pt idx="6681">
                  <c:v>2.7505584512285934</c:v>
                </c:pt>
                <c:pt idx="6682">
                  <c:v>2.7065592635212896</c:v>
                </c:pt>
                <c:pt idx="6683">
                  <c:v>2.7396601908887841</c:v>
                </c:pt>
                <c:pt idx="6684">
                  <c:v>2.7754687605767279</c:v>
                </c:pt>
                <c:pt idx="6685">
                  <c:v>2.7977052731334191</c:v>
                </c:pt>
                <c:pt idx="6686">
                  <c:v>2.7940838015298182</c:v>
                </c:pt>
                <c:pt idx="6687">
                  <c:v>2.7627766871996213</c:v>
                </c:pt>
                <c:pt idx="6688">
                  <c:v>2.7048331415420028</c:v>
                </c:pt>
                <c:pt idx="6689">
                  <c:v>2.6726121979286535</c:v>
                </c:pt>
                <c:pt idx="6690">
                  <c:v>2.6774521085764573</c:v>
                </c:pt>
                <c:pt idx="6691">
                  <c:v>2.7497461585324583</c:v>
                </c:pt>
                <c:pt idx="6692">
                  <c:v>2.7892777364110199</c:v>
                </c:pt>
                <c:pt idx="6693">
                  <c:v>2.826372436201178</c:v>
                </c:pt>
                <c:pt idx="6694">
                  <c:v>2.8132742164760041</c:v>
                </c:pt>
                <c:pt idx="6695">
                  <c:v>2.8030528667163073</c:v>
                </c:pt>
                <c:pt idx="6696">
                  <c:v>2.7999052325187845</c:v>
                </c:pt>
                <c:pt idx="6697">
                  <c:v>2.7506599878156099</c:v>
                </c:pt>
                <c:pt idx="6698">
                  <c:v>2.788397752656874</c:v>
                </c:pt>
                <c:pt idx="6699">
                  <c:v>2.7763148988018687</c:v>
                </c:pt>
                <c:pt idx="6700">
                  <c:v>2.7558045082244642</c:v>
                </c:pt>
                <c:pt idx="6701">
                  <c:v>2.7591213700670147</c:v>
                </c:pt>
                <c:pt idx="6702">
                  <c:v>2.728592702903947</c:v>
                </c:pt>
                <c:pt idx="6703">
                  <c:v>2.7553306708183851</c:v>
                </c:pt>
                <c:pt idx="6704">
                  <c:v>2.795369931632032</c:v>
                </c:pt>
                <c:pt idx="6705">
                  <c:v>2.7998375414607732</c:v>
                </c:pt>
                <c:pt idx="6706">
                  <c:v>2.790733094158262</c:v>
                </c:pt>
                <c:pt idx="6707">
                  <c:v>2.7505922967575991</c:v>
                </c:pt>
                <c:pt idx="6708">
                  <c:v>2.728931158194003</c:v>
                </c:pt>
                <c:pt idx="6709">
                  <c:v>2.7011778244093958</c:v>
                </c:pt>
                <c:pt idx="6710">
                  <c:v>2.7075746293914578</c:v>
                </c:pt>
                <c:pt idx="6711">
                  <c:v>2.725715832938469</c:v>
                </c:pt>
                <c:pt idx="6712">
                  <c:v>2.7295403777161042</c:v>
                </c:pt>
                <c:pt idx="6713">
                  <c:v>2.7421309145061943</c:v>
                </c:pt>
                <c:pt idx="6714">
                  <c:v>2.7079469302105195</c:v>
                </c:pt>
                <c:pt idx="6715">
                  <c:v>2.7201651661815478</c:v>
                </c:pt>
                <c:pt idx="6716">
                  <c:v>2.6882826778582554</c:v>
                </c:pt>
                <c:pt idx="6717">
                  <c:v>2.6739998646178842</c:v>
                </c:pt>
                <c:pt idx="6718">
                  <c:v>2.6568401814120359</c:v>
                </c:pt>
                <c:pt idx="6719">
                  <c:v>2.6528464089893729</c:v>
                </c:pt>
                <c:pt idx="6720">
                  <c:v>2.6167670750693834</c:v>
                </c:pt>
                <c:pt idx="6721">
                  <c:v>2.62120083936912</c:v>
                </c:pt>
                <c:pt idx="6722">
                  <c:v>2.6162932376633052</c:v>
                </c:pt>
                <c:pt idx="6723">
                  <c:v>2.6020104244229341</c:v>
                </c:pt>
                <c:pt idx="6724">
                  <c:v>2.5615988627902255</c:v>
                </c:pt>
                <c:pt idx="6725">
                  <c:v>2.5730386515941248</c:v>
                </c:pt>
                <c:pt idx="6726">
                  <c:v>2.5031814797265284</c:v>
                </c:pt>
                <c:pt idx="6727">
                  <c:v>2.5447437893454277</c:v>
                </c:pt>
                <c:pt idx="6728">
                  <c:v>2.5606173424490626</c:v>
                </c:pt>
                <c:pt idx="6729">
                  <c:v>2.5459960739186358</c:v>
                </c:pt>
                <c:pt idx="6730">
                  <c:v>2.5515467406755565</c:v>
                </c:pt>
                <c:pt idx="6731">
                  <c:v>2.5492790902321807</c:v>
                </c:pt>
                <c:pt idx="6732">
                  <c:v>2.5297502199959392</c:v>
                </c:pt>
                <c:pt idx="6733">
                  <c:v>2.4879848372030056</c:v>
                </c:pt>
                <c:pt idx="6734">
                  <c:v>2.5136397481892647</c:v>
                </c:pt>
                <c:pt idx="6735">
                  <c:v>2.5003384552900565</c:v>
                </c:pt>
                <c:pt idx="6736">
                  <c:v>2.4802680565897246</c:v>
                </c:pt>
                <c:pt idx="6737">
                  <c:v>2.4931293576118594</c:v>
                </c:pt>
                <c:pt idx="6738">
                  <c:v>2.4615853245786234</c:v>
                </c:pt>
                <c:pt idx="6739">
                  <c:v>2.4525485683341235</c:v>
                </c:pt>
                <c:pt idx="6740">
                  <c:v>2.4662560075813991</c:v>
                </c:pt>
                <c:pt idx="6741">
                  <c:v>2.4522778041020783</c:v>
                </c:pt>
                <c:pt idx="6742">
                  <c:v>2.4488932512015165</c:v>
                </c:pt>
                <c:pt idx="6743">
                  <c:v>2.4209029987138702</c:v>
                </c:pt>
                <c:pt idx="6744">
                  <c:v>2.4267244297028365</c:v>
                </c:pt>
                <c:pt idx="6745">
                  <c:v>2.3965342178298248</c:v>
                </c:pt>
                <c:pt idx="6746">
                  <c:v>2.4079063155757128</c:v>
                </c:pt>
                <c:pt idx="6747">
                  <c:v>2.404860217965207</c:v>
                </c:pt>
                <c:pt idx="6748">
                  <c:v>2.3888512827455495</c:v>
                </c:pt>
                <c:pt idx="6749">
                  <c:v>2.3178095173627566</c:v>
                </c:pt>
                <c:pt idx="6750">
                  <c:v>2.335443037974684</c:v>
                </c:pt>
                <c:pt idx="6751">
                  <c:v>2.3082650781831724</c:v>
                </c:pt>
                <c:pt idx="6752">
                  <c:v>2.2796994517024305</c:v>
                </c:pt>
                <c:pt idx="6753">
                  <c:v>2.238847898192649</c:v>
                </c:pt>
                <c:pt idx="6754">
                  <c:v>2.2410140120490087</c:v>
                </c:pt>
                <c:pt idx="6755">
                  <c:v>2.2594598253570704</c:v>
                </c:pt>
                <c:pt idx="6756">
                  <c:v>2.285757801394436</c:v>
                </c:pt>
                <c:pt idx="6757">
                  <c:v>2.3121234684898129</c:v>
                </c:pt>
                <c:pt idx="6758">
                  <c:v>2.2542814594192109</c:v>
                </c:pt>
                <c:pt idx="6759">
                  <c:v>2.2177959791511546</c:v>
                </c:pt>
                <c:pt idx="6760">
                  <c:v>2.2421986055642056</c:v>
                </c:pt>
                <c:pt idx="6761">
                  <c:v>2.2225005076829354</c:v>
                </c:pt>
                <c:pt idx="6762">
                  <c:v>2.178805929736682</c:v>
                </c:pt>
                <c:pt idx="6763">
                  <c:v>2.1398158803222098</c:v>
                </c:pt>
                <c:pt idx="6764">
                  <c:v>2.2358018005821432</c:v>
                </c:pt>
                <c:pt idx="6765">
                  <c:v>2.26270899614161</c:v>
                </c:pt>
                <c:pt idx="6766">
                  <c:v>2.2714411426250596</c:v>
                </c:pt>
                <c:pt idx="6767">
                  <c:v>2.3069451025519534</c:v>
                </c:pt>
                <c:pt idx="6768">
                  <c:v>2.3000744601638123</c:v>
                </c:pt>
                <c:pt idx="6769">
                  <c:v>2.2844716712922222</c:v>
                </c:pt>
                <c:pt idx="6770">
                  <c:v>2.2858593379814529</c:v>
                </c:pt>
                <c:pt idx="6771">
                  <c:v>2.2266635077506263</c:v>
                </c:pt>
                <c:pt idx="6772">
                  <c:v>2.1694984092601373</c:v>
                </c:pt>
                <c:pt idx="6773">
                  <c:v>2.1567724903540246</c:v>
                </c:pt>
                <c:pt idx="6774">
                  <c:v>2.1785351655046372</c:v>
                </c:pt>
                <c:pt idx="6775">
                  <c:v>2.2278481012658231</c:v>
                </c:pt>
                <c:pt idx="6776">
                  <c:v>2.204426995193935</c:v>
                </c:pt>
                <c:pt idx="6777">
                  <c:v>2.2332633859067217</c:v>
                </c:pt>
                <c:pt idx="6778">
                  <c:v>2.2679212076084752</c:v>
                </c:pt>
                <c:pt idx="6779">
                  <c:v>2.2763825898598795</c:v>
                </c:pt>
                <c:pt idx="6780">
                  <c:v>2.2606444188722672</c:v>
                </c:pt>
                <c:pt idx="6781">
                  <c:v>2.2267988898666489</c:v>
                </c:pt>
                <c:pt idx="6782">
                  <c:v>2.2320449468625201</c:v>
                </c:pt>
                <c:pt idx="6783">
                  <c:v>2.2823055574358628</c:v>
                </c:pt>
                <c:pt idx="6784">
                  <c:v>2.3025790293102282</c:v>
                </c:pt>
                <c:pt idx="6785">
                  <c:v>2.3248832329249307</c:v>
                </c:pt>
                <c:pt idx="6786">
                  <c:v>2.3296892980437285</c:v>
                </c:pt>
                <c:pt idx="6787">
                  <c:v>2.2935084275367226</c:v>
                </c:pt>
                <c:pt idx="6788">
                  <c:v>2.3059297366817844</c:v>
                </c:pt>
                <c:pt idx="6789">
                  <c:v>2.2887023624179248</c:v>
                </c:pt>
                <c:pt idx="6790">
                  <c:v>2.2991944764096663</c:v>
                </c:pt>
                <c:pt idx="6791">
                  <c:v>2.2336018411967782</c:v>
                </c:pt>
                <c:pt idx="6792">
                  <c:v>2.2208759222906655</c:v>
                </c:pt>
                <c:pt idx="6793">
                  <c:v>2.218100588912205</c:v>
                </c:pt>
                <c:pt idx="6794">
                  <c:v>2.2040546943748733</c:v>
                </c:pt>
                <c:pt idx="6795">
                  <c:v>2.2596290530020986</c:v>
                </c:pt>
                <c:pt idx="6796">
                  <c:v>2.2457185405807896</c:v>
                </c:pt>
                <c:pt idx="6797">
                  <c:v>2.1970148243417049</c:v>
                </c:pt>
                <c:pt idx="6798">
                  <c:v>2.1754890678941314</c:v>
                </c:pt>
                <c:pt idx="6799">
                  <c:v>2.2024639545116096</c:v>
                </c:pt>
                <c:pt idx="6800">
                  <c:v>2.1420496852365805</c:v>
                </c:pt>
                <c:pt idx="6801">
                  <c:v>2.1024842618290127</c:v>
                </c:pt>
                <c:pt idx="6802">
                  <c:v>2.0662695457930012</c:v>
                </c:pt>
                <c:pt idx="6803">
                  <c:v>2.1265822784810129</c:v>
                </c:pt>
                <c:pt idx="6804">
                  <c:v>2.1176132132945238</c:v>
                </c:pt>
                <c:pt idx="6805">
                  <c:v>2.1392066608001086</c:v>
                </c:pt>
                <c:pt idx="6806">
                  <c:v>2.1748121573140189</c:v>
                </c:pt>
                <c:pt idx="6807">
                  <c:v>2.1908210925336764</c:v>
                </c:pt>
                <c:pt idx="6808">
                  <c:v>2.1840519867325527</c:v>
                </c:pt>
                <c:pt idx="6809">
                  <c:v>2.1780613280985586</c:v>
                </c:pt>
                <c:pt idx="6810">
                  <c:v>2.0955797739118665</c:v>
                </c:pt>
                <c:pt idx="6811">
                  <c:v>2.0585527651797197</c:v>
                </c:pt>
                <c:pt idx="6812">
                  <c:v>2.1109456440804171</c:v>
                </c:pt>
                <c:pt idx="6813">
                  <c:v>2.1200500913829288</c:v>
                </c:pt>
                <c:pt idx="6814">
                  <c:v>1.9682190482637245</c:v>
                </c:pt>
                <c:pt idx="6815">
                  <c:v>2.1870303932850472</c:v>
                </c:pt>
                <c:pt idx="6816">
                  <c:v>2.217660597035132</c:v>
                </c:pt>
                <c:pt idx="6817">
                  <c:v>2.2779056386651324</c:v>
                </c:pt>
                <c:pt idx="6818">
                  <c:v>2.290733094158262</c:v>
                </c:pt>
                <c:pt idx="6819">
                  <c:v>2.2343125973058964</c:v>
                </c:pt>
                <c:pt idx="6820">
                  <c:v>2.1955594665944629</c:v>
                </c:pt>
                <c:pt idx="6821">
                  <c:v>2.2330264672036826</c:v>
                </c:pt>
                <c:pt idx="6822">
                  <c:v>2.2685304271305764</c:v>
                </c:pt>
                <c:pt idx="6823">
                  <c:v>2.2839639883571383</c:v>
                </c:pt>
                <c:pt idx="6824">
                  <c:v>2.2765856630339134</c:v>
                </c:pt>
                <c:pt idx="6825">
                  <c:v>2.2727949637852842</c:v>
                </c:pt>
                <c:pt idx="6826">
                  <c:v>2.2851147363433295</c:v>
                </c:pt>
                <c:pt idx="6827">
                  <c:v>2.2960129966831384</c:v>
                </c:pt>
                <c:pt idx="6828">
                  <c:v>2.3274216476003522</c:v>
                </c:pt>
                <c:pt idx="6829">
                  <c:v>2.2921207608474923</c:v>
                </c:pt>
                <c:pt idx="6830">
                  <c:v>2.2661950856291884</c:v>
                </c:pt>
                <c:pt idx="6831">
                  <c:v>2.2507276788736212</c:v>
                </c:pt>
                <c:pt idx="6832">
                  <c:v>2.2336356867257838</c:v>
                </c:pt>
                <c:pt idx="6833">
                  <c:v>2.2061192716442157</c:v>
                </c:pt>
                <c:pt idx="6834">
                  <c:v>2.2266296622216211</c:v>
                </c:pt>
                <c:pt idx="6835">
                  <c:v>2.1991470926690586</c:v>
                </c:pt>
                <c:pt idx="6836">
                  <c:v>2.1744060109659515</c:v>
                </c:pt>
                <c:pt idx="6837">
                  <c:v>2.1966425235226428</c:v>
                </c:pt>
                <c:pt idx="6838">
                  <c:v>2.2218574426318285</c:v>
                </c:pt>
                <c:pt idx="6839">
                  <c:v>2.2337033777837947</c:v>
                </c:pt>
                <c:pt idx="6840">
                  <c:v>2.2170513775130307</c:v>
                </c:pt>
                <c:pt idx="6841">
                  <c:v>2.2061531171732214</c:v>
                </c:pt>
                <c:pt idx="6842">
                  <c:v>2.1916333852298115</c:v>
                </c:pt>
                <c:pt idx="6843">
                  <c:v>2.2005686048872946</c:v>
                </c:pt>
                <c:pt idx="6844">
                  <c:v>2.1130102213497599</c:v>
                </c:pt>
                <c:pt idx="6845">
                  <c:v>2.1270222703580859</c:v>
                </c:pt>
                <c:pt idx="6846">
                  <c:v>2.0887091315237258</c:v>
                </c:pt>
                <c:pt idx="6847">
                  <c:v>2.1105056522033441</c:v>
                </c:pt>
                <c:pt idx="6848">
                  <c:v>2.1598862790225413</c:v>
                </c:pt>
                <c:pt idx="6849">
                  <c:v>2.1516956610031817</c:v>
                </c:pt>
                <c:pt idx="6850">
                  <c:v>2.1444188722669737</c:v>
                </c:pt>
                <c:pt idx="6851">
                  <c:v>2.1505787585459961</c:v>
                </c:pt>
                <c:pt idx="6852">
                  <c:v>2.1403912543153054</c:v>
                </c:pt>
                <c:pt idx="6853">
                  <c:v>2.1394435795031481</c:v>
                </c:pt>
                <c:pt idx="6854">
                  <c:v>2.0443037974683547</c:v>
                </c:pt>
                <c:pt idx="6855">
                  <c:v>2.0585189196507141</c:v>
                </c:pt>
                <c:pt idx="6856">
                  <c:v>2.0924659852433498</c:v>
                </c:pt>
                <c:pt idx="6857">
                  <c:v>2.0901644892709674</c:v>
                </c:pt>
                <c:pt idx="6858">
                  <c:v>2.1143301969809789</c:v>
                </c:pt>
                <c:pt idx="6859">
                  <c:v>2.1258038313138834</c:v>
                </c:pt>
                <c:pt idx="6860">
                  <c:v>2.1308806606647264</c:v>
                </c:pt>
                <c:pt idx="6861">
                  <c:v>2.1792797671427606</c:v>
                </c:pt>
                <c:pt idx="6862">
                  <c:v>2.1341298314492656</c:v>
                </c:pt>
                <c:pt idx="6863">
                  <c:v>2.0883706762336698</c:v>
                </c:pt>
                <c:pt idx="6864">
                  <c:v>2.0488390983551072</c:v>
                </c:pt>
                <c:pt idx="6865">
                  <c:v>2.1299329858525691</c:v>
                </c:pt>
                <c:pt idx="6866">
                  <c:v>2.1206254653760239</c:v>
                </c:pt>
                <c:pt idx="6867">
                  <c:v>2.135889798957558</c:v>
                </c:pt>
                <c:pt idx="6868">
                  <c:v>2.1713260678264406</c:v>
                </c:pt>
                <c:pt idx="6869">
                  <c:v>2.1596155147904961</c:v>
                </c:pt>
                <c:pt idx="6870">
                  <c:v>2.2193528734854131</c:v>
                </c:pt>
                <c:pt idx="6871">
                  <c:v>2.2502538414675426</c:v>
                </c:pt>
                <c:pt idx="6872">
                  <c:v>2.2233466459080757</c:v>
                </c:pt>
                <c:pt idx="6873">
                  <c:v>2.2163406214039125</c:v>
                </c:pt>
                <c:pt idx="6874">
                  <c:v>2.2056454342381375</c:v>
                </c:pt>
                <c:pt idx="6875">
                  <c:v>2.2298449874771542</c:v>
                </c:pt>
                <c:pt idx="6876">
                  <c:v>2.2230758816760305</c:v>
                </c:pt>
                <c:pt idx="6877">
                  <c:v>2.1892303526704122</c:v>
                </c:pt>
                <c:pt idx="6878">
                  <c:v>2.1694645637311316</c:v>
                </c:pt>
                <c:pt idx="6879">
                  <c:v>2.177384417518446</c:v>
                </c:pt>
                <c:pt idx="6880">
                  <c:v>2.1824950923982942</c:v>
                </c:pt>
                <c:pt idx="6881">
                  <c:v>2.1698368645501929</c:v>
                </c:pt>
                <c:pt idx="6882">
                  <c:v>2.1611047180667438</c:v>
                </c:pt>
                <c:pt idx="6883">
                  <c:v>2.0898937250389227</c:v>
                </c:pt>
                <c:pt idx="6884">
                  <c:v>2.0978812698842484</c:v>
                </c:pt>
                <c:pt idx="6885">
                  <c:v>2.153083327692412</c:v>
                </c:pt>
                <c:pt idx="6886">
                  <c:v>2.1699384011372103</c:v>
                </c:pt>
                <c:pt idx="6887">
                  <c:v>2.1332836932241253</c:v>
                </c:pt>
                <c:pt idx="6888">
                  <c:v>2.1083056928179791</c:v>
                </c:pt>
                <c:pt idx="6889">
                  <c:v>2.1025519528870236</c:v>
                </c:pt>
                <c:pt idx="6890">
                  <c:v>2.0927367494753946</c:v>
                </c:pt>
                <c:pt idx="6891">
                  <c:v>2.0716171393758884</c:v>
                </c:pt>
                <c:pt idx="6892">
                  <c:v>2.1095579773911868</c:v>
                </c:pt>
                <c:pt idx="6893">
                  <c:v>2.0873891558925068</c:v>
                </c:pt>
                <c:pt idx="6894">
                  <c:v>2.1033642455831587</c:v>
                </c:pt>
                <c:pt idx="6895">
                  <c:v>2.0597373586949166</c:v>
                </c:pt>
                <c:pt idx="6896">
                  <c:v>2.0157381709876128</c:v>
                </c:pt>
                <c:pt idx="6897">
                  <c:v>1.9958031544033035</c:v>
                </c:pt>
                <c:pt idx="6898">
                  <c:v>2.0031137886685171</c:v>
                </c:pt>
                <c:pt idx="6899">
                  <c:v>1.9908617071684831</c:v>
                </c:pt>
                <c:pt idx="6900">
                  <c:v>2.0088336830704665</c:v>
                </c:pt>
                <c:pt idx="6901">
                  <c:v>2.0337101468895962</c:v>
                </c:pt>
                <c:pt idx="6902">
                  <c:v>1.9737358694916405</c:v>
                </c:pt>
                <c:pt idx="6903">
                  <c:v>2.0416976917349223</c:v>
                </c:pt>
                <c:pt idx="6904">
                  <c:v>2.039294659175523</c:v>
                </c:pt>
                <c:pt idx="6905">
                  <c:v>2.0090706017735056</c:v>
                </c:pt>
                <c:pt idx="6906">
                  <c:v>2.0272118053205173</c:v>
                </c:pt>
                <c:pt idx="6907">
                  <c:v>2.0254518378122253</c:v>
                </c:pt>
                <c:pt idx="6908">
                  <c:v>2.0233195694848711</c:v>
                </c:pt>
                <c:pt idx="6909">
                  <c:v>1.990184796588371</c:v>
                </c:pt>
                <c:pt idx="6910">
                  <c:v>1.9431056657415557</c:v>
                </c:pt>
                <c:pt idx="6911">
                  <c:v>1.9285520882691398</c:v>
                </c:pt>
                <c:pt idx="6912">
                  <c:v>1.9205645434238137</c:v>
                </c:pt>
                <c:pt idx="6913">
                  <c:v>1.903980234211061</c:v>
                </c:pt>
                <c:pt idx="6914">
                  <c:v>1.854633452920869</c:v>
                </c:pt>
                <c:pt idx="6915">
                  <c:v>1.8433967372910041</c:v>
                </c:pt>
                <c:pt idx="6916">
                  <c:v>1.8615717863670214</c:v>
                </c:pt>
                <c:pt idx="6917">
                  <c:v>1.8645501929195154</c:v>
                </c:pt>
                <c:pt idx="6918">
                  <c:v>1.8710485344885943</c:v>
                </c:pt>
                <c:pt idx="6919">
                  <c:v>1.8568334123062349</c:v>
                </c:pt>
                <c:pt idx="6920">
                  <c:v>1.8674270628849934</c:v>
                </c:pt>
                <c:pt idx="6921">
                  <c:v>1.8758884451363977</c:v>
                </c:pt>
                <c:pt idx="6922">
                  <c:v>1.8668178433628917</c:v>
                </c:pt>
                <c:pt idx="6923">
                  <c:v>1.8283354768835038</c:v>
                </c:pt>
                <c:pt idx="6924">
                  <c:v>1.8408244770865769</c:v>
                </c:pt>
                <c:pt idx="6925">
                  <c:v>1.8486427942868748</c:v>
                </c:pt>
                <c:pt idx="6926">
                  <c:v>1.8202463954511612</c:v>
                </c:pt>
                <c:pt idx="6927">
                  <c:v>1.8083327692411832</c:v>
                </c:pt>
                <c:pt idx="6928">
                  <c:v>1.8493873959249987</c:v>
                </c:pt>
                <c:pt idx="6929">
                  <c:v>1.8296216069857172</c:v>
                </c:pt>
                <c:pt idx="6930">
                  <c:v>1.8197725580450825</c:v>
                </c:pt>
                <c:pt idx="6931">
                  <c:v>1.8351045826846275</c:v>
                </c:pt>
                <c:pt idx="6932">
                  <c:v>1.791511541325391</c:v>
                </c:pt>
                <c:pt idx="6933">
                  <c:v>1.7762133622148517</c:v>
                </c:pt>
                <c:pt idx="6934">
                  <c:v>1.7605090367562446</c:v>
                </c:pt>
                <c:pt idx="6935">
                  <c:v>1.8015975089690652</c:v>
                </c:pt>
                <c:pt idx="6936">
                  <c:v>1.8099912001624587</c:v>
                </c:pt>
                <c:pt idx="6937">
                  <c:v>1.7515399715697559</c:v>
                </c:pt>
                <c:pt idx="6938">
                  <c:v>1.702667027685643</c:v>
                </c:pt>
                <c:pt idx="6939">
                  <c:v>1.7121776213362216</c:v>
                </c:pt>
                <c:pt idx="6940">
                  <c:v>1.6875042306911259</c:v>
                </c:pt>
                <c:pt idx="6941">
                  <c:v>1.616124010018277</c:v>
                </c:pt>
                <c:pt idx="6942">
                  <c:v>1.5904352535030126</c:v>
                </c:pt>
                <c:pt idx="6943">
                  <c:v>1.6100995058552767</c:v>
                </c:pt>
                <c:pt idx="6944">
                  <c:v>1.6184255059906589</c:v>
                </c:pt>
                <c:pt idx="6945">
                  <c:v>1.6217085223042038</c:v>
                </c:pt>
                <c:pt idx="6946">
                  <c:v>1.5735124890002035</c:v>
                </c:pt>
                <c:pt idx="6947">
                  <c:v>1.5937182698165575</c:v>
                </c:pt>
                <c:pt idx="6948">
                  <c:v>1.5782508630609899</c:v>
                </c:pt>
                <c:pt idx="6949">
                  <c:v>1.5842076761659785</c:v>
                </c:pt>
                <c:pt idx="6950">
                  <c:v>1.5543897651120289</c:v>
                </c:pt>
                <c:pt idx="6951">
                  <c:v>1.5171935287348544</c:v>
                </c:pt>
                <c:pt idx="6952">
                  <c:v>1.4966154470994382</c:v>
                </c:pt>
                <c:pt idx="6953">
                  <c:v>1.5666418466120628</c:v>
                </c:pt>
                <c:pt idx="6954">
                  <c:v>1.5742909361673325</c:v>
                </c:pt>
                <c:pt idx="6955">
                  <c:v>1.5929736681784337</c:v>
                </c:pt>
                <c:pt idx="6956">
                  <c:v>1.579469302105192</c:v>
                </c:pt>
                <c:pt idx="6957">
                  <c:v>1.5651526433358156</c:v>
                </c:pt>
                <c:pt idx="6958">
                  <c:v>1.5394977323495569</c:v>
                </c:pt>
                <c:pt idx="6959">
                  <c:v>1.5387869762404387</c:v>
                </c:pt>
                <c:pt idx="6960">
                  <c:v>1.5710417653827933</c:v>
                </c:pt>
                <c:pt idx="6961">
                  <c:v>1.5625126920733772</c:v>
                </c:pt>
                <c:pt idx="6962">
                  <c:v>1.6192377986867936</c:v>
                </c:pt>
                <c:pt idx="6963">
                  <c:v>1.6754890678941314</c:v>
                </c:pt>
                <c:pt idx="6964">
                  <c:v>1.670649157246328</c:v>
                </c:pt>
                <c:pt idx="6965">
                  <c:v>1.6768090435253504</c:v>
                </c:pt>
                <c:pt idx="6966">
                  <c:v>1.6538279293305358</c:v>
                </c:pt>
                <c:pt idx="6967">
                  <c:v>1.6489203276247211</c:v>
                </c:pt>
                <c:pt idx="6968">
                  <c:v>1.6594801326744739</c:v>
                </c:pt>
                <c:pt idx="6969">
                  <c:v>1.6726460434576591</c:v>
                </c:pt>
                <c:pt idx="6970">
                  <c:v>1.6931225885060588</c:v>
                </c:pt>
                <c:pt idx="6971">
                  <c:v>1.6845258241386314</c:v>
                </c:pt>
                <c:pt idx="6972">
                  <c:v>1.6723075881676031</c:v>
                </c:pt>
                <c:pt idx="6973">
                  <c:v>1.7220605158058624</c:v>
                </c:pt>
                <c:pt idx="6974">
                  <c:v>1.74602315034184</c:v>
                </c:pt>
                <c:pt idx="6975">
                  <c:v>1.7538414675421379</c:v>
                </c:pt>
                <c:pt idx="6976">
                  <c:v>1.7244635483652613</c:v>
                </c:pt>
                <c:pt idx="6977">
                  <c:v>1.7027685642726595</c:v>
                </c:pt>
                <c:pt idx="6978">
                  <c:v>1.7143775807215871</c:v>
                </c:pt>
                <c:pt idx="6979">
                  <c:v>1.6770121166993843</c:v>
                </c:pt>
                <c:pt idx="6980">
                  <c:v>1.6917687673458337</c:v>
                </c:pt>
                <c:pt idx="6981">
                  <c:v>1.6765721248223113</c:v>
                </c:pt>
                <c:pt idx="6982">
                  <c:v>1.690956474649699</c:v>
                </c:pt>
                <c:pt idx="6983">
                  <c:v>1.7268665809246597</c:v>
                </c:pt>
                <c:pt idx="6984">
                  <c:v>1.7485954105462671</c:v>
                </c:pt>
                <c:pt idx="6985">
                  <c:v>1.7424355242672442</c:v>
                </c:pt>
                <c:pt idx="6986">
                  <c:v>1.7136329790834632</c:v>
                </c:pt>
                <c:pt idx="6987">
                  <c:v>1.717119068571042</c:v>
                </c:pt>
                <c:pt idx="6988">
                  <c:v>1.7499153861774861</c:v>
                </c:pt>
                <c:pt idx="6989">
                  <c:v>1.7627766871996209</c:v>
                </c:pt>
                <c:pt idx="6990">
                  <c:v>1.7363433290462331</c:v>
                </c:pt>
                <c:pt idx="6991">
                  <c:v>1.7476477357341098</c:v>
                </c:pt>
                <c:pt idx="6992">
                  <c:v>1.7170175319840251</c:v>
                </c:pt>
                <c:pt idx="6993">
                  <c:v>1.67240912475462</c:v>
                </c:pt>
                <c:pt idx="6994">
                  <c:v>1.6583293846882827</c:v>
                </c:pt>
                <c:pt idx="6995">
                  <c:v>1.6723075881676031</c:v>
                </c:pt>
                <c:pt idx="6996">
                  <c:v>1.6404589453733163</c:v>
                </c:pt>
                <c:pt idx="6997">
                  <c:v>1.6341298314492656</c:v>
                </c:pt>
                <c:pt idx="6998">
                  <c:v>1.6712922222974345</c:v>
                </c:pt>
                <c:pt idx="6999">
                  <c:v>1.6627293034590132</c:v>
                </c:pt>
                <c:pt idx="7000">
                  <c:v>1.6608001083056929</c:v>
                </c:pt>
                <c:pt idx="7001">
                  <c:v>1.6540648480335749</c:v>
                </c:pt>
                <c:pt idx="7002">
                  <c:v>1.6145671156840185</c:v>
                </c:pt>
                <c:pt idx="7003">
                  <c:v>1.5892506599878158</c:v>
                </c:pt>
                <c:pt idx="7004">
                  <c:v>1.5892506599878158</c:v>
                </c:pt>
                <c:pt idx="7005">
                  <c:v>1.6078657009409056</c:v>
                </c:pt>
                <c:pt idx="7006">
                  <c:v>1.6316929533608611</c:v>
                </c:pt>
                <c:pt idx="7007">
                  <c:v>1.6610370270087325</c:v>
                </c:pt>
                <c:pt idx="7008">
                  <c:v>1.6491572463277602</c:v>
                </c:pt>
                <c:pt idx="7009">
                  <c:v>1.6287822378663783</c:v>
                </c:pt>
                <c:pt idx="7010">
                  <c:v>1.6269884248290802</c:v>
                </c:pt>
                <c:pt idx="7011">
                  <c:v>1.6052595952074733</c:v>
                </c:pt>
                <c:pt idx="7012">
                  <c:v>1.5966289853110407</c:v>
                </c:pt>
                <c:pt idx="7013">
                  <c:v>1.6022473431259732</c:v>
                </c:pt>
                <c:pt idx="7014">
                  <c:v>1.5706017735057198</c:v>
                </c:pt>
                <c:pt idx="7015">
                  <c:v>1.5705679279767146</c:v>
                </c:pt>
                <c:pt idx="7016">
                  <c:v>1.5548297569891019</c:v>
                </c:pt>
                <c:pt idx="7017">
                  <c:v>1.5330332363094836</c:v>
                </c:pt>
                <c:pt idx="7018">
                  <c:v>1.549346781290192</c:v>
                </c:pt>
                <c:pt idx="7019">
                  <c:v>1.5304609761050565</c:v>
                </c:pt>
                <c:pt idx="7020">
                  <c:v>1.5317471062072703</c:v>
                </c:pt>
                <c:pt idx="7021">
                  <c:v>1.4944493332430788</c:v>
                </c:pt>
                <c:pt idx="7022">
                  <c:v>1.5070737155621745</c:v>
                </c:pt>
                <c:pt idx="7023">
                  <c:v>1.55144520408854</c:v>
                </c:pt>
                <c:pt idx="7024">
                  <c:v>1.5613957896161916</c:v>
                </c:pt>
                <c:pt idx="7025">
                  <c:v>1.5581127733026472</c:v>
                </c:pt>
                <c:pt idx="7026">
                  <c:v>1.5419007649089558</c:v>
                </c:pt>
                <c:pt idx="7027">
                  <c:v>1.5279902524876463</c:v>
                </c:pt>
                <c:pt idx="7028">
                  <c:v>1.5345901306437422</c:v>
                </c:pt>
                <c:pt idx="7029">
                  <c:v>1.524064171122995</c:v>
                </c:pt>
                <c:pt idx="7030">
                  <c:v>1.4759358288770055</c:v>
                </c:pt>
                <c:pt idx="7031">
                  <c:v>1.4573207879239152</c:v>
                </c:pt>
                <c:pt idx="7032">
                  <c:v>1.4401949502470726</c:v>
                </c:pt>
                <c:pt idx="7033">
                  <c:v>1.466120625465376</c:v>
                </c:pt>
                <c:pt idx="7034">
                  <c:v>1.4684559669667641</c:v>
                </c:pt>
                <c:pt idx="7035">
                  <c:v>1.5070398700331689</c:v>
                </c:pt>
                <c:pt idx="7036">
                  <c:v>1.5300886752859948</c:v>
                </c:pt>
                <c:pt idx="7037">
                  <c:v>1.5377716103702701</c:v>
                </c:pt>
                <c:pt idx="7038">
                  <c:v>1.503215325255534</c:v>
                </c:pt>
                <c:pt idx="7039">
                  <c:v>1.5193934881202193</c:v>
                </c:pt>
                <c:pt idx="7040">
                  <c:v>1.5218303662086239</c:v>
                </c:pt>
                <c:pt idx="7041">
                  <c:v>1.5325932444324106</c:v>
                </c:pt>
                <c:pt idx="7042">
                  <c:v>1.5606173424490626</c:v>
                </c:pt>
                <c:pt idx="7043">
                  <c:v>1.5621742367833211</c:v>
                </c:pt>
                <c:pt idx="7044">
                  <c:v>1.5553374399241862</c:v>
                </c:pt>
                <c:pt idx="7045">
                  <c:v>1.5585866107087258</c:v>
                </c:pt>
                <c:pt idx="7046">
                  <c:v>1.5622080823123268</c:v>
                </c:pt>
                <c:pt idx="7047">
                  <c:v>1.5341162932376635</c:v>
                </c:pt>
                <c:pt idx="7048">
                  <c:v>1.5138766668923038</c:v>
                </c:pt>
                <c:pt idx="7049">
                  <c:v>1.5179381303729782</c:v>
                </c:pt>
                <c:pt idx="7050">
                  <c:v>1.5118797806809723</c:v>
                </c:pt>
                <c:pt idx="7051">
                  <c:v>1.4944831787720845</c:v>
                </c:pt>
                <c:pt idx="7052">
                  <c:v>1.4965139105124217</c:v>
                </c:pt>
                <c:pt idx="7053">
                  <c:v>1.490624788465444</c:v>
                </c:pt>
                <c:pt idx="7054">
                  <c:v>1.4745481621877752</c:v>
                </c:pt>
                <c:pt idx="7055">
                  <c:v>1.4692344141338931</c:v>
                </c:pt>
                <c:pt idx="7056">
                  <c:v>1.477052731334191</c:v>
                </c:pt>
                <c:pt idx="7057">
                  <c:v>1.4734989507886014</c:v>
                </c:pt>
                <c:pt idx="7058">
                  <c:v>1.4627699180938198</c:v>
                </c:pt>
                <c:pt idx="7059">
                  <c:v>1.4524131862181009</c:v>
                </c:pt>
                <c:pt idx="7060">
                  <c:v>1.4170446084072297</c:v>
                </c:pt>
                <c:pt idx="7061">
                  <c:v>1.3919650714140666</c:v>
                </c:pt>
                <c:pt idx="7062">
                  <c:v>1.3819467948284032</c:v>
                </c:pt>
                <c:pt idx="7063">
                  <c:v>1.3870236241792462</c:v>
                </c:pt>
                <c:pt idx="7064">
                  <c:v>1.3722331280037907</c:v>
                </c:pt>
                <c:pt idx="7065">
                  <c:v>1.3742638597441279</c:v>
                </c:pt>
                <c:pt idx="7066">
                  <c:v>1.3599133554457459</c:v>
                </c:pt>
                <c:pt idx="7067">
                  <c:v>1.372300819061802</c:v>
                </c:pt>
                <c:pt idx="7068">
                  <c:v>1.3769376565355715</c:v>
                </c:pt>
                <c:pt idx="7069">
                  <c:v>1.3937927299803698</c:v>
                </c:pt>
                <c:pt idx="7070">
                  <c:v>1.3914235429499766</c:v>
                </c:pt>
                <c:pt idx="7071">
                  <c:v>1.4025248764638194</c:v>
                </c:pt>
                <c:pt idx="7072">
                  <c:v>1.4058078927773643</c:v>
                </c:pt>
                <c:pt idx="7073">
                  <c:v>1.3928450551682126</c:v>
                </c:pt>
                <c:pt idx="7074">
                  <c:v>1.384112908684763</c:v>
                </c:pt>
                <c:pt idx="7075">
                  <c:v>1.3778853313477293</c:v>
                </c:pt>
                <c:pt idx="7076">
                  <c:v>1.3811683476612742</c:v>
                </c:pt>
                <c:pt idx="7077">
                  <c:v>1.371420835307656</c:v>
                </c:pt>
                <c:pt idx="7078">
                  <c:v>1.3509442902592568</c:v>
                </c:pt>
                <c:pt idx="7079">
                  <c:v>1.3581533879374534</c:v>
                </c:pt>
                <c:pt idx="7080">
                  <c:v>1.3713531442496447</c:v>
                </c:pt>
                <c:pt idx="7081">
                  <c:v>1.3804914370811621</c:v>
                </c:pt>
                <c:pt idx="7082">
                  <c:v>1.3741284776281057</c:v>
                </c:pt>
                <c:pt idx="7083">
                  <c:v>1.3447505584512287</c:v>
                </c:pt>
                <c:pt idx="7084">
                  <c:v>1.3489135585189196</c:v>
                </c:pt>
                <c:pt idx="7085">
                  <c:v>1.33222771271915</c:v>
                </c:pt>
                <c:pt idx="7086">
                  <c:v>1.3262370540851554</c:v>
                </c:pt>
                <c:pt idx="7087">
                  <c:v>1.3224463548365266</c:v>
                </c:pt>
                <c:pt idx="7088">
                  <c:v>1.3213294523793411</c:v>
                </c:pt>
                <c:pt idx="7089">
                  <c:v>1.3212279157923241</c:v>
                </c:pt>
                <c:pt idx="7090">
                  <c:v>1.3204833141542003</c:v>
                </c:pt>
                <c:pt idx="7091">
                  <c:v>1.3234278751776891</c:v>
                </c:pt>
                <c:pt idx="7092">
                  <c:v>1.3252893792729981</c:v>
                </c:pt>
                <c:pt idx="7093">
                  <c:v>1.3116496310837338</c:v>
                </c:pt>
                <c:pt idx="7094">
                  <c:v>1.3064712651458743</c:v>
                </c:pt>
                <c:pt idx="7095">
                  <c:v>1.3114465579097003</c:v>
                </c:pt>
                <c:pt idx="7096">
                  <c:v>1.3149664929262848</c:v>
                </c:pt>
                <c:pt idx="7097">
                  <c:v>1.3033236309483516</c:v>
                </c:pt>
                <c:pt idx="7098">
                  <c:v>1.2715426792120761</c:v>
                </c:pt>
                <c:pt idx="7099">
                  <c:v>1.2584444594869018</c:v>
                </c:pt>
                <c:pt idx="7100">
                  <c:v>1.2467000609219521</c:v>
                </c:pt>
                <c:pt idx="7101">
                  <c:v>1.2465308332769243</c:v>
                </c:pt>
                <c:pt idx="7102">
                  <c:v>1.2191836458403844</c:v>
                </c:pt>
                <c:pt idx="7103">
                  <c:v>1.1980640357408792</c:v>
                </c:pt>
                <c:pt idx="7104">
                  <c:v>1.2189467271373453</c:v>
                </c:pt>
                <c:pt idx="7105">
                  <c:v>1.2159344750558452</c:v>
                </c:pt>
                <c:pt idx="7106">
                  <c:v>1.2066946456373113</c:v>
                </c:pt>
                <c:pt idx="7107">
                  <c:v>1.2250050768293508</c:v>
                </c:pt>
                <c:pt idx="7108">
                  <c:v>1.2500846138225139</c:v>
                </c:pt>
                <c:pt idx="7109">
                  <c:v>1.2554660529344073</c:v>
                </c:pt>
                <c:pt idx="7110">
                  <c:v>1.2469369796249916</c:v>
                </c:pt>
                <c:pt idx="7111">
                  <c:v>1.2575983212617614</c:v>
                </c:pt>
                <c:pt idx="7112">
                  <c:v>1.2699519393488119</c:v>
                </c:pt>
                <c:pt idx="7113">
                  <c:v>1.2509645975766603</c:v>
                </c:pt>
                <c:pt idx="7114">
                  <c:v>1.2530630203750088</c:v>
                </c:pt>
                <c:pt idx="7115">
                  <c:v>1.256075272456509</c:v>
                </c:pt>
                <c:pt idx="7116">
                  <c:v>1.251438434982739</c:v>
                </c:pt>
                <c:pt idx="7117">
                  <c:v>1.2415216949840926</c:v>
                </c:pt>
                <c:pt idx="7118">
                  <c:v>1.2407432478169635</c:v>
                </c:pt>
                <c:pt idx="7119">
                  <c:v>1.2344818249509242</c:v>
                </c:pt>
                <c:pt idx="7120">
                  <c:v>1.2533337846070536</c:v>
                </c:pt>
                <c:pt idx="7121">
                  <c:v>1.2409124754619918</c:v>
                </c:pt>
                <c:pt idx="7122">
                  <c:v>1.2425709063832668</c:v>
                </c:pt>
                <c:pt idx="7123">
                  <c:v>1.2478846544371489</c:v>
                </c:pt>
                <c:pt idx="7124">
                  <c:v>1.2418601502741491</c:v>
                </c:pt>
                <c:pt idx="7125">
                  <c:v>1.2345833615379411</c:v>
                </c:pt>
                <c:pt idx="7126">
                  <c:v>1.2422324510932108</c:v>
                </c:pt>
                <c:pt idx="7127">
                  <c:v>1.2000270764232046</c:v>
                </c:pt>
                <c:pt idx="7128">
                  <c:v>1.1659446287145472</c:v>
                </c:pt>
                <c:pt idx="7129">
                  <c:v>1.1500710756109118</c:v>
                </c:pt>
                <c:pt idx="7130">
                  <c:v>1.1353482704934676</c:v>
                </c:pt>
                <c:pt idx="7131">
                  <c:v>1.1522371894672716</c:v>
                </c:pt>
                <c:pt idx="7132">
                  <c:v>1.1362282542476141</c:v>
                </c:pt>
                <c:pt idx="7133">
                  <c:v>1.1209300751370743</c:v>
                </c:pt>
                <c:pt idx="7134">
                  <c:v>1.1216746767751982</c:v>
                </c:pt>
                <c:pt idx="7135">
                  <c:v>1.1450280917890749</c:v>
                </c:pt>
                <c:pt idx="7136">
                  <c:v>1.1618154741758615</c:v>
                </c:pt>
                <c:pt idx="7137">
                  <c:v>1.1781628646855751</c:v>
                </c:pt>
                <c:pt idx="7138">
                  <c:v>1.1460434576592435</c:v>
                </c:pt>
                <c:pt idx="7139">
                  <c:v>1.1267515061260407</c:v>
                </c:pt>
                <c:pt idx="7140">
                  <c:v>1.1315914167738441</c:v>
                </c:pt>
                <c:pt idx="7141">
                  <c:v>1.1870642388140529</c:v>
                </c:pt>
                <c:pt idx="7142">
                  <c:v>1.1853042713057604</c:v>
                </c:pt>
                <c:pt idx="7143">
                  <c:v>1.2204697759425978</c:v>
                </c:pt>
                <c:pt idx="7144">
                  <c:v>1.2160360116428621</c:v>
                </c:pt>
                <c:pt idx="7145">
                  <c:v>1.2085561497326203</c:v>
                </c:pt>
                <c:pt idx="7146">
                  <c:v>1.2251404589453738</c:v>
                </c:pt>
                <c:pt idx="7147">
                  <c:v>1.2757733703377783</c:v>
                </c:pt>
                <c:pt idx="7148">
                  <c:v>1.2798686793474583</c:v>
                </c:pt>
                <c:pt idx="7149">
                  <c:v>1.2875516144317336</c:v>
                </c:pt>
                <c:pt idx="7150">
                  <c:v>1.2697827117037841</c:v>
                </c:pt>
                <c:pt idx="7151">
                  <c:v>1.2627428416706152</c:v>
                </c:pt>
                <c:pt idx="7152">
                  <c:v>1.2486631016042784</c:v>
                </c:pt>
                <c:pt idx="7153">
                  <c:v>1.2625059229675761</c:v>
                </c:pt>
                <c:pt idx="7154">
                  <c:v>1.2637582075407843</c:v>
                </c:pt>
                <c:pt idx="7155">
                  <c:v>1.256955256210655</c:v>
                </c:pt>
                <c:pt idx="7156">
                  <c:v>1.2409124754619918</c:v>
                </c:pt>
                <c:pt idx="7157">
                  <c:v>1.2404386380559131</c:v>
                </c:pt>
                <c:pt idx="7158">
                  <c:v>1.2407770933459688</c:v>
                </c:pt>
                <c:pt idx="7159">
                  <c:v>1.2512692073377107</c:v>
                </c:pt>
                <c:pt idx="7160">
                  <c:v>1.2536045488390988</c:v>
                </c:pt>
                <c:pt idx="7161">
                  <c:v>1.2606105733432615</c:v>
                </c:pt>
                <c:pt idx="7162">
                  <c:v>1.2644012725918907</c:v>
                </c:pt>
                <c:pt idx="7163">
                  <c:v>1.2709334596899753</c:v>
                </c:pt>
                <c:pt idx="7164">
                  <c:v>1.2749610776416436</c:v>
                </c:pt>
                <c:pt idx="7165">
                  <c:v>1.2788533134772897</c:v>
                </c:pt>
                <c:pt idx="7166">
                  <c:v>1.2779056386651324</c:v>
                </c:pt>
                <c:pt idx="7167">
                  <c:v>1.2962160698571723</c:v>
                </c:pt>
                <c:pt idx="7168">
                  <c:v>1.2763148988018682</c:v>
                </c:pt>
                <c:pt idx="7169">
                  <c:v>1.2597982806471264</c:v>
                </c:pt>
                <c:pt idx="7170">
                  <c:v>1.2646720368239359</c:v>
                </c:pt>
                <c:pt idx="7171">
                  <c:v>1.2734041833073855</c:v>
                </c:pt>
                <c:pt idx="7172">
                  <c:v>1.2606444188722667</c:v>
                </c:pt>
                <c:pt idx="7173">
                  <c:v>1.2751979963446831</c:v>
                </c:pt>
                <c:pt idx="7174">
                  <c:v>1.2964529885602114</c:v>
                </c:pt>
                <c:pt idx="7175">
                  <c:v>1.287957760779801</c:v>
                </c:pt>
                <c:pt idx="7176">
                  <c:v>1.2961483787991606</c:v>
                </c:pt>
                <c:pt idx="7177">
                  <c:v>1.2769918093819808</c:v>
                </c:pt>
                <c:pt idx="7178">
                  <c:v>1.2783117850131998</c:v>
                </c:pt>
                <c:pt idx="7179">
                  <c:v>1.2639612807148177</c:v>
                </c:pt>
                <c:pt idx="7180">
                  <c:v>1.2502199959385369</c:v>
                </c:pt>
                <c:pt idx="7181">
                  <c:v>1.2521491910918567</c:v>
                </c:pt>
                <c:pt idx="7182">
                  <c:v>1.252758410613958</c:v>
                </c:pt>
                <c:pt idx="7183">
                  <c:v>1.2389155892506603</c:v>
                </c:pt>
                <c:pt idx="7184">
                  <c:v>1.2070331009273678</c:v>
                </c:pt>
                <c:pt idx="7185">
                  <c:v>1.1845258241386318</c:v>
                </c:pt>
                <c:pt idx="7186">
                  <c:v>1.1822581736952551</c:v>
                </c:pt>
                <c:pt idx="7187">
                  <c:v>1.1602247343125973</c:v>
                </c:pt>
                <c:pt idx="7188">
                  <c:v>1.1688553442090299</c:v>
                </c:pt>
                <c:pt idx="7189">
                  <c:v>1.171630677587491</c:v>
                </c:pt>
                <c:pt idx="7190">
                  <c:v>1.1775536451634738</c:v>
                </c:pt>
                <c:pt idx="7191">
                  <c:v>1.215460637649767</c:v>
                </c:pt>
                <c:pt idx="7192">
                  <c:v>1.2140729709605362</c:v>
                </c:pt>
                <c:pt idx="7193">
                  <c:v>1.2140391254315306</c:v>
                </c:pt>
                <c:pt idx="7194">
                  <c:v>1.2116699384011373</c:v>
                </c:pt>
                <c:pt idx="7195">
                  <c:v>1.2096730521898058</c:v>
                </c:pt>
                <c:pt idx="7196">
                  <c:v>1.2005347593582889</c:v>
                </c:pt>
                <c:pt idx="7197">
                  <c:v>1.205306978948081</c:v>
                </c:pt>
                <c:pt idx="7198">
                  <c:v>1.1928179787450079</c:v>
                </c:pt>
                <c:pt idx="7199">
                  <c:v>1.1832735395654237</c:v>
                </c:pt>
                <c:pt idx="7200">
                  <c:v>1.1783320923306033</c:v>
                </c:pt>
                <c:pt idx="7201">
                  <c:v>1.1715629865294797</c:v>
                </c:pt>
                <c:pt idx="7202">
                  <c:v>1.1830366208623841</c:v>
                </c:pt>
                <c:pt idx="7203">
                  <c:v>1.1745413930819741</c:v>
                </c:pt>
                <c:pt idx="7204">
                  <c:v>1.1549786773167265</c:v>
                </c:pt>
                <c:pt idx="7205">
                  <c:v>1.1362620997766193</c:v>
                </c:pt>
                <c:pt idx="7206">
                  <c:v>1.1441142625059233</c:v>
                </c:pt>
                <c:pt idx="7207">
                  <c:v>1.1735260272118055</c:v>
                </c:pt>
                <c:pt idx="7208">
                  <c:v>1.1804643606579575</c:v>
                </c:pt>
                <c:pt idx="7209">
                  <c:v>1.2197928653624857</c:v>
                </c:pt>
                <c:pt idx="7210">
                  <c:v>1.219860556420497</c:v>
                </c:pt>
                <c:pt idx="7211">
                  <c:v>1.2177621336221485</c:v>
                </c:pt>
                <c:pt idx="7212">
                  <c:v>1.212583767684289</c:v>
                </c:pt>
                <c:pt idx="7213">
                  <c:v>1.1847288973126653</c:v>
                </c:pt>
                <c:pt idx="7214">
                  <c:v>1.196371759290598</c:v>
                </c:pt>
                <c:pt idx="7215">
                  <c:v>1.1962702227035811</c:v>
                </c:pt>
                <c:pt idx="7216">
                  <c:v>1.2100115074798623</c:v>
                </c:pt>
                <c:pt idx="7217">
                  <c:v>1.2000947674812159</c:v>
                </c:pt>
                <c:pt idx="7218">
                  <c:v>1.2020578081635418</c:v>
                </c:pt>
                <c:pt idx="7219">
                  <c:v>1.1972178975157384</c:v>
                </c:pt>
                <c:pt idx="7220">
                  <c:v>1.1998916943071825</c:v>
                </c:pt>
                <c:pt idx="7221">
                  <c:v>1.2056792797671432</c:v>
                </c:pt>
                <c:pt idx="7222">
                  <c:v>1.2089284505516824</c:v>
                </c:pt>
                <c:pt idx="7223">
                  <c:v>1.1709537670073784</c:v>
                </c:pt>
                <c:pt idx="7224">
                  <c:v>1.1690584173830638</c:v>
                </c:pt>
                <c:pt idx="7225">
                  <c:v>1.1612062546537603</c:v>
                </c:pt>
                <c:pt idx="7226">
                  <c:v>1.1562648074189403</c:v>
                </c:pt>
                <c:pt idx="7227">
                  <c:v>1.1661815474175863</c:v>
                </c:pt>
                <c:pt idx="7228">
                  <c:v>1.1441142625059233</c:v>
                </c:pt>
                <c:pt idx="7229">
                  <c:v>1.2123130034522442</c:v>
                </c:pt>
                <c:pt idx="7230">
                  <c:v>1.206728491166317</c:v>
                </c:pt>
                <c:pt idx="7231">
                  <c:v>1.2195559466594461</c:v>
                </c:pt>
                <c:pt idx="7232">
                  <c:v>1.2027008732146482</c:v>
                </c:pt>
                <c:pt idx="7233">
                  <c:v>1.1809043525350305</c:v>
                </c:pt>
                <c:pt idx="7234">
                  <c:v>1.1675692141068166</c:v>
                </c:pt>
                <c:pt idx="7235">
                  <c:v>1.1821904826372438</c:v>
                </c:pt>
                <c:pt idx="7236">
                  <c:v>1.190618019359643</c:v>
                </c:pt>
                <c:pt idx="7237">
                  <c:v>1.2015162796994519</c:v>
                </c:pt>
                <c:pt idx="7238">
                  <c:v>1.230691125702295</c:v>
                </c:pt>
                <c:pt idx="7239">
                  <c:v>1.2299465240641712</c:v>
                </c:pt>
                <c:pt idx="7240">
                  <c:v>1.1935287348541261</c:v>
                </c:pt>
                <c:pt idx="7241">
                  <c:v>1.16831381574494</c:v>
                </c:pt>
                <c:pt idx="7242">
                  <c:v>1.1931225885060583</c:v>
                </c:pt>
                <c:pt idx="7243">
                  <c:v>1.204426995193935</c:v>
                </c:pt>
                <c:pt idx="7244">
                  <c:v>1.2188451905503288</c:v>
                </c:pt>
                <c:pt idx="7245">
                  <c:v>1.2355310363500984</c:v>
                </c:pt>
                <c:pt idx="7246">
                  <c:v>1.2387125160766268</c:v>
                </c:pt>
                <c:pt idx="7247">
                  <c:v>1.2215189873417724</c:v>
                </c:pt>
                <c:pt idx="7248">
                  <c:v>1.2205036214716039</c:v>
                </c:pt>
                <c:pt idx="7249">
                  <c:v>1.1997224666621538</c:v>
                </c:pt>
                <c:pt idx="7250">
                  <c:v>1.1875380762201315</c:v>
                </c:pt>
                <c:pt idx="7251">
                  <c:v>1.1709537670073784</c:v>
                </c:pt>
                <c:pt idx="7252">
                  <c:v>1.1520341162932377</c:v>
                </c:pt>
                <c:pt idx="7253">
                  <c:v>1.1609016448927099</c:v>
                </c:pt>
                <c:pt idx="7254">
                  <c:v>1.152643335815339</c:v>
                </c:pt>
                <c:pt idx="7255">
                  <c:v>1.132776010289041</c:v>
                </c:pt>
                <c:pt idx="7256">
                  <c:v>1.1127056115887095</c:v>
                </c:pt>
                <c:pt idx="7257">
                  <c:v>1.1039057740472487</c:v>
                </c:pt>
                <c:pt idx="7258">
                  <c:v>1.0883706762336698</c:v>
                </c:pt>
                <c:pt idx="7259">
                  <c:v>1.0982874162323162</c:v>
                </c:pt>
                <c:pt idx="7260">
                  <c:v>1.0740201719352873</c:v>
                </c:pt>
                <c:pt idx="7261">
                  <c:v>1.0760847492046302</c:v>
                </c:pt>
                <c:pt idx="7262">
                  <c:v>1.0707710011507481</c:v>
                </c:pt>
                <c:pt idx="7263">
                  <c:v>1.058620456237731</c:v>
                </c:pt>
                <c:pt idx="7264">
                  <c:v>1.0522913423136804</c:v>
                </c:pt>
                <c:pt idx="7265">
                  <c:v>1.0592973668178436</c:v>
                </c:pt>
                <c:pt idx="7266">
                  <c:v>1.0301225208150004</c:v>
                </c:pt>
                <c:pt idx="7267">
                  <c:v>1.0368577810871185</c:v>
                </c:pt>
                <c:pt idx="7268">
                  <c:v>1.0398361876396129</c:v>
                </c:pt>
                <c:pt idx="7269">
                  <c:v>1.0255872199282479</c:v>
                </c:pt>
                <c:pt idx="7270">
                  <c:v>1.0627157652474111</c:v>
                </c:pt>
                <c:pt idx="7271">
                  <c:v>1.0932105868814732</c:v>
                </c:pt>
                <c:pt idx="7272">
                  <c:v>1.0872876193054899</c:v>
                </c:pt>
                <c:pt idx="7273">
                  <c:v>1.0906383266770461</c:v>
                </c:pt>
                <c:pt idx="7274">
                  <c:v>1.1028904081770801</c:v>
                </c:pt>
                <c:pt idx="7275">
                  <c:v>1.1008935219657485</c:v>
                </c:pt>
                <c:pt idx="7276">
                  <c:v>1.0846476680430515</c:v>
                </c:pt>
                <c:pt idx="7277">
                  <c:v>1.0785216272930347</c:v>
                </c:pt>
                <c:pt idx="7278">
                  <c:v>1.079909293982265</c:v>
                </c:pt>
                <c:pt idx="7279">
                  <c:v>1.0791308468151355</c:v>
                </c:pt>
                <c:pt idx="7280">
                  <c:v>1.0712109930278211</c:v>
                </c:pt>
                <c:pt idx="7281">
                  <c:v>1.0662357002639955</c:v>
                </c:pt>
                <c:pt idx="7282">
                  <c:v>1.0508359845664392</c:v>
                </c:pt>
                <c:pt idx="7283">
                  <c:v>1.0711094564408041</c:v>
                </c:pt>
                <c:pt idx="7284">
                  <c:v>1.0537805455899276</c:v>
                </c:pt>
                <c:pt idx="7285">
                  <c:v>1.0860353347322822</c:v>
                </c:pt>
                <c:pt idx="7286">
                  <c:v>1.0879983754146076</c:v>
                </c:pt>
                <c:pt idx="7287">
                  <c:v>1.1041426927502882</c:v>
                </c:pt>
                <c:pt idx="7288">
                  <c:v>1.0942936438096527</c:v>
                </c:pt>
                <c:pt idx="7289">
                  <c:v>1.0967982129560685</c:v>
                </c:pt>
                <c:pt idx="7290">
                  <c:v>1.0898937250389227</c:v>
                </c:pt>
                <c:pt idx="7291">
                  <c:v>1.0854599607391862</c:v>
                </c:pt>
                <c:pt idx="7292">
                  <c:v>1.0990320178704391</c:v>
                </c:pt>
                <c:pt idx="7293">
                  <c:v>1.0905706356190348</c:v>
                </c:pt>
                <c:pt idx="7294">
                  <c:v>1.0770324240167874</c:v>
                </c:pt>
                <c:pt idx="7295">
                  <c:v>1.0543559195830232</c:v>
                </c:pt>
                <c:pt idx="7296">
                  <c:v>1.0489067894131185</c:v>
                </c:pt>
                <c:pt idx="7297">
                  <c:v>1.0565897244973939</c:v>
                </c:pt>
                <c:pt idx="7298">
                  <c:v>1.0525621065457256</c:v>
                </c:pt>
                <c:pt idx="7299">
                  <c:v>1.0351993501658434</c:v>
                </c:pt>
                <c:pt idx="7300">
                  <c:v>1.0306302037500847</c:v>
                </c:pt>
                <c:pt idx="7301">
                  <c:v>1.0253164556962027</c:v>
                </c:pt>
                <c:pt idx="7302">
                  <c:v>1.0315440330332364</c:v>
                </c:pt>
                <c:pt idx="7303">
                  <c:v>1.0200703987003319</c:v>
                </c:pt>
                <c:pt idx="7304">
                  <c:v>1.0309686590401412</c:v>
                </c:pt>
                <c:pt idx="7305">
                  <c:v>1.0217288296216074</c:v>
                </c:pt>
                <c:pt idx="7306">
                  <c:v>1.0102890408177081</c:v>
                </c:pt>
                <c:pt idx="7307">
                  <c:v>0.99448317877208425</c:v>
                </c:pt>
                <c:pt idx="7308">
                  <c:v>1.0046706830027752</c:v>
                </c:pt>
                <c:pt idx="7309">
                  <c:v>1.0060921952210116</c:v>
                </c:pt>
                <c:pt idx="7310">
                  <c:v>1.0079198537873149</c:v>
                </c:pt>
                <c:pt idx="7311">
                  <c:v>1.0026737967914441</c:v>
                </c:pt>
                <c:pt idx="7312">
                  <c:v>0.98443105665741593</c:v>
                </c:pt>
                <c:pt idx="7313">
                  <c:v>0.99167399986461824</c:v>
                </c:pt>
                <c:pt idx="7314">
                  <c:v>0.9988154064848036</c:v>
                </c:pt>
                <c:pt idx="7315">
                  <c:v>0.99593853651932607</c:v>
                </c:pt>
                <c:pt idx="7316">
                  <c:v>0.97732349556623599</c:v>
                </c:pt>
                <c:pt idx="7317">
                  <c:v>0.96811751167670757</c:v>
                </c:pt>
                <c:pt idx="7318">
                  <c:v>0.97404047925269088</c:v>
                </c:pt>
                <c:pt idx="7319">
                  <c:v>0.96202531645569644</c:v>
                </c:pt>
                <c:pt idx="7320">
                  <c:v>0.95193934881202225</c:v>
                </c:pt>
                <c:pt idx="7321">
                  <c:v>0.97140052799025267</c:v>
                </c:pt>
                <c:pt idx="7322">
                  <c:v>0.9851756582955391</c:v>
                </c:pt>
                <c:pt idx="7323">
                  <c:v>0.98016652000270765</c:v>
                </c:pt>
                <c:pt idx="7324">
                  <c:v>0.98828944696405641</c:v>
                </c:pt>
                <c:pt idx="7325">
                  <c:v>0.99908617071684835</c:v>
                </c:pt>
                <c:pt idx="7326">
                  <c:v>0.98822175590604511</c:v>
                </c:pt>
                <c:pt idx="7327">
                  <c:v>0.98598795099167402</c:v>
                </c:pt>
                <c:pt idx="7328">
                  <c:v>0.97329587761456726</c:v>
                </c:pt>
                <c:pt idx="7329">
                  <c:v>0.97827117037839306</c:v>
                </c:pt>
                <c:pt idx="7330">
                  <c:v>0.97353279631760659</c:v>
                </c:pt>
                <c:pt idx="7331">
                  <c:v>0.96121302375956152</c:v>
                </c:pt>
                <c:pt idx="7332">
                  <c:v>0.95464699113247153</c:v>
                </c:pt>
                <c:pt idx="7333">
                  <c:v>0.95752386109794907</c:v>
                </c:pt>
                <c:pt idx="7334">
                  <c:v>0.97146821904826397</c:v>
                </c:pt>
                <c:pt idx="7335">
                  <c:v>0.9719420564543424</c:v>
                </c:pt>
                <c:pt idx="7336">
                  <c:v>0.96801597508969084</c:v>
                </c:pt>
                <c:pt idx="7337">
                  <c:v>0.97096053611317967</c:v>
                </c:pt>
                <c:pt idx="7338">
                  <c:v>0.96886211331483141</c:v>
                </c:pt>
                <c:pt idx="7339">
                  <c:v>0.97796656061734244</c:v>
                </c:pt>
                <c:pt idx="7340">
                  <c:v>0.98290800785216281</c:v>
                </c:pt>
                <c:pt idx="7341">
                  <c:v>0.96656061734244902</c:v>
                </c:pt>
                <c:pt idx="7342">
                  <c:v>0.96781290191565694</c:v>
                </c:pt>
                <c:pt idx="7343">
                  <c:v>0.96916672307588159</c:v>
                </c:pt>
                <c:pt idx="7344">
                  <c:v>0.96889595884383684</c:v>
                </c:pt>
                <c:pt idx="7345">
                  <c:v>0.97319434102755031</c:v>
                </c:pt>
                <c:pt idx="7346">
                  <c:v>0.98595410546266837</c:v>
                </c:pt>
                <c:pt idx="7347">
                  <c:v>0.97725580450822469</c:v>
                </c:pt>
                <c:pt idx="7348">
                  <c:v>0.97241589386042104</c:v>
                </c:pt>
                <c:pt idx="7349">
                  <c:v>0.97437893454274715</c:v>
                </c:pt>
                <c:pt idx="7350">
                  <c:v>0.97525891829689315</c:v>
                </c:pt>
                <c:pt idx="7351">
                  <c:v>0.95887768225817371</c:v>
                </c:pt>
                <c:pt idx="7352">
                  <c:v>0.95122859270290405</c:v>
                </c:pt>
                <c:pt idx="7353">
                  <c:v>0.9424287551614432</c:v>
                </c:pt>
                <c:pt idx="7354">
                  <c:v>0.9382657550937521</c:v>
                </c:pt>
                <c:pt idx="7355">
                  <c:v>0.93017667366140944</c:v>
                </c:pt>
                <c:pt idx="7356">
                  <c:v>0.92977052731334187</c:v>
                </c:pt>
                <c:pt idx="7357">
                  <c:v>0.92638597441278003</c:v>
                </c:pt>
                <c:pt idx="7358">
                  <c:v>0.90834630745278577</c:v>
                </c:pt>
                <c:pt idx="7359">
                  <c:v>0.90171258376768448</c:v>
                </c:pt>
                <c:pt idx="7360">
                  <c:v>0.89846341298314503</c:v>
                </c:pt>
                <c:pt idx="7361">
                  <c:v>0.89534962431462817</c:v>
                </c:pt>
                <c:pt idx="7362">
                  <c:v>0.89213429905909436</c:v>
                </c:pt>
                <c:pt idx="7363">
                  <c:v>0.89568807960468444</c:v>
                </c:pt>
                <c:pt idx="7364">
                  <c:v>0.88675285994720121</c:v>
                </c:pt>
                <c:pt idx="7365">
                  <c:v>0.88566980301902132</c:v>
                </c:pt>
                <c:pt idx="7366">
                  <c:v>0.89372503892235833</c:v>
                </c:pt>
                <c:pt idx="7367">
                  <c:v>0.88895281933256642</c:v>
                </c:pt>
                <c:pt idx="7368">
                  <c:v>0.89267582752318453</c:v>
                </c:pt>
                <c:pt idx="7369">
                  <c:v>0.89210045353008871</c:v>
                </c:pt>
                <c:pt idx="7370">
                  <c:v>0.89524808772761144</c:v>
                </c:pt>
                <c:pt idx="7371">
                  <c:v>0.89050971366682496</c:v>
                </c:pt>
                <c:pt idx="7372">
                  <c:v>0.89446964056048217</c:v>
                </c:pt>
                <c:pt idx="7373">
                  <c:v>0.87879916063088093</c:v>
                </c:pt>
                <c:pt idx="7374">
                  <c:v>0.88671901441819556</c:v>
                </c:pt>
                <c:pt idx="7375">
                  <c:v>0.89436810397346544</c:v>
                </c:pt>
                <c:pt idx="7376">
                  <c:v>0.89666959994584716</c:v>
                </c:pt>
                <c:pt idx="7377">
                  <c:v>0.89545116090164489</c:v>
                </c:pt>
                <c:pt idx="7378">
                  <c:v>0.89176199824003288</c:v>
                </c:pt>
                <c:pt idx="7379">
                  <c:v>0.89111893318892577</c:v>
                </c:pt>
                <c:pt idx="7380">
                  <c:v>0.89128816083395379</c:v>
                </c:pt>
                <c:pt idx="7381">
                  <c:v>0.8941311852704259</c:v>
                </c:pt>
                <c:pt idx="7382">
                  <c:v>0.90232180328978528</c:v>
                </c:pt>
                <c:pt idx="7383">
                  <c:v>0.90526636431327412</c:v>
                </c:pt>
                <c:pt idx="7384">
                  <c:v>0.91301699045556095</c:v>
                </c:pt>
                <c:pt idx="7385">
                  <c:v>0.90079875448453284</c:v>
                </c:pt>
                <c:pt idx="7386">
                  <c:v>0.89907263250524627</c:v>
                </c:pt>
                <c:pt idx="7387">
                  <c:v>0.88394368103973475</c:v>
                </c:pt>
                <c:pt idx="7388">
                  <c:v>0.87375617680904361</c:v>
                </c:pt>
                <c:pt idx="7389">
                  <c:v>0.87348541257699863</c:v>
                </c:pt>
                <c:pt idx="7390">
                  <c:v>0.86482095715156038</c:v>
                </c:pt>
                <c:pt idx="7391">
                  <c:v>0.89013741284776304</c:v>
                </c:pt>
                <c:pt idx="7392">
                  <c:v>0.90455560820415637</c:v>
                </c:pt>
                <c:pt idx="7393">
                  <c:v>0.89497732349556625</c:v>
                </c:pt>
                <c:pt idx="7394">
                  <c:v>0.89873417721519</c:v>
                </c:pt>
                <c:pt idx="7395">
                  <c:v>0.89836187639612808</c:v>
                </c:pt>
                <c:pt idx="7396">
                  <c:v>0.87768225817369538</c:v>
                </c:pt>
                <c:pt idx="7397">
                  <c:v>0.88583903066404956</c:v>
                </c:pt>
                <c:pt idx="7398">
                  <c:v>0.88306369728558876</c:v>
                </c:pt>
                <c:pt idx="7399">
                  <c:v>0.87500846138225152</c:v>
                </c:pt>
                <c:pt idx="7400">
                  <c:v>0.85223042036147034</c:v>
                </c:pt>
                <c:pt idx="7401">
                  <c:v>0.85165504636837497</c:v>
                </c:pt>
                <c:pt idx="7402">
                  <c:v>0.84373519258106011</c:v>
                </c:pt>
                <c:pt idx="7403">
                  <c:v>0.84075678602856585</c:v>
                </c:pt>
                <c:pt idx="7404">
                  <c:v>0.84366750152304903</c:v>
                </c:pt>
                <c:pt idx="7405">
                  <c:v>0.83588302985175655</c:v>
                </c:pt>
                <c:pt idx="7406">
                  <c:v>0.84163676978271185</c:v>
                </c:pt>
                <c:pt idx="7407">
                  <c:v>0.8605225749678469</c:v>
                </c:pt>
                <c:pt idx="7408">
                  <c:v>0.86512556691261122</c:v>
                </c:pt>
                <c:pt idx="7409">
                  <c:v>0.84112908684762755</c:v>
                </c:pt>
                <c:pt idx="7410">
                  <c:v>0.84451363974818938</c:v>
                </c:pt>
                <c:pt idx="7411">
                  <c:v>0.8453259324443243</c:v>
                </c:pt>
                <c:pt idx="7412">
                  <c:v>0.82708319231029614</c:v>
                </c:pt>
                <c:pt idx="7413">
                  <c:v>0.81791105394977337</c:v>
                </c:pt>
                <c:pt idx="7414">
                  <c:v>0.81571109456440816</c:v>
                </c:pt>
                <c:pt idx="7415">
                  <c:v>0.81428958234617199</c:v>
                </c:pt>
                <c:pt idx="7416">
                  <c:v>0.79679144385026746</c:v>
                </c:pt>
                <c:pt idx="7417">
                  <c:v>0.78684085832261585</c:v>
                </c:pt>
                <c:pt idx="7418">
                  <c:v>0.80176673661409348</c:v>
                </c:pt>
                <c:pt idx="7419">
                  <c:v>0.80440668787653169</c:v>
                </c:pt>
                <c:pt idx="7420">
                  <c:v>0.81259730589589108</c:v>
                </c:pt>
                <c:pt idx="7421">
                  <c:v>0.81276653354091954</c:v>
                </c:pt>
                <c:pt idx="7422">
                  <c:v>0.8023082650781832</c:v>
                </c:pt>
                <c:pt idx="7423">
                  <c:v>0.80562512692073396</c:v>
                </c:pt>
                <c:pt idx="7424">
                  <c:v>0.80532051715968334</c:v>
                </c:pt>
                <c:pt idx="7425">
                  <c:v>0.77208420767616626</c:v>
                </c:pt>
                <c:pt idx="7426">
                  <c:v>0.77232112637920536</c:v>
                </c:pt>
                <c:pt idx="7427">
                  <c:v>0.78904081770798107</c:v>
                </c:pt>
                <c:pt idx="7428">
                  <c:v>0.78910850876599214</c:v>
                </c:pt>
                <c:pt idx="7429">
                  <c:v>0.78904081770798107</c:v>
                </c:pt>
                <c:pt idx="7430">
                  <c:v>0.77232112637920536</c:v>
                </c:pt>
                <c:pt idx="7431">
                  <c:v>0.75722602044269993</c:v>
                </c:pt>
                <c:pt idx="7432">
                  <c:v>0.75854599607391893</c:v>
                </c:pt>
                <c:pt idx="7433">
                  <c:v>0.78389629729912702</c:v>
                </c:pt>
                <c:pt idx="7434">
                  <c:v>0.78768699654775642</c:v>
                </c:pt>
                <c:pt idx="7435">
                  <c:v>0.78616394774250331</c:v>
                </c:pt>
                <c:pt idx="7436">
                  <c:v>0.77875177689027275</c:v>
                </c:pt>
                <c:pt idx="7437">
                  <c:v>0.7747580044676099</c:v>
                </c:pt>
                <c:pt idx="7438">
                  <c:v>0.77472415893860447</c:v>
                </c:pt>
                <c:pt idx="7439">
                  <c:v>0.77201651661815474</c:v>
                </c:pt>
                <c:pt idx="7440">
                  <c:v>0.77337033777837982</c:v>
                </c:pt>
                <c:pt idx="7441">
                  <c:v>0.76037365464022222</c:v>
                </c:pt>
                <c:pt idx="7442">
                  <c:v>0.76179516685845794</c:v>
                </c:pt>
                <c:pt idx="7443">
                  <c:v>0.76159209368442449</c:v>
                </c:pt>
                <c:pt idx="7444">
                  <c:v>0.74257090638326684</c:v>
                </c:pt>
                <c:pt idx="7445">
                  <c:v>0.74054017464292965</c:v>
                </c:pt>
                <c:pt idx="7446">
                  <c:v>0.74206322344818276</c:v>
                </c:pt>
                <c:pt idx="7447">
                  <c:v>0.73813714208353076</c:v>
                </c:pt>
                <c:pt idx="7448">
                  <c:v>0.73512489000203085</c:v>
                </c:pt>
                <c:pt idx="7449">
                  <c:v>0.73322954037771626</c:v>
                </c:pt>
                <c:pt idx="7450">
                  <c:v>0.73590333716916012</c:v>
                </c:pt>
                <c:pt idx="7451">
                  <c:v>0.72101130440668793</c:v>
                </c:pt>
                <c:pt idx="7452">
                  <c:v>0.71018073512489011</c:v>
                </c:pt>
                <c:pt idx="7453">
                  <c:v>0.70892845055168219</c:v>
                </c:pt>
                <c:pt idx="7454">
                  <c:v>0.71045149935693508</c:v>
                </c:pt>
                <c:pt idx="7455">
                  <c:v>0.71302375956136199</c:v>
                </c:pt>
                <c:pt idx="7456">
                  <c:v>0.72351587355310376</c:v>
                </c:pt>
                <c:pt idx="7457">
                  <c:v>0.71654369457794642</c:v>
                </c:pt>
                <c:pt idx="7458">
                  <c:v>0.7109930278210248</c:v>
                </c:pt>
                <c:pt idx="7459">
                  <c:v>0.71600216611385648</c:v>
                </c:pt>
                <c:pt idx="7460">
                  <c:v>0.71400527990252516</c:v>
                </c:pt>
                <c:pt idx="7461">
                  <c:v>0.71285453191633397</c:v>
                </c:pt>
                <c:pt idx="7462">
                  <c:v>0.7111284099370474</c:v>
                </c:pt>
                <c:pt idx="7463">
                  <c:v>0.71001150747986208</c:v>
                </c:pt>
                <c:pt idx="7464">
                  <c:v>0.69853787314695759</c:v>
                </c:pt>
                <c:pt idx="7465">
                  <c:v>0.69467948284031689</c:v>
                </c:pt>
                <c:pt idx="7466">
                  <c:v>0.69979015772016528</c:v>
                </c:pt>
                <c:pt idx="7467">
                  <c:v>0.70283625533067084</c:v>
                </c:pt>
                <c:pt idx="7468">
                  <c:v>0.70547620659310906</c:v>
                </c:pt>
                <c:pt idx="7469">
                  <c:v>0.70310701956271582</c:v>
                </c:pt>
                <c:pt idx="7470">
                  <c:v>0.6955594665944631</c:v>
                </c:pt>
                <c:pt idx="7471">
                  <c:v>0.67856901103364264</c:v>
                </c:pt>
                <c:pt idx="7472">
                  <c:v>0.67762133622148535</c:v>
                </c:pt>
                <c:pt idx="7473">
                  <c:v>0.67559060448114816</c:v>
                </c:pt>
                <c:pt idx="7474">
                  <c:v>0.67924592161375497</c:v>
                </c:pt>
                <c:pt idx="7475">
                  <c:v>0.67711365328640083</c:v>
                </c:pt>
                <c:pt idx="7476">
                  <c:v>0.67674135246733935</c:v>
                </c:pt>
                <c:pt idx="7477">
                  <c:v>0.66479388072835599</c:v>
                </c:pt>
                <c:pt idx="7478">
                  <c:v>0.66821227915792325</c:v>
                </c:pt>
                <c:pt idx="7479">
                  <c:v>0.6586001489203277</c:v>
                </c:pt>
                <c:pt idx="7480">
                  <c:v>0.65697556352805808</c:v>
                </c:pt>
                <c:pt idx="7481">
                  <c:v>0.63528057943545679</c:v>
                </c:pt>
                <c:pt idx="7482">
                  <c:v>0.63521288837744549</c:v>
                </c:pt>
                <c:pt idx="7483">
                  <c:v>0.63176064441887236</c:v>
                </c:pt>
                <c:pt idx="7484">
                  <c:v>0.64364042509984443</c:v>
                </c:pt>
                <c:pt idx="7485">
                  <c:v>0.64292966899072646</c:v>
                </c:pt>
                <c:pt idx="7486">
                  <c:v>0.64194814864956351</c:v>
                </c:pt>
                <c:pt idx="7487">
                  <c:v>0.6437081161578555</c:v>
                </c:pt>
                <c:pt idx="7488">
                  <c:v>0.64959723820483317</c:v>
                </c:pt>
                <c:pt idx="7489">
                  <c:v>0.63748053882082178</c:v>
                </c:pt>
                <c:pt idx="7490">
                  <c:v>0.65203411629323793</c:v>
                </c:pt>
                <c:pt idx="7491">
                  <c:v>0.64797265281256355</c:v>
                </c:pt>
                <c:pt idx="7492">
                  <c:v>0.64174507547552984</c:v>
                </c:pt>
                <c:pt idx="7493">
                  <c:v>0.63385906721722085</c:v>
                </c:pt>
                <c:pt idx="7494">
                  <c:v>0.63125296148378829</c:v>
                </c:pt>
                <c:pt idx="7495">
                  <c:v>0.64225275841061413</c:v>
                </c:pt>
                <c:pt idx="7496">
                  <c:v>0.63995126243823219</c:v>
                </c:pt>
                <c:pt idx="7497">
                  <c:v>0.63321600216611396</c:v>
                </c:pt>
                <c:pt idx="7498">
                  <c:v>0.63016990455560817</c:v>
                </c:pt>
                <c:pt idx="7499">
                  <c:v>0.6295268395045015</c:v>
                </c:pt>
                <c:pt idx="7500">
                  <c:v>0.62522845732078802</c:v>
                </c:pt>
                <c:pt idx="7501">
                  <c:v>0.62861301022134985</c:v>
                </c:pt>
                <c:pt idx="7502">
                  <c:v>0.62732688011913629</c:v>
                </c:pt>
                <c:pt idx="7503">
                  <c:v>0.62844378257632183</c:v>
                </c:pt>
                <c:pt idx="7504">
                  <c:v>0.61998240032491725</c:v>
                </c:pt>
                <c:pt idx="7505">
                  <c:v>0.60014892032762468</c:v>
                </c:pt>
                <c:pt idx="7506">
                  <c:v>0.59209368442428767</c:v>
                </c:pt>
                <c:pt idx="7507">
                  <c:v>0.59216137548229897</c:v>
                </c:pt>
                <c:pt idx="7508">
                  <c:v>0.5856968794422257</c:v>
                </c:pt>
                <c:pt idx="7509">
                  <c:v>0.59205983889528202</c:v>
                </c:pt>
                <c:pt idx="7510">
                  <c:v>0.58505381439111903</c:v>
                </c:pt>
                <c:pt idx="7511">
                  <c:v>0.58207540783862455</c:v>
                </c:pt>
                <c:pt idx="7512">
                  <c:v>0.57672781425573705</c:v>
                </c:pt>
                <c:pt idx="7513">
                  <c:v>0.5765585866107088</c:v>
                </c:pt>
                <c:pt idx="7514">
                  <c:v>0.57307249712313002</c:v>
                </c:pt>
                <c:pt idx="7515">
                  <c:v>0.58041697691734928</c:v>
                </c:pt>
                <c:pt idx="7516">
                  <c:v>0.58979218845190573</c:v>
                </c:pt>
                <c:pt idx="7517">
                  <c:v>0.59090909090909105</c:v>
                </c:pt>
                <c:pt idx="7518">
                  <c:v>0.58864144046571454</c:v>
                </c:pt>
                <c:pt idx="7519">
                  <c:v>0.57710011507479875</c:v>
                </c:pt>
                <c:pt idx="7520">
                  <c:v>0.56244500101536588</c:v>
                </c:pt>
                <c:pt idx="7521">
                  <c:v>0.5625126920733774</c:v>
                </c:pt>
                <c:pt idx="7522">
                  <c:v>0.56258038313138847</c:v>
                </c:pt>
                <c:pt idx="7523">
                  <c:v>0.55970351316591094</c:v>
                </c:pt>
                <c:pt idx="7524">
                  <c:v>0.55919583023082664</c:v>
                </c:pt>
                <c:pt idx="7525">
                  <c:v>0.55804508224463545</c:v>
                </c:pt>
                <c:pt idx="7526">
                  <c:v>0.55929736681784337</c:v>
                </c:pt>
                <c:pt idx="7527">
                  <c:v>0.55388208217694457</c:v>
                </c:pt>
                <c:pt idx="7528">
                  <c:v>0.55442361064103429</c:v>
                </c:pt>
                <c:pt idx="7529">
                  <c:v>0.56082041562309648</c:v>
                </c:pt>
                <c:pt idx="7530">
                  <c:v>0.55980504975292789</c:v>
                </c:pt>
                <c:pt idx="7531">
                  <c:v>0.56525417992283233</c:v>
                </c:pt>
                <c:pt idx="7532">
                  <c:v>0.55631896026534911</c:v>
                </c:pt>
                <c:pt idx="7533">
                  <c:v>0.55577743180125916</c:v>
                </c:pt>
                <c:pt idx="7534">
                  <c:v>0.55557435862722548</c:v>
                </c:pt>
                <c:pt idx="7535">
                  <c:v>0.54707913084681525</c:v>
                </c:pt>
                <c:pt idx="7536">
                  <c:v>0.54982061869627041</c:v>
                </c:pt>
                <c:pt idx="7537">
                  <c:v>0.55283287077777032</c:v>
                </c:pt>
                <c:pt idx="7538">
                  <c:v>0.54112231774182629</c:v>
                </c:pt>
                <c:pt idx="7539">
                  <c:v>0.53987003316861859</c:v>
                </c:pt>
                <c:pt idx="7540">
                  <c:v>0.52355648818791045</c:v>
                </c:pt>
                <c:pt idx="7541">
                  <c:v>0.52125499221552851</c:v>
                </c:pt>
                <c:pt idx="7542">
                  <c:v>0.51275976443511806</c:v>
                </c:pt>
                <c:pt idx="7543">
                  <c:v>0.50764908955526988</c:v>
                </c:pt>
                <c:pt idx="7544">
                  <c:v>0.52721180532051726</c:v>
                </c:pt>
                <c:pt idx="7545">
                  <c:v>0.53357476477357357</c:v>
                </c:pt>
                <c:pt idx="7546">
                  <c:v>0.53428552088269154</c:v>
                </c:pt>
                <c:pt idx="7547">
                  <c:v>0.53421782982468025</c:v>
                </c:pt>
                <c:pt idx="7548">
                  <c:v>0.51939348812021957</c:v>
                </c:pt>
                <c:pt idx="7549">
                  <c:v>0.53553780545589946</c:v>
                </c:pt>
                <c:pt idx="7550">
                  <c:v>0.54054694374873091</c:v>
                </c:pt>
                <c:pt idx="7551">
                  <c:v>0.53712854531916343</c:v>
                </c:pt>
                <c:pt idx="7552">
                  <c:v>0.53079943139511299</c:v>
                </c:pt>
                <c:pt idx="7553">
                  <c:v>0.52281188654978683</c:v>
                </c:pt>
                <c:pt idx="7554">
                  <c:v>0.52335341501387678</c:v>
                </c:pt>
                <c:pt idx="7555">
                  <c:v>0.55114059432748941</c:v>
                </c:pt>
                <c:pt idx="7556">
                  <c:v>0.5618696270222705</c:v>
                </c:pt>
                <c:pt idx="7557">
                  <c:v>0.56894334258444479</c:v>
                </c:pt>
                <c:pt idx="7558">
                  <c:v>0.57584783050159083</c:v>
                </c:pt>
                <c:pt idx="7559">
                  <c:v>0.57391863534827059</c:v>
                </c:pt>
                <c:pt idx="7560">
                  <c:v>0.57733703377783807</c:v>
                </c:pt>
                <c:pt idx="7561">
                  <c:v>0.56484803357476498</c:v>
                </c:pt>
                <c:pt idx="7562">
                  <c:v>0.57168483043389973</c:v>
                </c:pt>
                <c:pt idx="7563">
                  <c:v>0.57517091992147851</c:v>
                </c:pt>
                <c:pt idx="7564">
                  <c:v>0.57601705814661885</c:v>
                </c:pt>
                <c:pt idx="7565">
                  <c:v>0.5672849116631693</c:v>
                </c:pt>
                <c:pt idx="7566">
                  <c:v>0.56461111487172544</c:v>
                </c:pt>
                <c:pt idx="7567">
                  <c:v>0.58366614770188874</c:v>
                </c:pt>
                <c:pt idx="7568">
                  <c:v>0.57889392811209661</c:v>
                </c:pt>
                <c:pt idx="7569">
                  <c:v>0.5853922696811753</c:v>
                </c:pt>
                <c:pt idx="7570">
                  <c:v>0.59869356258038331</c:v>
                </c:pt>
                <c:pt idx="7571">
                  <c:v>0.60349962769918108</c:v>
                </c:pt>
                <c:pt idx="7572">
                  <c:v>0.5766939687267314</c:v>
                </c:pt>
                <c:pt idx="7573">
                  <c:v>0.56576186285791663</c:v>
                </c:pt>
                <c:pt idx="7574">
                  <c:v>0.56207270019630418</c:v>
                </c:pt>
                <c:pt idx="7575">
                  <c:v>0.55970351316591094</c:v>
                </c:pt>
                <c:pt idx="7576">
                  <c:v>0.57344479794219194</c:v>
                </c:pt>
                <c:pt idx="7577">
                  <c:v>0.58007852162729323</c:v>
                </c:pt>
                <c:pt idx="7578">
                  <c:v>0.5916875380762201</c:v>
                </c:pt>
                <c:pt idx="7579">
                  <c:v>0.58282000947674839</c:v>
                </c:pt>
                <c:pt idx="7580">
                  <c:v>0.5872199282474786</c:v>
                </c:pt>
                <c:pt idx="7581">
                  <c:v>0.58769376565355724</c:v>
                </c:pt>
                <c:pt idx="7582">
                  <c:v>0.58319231029580987</c:v>
                </c:pt>
                <c:pt idx="7583">
                  <c:v>0.57540783862451783</c:v>
                </c:pt>
                <c:pt idx="7584">
                  <c:v>0.57649089555269772</c:v>
                </c:pt>
                <c:pt idx="7585">
                  <c:v>0.55364516347390524</c:v>
                </c:pt>
                <c:pt idx="7586">
                  <c:v>0.54031002504569159</c:v>
                </c:pt>
                <c:pt idx="7587">
                  <c:v>0.53103635009815209</c:v>
                </c:pt>
                <c:pt idx="7588">
                  <c:v>0.53496243146280387</c:v>
                </c:pt>
                <c:pt idx="7589">
                  <c:v>0.53858390306640502</c:v>
                </c:pt>
                <c:pt idx="7590">
                  <c:v>0.56278345630542215</c:v>
                </c:pt>
                <c:pt idx="7591">
                  <c:v>0.56599878156095595</c:v>
                </c:pt>
                <c:pt idx="7592">
                  <c:v>0.56447573275570306</c:v>
                </c:pt>
                <c:pt idx="7593">
                  <c:v>0.57327557029716369</c:v>
                </c:pt>
                <c:pt idx="7594">
                  <c:v>0.56383266770459639</c:v>
                </c:pt>
                <c:pt idx="7595">
                  <c:v>0.55966966763690529</c:v>
                </c:pt>
                <c:pt idx="7596">
                  <c:v>0.55577743180125916</c:v>
                </c:pt>
                <c:pt idx="7597">
                  <c:v>0.56119271644215796</c:v>
                </c:pt>
                <c:pt idx="7598">
                  <c:v>0.56183578149326485</c:v>
                </c:pt>
                <c:pt idx="7599">
                  <c:v>0.56826643200433247</c:v>
                </c:pt>
                <c:pt idx="7600">
                  <c:v>0.59361673322954056</c:v>
                </c:pt>
                <c:pt idx="7601">
                  <c:v>0.59476748121573153</c:v>
                </c:pt>
                <c:pt idx="7602">
                  <c:v>0.60701956271576529</c:v>
                </c:pt>
                <c:pt idx="7603">
                  <c:v>0.58667839978338887</c:v>
                </c:pt>
                <c:pt idx="7604">
                  <c:v>0.58231232654166387</c:v>
                </c:pt>
                <c:pt idx="7605">
                  <c:v>0.57791240777093345</c:v>
                </c:pt>
                <c:pt idx="7606">
                  <c:v>0.58457997698504038</c:v>
                </c:pt>
                <c:pt idx="7607">
                  <c:v>0.60136735937182695</c:v>
                </c:pt>
                <c:pt idx="7608">
                  <c:v>0.59398903404860226</c:v>
                </c:pt>
                <c:pt idx="7609">
                  <c:v>0.59703513165910804</c:v>
                </c:pt>
                <c:pt idx="7610">
                  <c:v>0.59409057063561921</c:v>
                </c:pt>
                <c:pt idx="7611">
                  <c:v>0.6014688959588439</c:v>
                </c:pt>
                <c:pt idx="7612">
                  <c:v>0.60932105868814745</c:v>
                </c:pt>
                <c:pt idx="7613">
                  <c:v>0.61128409937047334</c:v>
                </c:pt>
                <c:pt idx="7614">
                  <c:v>0.60627496107764167</c:v>
                </c:pt>
                <c:pt idx="7615">
                  <c:v>0.60360116428619803</c:v>
                </c:pt>
                <c:pt idx="7616">
                  <c:v>0.58424152169498411</c:v>
                </c:pt>
                <c:pt idx="7617">
                  <c:v>0.58745684695051792</c:v>
                </c:pt>
                <c:pt idx="7618">
                  <c:v>0.57215866783997837</c:v>
                </c:pt>
                <c:pt idx="7619">
                  <c:v>0.56474649698774804</c:v>
                </c:pt>
                <c:pt idx="7620">
                  <c:v>0.56934948893251214</c:v>
                </c:pt>
                <c:pt idx="7621">
                  <c:v>0.56762336695322557</c:v>
                </c:pt>
                <c:pt idx="7622">
                  <c:v>0.57439247275434924</c:v>
                </c:pt>
                <c:pt idx="7623">
                  <c:v>0.57385094429025929</c:v>
                </c:pt>
                <c:pt idx="7624">
                  <c:v>0.56105733432613558</c:v>
                </c:pt>
                <c:pt idx="7625">
                  <c:v>0.56346036688553447</c:v>
                </c:pt>
                <c:pt idx="7626">
                  <c:v>0.5531036350098153</c:v>
                </c:pt>
                <c:pt idx="7627">
                  <c:v>0.55790970012861307</c:v>
                </c:pt>
                <c:pt idx="7628">
                  <c:v>0.54988830975428149</c:v>
                </c:pt>
                <c:pt idx="7629">
                  <c:v>0.54975292763825911</c:v>
                </c:pt>
                <c:pt idx="7630">
                  <c:v>0.5470452853178096</c:v>
                </c:pt>
                <c:pt idx="7631">
                  <c:v>0.55147904961754546</c:v>
                </c:pt>
                <c:pt idx="7632">
                  <c:v>0.5618019359642592</c:v>
                </c:pt>
                <c:pt idx="7633">
                  <c:v>0.55878968388275929</c:v>
                </c:pt>
                <c:pt idx="7634">
                  <c:v>0.56031273268801196</c:v>
                </c:pt>
                <c:pt idx="7635">
                  <c:v>0.55100521221146703</c:v>
                </c:pt>
                <c:pt idx="7636">
                  <c:v>0.5373993095512084</c:v>
                </c:pt>
                <c:pt idx="7637">
                  <c:v>0.53174710620727006</c:v>
                </c:pt>
                <c:pt idx="7638">
                  <c:v>0.53442090299871392</c:v>
                </c:pt>
                <c:pt idx="7639">
                  <c:v>0.53743315508021405</c:v>
                </c:pt>
                <c:pt idx="7640">
                  <c:v>0.53357476477357357</c:v>
                </c:pt>
                <c:pt idx="7641">
                  <c:v>0.53188248832329266</c:v>
                </c:pt>
                <c:pt idx="7642">
                  <c:v>0.52846408989372518</c:v>
                </c:pt>
                <c:pt idx="7643">
                  <c:v>0.53611317944899484</c:v>
                </c:pt>
                <c:pt idx="7644">
                  <c:v>0.54071617139375916</c:v>
                </c:pt>
                <c:pt idx="7645">
                  <c:v>0.53712854531916343</c:v>
                </c:pt>
                <c:pt idx="7646">
                  <c:v>0.53459013064374217</c:v>
                </c:pt>
                <c:pt idx="7647">
                  <c:v>0.51875042306911268</c:v>
                </c:pt>
                <c:pt idx="7648">
                  <c:v>0.51611047180667446</c:v>
                </c:pt>
                <c:pt idx="7649">
                  <c:v>0.51648277262573616</c:v>
                </c:pt>
                <c:pt idx="7650">
                  <c:v>0.52152575644757349</c:v>
                </c:pt>
                <c:pt idx="7651">
                  <c:v>0.51756582955391606</c:v>
                </c:pt>
                <c:pt idx="7652">
                  <c:v>0.50995058552765182</c:v>
                </c:pt>
                <c:pt idx="7653">
                  <c:v>0.51076287822378674</c:v>
                </c:pt>
                <c:pt idx="7654">
                  <c:v>0.51018750423069115</c:v>
                </c:pt>
                <c:pt idx="7655">
                  <c:v>0.50365531713260681</c:v>
                </c:pt>
                <c:pt idx="7656">
                  <c:v>0.51502741487849457</c:v>
                </c:pt>
                <c:pt idx="7657">
                  <c:v>0.50974751235361815</c:v>
                </c:pt>
                <c:pt idx="7658">
                  <c:v>0.5139443579503149</c:v>
                </c:pt>
                <c:pt idx="7659">
                  <c:v>0.49868002436878101</c:v>
                </c:pt>
                <c:pt idx="7660">
                  <c:v>0.52179652067961824</c:v>
                </c:pt>
                <c:pt idx="7661">
                  <c:v>0.53350707371556227</c:v>
                </c:pt>
                <c:pt idx="7662">
                  <c:v>0.52758410613957896</c:v>
                </c:pt>
                <c:pt idx="7663">
                  <c:v>0.54159615514790516</c:v>
                </c:pt>
                <c:pt idx="7664">
                  <c:v>0.55164827726257371</c:v>
                </c:pt>
                <c:pt idx="7665">
                  <c:v>0.56342652135652904</c:v>
                </c:pt>
                <c:pt idx="7666">
                  <c:v>0.55895891152778732</c:v>
                </c:pt>
                <c:pt idx="7667">
                  <c:v>0.56491572463277606</c:v>
                </c:pt>
                <c:pt idx="7668">
                  <c:v>0.55384823664793892</c:v>
                </c:pt>
                <c:pt idx="7669">
                  <c:v>0.55239287890069733</c:v>
                </c:pt>
                <c:pt idx="7670">
                  <c:v>0.54965139105124239</c:v>
                </c:pt>
                <c:pt idx="7671">
                  <c:v>0.54694374873079288</c:v>
                </c:pt>
                <c:pt idx="7672">
                  <c:v>0.55083598456643879</c:v>
                </c:pt>
                <c:pt idx="7673">
                  <c:v>0.5531036350098153</c:v>
                </c:pt>
                <c:pt idx="7674">
                  <c:v>0.5573343261355177</c:v>
                </c:pt>
                <c:pt idx="7675">
                  <c:v>0.54894063494212419</c:v>
                </c:pt>
                <c:pt idx="7676">
                  <c:v>0.5488729438841129</c:v>
                </c:pt>
                <c:pt idx="7677">
                  <c:v>0.54504839910647807</c:v>
                </c:pt>
                <c:pt idx="7678">
                  <c:v>0.5478575780139443</c:v>
                </c:pt>
                <c:pt idx="7679">
                  <c:v>0.54694374873079288</c:v>
                </c:pt>
                <c:pt idx="7680">
                  <c:v>0.54450687064238812</c:v>
                </c:pt>
                <c:pt idx="7681">
                  <c:v>0.53932850470452864</c:v>
                </c:pt>
                <c:pt idx="7682">
                  <c:v>0.53387937453462397</c:v>
                </c:pt>
                <c:pt idx="7683">
                  <c:v>0.53970080552359057</c:v>
                </c:pt>
                <c:pt idx="7684">
                  <c:v>0.54498070804846699</c:v>
                </c:pt>
                <c:pt idx="7685">
                  <c:v>0.53553780545589946</c:v>
                </c:pt>
                <c:pt idx="7686">
                  <c:v>0.52091653692547224</c:v>
                </c:pt>
                <c:pt idx="7687">
                  <c:v>0.50439991877073043</c:v>
                </c:pt>
                <c:pt idx="7688">
                  <c:v>0.50321532525553381</c:v>
                </c:pt>
                <c:pt idx="7689">
                  <c:v>0.50189534962431481</c:v>
                </c:pt>
                <c:pt idx="7690">
                  <c:v>0.49424626006904493</c:v>
                </c:pt>
                <c:pt idx="7691">
                  <c:v>0.50954443917958447</c:v>
                </c:pt>
                <c:pt idx="7692">
                  <c:v>0.49705543897651139</c:v>
                </c:pt>
                <c:pt idx="7693">
                  <c:v>0.51567047992960147</c:v>
                </c:pt>
                <c:pt idx="7694">
                  <c:v>0.52771948825560155</c:v>
                </c:pt>
                <c:pt idx="7695">
                  <c:v>0.52887023624179275</c:v>
                </c:pt>
                <c:pt idx="7696">
                  <c:v>0.53330400054152838</c:v>
                </c:pt>
                <c:pt idx="7697">
                  <c:v>0.53327015501252295</c:v>
                </c:pt>
                <c:pt idx="7698">
                  <c:v>0.52612874839233759</c:v>
                </c:pt>
                <c:pt idx="7699">
                  <c:v>0.52000270764232059</c:v>
                </c:pt>
                <c:pt idx="7700">
                  <c:v>0.52937791917687682</c:v>
                </c:pt>
                <c:pt idx="7701">
                  <c:v>0.53222094361334871</c:v>
                </c:pt>
                <c:pt idx="7702">
                  <c:v>0.51502741487849457</c:v>
                </c:pt>
                <c:pt idx="7703">
                  <c:v>0.51875042306911268</c:v>
                </c:pt>
                <c:pt idx="7704">
                  <c:v>0.4958369999323089</c:v>
                </c:pt>
                <c:pt idx="7705">
                  <c:v>0.49780004061463501</c:v>
                </c:pt>
                <c:pt idx="7706">
                  <c:v>0.49752927638258981</c:v>
                </c:pt>
                <c:pt idx="7707">
                  <c:v>0.51011981317268007</c:v>
                </c:pt>
                <c:pt idx="7708">
                  <c:v>0.51079672375279239</c:v>
                </c:pt>
                <c:pt idx="7709">
                  <c:v>0.51039057740472482</c:v>
                </c:pt>
                <c:pt idx="7710">
                  <c:v>0.5148243417044609</c:v>
                </c:pt>
                <c:pt idx="7711">
                  <c:v>0.52260881337575316</c:v>
                </c:pt>
                <c:pt idx="7712">
                  <c:v>0.51323360184119693</c:v>
                </c:pt>
                <c:pt idx="7713">
                  <c:v>0.52602721180532064</c:v>
                </c:pt>
                <c:pt idx="7714">
                  <c:v>0.51644892709673074</c:v>
                </c:pt>
                <c:pt idx="7715">
                  <c:v>0.51726121979286543</c:v>
                </c:pt>
                <c:pt idx="7716">
                  <c:v>0.48554795911460102</c:v>
                </c:pt>
                <c:pt idx="7717">
                  <c:v>0.50873214648344955</c:v>
                </c:pt>
                <c:pt idx="7718">
                  <c:v>0.50798754484532616</c:v>
                </c:pt>
                <c:pt idx="7719">
                  <c:v>0.53144249644621966</c:v>
                </c:pt>
                <c:pt idx="7720">
                  <c:v>0.55689433425844448</c:v>
                </c:pt>
                <c:pt idx="7721">
                  <c:v>0.55885737494077037</c:v>
                </c:pt>
                <c:pt idx="7722">
                  <c:v>0.57161713937588865</c:v>
                </c:pt>
                <c:pt idx="7723">
                  <c:v>0.58579841602924265</c:v>
                </c:pt>
                <c:pt idx="7724">
                  <c:v>0.58667839978338887</c:v>
                </c:pt>
                <c:pt idx="7725">
                  <c:v>0.58579841602924265</c:v>
                </c:pt>
                <c:pt idx="7726">
                  <c:v>0.59432748933865853</c:v>
                </c:pt>
                <c:pt idx="7727">
                  <c:v>0.59378596087456859</c:v>
                </c:pt>
                <c:pt idx="7728">
                  <c:v>0.58877682258173714</c:v>
                </c:pt>
                <c:pt idx="7729">
                  <c:v>0.58062005009138296</c:v>
                </c:pt>
                <c:pt idx="7730">
                  <c:v>0.58190618019359652</c:v>
                </c:pt>
                <c:pt idx="7731">
                  <c:v>0.57869085493806272</c:v>
                </c:pt>
                <c:pt idx="7732">
                  <c:v>0.57009409057063576</c:v>
                </c:pt>
                <c:pt idx="7733">
                  <c:v>0.5807892777364112</c:v>
                </c:pt>
                <c:pt idx="7734">
                  <c:v>0.57679550531374812</c:v>
                </c:pt>
                <c:pt idx="7735">
                  <c:v>0.58028159480132691</c:v>
                </c:pt>
                <c:pt idx="7736">
                  <c:v>0.57293711500710764</c:v>
                </c:pt>
                <c:pt idx="7737">
                  <c:v>0.56708183848913563</c:v>
                </c:pt>
                <c:pt idx="7738">
                  <c:v>0.57317403371014697</c:v>
                </c:pt>
                <c:pt idx="7739">
                  <c:v>0.57192174913693905</c:v>
                </c:pt>
                <c:pt idx="7740">
                  <c:v>0.58106004196845595</c:v>
                </c:pt>
                <c:pt idx="7741">
                  <c:v>0.5774385703648548</c:v>
                </c:pt>
                <c:pt idx="7742">
                  <c:v>0.57131252961483803</c:v>
                </c:pt>
                <c:pt idx="7743">
                  <c:v>0.59307520476545061</c:v>
                </c:pt>
                <c:pt idx="7744">
                  <c:v>0.59568131049888318</c:v>
                </c:pt>
                <c:pt idx="7745">
                  <c:v>0.58292154606376512</c:v>
                </c:pt>
                <c:pt idx="7746">
                  <c:v>0.59189061125025377</c:v>
                </c:pt>
                <c:pt idx="7747">
                  <c:v>0.60018276585663055</c:v>
                </c:pt>
                <c:pt idx="7748">
                  <c:v>0.59926893657347868</c:v>
                </c:pt>
                <c:pt idx="7749">
                  <c:v>0.5915183104311923</c:v>
                </c:pt>
                <c:pt idx="7750">
                  <c:v>0.59134908278616405</c:v>
                </c:pt>
                <c:pt idx="7751">
                  <c:v>0.58711839166046187</c:v>
                </c:pt>
                <c:pt idx="7752">
                  <c:v>0.60011507479861925</c:v>
                </c:pt>
                <c:pt idx="7753">
                  <c:v>0.59429364380965288</c:v>
                </c:pt>
                <c:pt idx="7754">
                  <c:v>0.59669667636905177</c:v>
                </c:pt>
                <c:pt idx="7755">
                  <c:v>0.59009679821295613</c:v>
                </c:pt>
                <c:pt idx="7756">
                  <c:v>0.62698842482908002</c:v>
                </c:pt>
                <c:pt idx="7757">
                  <c:v>0.63135449807080501</c:v>
                </c:pt>
                <c:pt idx="7758">
                  <c:v>0.62329926216746778</c:v>
                </c:pt>
                <c:pt idx="7759">
                  <c:v>0.6300345224395858</c:v>
                </c:pt>
                <c:pt idx="7760">
                  <c:v>0.62018547349895092</c:v>
                </c:pt>
                <c:pt idx="7761">
                  <c:v>0.61460096121302388</c:v>
                </c:pt>
                <c:pt idx="7762">
                  <c:v>0.60157043254586084</c:v>
                </c:pt>
                <c:pt idx="7763">
                  <c:v>0.59385365193257988</c:v>
                </c:pt>
                <c:pt idx="7764">
                  <c:v>0.59740743247816974</c:v>
                </c:pt>
                <c:pt idx="7765">
                  <c:v>0.60671495295471489</c:v>
                </c:pt>
                <c:pt idx="7766">
                  <c:v>0.60759493670886089</c:v>
                </c:pt>
                <c:pt idx="7767">
                  <c:v>0.60529344073647895</c:v>
                </c:pt>
                <c:pt idx="7768">
                  <c:v>0.6051242130914507</c:v>
                </c:pt>
                <c:pt idx="7769">
                  <c:v>0.60190888783591712</c:v>
                </c:pt>
                <c:pt idx="7770">
                  <c:v>0.60735801800582156</c:v>
                </c:pt>
                <c:pt idx="7771">
                  <c:v>0.59909970892845066</c:v>
                </c:pt>
                <c:pt idx="7772">
                  <c:v>0.60485344885940573</c:v>
                </c:pt>
                <c:pt idx="7773">
                  <c:v>0.60471806674338335</c:v>
                </c:pt>
                <c:pt idx="7774">
                  <c:v>0.60857645705002383</c:v>
                </c:pt>
                <c:pt idx="7775">
                  <c:v>0.59040140797400675</c:v>
                </c:pt>
                <c:pt idx="7776">
                  <c:v>0.58099235091044488</c:v>
                </c:pt>
                <c:pt idx="7777">
                  <c:v>0.58244770865768647</c:v>
                </c:pt>
                <c:pt idx="7778">
                  <c:v>0.58021390374331561</c:v>
                </c:pt>
                <c:pt idx="7779">
                  <c:v>0.57530630203750088</c:v>
                </c:pt>
                <c:pt idx="7780">
                  <c:v>0.57872470046706836</c:v>
                </c:pt>
                <c:pt idx="7781">
                  <c:v>0.5861368713192987</c:v>
                </c:pt>
                <c:pt idx="7782">
                  <c:v>0.59270290394638869</c:v>
                </c:pt>
                <c:pt idx="7783">
                  <c:v>0.59392134299059096</c:v>
                </c:pt>
                <c:pt idx="7784">
                  <c:v>0.59256752183036632</c:v>
                </c:pt>
                <c:pt idx="7785">
                  <c:v>0.58187233466459087</c:v>
                </c:pt>
                <c:pt idx="7786">
                  <c:v>0.5816692614905572</c:v>
                </c:pt>
                <c:pt idx="7787">
                  <c:v>0.57483246463142224</c:v>
                </c:pt>
                <c:pt idx="7788">
                  <c:v>0.5766939687267314</c:v>
                </c:pt>
                <c:pt idx="7789">
                  <c:v>0.57848778176402904</c:v>
                </c:pt>
                <c:pt idx="7790">
                  <c:v>0.56819874094632095</c:v>
                </c:pt>
                <c:pt idx="7791">
                  <c:v>0.5631219115954782</c:v>
                </c:pt>
                <c:pt idx="7792">
                  <c:v>0.56725106613416387</c:v>
                </c:pt>
                <c:pt idx="7793">
                  <c:v>0.5761862857916471</c:v>
                </c:pt>
                <c:pt idx="7794">
                  <c:v>0.57019562715765271</c:v>
                </c:pt>
                <c:pt idx="7795">
                  <c:v>0.57104176538279305</c:v>
                </c:pt>
                <c:pt idx="7796">
                  <c:v>0.57818317200297864</c:v>
                </c:pt>
                <c:pt idx="7797">
                  <c:v>0.57977391186624261</c:v>
                </c:pt>
                <c:pt idx="7798">
                  <c:v>0.57865700940905729</c:v>
                </c:pt>
                <c:pt idx="7799">
                  <c:v>0.57344479794219194</c:v>
                </c:pt>
                <c:pt idx="7800">
                  <c:v>0.5674202937791919</c:v>
                </c:pt>
                <c:pt idx="7801">
                  <c:v>0.56329113924050644</c:v>
                </c:pt>
                <c:pt idx="7802">
                  <c:v>0.56295268395045039</c:v>
                </c:pt>
                <c:pt idx="7803">
                  <c:v>0.56332498476951187</c:v>
                </c:pt>
                <c:pt idx="7804">
                  <c:v>0.56725106613416387</c:v>
                </c:pt>
                <c:pt idx="7805">
                  <c:v>0.56488187910377063</c:v>
                </c:pt>
                <c:pt idx="7806">
                  <c:v>0.56038042374602326</c:v>
                </c:pt>
                <c:pt idx="7807">
                  <c:v>0.55394977323495564</c:v>
                </c:pt>
                <c:pt idx="7808">
                  <c:v>0.56569417179990533</c:v>
                </c:pt>
                <c:pt idx="7809">
                  <c:v>0.56914641575847846</c:v>
                </c:pt>
                <c:pt idx="7810">
                  <c:v>0.57317403371014697</c:v>
                </c:pt>
                <c:pt idx="7811">
                  <c:v>0.57970622080823131</c:v>
                </c:pt>
                <c:pt idx="7812">
                  <c:v>0.56958640763555146</c:v>
                </c:pt>
                <c:pt idx="7813">
                  <c:v>0.57513707439247286</c:v>
                </c:pt>
                <c:pt idx="7814">
                  <c:v>0.56582955391592771</c:v>
                </c:pt>
                <c:pt idx="7815">
                  <c:v>0.56948487104853474</c:v>
                </c:pt>
                <c:pt idx="7816">
                  <c:v>0.55801123671563002</c:v>
                </c:pt>
                <c:pt idx="7817">
                  <c:v>0.55760509036756245</c:v>
                </c:pt>
                <c:pt idx="7818">
                  <c:v>0.55543897651120289</c:v>
                </c:pt>
                <c:pt idx="7819">
                  <c:v>0.54839910647803447</c:v>
                </c:pt>
                <c:pt idx="7820">
                  <c:v>0.56711568401814128</c:v>
                </c:pt>
                <c:pt idx="7821">
                  <c:v>0.58545996073918638</c:v>
                </c:pt>
                <c:pt idx="7822">
                  <c:v>0.58769376565355724</c:v>
                </c:pt>
                <c:pt idx="7823">
                  <c:v>0.58339538346984376</c:v>
                </c:pt>
                <c:pt idx="7824">
                  <c:v>0.58305692817978771</c:v>
                </c:pt>
                <c:pt idx="7825">
                  <c:v>0.57249712313003465</c:v>
                </c:pt>
                <c:pt idx="7826">
                  <c:v>0.5714479117308604</c:v>
                </c:pt>
                <c:pt idx="7827">
                  <c:v>0.57110945644080413</c:v>
                </c:pt>
                <c:pt idx="7828">
                  <c:v>0.56796182224328162</c:v>
                </c:pt>
                <c:pt idx="7829">
                  <c:v>0.57503553780545613</c:v>
                </c:pt>
                <c:pt idx="7830">
                  <c:v>0.5774385703648548</c:v>
                </c:pt>
                <c:pt idx="7831">
                  <c:v>0.57791240777093345</c:v>
                </c:pt>
                <c:pt idx="7832">
                  <c:v>0.58549380626819203</c:v>
                </c:pt>
                <c:pt idx="7833">
                  <c:v>0.58904758681378211</c:v>
                </c:pt>
                <c:pt idx="7834">
                  <c:v>0.58001083056928193</c:v>
                </c:pt>
                <c:pt idx="7835">
                  <c:v>0.5619373180802818</c:v>
                </c:pt>
                <c:pt idx="7836">
                  <c:v>0.56068503350707388</c:v>
                </c:pt>
                <c:pt idx="7837">
                  <c:v>0.55987274081093896</c:v>
                </c:pt>
                <c:pt idx="7838">
                  <c:v>0.55794354565761872</c:v>
                </c:pt>
                <c:pt idx="7839">
                  <c:v>0.55411900087998389</c:v>
                </c:pt>
                <c:pt idx="7840">
                  <c:v>0.55939890340486031</c:v>
                </c:pt>
                <c:pt idx="7841">
                  <c:v>0.56095579773911863</c:v>
                </c:pt>
                <c:pt idx="7842">
                  <c:v>0.56142963514519728</c:v>
                </c:pt>
                <c:pt idx="7843">
                  <c:v>0.56126040750016948</c:v>
                </c:pt>
                <c:pt idx="7844">
                  <c:v>0.55327286265484332</c:v>
                </c:pt>
                <c:pt idx="7845">
                  <c:v>0.5572666350775064</c:v>
                </c:pt>
                <c:pt idx="7846">
                  <c:v>0.56207270019630418</c:v>
                </c:pt>
                <c:pt idx="7847">
                  <c:v>0.56298652947945582</c:v>
                </c:pt>
                <c:pt idx="7848">
                  <c:v>0.5488729438841129</c:v>
                </c:pt>
                <c:pt idx="7849">
                  <c:v>0.54924524470317482</c:v>
                </c:pt>
                <c:pt idx="7850">
                  <c:v>0.54403303323630947</c:v>
                </c:pt>
                <c:pt idx="7851">
                  <c:v>0.53303323630948363</c:v>
                </c:pt>
                <c:pt idx="7852">
                  <c:v>0.54014079740066356</c:v>
                </c:pt>
                <c:pt idx="7853">
                  <c:v>0.55293440736478727</c:v>
                </c:pt>
                <c:pt idx="7854">
                  <c:v>0.55496513910512424</c:v>
                </c:pt>
                <c:pt idx="7855">
                  <c:v>0.5623096188993435</c:v>
                </c:pt>
                <c:pt idx="7856">
                  <c:v>0.55655587896838821</c:v>
                </c:pt>
                <c:pt idx="7857">
                  <c:v>0.56386651323360204</c:v>
                </c:pt>
                <c:pt idx="7858">
                  <c:v>0.56271576524741107</c:v>
                </c:pt>
                <c:pt idx="7859">
                  <c:v>0.5484329520070399</c:v>
                </c:pt>
                <c:pt idx="7860">
                  <c:v>0.54555608204156236</c:v>
                </c:pt>
                <c:pt idx="7861">
                  <c:v>0.55188519596561303</c:v>
                </c:pt>
                <c:pt idx="7862">
                  <c:v>0.56142963514519728</c:v>
                </c:pt>
                <c:pt idx="7863">
                  <c:v>0.56129425302917491</c:v>
                </c:pt>
                <c:pt idx="7864">
                  <c:v>0.56755567589521427</c:v>
                </c:pt>
                <c:pt idx="7865">
                  <c:v>0.56894334258444479</c:v>
                </c:pt>
                <c:pt idx="7866">
                  <c:v>0.56332498476951187</c:v>
                </c:pt>
                <c:pt idx="7867">
                  <c:v>0.55872199282474799</c:v>
                </c:pt>
                <c:pt idx="7868">
                  <c:v>0.56041426927502891</c:v>
                </c:pt>
                <c:pt idx="7869">
                  <c:v>0.5573343261355177</c:v>
                </c:pt>
                <c:pt idx="7870">
                  <c:v>0.55611588709131521</c:v>
                </c:pt>
                <c:pt idx="7871">
                  <c:v>0.54075001692276459</c:v>
                </c:pt>
                <c:pt idx="7872">
                  <c:v>0.5438976511202871</c:v>
                </c:pt>
                <c:pt idx="7873">
                  <c:v>0.54481148040343874</c:v>
                </c:pt>
                <c:pt idx="7874">
                  <c:v>0.54349150477221975</c:v>
                </c:pt>
                <c:pt idx="7875">
                  <c:v>0.53364245583158465</c:v>
                </c:pt>
                <c:pt idx="7876">
                  <c:v>0.53110404115616339</c:v>
                </c:pt>
                <c:pt idx="7877">
                  <c:v>0.5235226426589048</c:v>
                </c:pt>
                <c:pt idx="7878">
                  <c:v>0.51952887023624172</c:v>
                </c:pt>
                <c:pt idx="7879">
                  <c:v>0.52460569958708447</c:v>
                </c:pt>
                <c:pt idx="7880">
                  <c:v>0.52118730115751721</c:v>
                </c:pt>
                <c:pt idx="7881">
                  <c:v>0.52548568334123091</c:v>
                </c:pt>
                <c:pt idx="7882">
                  <c:v>0.51858119542408465</c:v>
                </c:pt>
                <c:pt idx="7883">
                  <c:v>0.51671969132877549</c:v>
                </c:pt>
                <c:pt idx="7884">
                  <c:v>0.518107358018006</c:v>
                </c:pt>
                <c:pt idx="7885">
                  <c:v>0.52057808163541597</c:v>
                </c:pt>
                <c:pt idx="7886">
                  <c:v>0.52355648818791045</c:v>
                </c:pt>
                <c:pt idx="7887">
                  <c:v>0.51671969132877549</c:v>
                </c:pt>
                <c:pt idx="7888">
                  <c:v>0.52386109794896107</c:v>
                </c:pt>
                <c:pt idx="7889">
                  <c:v>0.51353821160224733</c:v>
                </c:pt>
                <c:pt idx="7890">
                  <c:v>0.51709199214783741</c:v>
                </c:pt>
                <c:pt idx="7891">
                  <c:v>0.51996886211331494</c:v>
                </c:pt>
                <c:pt idx="7892">
                  <c:v>0.51323360184119693</c:v>
                </c:pt>
                <c:pt idx="7893">
                  <c:v>0.50446760982874173</c:v>
                </c:pt>
                <c:pt idx="7894">
                  <c:v>0.5135043660732419</c:v>
                </c:pt>
                <c:pt idx="7895">
                  <c:v>0.5139443579503149</c:v>
                </c:pt>
                <c:pt idx="7896">
                  <c:v>0.50961213023759555</c:v>
                </c:pt>
                <c:pt idx="7897">
                  <c:v>0.50866445542543848</c:v>
                </c:pt>
                <c:pt idx="7898">
                  <c:v>0.52040885399038816</c:v>
                </c:pt>
                <c:pt idx="7899">
                  <c:v>0.52331956948487113</c:v>
                </c:pt>
                <c:pt idx="7900">
                  <c:v>0.51658430921275311</c:v>
                </c:pt>
                <c:pt idx="7901">
                  <c:v>0.51959656129425325</c:v>
                </c:pt>
                <c:pt idx="7902">
                  <c:v>0.51671969132877549</c:v>
                </c:pt>
                <c:pt idx="7903">
                  <c:v>0.51844581330806205</c:v>
                </c:pt>
                <c:pt idx="7904">
                  <c:v>0.49878156095579773</c:v>
                </c:pt>
                <c:pt idx="7905">
                  <c:v>0.49404318689501125</c:v>
                </c:pt>
                <c:pt idx="7906">
                  <c:v>0.50896906518648888</c:v>
                </c:pt>
                <c:pt idx="7907">
                  <c:v>0.51973194341027562</c:v>
                </c:pt>
                <c:pt idx="7908">
                  <c:v>0.5248426182901238</c:v>
                </c:pt>
                <c:pt idx="7909">
                  <c:v>0.52538414675421397</c:v>
                </c:pt>
                <c:pt idx="7910">
                  <c:v>0.52931022811886574</c:v>
                </c:pt>
                <c:pt idx="7911">
                  <c:v>0.51492587829147785</c:v>
                </c:pt>
                <c:pt idx="7912">
                  <c:v>0.51160901644892731</c:v>
                </c:pt>
                <c:pt idx="7913">
                  <c:v>0.5</c:v>
                </c:pt>
                <c:pt idx="7914">
                  <c:v>0.5092736749475395</c:v>
                </c:pt>
                <c:pt idx="7915">
                  <c:v>0.51025519528870267</c:v>
                </c:pt>
                <c:pt idx="7916">
                  <c:v>0.50165843092127549</c:v>
                </c:pt>
                <c:pt idx="7917">
                  <c:v>0.518107358018006</c:v>
                </c:pt>
                <c:pt idx="7918">
                  <c:v>0.51435050429838225</c:v>
                </c:pt>
                <c:pt idx="7919">
                  <c:v>0.51042442293373047</c:v>
                </c:pt>
                <c:pt idx="7920">
                  <c:v>0.51529817911053954</c:v>
                </c:pt>
                <c:pt idx="7921">
                  <c:v>0.51377513030528665</c:v>
                </c:pt>
                <c:pt idx="7922">
                  <c:v>0.50741217085223056</c:v>
                </c:pt>
                <c:pt idx="7923">
                  <c:v>0.5087659920124552</c:v>
                </c:pt>
                <c:pt idx="7924">
                  <c:v>0.50514452040885405</c:v>
                </c:pt>
                <c:pt idx="7925">
                  <c:v>0.51523048805252847</c:v>
                </c:pt>
                <c:pt idx="7926">
                  <c:v>0.52325187842685983</c:v>
                </c:pt>
                <c:pt idx="7927">
                  <c:v>0.53147634197522531</c:v>
                </c:pt>
                <c:pt idx="7928">
                  <c:v>0.53607933391998941</c:v>
                </c:pt>
                <c:pt idx="7929">
                  <c:v>0.53601164286197789</c:v>
                </c:pt>
                <c:pt idx="7930">
                  <c:v>0.52369187030393305</c:v>
                </c:pt>
                <c:pt idx="7931">
                  <c:v>0.53120557774318033</c:v>
                </c:pt>
                <c:pt idx="7932">
                  <c:v>0.53469166723075889</c:v>
                </c:pt>
                <c:pt idx="7933">
                  <c:v>0.51915656941718025</c:v>
                </c:pt>
                <c:pt idx="7934">
                  <c:v>0.51627969945170249</c:v>
                </c:pt>
                <c:pt idx="7935">
                  <c:v>0.50896906518648888</c:v>
                </c:pt>
                <c:pt idx="7936">
                  <c:v>0.52504569146415769</c:v>
                </c:pt>
                <c:pt idx="7937">
                  <c:v>0.5148243417044609</c:v>
                </c:pt>
                <c:pt idx="7938">
                  <c:v>0.4902863331753875</c:v>
                </c:pt>
                <c:pt idx="7939">
                  <c:v>0.49045556082041575</c:v>
                </c:pt>
                <c:pt idx="7940">
                  <c:v>0.48771407297096059</c:v>
                </c:pt>
                <c:pt idx="7941">
                  <c:v>0.48659717051377527</c:v>
                </c:pt>
                <c:pt idx="7942">
                  <c:v>0.50544913016990467</c:v>
                </c:pt>
                <c:pt idx="7943">
                  <c:v>0.50395992689365743</c:v>
                </c:pt>
                <c:pt idx="7944">
                  <c:v>0.49868002436878101</c:v>
                </c:pt>
                <c:pt idx="7945">
                  <c:v>0.49702159344750574</c:v>
                </c:pt>
                <c:pt idx="7946">
                  <c:v>0.50023691870303932</c:v>
                </c:pt>
                <c:pt idx="7947">
                  <c:v>0.50450145535774737</c:v>
                </c:pt>
                <c:pt idx="7948">
                  <c:v>0.50291071549448341</c:v>
                </c:pt>
                <c:pt idx="7949">
                  <c:v>0.49752927638258981</c:v>
                </c:pt>
                <c:pt idx="7950">
                  <c:v>0.4898463412983145</c:v>
                </c:pt>
                <c:pt idx="7951">
                  <c:v>0.48544642252758408</c:v>
                </c:pt>
                <c:pt idx="7952">
                  <c:v>0.48250186150409524</c:v>
                </c:pt>
                <c:pt idx="7953">
                  <c:v>0.48246801597508981</c:v>
                </c:pt>
                <c:pt idx="7954">
                  <c:v>0.46733906450957852</c:v>
                </c:pt>
                <c:pt idx="7955">
                  <c:v>0.47915115413253906</c:v>
                </c:pt>
                <c:pt idx="7956">
                  <c:v>0.48737561768090432</c:v>
                </c:pt>
                <c:pt idx="7957">
                  <c:v>0.50148920327624724</c:v>
                </c:pt>
                <c:pt idx="7958">
                  <c:v>0.50646449604007326</c:v>
                </c:pt>
                <c:pt idx="7959">
                  <c:v>0.51445204088539898</c:v>
                </c:pt>
                <c:pt idx="7960">
                  <c:v>0.51946117917823065</c:v>
                </c:pt>
                <c:pt idx="7961">
                  <c:v>0.51763352061192713</c:v>
                </c:pt>
                <c:pt idx="7962">
                  <c:v>0.51851350436607335</c:v>
                </c:pt>
                <c:pt idx="7963">
                  <c:v>0.52040885399038816</c:v>
                </c:pt>
                <c:pt idx="7964">
                  <c:v>0.51753198402491041</c:v>
                </c:pt>
                <c:pt idx="7965">
                  <c:v>0.49543085358424155</c:v>
                </c:pt>
                <c:pt idx="7966">
                  <c:v>0.49844310566574168</c:v>
                </c:pt>
                <c:pt idx="7967">
                  <c:v>0.49312935761185961</c:v>
                </c:pt>
                <c:pt idx="7968">
                  <c:v>0.49695390238949444</c:v>
                </c:pt>
                <c:pt idx="7969">
                  <c:v>0.49390780477898866</c:v>
                </c:pt>
                <c:pt idx="7970">
                  <c:v>0.52406417112299475</c:v>
                </c:pt>
                <c:pt idx="7971">
                  <c:v>0.5287010085967645</c:v>
                </c:pt>
                <c:pt idx="7972">
                  <c:v>0.52971637446693309</c:v>
                </c:pt>
                <c:pt idx="7973">
                  <c:v>0.52565491098625872</c:v>
                </c:pt>
                <c:pt idx="7974">
                  <c:v>0.51553509781357887</c:v>
                </c:pt>
                <c:pt idx="7975">
                  <c:v>0.52602721180532064</c:v>
                </c:pt>
                <c:pt idx="7976">
                  <c:v>0.51651661815474181</c:v>
                </c:pt>
                <c:pt idx="7977">
                  <c:v>0.5188519596561294</c:v>
                </c:pt>
                <c:pt idx="7978">
                  <c:v>0.51925810600419697</c:v>
                </c:pt>
                <c:pt idx="7979">
                  <c:v>0.5236580247749274</c:v>
                </c:pt>
                <c:pt idx="7980">
                  <c:v>0.52944561023488812</c:v>
                </c:pt>
                <c:pt idx="7981">
                  <c:v>0.51732891085087673</c:v>
                </c:pt>
                <c:pt idx="7982">
                  <c:v>0.5276856427265959</c:v>
                </c:pt>
                <c:pt idx="7983">
                  <c:v>0.52788871590062958</c:v>
                </c:pt>
                <c:pt idx="7984">
                  <c:v>0.52247343125973056</c:v>
                </c:pt>
                <c:pt idx="7985">
                  <c:v>0.53563934204291641</c:v>
                </c:pt>
                <c:pt idx="7986">
                  <c:v>0.54447302511338247</c:v>
                </c:pt>
                <c:pt idx="7987">
                  <c:v>0.53794083801529813</c:v>
                </c:pt>
                <c:pt idx="7988">
                  <c:v>0.53899004941447237</c:v>
                </c:pt>
                <c:pt idx="7989">
                  <c:v>0.50988289446964075</c:v>
                </c:pt>
                <c:pt idx="7990">
                  <c:v>0.51404589453733163</c:v>
                </c:pt>
                <c:pt idx="7991">
                  <c:v>0.52054423610641032</c:v>
                </c:pt>
                <c:pt idx="7992">
                  <c:v>0.51594124416164622</c:v>
                </c:pt>
                <c:pt idx="7993">
                  <c:v>0.49600622757733714</c:v>
                </c:pt>
                <c:pt idx="7994">
                  <c:v>0.50064306505110689</c:v>
                </c:pt>
                <c:pt idx="7995">
                  <c:v>0.49712313003452246</c:v>
                </c:pt>
                <c:pt idx="7996">
                  <c:v>0.49214783727069666</c:v>
                </c:pt>
                <c:pt idx="7997">
                  <c:v>0.47160360116428635</c:v>
                </c:pt>
                <c:pt idx="7998">
                  <c:v>0.47309280444053359</c:v>
                </c:pt>
                <c:pt idx="7999">
                  <c:v>0.46964056048196046</c:v>
                </c:pt>
                <c:pt idx="8000">
                  <c:v>0.4617883977526569</c:v>
                </c:pt>
                <c:pt idx="8001">
                  <c:v>0.4665267718134436</c:v>
                </c:pt>
                <c:pt idx="8002">
                  <c:v>0.46859134908278643</c:v>
                </c:pt>
                <c:pt idx="8003">
                  <c:v>0.50470452853178105</c:v>
                </c:pt>
                <c:pt idx="8004">
                  <c:v>0.51512895146551152</c:v>
                </c:pt>
                <c:pt idx="8005">
                  <c:v>0.51028904081770809</c:v>
                </c:pt>
                <c:pt idx="8006">
                  <c:v>0.50724294320720231</c:v>
                </c:pt>
                <c:pt idx="8007">
                  <c:v>0.51577201651661841</c:v>
                </c:pt>
                <c:pt idx="8008">
                  <c:v>0.519427333649225</c:v>
                </c:pt>
                <c:pt idx="8009">
                  <c:v>0.52155960197657891</c:v>
                </c:pt>
                <c:pt idx="8010">
                  <c:v>0.51357205713125298</c:v>
                </c:pt>
                <c:pt idx="8011">
                  <c:v>0.49786773167264609</c:v>
                </c:pt>
                <c:pt idx="8012">
                  <c:v>0.49773234955662371</c:v>
                </c:pt>
                <c:pt idx="8013">
                  <c:v>0.48507412170852238</c:v>
                </c:pt>
                <c:pt idx="8014">
                  <c:v>0.48466797536045503</c:v>
                </c:pt>
                <c:pt idx="8015">
                  <c:v>0.48280647126514609</c:v>
                </c:pt>
                <c:pt idx="8016">
                  <c:v>0.4890340486021798</c:v>
                </c:pt>
                <c:pt idx="8017">
                  <c:v>0.48923712177621348</c:v>
                </c:pt>
                <c:pt idx="8018">
                  <c:v>0.47603736546402242</c:v>
                </c:pt>
                <c:pt idx="8019">
                  <c:v>0.47393894266567393</c:v>
                </c:pt>
                <c:pt idx="8020">
                  <c:v>0.46676369051648292</c:v>
                </c:pt>
                <c:pt idx="8021">
                  <c:v>0.47272050362147167</c:v>
                </c:pt>
                <c:pt idx="8022">
                  <c:v>0.47850808908143239</c:v>
                </c:pt>
                <c:pt idx="8023">
                  <c:v>0.47955730048060663</c:v>
                </c:pt>
                <c:pt idx="8024">
                  <c:v>0.47546199147092683</c:v>
                </c:pt>
                <c:pt idx="8025">
                  <c:v>0.46561294253029173</c:v>
                </c:pt>
                <c:pt idx="8026">
                  <c:v>0.45887768225817394</c:v>
                </c:pt>
                <c:pt idx="8027">
                  <c:v>0.45857307249712309</c:v>
                </c:pt>
                <c:pt idx="8028">
                  <c:v>0.4521424219860557</c:v>
                </c:pt>
                <c:pt idx="8029">
                  <c:v>0.45782847085899969</c:v>
                </c:pt>
                <c:pt idx="8030">
                  <c:v>0.47065592635212883</c:v>
                </c:pt>
                <c:pt idx="8031">
                  <c:v>0.47004670683002781</c:v>
                </c:pt>
                <c:pt idx="8032">
                  <c:v>0.47356664184661224</c:v>
                </c:pt>
                <c:pt idx="8033">
                  <c:v>0.47468354430379756</c:v>
                </c:pt>
                <c:pt idx="8034">
                  <c:v>0.48520950382454475</c:v>
                </c:pt>
                <c:pt idx="8035">
                  <c:v>0.48236647938807309</c:v>
                </c:pt>
                <c:pt idx="8036">
                  <c:v>0.48632640628173029</c:v>
                </c:pt>
                <c:pt idx="8037">
                  <c:v>0.48842482908007856</c:v>
                </c:pt>
                <c:pt idx="8038">
                  <c:v>0.48592025993366272</c:v>
                </c:pt>
                <c:pt idx="8039">
                  <c:v>0.49025248764638207</c:v>
                </c:pt>
                <c:pt idx="8040">
                  <c:v>0.49157246327760107</c:v>
                </c:pt>
                <c:pt idx="8041">
                  <c:v>0.49353550395992696</c:v>
                </c:pt>
                <c:pt idx="8042">
                  <c:v>0.47373586949164026</c:v>
                </c:pt>
                <c:pt idx="8043">
                  <c:v>0.46050226765044333</c:v>
                </c:pt>
                <c:pt idx="8044">
                  <c:v>0.46405604819603341</c:v>
                </c:pt>
                <c:pt idx="8045">
                  <c:v>0.46496987747918506</c:v>
                </c:pt>
                <c:pt idx="8046">
                  <c:v>0.46798212956068519</c:v>
                </c:pt>
                <c:pt idx="8047">
                  <c:v>0.4710620727001964</c:v>
                </c:pt>
                <c:pt idx="8048">
                  <c:v>0.47448047112976388</c:v>
                </c:pt>
                <c:pt idx="8049">
                  <c:v>0.47901577201651668</c:v>
                </c:pt>
                <c:pt idx="8050">
                  <c:v>0.47332972314357291</c:v>
                </c:pt>
                <c:pt idx="8051">
                  <c:v>0.46232992621674684</c:v>
                </c:pt>
                <c:pt idx="8052">
                  <c:v>0.4550531374805391</c:v>
                </c:pt>
                <c:pt idx="8053">
                  <c:v>0.45498544642252758</c:v>
                </c:pt>
                <c:pt idx="8054">
                  <c:v>0.45799769850402772</c:v>
                </c:pt>
                <c:pt idx="8055">
                  <c:v>0.45992689365734796</c:v>
                </c:pt>
                <c:pt idx="8056">
                  <c:v>0.45589927570567945</c:v>
                </c:pt>
                <c:pt idx="8057">
                  <c:v>0.45261625939213435</c:v>
                </c:pt>
                <c:pt idx="8058">
                  <c:v>0.44720097475123533</c:v>
                </c:pt>
                <c:pt idx="8059">
                  <c:v>0.43884112908684769</c:v>
                </c:pt>
                <c:pt idx="8060">
                  <c:v>0.44401949502470717</c:v>
                </c:pt>
                <c:pt idx="8061">
                  <c:v>0.43373045420699929</c:v>
                </c:pt>
                <c:pt idx="8062">
                  <c:v>0.43115819400257238</c:v>
                </c:pt>
                <c:pt idx="8063">
                  <c:v>0.41904149461856099</c:v>
                </c:pt>
                <c:pt idx="8064">
                  <c:v>0.42381371420835312</c:v>
                </c:pt>
                <c:pt idx="8065">
                  <c:v>0.42973668178433644</c:v>
                </c:pt>
                <c:pt idx="8066">
                  <c:v>0.43122588506058368</c:v>
                </c:pt>
                <c:pt idx="8067">
                  <c:v>0.42895823461720717</c:v>
                </c:pt>
                <c:pt idx="8068">
                  <c:v>0.41684153523319578</c:v>
                </c:pt>
                <c:pt idx="8069">
                  <c:v>0.41673999864617883</c:v>
                </c:pt>
                <c:pt idx="8070">
                  <c:v>0.41332160021661135</c:v>
                </c:pt>
                <c:pt idx="8071">
                  <c:v>0.41589386042103849</c:v>
                </c:pt>
                <c:pt idx="8072">
                  <c:v>0.41173086035334738</c:v>
                </c:pt>
                <c:pt idx="8073">
                  <c:v>0.42124145400392621</c:v>
                </c:pt>
                <c:pt idx="8074">
                  <c:v>0.43081973871251611</c:v>
                </c:pt>
                <c:pt idx="8075">
                  <c:v>0.41704460840722946</c:v>
                </c:pt>
                <c:pt idx="8076">
                  <c:v>0.42442293373045437</c:v>
                </c:pt>
                <c:pt idx="8077">
                  <c:v>0.42195221011304418</c:v>
                </c:pt>
                <c:pt idx="8078">
                  <c:v>0.41640154335612278</c:v>
                </c:pt>
                <c:pt idx="8079">
                  <c:v>0.41528464089893746</c:v>
                </c:pt>
                <c:pt idx="8080">
                  <c:v>0.40154335612265646</c:v>
                </c:pt>
                <c:pt idx="8081">
                  <c:v>0.40425099844310575</c:v>
                </c:pt>
                <c:pt idx="8082">
                  <c:v>0.40685710417653853</c:v>
                </c:pt>
                <c:pt idx="8083">
                  <c:v>0.40621403912543164</c:v>
                </c:pt>
                <c:pt idx="8084">
                  <c:v>0.40452176267515072</c:v>
                </c:pt>
                <c:pt idx="8085">
                  <c:v>0.39352196574832488</c:v>
                </c:pt>
                <c:pt idx="8086">
                  <c:v>0.38631286807012821</c:v>
                </c:pt>
                <c:pt idx="8087">
                  <c:v>0.38553442090299872</c:v>
                </c:pt>
                <c:pt idx="8088">
                  <c:v>0.38529750219995962</c:v>
                </c:pt>
                <c:pt idx="8089">
                  <c:v>0.37900223380491438</c:v>
                </c:pt>
                <c:pt idx="8090">
                  <c:v>0.36282407094022906</c:v>
                </c:pt>
                <c:pt idx="8091">
                  <c:v>0.38005144520408862</c:v>
                </c:pt>
                <c:pt idx="8092">
                  <c:v>0.36820551005212221</c:v>
                </c:pt>
                <c:pt idx="8093">
                  <c:v>0.37812225005076838</c:v>
                </c:pt>
                <c:pt idx="8094">
                  <c:v>0.37944222568198738</c:v>
                </c:pt>
                <c:pt idx="8095">
                  <c:v>0.38925742909361682</c:v>
                </c:pt>
                <c:pt idx="8096">
                  <c:v>0.4089555269748868</c:v>
                </c:pt>
                <c:pt idx="8097">
                  <c:v>0.41406620185473519</c:v>
                </c:pt>
                <c:pt idx="8098">
                  <c:v>0.41068164895417336</c:v>
                </c:pt>
                <c:pt idx="8099">
                  <c:v>0.41007242943207212</c:v>
                </c:pt>
                <c:pt idx="8100">
                  <c:v>0.40238949434779681</c:v>
                </c:pt>
                <c:pt idx="8101">
                  <c:v>0.41633385229811171</c:v>
                </c:pt>
                <c:pt idx="8102">
                  <c:v>0.41284776281053293</c:v>
                </c:pt>
                <c:pt idx="8103">
                  <c:v>0.41183239694036433</c:v>
                </c:pt>
                <c:pt idx="8104">
                  <c:v>0.42875516144317349</c:v>
                </c:pt>
                <c:pt idx="8105">
                  <c:v>0.43142895823461735</c:v>
                </c:pt>
                <c:pt idx="8106">
                  <c:v>0.42127529953293186</c:v>
                </c:pt>
                <c:pt idx="8107">
                  <c:v>0.42124145400392621</c:v>
                </c:pt>
                <c:pt idx="8108">
                  <c:v>0.42073377106884191</c:v>
                </c:pt>
                <c:pt idx="8109">
                  <c:v>0.43934881202193199</c:v>
                </c:pt>
                <c:pt idx="8110">
                  <c:v>0.42009070601773502</c:v>
                </c:pt>
                <c:pt idx="8111">
                  <c:v>0.42134299059094293</c:v>
                </c:pt>
                <c:pt idx="8112">
                  <c:v>0.40919244567792612</c:v>
                </c:pt>
                <c:pt idx="8113">
                  <c:v>0.40269410410884721</c:v>
                </c:pt>
                <c:pt idx="8114">
                  <c:v>0.41162932376633043</c:v>
                </c:pt>
                <c:pt idx="8115">
                  <c:v>0.41467542137683622</c:v>
                </c:pt>
                <c:pt idx="8116">
                  <c:v>0.41467542137683622</c:v>
                </c:pt>
                <c:pt idx="8117">
                  <c:v>0.40821092533676318</c:v>
                </c:pt>
                <c:pt idx="8118">
                  <c:v>0.40130643741961691</c:v>
                </c:pt>
                <c:pt idx="8119">
                  <c:v>0.40404792526907207</c:v>
                </c:pt>
                <c:pt idx="8120">
                  <c:v>0.399614160969336</c:v>
                </c:pt>
                <c:pt idx="8121">
                  <c:v>0.3995464699113247</c:v>
                </c:pt>
                <c:pt idx="8122">
                  <c:v>0.3931158194002573</c:v>
                </c:pt>
                <c:pt idx="8123">
                  <c:v>0.39010356731875739</c:v>
                </c:pt>
                <c:pt idx="8124">
                  <c:v>0.40408177079807772</c:v>
                </c:pt>
                <c:pt idx="8125">
                  <c:v>0.41562309618899351</c:v>
                </c:pt>
                <c:pt idx="8126">
                  <c:v>0.41538617748595419</c:v>
                </c:pt>
                <c:pt idx="8127">
                  <c:v>0.42604751912272398</c:v>
                </c:pt>
                <c:pt idx="8128">
                  <c:v>0.42401678738238702</c:v>
                </c:pt>
                <c:pt idx="8129">
                  <c:v>0.42120760847492056</c:v>
                </c:pt>
                <c:pt idx="8130">
                  <c:v>0.41382928315169587</c:v>
                </c:pt>
                <c:pt idx="8131">
                  <c:v>0.41399851079672367</c:v>
                </c:pt>
                <c:pt idx="8132">
                  <c:v>0.41778921004535308</c:v>
                </c:pt>
                <c:pt idx="8133">
                  <c:v>0.41954917755364529</c:v>
                </c:pt>
                <c:pt idx="8134">
                  <c:v>0.41772151898734178</c:v>
                </c:pt>
                <c:pt idx="8135">
                  <c:v>0.4235091044473025</c:v>
                </c:pt>
                <c:pt idx="8136">
                  <c:v>0.42892438908820152</c:v>
                </c:pt>
                <c:pt idx="8137">
                  <c:v>0.43626886888242078</c:v>
                </c:pt>
                <c:pt idx="8138">
                  <c:v>0.43873959249983074</c:v>
                </c:pt>
                <c:pt idx="8139">
                  <c:v>0.43576118594733648</c:v>
                </c:pt>
                <c:pt idx="8140">
                  <c:v>0.43477966560617354</c:v>
                </c:pt>
                <c:pt idx="8141">
                  <c:v>0.42905977120422412</c:v>
                </c:pt>
                <c:pt idx="8142">
                  <c:v>0.41311852704257768</c:v>
                </c:pt>
                <c:pt idx="8143">
                  <c:v>0.39287890069721798</c:v>
                </c:pt>
                <c:pt idx="8144">
                  <c:v>0.39308197387125188</c:v>
                </c:pt>
                <c:pt idx="8145">
                  <c:v>0.39470655926352127</c:v>
                </c:pt>
                <c:pt idx="8146">
                  <c:v>0.39081432342787537</c:v>
                </c:pt>
                <c:pt idx="8147">
                  <c:v>0.40039260813646527</c:v>
                </c:pt>
                <c:pt idx="8148">
                  <c:v>0.40035876260745962</c:v>
                </c:pt>
                <c:pt idx="8149">
                  <c:v>0.40668787653151028</c:v>
                </c:pt>
                <c:pt idx="8150">
                  <c:v>0.41318621810058898</c:v>
                </c:pt>
                <c:pt idx="8151">
                  <c:v>0.41169701482434196</c:v>
                </c:pt>
                <c:pt idx="8152">
                  <c:v>0.41366005550666762</c:v>
                </c:pt>
                <c:pt idx="8153">
                  <c:v>0.40414946185608902</c:v>
                </c:pt>
                <c:pt idx="8154">
                  <c:v>0.40330332363094845</c:v>
                </c:pt>
                <c:pt idx="8155">
                  <c:v>0.40198334799972946</c:v>
                </c:pt>
                <c:pt idx="8156">
                  <c:v>0.38861436404250993</c:v>
                </c:pt>
                <c:pt idx="8157">
                  <c:v>0.38482366479388097</c:v>
                </c:pt>
                <c:pt idx="8158">
                  <c:v>0.40066337236851024</c:v>
                </c:pt>
                <c:pt idx="8159">
                  <c:v>0.39365734786434725</c:v>
                </c:pt>
                <c:pt idx="8160">
                  <c:v>0.39741420158397078</c:v>
                </c:pt>
                <c:pt idx="8161">
                  <c:v>0.38137142083530762</c:v>
                </c:pt>
                <c:pt idx="8162">
                  <c:v>0.38407906315575713</c:v>
                </c:pt>
                <c:pt idx="8163">
                  <c:v>0.3654978677316727</c:v>
                </c:pt>
                <c:pt idx="8164">
                  <c:v>0.36438096527448738</c:v>
                </c:pt>
                <c:pt idx="8165">
                  <c:v>0.36678399783388627</c:v>
                </c:pt>
                <c:pt idx="8166">
                  <c:v>0.36749475394300424</c:v>
                </c:pt>
                <c:pt idx="8167">
                  <c:v>0.36532864008664467</c:v>
                </c:pt>
                <c:pt idx="8168">
                  <c:v>0.36624246936979632</c:v>
                </c:pt>
                <c:pt idx="8169">
                  <c:v>0.35707033100927377</c:v>
                </c:pt>
                <c:pt idx="8170">
                  <c:v>0.36147024978000419</c:v>
                </c:pt>
                <c:pt idx="8171">
                  <c:v>0.38198064035740886</c:v>
                </c:pt>
                <c:pt idx="8172">
                  <c:v>0.3886482095715158</c:v>
                </c:pt>
                <c:pt idx="8173">
                  <c:v>0.38685439653421794</c:v>
                </c:pt>
                <c:pt idx="8174">
                  <c:v>0.38445136397481905</c:v>
                </c:pt>
                <c:pt idx="8175">
                  <c:v>0.37835916875380771</c:v>
                </c:pt>
                <c:pt idx="8176">
                  <c:v>0.38786976240438653</c:v>
                </c:pt>
                <c:pt idx="8177">
                  <c:v>0.39903878697624062</c:v>
                </c:pt>
                <c:pt idx="8178">
                  <c:v>0.39944493332430797</c:v>
                </c:pt>
                <c:pt idx="8179">
                  <c:v>0.39870033168618435</c:v>
                </c:pt>
                <c:pt idx="8180">
                  <c:v>0.4032017870439315</c:v>
                </c:pt>
                <c:pt idx="8181">
                  <c:v>0.39951262438231927</c:v>
                </c:pt>
                <c:pt idx="8182">
                  <c:v>0.41237392540445428</c:v>
                </c:pt>
                <c:pt idx="8183">
                  <c:v>0.40577404724835864</c:v>
                </c:pt>
                <c:pt idx="8184">
                  <c:v>0.41047857578013947</c:v>
                </c:pt>
                <c:pt idx="8185">
                  <c:v>0.3950111690245719</c:v>
                </c:pt>
                <c:pt idx="8186">
                  <c:v>0.39243890882014498</c:v>
                </c:pt>
                <c:pt idx="8187">
                  <c:v>0.40127259189061126</c:v>
                </c:pt>
                <c:pt idx="8188">
                  <c:v>0.39646652677181371</c:v>
                </c:pt>
                <c:pt idx="8189">
                  <c:v>0.40590942936438101</c:v>
                </c:pt>
                <c:pt idx="8190">
                  <c:v>0.40922629120693177</c:v>
                </c:pt>
                <c:pt idx="8191">
                  <c:v>0.39717728288093146</c:v>
                </c:pt>
                <c:pt idx="8192">
                  <c:v>0.38797129899140326</c:v>
                </c:pt>
                <c:pt idx="8193">
                  <c:v>0.39829418533811678</c:v>
                </c:pt>
                <c:pt idx="8194">
                  <c:v>0.40949705543897652</c:v>
                </c:pt>
                <c:pt idx="8195">
                  <c:v>0.4089555269748868</c:v>
                </c:pt>
                <c:pt idx="8196">
                  <c:v>0.41640154335612278</c:v>
                </c:pt>
                <c:pt idx="8197">
                  <c:v>0.40814323427875188</c:v>
                </c:pt>
                <c:pt idx="8198">
                  <c:v>0.40746632369863955</c:v>
                </c:pt>
                <c:pt idx="8199">
                  <c:v>0.41064780342516771</c:v>
                </c:pt>
                <c:pt idx="8200">
                  <c:v>0.41081703107019574</c:v>
                </c:pt>
                <c:pt idx="8201">
                  <c:v>0.41105394977323506</c:v>
                </c:pt>
                <c:pt idx="8202">
                  <c:v>0.39622960806877416</c:v>
                </c:pt>
                <c:pt idx="8203">
                  <c:v>0.40442022608813377</c:v>
                </c:pt>
                <c:pt idx="8204">
                  <c:v>0.3945034860894876</c:v>
                </c:pt>
                <c:pt idx="8205">
                  <c:v>0.38465443714885272</c:v>
                </c:pt>
                <c:pt idx="8206">
                  <c:v>0.38242063223448186</c:v>
                </c:pt>
                <c:pt idx="8207">
                  <c:v>0.3843498273878021</c:v>
                </c:pt>
                <c:pt idx="8208">
                  <c:v>0.39308197387125188</c:v>
                </c:pt>
                <c:pt idx="8209">
                  <c:v>0.38702362417924596</c:v>
                </c:pt>
                <c:pt idx="8210">
                  <c:v>0.38854667298449885</c:v>
                </c:pt>
                <c:pt idx="8211">
                  <c:v>0.3882082176944428</c:v>
                </c:pt>
                <c:pt idx="8212">
                  <c:v>0.40814323427875188</c:v>
                </c:pt>
                <c:pt idx="8213">
                  <c:v>0.40892168144588092</c:v>
                </c:pt>
                <c:pt idx="8214">
                  <c:v>0.39575577066269552</c:v>
                </c:pt>
                <c:pt idx="8215">
                  <c:v>0.37439924186015028</c:v>
                </c:pt>
                <c:pt idx="8216">
                  <c:v>0.36834089216814481</c:v>
                </c:pt>
                <c:pt idx="8217">
                  <c:v>0.35598727408109387</c:v>
                </c:pt>
                <c:pt idx="8218">
                  <c:v>0.33520611927164423</c:v>
                </c:pt>
                <c:pt idx="8219">
                  <c:v>0.34725512759764454</c:v>
                </c:pt>
                <c:pt idx="8220">
                  <c:v>0.37274081093887501</c:v>
                </c:pt>
                <c:pt idx="8221">
                  <c:v>0.35906721722060531</c:v>
                </c:pt>
                <c:pt idx="8222">
                  <c:v>0.35551343667501523</c:v>
                </c:pt>
                <c:pt idx="8223">
                  <c:v>0.36813781899411113</c:v>
                </c:pt>
                <c:pt idx="8224">
                  <c:v>0.36631016042780762</c:v>
                </c:pt>
                <c:pt idx="8225">
                  <c:v>0.36397481892641981</c:v>
                </c:pt>
                <c:pt idx="8226">
                  <c:v>0.36566709537670072</c:v>
                </c:pt>
                <c:pt idx="8227">
                  <c:v>0.38042374602315054</c:v>
                </c:pt>
                <c:pt idx="8228">
                  <c:v>0.37927299803695935</c:v>
                </c:pt>
                <c:pt idx="8229">
                  <c:v>0.38387598998172345</c:v>
                </c:pt>
                <c:pt idx="8230">
                  <c:v>0.38736207946930223</c:v>
                </c:pt>
                <c:pt idx="8231">
                  <c:v>0.39206660800108328</c:v>
                </c:pt>
                <c:pt idx="8232">
                  <c:v>0.38698977865024053</c:v>
                </c:pt>
                <c:pt idx="8233">
                  <c:v>0.3847898192648751</c:v>
                </c:pt>
                <c:pt idx="8234">
                  <c:v>0.38624517701211669</c:v>
                </c:pt>
                <c:pt idx="8235">
                  <c:v>0.37544845325932452</c:v>
                </c:pt>
                <c:pt idx="8236">
                  <c:v>0.37358694916401536</c:v>
                </c:pt>
                <c:pt idx="8237">
                  <c:v>0.36698707100791994</c:v>
                </c:pt>
                <c:pt idx="8238">
                  <c:v>0.36746090841399859</c:v>
                </c:pt>
                <c:pt idx="8239">
                  <c:v>0.37714072970960544</c:v>
                </c:pt>
                <c:pt idx="8240">
                  <c:v>0.37145468083666144</c:v>
                </c:pt>
                <c:pt idx="8241">
                  <c:v>0.36884857510322888</c:v>
                </c:pt>
                <c:pt idx="8242">
                  <c:v>0.37585459960739187</c:v>
                </c:pt>
                <c:pt idx="8243">
                  <c:v>0.38539903878697634</c:v>
                </c:pt>
                <c:pt idx="8244">
                  <c:v>0.39731266499695406</c:v>
                </c:pt>
                <c:pt idx="8245">
                  <c:v>0.39595884383672919</c:v>
                </c:pt>
                <c:pt idx="8246">
                  <c:v>0.39680498206186976</c:v>
                </c:pt>
                <c:pt idx="8247">
                  <c:v>0.40073106342652154</c:v>
                </c:pt>
                <c:pt idx="8248">
                  <c:v>0.40577404724835864</c:v>
                </c:pt>
                <c:pt idx="8249">
                  <c:v>0.38918973803560553</c:v>
                </c:pt>
                <c:pt idx="8250">
                  <c:v>0.39534962431462817</c:v>
                </c:pt>
                <c:pt idx="8251">
                  <c:v>0.39260813646517301</c:v>
                </c:pt>
                <c:pt idx="8252">
                  <c:v>0.40086644554254391</c:v>
                </c:pt>
                <c:pt idx="8253">
                  <c:v>0.38177756718337519</c:v>
                </c:pt>
                <c:pt idx="8254">
                  <c:v>0.3787991606308807</c:v>
                </c:pt>
                <c:pt idx="8255">
                  <c:v>0.39606038042374614</c:v>
                </c:pt>
                <c:pt idx="8256">
                  <c:v>0.40015568943342594</c:v>
                </c:pt>
                <c:pt idx="8257">
                  <c:v>0.41179855141135868</c:v>
                </c:pt>
                <c:pt idx="8258">
                  <c:v>0.40039260813646527</c:v>
                </c:pt>
                <c:pt idx="8259">
                  <c:v>0.40042645366547092</c:v>
                </c:pt>
                <c:pt idx="8260">
                  <c:v>0.39135585189196509</c:v>
                </c:pt>
                <c:pt idx="8261">
                  <c:v>0.40059568131049894</c:v>
                </c:pt>
                <c:pt idx="8262">
                  <c:v>0.40066337236851024</c:v>
                </c:pt>
                <c:pt idx="8263">
                  <c:v>0.40069721789751589</c:v>
                </c:pt>
                <c:pt idx="8264">
                  <c:v>0.38607594936708867</c:v>
                </c:pt>
                <c:pt idx="8265">
                  <c:v>0.38357138022067305</c:v>
                </c:pt>
                <c:pt idx="8266">
                  <c:v>0.3931835104582686</c:v>
                </c:pt>
                <c:pt idx="8267">
                  <c:v>0.3888174372165436</c:v>
                </c:pt>
                <c:pt idx="8268">
                  <c:v>0.40445407161713942</c:v>
                </c:pt>
                <c:pt idx="8269">
                  <c:v>0.40455560820415637</c:v>
                </c:pt>
                <c:pt idx="8270">
                  <c:v>0.40621403912543164</c:v>
                </c:pt>
                <c:pt idx="8271">
                  <c:v>0.40445407161713942</c:v>
                </c:pt>
                <c:pt idx="8272">
                  <c:v>0.41518310431192051</c:v>
                </c:pt>
                <c:pt idx="8273">
                  <c:v>0.39660190888783586</c:v>
                </c:pt>
                <c:pt idx="8274">
                  <c:v>0.40919244567792612</c:v>
                </c:pt>
                <c:pt idx="8275">
                  <c:v>0.4176538279293307</c:v>
                </c:pt>
                <c:pt idx="8276">
                  <c:v>0.41545386854396527</c:v>
                </c:pt>
                <c:pt idx="8277">
                  <c:v>0.42411832396940374</c:v>
                </c:pt>
                <c:pt idx="8278">
                  <c:v>0.42300142151221842</c:v>
                </c:pt>
                <c:pt idx="8279">
                  <c:v>0.40235564881879116</c:v>
                </c:pt>
                <c:pt idx="8280">
                  <c:v>0.40492790902321829</c:v>
                </c:pt>
                <c:pt idx="8281">
                  <c:v>0.4134231368036283</c:v>
                </c:pt>
                <c:pt idx="8282">
                  <c:v>0.41508156772490379</c:v>
                </c:pt>
                <c:pt idx="8283">
                  <c:v>0.41271238069451033</c:v>
                </c:pt>
                <c:pt idx="8284">
                  <c:v>0.41460773031882492</c:v>
                </c:pt>
                <c:pt idx="8285">
                  <c:v>0.41927841332160032</c:v>
                </c:pt>
                <c:pt idx="8286">
                  <c:v>0.41223854328843168</c:v>
                </c:pt>
                <c:pt idx="8287">
                  <c:v>0.41166316929533608</c:v>
                </c:pt>
                <c:pt idx="8288">
                  <c:v>0.40506329113924067</c:v>
                </c:pt>
                <c:pt idx="8289">
                  <c:v>0.37568537196236385</c:v>
                </c:pt>
                <c:pt idx="8290">
                  <c:v>0.37020239626345353</c:v>
                </c:pt>
                <c:pt idx="8291">
                  <c:v>0.35155350978135802</c:v>
                </c:pt>
                <c:pt idx="8292">
                  <c:v>0.34305828200094779</c:v>
                </c:pt>
                <c:pt idx="8293">
                  <c:v>0.30995735463345309</c:v>
                </c:pt>
                <c:pt idx="8294">
                  <c:v>0.29465917552291354</c:v>
                </c:pt>
                <c:pt idx="8295">
                  <c:v>0.297908346307453</c:v>
                </c:pt>
                <c:pt idx="8296">
                  <c:v>0.29540377716103716</c:v>
                </c:pt>
                <c:pt idx="8297">
                  <c:v>0.30122520815000331</c:v>
                </c:pt>
                <c:pt idx="8298">
                  <c:v>0.30125905367900918</c:v>
                </c:pt>
                <c:pt idx="8299">
                  <c:v>0.29137615920936866</c:v>
                </c:pt>
                <c:pt idx="8300">
                  <c:v>0.2783456305422054</c:v>
                </c:pt>
                <c:pt idx="8301">
                  <c:v>0.27902254112231772</c:v>
                </c:pt>
                <c:pt idx="8302">
                  <c:v>0.28024098016651999</c:v>
                </c:pt>
                <c:pt idx="8303">
                  <c:v>0.2830840046029921</c:v>
                </c:pt>
                <c:pt idx="8304">
                  <c:v>0.27729641914303116</c:v>
                </c:pt>
                <c:pt idx="8305">
                  <c:v>0.28636702091653699</c:v>
                </c:pt>
                <c:pt idx="8306">
                  <c:v>0.2893792729980369</c:v>
                </c:pt>
                <c:pt idx="8307">
                  <c:v>0.29086847627428414</c:v>
                </c:pt>
                <c:pt idx="8308">
                  <c:v>0.26995193934881212</c:v>
                </c:pt>
                <c:pt idx="8309">
                  <c:v>0.27445339470655949</c:v>
                </c:pt>
                <c:pt idx="8310">
                  <c:v>0.2792256142963514</c:v>
                </c:pt>
                <c:pt idx="8311">
                  <c:v>0.27035808569687947</c:v>
                </c:pt>
                <c:pt idx="8312">
                  <c:v>0.27306572801732898</c:v>
                </c:pt>
                <c:pt idx="8313">
                  <c:v>0.28633317538753134</c:v>
                </c:pt>
                <c:pt idx="8314">
                  <c:v>0.28115480944967164</c:v>
                </c:pt>
                <c:pt idx="8315">
                  <c:v>0.28416706153117177</c:v>
                </c:pt>
                <c:pt idx="8316">
                  <c:v>0.30386515941244174</c:v>
                </c:pt>
                <c:pt idx="8317">
                  <c:v>0.29499763081296981</c:v>
                </c:pt>
                <c:pt idx="8318">
                  <c:v>0.34417518445813311</c:v>
                </c:pt>
                <c:pt idx="8319">
                  <c:v>0.34505516821227933</c:v>
                </c:pt>
                <c:pt idx="8320">
                  <c:v>0.34278751776890282</c:v>
                </c:pt>
                <c:pt idx="8321">
                  <c:v>0.33053543626886905</c:v>
                </c:pt>
                <c:pt idx="8322">
                  <c:v>0.32975698910173978</c:v>
                </c:pt>
                <c:pt idx="8323">
                  <c:v>0.33256616800920624</c:v>
                </c:pt>
                <c:pt idx="8324">
                  <c:v>0.31987409463209926</c:v>
                </c:pt>
                <c:pt idx="8325">
                  <c:v>0.31560955797739121</c:v>
                </c:pt>
                <c:pt idx="8326">
                  <c:v>0.32092330603127328</c:v>
                </c:pt>
                <c:pt idx="8327">
                  <c:v>0.32444324104785771</c:v>
                </c:pt>
                <c:pt idx="8328">
                  <c:v>0.32830163135449819</c:v>
                </c:pt>
                <c:pt idx="8329">
                  <c:v>0.32999390780477911</c:v>
                </c:pt>
                <c:pt idx="8330">
                  <c:v>0.32498476951194766</c:v>
                </c:pt>
                <c:pt idx="8331">
                  <c:v>0.31835104582684637</c:v>
                </c:pt>
                <c:pt idx="8332">
                  <c:v>0.30034522439585731</c:v>
                </c:pt>
                <c:pt idx="8333">
                  <c:v>0.30328978541934615</c:v>
                </c:pt>
                <c:pt idx="8334">
                  <c:v>0.31300345224395865</c:v>
                </c:pt>
                <c:pt idx="8335">
                  <c:v>0.31263115142489672</c:v>
                </c:pt>
                <c:pt idx="8336">
                  <c:v>0.32004332227712728</c:v>
                </c:pt>
                <c:pt idx="8337">
                  <c:v>0.32843701347052057</c:v>
                </c:pt>
                <c:pt idx="8338">
                  <c:v>0.3264739727881949</c:v>
                </c:pt>
                <c:pt idx="8339">
                  <c:v>0.32945237934068916</c:v>
                </c:pt>
                <c:pt idx="8340">
                  <c:v>0.32339402964868347</c:v>
                </c:pt>
                <c:pt idx="8341">
                  <c:v>0.30802815948013285</c:v>
                </c:pt>
                <c:pt idx="8342">
                  <c:v>0.29103770391931238</c:v>
                </c:pt>
                <c:pt idx="8343">
                  <c:v>0.28799160630880682</c:v>
                </c:pt>
                <c:pt idx="8344">
                  <c:v>0.27529953293169984</c:v>
                </c:pt>
                <c:pt idx="8345">
                  <c:v>0.28839775265687417</c:v>
                </c:pt>
                <c:pt idx="8346">
                  <c:v>0.28443782576321675</c:v>
                </c:pt>
                <c:pt idx="8347">
                  <c:v>0.29032694781019441</c:v>
                </c:pt>
                <c:pt idx="8348">
                  <c:v>0.30125905367900918</c:v>
                </c:pt>
                <c:pt idx="8349">
                  <c:v>0.31408650917213832</c:v>
                </c:pt>
                <c:pt idx="8350">
                  <c:v>0.31726798889866648</c:v>
                </c:pt>
                <c:pt idx="8351">
                  <c:v>0.31273268801191367</c:v>
                </c:pt>
                <c:pt idx="8352">
                  <c:v>0.30609896432681238</c:v>
                </c:pt>
                <c:pt idx="8353">
                  <c:v>0.30809585053814392</c:v>
                </c:pt>
                <c:pt idx="8354">
                  <c:v>0.30941582616936314</c:v>
                </c:pt>
                <c:pt idx="8355">
                  <c:v>0.31222500507682938</c:v>
                </c:pt>
                <c:pt idx="8356">
                  <c:v>0.3061666553848239</c:v>
                </c:pt>
                <c:pt idx="8357">
                  <c:v>0.31293576118594757</c:v>
                </c:pt>
                <c:pt idx="8358">
                  <c:v>0.31171732214174508</c:v>
                </c:pt>
                <c:pt idx="8359">
                  <c:v>0.30961889934339681</c:v>
                </c:pt>
                <c:pt idx="8360">
                  <c:v>0.30474514316658774</c:v>
                </c:pt>
                <c:pt idx="8361">
                  <c:v>0.30569281797874504</c:v>
                </c:pt>
                <c:pt idx="8362">
                  <c:v>0.2982806471265147</c:v>
                </c:pt>
                <c:pt idx="8363">
                  <c:v>0.31097272050362146</c:v>
                </c:pt>
                <c:pt idx="8364">
                  <c:v>0.30335747647735745</c:v>
                </c:pt>
                <c:pt idx="8365">
                  <c:v>0.30156366344005958</c:v>
                </c:pt>
                <c:pt idx="8366">
                  <c:v>0.31513572057131256</c:v>
                </c:pt>
                <c:pt idx="8367">
                  <c:v>0.31692953360861043</c:v>
                </c:pt>
                <c:pt idx="8368">
                  <c:v>0.3170649157246328</c:v>
                </c:pt>
                <c:pt idx="8369">
                  <c:v>0.31987409463209926</c:v>
                </c:pt>
                <c:pt idx="8370">
                  <c:v>0.32725241995532395</c:v>
                </c:pt>
                <c:pt idx="8371">
                  <c:v>0.33835375346916674</c:v>
                </c:pt>
                <c:pt idx="8372">
                  <c:v>0.34187368848575117</c:v>
                </c:pt>
                <c:pt idx="8373">
                  <c:v>0.34244906247884654</c:v>
                </c:pt>
                <c:pt idx="8374">
                  <c:v>0.33033236309483538</c:v>
                </c:pt>
                <c:pt idx="8375">
                  <c:v>0.33300615988627924</c:v>
                </c:pt>
                <c:pt idx="8376">
                  <c:v>0.33408921681445891</c:v>
                </c:pt>
                <c:pt idx="8377">
                  <c:v>0.32447708657686314</c:v>
                </c:pt>
                <c:pt idx="8378">
                  <c:v>0.32197251743044752</c:v>
                </c:pt>
                <c:pt idx="8379">
                  <c:v>0.28420090706017742</c:v>
                </c:pt>
                <c:pt idx="8380">
                  <c:v>0.27418263047451452</c:v>
                </c:pt>
                <c:pt idx="8381">
                  <c:v>0.30501590739863271</c:v>
                </c:pt>
                <c:pt idx="8382">
                  <c:v>0.31770798077573947</c:v>
                </c:pt>
                <c:pt idx="8383">
                  <c:v>0.31963717592905971</c:v>
                </c:pt>
                <c:pt idx="8384">
                  <c:v>0.31868950111690264</c:v>
                </c:pt>
                <c:pt idx="8385">
                  <c:v>0.31327421647600362</c:v>
                </c:pt>
                <c:pt idx="8386">
                  <c:v>0.31022811886549806</c:v>
                </c:pt>
                <c:pt idx="8387">
                  <c:v>0.31767413524673405</c:v>
                </c:pt>
                <c:pt idx="8388">
                  <c:v>0.32187098084343058</c:v>
                </c:pt>
                <c:pt idx="8389">
                  <c:v>0.32207405401746447</c:v>
                </c:pt>
                <c:pt idx="8390">
                  <c:v>0.3032559398903405</c:v>
                </c:pt>
                <c:pt idx="8391">
                  <c:v>0.31043119203953173</c:v>
                </c:pt>
                <c:pt idx="8392">
                  <c:v>0.31022811886549806</c:v>
                </c:pt>
                <c:pt idx="8393">
                  <c:v>0.31256346036688565</c:v>
                </c:pt>
                <c:pt idx="8394">
                  <c:v>0.30877276111825647</c:v>
                </c:pt>
                <c:pt idx="8395">
                  <c:v>0.29679144385026746</c:v>
                </c:pt>
                <c:pt idx="8396">
                  <c:v>0.28927773641102017</c:v>
                </c:pt>
                <c:pt idx="8397">
                  <c:v>0.2893792729980369</c:v>
                </c:pt>
                <c:pt idx="8398">
                  <c:v>0.28152711026873356</c:v>
                </c:pt>
                <c:pt idx="8399">
                  <c:v>0.28416706153117177</c:v>
                </c:pt>
                <c:pt idx="8400">
                  <c:v>0.29587761456711581</c:v>
                </c:pt>
                <c:pt idx="8401">
                  <c:v>0.30041291545386883</c:v>
                </c:pt>
                <c:pt idx="8402">
                  <c:v>0.30430515128951474</c:v>
                </c:pt>
                <c:pt idx="8403">
                  <c:v>0.29012387463616074</c:v>
                </c:pt>
                <c:pt idx="8404">
                  <c:v>0.29134231368036301</c:v>
                </c:pt>
                <c:pt idx="8405">
                  <c:v>0.29421918364584032</c:v>
                </c:pt>
                <c:pt idx="8406">
                  <c:v>0.28697624043863823</c:v>
                </c:pt>
                <c:pt idx="8407">
                  <c:v>0.27587490692479544</c:v>
                </c:pt>
                <c:pt idx="8408">
                  <c:v>0.27171190685710433</c:v>
                </c:pt>
                <c:pt idx="8409">
                  <c:v>0.27296419143031225</c:v>
                </c:pt>
                <c:pt idx="8410">
                  <c:v>0.27915792323834032</c:v>
                </c:pt>
                <c:pt idx="8411">
                  <c:v>0.26609354904217164</c:v>
                </c:pt>
                <c:pt idx="8412">
                  <c:v>0.26355513436675015</c:v>
                </c:pt>
                <c:pt idx="8413">
                  <c:v>0.27756718337507635</c:v>
                </c:pt>
                <c:pt idx="8414">
                  <c:v>0.27909023218032902</c:v>
                </c:pt>
                <c:pt idx="8415">
                  <c:v>0.25621065457253112</c:v>
                </c:pt>
                <c:pt idx="8416">
                  <c:v>0.26717660597035131</c:v>
                </c:pt>
                <c:pt idx="8417">
                  <c:v>0.25766601231977249</c:v>
                </c:pt>
                <c:pt idx="8418">
                  <c:v>0.25448453259324455</c:v>
                </c:pt>
                <c:pt idx="8419">
                  <c:v>0.25546605293440749</c:v>
                </c:pt>
                <c:pt idx="8420">
                  <c:v>0.27851485818723365</c:v>
                </c:pt>
                <c:pt idx="8421">
                  <c:v>0.27062884992892444</c:v>
                </c:pt>
                <c:pt idx="8422">
                  <c:v>0.2695119474717389</c:v>
                </c:pt>
                <c:pt idx="8423">
                  <c:v>0.28135788262370531</c:v>
                </c:pt>
                <c:pt idx="8424">
                  <c:v>0.28657009409057066</c:v>
                </c:pt>
                <c:pt idx="8425">
                  <c:v>0.29388072835578427</c:v>
                </c:pt>
                <c:pt idx="8426">
                  <c:v>0.27810871183916608</c:v>
                </c:pt>
                <c:pt idx="8427">
                  <c:v>0.27479184999661554</c:v>
                </c:pt>
                <c:pt idx="8428">
                  <c:v>0.28968388275908774</c:v>
                </c:pt>
                <c:pt idx="8429">
                  <c:v>0.28129019156569424</c:v>
                </c:pt>
                <c:pt idx="8430">
                  <c:v>0.28420090706017742</c:v>
                </c:pt>
                <c:pt idx="8431">
                  <c:v>0.29841602924253707</c:v>
                </c:pt>
                <c:pt idx="8432">
                  <c:v>0.30335747647735745</c:v>
                </c:pt>
                <c:pt idx="8433">
                  <c:v>0.31232654166384632</c:v>
                </c:pt>
                <c:pt idx="8434">
                  <c:v>0.313409598592026</c:v>
                </c:pt>
                <c:pt idx="8435">
                  <c:v>0.31940025722602039</c:v>
                </c:pt>
                <c:pt idx="8436">
                  <c:v>0.30968659040140789</c:v>
                </c:pt>
                <c:pt idx="8437">
                  <c:v>0.29557300480606519</c:v>
                </c:pt>
                <c:pt idx="8438">
                  <c:v>0.29269613484058765</c:v>
                </c:pt>
                <c:pt idx="8439">
                  <c:v>0.27763487443308743</c:v>
                </c:pt>
                <c:pt idx="8440">
                  <c:v>0.26910580112367177</c:v>
                </c:pt>
                <c:pt idx="8441">
                  <c:v>0.273234955662357</c:v>
                </c:pt>
                <c:pt idx="8442">
                  <c:v>0.27039193122588512</c:v>
                </c:pt>
                <c:pt idx="8443">
                  <c:v>0.2600013538211603</c:v>
                </c:pt>
                <c:pt idx="8444">
                  <c:v>0.260373654640222</c:v>
                </c:pt>
                <c:pt idx="8445">
                  <c:v>0.25969674406010967</c:v>
                </c:pt>
                <c:pt idx="8446">
                  <c:v>0.24744466256007591</c:v>
                </c:pt>
                <c:pt idx="8447">
                  <c:v>0.25776754890678943</c:v>
                </c:pt>
                <c:pt idx="8448">
                  <c:v>0.27516415081567724</c:v>
                </c:pt>
                <c:pt idx="8449">
                  <c:v>0.27171190685710433</c:v>
                </c:pt>
                <c:pt idx="8450">
                  <c:v>0.29712989914032373</c:v>
                </c:pt>
                <c:pt idx="8451">
                  <c:v>0.28108711839166056</c:v>
                </c:pt>
                <c:pt idx="8452">
                  <c:v>0.27705950043999183</c:v>
                </c:pt>
                <c:pt idx="8453">
                  <c:v>0.28640086644554263</c:v>
                </c:pt>
                <c:pt idx="8454">
                  <c:v>0.28883774453394717</c:v>
                </c:pt>
                <c:pt idx="8455">
                  <c:v>0.28789006972178988</c:v>
                </c:pt>
                <c:pt idx="8456">
                  <c:v>0.28711162255466061</c:v>
                </c:pt>
                <c:pt idx="8457">
                  <c:v>0.27039193122588512</c:v>
                </c:pt>
                <c:pt idx="8458">
                  <c:v>0.2646720368239357</c:v>
                </c:pt>
                <c:pt idx="8459">
                  <c:v>0.28281324037094713</c:v>
                </c:pt>
                <c:pt idx="8460">
                  <c:v>0.2835916875380764</c:v>
                </c:pt>
                <c:pt idx="8461">
                  <c:v>0.29547146821904824</c:v>
                </c:pt>
                <c:pt idx="8462">
                  <c:v>0.29208691531848641</c:v>
                </c:pt>
                <c:pt idx="8463">
                  <c:v>0.28934542746903147</c:v>
                </c:pt>
                <c:pt idx="8464">
                  <c:v>0.30034522439585731</c:v>
                </c:pt>
                <c:pt idx="8465">
                  <c:v>0.31476341975225064</c:v>
                </c:pt>
                <c:pt idx="8466">
                  <c:v>0.32149868002436888</c:v>
                </c:pt>
                <c:pt idx="8467">
                  <c:v>0.31192039531577898</c:v>
                </c:pt>
                <c:pt idx="8468">
                  <c:v>0.29015772016516617</c:v>
                </c:pt>
                <c:pt idx="8469">
                  <c:v>0.28748392337372231</c:v>
                </c:pt>
                <c:pt idx="8470">
                  <c:v>0.27810871183916608</c:v>
                </c:pt>
                <c:pt idx="8471">
                  <c:v>0.26294591484464913</c:v>
                </c:pt>
                <c:pt idx="8472">
                  <c:v>0.26433358153387942</c:v>
                </c:pt>
                <c:pt idx="8473">
                  <c:v>0.28159480132674486</c:v>
                </c:pt>
                <c:pt idx="8474">
                  <c:v>0.27042577675489077</c:v>
                </c:pt>
                <c:pt idx="8475">
                  <c:v>0.28535165504636839</c:v>
                </c:pt>
                <c:pt idx="8476">
                  <c:v>0.28254247613890215</c:v>
                </c:pt>
                <c:pt idx="8477">
                  <c:v>0.28443782576321675</c:v>
                </c:pt>
                <c:pt idx="8478">
                  <c:v>0.25668449197860976</c:v>
                </c:pt>
                <c:pt idx="8479">
                  <c:v>0.26995193934881212</c:v>
                </c:pt>
                <c:pt idx="8480">
                  <c:v>0.27039193122588512</c:v>
                </c:pt>
                <c:pt idx="8481">
                  <c:v>0.27360725648141893</c:v>
                </c:pt>
                <c:pt idx="8482">
                  <c:v>0.25170919921478374</c:v>
                </c:pt>
                <c:pt idx="8483">
                  <c:v>0.24375549989846346</c:v>
                </c:pt>
                <c:pt idx="8484">
                  <c:v>0.2407094022879579</c:v>
                </c:pt>
                <c:pt idx="8485">
                  <c:v>0.2452447031747107</c:v>
                </c:pt>
                <c:pt idx="8486">
                  <c:v>0.24074324781696332</c:v>
                </c:pt>
                <c:pt idx="8487">
                  <c:v>0.25942597982806492</c:v>
                </c:pt>
                <c:pt idx="8488">
                  <c:v>0.26443511812089615</c:v>
                </c:pt>
                <c:pt idx="8489">
                  <c:v>0.26413050835984575</c:v>
                </c:pt>
                <c:pt idx="8490">
                  <c:v>0.26775197996344691</c:v>
                </c:pt>
                <c:pt idx="8491">
                  <c:v>0.25238610979489606</c:v>
                </c:pt>
                <c:pt idx="8492">
                  <c:v>0.26230284979354224</c:v>
                </c:pt>
                <c:pt idx="8493">
                  <c:v>0.26903811006566047</c:v>
                </c:pt>
                <c:pt idx="8494">
                  <c:v>0.27228728085019993</c:v>
                </c:pt>
                <c:pt idx="8495">
                  <c:v>0.27316726460434593</c:v>
                </c:pt>
                <c:pt idx="8496">
                  <c:v>0.27502876869965487</c:v>
                </c:pt>
                <c:pt idx="8497">
                  <c:v>0.25001692276450282</c:v>
                </c:pt>
                <c:pt idx="8498">
                  <c:v>0.25387531307114353</c:v>
                </c:pt>
                <c:pt idx="8499">
                  <c:v>0.24236783320923316</c:v>
                </c:pt>
                <c:pt idx="8500">
                  <c:v>0.24463548365260968</c:v>
                </c:pt>
                <c:pt idx="8501">
                  <c:v>0.22794963785283984</c:v>
                </c:pt>
                <c:pt idx="8502">
                  <c:v>0.24301089826033984</c:v>
                </c:pt>
                <c:pt idx="8503">
                  <c:v>0.23756176809043517</c:v>
                </c:pt>
                <c:pt idx="8504">
                  <c:v>0.23526027211805345</c:v>
                </c:pt>
                <c:pt idx="8505">
                  <c:v>0.23583564611114882</c:v>
                </c:pt>
                <c:pt idx="8506">
                  <c:v>0.2502199959385365</c:v>
                </c:pt>
                <c:pt idx="8507">
                  <c:v>0.24910309348135118</c:v>
                </c:pt>
                <c:pt idx="8508">
                  <c:v>0.23272185744263196</c:v>
                </c:pt>
                <c:pt idx="8509">
                  <c:v>0.24896771136532858</c:v>
                </c:pt>
                <c:pt idx="8510">
                  <c:v>0.23705408515535109</c:v>
                </c:pt>
                <c:pt idx="8511">
                  <c:v>0.24747850808908156</c:v>
                </c:pt>
                <c:pt idx="8512">
                  <c:v>0.2162390848168958</c:v>
                </c:pt>
                <c:pt idx="8513">
                  <c:v>0.20666080010830568</c:v>
                </c:pt>
                <c:pt idx="8514">
                  <c:v>0.21190685710417667</c:v>
                </c:pt>
                <c:pt idx="8515">
                  <c:v>0.18885805185135052</c:v>
                </c:pt>
                <c:pt idx="8516">
                  <c:v>0.17897515738170977</c:v>
                </c:pt>
                <c:pt idx="8517">
                  <c:v>0.16107087253773789</c:v>
                </c:pt>
                <c:pt idx="8518">
                  <c:v>0.16404927909023237</c:v>
                </c:pt>
                <c:pt idx="8519">
                  <c:v>0.15382792933053557</c:v>
                </c:pt>
                <c:pt idx="8520">
                  <c:v>0.13666824612468687</c:v>
                </c:pt>
                <c:pt idx="8521">
                  <c:v>0.13731131117579376</c:v>
                </c:pt>
                <c:pt idx="8522">
                  <c:v>0.13744669329181614</c:v>
                </c:pt>
                <c:pt idx="8523">
                  <c:v>0.13308062005009136</c:v>
                </c:pt>
                <c:pt idx="8524">
                  <c:v>0.11761321329452379</c:v>
                </c:pt>
                <c:pt idx="8525">
                  <c:v>0.1111825627834564</c:v>
                </c:pt>
                <c:pt idx="8526">
                  <c:v>0.12049008326000155</c:v>
                </c:pt>
                <c:pt idx="8527">
                  <c:v>0.12445001015365875</c:v>
                </c:pt>
                <c:pt idx="8528">
                  <c:v>0.11003181479726543</c:v>
                </c:pt>
                <c:pt idx="8529">
                  <c:v>7.0094090570635759E-2</c:v>
                </c:pt>
                <c:pt idx="8530">
                  <c:v>6.1835781493264852E-2</c:v>
                </c:pt>
                <c:pt idx="8531">
                  <c:v>5.76389358965681E-2</c:v>
                </c:pt>
                <c:pt idx="8532">
                  <c:v>6.6912610844107601E-2</c:v>
                </c:pt>
                <c:pt idx="8533">
                  <c:v>6.454342381371414E-2</c:v>
                </c:pt>
                <c:pt idx="8534">
                  <c:v>5.4254382996006267E-2</c:v>
                </c:pt>
                <c:pt idx="8535">
                  <c:v>6.5795708386922058E-2</c:v>
                </c:pt>
                <c:pt idx="8536">
                  <c:v>6.7623366953225572E-2</c:v>
                </c:pt>
                <c:pt idx="8537">
                  <c:v>8.6441481080349325E-2</c:v>
                </c:pt>
                <c:pt idx="8538">
                  <c:v>8.9521424219860757E-2</c:v>
                </c:pt>
                <c:pt idx="8539">
                  <c:v>0.10488729438841138</c:v>
                </c:pt>
                <c:pt idx="8540">
                  <c:v>0.11764705882352966</c:v>
                </c:pt>
                <c:pt idx="8541">
                  <c:v>0.11257022947268691</c:v>
                </c:pt>
                <c:pt idx="8542">
                  <c:v>0.11111487172544532</c:v>
                </c:pt>
                <c:pt idx="8543">
                  <c:v>0.11977932715088357</c:v>
                </c:pt>
                <c:pt idx="8544">
                  <c:v>0.11656400189534954</c:v>
                </c:pt>
                <c:pt idx="8545">
                  <c:v>0.12282542476138913</c:v>
                </c:pt>
                <c:pt idx="8546">
                  <c:v>0.11730860353347339</c:v>
                </c:pt>
                <c:pt idx="8547">
                  <c:v>0.11757936776551814</c:v>
                </c:pt>
                <c:pt idx="8548">
                  <c:v>0.11707168483043406</c:v>
                </c:pt>
                <c:pt idx="8549">
                  <c:v>0.10343193664116979</c:v>
                </c:pt>
                <c:pt idx="8550">
                  <c:v>0.1061395789616193</c:v>
                </c:pt>
                <c:pt idx="8551">
                  <c:v>0.11466865227103495</c:v>
                </c:pt>
                <c:pt idx="8552">
                  <c:v>0.11754552223651271</c:v>
                </c:pt>
                <c:pt idx="8553">
                  <c:v>0.10485344885940573</c:v>
                </c:pt>
                <c:pt idx="8554">
                  <c:v>0.11314560346578229</c:v>
                </c:pt>
                <c:pt idx="8555">
                  <c:v>0.10928721315914181</c:v>
                </c:pt>
                <c:pt idx="8556">
                  <c:v>0.11375482298788331</c:v>
                </c:pt>
                <c:pt idx="8557">
                  <c:v>0.11663169295336107</c:v>
                </c:pt>
                <c:pt idx="8558">
                  <c:v>0.10454883909835533</c:v>
                </c:pt>
                <c:pt idx="8559">
                  <c:v>9.6933595072091094E-2</c:v>
                </c:pt>
                <c:pt idx="8560">
                  <c:v>9.0570635619035E-2</c:v>
                </c:pt>
                <c:pt idx="8561">
                  <c:v>7.0940228795776106E-2</c:v>
                </c:pt>
                <c:pt idx="8562">
                  <c:v>7.6118594733635803E-2</c:v>
                </c:pt>
                <c:pt idx="8563">
                  <c:v>7.66262776687201E-2</c:v>
                </c:pt>
                <c:pt idx="8564">
                  <c:v>7.1244838556826728E-2</c:v>
                </c:pt>
                <c:pt idx="8565">
                  <c:v>6.6472618967034602E-2</c:v>
                </c:pt>
                <c:pt idx="8566">
                  <c:v>6.9620253164556889E-2</c:v>
                </c:pt>
                <c:pt idx="8567">
                  <c:v>6.7183375076152574E-2</c:v>
                </c:pt>
                <c:pt idx="8568">
                  <c:v>8.082312326541663E-2</c:v>
                </c:pt>
                <c:pt idx="8569">
                  <c:v>7.3309415826169344E-2</c:v>
                </c:pt>
                <c:pt idx="8570">
                  <c:v>7.2970960536113294E-2</c:v>
                </c:pt>
                <c:pt idx="8571">
                  <c:v>8.4410749340012137E-2</c:v>
                </c:pt>
                <c:pt idx="8572">
                  <c:v>7.5170919921478507E-2</c:v>
                </c:pt>
                <c:pt idx="8573">
                  <c:v>8.12969606714955E-2</c:v>
                </c:pt>
                <c:pt idx="8574">
                  <c:v>6.1869627022270501E-2</c:v>
                </c:pt>
                <c:pt idx="8575">
                  <c:v>4.1122317741826508E-2</c:v>
                </c:pt>
                <c:pt idx="8576">
                  <c:v>3.5707033100927488E-2</c:v>
                </c:pt>
                <c:pt idx="8577">
                  <c:v>5.4694374873079266E-2</c:v>
                </c:pt>
                <c:pt idx="8578">
                  <c:v>6.4746496987747815E-2</c:v>
                </c:pt>
                <c:pt idx="8579">
                  <c:v>5.5472822040208536E-2</c:v>
                </c:pt>
                <c:pt idx="8580">
                  <c:v>3.9125431530494748E-2</c:v>
                </c:pt>
                <c:pt idx="8581">
                  <c:v>2.8904081770798173E-2</c:v>
                </c:pt>
                <c:pt idx="8582">
                  <c:v>2.9107154944831848E-2</c:v>
                </c:pt>
                <c:pt idx="8583">
                  <c:v>2.1728829621606938E-2</c:v>
                </c:pt>
                <c:pt idx="8584">
                  <c:v>3.1307114330197061E-2</c:v>
                </c:pt>
                <c:pt idx="8585">
                  <c:v>4.9786773167264764E-2</c:v>
                </c:pt>
                <c:pt idx="8586">
                  <c:v>5.8011236715630021E-2</c:v>
                </c:pt>
                <c:pt idx="8587">
                  <c:v>5.7198944019495102E-2</c:v>
                </c:pt>
                <c:pt idx="8588">
                  <c:v>6.5321870980843411E-2</c:v>
                </c:pt>
                <c:pt idx="8589">
                  <c:v>5.7605090367562672E-2</c:v>
                </c:pt>
                <c:pt idx="8590">
                  <c:v>3.4793203817775842E-2</c:v>
                </c:pt>
                <c:pt idx="8591">
                  <c:v>1.1169024571854091E-2</c:v>
                </c:pt>
                <c:pt idx="8592">
                  <c:v>1.1710553035944038E-2</c:v>
                </c:pt>
                <c:pt idx="8593">
                  <c:v>2.6297976037365611E-2</c:v>
                </c:pt>
                <c:pt idx="8594">
                  <c:v>1.546740675556757E-2</c:v>
                </c:pt>
                <c:pt idx="8595">
                  <c:v>0</c:v>
                </c:pt>
                <c:pt idx="8596">
                  <c:v>0</c:v>
                </c:pt>
                <c:pt idx="8597">
                  <c:v>0</c:v>
                </c:pt>
                <c:pt idx="8598">
                  <c:v>0</c:v>
                </c:pt>
                <c:pt idx="8599">
                  <c:v>0</c:v>
                </c:pt>
                <c:pt idx="8600">
                  <c:v>0</c:v>
                </c:pt>
                <c:pt idx="8601">
                  <c:v>0</c:v>
                </c:pt>
                <c:pt idx="8602">
                  <c:v>0</c:v>
                </c:pt>
                <c:pt idx="8603">
                  <c:v>0</c:v>
                </c:pt>
                <c:pt idx="8604">
                  <c:v>0</c:v>
                </c:pt>
                <c:pt idx="8605">
                  <c:v>0</c:v>
                </c:pt>
                <c:pt idx="8606">
                  <c:v>0</c:v>
                </c:pt>
                <c:pt idx="8607">
                  <c:v>0</c:v>
                </c:pt>
                <c:pt idx="8608">
                  <c:v>0</c:v>
                </c:pt>
                <c:pt idx="8609">
                  <c:v>0</c:v>
                </c:pt>
                <c:pt idx="8610">
                  <c:v>0</c:v>
                </c:pt>
                <c:pt idx="8611">
                  <c:v>0</c:v>
                </c:pt>
                <c:pt idx="8612">
                  <c:v>0</c:v>
                </c:pt>
                <c:pt idx="8613">
                  <c:v>0</c:v>
                </c:pt>
                <c:pt idx="8614">
                  <c:v>0</c:v>
                </c:pt>
                <c:pt idx="8615">
                  <c:v>0</c:v>
                </c:pt>
                <c:pt idx="8616">
                  <c:v>0</c:v>
                </c:pt>
                <c:pt idx="8617">
                  <c:v>0</c:v>
                </c:pt>
                <c:pt idx="8618">
                  <c:v>0</c:v>
                </c:pt>
                <c:pt idx="8619">
                  <c:v>0</c:v>
                </c:pt>
                <c:pt idx="8620">
                  <c:v>0</c:v>
                </c:pt>
                <c:pt idx="8621">
                  <c:v>0</c:v>
                </c:pt>
                <c:pt idx="8622">
                  <c:v>0</c:v>
                </c:pt>
                <c:pt idx="8623">
                  <c:v>0</c:v>
                </c:pt>
                <c:pt idx="8624">
                  <c:v>0</c:v>
                </c:pt>
                <c:pt idx="8625">
                  <c:v>0</c:v>
                </c:pt>
                <c:pt idx="8626">
                  <c:v>0</c:v>
                </c:pt>
                <c:pt idx="8627">
                  <c:v>0</c:v>
                </c:pt>
                <c:pt idx="8628">
                  <c:v>0</c:v>
                </c:pt>
                <c:pt idx="8629">
                  <c:v>0</c:v>
                </c:pt>
                <c:pt idx="8630">
                  <c:v>0</c:v>
                </c:pt>
                <c:pt idx="8631">
                  <c:v>0</c:v>
                </c:pt>
                <c:pt idx="8632">
                  <c:v>0</c:v>
                </c:pt>
                <c:pt idx="8633">
                  <c:v>0</c:v>
                </c:pt>
                <c:pt idx="8634">
                  <c:v>0</c:v>
                </c:pt>
                <c:pt idx="8635">
                  <c:v>0</c:v>
                </c:pt>
                <c:pt idx="8636">
                  <c:v>0</c:v>
                </c:pt>
                <c:pt idx="8637">
                  <c:v>0</c:v>
                </c:pt>
                <c:pt idx="8638">
                  <c:v>0</c:v>
                </c:pt>
                <c:pt idx="8639">
                  <c:v>0</c:v>
                </c:pt>
                <c:pt idx="8640">
                  <c:v>0</c:v>
                </c:pt>
                <c:pt idx="8641">
                  <c:v>0</c:v>
                </c:pt>
                <c:pt idx="8642">
                  <c:v>0</c:v>
                </c:pt>
                <c:pt idx="8643">
                  <c:v>0</c:v>
                </c:pt>
                <c:pt idx="8644">
                  <c:v>0</c:v>
                </c:pt>
                <c:pt idx="8645">
                  <c:v>0</c:v>
                </c:pt>
                <c:pt idx="8646">
                  <c:v>0</c:v>
                </c:pt>
                <c:pt idx="8647">
                  <c:v>0</c:v>
                </c:pt>
                <c:pt idx="8648">
                  <c:v>0</c:v>
                </c:pt>
                <c:pt idx="8649">
                  <c:v>0</c:v>
                </c:pt>
                <c:pt idx="8650">
                  <c:v>0</c:v>
                </c:pt>
                <c:pt idx="8651">
                  <c:v>0</c:v>
                </c:pt>
                <c:pt idx="8652">
                  <c:v>0</c:v>
                </c:pt>
                <c:pt idx="8653">
                  <c:v>0</c:v>
                </c:pt>
                <c:pt idx="8654">
                  <c:v>0</c:v>
                </c:pt>
                <c:pt idx="8655">
                  <c:v>0</c:v>
                </c:pt>
                <c:pt idx="8656">
                  <c:v>0</c:v>
                </c:pt>
                <c:pt idx="8657">
                  <c:v>0.64768667381207568</c:v>
                </c:pt>
                <c:pt idx="8658">
                  <c:v>0.64036262951053957</c:v>
                </c:pt>
                <c:pt idx="8659">
                  <c:v>0.63201143265451964</c:v>
                </c:pt>
                <c:pt idx="8660">
                  <c:v>0.61321007502679548</c:v>
                </c:pt>
                <c:pt idx="8661">
                  <c:v>0.59204180064308698</c:v>
                </c:pt>
                <c:pt idx="8662">
                  <c:v>0.60557341907824225</c:v>
                </c:pt>
                <c:pt idx="8663">
                  <c:v>0.60066095033940714</c:v>
                </c:pt>
                <c:pt idx="8664">
                  <c:v>0.58842443729903549</c:v>
                </c:pt>
                <c:pt idx="8665">
                  <c:v>0.60843158270811015</c:v>
                </c:pt>
                <c:pt idx="8666">
                  <c:v>0.60566273669167581</c:v>
                </c:pt>
                <c:pt idx="8667">
                  <c:v>0.59887459807073951</c:v>
                </c:pt>
                <c:pt idx="8668">
                  <c:v>0.59713290460878898</c:v>
                </c:pt>
                <c:pt idx="8669">
                  <c:v>0.58601286173633449</c:v>
                </c:pt>
                <c:pt idx="8670">
                  <c:v>0.57225794926759566</c:v>
                </c:pt>
                <c:pt idx="8671">
                  <c:v>0.57337441943551282</c:v>
                </c:pt>
                <c:pt idx="8672">
                  <c:v>0.58730796713111832</c:v>
                </c:pt>
                <c:pt idx="8673">
                  <c:v>0.60981600571632755</c:v>
                </c:pt>
                <c:pt idx="8674">
                  <c:v>0.60369774919614172</c:v>
                </c:pt>
                <c:pt idx="8675">
                  <c:v>0.60088424437299048</c:v>
                </c:pt>
                <c:pt idx="8676">
                  <c:v>0.5937834941050375</c:v>
                </c:pt>
                <c:pt idx="8677">
                  <c:v>0.62071275455519848</c:v>
                </c:pt>
                <c:pt idx="8678">
                  <c:v>0.62066809574848159</c:v>
                </c:pt>
                <c:pt idx="8679">
                  <c:v>0.62959985709181843</c:v>
                </c:pt>
                <c:pt idx="8680">
                  <c:v>0.63562879599857092</c:v>
                </c:pt>
                <c:pt idx="8681">
                  <c:v>0.61499642729546267</c:v>
                </c:pt>
                <c:pt idx="8682">
                  <c:v>0.60195605573419075</c:v>
                </c:pt>
                <c:pt idx="8683">
                  <c:v>0.62178456591639875</c:v>
                </c:pt>
                <c:pt idx="8684">
                  <c:v>0.62986780993211866</c:v>
                </c:pt>
                <c:pt idx="8685">
                  <c:v>0.63737048946052166</c:v>
                </c:pt>
                <c:pt idx="8686">
                  <c:v>0.64076455877098959</c:v>
                </c:pt>
                <c:pt idx="8687">
                  <c:v>0.62182922472311564</c:v>
                </c:pt>
                <c:pt idx="8688">
                  <c:v>0.61321007502679548</c:v>
                </c:pt>
                <c:pt idx="8689">
                  <c:v>0.61155769917827807</c:v>
                </c:pt>
                <c:pt idx="8690">
                  <c:v>0.61061986423722758</c:v>
                </c:pt>
                <c:pt idx="8691">
                  <c:v>0.58351196856020016</c:v>
                </c:pt>
                <c:pt idx="8692">
                  <c:v>0.60061629153269047</c:v>
                </c:pt>
                <c:pt idx="8693">
                  <c:v>0.60454626652375865</c:v>
                </c:pt>
                <c:pt idx="8694">
                  <c:v>0.60070560914612381</c:v>
                </c:pt>
                <c:pt idx="8695">
                  <c:v>0.59878528045730617</c:v>
                </c:pt>
                <c:pt idx="8696">
                  <c:v>0.58377992140050017</c:v>
                </c:pt>
                <c:pt idx="8697">
                  <c:v>0.5830207216863168</c:v>
                </c:pt>
                <c:pt idx="8698">
                  <c:v>0.58092175777063249</c:v>
                </c:pt>
                <c:pt idx="8699">
                  <c:v>0.58217220435869943</c:v>
                </c:pt>
                <c:pt idx="8700">
                  <c:v>0.58427116827438375</c:v>
                </c:pt>
                <c:pt idx="8701">
                  <c:v>0.57198999642729564</c:v>
                </c:pt>
                <c:pt idx="8702">
                  <c:v>0.53545909253304758</c:v>
                </c:pt>
                <c:pt idx="8703">
                  <c:v>0.53117184708824605</c:v>
                </c:pt>
                <c:pt idx="8704">
                  <c:v>0.52737584851732766</c:v>
                </c:pt>
                <c:pt idx="8705">
                  <c:v>0.52076634512325826</c:v>
                </c:pt>
                <c:pt idx="8706">
                  <c:v>0.51120936048588783</c:v>
                </c:pt>
                <c:pt idx="8707">
                  <c:v>0.49861557699178283</c:v>
                </c:pt>
                <c:pt idx="8708">
                  <c:v>0.49374776705966439</c:v>
                </c:pt>
                <c:pt idx="8709">
                  <c:v>0.4837888531618435</c:v>
                </c:pt>
                <c:pt idx="8710">
                  <c:v>0.47731332618792432</c:v>
                </c:pt>
                <c:pt idx="8711">
                  <c:v>0.46976598785280466</c:v>
                </c:pt>
                <c:pt idx="8712">
                  <c:v>0.48678099321186163</c:v>
                </c:pt>
                <c:pt idx="8713">
                  <c:v>0.48280635941407635</c:v>
                </c:pt>
                <c:pt idx="8714">
                  <c:v>0.47534833869239024</c:v>
                </c:pt>
                <c:pt idx="8715">
                  <c:v>0.47842979635584149</c:v>
                </c:pt>
                <c:pt idx="8716">
                  <c:v>0.49660593068953207</c:v>
                </c:pt>
                <c:pt idx="8717">
                  <c:v>0.50986959628438733</c:v>
                </c:pt>
                <c:pt idx="8718">
                  <c:v>0.52161486245087563</c:v>
                </c:pt>
                <c:pt idx="8719">
                  <c:v>0.53929974991068241</c:v>
                </c:pt>
                <c:pt idx="8720">
                  <c:v>0.53956770275098265</c:v>
                </c:pt>
                <c:pt idx="8721">
                  <c:v>0.53778135048231501</c:v>
                </c:pt>
                <c:pt idx="8722">
                  <c:v>0.52697391925687764</c:v>
                </c:pt>
                <c:pt idx="8723">
                  <c:v>0.52764380135762767</c:v>
                </c:pt>
                <c:pt idx="8724">
                  <c:v>0.52451768488745998</c:v>
                </c:pt>
                <c:pt idx="8725">
                  <c:v>0.5187566988210075</c:v>
                </c:pt>
                <c:pt idx="8726">
                  <c:v>0.52165952125759207</c:v>
                </c:pt>
                <c:pt idx="8727">
                  <c:v>0.52326723829939259</c:v>
                </c:pt>
                <c:pt idx="8728">
                  <c:v>0.53465523401214732</c:v>
                </c:pt>
                <c:pt idx="8729">
                  <c:v>0.512593783494105</c:v>
                </c:pt>
                <c:pt idx="8730">
                  <c:v>0.51813147552697392</c:v>
                </c:pt>
                <c:pt idx="8731">
                  <c:v>0.52192747409789231</c:v>
                </c:pt>
                <c:pt idx="8732">
                  <c:v>0.52733118971061099</c:v>
                </c:pt>
                <c:pt idx="8733">
                  <c:v>0.52509824937477689</c:v>
                </c:pt>
                <c:pt idx="8734">
                  <c:v>0.5078152911754199</c:v>
                </c:pt>
                <c:pt idx="8735">
                  <c:v>0.50598428010003604</c:v>
                </c:pt>
                <c:pt idx="8736">
                  <c:v>0.49915148267238307</c:v>
                </c:pt>
                <c:pt idx="8737">
                  <c:v>0.51723829939264032</c:v>
                </c:pt>
                <c:pt idx="8738">
                  <c:v>0.52541086102179357</c:v>
                </c:pt>
                <c:pt idx="8739">
                  <c:v>0.53416398713826352</c:v>
                </c:pt>
                <c:pt idx="8740">
                  <c:v>0.52692926045016097</c:v>
                </c:pt>
                <c:pt idx="8741">
                  <c:v>0.50978027867095399</c:v>
                </c:pt>
                <c:pt idx="8742">
                  <c:v>0.50442122186495197</c:v>
                </c:pt>
                <c:pt idx="8743">
                  <c:v>0.50053590568060025</c:v>
                </c:pt>
                <c:pt idx="8744">
                  <c:v>0.51245980707395522</c:v>
                </c:pt>
                <c:pt idx="8745">
                  <c:v>0.50915505537692041</c:v>
                </c:pt>
                <c:pt idx="8746">
                  <c:v>0.51960521614862443</c:v>
                </c:pt>
                <c:pt idx="8747">
                  <c:v>0.50477849231868532</c:v>
                </c:pt>
                <c:pt idx="8748">
                  <c:v>0.50915505537692041</c:v>
                </c:pt>
                <c:pt idx="8749">
                  <c:v>0.49044301536262958</c:v>
                </c:pt>
                <c:pt idx="8750">
                  <c:v>0.49848160057163282</c:v>
                </c:pt>
                <c:pt idx="8751">
                  <c:v>0.48597713469096115</c:v>
                </c:pt>
                <c:pt idx="8752">
                  <c:v>0.48218113612004299</c:v>
                </c:pt>
                <c:pt idx="8753">
                  <c:v>0.47490175062522333</c:v>
                </c:pt>
                <c:pt idx="8754">
                  <c:v>0.46780100035727057</c:v>
                </c:pt>
                <c:pt idx="8755">
                  <c:v>0.44761521972132901</c:v>
                </c:pt>
                <c:pt idx="8756">
                  <c:v>0.45453733476241509</c:v>
                </c:pt>
                <c:pt idx="8757">
                  <c:v>0.46333511968560215</c:v>
                </c:pt>
                <c:pt idx="8758">
                  <c:v>0.46476420150053599</c:v>
                </c:pt>
                <c:pt idx="8759">
                  <c:v>0.48588781707752782</c:v>
                </c:pt>
                <c:pt idx="8760">
                  <c:v>0.49557877813504825</c:v>
                </c:pt>
                <c:pt idx="8761">
                  <c:v>0.48271704180064323</c:v>
                </c:pt>
                <c:pt idx="8762">
                  <c:v>0.47829581993569126</c:v>
                </c:pt>
                <c:pt idx="8763">
                  <c:v>0.47409789210432307</c:v>
                </c:pt>
                <c:pt idx="8764">
                  <c:v>0.48990710968202933</c:v>
                </c:pt>
                <c:pt idx="8765">
                  <c:v>0.48695962843872809</c:v>
                </c:pt>
                <c:pt idx="8766">
                  <c:v>0.49048767416934624</c:v>
                </c:pt>
                <c:pt idx="8767">
                  <c:v>0.47222222222222232</c:v>
                </c:pt>
                <c:pt idx="8768">
                  <c:v>0.48200250089317631</c:v>
                </c:pt>
                <c:pt idx="8769">
                  <c:v>0.47784923186852457</c:v>
                </c:pt>
                <c:pt idx="8770">
                  <c:v>0.46833690603787081</c:v>
                </c:pt>
                <c:pt idx="8771">
                  <c:v>0.46963201143265443</c:v>
                </c:pt>
                <c:pt idx="8772">
                  <c:v>0.44239013933547722</c:v>
                </c:pt>
                <c:pt idx="8773">
                  <c:v>0.45230439442658099</c:v>
                </c:pt>
                <c:pt idx="8774">
                  <c:v>0.45498392282958222</c:v>
                </c:pt>
                <c:pt idx="8775">
                  <c:v>0.45623436941764917</c:v>
                </c:pt>
                <c:pt idx="8776">
                  <c:v>0.47490175062522333</c:v>
                </c:pt>
                <c:pt idx="8777">
                  <c:v>0.48093068953197582</c:v>
                </c:pt>
                <c:pt idx="8778">
                  <c:v>0.47543765630582357</c:v>
                </c:pt>
                <c:pt idx="8779">
                  <c:v>0.51460342979635576</c:v>
                </c:pt>
                <c:pt idx="8780">
                  <c:v>0.51031618435155424</c:v>
                </c:pt>
                <c:pt idx="8781">
                  <c:v>0.50678813862093608</c:v>
                </c:pt>
                <c:pt idx="8782">
                  <c:v>0.52174883887102541</c:v>
                </c:pt>
                <c:pt idx="8783">
                  <c:v>0.50500178635226867</c:v>
                </c:pt>
                <c:pt idx="8784">
                  <c:v>0.51808681672025725</c:v>
                </c:pt>
                <c:pt idx="8785">
                  <c:v>0.55649339049660584</c:v>
                </c:pt>
                <c:pt idx="8786">
                  <c:v>0.55104501607717049</c:v>
                </c:pt>
                <c:pt idx="8787">
                  <c:v>0.56136120042872473</c:v>
                </c:pt>
                <c:pt idx="8788">
                  <c:v>0.57998392282958222</c:v>
                </c:pt>
                <c:pt idx="8789">
                  <c:v>0.57288317256162924</c:v>
                </c:pt>
                <c:pt idx="8790">
                  <c:v>0.58837977849231882</c:v>
                </c:pt>
                <c:pt idx="8791">
                  <c:v>0.60217934976777432</c:v>
                </c:pt>
                <c:pt idx="8792">
                  <c:v>0.60633261879242584</c:v>
                </c:pt>
                <c:pt idx="8793">
                  <c:v>0.57824222936763126</c:v>
                </c:pt>
                <c:pt idx="8794">
                  <c:v>0.56605037513397649</c:v>
                </c:pt>
                <c:pt idx="8795">
                  <c:v>0.55774383708467323</c:v>
                </c:pt>
                <c:pt idx="8796">
                  <c:v>0.54881207574133639</c:v>
                </c:pt>
                <c:pt idx="8797">
                  <c:v>0.55153626295105407</c:v>
                </c:pt>
                <c:pt idx="8798">
                  <c:v>0.5397463379778491</c:v>
                </c:pt>
                <c:pt idx="8799">
                  <c:v>0.53108252947481249</c:v>
                </c:pt>
                <c:pt idx="8800">
                  <c:v>0.52938549481957842</c:v>
                </c:pt>
                <c:pt idx="8801">
                  <c:v>0.53487852804573066</c:v>
                </c:pt>
                <c:pt idx="8802">
                  <c:v>0.56368345837799216</c:v>
                </c:pt>
                <c:pt idx="8803">
                  <c:v>0.56721150410861032</c:v>
                </c:pt>
                <c:pt idx="8804">
                  <c:v>0.5753394069310469</c:v>
                </c:pt>
                <c:pt idx="8805">
                  <c:v>0.57078420864594515</c:v>
                </c:pt>
                <c:pt idx="8806">
                  <c:v>0.55662736691675607</c:v>
                </c:pt>
                <c:pt idx="8807">
                  <c:v>0.55720793140407299</c:v>
                </c:pt>
                <c:pt idx="8808">
                  <c:v>0.55229546266523766</c:v>
                </c:pt>
                <c:pt idx="8809">
                  <c:v>0.5565827081100394</c:v>
                </c:pt>
                <c:pt idx="8810">
                  <c:v>0.56118256520185783</c:v>
                </c:pt>
                <c:pt idx="8811">
                  <c:v>0.5693551268310113</c:v>
                </c:pt>
                <c:pt idx="8812">
                  <c:v>0.56587173990710982</c:v>
                </c:pt>
                <c:pt idx="8813">
                  <c:v>0.54515005359056823</c:v>
                </c:pt>
                <c:pt idx="8814">
                  <c:v>0.53447659878528064</c:v>
                </c:pt>
                <c:pt idx="8815">
                  <c:v>0.54416755984280107</c:v>
                </c:pt>
                <c:pt idx="8816">
                  <c:v>0.54345301893533415</c:v>
                </c:pt>
                <c:pt idx="8817">
                  <c:v>0.53612897463379805</c:v>
                </c:pt>
                <c:pt idx="8818">
                  <c:v>0.52692926045016097</c:v>
                </c:pt>
                <c:pt idx="8819">
                  <c:v>0.51656841729188985</c:v>
                </c:pt>
                <c:pt idx="8820">
                  <c:v>0.5154966059306898</c:v>
                </c:pt>
                <c:pt idx="8821">
                  <c:v>0.52558949624866047</c:v>
                </c:pt>
                <c:pt idx="8822">
                  <c:v>0.52098963915684182</c:v>
                </c:pt>
                <c:pt idx="8823">
                  <c:v>0.52081100392997515</c:v>
                </c:pt>
                <c:pt idx="8824">
                  <c:v>0.50942300821722064</c:v>
                </c:pt>
                <c:pt idx="8825">
                  <c:v>0.51638978206502339</c:v>
                </c:pt>
                <c:pt idx="8826">
                  <c:v>0.51438013576277264</c:v>
                </c:pt>
                <c:pt idx="8827">
                  <c:v>0.50308145766345125</c:v>
                </c:pt>
                <c:pt idx="8828">
                  <c:v>0.51013754912468734</c:v>
                </c:pt>
                <c:pt idx="8829">
                  <c:v>0.4952215076813149</c:v>
                </c:pt>
                <c:pt idx="8830">
                  <c:v>0.48539657020364424</c:v>
                </c:pt>
                <c:pt idx="8831">
                  <c:v>0.50777063236870323</c:v>
                </c:pt>
                <c:pt idx="8832">
                  <c:v>0.51161128974633807</c:v>
                </c:pt>
                <c:pt idx="8833">
                  <c:v>0.52375848517327617</c:v>
                </c:pt>
                <c:pt idx="8834">
                  <c:v>0.52000714540907489</c:v>
                </c:pt>
                <c:pt idx="8835">
                  <c:v>0.49638263665594851</c:v>
                </c:pt>
                <c:pt idx="8836">
                  <c:v>0.49633797784923206</c:v>
                </c:pt>
                <c:pt idx="8837">
                  <c:v>0.50915505537692041</c:v>
                </c:pt>
                <c:pt idx="8838">
                  <c:v>0.52956413004644531</c:v>
                </c:pt>
                <c:pt idx="8839">
                  <c:v>0.53492318685244733</c:v>
                </c:pt>
                <c:pt idx="8840">
                  <c:v>0.53996963201143267</c:v>
                </c:pt>
                <c:pt idx="8841">
                  <c:v>0.55037513397642024</c:v>
                </c:pt>
                <c:pt idx="8842">
                  <c:v>0.55024115755627023</c:v>
                </c:pt>
                <c:pt idx="8843">
                  <c:v>0.5262593783494105</c:v>
                </c:pt>
                <c:pt idx="8844">
                  <c:v>0.52357984994640971</c:v>
                </c:pt>
                <c:pt idx="8845">
                  <c:v>0.53112718828152938</c:v>
                </c:pt>
                <c:pt idx="8846">
                  <c:v>0.49004108610217934</c:v>
                </c:pt>
                <c:pt idx="8847">
                  <c:v>0.58712933190425165</c:v>
                </c:pt>
                <c:pt idx="8848">
                  <c:v>0.59427474097892108</c:v>
                </c:pt>
                <c:pt idx="8849">
                  <c:v>0.6038317256162915</c:v>
                </c:pt>
                <c:pt idx="8850">
                  <c:v>0.60682386566630964</c:v>
                </c:pt>
                <c:pt idx="8851">
                  <c:v>0.60226866738120743</c:v>
                </c:pt>
                <c:pt idx="8852">
                  <c:v>0.59418542336548796</c:v>
                </c:pt>
                <c:pt idx="8853">
                  <c:v>0.59405144694533774</c:v>
                </c:pt>
                <c:pt idx="8854">
                  <c:v>0.58409253304751707</c:v>
                </c:pt>
                <c:pt idx="8855">
                  <c:v>0.56694355126831031</c:v>
                </c:pt>
                <c:pt idx="8856">
                  <c:v>0.55926223651304041</c:v>
                </c:pt>
                <c:pt idx="8857">
                  <c:v>0.55680600214362297</c:v>
                </c:pt>
                <c:pt idx="8858">
                  <c:v>0.54117541979278339</c:v>
                </c:pt>
                <c:pt idx="8859">
                  <c:v>0.53773669167559834</c:v>
                </c:pt>
                <c:pt idx="8860">
                  <c:v>0.53729010360843166</c:v>
                </c:pt>
                <c:pt idx="8861">
                  <c:v>0.54988388710253666</c:v>
                </c:pt>
                <c:pt idx="8862">
                  <c:v>0.54385494819578417</c:v>
                </c:pt>
                <c:pt idx="8863">
                  <c:v>0.54729367631296921</c:v>
                </c:pt>
                <c:pt idx="8864">
                  <c:v>0.54765094676670256</c:v>
                </c:pt>
                <c:pt idx="8865">
                  <c:v>0.54845480528760282</c:v>
                </c:pt>
                <c:pt idx="8866">
                  <c:v>0.54099678456591649</c:v>
                </c:pt>
                <c:pt idx="8867">
                  <c:v>0.53251161128974656</c:v>
                </c:pt>
                <c:pt idx="8868">
                  <c:v>0.54278313683458368</c:v>
                </c:pt>
                <c:pt idx="8869">
                  <c:v>0.55725259021078966</c:v>
                </c:pt>
                <c:pt idx="8870">
                  <c:v>0.55260807431225456</c:v>
                </c:pt>
                <c:pt idx="8871">
                  <c:v>0.55752054305108967</c:v>
                </c:pt>
                <c:pt idx="8872">
                  <c:v>0.55568953197570581</c:v>
                </c:pt>
                <c:pt idx="8873">
                  <c:v>0.55966416577349065</c:v>
                </c:pt>
                <c:pt idx="8874">
                  <c:v>0.57449088960342998</c:v>
                </c:pt>
                <c:pt idx="8875">
                  <c:v>0.57971596998928199</c:v>
                </c:pt>
                <c:pt idx="8876">
                  <c:v>0.56953376205787776</c:v>
                </c:pt>
                <c:pt idx="8877">
                  <c:v>0.56596105752054293</c:v>
                </c:pt>
                <c:pt idx="8878">
                  <c:v>0.56234369417649166</c:v>
                </c:pt>
                <c:pt idx="8879">
                  <c:v>0.57239192568774566</c:v>
                </c:pt>
                <c:pt idx="8880">
                  <c:v>0.56538049303322624</c:v>
                </c:pt>
                <c:pt idx="8881">
                  <c:v>0.56984637370489466</c:v>
                </c:pt>
                <c:pt idx="8882">
                  <c:v>0.53938906752411575</c:v>
                </c:pt>
                <c:pt idx="8883">
                  <c:v>0.5237138263665595</c:v>
                </c:pt>
                <c:pt idx="8884">
                  <c:v>0.52139156841729206</c:v>
                </c:pt>
                <c:pt idx="8885">
                  <c:v>0.54532868881743468</c:v>
                </c:pt>
                <c:pt idx="8886">
                  <c:v>0.53827259735619859</c:v>
                </c:pt>
                <c:pt idx="8887">
                  <c:v>0.54367631296891772</c:v>
                </c:pt>
                <c:pt idx="8888">
                  <c:v>0.53943372633083242</c:v>
                </c:pt>
                <c:pt idx="8889">
                  <c:v>0.53206502322257965</c:v>
                </c:pt>
                <c:pt idx="8890">
                  <c:v>0.53956770275098265</c:v>
                </c:pt>
                <c:pt idx="8891">
                  <c:v>0.5552429439085389</c:v>
                </c:pt>
                <c:pt idx="8892">
                  <c:v>0.54939264022865308</c:v>
                </c:pt>
                <c:pt idx="8893">
                  <c:v>0.56015541264737423</c:v>
                </c:pt>
                <c:pt idx="8894">
                  <c:v>0.56042336548767446</c:v>
                </c:pt>
                <c:pt idx="8895">
                  <c:v>0.53590568060021448</c:v>
                </c:pt>
                <c:pt idx="8896">
                  <c:v>0.53956770275098265</c:v>
                </c:pt>
                <c:pt idx="8897">
                  <c:v>0.53778135048231501</c:v>
                </c:pt>
                <c:pt idx="8898">
                  <c:v>0.5351464808860309</c:v>
                </c:pt>
                <c:pt idx="8899">
                  <c:v>0.54555198285101825</c:v>
                </c:pt>
                <c:pt idx="8900">
                  <c:v>0.52800107181136124</c:v>
                </c:pt>
                <c:pt idx="8901">
                  <c:v>0.52728653090389432</c:v>
                </c:pt>
                <c:pt idx="8902">
                  <c:v>0.50969096105752065</c:v>
                </c:pt>
                <c:pt idx="8903">
                  <c:v>0.49106823865666316</c:v>
                </c:pt>
                <c:pt idx="8904">
                  <c:v>0.49013040371561289</c:v>
                </c:pt>
                <c:pt idx="8905">
                  <c:v>0.50008931761343334</c:v>
                </c:pt>
                <c:pt idx="8906">
                  <c:v>0.48941586280814575</c:v>
                </c:pt>
                <c:pt idx="8907">
                  <c:v>0.49933011789924997</c:v>
                </c:pt>
                <c:pt idx="8908">
                  <c:v>0.47976956055734199</c:v>
                </c:pt>
                <c:pt idx="8909">
                  <c:v>0.48463737048946065</c:v>
                </c:pt>
                <c:pt idx="8910">
                  <c:v>0.48195784208645942</c:v>
                </c:pt>
                <c:pt idx="8911">
                  <c:v>0.47351732761700616</c:v>
                </c:pt>
                <c:pt idx="8912">
                  <c:v>0.47289210432297257</c:v>
                </c:pt>
                <c:pt idx="8913">
                  <c:v>0.46829224723115392</c:v>
                </c:pt>
                <c:pt idx="8914">
                  <c:v>0.46065559128260092</c:v>
                </c:pt>
                <c:pt idx="8915">
                  <c:v>0.45100928903179716</c:v>
                </c:pt>
                <c:pt idx="8916">
                  <c:v>0.43600392997499116</c:v>
                </c:pt>
                <c:pt idx="8917">
                  <c:v>0.43193997856377275</c:v>
                </c:pt>
                <c:pt idx="8918">
                  <c:v>0.42564308681672047</c:v>
                </c:pt>
                <c:pt idx="8919">
                  <c:v>0.42006073597713489</c:v>
                </c:pt>
                <c:pt idx="8920">
                  <c:v>0.42765273311897123</c:v>
                </c:pt>
                <c:pt idx="8921">
                  <c:v>0.45502858163629867</c:v>
                </c:pt>
                <c:pt idx="8922">
                  <c:v>0.46677384780278675</c:v>
                </c:pt>
                <c:pt idx="8923">
                  <c:v>0.45855662736691705</c:v>
                </c:pt>
                <c:pt idx="8924">
                  <c:v>0.46480886030725266</c:v>
                </c:pt>
                <c:pt idx="8925">
                  <c:v>0.43944265809217575</c:v>
                </c:pt>
                <c:pt idx="8926">
                  <c:v>0.43122543765630605</c:v>
                </c:pt>
                <c:pt idx="8927">
                  <c:v>0.43466416577349065</c:v>
                </c:pt>
                <c:pt idx="8928">
                  <c:v>0.43752232940335833</c:v>
                </c:pt>
                <c:pt idx="8929">
                  <c:v>0.43511075384065756</c:v>
                </c:pt>
                <c:pt idx="8930">
                  <c:v>0.42943908538763842</c:v>
                </c:pt>
                <c:pt idx="8931">
                  <c:v>0.44618613790639516</c:v>
                </c:pt>
                <c:pt idx="8932">
                  <c:v>0.44654340836012874</c:v>
                </c:pt>
                <c:pt idx="8933">
                  <c:v>0.45694891032511631</c:v>
                </c:pt>
                <c:pt idx="8934">
                  <c:v>0.45895855662736706</c:v>
                </c:pt>
                <c:pt idx="8935">
                  <c:v>0.45922650946766708</c:v>
                </c:pt>
                <c:pt idx="8936">
                  <c:v>0.46011968560200067</c:v>
                </c:pt>
                <c:pt idx="8937">
                  <c:v>0.44801714898177925</c:v>
                </c:pt>
                <c:pt idx="8938">
                  <c:v>0.43814755269739192</c:v>
                </c:pt>
                <c:pt idx="8939">
                  <c:v>0.45373347624151483</c:v>
                </c:pt>
                <c:pt idx="8940">
                  <c:v>0.43787959985709213</c:v>
                </c:pt>
                <c:pt idx="8941">
                  <c:v>0.43140407288317251</c:v>
                </c:pt>
                <c:pt idx="8942">
                  <c:v>0.42483922829581999</c:v>
                </c:pt>
                <c:pt idx="8943">
                  <c:v>0.43618256520185783</c:v>
                </c:pt>
                <c:pt idx="8944">
                  <c:v>0.42537513397642024</c:v>
                </c:pt>
                <c:pt idx="8945">
                  <c:v>0.42524115755627001</c:v>
                </c:pt>
                <c:pt idx="8946">
                  <c:v>0.42157913540550207</c:v>
                </c:pt>
                <c:pt idx="8947">
                  <c:v>0.43792425866380857</c:v>
                </c:pt>
                <c:pt idx="8948">
                  <c:v>0.43461950696677398</c:v>
                </c:pt>
                <c:pt idx="8949">
                  <c:v>0.42001607717041822</c:v>
                </c:pt>
                <c:pt idx="8950">
                  <c:v>0.41782779564130057</c:v>
                </c:pt>
                <c:pt idx="8951">
                  <c:v>0.40800285816362991</c:v>
                </c:pt>
                <c:pt idx="8952">
                  <c:v>0.41193283315469831</c:v>
                </c:pt>
                <c:pt idx="8953">
                  <c:v>0.40157198999642718</c:v>
                </c:pt>
                <c:pt idx="8954">
                  <c:v>0.37080207216863159</c:v>
                </c:pt>
                <c:pt idx="8955">
                  <c:v>0.36566630939621314</c:v>
                </c:pt>
                <c:pt idx="8956">
                  <c:v>0.36294212218649524</c:v>
                </c:pt>
                <c:pt idx="8957">
                  <c:v>0.36655948553054674</c:v>
                </c:pt>
                <c:pt idx="8958">
                  <c:v>0.37374955341193306</c:v>
                </c:pt>
                <c:pt idx="8959">
                  <c:v>0.37446409431939975</c:v>
                </c:pt>
                <c:pt idx="8960">
                  <c:v>0.37620578778135072</c:v>
                </c:pt>
                <c:pt idx="8961">
                  <c:v>0.37602715255448382</c:v>
                </c:pt>
                <c:pt idx="8962">
                  <c:v>0.38049303322615224</c:v>
                </c:pt>
                <c:pt idx="8963">
                  <c:v>0.3828152911754199</c:v>
                </c:pt>
                <c:pt idx="8964">
                  <c:v>0.38254733833511967</c:v>
                </c:pt>
                <c:pt idx="8965">
                  <c:v>0.37071275455519848</c:v>
                </c:pt>
                <c:pt idx="8966">
                  <c:v>0.369908896034298</c:v>
                </c:pt>
                <c:pt idx="8967">
                  <c:v>0.37857270453733483</c:v>
                </c:pt>
                <c:pt idx="8968">
                  <c:v>0.3826813147552699</c:v>
                </c:pt>
                <c:pt idx="8969">
                  <c:v>0.36740800285816366</c:v>
                </c:pt>
                <c:pt idx="8970">
                  <c:v>0.37169524830296541</c:v>
                </c:pt>
                <c:pt idx="8971">
                  <c:v>0.36664880314398007</c:v>
                </c:pt>
                <c:pt idx="8972">
                  <c:v>0.34744551625580589</c:v>
                </c:pt>
                <c:pt idx="8973">
                  <c:v>0.34583779921400515</c:v>
                </c:pt>
                <c:pt idx="8974">
                  <c:v>0.3236870310825295</c:v>
                </c:pt>
                <c:pt idx="8975">
                  <c:v>0.3352536620221509</c:v>
                </c:pt>
                <c:pt idx="8976">
                  <c:v>0.33302072168631658</c:v>
                </c:pt>
                <c:pt idx="8977">
                  <c:v>0.3268578063594143</c:v>
                </c:pt>
                <c:pt idx="8978">
                  <c:v>0.32708110039299765</c:v>
                </c:pt>
                <c:pt idx="8979">
                  <c:v>0.31872990353697772</c:v>
                </c:pt>
                <c:pt idx="8980">
                  <c:v>0.32297249017506258</c:v>
                </c:pt>
                <c:pt idx="8981">
                  <c:v>0.31881922115041084</c:v>
                </c:pt>
                <c:pt idx="8982">
                  <c:v>0.32364237227581283</c:v>
                </c:pt>
                <c:pt idx="8983">
                  <c:v>0.31685423365487675</c:v>
                </c:pt>
                <c:pt idx="8984">
                  <c:v>0.30635941407645584</c:v>
                </c:pt>
                <c:pt idx="8985">
                  <c:v>0.30560021436227247</c:v>
                </c:pt>
                <c:pt idx="8986">
                  <c:v>0.3022061450518041</c:v>
                </c:pt>
                <c:pt idx="8987">
                  <c:v>0.29765094676670234</c:v>
                </c:pt>
                <c:pt idx="8988">
                  <c:v>0.2905501964987498</c:v>
                </c:pt>
                <c:pt idx="8989">
                  <c:v>0.29729367631296899</c:v>
                </c:pt>
                <c:pt idx="8990">
                  <c:v>0.30104501607717049</c:v>
                </c:pt>
                <c:pt idx="8991">
                  <c:v>0.29474812433011799</c:v>
                </c:pt>
                <c:pt idx="8992">
                  <c:v>0.30711861379063965</c:v>
                </c:pt>
                <c:pt idx="8993">
                  <c:v>0.33726330832440166</c:v>
                </c:pt>
                <c:pt idx="8994">
                  <c:v>0.32489281886388</c:v>
                </c:pt>
                <c:pt idx="8995">
                  <c:v>0.31806002143622725</c:v>
                </c:pt>
                <c:pt idx="8996">
                  <c:v>0.31886387995712751</c:v>
                </c:pt>
                <c:pt idx="8997">
                  <c:v>0.30796713111825658</c:v>
                </c:pt>
                <c:pt idx="8998">
                  <c:v>0.31265630582350856</c:v>
                </c:pt>
                <c:pt idx="8999">
                  <c:v>0.31332618792425859</c:v>
                </c:pt>
                <c:pt idx="9000">
                  <c:v>0.31238835298320833</c:v>
                </c:pt>
                <c:pt idx="9001">
                  <c:v>0.31658628081457674</c:v>
                </c:pt>
                <c:pt idx="9002">
                  <c:v>0.30037513397642024</c:v>
                </c:pt>
                <c:pt idx="9003">
                  <c:v>0.29488210075026799</c:v>
                </c:pt>
                <c:pt idx="9004">
                  <c:v>0.28219899964272965</c:v>
                </c:pt>
                <c:pt idx="9005">
                  <c:v>0.29001429081814956</c:v>
                </c:pt>
                <c:pt idx="9006">
                  <c:v>0.28536977491961424</c:v>
                </c:pt>
                <c:pt idx="9007">
                  <c:v>0.28228831725616299</c:v>
                </c:pt>
                <c:pt idx="9008">
                  <c:v>0.30426045016077174</c:v>
                </c:pt>
                <c:pt idx="9009">
                  <c:v>0.29916934619506996</c:v>
                </c:pt>
                <c:pt idx="9010">
                  <c:v>0.32181136120042897</c:v>
                </c:pt>
                <c:pt idx="9011">
                  <c:v>0.32529474812433024</c:v>
                </c:pt>
                <c:pt idx="9012">
                  <c:v>0.31658628081457674</c:v>
                </c:pt>
                <c:pt idx="9013">
                  <c:v>0.31404072883172574</c:v>
                </c:pt>
                <c:pt idx="9014">
                  <c:v>0.30318863879957125</c:v>
                </c:pt>
                <c:pt idx="9015">
                  <c:v>0.3064487316898894</c:v>
                </c:pt>
                <c:pt idx="9016">
                  <c:v>0.30412647374062174</c:v>
                </c:pt>
                <c:pt idx="9017">
                  <c:v>0.32216863165416232</c:v>
                </c:pt>
                <c:pt idx="9018">
                  <c:v>0.3337352625937835</c:v>
                </c:pt>
                <c:pt idx="9019">
                  <c:v>0.33811182565201858</c:v>
                </c:pt>
                <c:pt idx="9020">
                  <c:v>0.32207931404072898</c:v>
                </c:pt>
                <c:pt idx="9021">
                  <c:v>0.32623258306538072</c:v>
                </c:pt>
                <c:pt idx="9022">
                  <c:v>0.32565201857806358</c:v>
                </c:pt>
                <c:pt idx="9023">
                  <c:v>0.32676848874598075</c:v>
                </c:pt>
                <c:pt idx="9024">
                  <c:v>0.32846552340121482</c:v>
                </c:pt>
                <c:pt idx="9025">
                  <c:v>0.317390139335477</c:v>
                </c:pt>
                <c:pt idx="9026">
                  <c:v>0.31216505894962499</c:v>
                </c:pt>
                <c:pt idx="9027">
                  <c:v>0.30265273311897123</c:v>
                </c:pt>
                <c:pt idx="9028">
                  <c:v>0.2912647374062165</c:v>
                </c:pt>
                <c:pt idx="9029">
                  <c:v>0.28836191496963215</c:v>
                </c:pt>
                <c:pt idx="9030">
                  <c:v>0.27054305108967491</c:v>
                </c:pt>
                <c:pt idx="9031">
                  <c:v>0.28005537692032867</c:v>
                </c:pt>
                <c:pt idx="9032">
                  <c:v>0.28126116470167917</c:v>
                </c:pt>
                <c:pt idx="9033">
                  <c:v>0.27960878885316176</c:v>
                </c:pt>
                <c:pt idx="9034">
                  <c:v>0.26630046445159006</c:v>
                </c:pt>
                <c:pt idx="9035">
                  <c:v>0.26893533404787417</c:v>
                </c:pt>
                <c:pt idx="9036">
                  <c:v>0.2677295462665239</c:v>
                </c:pt>
                <c:pt idx="9037">
                  <c:v>0.26460342979635598</c:v>
                </c:pt>
                <c:pt idx="9038">
                  <c:v>0.25942300821722042</c:v>
                </c:pt>
                <c:pt idx="9039">
                  <c:v>0.25214362272240098</c:v>
                </c:pt>
                <c:pt idx="9040">
                  <c:v>0.25482315112540199</c:v>
                </c:pt>
                <c:pt idx="9041">
                  <c:v>0.25343872811718482</c:v>
                </c:pt>
                <c:pt idx="9042">
                  <c:v>0.25049124687388358</c:v>
                </c:pt>
                <c:pt idx="9043">
                  <c:v>0.24790103608431591</c:v>
                </c:pt>
                <c:pt idx="9044">
                  <c:v>0.22950160771704198</c:v>
                </c:pt>
                <c:pt idx="9045">
                  <c:v>0.2402643801357629</c:v>
                </c:pt>
                <c:pt idx="9046">
                  <c:v>0.24776705966416568</c:v>
                </c:pt>
                <c:pt idx="9047">
                  <c:v>0.237406216505895</c:v>
                </c:pt>
                <c:pt idx="9048">
                  <c:v>0.23628974633797784</c:v>
                </c:pt>
                <c:pt idx="9049">
                  <c:v>0.24093426223651315</c:v>
                </c:pt>
                <c:pt idx="9050">
                  <c:v>0.23646838156484473</c:v>
                </c:pt>
                <c:pt idx="9051">
                  <c:v>0.2387459807073955</c:v>
                </c:pt>
                <c:pt idx="9052">
                  <c:v>0.23914790996784574</c:v>
                </c:pt>
                <c:pt idx="9053">
                  <c:v>0.24557877813504847</c:v>
                </c:pt>
                <c:pt idx="9054">
                  <c:v>0.23387817077527706</c:v>
                </c:pt>
                <c:pt idx="9055">
                  <c:v>0.22490175062522333</c:v>
                </c:pt>
                <c:pt idx="9056">
                  <c:v>0.22950160771704198</c:v>
                </c:pt>
                <c:pt idx="9057">
                  <c:v>0.2339674883887104</c:v>
                </c:pt>
                <c:pt idx="9058">
                  <c:v>0.23490532332976066</c:v>
                </c:pt>
                <c:pt idx="9059">
                  <c:v>0.23718292247231143</c:v>
                </c:pt>
                <c:pt idx="9060">
                  <c:v>0.23512861736334401</c:v>
                </c:pt>
                <c:pt idx="9061">
                  <c:v>0.24209539121114698</c:v>
                </c:pt>
                <c:pt idx="9062">
                  <c:v>0.23968381564844576</c:v>
                </c:pt>
                <c:pt idx="9063">
                  <c:v>0.2278045730618079</c:v>
                </c:pt>
                <c:pt idx="9064">
                  <c:v>0.21387102536620239</c:v>
                </c:pt>
                <c:pt idx="9065">
                  <c:v>0.21690782422293697</c:v>
                </c:pt>
                <c:pt idx="9066">
                  <c:v>0.22231153983565566</c:v>
                </c:pt>
                <c:pt idx="9067">
                  <c:v>0.20985173276170088</c:v>
                </c:pt>
                <c:pt idx="9068">
                  <c:v>0.19971418363701332</c:v>
                </c:pt>
                <c:pt idx="9069">
                  <c:v>0.19341729188996082</c:v>
                </c:pt>
                <c:pt idx="9070">
                  <c:v>0.20132190067881384</c:v>
                </c:pt>
                <c:pt idx="9071">
                  <c:v>0.19332797427652726</c:v>
                </c:pt>
                <c:pt idx="9072">
                  <c:v>0.18890675241157573</c:v>
                </c:pt>
                <c:pt idx="9073">
                  <c:v>0.19002322257949289</c:v>
                </c:pt>
                <c:pt idx="9074">
                  <c:v>0.18167202572347274</c:v>
                </c:pt>
                <c:pt idx="9075">
                  <c:v>0.17818863879957125</c:v>
                </c:pt>
                <c:pt idx="9076">
                  <c:v>0.19837441943551259</c:v>
                </c:pt>
                <c:pt idx="9077">
                  <c:v>0.19560557341907847</c:v>
                </c:pt>
                <c:pt idx="9078">
                  <c:v>0.19649874955341207</c:v>
                </c:pt>
                <c:pt idx="9079">
                  <c:v>0.22226688102893899</c:v>
                </c:pt>
                <c:pt idx="9080">
                  <c:v>0.22065916398713825</c:v>
                </c:pt>
                <c:pt idx="9081">
                  <c:v>0.22878706680957483</c:v>
                </c:pt>
                <c:pt idx="9082">
                  <c:v>0.22333869239013948</c:v>
                </c:pt>
                <c:pt idx="9083">
                  <c:v>0.2339674883887104</c:v>
                </c:pt>
                <c:pt idx="9084">
                  <c:v>0.24687388352983208</c:v>
                </c:pt>
                <c:pt idx="9085">
                  <c:v>0.2462486602357985</c:v>
                </c:pt>
                <c:pt idx="9086">
                  <c:v>0.2462486602357985</c:v>
                </c:pt>
                <c:pt idx="9087">
                  <c:v>0.24584673097534848</c:v>
                </c:pt>
                <c:pt idx="9088">
                  <c:v>0.24388174347981417</c:v>
                </c:pt>
                <c:pt idx="9089">
                  <c:v>0.23829939264022859</c:v>
                </c:pt>
                <c:pt idx="9090">
                  <c:v>0.2566095033940694</c:v>
                </c:pt>
                <c:pt idx="9091">
                  <c:v>0.26107538406573783</c:v>
                </c:pt>
                <c:pt idx="9092">
                  <c:v>0.26062879599857092</c:v>
                </c:pt>
                <c:pt idx="9093">
                  <c:v>0.26679171132547363</c:v>
                </c:pt>
                <c:pt idx="9094">
                  <c:v>0.26330832440157215</c:v>
                </c:pt>
                <c:pt idx="9095">
                  <c:v>0.23691496963201164</c:v>
                </c:pt>
                <c:pt idx="9096">
                  <c:v>0.24767774205073256</c:v>
                </c:pt>
                <c:pt idx="9097">
                  <c:v>0.23441407645587731</c:v>
                </c:pt>
                <c:pt idx="9098">
                  <c:v>0.2303501250446589</c:v>
                </c:pt>
                <c:pt idx="9099">
                  <c:v>0.22909967845659174</c:v>
                </c:pt>
                <c:pt idx="9100">
                  <c:v>0.22356198642372282</c:v>
                </c:pt>
                <c:pt idx="9101">
                  <c:v>0.24120221507681316</c:v>
                </c:pt>
                <c:pt idx="9102">
                  <c:v>0.24258663808503056</c:v>
                </c:pt>
                <c:pt idx="9103">
                  <c:v>0.24182743837084675</c:v>
                </c:pt>
                <c:pt idx="9104">
                  <c:v>0.21646123615576984</c:v>
                </c:pt>
                <c:pt idx="9105">
                  <c:v>0.21409431939978574</c:v>
                </c:pt>
                <c:pt idx="9106">
                  <c:v>0.20855662736691682</c:v>
                </c:pt>
                <c:pt idx="9107">
                  <c:v>0.21195069667738475</c:v>
                </c:pt>
                <c:pt idx="9108">
                  <c:v>0.2143176134333693</c:v>
                </c:pt>
                <c:pt idx="9109">
                  <c:v>0.21735441229010366</c:v>
                </c:pt>
                <c:pt idx="9110">
                  <c:v>0.20167917113254741</c:v>
                </c:pt>
                <c:pt idx="9111">
                  <c:v>0.19801714898177925</c:v>
                </c:pt>
                <c:pt idx="9112">
                  <c:v>0.20078599499821359</c:v>
                </c:pt>
                <c:pt idx="9113">
                  <c:v>0.20471596998928199</c:v>
                </c:pt>
                <c:pt idx="9114">
                  <c:v>0.20212575919971432</c:v>
                </c:pt>
                <c:pt idx="9115">
                  <c:v>0.2065023222579494</c:v>
                </c:pt>
                <c:pt idx="9116">
                  <c:v>0.20458199356913198</c:v>
                </c:pt>
                <c:pt idx="9117">
                  <c:v>0.20051804215791358</c:v>
                </c:pt>
                <c:pt idx="9118">
                  <c:v>0.20869060378706683</c:v>
                </c:pt>
                <c:pt idx="9119">
                  <c:v>0.19743658449446233</c:v>
                </c:pt>
                <c:pt idx="9120">
                  <c:v>0.20270632368703123</c:v>
                </c:pt>
                <c:pt idx="9121">
                  <c:v>0.19431046802429441</c:v>
                </c:pt>
                <c:pt idx="9122">
                  <c:v>0.19002322257949289</c:v>
                </c:pt>
                <c:pt idx="9123">
                  <c:v>0.19167559842800985</c:v>
                </c:pt>
                <c:pt idx="9124">
                  <c:v>0.18738835298320833</c:v>
                </c:pt>
                <c:pt idx="9125">
                  <c:v>0.18734369417649166</c:v>
                </c:pt>
                <c:pt idx="9126">
                  <c:v>0.18609324758842449</c:v>
                </c:pt>
                <c:pt idx="9127">
                  <c:v>0.18113612004287249</c:v>
                </c:pt>
                <c:pt idx="9128">
                  <c:v>0.15376027152554506</c:v>
                </c:pt>
                <c:pt idx="9129">
                  <c:v>0.16791711325473391</c:v>
                </c:pt>
                <c:pt idx="9130">
                  <c:v>0.17233833511968566</c:v>
                </c:pt>
                <c:pt idx="9131">
                  <c:v>0.17153447659878518</c:v>
                </c:pt>
                <c:pt idx="9132">
                  <c:v>0.15969989281886399</c:v>
                </c:pt>
                <c:pt idx="9133">
                  <c:v>0.15746695248302967</c:v>
                </c:pt>
                <c:pt idx="9134">
                  <c:v>0.16617541979278316</c:v>
                </c:pt>
                <c:pt idx="9135">
                  <c:v>0.14813326187924258</c:v>
                </c:pt>
                <c:pt idx="9136">
                  <c:v>0.14764201500535923</c:v>
                </c:pt>
                <c:pt idx="9137">
                  <c:v>0.16220078599499832</c:v>
                </c:pt>
                <c:pt idx="9138">
                  <c:v>0.16572883172561625</c:v>
                </c:pt>
                <c:pt idx="9139">
                  <c:v>0.16456770275098243</c:v>
                </c:pt>
                <c:pt idx="9140">
                  <c:v>0.16362986780993216</c:v>
                </c:pt>
                <c:pt idx="9141">
                  <c:v>0.15527867095391223</c:v>
                </c:pt>
                <c:pt idx="9142">
                  <c:v>0.17251697034655256</c:v>
                </c:pt>
                <c:pt idx="9143">
                  <c:v>0.17341014648088615</c:v>
                </c:pt>
                <c:pt idx="9144">
                  <c:v>0.16961414790996776</c:v>
                </c:pt>
                <c:pt idx="9145">
                  <c:v>0.19011254019292623</c:v>
                </c:pt>
                <c:pt idx="9146">
                  <c:v>0.20569846373704914</c:v>
                </c:pt>
                <c:pt idx="9147">
                  <c:v>0.21092354412290093</c:v>
                </c:pt>
                <c:pt idx="9148">
                  <c:v>0.21440693104680242</c:v>
                </c:pt>
                <c:pt idx="9149">
                  <c:v>0.2190961057520544</c:v>
                </c:pt>
                <c:pt idx="9150">
                  <c:v>0.21498749553411933</c:v>
                </c:pt>
                <c:pt idx="9151">
                  <c:v>0.21565737763486958</c:v>
                </c:pt>
                <c:pt idx="9152">
                  <c:v>0.21480886030725266</c:v>
                </c:pt>
                <c:pt idx="9153">
                  <c:v>0.18801357627724191</c:v>
                </c:pt>
                <c:pt idx="9154">
                  <c:v>0.17229367631296899</c:v>
                </c:pt>
                <c:pt idx="9155">
                  <c:v>0.18430689531975708</c:v>
                </c:pt>
                <c:pt idx="9156">
                  <c:v>0.18202929617720631</c:v>
                </c:pt>
                <c:pt idx="9157">
                  <c:v>0.17675955698463741</c:v>
                </c:pt>
                <c:pt idx="9158">
                  <c:v>0.19087173990710982</c:v>
                </c:pt>
                <c:pt idx="9159">
                  <c:v>0.20578778135048248</c:v>
                </c:pt>
                <c:pt idx="9160">
                  <c:v>0.19895498392282973</c:v>
                </c:pt>
                <c:pt idx="9161">
                  <c:v>0.20806538049303325</c:v>
                </c:pt>
                <c:pt idx="9162">
                  <c:v>0.21494283672740266</c:v>
                </c:pt>
                <c:pt idx="9163">
                  <c:v>0.20694891032511609</c:v>
                </c:pt>
                <c:pt idx="9164">
                  <c:v>0.2027509824937479</c:v>
                </c:pt>
                <c:pt idx="9165">
                  <c:v>0.19618613790639539</c:v>
                </c:pt>
                <c:pt idx="9166">
                  <c:v>0.20824401571990014</c:v>
                </c:pt>
                <c:pt idx="9167">
                  <c:v>0.20587709896391559</c:v>
                </c:pt>
                <c:pt idx="9168">
                  <c:v>0.21373704894605217</c:v>
                </c:pt>
                <c:pt idx="9169">
                  <c:v>0.21480886030725266</c:v>
                </c:pt>
                <c:pt idx="9170">
                  <c:v>0.23173454805287608</c:v>
                </c:pt>
                <c:pt idx="9171">
                  <c:v>0.21373704894605217</c:v>
                </c:pt>
                <c:pt idx="9172">
                  <c:v>0.22141836370132206</c:v>
                </c:pt>
                <c:pt idx="9173">
                  <c:v>0.21016434440871756</c:v>
                </c:pt>
                <c:pt idx="9174">
                  <c:v>0.21610396570203649</c:v>
                </c:pt>
                <c:pt idx="9175">
                  <c:v>0.20158985351911407</c:v>
                </c:pt>
                <c:pt idx="9176">
                  <c:v>0.22266881028938901</c:v>
                </c:pt>
                <c:pt idx="9177">
                  <c:v>0.22731332618792432</c:v>
                </c:pt>
                <c:pt idx="9178">
                  <c:v>0.23106466595212605</c:v>
                </c:pt>
                <c:pt idx="9179">
                  <c:v>0.21324580207216881</c:v>
                </c:pt>
                <c:pt idx="9180">
                  <c:v>0.20105394783851382</c:v>
                </c:pt>
                <c:pt idx="9181">
                  <c:v>0.20882458020721706</c:v>
                </c:pt>
                <c:pt idx="9182">
                  <c:v>0.20476062879599866</c:v>
                </c:pt>
                <c:pt idx="9183">
                  <c:v>0.22566095033940692</c:v>
                </c:pt>
                <c:pt idx="9184">
                  <c:v>0.22499106823865689</c:v>
                </c:pt>
                <c:pt idx="9185">
                  <c:v>0.21217399071096832</c:v>
                </c:pt>
                <c:pt idx="9186">
                  <c:v>0.21141479099678451</c:v>
                </c:pt>
                <c:pt idx="9187">
                  <c:v>0.20668095748481607</c:v>
                </c:pt>
                <c:pt idx="9188">
                  <c:v>0.21257591997141834</c:v>
                </c:pt>
                <c:pt idx="9189">
                  <c:v>0.18421757770632374</c:v>
                </c:pt>
                <c:pt idx="9190">
                  <c:v>0.19261343336906056</c:v>
                </c:pt>
                <c:pt idx="9191">
                  <c:v>0.18993390496605933</c:v>
                </c:pt>
                <c:pt idx="9192">
                  <c:v>0.18493211861379066</c:v>
                </c:pt>
                <c:pt idx="9193">
                  <c:v>0.19100571632725982</c:v>
                </c:pt>
                <c:pt idx="9194">
                  <c:v>0.17077527688460181</c:v>
                </c:pt>
                <c:pt idx="9195">
                  <c:v>0.13174347981421941</c:v>
                </c:pt>
                <c:pt idx="9196">
                  <c:v>0.13714719542693832</c:v>
                </c:pt>
                <c:pt idx="9197">
                  <c:v>0.13326187924258659</c:v>
                </c:pt>
                <c:pt idx="9198">
                  <c:v>0.13214540907466965</c:v>
                </c:pt>
                <c:pt idx="9199">
                  <c:v>0.12017684887459823</c:v>
                </c:pt>
                <c:pt idx="9200">
                  <c:v>0.129957127545552</c:v>
                </c:pt>
                <c:pt idx="9201">
                  <c:v>0.12794748124330124</c:v>
                </c:pt>
                <c:pt idx="9202">
                  <c:v>0.12249910682386567</c:v>
                </c:pt>
                <c:pt idx="9203">
                  <c:v>0.14054126473740625</c:v>
                </c:pt>
                <c:pt idx="9204">
                  <c:v>0.15536798856734535</c:v>
                </c:pt>
                <c:pt idx="9205">
                  <c:v>0.14674883887102541</c:v>
                </c:pt>
                <c:pt idx="9206">
                  <c:v>0.13366380850303683</c:v>
                </c:pt>
                <c:pt idx="9207">
                  <c:v>0.13125223294033583</c:v>
                </c:pt>
                <c:pt idx="9208">
                  <c:v>0.15050017863522691</c:v>
                </c:pt>
                <c:pt idx="9209">
                  <c:v>0.14567702750982514</c:v>
                </c:pt>
                <c:pt idx="9210">
                  <c:v>0.14987495534119333</c:v>
                </c:pt>
                <c:pt idx="9211">
                  <c:v>0.15572525902107914</c:v>
                </c:pt>
                <c:pt idx="9212">
                  <c:v>0.16255805644873167</c:v>
                </c:pt>
                <c:pt idx="9213">
                  <c:v>0.17452661664880331</c:v>
                </c:pt>
                <c:pt idx="9214">
                  <c:v>0.16809574848160058</c:v>
                </c:pt>
                <c:pt idx="9215">
                  <c:v>0.16706859592711676</c:v>
                </c:pt>
                <c:pt idx="9216">
                  <c:v>0.17278492318685257</c:v>
                </c:pt>
                <c:pt idx="9217">
                  <c:v>0.17809932118613792</c:v>
                </c:pt>
                <c:pt idx="9218">
                  <c:v>0.17867988567345483</c:v>
                </c:pt>
                <c:pt idx="9219">
                  <c:v>0.17211504108610209</c:v>
                </c:pt>
                <c:pt idx="9220">
                  <c:v>0.16175419792783141</c:v>
                </c:pt>
                <c:pt idx="9221">
                  <c:v>0.1451411218292249</c:v>
                </c:pt>
                <c:pt idx="9222">
                  <c:v>0.14384601643444084</c:v>
                </c:pt>
                <c:pt idx="9223">
                  <c:v>0.15183994283672764</c:v>
                </c:pt>
                <c:pt idx="9224">
                  <c:v>0.15760092890317967</c:v>
                </c:pt>
                <c:pt idx="9225">
                  <c:v>0.160101822079314</c:v>
                </c:pt>
                <c:pt idx="9226">
                  <c:v>0.16001250446588067</c:v>
                </c:pt>
                <c:pt idx="9227">
                  <c:v>0.2127992140050019</c:v>
                </c:pt>
                <c:pt idx="9228">
                  <c:v>0.21190603787066808</c:v>
                </c:pt>
                <c:pt idx="9229">
                  <c:v>0.2065023222579494</c:v>
                </c:pt>
                <c:pt idx="9230">
                  <c:v>0.20324222936763148</c:v>
                </c:pt>
                <c:pt idx="9231">
                  <c:v>0.18863879957127572</c:v>
                </c:pt>
                <c:pt idx="9232">
                  <c:v>0.18564665952125781</c:v>
                </c:pt>
                <c:pt idx="9233">
                  <c:v>0.15447481243301175</c:v>
                </c:pt>
                <c:pt idx="9234">
                  <c:v>0.14366738120757416</c:v>
                </c:pt>
                <c:pt idx="9235">
                  <c:v>0.15617184708824583</c:v>
                </c:pt>
                <c:pt idx="9236">
                  <c:v>0.15250982493747767</c:v>
                </c:pt>
                <c:pt idx="9237">
                  <c:v>0.16144158628081451</c:v>
                </c:pt>
                <c:pt idx="9238">
                  <c:v>0.152465166130761</c:v>
                </c:pt>
                <c:pt idx="9239">
                  <c:v>0.15447481243301175</c:v>
                </c:pt>
                <c:pt idx="9240">
                  <c:v>0.17608967488388716</c:v>
                </c:pt>
                <c:pt idx="9241">
                  <c:v>0.20091997141836382</c:v>
                </c:pt>
                <c:pt idx="9242">
                  <c:v>0.20060735977134692</c:v>
                </c:pt>
                <c:pt idx="9243">
                  <c:v>0.20016077170418023</c:v>
                </c:pt>
                <c:pt idx="9244">
                  <c:v>0.21078956770275115</c:v>
                </c:pt>
                <c:pt idx="9245">
                  <c:v>0.21123615576991805</c:v>
                </c:pt>
                <c:pt idx="9246">
                  <c:v>0.19975884244372977</c:v>
                </c:pt>
                <c:pt idx="9247">
                  <c:v>0.18850482315112549</c:v>
                </c:pt>
                <c:pt idx="9248">
                  <c:v>0.18957663451232598</c:v>
                </c:pt>
                <c:pt idx="9249">
                  <c:v>0.18319042515183992</c:v>
                </c:pt>
                <c:pt idx="9250">
                  <c:v>0.17827795641300459</c:v>
                </c:pt>
                <c:pt idx="9251">
                  <c:v>0.20158985351911407</c:v>
                </c:pt>
                <c:pt idx="9252">
                  <c:v>0.20324222936763148</c:v>
                </c:pt>
                <c:pt idx="9253">
                  <c:v>0.19408717399071107</c:v>
                </c:pt>
                <c:pt idx="9254">
                  <c:v>0.1937299035369775</c:v>
                </c:pt>
                <c:pt idx="9255">
                  <c:v>0.19632011432654517</c:v>
                </c:pt>
                <c:pt idx="9256">
                  <c:v>0.19676670239371208</c:v>
                </c:pt>
                <c:pt idx="9257">
                  <c:v>0.19337263308324415</c:v>
                </c:pt>
                <c:pt idx="9258">
                  <c:v>0.19605216148624516</c:v>
                </c:pt>
                <c:pt idx="9259">
                  <c:v>0.17211504108610209</c:v>
                </c:pt>
                <c:pt idx="9260">
                  <c:v>0.16818506609503392</c:v>
                </c:pt>
                <c:pt idx="9261">
                  <c:v>0.18091282600928915</c:v>
                </c:pt>
                <c:pt idx="9262">
                  <c:v>0.18354769560557349</c:v>
                </c:pt>
                <c:pt idx="9263">
                  <c:v>0.18631654162200784</c:v>
                </c:pt>
                <c:pt idx="9264">
                  <c:v>0.16831904251518415</c:v>
                </c:pt>
                <c:pt idx="9265">
                  <c:v>0.15179528403001097</c:v>
                </c:pt>
                <c:pt idx="9266">
                  <c:v>0.15760092890317967</c:v>
                </c:pt>
                <c:pt idx="9267">
                  <c:v>0.16036977491961424</c:v>
                </c:pt>
                <c:pt idx="9268">
                  <c:v>0.15054483744194358</c:v>
                </c:pt>
                <c:pt idx="9269">
                  <c:v>0.14304215791354058</c:v>
                </c:pt>
                <c:pt idx="9270">
                  <c:v>0.14621293319042539</c:v>
                </c:pt>
                <c:pt idx="9271">
                  <c:v>0.12415148267238307</c:v>
                </c:pt>
                <c:pt idx="9272">
                  <c:v>0.11245087531261166</c:v>
                </c:pt>
                <c:pt idx="9273">
                  <c:v>0.12075741336191514</c:v>
                </c:pt>
                <c:pt idx="9274">
                  <c:v>0.12633976420150073</c:v>
                </c:pt>
                <c:pt idx="9275">
                  <c:v>0.12633976420150073</c:v>
                </c:pt>
                <c:pt idx="9276">
                  <c:v>0.1413451232583065</c:v>
                </c:pt>
                <c:pt idx="9277">
                  <c:v>0.13897820650232218</c:v>
                </c:pt>
                <c:pt idx="9278">
                  <c:v>0.14804394426580925</c:v>
                </c:pt>
                <c:pt idx="9279">
                  <c:v>0.1311629153269025</c:v>
                </c:pt>
                <c:pt idx="9280">
                  <c:v>0.11370132190067883</c:v>
                </c:pt>
                <c:pt idx="9281">
                  <c:v>0.11454983922829576</c:v>
                </c:pt>
                <c:pt idx="9282">
                  <c:v>0.12616112897463383</c:v>
                </c:pt>
                <c:pt idx="9283">
                  <c:v>0.10083958556627381</c:v>
                </c:pt>
                <c:pt idx="9284">
                  <c:v>8.5834226509467593E-2</c:v>
                </c:pt>
                <c:pt idx="9285">
                  <c:v>8.3556627366916825E-2</c:v>
                </c:pt>
                <c:pt idx="9286">
                  <c:v>0.11343336906037882</c:v>
                </c:pt>
                <c:pt idx="9287">
                  <c:v>0.12486602357984999</c:v>
                </c:pt>
                <c:pt idx="9288">
                  <c:v>0.12562522329403381</c:v>
                </c:pt>
                <c:pt idx="9289">
                  <c:v>9.8070739549839248E-2</c:v>
                </c:pt>
                <c:pt idx="9290">
                  <c:v>9.7758127902822567E-2</c:v>
                </c:pt>
                <c:pt idx="9291">
                  <c:v>9.6016434440871823E-2</c:v>
                </c:pt>
                <c:pt idx="9292">
                  <c:v>0.10526080743122557</c:v>
                </c:pt>
                <c:pt idx="9293">
                  <c:v>8.6995355484101644E-2</c:v>
                </c:pt>
                <c:pt idx="9294">
                  <c:v>0.16590746695248315</c:v>
                </c:pt>
                <c:pt idx="9295">
                  <c:v>0.15617184708824583</c:v>
                </c:pt>
                <c:pt idx="9296">
                  <c:v>0.155010718113612</c:v>
                </c:pt>
                <c:pt idx="9297">
                  <c:v>0.14299749910682391</c:v>
                </c:pt>
                <c:pt idx="9298">
                  <c:v>0.10342979635584149</c:v>
                </c:pt>
                <c:pt idx="9299">
                  <c:v>0.10691318327974297</c:v>
                </c:pt>
                <c:pt idx="9300">
                  <c:v>9.2309753483386991E-2</c:v>
                </c:pt>
                <c:pt idx="9301">
                  <c:v>9.6686316541622075E-2</c:v>
                </c:pt>
                <c:pt idx="9302">
                  <c:v>0.12549124687388358</c:v>
                </c:pt>
                <c:pt idx="9303">
                  <c:v>0.13058235083958558</c:v>
                </c:pt>
                <c:pt idx="9304">
                  <c:v>0.11624687388352983</c:v>
                </c:pt>
                <c:pt idx="9305">
                  <c:v>0.11441586280814575</c:v>
                </c:pt>
                <c:pt idx="9306">
                  <c:v>0.1127188281529119</c:v>
                </c:pt>
                <c:pt idx="9307">
                  <c:v>8.5119685602000672E-2</c:v>
                </c:pt>
                <c:pt idx="9308">
                  <c:v>0.10789567702750991</c:v>
                </c:pt>
                <c:pt idx="9309">
                  <c:v>8.4315827081100414E-2</c:v>
                </c:pt>
                <c:pt idx="9310">
                  <c:v>8.1591639871382737E-2</c:v>
                </c:pt>
                <c:pt idx="9311">
                  <c:v>5.0911039657020485E-2</c:v>
                </c:pt>
                <c:pt idx="9312">
                  <c:v>4.3095748481600582E-2</c:v>
                </c:pt>
                <c:pt idx="9313">
                  <c:v>6.6854233654876749E-2</c:v>
                </c:pt>
                <c:pt idx="9314">
                  <c:v>4.9080028581636403E-2</c:v>
                </c:pt>
                <c:pt idx="9315">
                  <c:v>2.1614862450875405E-2</c:v>
                </c:pt>
                <c:pt idx="9316">
                  <c:v>0</c:v>
                </c:pt>
                <c:pt idx="9317">
                  <c:v>0</c:v>
                </c:pt>
                <c:pt idx="9318">
                  <c:v>0</c:v>
                </c:pt>
                <c:pt idx="9319">
                  <c:v>0</c:v>
                </c:pt>
                <c:pt idx="9320">
                  <c:v>0</c:v>
                </c:pt>
                <c:pt idx="9321">
                  <c:v>0</c:v>
                </c:pt>
                <c:pt idx="9322">
                  <c:v>0</c:v>
                </c:pt>
                <c:pt idx="9323">
                  <c:v>0</c:v>
                </c:pt>
                <c:pt idx="9324">
                  <c:v>0</c:v>
                </c:pt>
                <c:pt idx="9325">
                  <c:v>0</c:v>
                </c:pt>
                <c:pt idx="9326">
                  <c:v>0</c:v>
                </c:pt>
                <c:pt idx="9327">
                  <c:v>0</c:v>
                </c:pt>
                <c:pt idx="9328">
                  <c:v>0</c:v>
                </c:pt>
                <c:pt idx="9329">
                  <c:v>0</c:v>
                </c:pt>
                <c:pt idx="9330">
                  <c:v>0</c:v>
                </c:pt>
                <c:pt idx="9331">
                  <c:v>0</c:v>
                </c:pt>
                <c:pt idx="9332">
                  <c:v>0</c:v>
                </c:pt>
                <c:pt idx="9333">
                  <c:v>0</c:v>
                </c:pt>
                <c:pt idx="9334">
                  <c:v>0</c:v>
                </c:pt>
                <c:pt idx="9335">
                  <c:v>0</c:v>
                </c:pt>
                <c:pt idx="9336">
                  <c:v>0</c:v>
                </c:pt>
                <c:pt idx="9337">
                  <c:v>0</c:v>
                </c:pt>
                <c:pt idx="9338">
                  <c:v>0</c:v>
                </c:pt>
                <c:pt idx="9339">
                  <c:v>0</c:v>
                </c:pt>
                <c:pt idx="9340">
                  <c:v>0</c:v>
                </c:pt>
                <c:pt idx="9341">
                  <c:v>0</c:v>
                </c:pt>
                <c:pt idx="9342">
                  <c:v>0</c:v>
                </c:pt>
                <c:pt idx="9343">
                  <c:v>0</c:v>
                </c:pt>
                <c:pt idx="9344">
                  <c:v>0</c:v>
                </c:pt>
                <c:pt idx="9345">
                  <c:v>0</c:v>
                </c:pt>
                <c:pt idx="9346">
                  <c:v>0</c:v>
                </c:pt>
                <c:pt idx="9347">
                  <c:v>0</c:v>
                </c:pt>
                <c:pt idx="9348">
                  <c:v>0</c:v>
                </c:pt>
                <c:pt idx="9349">
                  <c:v>0</c:v>
                </c:pt>
                <c:pt idx="9350">
                  <c:v>0</c:v>
                </c:pt>
                <c:pt idx="9351">
                  <c:v>0</c:v>
                </c:pt>
                <c:pt idx="9352">
                  <c:v>0</c:v>
                </c:pt>
                <c:pt idx="9353">
                  <c:v>0</c:v>
                </c:pt>
                <c:pt idx="9354">
                  <c:v>0</c:v>
                </c:pt>
                <c:pt idx="9355">
                  <c:v>0</c:v>
                </c:pt>
                <c:pt idx="9356">
                  <c:v>0</c:v>
                </c:pt>
                <c:pt idx="9357">
                  <c:v>0</c:v>
                </c:pt>
                <c:pt idx="9358">
                  <c:v>0</c:v>
                </c:pt>
                <c:pt idx="9359">
                  <c:v>0</c:v>
                </c:pt>
                <c:pt idx="9360">
                  <c:v>0</c:v>
                </c:pt>
                <c:pt idx="9361">
                  <c:v>0</c:v>
                </c:pt>
                <c:pt idx="9362">
                  <c:v>0</c:v>
                </c:pt>
                <c:pt idx="9363">
                  <c:v>0</c:v>
                </c:pt>
                <c:pt idx="9364">
                  <c:v>0</c:v>
                </c:pt>
                <c:pt idx="9365">
                  <c:v>0</c:v>
                </c:pt>
                <c:pt idx="9366">
                  <c:v>0</c:v>
                </c:pt>
                <c:pt idx="9367">
                  <c:v>0</c:v>
                </c:pt>
                <c:pt idx="9368">
                  <c:v>0</c:v>
                </c:pt>
                <c:pt idx="9369">
                  <c:v>0</c:v>
                </c:pt>
                <c:pt idx="9370">
                  <c:v>0</c:v>
                </c:pt>
                <c:pt idx="9371">
                  <c:v>0</c:v>
                </c:pt>
                <c:pt idx="9372">
                  <c:v>0</c:v>
                </c:pt>
                <c:pt idx="9373">
                  <c:v>0</c:v>
                </c:pt>
                <c:pt idx="9374">
                  <c:v>0</c:v>
                </c:pt>
                <c:pt idx="9375">
                  <c:v>0</c:v>
                </c:pt>
                <c:pt idx="9376">
                  <c:v>0</c:v>
                </c:pt>
                <c:pt idx="9377">
                  <c:v>0</c:v>
                </c:pt>
                <c:pt idx="9378">
                  <c:v>0</c:v>
                </c:pt>
                <c:pt idx="9379">
                  <c:v>0</c:v>
                </c:pt>
                <c:pt idx="9380">
                  <c:v>0</c:v>
                </c:pt>
                <c:pt idx="9381">
                  <c:v>0</c:v>
                </c:pt>
                <c:pt idx="9382">
                  <c:v>0</c:v>
                </c:pt>
                <c:pt idx="9383">
                  <c:v>0</c:v>
                </c:pt>
                <c:pt idx="9384">
                  <c:v>0</c:v>
                </c:pt>
                <c:pt idx="9385">
                  <c:v>0</c:v>
                </c:pt>
                <c:pt idx="9386">
                  <c:v>0</c:v>
                </c:pt>
                <c:pt idx="9387">
                  <c:v>2.2881273830917275</c:v>
                </c:pt>
                <c:pt idx="9388">
                  <c:v>2.254540192433903</c:v>
                </c:pt>
                <c:pt idx="9389">
                  <c:v>2.2796329482451263</c:v>
                </c:pt>
                <c:pt idx="9390">
                  <c:v>2.2692834069377734</c:v>
                </c:pt>
                <c:pt idx="9391">
                  <c:v>2.2203671786832095</c:v>
                </c:pt>
                <c:pt idx="9392">
                  <c:v>2.2147042221188089</c:v>
                </c:pt>
                <c:pt idx="9393">
                  <c:v>2.2621558926412009</c:v>
                </c:pt>
                <c:pt idx="9394">
                  <c:v>2.2609842464554628</c:v>
                </c:pt>
                <c:pt idx="9395">
                  <c:v>2.2674283004770217</c:v>
                </c:pt>
                <c:pt idx="9396">
                  <c:v>2.2453622973122882</c:v>
                </c:pt>
                <c:pt idx="9397">
                  <c:v>2.254540192433903</c:v>
                </c:pt>
                <c:pt idx="9398">
                  <c:v>2.2024995743507043</c:v>
                </c:pt>
                <c:pt idx="9399">
                  <c:v>2.1536809832782851</c:v>
                </c:pt>
                <c:pt idx="9400">
                  <c:v>2.1447959997031045</c:v>
                </c:pt>
                <c:pt idx="9401">
                  <c:v>2.1092560654023833</c:v>
                </c:pt>
                <c:pt idx="9402">
                  <c:v>2.0875806109662296</c:v>
                </c:pt>
                <c:pt idx="9403">
                  <c:v>2.1006639933736375</c:v>
                </c:pt>
                <c:pt idx="9404">
                  <c:v>2.1113064462274251</c:v>
                </c:pt>
                <c:pt idx="9405">
                  <c:v>2.1053505781165902</c:v>
                </c:pt>
                <c:pt idx="9406">
                  <c:v>2.0819176544018285</c:v>
                </c:pt>
                <c:pt idx="9407">
                  <c:v>2.0495021099297421</c:v>
                </c:pt>
                <c:pt idx="9408">
                  <c:v>2.0330990633294093</c:v>
                </c:pt>
                <c:pt idx="9409">
                  <c:v>2.0196251321934215</c:v>
                </c:pt>
                <c:pt idx="9410">
                  <c:v>2.0053701036002751</c:v>
                </c:pt>
                <c:pt idx="9411">
                  <c:v>2.0118141576218349</c:v>
                </c:pt>
                <c:pt idx="9412">
                  <c:v>2.0125952550789932</c:v>
                </c:pt>
                <c:pt idx="9413">
                  <c:v>2.0403242148081273</c:v>
                </c:pt>
                <c:pt idx="9414">
                  <c:v>2.0715681130944756</c:v>
                </c:pt>
                <c:pt idx="9415">
                  <c:v>2.0531146856691009</c:v>
                </c:pt>
                <c:pt idx="9416">
                  <c:v>2.0308534081400782</c:v>
                </c:pt>
                <c:pt idx="9417">
                  <c:v>2.033391974875844</c:v>
                </c:pt>
                <c:pt idx="9418">
                  <c:v>2.003612634321668</c:v>
                </c:pt>
                <c:pt idx="9419">
                  <c:v>2.0108377858003861</c:v>
                </c:pt>
                <c:pt idx="9420">
                  <c:v>2.0025386253180746</c:v>
                </c:pt>
                <c:pt idx="9421">
                  <c:v>2.0100566883432278</c:v>
                </c:pt>
                <c:pt idx="9422">
                  <c:v>2.0013669791323365</c:v>
                </c:pt>
                <c:pt idx="9423">
                  <c:v>1.977152957960417</c:v>
                </c:pt>
                <c:pt idx="9424">
                  <c:v>1.9840851978927003</c:v>
                </c:pt>
                <c:pt idx="9425">
                  <c:v>1.957820795895739</c:v>
                </c:pt>
                <c:pt idx="9426">
                  <c:v>1.9681703372030919</c:v>
                </c:pt>
                <c:pt idx="9427">
                  <c:v>2.0062488382395784</c:v>
                </c:pt>
                <c:pt idx="9428">
                  <c:v>1.9990236867608608</c:v>
                </c:pt>
                <c:pt idx="9429">
                  <c:v>2.0165983795469313</c:v>
                </c:pt>
                <c:pt idx="9430">
                  <c:v>1.9960945712965157</c:v>
                </c:pt>
                <c:pt idx="9431">
                  <c:v>2.0114236088932551</c:v>
                </c:pt>
                <c:pt idx="9432">
                  <c:v>2.0233353451149254</c:v>
                </c:pt>
                <c:pt idx="9433">
                  <c:v>1.9971685803001091</c:v>
                </c:pt>
                <c:pt idx="9434">
                  <c:v>1.9846710209855694</c:v>
                </c:pt>
                <c:pt idx="9435">
                  <c:v>1.9760789489568236</c:v>
                </c:pt>
                <c:pt idx="9436">
                  <c:v>1.9755907630460992</c:v>
                </c:pt>
                <c:pt idx="9437">
                  <c:v>1.9597735395386353</c:v>
                </c:pt>
                <c:pt idx="9438">
                  <c:v>1.9449326878526203</c:v>
                </c:pt>
                <c:pt idx="9439">
                  <c:v>1.9167155422127622</c:v>
                </c:pt>
                <c:pt idx="9440">
                  <c:v>1.9044132572625125</c:v>
                </c:pt>
                <c:pt idx="9441">
                  <c:v>1.9025581508017599</c:v>
                </c:pt>
                <c:pt idx="9442">
                  <c:v>1.8970904686016494</c:v>
                </c:pt>
                <c:pt idx="9443">
                  <c:v>1.865163110040287</c:v>
                </c:pt>
                <c:pt idx="9444">
                  <c:v>1.8811756079120405</c:v>
                </c:pt>
                <c:pt idx="9445">
                  <c:v>1.8653583844045771</c:v>
                </c:pt>
                <c:pt idx="9446">
                  <c:v>1.8164421561500124</c:v>
                </c:pt>
                <c:pt idx="9447">
                  <c:v>1.8298184501038555</c:v>
                </c:pt>
                <c:pt idx="9448">
                  <c:v>1.8324546540217663</c:v>
                </c:pt>
                <c:pt idx="9449">
                  <c:v>1.8388987080433252</c:v>
                </c:pt>
                <c:pt idx="9450">
                  <c:v>1.8190783600679232</c:v>
                </c:pt>
                <c:pt idx="9451">
                  <c:v>1.8227885729894271</c:v>
                </c:pt>
                <c:pt idx="9452">
                  <c:v>1.7549307313987645</c:v>
                </c:pt>
                <c:pt idx="9453">
                  <c:v>1.7355009321519415</c:v>
                </c:pt>
                <c:pt idx="9454">
                  <c:v>1.7163640444515531</c:v>
                </c:pt>
                <c:pt idx="9455">
                  <c:v>1.7301308871339756</c:v>
                </c:pt>
                <c:pt idx="9456">
                  <c:v>1.7987698261817968</c:v>
                </c:pt>
                <c:pt idx="9457">
                  <c:v>1.8063855263890942</c:v>
                </c:pt>
                <c:pt idx="9458">
                  <c:v>1.8728764474297295</c:v>
                </c:pt>
                <c:pt idx="9459">
                  <c:v>1.8703378806939637</c:v>
                </c:pt>
                <c:pt idx="9460">
                  <c:v>1.8636985523081147</c:v>
                </c:pt>
                <c:pt idx="9461">
                  <c:v>1.8468073197970574</c:v>
                </c:pt>
                <c:pt idx="9462">
                  <c:v>1.8643820125831283</c:v>
                </c:pt>
                <c:pt idx="9463">
                  <c:v>1.8721929871547154</c:v>
                </c:pt>
                <c:pt idx="9464">
                  <c:v>1.8848858208335448</c:v>
                </c:pt>
                <c:pt idx="9465">
                  <c:v>1.8836165374656613</c:v>
                </c:pt>
                <c:pt idx="9466">
                  <c:v>1.8252295025430483</c:v>
                </c:pt>
                <c:pt idx="9467">
                  <c:v>1.8122437573177841</c:v>
                </c:pt>
                <c:pt idx="9468">
                  <c:v>1.8154657843285644</c:v>
                </c:pt>
                <c:pt idx="9469">
                  <c:v>1.7784612922956704</c:v>
                </c:pt>
                <c:pt idx="9470">
                  <c:v>1.7583480327738337</c:v>
                </c:pt>
                <c:pt idx="9471">
                  <c:v>1.7517087043879846</c:v>
                </c:pt>
                <c:pt idx="9472">
                  <c:v>1.7486819517414944</c:v>
                </c:pt>
                <c:pt idx="9473">
                  <c:v>1.8004296582782588</c:v>
                </c:pt>
                <c:pt idx="9474">
                  <c:v>1.8040422340176181</c:v>
                </c:pt>
                <c:pt idx="9475">
                  <c:v>1.8614528971187831</c:v>
                </c:pt>
                <c:pt idx="9476">
                  <c:v>1.7933021439816859</c:v>
                </c:pt>
                <c:pt idx="9477">
                  <c:v>1.8013083929175631</c:v>
                </c:pt>
                <c:pt idx="9478">
                  <c:v>1.7771920089277877</c:v>
                </c:pt>
                <c:pt idx="9479">
                  <c:v>1.725639576755313</c:v>
                </c:pt>
                <c:pt idx="9480">
                  <c:v>1.7887131964208787</c:v>
                </c:pt>
                <c:pt idx="9481">
                  <c:v>1.8557899405543825</c:v>
                </c:pt>
                <c:pt idx="9482">
                  <c:v>1.8594025162937418</c:v>
                </c:pt>
                <c:pt idx="9483">
                  <c:v>1.9023628764374703</c:v>
                </c:pt>
                <c:pt idx="9484">
                  <c:v>1.8967975570552147</c:v>
                </c:pt>
                <c:pt idx="9485">
                  <c:v>1.9481547148633998</c:v>
                </c:pt>
                <c:pt idx="9486">
                  <c:v>1.9331185888130951</c:v>
                </c:pt>
                <c:pt idx="9487">
                  <c:v>1.8669205793188941</c:v>
                </c:pt>
                <c:pt idx="9488">
                  <c:v>1.8548135687329341</c:v>
                </c:pt>
                <c:pt idx="9489">
                  <c:v>1.84807660316494</c:v>
                </c:pt>
                <c:pt idx="9490">
                  <c:v>1.8236673076287304</c:v>
                </c:pt>
                <c:pt idx="9491">
                  <c:v>1.8913298748551037</c:v>
                </c:pt>
                <c:pt idx="9492">
                  <c:v>1.9381957222846262</c:v>
                </c:pt>
                <c:pt idx="9493">
                  <c:v>1.9328256772666603</c:v>
                </c:pt>
                <c:pt idx="9494">
                  <c:v>1.9451279622169095</c:v>
                </c:pt>
                <c:pt idx="9495">
                  <c:v>1.9404413774739577</c:v>
                </c:pt>
                <c:pt idx="9496">
                  <c:v>1.9112478600126508</c:v>
                </c:pt>
                <c:pt idx="9497">
                  <c:v>1.8713142525154116</c:v>
                </c:pt>
                <c:pt idx="9498">
                  <c:v>1.8586214188365826</c:v>
                </c:pt>
                <c:pt idx="9499">
                  <c:v>1.8555946661900933</c:v>
                </c:pt>
                <c:pt idx="9500">
                  <c:v>1.8141965009606813</c:v>
                </c:pt>
                <c:pt idx="9501">
                  <c:v>1.8304042731967245</c:v>
                </c:pt>
                <c:pt idx="9502">
                  <c:v>1.8433900184219882</c:v>
                </c:pt>
                <c:pt idx="9503">
                  <c:v>1.8345050348468077</c:v>
                </c:pt>
                <c:pt idx="9504">
                  <c:v>1.8398750798647741</c:v>
                </c:pt>
                <c:pt idx="9505">
                  <c:v>1.8148799612356954</c:v>
                </c:pt>
                <c:pt idx="9506">
                  <c:v>1.8379223362218773</c:v>
                </c:pt>
                <c:pt idx="9507">
                  <c:v>1.8365554156718491</c:v>
                </c:pt>
                <c:pt idx="9508">
                  <c:v>1.8180043510643302</c:v>
                </c:pt>
                <c:pt idx="9509">
                  <c:v>1.7740676190991529</c:v>
                </c:pt>
                <c:pt idx="9510">
                  <c:v>1.763132254698931</c:v>
                </c:pt>
                <c:pt idx="9511">
                  <c:v>1.7748487165563112</c:v>
                </c:pt>
                <c:pt idx="9512">
                  <c:v>1.7627417059703512</c:v>
                </c:pt>
                <c:pt idx="9513">
                  <c:v>1.7728959729134148</c:v>
                </c:pt>
                <c:pt idx="9514">
                  <c:v>1.7619606085131925</c:v>
                </c:pt>
                <c:pt idx="9515">
                  <c:v>1.7570787494059505</c:v>
                </c:pt>
                <c:pt idx="9516">
                  <c:v>1.7873462758708509</c:v>
                </c:pt>
                <c:pt idx="9517">
                  <c:v>1.7882250105101543</c:v>
                </c:pt>
                <c:pt idx="9518">
                  <c:v>1.7867604527779819</c:v>
                </c:pt>
                <c:pt idx="9519">
                  <c:v>1.7874439130529955</c:v>
                </c:pt>
                <c:pt idx="9520">
                  <c:v>1.7309119845911338</c:v>
                </c:pt>
                <c:pt idx="9521">
                  <c:v>1.6910760142760402</c:v>
                </c:pt>
                <c:pt idx="9522">
                  <c:v>1.7098223532478491</c:v>
                </c:pt>
                <c:pt idx="9523">
                  <c:v>1.6857059692580738</c:v>
                </c:pt>
                <c:pt idx="9524">
                  <c:v>1.7158758585408291</c:v>
                </c:pt>
                <c:pt idx="9525">
                  <c:v>1.7342316487840588</c:v>
                </c:pt>
                <c:pt idx="9526">
                  <c:v>1.7451670131842807</c:v>
                </c:pt>
                <c:pt idx="9527">
                  <c:v>1.7303261614982648</c:v>
                </c:pt>
                <c:pt idx="9528">
                  <c:v>1.694688590015399</c:v>
                </c:pt>
                <c:pt idx="9529">
                  <c:v>1.6991799003940615</c:v>
                </c:pt>
                <c:pt idx="9530">
                  <c:v>1.6760398882257346</c:v>
                </c:pt>
                <c:pt idx="9531">
                  <c:v>1.6776020831400524</c:v>
                </c:pt>
                <c:pt idx="9532">
                  <c:v>1.6889279962688533</c:v>
                </c:pt>
                <c:pt idx="9533">
                  <c:v>1.6728178612149551</c:v>
                </c:pt>
                <c:pt idx="9534">
                  <c:v>1.632396067806992</c:v>
                </c:pt>
                <c:pt idx="9535">
                  <c:v>1.6371802897320893</c:v>
                </c:pt>
                <c:pt idx="9536">
                  <c:v>1.674380056129273</c:v>
                </c:pt>
                <c:pt idx="9537">
                  <c:v>1.6151142865673553</c:v>
                </c:pt>
                <c:pt idx="9538">
                  <c:v>1.6268307484247364</c:v>
                </c:pt>
                <c:pt idx="9539">
                  <c:v>1.6297598638890811</c:v>
                </c:pt>
                <c:pt idx="9540">
                  <c:v>1.5998828861527605</c:v>
                </c:pt>
                <c:pt idx="9541">
                  <c:v>1.5921695487633185</c:v>
                </c:pt>
                <c:pt idx="9542">
                  <c:v>1.5643429518520393</c:v>
                </c:pt>
                <c:pt idx="9543">
                  <c:v>1.538078549855078</c:v>
                </c:pt>
                <c:pt idx="9544">
                  <c:v>1.5414958512301475</c:v>
                </c:pt>
                <c:pt idx="9545">
                  <c:v>1.5261668136334077</c:v>
                </c:pt>
                <c:pt idx="9546">
                  <c:v>1.5120094222224059</c:v>
                </c:pt>
                <c:pt idx="9547">
                  <c:v>1.4929701717041626</c:v>
                </c:pt>
                <c:pt idx="9548">
                  <c:v>1.4680726902572285</c:v>
                </c:pt>
                <c:pt idx="9549">
                  <c:v>1.4623120965106833</c:v>
                </c:pt>
                <c:pt idx="9550">
                  <c:v>1.406268353959546</c:v>
                </c:pt>
                <c:pt idx="9551">
                  <c:v>1.3644796400015551</c:v>
                </c:pt>
                <c:pt idx="9552">
                  <c:v>1.3761961018589357</c:v>
                </c:pt>
                <c:pt idx="9553">
                  <c:v>1.3888889355377647</c:v>
                </c:pt>
                <c:pt idx="9554">
                  <c:v>1.4108573015203532</c:v>
                </c:pt>
                <c:pt idx="9555">
                  <c:v>1.4091974694238911</c:v>
                </c:pt>
                <c:pt idx="9556">
                  <c:v>1.4051943449559525</c:v>
                </c:pt>
                <c:pt idx="9557">
                  <c:v>1.4287249058528588</c:v>
                </c:pt>
                <c:pt idx="9558">
                  <c:v>1.438293349703053</c:v>
                </c:pt>
                <c:pt idx="9559">
                  <c:v>1.4094903809703254</c:v>
                </c:pt>
                <c:pt idx="9560">
                  <c:v>1.4171060811776228</c:v>
                </c:pt>
                <c:pt idx="9561">
                  <c:v>1.4413201023495428</c:v>
                </c:pt>
                <c:pt idx="9562">
                  <c:v>1.4234524980170375</c:v>
                </c:pt>
                <c:pt idx="9563">
                  <c:v>1.4150557003525814</c:v>
                </c:pt>
                <c:pt idx="9564">
                  <c:v>1.4230619492884582</c:v>
                </c:pt>
                <c:pt idx="9565">
                  <c:v>1.4503027231068684</c:v>
                </c:pt>
                <c:pt idx="9566">
                  <c:v>1.433899676506535</c:v>
                </c:pt>
                <c:pt idx="9567">
                  <c:v>1.4522554667497647</c:v>
                </c:pt>
                <c:pt idx="9568">
                  <c:v>1.4523531039319098</c:v>
                </c:pt>
                <c:pt idx="9569">
                  <c:v>1.4706112569929943</c:v>
                </c:pt>
                <c:pt idx="9570">
                  <c:v>1.4785198687467265</c:v>
                </c:pt>
                <c:pt idx="9571">
                  <c:v>1.4799844264788988</c:v>
                </c:pt>
                <c:pt idx="9572">
                  <c:v>1.431654021317204</c:v>
                </c:pt>
                <c:pt idx="9573">
                  <c:v>1.433313853413666</c:v>
                </c:pt>
                <c:pt idx="9574">
                  <c:v>1.4289201802171485</c:v>
                </c:pt>
                <c:pt idx="9575">
                  <c:v>1.4230619492884582</c:v>
                </c:pt>
                <c:pt idx="9576">
                  <c:v>1.4160320721740298</c:v>
                </c:pt>
                <c:pt idx="9577">
                  <c:v>1.4005077602130007</c:v>
                </c:pt>
                <c:pt idx="9578">
                  <c:v>1.363307993815817</c:v>
                </c:pt>
                <c:pt idx="9579">
                  <c:v>1.3204452708542327</c:v>
                </c:pt>
                <c:pt idx="9580">
                  <c:v>1.3118531988254869</c:v>
                </c:pt>
                <c:pt idx="9581">
                  <c:v>1.3746339069446183</c:v>
                </c:pt>
                <c:pt idx="9582">
                  <c:v>1.3872291034413022</c:v>
                </c:pt>
                <c:pt idx="9583">
                  <c:v>1.3727788004838666</c:v>
                </c:pt>
                <c:pt idx="9584">
                  <c:v>1.4081234604202977</c:v>
                </c:pt>
                <c:pt idx="9585">
                  <c:v>1.412419496434671</c:v>
                </c:pt>
                <c:pt idx="9586">
                  <c:v>1.4031439641309111</c:v>
                </c:pt>
                <c:pt idx="9587">
                  <c:v>1.3996290255736969</c:v>
                </c:pt>
                <c:pt idx="9588">
                  <c:v>1.4006053973951453</c:v>
                </c:pt>
                <c:pt idx="9589">
                  <c:v>1.4075376373274291</c:v>
                </c:pt>
                <c:pt idx="9590">
                  <c:v>1.4038274244059248</c:v>
                </c:pt>
                <c:pt idx="9591">
                  <c:v>1.3999219371201317</c:v>
                </c:pt>
                <c:pt idx="9592">
                  <c:v>1.3821519699697706</c:v>
                </c:pt>
                <c:pt idx="9593">
                  <c:v>1.3795157660518602</c:v>
                </c:pt>
                <c:pt idx="9594">
                  <c:v>1.3524702665977397</c:v>
                </c:pt>
                <c:pt idx="9595">
                  <c:v>1.3360672199974069</c:v>
                </c:pt>
                <c:pt idx="9596">
                  <c:v>1.33128299807231</c:v>
                </c:pt>
                <c:pt idx="9597">
                  <c:v>1.326303501782923</c:v>
                </c:pt>
                <c:pt idx="9598">
                  <c:v>1.3362624943616965</c:v>
                </c:pt>
                <c:pt idx="9599">
                  <c:v>1.3067760653539553</c:v>
                </c:pt>
                <c:pt idx="9600">
                  <c:v>1.3030658524324514</c:v>
                </c:pt>
                <c:pt idx="9601">
                  <c:v>1.3039445870717552</c:v>
                </c:pt>
                <c:pt idx="9602">
                  <c:v>1.3319664583473236</c:v>
                </c:pt>
                <c:pt idx="9603">
                  <c:v>1.3387034239153177</c:v>
                </c:pt>
                <c:pt idx="9604">
                  <c:v>1.3315759096187447</c:v>
                </c:pt>
                <c:pt idx="9605">
                  <c:v>1.2980863561430649</c:v>
                </c:pt>
                <c:pt idx="9606">
                  <c:v>1.3033587639788862</c:v>
                </c:pt>
                <c:pt idx="9607">
                  <c:v>1.2991603651466579</c:v>
                </c:pt>
                <c:pt idx="9608">
                  <c:v>1.3027729408860171</c:v>
                </c:pt>
                <c:pt idx="9609">
                  <c:v>1.3108768270040385</c:v>
                </c:pt>
                <c:pt idx="9610">
                  <c:v>1.2887131866571604</c:v>
                </c:pt>
                <c:pt idx="9611">
                  <c:v>1.2923257623965192</c:v>
                </c:pt>
                <c:pt idx="9612">
                  <c:v>1.2818785839070217</c:v>
                </c:pt>
                <c:pt idx="9613">
                  <c:v>1.2839289647320631</c:v>
                </c:pt>
                <c:pt idx="9614">
                  <c:v>1.2808045749034283</c:v>
                </c:pt>
                <c:pt idx="9615">
                  <c:v>1.2585432973744051</c:v>
                </c:pt>
                <c:pt idx="9616">
                  <c:v>1.2447764546919831</c:v>
                </c:pt>
                <c:pt idx="9617">
                  <c:v>1.2674282809495856</c:v>
                </c:pt>
                <c:pt idx="9618">
                  <c:v>1.2635227936637921</c:v>
                </c:pt>
                <c:pt idx="9619">
                  <c:v>1.306971339718245</c:v>
                </c:pt>
                <c:pt idx="9620">
                  <c:v>1.30101547160741</c:v>
                </c:pt>
                <c:pt idx="9621">
                  <c:v>1.293790320128692</c:v>
                </c:pt>
                <c:pt idx="9622">
                  <c:v>1.2672330065852959</c:v>
                </c:pt>
                <c:pt idx="9623">
                  <c:v>1.2682093784067443</c:v>
                </c:pt>
                <c:pt idx="9624">
                  <c:v>1.2620582359316193</c:v>
                </c:pt>
                <c:pt idx="9625">
                  <c:v>1.2624487846601986</c:v>
                </c:pt>
                <c:pt idx="9626">
                  <c:v>1.2645968026673851</c:v>
                </c:pt>
                <c:pt idx="9627">
                  <c:v>1.2521968805349903</c:v>
                </c:pt>
                <c:pt idx="9628">
                  <c:v>1.2962312496823127</c:v>
                </c:pt>
                <c:pt idx="9629">
                  <c:v>1.4122242220703809</c:v>
                </c:pt>
                <c:pt idx="9630">
                  <c:v>1.4181800901812163</c:v>
                </c:pt>
                <c:pt idx="9631">
                  <c:v>1.4227690377420235</c:v>
                </c:pt>
                <c:pt idx="9632">
                  <c:v>1.4455185011817711</c:v>
                </c:pt>
                <c:pt idx="9633">
                  <c:v>1.4783245943824368</c:v>
                </c:pt>
                <c:pt idx="9634">
                  <c:v>1.4417106510781226</c:v>
                </c:pt>
                <c:pt idx="9635">
                  <c:v>1.4264792506635278</c:v>
                </c:pt>
                <c:pt idx="9636">
                  <c:v>1.4695372479894013</c:v>
                </c:pt>
                <c:pt idx="9637">
                  <c:v>1.4686585133500976</c:v>
                </c:pt>
                <c:pt idx="9638">
                  <c:v>1.4731498237287606</c:v>
                </c:pt>
                <c:pt idx="9639">
                  <c:v>1.4686585133500976</c:v>
                </c:pt>
                <c:pt idx="9640">
                  <c:v>1.419547010731244</c:v>
                </c:pt>
                <c:pt idx="9641">
                  <c:v>1.4427846600817156</c:v>
                </c:pt>
                <c:pt idx="9642">
                  <c:v>1.437707526610184</c:v>
                </c:pt>
                <c:pt idx="9643">
                  <c:v>1.4386838984316324</c:v>
                </c:pt>
                <c:pt idx="9644">
                  <c:v>1.406854177052415</c:v>
                </c:pt>
                <c:pt idx="9645">
                  <c:v>1.4153486118990157</c:v>
                </c:pt>
                <c:pt idx="9646">
                  <c:v>1.4131029567096847</c:v>
                </c:pt>
                <c:pt idx="9647">
                  <c:v>1.4043156103166492</c:v>
                </c:pt>
                <c:pt idx="9648">
                  <c:v>1.3986526537522486</c:v>
                </c:pt>
                <c:pt idx="9649">
                  <c:v>1.375903190312501</c:v>
                </c:pt>
                <c:pt idx="9650">
                  <c:v>1.3499316998619739</c:v>
                </c:pt>
                <c:pt idx="9651">
                  <c:v>1.3128295706469353</c:v>
                </c:pt>
                <c:pt idx="9652">
                  <c:v>1.3143917655612527</c:v>
                </c:pt>
                <c:pt idx="9653">
                  <c:v>1.3124390219183559</c:v>
                </c:pt>
                <c:pt idx="9654">
                  <c:v>1.3142941283791081</c:v>
                </c:pt>
                <c:pt idx="9655">
                  <c:v>1.3041398614360449</c:v>
                </c:pt>
                <c:pt idx="9656">
                  <c:v>1.2935950457644023</c:v>
                </c:pt>
                <c:pt idx="9657">
                  <c:v>1.3054091448039276</c:v>
                </c:pt>
                <c:pt idx="9658">
                  <c:v>1.3099980923647352</c:v>
                </c:pt>
                <c:pt idx="9659">
                  <c:v>1.2900801072071881</c:v>
                </c:pt>
                <c:pt idx="9660">
                  <c:v>1.3043351358003346</c:v>
                </c:pt>
                <c:pt idx="9661">
                  <c:v>1.3454403894833113</c:v>
                </c:pt>
                <c:pt idx="9662">
                  <c:v>1.3232767491364332</c:v>
                </c:pt>
                <c:pt idx="9663">
                  <c:v>1.3303066262508616</c:v>
                </c:pt>
                <c:pt idx="9664">
                  <c:v>1.3255224043257643</c:v>
                </c:pt>
                <c:pt idx="9665">
                  <c:v>1.3065807909896661</c:v>
                </c:pt>
                <c:pt idx="9666">
                  <c:v>1.3077524371754041</c:v>
                </c:pt>
                <c:pt idx="9667">
                  <c:v>1.3049209588932036</c:v>
                </c:pt>
                <c:pt idx="9668">
                  <c:v>1.2945714175858507</c:v>
                </c:pt>
                <c:pt idx="9669">
                  <c:v>1.2813903979962973</c:v>
                </c:pt>
                <c:pt idx="9670">
                  <c:v>1.3248389440507506</c:v>
                </c:pt>
                <c:pt idx="9671">
                  <c:v>1.3649678259122791</c:v>
                </c:pt>
                <c:pt idx="9672">
                  <c:v>1.3726811633017215</c:v>
                </c:pt>
                <c:pt idx="9673">
                  <c:v>1.3708260568409694</c:v>
                </c:pt>
                <c:pt idx="9674">
                  <c:v>1.3588166834371544</c:v>
                </c:pt>
                <c:pt idx="9675">
                  <c:v>1.3828354302447847</c:v>
                </c:pt>
                <c:pt idx="9676">
                  <c:v>1.4584066092248897</c:v>
                </c:pt>
                <c:pt idx="9677">
                  <c:v>1.4672915928000698</c:v>
                </c:pt>
                <c:pt idx="9678">
                  <c:v>1.4608475387785105</c:v>
                </c:pt>
                <c:pt idx="9679">
                  <c:v>1.4491310769211299</c:v>
                </c:pt>
                <c:pt idx="9680">
                  <c:v>1.4370240663351699</c:v>
                </c:pt>
                <c:pt idx="9681">
                  <c:v>1.4286272686707142</c:v>
                </c:pt>
                <c:pt idx="9682">
                  <c:v>1.4304823751314659</c:v>
                </c:pt>
                <c:pt idx="9683">
                  <c:v>1.4119313105239466</c:v>
                </c:pt>
                <c:pt idx="9684">
                  <c:v>1.39464952928431</c:v>
                </c:pt>
                <c:pt idx="9685">
                  <c:v>1.4173013555419129</c:v>
                </c:pt>
                <c:pt idx="9686">
                  <c:v>1.3829330674269293</c:v>
                </c:pt>
                <c:pt idx="9687">
                  <c:v>1.3920133253663995</c:v>
                </c:pt>
                <c:pt idx="9688">
                  <c:v>1.3857645457091299</c:v>
                </c:pt>
                <c:pt idx="9689">
                  <c:v>1.4031439641309111</c:v>
                </c:pt>
                <c:pt idx="9690">
                  <c:v>1.3992384768451176</c:v>
                </c:pt>
                <c:pt idx="9691">
                  <c:v>1.3578403116157061</c:v>
                </c:pt>
                <c:pt idx="9692">
                  <c:v>1.3543253730584919</c:v>
                </c:pt>
                <c:pt idx="9693">
                  <c:v>1.3391916098260421</c:v>
                </c:pt>
                <c:pt idx="9694">
                  <c:v>1.3429018227475455</c:v>
                </c:pt>
                <c:pt idx="9695">
                  <c:v>1.3986526537522486</c:v>
                </c:pt>
                <c:pt idx="9696">
                  <c:v>1.3984573793879589</c:v>
                </c:pt>
                <c:pt idx="9697">
                  <c:v>1.3817614212411913</c:v>
                </c:pt>
                <c:pt idx="9698">
                  <c:v>1.3970904588379311</c:v>
                </c:pt>
                <c:pt idx="9699">
                  <c:v>1.3925015112771235</c:v>
                </c:pt>
                <c:pt idx="9700">
                  <c:v>1.4150557003525814</c:v>
                </c:pt>
                <c:pt idx="9701">
                  <c:v>1.421206842827706</c:v>
                </c:pt>
                <c:pt idx="9702">
                  <c:v>1.4080258232381531</c:v>
                </c:pt>
                <c:pt idx="9703">
                  <c:v>1.3896700329949234</c:v>
                </c:pt>
                <c:pt idx="9704">
                  <c:v>1.3564733910656783</c:v>
                </c:pt>
                <c:pt idx="9705">
                  <c:v>1.344464017661863</c:v>
                </c:pt>
                <c:pt idx="9706">
                  <c:v>1.2988674536002236</c:v>
                </c:pt>
                <c:pt idx="9707">
                  <c:v>1.3053115076217829</c:v>
                </c:pt>
                <c:pt idx="9708">
                  <c:v>1.2768990876176347</c:v>
                </c:pt>
                <c:pt idx="9709">
                  <c:v>1.2726030516032618</c:v>
                </c:pt>
                <c:pt idx="9710">
                  <c:v>1.2889084610214501</c:v>
                </c:pt>
                <c:pt idx="9711">
                  <c:v>1.3192736246684946</c:v>
                </c:pt>
                <c:pt idx="9712">
                  <c:v>1.3082406230861281</c:v>
                </c:pt>
                <c:pt idx="9713">
                  <c:v>1.3196641733970744</c:v>
                </c:pt>
                <c:pt idx="9714">
                  <c:v>1.3223003773149848</c:v>
                </c:pt>
                <c:pt idx="9715">
                  <c:v>1.3152705002005565</c:v>
                </c:pt>
                <c:pt idx="9716">
                  <c:v>1.3050185960753486</c:v>
                </c:pt>
                <c:pt idx="9717">
                  <c:v>1.3163445092041499</c:v>
                </c:pt>
                <c:pt idx="9718">
                  <c:v>1.3211287311292468</c:v>
                </c:pt>
                <c:pt idx="9719">
                  <c:v>1.2924233995786643</c:v>
                </c:pt>
                <c:pt idx="9720">
                  <c:v>1.2960359753180231</c:v>
                </c:pt>
                <c:pt idx="9721">
                  <c:v>1.2995509138752377</c:v>
                </c:pt>
                <c:pt idx="9722">
                  <c:v>1.3482718677655119</c:v>
                </c:pt>
                <c:pt idx="9723">
                  <c:v>1.3733646235767356</c:v>
                </c:pt>
                <c:pt idx="9724">
                  <c:v>1.3656512861872931</c:v>
                </c:pt>
                <c:pt idx="9725">
                  <c:v>1.3630150822693827</c:v>
                </c:pt>
                <c:pt idx="9726">
                  <c:v>1.3603788783514719</c:v>
                </c:pt>
                <c:pt idx="9727">
                  <c:v>1.3669205695551758</c:v>
                </c:pt>
                <c:pt idx="9728">
                  <c:v>1.3895723958127788</c:v>
                </c:pt>
                <c:pt idx="9729">
                  <c:v>1.3665300208265965</c:v>
                </c:pt>
                <c:pt idx="9730">
                  <c:v>1.3728764376660112</c:v>
                </c:pt>
                <c:pt idx="9731">
                  <c:v>1.3649678259122791</c:v>
                </c:pt>
                <c:pt idx="9732">
                  <c:v>1.3211287311292468</c:v>
                </c:pt>
                <c:pt idx="9733">
                  <c:v>1.3167350579327288</c:v>
                </c:pt>
                <c:pt idx="9734">
                  <c:v>1.3039445870717552</c:v>
                </c:pt>
                <c:pt idx="9735">
                  <c:v>1.3085335346325624</c:v>
                </c:pt>
                <c:pt idx="9736">
                  <c:v>1.282269132635601</c:v>
                </c:pt>
                <c:pt idx="9737">
                  <c:v>1.28002347744627</c:v>
                </c:pt>
                <c:pt idx="9738">
                  <c:v>1.2322788953774437</c:v>
                </c:pt>
                <c:pt idx="9739">
                  <c:v>1.2328647184703128</c:v>
                </c:pt>
                <c:pt idx="9740">
                  <c:v>1.2697715733210617</c:v>
                </c:pt>
                <c:pt idx="9741">
                  <c:v>1.3014060203359894</c:v>
                </c:pt>
                <c:pt idx="9742">
                  <c:v>1.2958407009537334</c:v>
                </c:pt>
                <c:pt idx="9743">
                  <c:v>1.3325522814401927</c:v>
                </c:pt>
                <c:pt idx="9744">
                  <c:v>1.3332357417152068</c:v>
                </c:pt>
                <c:pt idx="9745">
                  <c:v>1.3169303322970189</c:v>
                </c:pt>
                <c:pt idx="9746">
                  <c:v>1.2917399393036502</c:v>
                </c:pt>
                <c:pt idx="9747">
                  <c:v>1.2976958074144855</c:v>
                </c:pt>
                <c:pt idx="9748">
                  <c:v>1.2782660081676624</c:v>
                </c:pt>
                <c:pt idx="9749">
                  <c:v>1.3095099064540108</c:v>
                </c:pt>
                <c:pt idx="9750">
                  <c:v>1.300332011332396</c:v>
                </c:pt>
                <c:pt idx="9751">
                  <c:v>1.302089480611003</c:v>
                </c:pt>
                <c:pt idx="9752">
                  <c:v>1.2912517533929262</c:v>
                </c:pt>
                <c:pt idx="9753">
                  <c:v>1.3096075436361558</c:v>
                </c:pt>
                <c:pt idx="9754">
                  <c:v>1.2768014504354901</c:v>
                </c:pt>
                <c:pt idx="9755">
                  <c:v>1.2704550335960754</c:v>
                </c:pt>
                <c:pt idx="9756">
                  <c:v>1.2621558731137643</c:v>
                </c:pt>
                <c:pt idx="9757">
                  <c:v>1.2122632730377521</c:v>
                </c:pt>
                <c:pt idx="9758">
                  <c:v>1.2024019176411231</c:v>
                </c:pt>
                <c:pt idx="9759">
                  <c:v>1.1981058816267502</c:v>
                </c:pt>
                <c:pt idx="9760">
                  <c:v>1.1903925442373078</c:v>
                </c:pt>
                <c:pt idx="9761">
                  <c:v>1.1907830929658871</c:v>
                </c:pt>
                <c:pt idx="9762">
                  <c:v>1.2009373599089503</c:v>
                </c:pt>
                <c:pt idx="9763">
                  <c:v>1.2155829372306761</c:v>
                </c:pt>
                <c:pt idx="9764">
                  <c:v>1.2141183794985038</c:v>
                </c:pt>
                <c:pt idx="9765">
                  <c:v>1.1874634287729626</c:v>
                </c:pt>
                <c:pt idx="9766">
                  <c:v>1.1850224992193419</c:v>
                </c:pt>
                <c:pt idx="9767">
                  <c:v>1.1903925442373078</c:v>
                </c:pt>
                <c:pt idx="9768">
                  <c:v>1.1931263853373633</c:v>
                </c:pt>
                <c:pt idx="9769">
                  <c:v>1.169693461622602</c:v>
                </c:pt>
                <c:pt idx="9770">
                  <c:v>1.1456747148149717</c:v>
                </c:pt>
                <c:pt idx="9771">
                  <c:v>1.1719391168119331</c:v>
                </c:pt>
                <c:pt idx="9772">
                  <c:v>1.1456747148149717</c:v>
                </c:pt>
                <c:pt idx="9773">
                  <c:v>1.1226323398287898</c:v>
                </c:pt>
                <c:pt idx="9774">
                  <c:v>1.1086702227820782</c:v>
                </c:pt>
                <c:pt idx="9775">
                  <c:v>1.1081820368713537</c:v>
                </c:pt>
                <c:pt idx="9776">
                  <c:v>1.1113064266999886</c:v>
                </c:pt>
                <c:pt idx="9777">
                  <c:v>1.0949033800996557</c:v>
                </c:pt>
                <c:pt idx="9778">
                  <c:v>1.0842609272458685</c:v>
                </c:pt>
                <c:pt idx="9779">
                  <c:v>1.0792814309564815</c:v>
                </c:pt>
                <c:pt idx="9780">
                  <c:v>1.0776215988600191</c:v>
                </c:pt>
                <c:pt idx="9781">
                  <c:v>1.0890451491709654</c:v>
                </c:pt>
                <c:pt idx="9782">
                  <c:v>1.0677602434633906</c:v>
                </c:pt>
                <c:pt idx="9783">
                  <c:v>1.0438391338379054</c:v>
                </c:pt>
                <c:pt idx="9784">
                  <c:v>1.0532123033238094</c:v>
                </c:pt>
                <c:pt idx="9785">
                  <c:v>1.0485257185808576</c:v>
                </c:pt>
                <c:pt idx="9786">
                  <c:v>1.0248975205018063</c:v>
                </c:pt>
                <c:pt idx="9787">
                  <c:v>1.0155243510159022</c:v>
                </c:pt>
                <c:pt idx="9788">
                  <c:v>0.9942394453083272</c:v>
                </c:pt>
                <c:pt idx="9789">
                  <c:v>0.98681901946531969</c:v>
                </c:pt>
                <c:pt idx="9790">
                  <c:v>1.0092755713586321</c:v>
                </c:pt>
                <c:pt idx="9791">
                  <c:v>1.0262644410518345</c:v>
                </c:pt>
                <c:pt idx="9792">
                  <c:v>1.0350517874448699</c:v>
                </c:pt>
                <c:pt idx="9793">
                  <c:v>1.0422769389235875</c:v>
                </c:pt>
                <c:pt idx="9794">
                  <c:v>1.0333919553484074</c:v>
                </c:pt>
                <c:pt idx="9795">
                  <c:v>1.0175747318409436</c:v>
                </c:pt>
                <c:pt idx="9796">
                  <c:v>1.0183558292981023</c:v>
                </c:pt>
                <c:pt idx="9797">
                  <c:v>1.0109354034550946</c:v>
                </c:pt>
                <c:pt idx="9798">
                  <c:v>1.0123999611872674</c:v>
                </c:pt>
                <c:pt idx="9799">
                  <c:v>1.0305604770662073</c:v>
                </c:pt>
                <c:pt idx="9800">
                  <c:v>1.087482954256648</c:v>
                </c:pt>
                <c:pt idx="9801">
                  <c:v>1.0567272418810241</c:v>
                </c:pt>
                <c:pt idx="9802">
                  <c:v>1.0589728970703551</c:v>
                </c:pt>
                <c:pt idx="9803">
                  <c:v>1.0463777005736712</c:v>
                </c:pt>
                <c:pt idx="9804">
                  <c:v>1.0628783843561487</c:v>
                </c:pt>
                <c:pt idx="9805">
                  <c:v>1.0570201534274584</c:v>
                </c:pt>
                <c:pt idx="9806">
                  <c:v>1.0465729749379609</c:v>
                </c:pt>
                <c:pt idx="9807">
                  <c:v>1.0274360872375725</c:v>
                </c:pt>
                <c:pt idx="9808">
                  <c:v>1.0224565909481855</c:v>
                </c:pt>
                <c:pt idx="9809">
                  <c:v>1.0364187079948972</c:v>
                </c:pt>
                <c:pt idx="9810">
                  <c:v>1.0595587201632242</c:v>
                </c:pt>
                <c:pt idx="9811">
                  <c:v>1.050576099405899</c:v>
                </c:pt>
                <c:pt idx="9812">
                  <c:v>1.0485257185808576</c:v>
                </c:pt>
                <c:pt idx="9813">
                  <c:v>1.0567272418810241</c:v>
                </c:pt>
                <c:pt idx="9814">
                  <c:v>1.0701035358348667</c:v>
                </c:pt>
                <c:pt idx="9815">
                  <c:v>1.0497950019487403</c:v>
                </c:pt>
                <c:pt idx="9816">
                  <c:v>1.0184534664802469</c:v>
                </c:pt>
                <c:pt idx="9817">
                  <c:v>1.0143527048301642</c:v>
                </c:pt>
                <c:pt idx="9818">
                  <c:v>0.99560636585835494</c:v>
                </c:pt>
                <c:pt idx="9819">
                  <c:v>0.9942394453083272</c:v>
                </c:pt>
                <c:pt idx="9820">
                  <c:v>0.98193716035807777</c:v>
                </c:pt>
                <c:pt idx="9821">
                  <c:v>0.99062686956896817</c:v>
                </c:pt>
                <c:pt idx="9822">
                  <c:v>0.99404417094403752</c:v>
                </c:pt>
                <c:pt idx="9823">
                  <c:v>0.96114044056122716</c:v>
                </c:pt>
                <c:pt idx="9824">
                  <c:v>0.95723495327543362</c:v>
                </c:pt>
                <c:pt idx="9825">
                  <c:v>0.97393091142220078</c:v>
                </c:pt>
                <c:pt idx="9826">
                  <c:v>0.97754348716155981</c:v>
                </c:pt>
                <c:pt idx="9827">
                  <c:v>0.95928533410047501</c:v>
                </c:pt>
                <c:pt idx="9828">
                  <c:v>0.95616094427184017</c:v>
                </c:pt>
                <c:pt idx="9829">
                  <c:v>0.9675844945827865</c:v>
                </c:pt>
                <c:pt idx="9830">
                  <c:v>0.96651048557919306</c:v>
                </c:pt>
                <c:pt idx="9831">
                  <c:v>0.94288228750014236</c:v>
                </c:pt>
                <c:pt idx="9832">
                  <c:v>0.9397578976715073</c:v>
                </c:pt>
                <c:pt idx="9833">
                  <c:v>0.94014844640008688</c:v>
                </c:pt>
                <c:pt idx="9834">
                  <c:v>0.93429021547139657</c:v>
                </c:pt>
                <c:pt idx="9835">
                  <c:v>0.94356574777515601</c:v>
                </c:pt>
                <c:pt idx="9836">
                  <c:v>0.92442886007476766</c:v>
                </c:pt>
                <c:pt idx="9837">
                  <c:v>0.93399730392496205</c:v>
                </c:pt>
                <c:pt idx="9838">
                  <c:v>0.92628396653551959</c:v>
                </c:pt>
                <c:pt idx="9839">
                  <c:v>0.89142749250981224</c:v>
                </c:pt>
                <c:pt idx="9840">
                  <c:v>0.88068740247388</c:v>
                </c:pt>
                <c:pt idx="9841">
                  <c:v>0.88205432302390774</c:v>
                </c:pt>
                <c:pt idx="9842">
                  <c:v>0.87824647292025904</c:v>
                </c:pt>
                <c:pt idx="9843">
                  <c:v>0.86731110852003712</c:v>
                </c:pt>
                <c:pt idx="9844">
                  <c:v>0.8700449496200926</c:v>
                </c:pt>
                <c:pt idx="9845">
                  <c:v>0.85334899147332521</c:v>
                </c:pt>
                <c:pt idx="9846">
                  <c:v>0.85578992102694618</c:v>
                </c:pt>
                <c:pt idx="9847">
                  <c:v>0.84758839772677974</c:v>
                </c:pt>
                <c:pt idx="9848">
                  <c:v>0.83323573195148848</c:v>
                </c:pt>
                <c:pt idx="9849">
                  <c:v>0.83089243958001258</c:v>
                </c:pt>
                <c:pt idx="9850">
                  <c:v>0.84046088343020653</c:v>
                </c:pt>
                <c:pt idx="9851">
                  <c:v>0.846221477176752</c:v>
                </c:pt>
                <c:pt idx="9852">
                  <c:v>0.83596957305154396</c:v>
                </c:pt>
                <c:pt idx="9853">
                  <c:v>0.8254247573799014</c:v>
                </c:pt>
                <c:pt idx="9854">
                  <c:v>0.82620585483706011</c:v>
                </c:pt>
                <c:pt idx="9855">
                  <c:v>0.83225936013004009</c:v>
                </c:pt>
                <c:pt idx="9856">
                  <c:v>0.83538374995867493</c:v>
                </c:pt>
                <c:pt idx="9857">
                  <c:v>0.81683268535115583</c:v>
                </c:pt>
                <c:pt idx="9858">
                  <c:v>0.81966416363335592</c:v>
                </c:pt>
                <c:pt idx="9859">
                  <c:v>0.79925799256508467</c:v>
                </c:pt>
                <c:pt idx="9860">
                  <c:v>0.7846124152433589</c:v>
                </c:pt>
                <c:pt idx="9861">
                  <c:v>0.78207384850759309</c:v>
                </c:pt>
                <c:pt idx="9862">
                  <c:v>0.77572743166817859</c:v>
                </c:pt>
                <c:pt idx="9863">
                  <c:v>0.77572743166817859</c:v>
                </c:pt>
                <c:pt idx="9864">
                  <c:v>0.78890845125773179</c:v>
                </c:pt>
                <c:pt idx="9865">
                  <c:v>0.8000390900222436</c:v>
                </c:pt>
                <c:pt idx="9866">
                  <c:v>0.79710997455789823</c:v>
                </c:pt>
                <c:pt idx="9867">
                  <c:v>0.80697132995452692</c:v>
                </c:pt>
                <c:pt idx="9868">
                  <c:v>0.77777781249322042</c:v>
                </c:pt>
                <c:pt idx="9869">
                  <c:v>0.77006447510377796</c:v>
                </c:pt>
                <c:pt idx="9870">
                  <c:v>0.77006447510377796</c:v>
                </c:pt>
                <c:pt idx="9871">
                  <c:v>0.76391333262865313</c:v>
                </c:pt>
                <c:pt idx="9872">
                  <c:v>0.78305022032904148</c:v>
                </c:pt>
                <c:pt idx="9873">
                  <c:v>0.79945326692937457</c:v>
                </c:pt>
                <c:pt idx="9874">
                  <c:v>0.77748490094678591</c:v>
                </c:pt>
                <c:pt idx="9875">
                  <c:v>0.79056828335419382</c:v>
                </c:pt>
                <c:pt idx="9876">
                  <c:v>0.77416523675386117</c:v>
                </c:pt>
                <c:pt idx="9877">
                  <c:v>0.77074793537879205</c:v>
                </c:pt>
                <c:pt idx="9878">
                  <c:v>0.78558878706480728</c:v>
                </c:pt>
                <c:pt idx="9879">
                  <c:v>0.7858816986112418</c:v>
                </c:pt>
                <c:pt idx="9880">
                  <c:v>0.7934973988185392</c:v>
                </c:pt>
                <c:pt idx="9881">
                  <c:v>0.80658078122594756</c:v>
                </c:pt>
                <c:pt idx="9882">
                  <c:v>0.82483893428703237</c:v>
                </c:pt>
                <c:pt idx="9883">
                  <c:v>0.83801995387658557</c:v>
                </c:pt>
                <c:pt idx="9884">
                  <c:v>0.83792231669444073</c:v>
                </c:pt>
                <c:pt idx="9885">
                  <c:v>0.82845151002639161</c:v>
                </c:pt>
                <c:pt idx="9886">
                  <c:v>0.82942788184783978</c:v>
                </c:pt>
                <c:pt idx="9887">
                  <c:v>0.83470028968366106</c:v>
                </c:pt>
                <c:pt idx="9888">
                  <c:v>0.84173016679808943</c:v>
                </c:pt>
                <c:pt idx="9889">
                  <c:v>0.84465928226243459</c:v>
                </c:pt>
                <c:pt idx="9890">
                  <c:v>0.84368291044098642</c:v>
                </c:pt>
                <c:pt idx="9891">
                  <c:v>0.83655539614441299</c:v>
                </c:pt>
                <c:pt idx="9892">
                  <c:v>0.82884205875497075</c:v>
                </c:pt>
                <c:pt idx="9893">
                  <c:v>0.82747513820494301</c:v>
                </c:pt>
                <c:pt idx="9894">
                  <c:v>0.82933024466569516</c:v>
                </c:pt>
                <c:pt idx="9895">
                  <c:v>0.84690493745176587</c:v>
                </c:pt>
                <c:pt idx="9896">
                  <c:v>0.83636012178012353</c:v>
                </c:pt>
                <c:pt idx="9897">
                  <c:v>0.81976180081550076</c:v>
                </c:pt>
                <c:pt idx="9898">
                  <c:v>0.81702795971544528</c:v>
                </c:pt>
                <c:pt idx="9899">
                  <c:v>0.82835387284424655</c:v>
                </c:pt>
                <c:pt idx="9900">
                  <c:v>0.82981843057641913</c:v>
                </c:pt>
                <c:pt idx="9901">
                  <c:v>0.82874442157282613</c:v>
                </c:pt>
                <c:pt idx="9902">
                  <c:v>0.83196644858360558</c:v>
                </c:pt>
                <c:pt idx="9903">
                  <c:v>0.83870341415159944</c:v>
                </c:pt>
                <c:pt idx="9904">
                  <c:v>0.84485455662672426</c:v>
                </c:pt>
                <c:pt idx="9905">
                  <c:v>0.83245463449432977</c:v>
                </c:pt>
                <c:pt idx="9906">
                  <c:v>0.83489556404795073</c:v>
                </c:pt>
                <c:pt idx="9907">
                  <c:v>0.8611599660449123</c:v>
                </c:pt>
                <c:pt idx="9908">
                  <c:v>0.86955676370936841</c:v>
                </c:pt>
                <c:pt idx="9909">
                  <c:v>0.87570790618449346</c:v>
                </c:pt>
                <c:pt idx="9910">
                  <c:v>0.86408908150925745</c:v>
                </c:pt>
                <c:pt idx="9911">
                  <c:v>0.85442300047691844</c:v>
                </c:pt>
                <c:pt idx="9912">
                  <c:v>0.85120097346613877</c:v>
                </c:pt>
                <c:pt idx="9913">
                  <c:v>0.87853938446669355</c:v>
                </c:pt>
                <c:pt idx="9914">
                  <c:v>0.87521972027376904</c:v>
                </c:pt>
                <c:pt idx="9915">
                  <c:v>0.87053313553081701</c:v>
                </c:pt>
                <c:pt idx="9916">
                  <c:v>0.88000394219886635</c:v>
                </c:pt>
                <c:pt idx="9917">
                  <c:v>0.89757863498493706</c:v>
                </c:pt>
                <c:pt idx="9918">
                  <c:v>0.90519433519223447</c:v>
                </c:pt>
                <c:pt idx="9919">
                  <c:v>0.89787154653137158</c:v>
                </c:pt>
                <c:pt idx="9920">
                  <c:v>0.91027146866376607</c:v>
                </c:pt>
                <c:pt idx="9921">
                  <c:v>0.90119121072429609</c:v>
                </c:pt>
                <c:pt idx="9922">
                  <c:v>0.88166377429532838</c:v>
                </c:pt>
                <c:pt idx="9923">
                  <c:v>0.88722909367758418</c:v>
                </c:pt>
                <c:pt idx="9924">
                  <c:v>0.88381179230251483</c:v>
                </c:pt>
                <c:pt idx="9925">
                  <c:v>0.87824647292025904</c:v>
                </c:pt>
                <c:pt idx="9926">
                  <c:v>0.86535836487714057</c:v>
                </c:pt>
                <c:pt idx="9927">
                  <c:v>0.87395043690588614</c:v>
                </c:pt>
                <c:pt idx="9928">
                  <c:v>0.87971103065243184</c:v>
                </c:pt>
                <c:pt idx="9929">
                  <c:v>0.86926385216293389</c:v>
                </c:pt>
                <c:pt idx="9930">
                  <c:v>0.87473153436304485</c:v>
                </c:pt>
                <c:pt idx="9931">
                  <c:v>0.87883229601312807</c:v>
                </c:pt>
                <c:pt idx="9932">
                  <c:v>0.87316933944872743</c:v>
                </c:pt>
                <c:pt idx="9933">
                  <c:v>0.86711583415574744</c:v>
                </c:pt>
                <c:pt idx="9934">
                  <c:v>0.85569228384480134</c:v>
                </c:pt>
                <c:pt idx="9935">
                  <c:v>0.85256789401616651</c:v>
                </c:pt>
                <c:pt idx="9936">
                  <c:v>0.84680730026962103</c:v>
                </c:pt>
                <c:pt idx="9937">
                  <c:v>0.85129861064828383</c:v>
                </c:pt>
                <c:pt idx="9938">
                  <c:v>0.82317910219057011</c:v>
                </c:pt>
                <c:pt idx="9939">
                  <c:v>0.82220273036912173</c:v>
                </c:pt>
                <c:pt idx="9940">
                  <c:v>0.82913497030140526</c:v>
                </c:pt>
                <c:pt idx="9941">
                  <c:v>0.82122635854767334</c:v>
                </c:pt>
                <c:pt idx="9942">
                  <c:v>0.82679167792992914</c:v>
                </c:pt>
                <c:pt idx="9943">
                  <c:v>0.80950989669029294</c:v>
                </c:pt>
                <c:pt idx="9944">
                  <c:v>0.83177117421931612</c:v>
                </c:pt>
                <c:pt idx="9945">
                  <c:v>0.84573329126602781</c:v>
                </c:pt>
                <c:pt idx="9946">
                  <c:v>0.85032223882683522</c:v>
                </c:pt>
                <c:pt idx="9947">
                  <c:v>0.85198207092329747</c:v>
                </c:pt>
                <c:pt idx="9948">
                  <c:v>0.86545600205928519</c:v>
                </c:pt>
                <c:pt idx="9949">
                  <c:v>0.85666865566624972</c:v>
                </c:pt>
                <c:pt idx="9950">
                  <c:v>0.85549700948051166</c:v>
                </c:pt>
                <c:pt idx="9951">
                  <c:v>0.84846713236608329</c:v>
                </c:pt>
                <c:pt idx="9952">
                  <c:v>0.8507127875554148</c:v>
                </c:pt>
                <c:pt idx="9953">
                  <c:v>0.83313809476934364</c:v>
                </c:pt>
                <c:pt idx="9954">
                  <c:v>0.83245463449432977</c:v>
                </c:pt>
                <c:pt idx="9955">
                  <c:v>0.83421210377293709</c:v>
                </c:pt>
                <c:pt idx="9956">
                  <c:v>0.83841050260516492</c:v>
                </c:pt>
                <c:pt idx="9957">
                  <c:v>0.83167353703717106</c:v>
                </c:pt>
                <c:pt idx="9958">
                  <c:v>0.84104670652307556</c:v>
                </c:pt>
                <c:pt idx="9959">
                  <c:v>0.8515915221947179</c:v>
                </c:pt>
                <c:pt idx="9960">
                  <c:v>0.85237261965187683</c:v>
                </c:pt>
                <c:pt idx="9961">
                  <c:v>0.82991606775856397</c:v>
                </c:pt>
                <c:pt idx="9962">
                  <c:v>0.81273192370107239</c:v>
                </c:pt>
                <c:pt idx="9963">
                  <c:v>0.80179655930085048</c:v>
                </c:pt>
                <c:pt idx="9964">
                  <c:v>0.79525486809714629</c:v>
                </c:pt>
                <c:pt idx="9965">
                  <c:v>0.80248001957586457</c:v>
                </c:pt>
                <c:pt idx="9966">
                  <c:v>0.79925799256508467</c:v>
                </c:pt>
                <c:pt idx="9967">
                  <c:v>0.77621561757890256</c:v>
                </c:pt>
                <c:pt idx="9968">
                  <c:v>0.76352278390007378</c:v>
                </c:pt>
                <c:pt idx="9969">
                  <c:v>0.76488970445010152</c:v>
                </c:pt>
                <c:pt idx="9970">
                  <c:v>0.75737164142494895</c:v>
                </c:pt>
                <c:pt idx="9971">
                  <c:v>0.75825037606425272</c:v>
                </c:pt>
                <c:pt idx="9972">
                  <c:v>0.74780319757475477</c:v>
                </c:pt>
                <c:pt idx="9973">
                  <c:v>0.74155441791748511</c:v>
                </c:pt>
                <c:pt idx="9974">
                  <c:v>0.75580944651063175</c:v>
                </c:pt>
                <c:pt idx="9975">
                  <c:v>0.76362042108221861</c:v>
                </c:pt>
                <c:pt idx="9976">
                  <c:v>0.77875418431466858</c:v>
                </c:pt>
                <c:pt idx="9977">
                  <c:v>0.7909588320827734</c:v>
                </c:pt>
                <c:pt idx="9978">
                  <c:v>0.77953528177182729</c:v>
                </c:pt>
                <c:pt idx="9979">
                  <c:v>0.77582506885032343</c:v>
                </c:pt>
                <c:pt idx="9980">
                  <c:v>0.76430388135723226</c:v>
                </c:pt>
                <c:pt idx="9981">
                  <c:v>0.76830700582517109</c:v>
                </c:pt>
                <c:pt idx="9982">
                  <c:v>0.76567080190726022</c:v>
                </c:pt>
                <c:pt idx="9983">
                  <c:v>0.77387232520742666</c:v>
                </c:pt>
                <c:pt idx="9984">
                  <c:v>0.76918574046447419</c:v>
                </c:pt>
                <c:pt idx="9985">
                  <c:v>0.76645189936441871</c:v>
                </c:pt>
                <c:pt idx="9986">
                  <c:v>0.76274168644291507</c:v>
                </c:pt>
                <c:pt idx="9987">
                  <c:v>0.75932438506784572</c:v>
                </c:pt>
                <c:pt idx="9988">
                  <c:v>0.75180632204269293</c:v>
                </c:pt>
                <c:pt idx="9989">
                  <c:v>0.73999222300316769</c:v>
                </c:pt>
                <c:pt idx="9990">
                  <c:v>0.7382347537245606</c:v>
                </c:pt>
                <c:pt idx="9991">
                  <c:v>0.74799847193904445</c:v>
                </c:pt>
                <c:pt idx="9992">
                  <c:v>0.74877956939620338</c:v>
                </c:pt>
                <c:pt idx="9993">
                  <c:v>0.76264404926077023</c:v>
                </c:pt>
                <c:pt idx="9994">
                  <c:v>0.76986920073948828</c:v>
                </c:pt>
                <c:pt idx="9995">
                  <c:v>0.76391333262865313</c:v>
                </c:pt>
                <c:pt idx="9996">
                  <c:v>0.75297796822843122</c:v>
                </c:pt>
                <c:pt idx="9997">
                  <c:v>0.75297796822843122</c:v>
                </c:pt>
                <c:pt idx="9998">
                  <c:v>0.74214024101035414</c:v>
                </c:pt>
                <c:pt idx="9999">
                  <c:v>0.73764893063169157</c:v>
                </c:pt>
                <c:pt idx="10000">
                  <c:v>0.74809610912118929</c:v>
                </c:pt>
                <c:pt idx="10001">
                  <c:v>0.75112286176767928</c:v>
                </c:pt>
                <c:pt idx="10002">
                  <c:v>0.74848665784976887</c:v>
                </c:pt>
                <c:pt idx="10003">
                  <c:v>0.75297796822843122</c:v>
                </c:pt>
                <c:pt idx="10004">
                  <c:v>0.72700647777790417</c:v>
                </c:pt>
                <c:pt idx="10005">
                  <c:v>0.72358917640283482</c:v>
                </c:pt>
                <c:pt idx="10006">
                  <c:v>0.73637964726380867</c:v>
                </c:pt>
                <c:pt idx="10007">
                  <c:v>0.73979694863887802</c:v>
                </c:pt>
                <c:pt idx="10008">
                  <c:v>0.75414961441416928</c:v>
                </c:pt>
                <c:pt idx="10009">
                  <c:v>0.74565517956756833</c:v>
                </c:pt>
                <c:pt idx="10010">
                  <c:v>0.74868193221405832</c:v>
                </c:pt>
                <c:pt idx="10011">
                  <c:v>0.7526850566819967</c:v>
                </c:pt>
                <c:pt idx="10012">
                  <c:v>0.76381569544650829</c:v>
                </c:pt>
                <c:pt idx="10013">
                  <c:v>0.77924237022539278</c:v>
                </c:pt>
                <c:pt idx="10014">
                  <c:v>0.77758253812893052</c:v>
                </c:pt>
                <c:pt idx="10015">
                  <c:v>0.78900608843987663</c:v>
                </c:pt>
                <c:pt idx="10016">
                  <c:v>0.76899046610018473</c:v>
                </c:pt>
                <c:pt idx="10017">
                  <c:v>0.76440151853937732</c:v>
                </c:pt>
                <c:pt idx="10018">
                  <c:v>0.76889282891803967</c:v>
                </c:pt>
                <c:pt idx="10019">
                  <c:v>0.74995121558194122</c:v>
                </c:pt>
                <c:pt idx="10020">
                  <c:v>0.75122049894982434</c:v>
                </c:pt>
                <c:pt idx="10021">
                  <c:v>0.75932438506784572</c:v>
                </c:pt>
                <c:pt idx="10022">
                  <c:v>0.76899046610018473</c:v>
                </c:pt>
                <c:pt idx="10023">
                  <c:v>0.77045502383235753</c:v>
                </c:pt>
                <c:pt idx="10024">
                  <c:v>0.77309122775026795</c:v>
                </c:pt>
                <c:pt idx="10025">
                  <c:v>0.78099983950399987</c:v>
                </c:pt>
                <c:pt idx="10026">
                  <c:v>0.79017773462561469</c:v>
                </c:pt>
                <c:pt idx="10027">
                  <c:v>0.76293696080720474</c:v>
                </c:pt>
                <c:pt idx="10028">
                  <c:v>0.76244877489648055</c:v>
                </c:pt>
                <c:pt idx="10029">
                  <c:v>0.77885182149681342</c:v>
                </c:pt>
                <c:pt idx="10030">
                  <c:v>0.7752392457574544</c:v>
                </c:pt>
                <c:pt idx="10031">
                  <c:v>0.76166767743932184</c:v>
                </c:pt>
                <c:pt idx="10032">
                  <c:v>0.76342514671792916</c:v>
                </c:pt>
                <c:pt idx="10033">
                  <c:v>0.76088657998216314</c:v>
                </c:pt>
                <c:pt idx="10034">
                  <c:v>0.74409298465325091</c:v>
                </c:pt>
                <c:pt idx="10035">
                  <c:v>0.75385670286773476</c:v>
                </c:pt>
                <c:pt idx="10036">
                  <c:v>0.75151341049625842</c:v>
                </c:pt>
                <c:pt idx="10037">
                  <c:v>0.74946302967121703</c:v>
                </c:pt>
                <c:pt idx="10038">
                  <c:v>0.73208361124943577</c:v>
                </c:pt>
                <c:pt idx="10039">
                  <c:v>0.73159542533871158</c:v>
                </c:pt>
                <c:pt idx="10040">
                  <c:v>0.72534664568144191</c:v>
                </c:pt>
                <c:pt idx="10041">
                  <c:v>0.73110723942798739</c:v>
                </c:pt>
                <c:pt idx="10042">
                  <c:v>0.71333727227762656</c:v>
                </c:pt>
                <c:pt idx="10043">
                  <c:v>0.71089634272400559</c:v>
                </c:pt>
                <c:pt idx="10044">
                  <c:v>0.67272020450537395</c:v>
                </c:pt>
                <c:pt idx="10045">
                  <c:v>0.66695961075882826</c:v>
                </c:pt>
                <c:pt idx="10046">
                  <c:v>0.67145092113749105</c:v>
                </c:pt>
                <c:pt idx="10047">
                  <c:v>0.66774070821598719</c:v>
                </c:pt>
                <c:pt idx="10048">
                  <c:v>0.66481159275164181</c:v>
                </c:pt>
                <c:pt idx="10049">
                  <c:v>0.63942592539398402</c:v>
                </c:pt>
                <c:pt idx="10050">
                  <c:v>0.64333141267977756</c:v>
                </c:pt>
                <c:pt idx="10051">
                  <c:v>0.6127709746684431</c:v>
                </c:pt>
                <c:pt idx="10052">
                  <c:v>0.60115214999320732</c:v>
                </c:pt>
                <c:pt idx="10053">
                  <c:v>0.60359307954682828</c:v>
                </c:pt>
                <c:pt idx="10054">
                  <c:v>0.59812539734671732</c:v>
                </c:pt>
                <c:pt idx="10055">
                  <c:v>0.60681510655760795</c:v>
                </c:pt>
                <c:pt idx="10056">
                  <c:v>0.61462608112919503</c:v>
                </c:pt>
                <c:pt idx="10057">
                  <c:v>0.63288423419027984</c:v>
                </c:pt>
                <c:pt idx="10058">
                  <c:v>0.62331579034008544</c:v>
                </c:pt>
                <c:pt idx="10059">
                  <c:v>0.6183362940506989</c:v>
                </c:pt>
                <c:pt idx="10060">
                  <c:v>0.62536617116512727</c:v>
                </c:pt>
                <c:pt idx="10061">
                  <c:v>0.62819764944732737</c:v>
                </c:pt>
                <c:pt idx="10062">
                  <c:v>0.61599300167922255</c:v>
                </c:pt>
                <c:pt idx="10063">
                  <c:v>0.62448743652582372</c:v>
                </c:pt>
                <c:pt idx="10064">
                  <c:v>0.63210313673312113</c:v>
                </c:pt>
                <c:pt idx="10065">
                  <c:v>0.64137866903688079</c:v>
                </c:pt>
                <c:pt idx="10066">
                  <c:v>0.59744193707170345</c:v>
                </c:pt>
                <c:pt idx="10067">
                  <c:v>0.58845931631437831</c:v>
                </c:pt>
                <c:pt idx="10068">
                  <c:v>0.57986724428563252</c:v>
                </c:pt>
                <c:pt idx="10069">
                  <c:v>0.58787349322150928</c:v>
                </c:pt>
                <c:pt idx="10070">
                  <c:v>0.59216952923588195</c:v>
                </c:pt>
                <c:pt idx="10071">
                  <c:v>0.58982623686440605</c:v>
                </c:pt>
                <c:pt idx="10072">
                  <c:v>0.58426091748215003</c:v>
                </c:pt>
                <c:pt idx="10073">
                  <c:v>0.58914277658939196</c:v>
                </c:pt>
                <c:pt idx="10074">
                  <c:v>0.58269872256783284</c:v>
                </c:pt>
                <c:pt idx="10075">
                  <c:v>0.59519628188237217</c:v>
                </c:pt>
                <c:pt idx="10076">
                  <c:v>0.58972859968226099</c:v>
                </c:pt>
                <c:pt idx="10077">
                  <c:v>0.59714902552526894</c:v>
                </c:pt>
                <c:pt idx="10078">
                  <c:v>0.60037105253604861</c:v>
                </c:pt>
                <c:pt idx="10079">
                  <c:v>0.61120877975412569</c:v>
                </c:pt>
                <c:pt idx="10080">
                  <c:v>0.62360870188651996</c:v>
                </c:pt>
                <c:pt idx="10081">
                  <c:v>0.61638355040780213</c:v>
                </c:pt>
                <c:pt idx="10082">
                  <c:v>0.62975984436164478</c:v>
                </c:pt>
                <c:pt idx="10083">
                  <c:v>0.60632692064688376</c:v>
                </c:pt>
                <c:pt idx="10084">
                  <c:v>0.60300725645395925</c:v>
                </c:pt>
                <c:pt idx="10085">
                  <c:v>0.59246244078231669</c:v>
                </c:pt>
                <c:pt idx="10086">
                  <c:v>0.60222615899680054</c:v>
                </c:pt>
                <c:pt idx="10087">
                  <c:v>0.61970321460072642</c:v>
                </c:pt>
                <c:pt idx="10088">
                  <c:v>0.62067958642217502</c:v>
                </c:pt>
                <c:pt idx="10089">
                  <c:v>0.62048431205788535</c:v>
                </c:pt>
                <c:pt idx="10090">
                  <c:v>0.6340558803760179</c:v>
                </c:pt>
                <c:pt idx="10091">
                  <c:v>0.63639917274749402</c:v>
                </c:pt>
                <c:pt idx="10092">
                  <c:v>0.64694398841913658</c:v>
                </c:pt>
                <c:pt idx="10093">
                  <c:v>0.65172821034423345</c:v>
                </c:pt>
                <c:pt idx="10094">
                  <c:v>0.66383522093019365</c:v>
                </c:pt>
                <c:pt idx="10095">
                  <c:v>0.6459676165976882</c:v>
                </c:pt>
                <c:pt idx="10096">
                  <c:v>0.63464170346888671</c:v>
                </c:pt>
                <c:pt idx="10097">
                  <c:v>0.6353251637439008</c:v>
                </c:pt>
                <c:pt idx="10098">
                  <c:v>0.62165595824362341</c:v>
                </c:pt>
                <c:pt idx="10099">
                  <c:v>0.6289787469044863</c:v>
                </c:pt>
                <c:pt idx="10100">
                  <c:v>0.60886548738264956</c:v>
                </c:pt>
                <c:pt idx="10101">
                  <c:v>0.6138449836720361</c:v>
                </c:pt>
                <c:pt idx="10102">
                  <c:v>0.62380397625080986</c:v>
                </c:pt>
                <c:pt idx="10103">
                  <c:v>0.63249368546170026</c:v>
                </c:pt>
                <c:pt idx="10104">
                  <c:v>0.63141967645810726</c:v>
                </c:pt>
                <c:pt idx="10105">
                  <c:v>0.6340558803760179</c:v>
                </c:pt>
                <c:pt idx="10106">
                  <c:v>0.63991411130470821</c:v>
                </c:pt>
                <c:pt idx="10107">
                  <c:v>0.64128103185473595</c:v>
                </c:pt>
                <c:pt idx="10108">
                  <c:v>0.60261670772537967</c:v>
                </c:pt>
                <c:pt idx="10109">
                  <c:v>0.60886548738264956</c:v>
                </c:pt>
                <c:pt idx="10110">
                  <c:v>0.61853156841498858</c:v>
                </c:pt>
                <c:pt idx="10111">
                  <c:v>0.60300725645395925</c:v>
                </c:pt>
                <c:pt idx="10112">
                  <c:v>0.58933805095368186</c:v>
                </c:pt>
                <c:pt idx="10113">
                  <c:v>0.58279635974997768</c:v>
                </c:pt>
                <c:pt idx="10114">
                  <c:v>0.57850032373560456</c:v>
                </c:pt>
                <c:pt idx="10115">
                  <c:v>0.58299163411426735</c:v>
                </c:pt>
                <c:pt idx="10116">
                  <c:v>0.58836167913223347</c:v>
                </c:pt>
                <c:pt idx="10117">
                  <c:v>0.59070497150370938</c:v>
                </c:pt>
                <c:pt idx="10118">
                  <c:v>0.58601838676075735</c:v>
                </c:pt>
                <c:pt idx="10119">
                  <c:v>0.59724666270741378</c:v>
                </c:pt>
                <c:pt idx="10120">
                  <c:v>0.60730329246833215</c:v>
                </c:pt>
                <c:pt idx="10121">
                  <c:v>0.62175359542576825</c:v>
                </c:pt>
                <c:pt idx="10122">
                  <c:v>0.63015039309022436</c:v>
                </c:pt>
                <c:pt idx="10123">
                  <c:v>0.62351106470437534</c:v>
                </c:pt>
                <c:pt idx="10124">
                  <c:v>0.617067010682816</c:v>
                </c:pt>
                <c:pt idx="10125">
                  <c:v>0.61374734648989149</c:v>
                </c:pt>
                <c:pt idx="10126">
                  <c:v>0.61755519659353997</c:v>
                </c:pt>
                <c:pt idx="10127">
                  <c:v>0.63512988937961112</c:v>
                </c:pt>
                <c:pt idx="10128">
                  <c:v>0.62995511872593468</c:v>
                </c:pt>
                <c:pt idx="10129">
                  <c:v>0.63688735865821822</c:v>
                </c:pt>
                <c:pt idx="10130">
                  <c:v>0.64879909487988852</c:v>
                </c:pt>
                <c:pt idx="10131">
                  <c:v>0.64792036024058497</c:v>
                </c:pt>
                <c:pt idx="10132">
                  <c:v>0.63971883694041853</c:v>
                </c:pt>
                <c:pt idx="10133">
                  <c:v>0.60788911556120118</c:v>
                </c:pt>
                <c:pt idx="10134">
                  <c:v>0.60564346037186967</c:v>
                </c:pt>
                <c:pt idx="10135">
                  <c:v>0.60378835391111774</c:v>
                </c:pt>
                <c:pt idx="10136">
                  <c:v>0.60486236291471118</c:v>
                </c:pt>
                <c:pt idx="10137">
                  <c:v>0.61735992222925051</c:v>
                </c:pt>
                <c:pt idx="10138">
                  <c:v>0.60408126545755225</c:v>
                </c:pt>
                <c:pt idx="10139">
                  <c:v>0.60984185920409795</c:v>
                </c:pt>
                <c:pt idx="10140">
                  <c:v>0.62741655199016888</c:v>
                </c:pt>
                <c:pt idx="10141">
                  <c:v>0.62663545453301017</c:v>
                </c:pt>
                <c:pt idx="10142">
                  <c:v>0.6315173136402521</c:v>
                </c:pt>
                <c:pt idx="10143">
                  <c:v>0.63444642910459725</c:v>
                </c:pt>
                <c:pt idx="10144">
                  <c:v>0.62507325961869276</c:v>
                </c:pt>
                <c:pt idx="10145">
                  <c:v>0.63552043810819026</c:v>
                </c:pt>
                <c:pt idx="10146">
                  <c:v>0.63171258800454178</c:v>
                </c:pt>
                <c:pt idx="10147">
                  <c:v>0.63112676491167274</c:v>
                </c:pt>
                <c:pt idx="10148">
                  <c:v>0.63864482793682531</c:v>
                </c:pt>
                <c:pt idx="10149">
                  <c:v>0.61042768229696698</c:v>
                </c:pt>
                <c:pt idx="10150">
                  <c:v>0.60261670772537967</c:v>
                </c:pt>
                <c:pt idx="10151">
                  <c:v>0.59900413198602087</c:v>
                </c:pt>
                <c:pt idx="10152">
                  <c:v>0.58953332531797153</c:v>
                </c:pt>
                <c:pt idx="10153">
                  <c:v>0.60535054882543515</c:v>
                </c:pt>
                <c:pt idx="10154">
                  <c:v>0.61521190422206407</c:v>
                </c:pt>
                <c:pt idx="10155">
                  <c:v>0.615114267039919</c:v>
                </c:pt>
                <c:pt idx="10156">
                  <c:v>0.61628591322565707</c:v>
                </c:pt>
                <c:pt idx="10157">
                  <c:v>0.57928142119276349</c:v>
                </c:pt>
                <c:pt idx="10158">
                  <c:v>0.58865459067866799</c:v>
                </c:pt>
                <c:pt idx="10159">
                  <c:v>0.58758058167507476</c:v>
                </c:pt>
                <c:pt idx="10160">
                  <c:v>0.5851396521214538</c:v>
                </c:pt>
                <c:pt idx="10161">
                  <c:v>0.54256984070630421</c:v>
                </c:pt>
                <c:pt idx="10162">
                  <c:v>0.50439370248767235</c:v>
                </c:pt>
                <c:pt idx="10163">
                  <c:v>0.47100178619413757</c:v>
                </c:pt>
                <c:pt idx="10164">
                  <c:v>0.46641283863333016</c:v>
                </c:pt>
                <c:pt idx="10165">
                  <c:v>0.47617655684781401</c:v>
                </c:pt>
                <c:pt idx="10166">
                  <c:v>0.46533882962973694</c:v>
                </c:pt>
                <c:pt idx="10167">
                  <c:v>0.45313418186163212</c:v>
                </c:pt>
                <c:pt idx="10168">
                  <c:v>0.44327282646500321</c:v>
                </c:pt>
                <c:pt idx="10169">
                  <c:v>0.45430582804736996</c:v>
                </c:pt>
                <c:pt idx="10170">
                  <c:v>0.4601640589760605</c:v>
                </c:pt>
                <c:pt idx="10171">
                  <c:v>0.46817030791193726</c:v>
                </c:pt>
                <c:pt idx="10172">
                  <c:v>0.47822693767285562</c:v>
                </c:pt>
                <c:pt idx="10173">
                  <c:v>0.48779538152304958</c:v>
                </c:pt>
                <c:pt idx="10174">
                  <c:v>0.48017968131575217</c:v>
                </c:pt>
                <c:pt idx="10175">
                  <c:v>0.4731498042013238</c:v>
                </c:pt>
                <c:pt idx="10176">
                  <c:v>0.46485064371901275</c:v>
                </c:pt>
                <c:pt idx="10177">
                  <c:v>0.47002541437268919</c:v>
                </c:pt>
                <c:pt idx="10178">
                  <c:v>0.49277487781243634</c:v>
                </c:pt>
                <c:pt idx="10179">
                  <c:v>0.49736382537324397</c:v>
                </c:pt>
                <c:pt idx="10180">
                  <c:v>0.48642846097302206</c:v>
                </c:pt>
                <c:pt idx="10181">
                  <c:v>0.49150559444455344</c:v>
                </c:pt>
                <c:pt idx="10182">
                  <c:v>0.50068348956616826</c:v>
                </c:pt>
                <c:pt idx="10183">
                  <c:v>0.49580163045892633</c:v>
                </c:pt>
                <c:pt idx="10184">
                  <c:v>0.49560635609463688</c:v>
                </c:pt>
                <c:pt idx="10185">
                  <c:v>0.49228669190171237</c:v>
                </c:pt>
                <c:pt idx="10186">
                  <c:v>0.48057023004433153</c:v>
                </c:pt>
                <c:pt idx="10187">
                  <c:v>0.49101740853382947</c:v>
                </c:pt>
                <c:pt idx="10188">
                  <c:v>0.50331969348407912</c:v>
                </c:pt>
                <c:pt idx="10189">
                  <c:v>0.50810391540917621</c:v>
                </c:pt>
                <c:pt idx="10190">
                  <c:v>0.50859210131990018</c:v>
                </c:pt>
                <c:pt idx="10191">
                  <c:v>0.51181412833068007</c:v>
                </c:pt>
                <c:pt idx="10192">
                  <c:v>0.49004103671238108</c:v>
                </c:pt>
                <c:pt idx="10193">
                  <c:v>0.48144896468363507</c:v>
                </c:pt>
                <c:pt idx="10194">
                  <c:v>0.45508692550452889</c:v>
                </c:pt>
                <c:pt idx="10195">
                  <c:v>0.46836558227622671</c:v>
                </c:pt>
                <c:pt idx="10196">
                  <c:v>0.48535445196942861</c:v>
                </c:pt>
                <c:pt idx="10197">
                  <c:v>0.48594027506229787</c:v>
                </c:pt>
                <c:pt idx="10198">
                  <c:v>0.49443470990889882</c:v>
                </c:pt>
                <c:pt idx="10199">
                  <c:v>0.51503615534145952</c:v>
                </c:pt>
                <c:pt idx="10200">
                  <c:v>0.51259522578783856</c:v>
                </c:pt>
                <c:pt idx="10201">
                  <c:v>0.51347396042714211</c:v>
                </c:pt>
                <c:pt idx="10202">
                  <c:v>0.50019530365544429</c:v>
                </c:pt>
                <c:pt idx="10203">
                  <c:v>0.50693226922343815</c:v>
                </c:pt>
                <c:pt idx="10204">
                  <c:v>0.49619217918750591</c:v>
                </c:pt>
                <c:pt idx="10205">
                  <c:v>0.46992777719054435</c:v>
                </c:pt>
                <c:pt idx="10206">
                  <c:v>0.46797503354764736</c:v>
                </c:pt>
                <c:pt idx="10207">
                  <c:v>0.46738921045477833</c:v>
                </c:pt>
                <c:pt idx="10208">
                  <c:v>0.48037495568004207</c:v>
                </c:pt>
                <c:pt idx="10209">
                  <c:v>0.47656710557639315</c:v>
                </c:pt>
                <c:pt idx="10210">
                  <c:v>0.49531344454820236</c:v>
                </c:pt>
                <c:pt idx="10211">
                  <c:v>0.50244095884477535</c:v>
                </c:pt>
                <c:pt idx="10212">
                  <c:v>0.51074011932708663</c:v>
                </c:pt>
                <c:pt idx="10213">
                  <c:v>0.52099202345229489</c:v>
                </c:pt>
                <c:pt idx="10214">
                  <c:v>0.52870536084173692</c:v>
                </c:pt>
                <c:pt idx="10215">
                  <c:v>0.54256984070630421</c:v>
                </c:pt>
                <c:pt idx="10216">
                  <c:v>0.54266747788844905</c:v>
                </c:pt>
                <c:pt idx="10217">
                  <c:v>0.53778561878120712</c:v>
                </c:pt>
                <c:pt idx="10218">
                  <c:v>0.54745169981354613</c:v>
                </c:pt>
                <c:pt idx="10219">
                  <c:v>0.56219491431741675</c:v>
                </c:pt>
                <c:pt idx="10220">
                  <c:v>0.56326892332100997</c:v>
                </c:pt>
                <c:pt idx="10221">
                  <c:v>0.56727204778894835</c:v>
                </c:pt>
                <c:pt idx="10222">
                  <c:v>0.55702014366374031</c:v>
                </c:pt>
                <c:pt idx="10223">
                  <c:v>0.55350520510652612</c:v>
                </c:pt>
                <c:pt idx="10224">
                  <c:v>0.57391137617479715</c:v>
                </c:pt>
                <c:pt idx="10225">
                  <c:v>0.58074597892493607</c:v>
                </c:pt>
                <c:pt idx="10226">
                  <c:v>0.57859796091774962</c:v>
                </c:pt>
                <c:pt idx="10227">
                  <c:v>0.56268310022814094</c:v>
                </c:pt>
                <c:pt idx="10228">
                  <c:v>0.5611209053138233</c:v>
                </c:pt>
                <c:pt idx="10229">
                  <c:v>0.56512402978176191</c:v>
                </c:pt>
                <c:pt idx="10230">
                  <c:v>0.54901389472786355</c:v>
                </c:pt>
                <c:pt idx="10231">
                  <c:v>0.54335093816346269</c:v>
                </c:pt>
                <c:pt idx="10232">
                  <c:v>0.53095101603106842</c:v>
                </c:pt>
                <c:pt idx="10233">
                  <c:v>0.54286275225273872</c:v>
                </c:pt>
                <c:pt idx="10234">
                  <c:v>0.54169110606700066</c:v>
                </c:pt>
                <c:pt idx="10235">
                  <c:v>0.55213828455649838</c:v>
                </c:pt>
                <c:pt idx="10236">
                  <c:v>0.54579186771708366</c:v>
                </c:pt>
                <c:pt idx="10237">
                  <c:v>0.53593051232045519</c:v>
                </c:pt>
                <c:pt idx="10238">
                  <c:v>0.54003127397053818</c:v>
                </c:pt>
                <c:pt idx="10239">
                  <c:v>0.51337632324499749</c:v>
                </c:pt>
                <c:pt idx="10240">
                  <c:v>0.52187075809159844</c:v>
                </c:pt>
                <c:pt idx="10241">
                  <c:v>0.517769996441515</c:v>
                </c:pt>
                <c:pt idx="10242">
                  <c:v>0.51806290798794952</c:v>
                </c:pt>
                <c:pt idx="10243">
                  <c:v>0.51376687197357662</c:v>
                </c:pt>
                <c:pt idx="10244">
                  <c:v>0.53817616750978625</c:v>
                </c:pt>
                <c:pt idx="10245">
                  <c:v>0.53934781369552454</c:v>
                </c:pt>
                <c:pt idx="10246">
                  <c:v>0.54247220352415915</c:v>
                </c:pt>
                <c:pt idx="10247">
                  <c:v>0.55418866538153999</c:v>
                </c:pt>
                <c:pt idx="10248">
                  <c:v>0.5575083295744645</c:v>
                </c:pt>
                <c:pt idx="10249">
                  <c:v>0.56102326813167869</c:v>
                </c:pt>
                <c:pt idx="10250">
                  <c:v>0.53583287513831035</c:v>
                </c:pt>
                <c:pt idx="10251">
                  <c:v>0.5296817326631853</c:v>
                </c:pt>
                <c:pt idx="10252">
                  <c:v>0.53153683912393745</c:v>
                </c:pt>
                <c:pt idx="10253">
                  <c:v>0.5298770070274752</c:v>
                </c:pt>
                <c:pt idx="10254">
                  <c:v>0.54911153191000839</c:v>
                </c:pt>
                <c:pt idx="10255">
                  <c:v>0.55106427555290516</c:v>
                </c:pt>
                <c:pt idx="10256">
                  <c:v>0.5405194598812626</c:v>
                </c:pt>
                <c:pt idx="10257">
                  <c:v>0.55506740002084354</c:v>
                </c:pt>
                <c:pt idx="10258">
                  <c:v>0.53690688414190357</c:v>
                </c:pt>
                <c:pt idx="10259">
                  <c:v>0.53065810448463391</c:v>
                </c:pt>
                <c:pt idx="10260">
                  <c:v>0.53075574166677875</c:v>
                </c:pt>
                <c:pt idx="10261">
                  <c:v>0.52645970565240585</c:v>
                </c:pt>
                <c:pt idx="10262">
                  <c:v>0.50702990640558276</c:v>
                </c:pt>
                <c:pt idx="10263">
                  <c:v>0.51523142970574942</c:v>
                </c:pt>
                <c:pt idx="10264">
                  <c:v>0.50917792441276921</c:v>
                </c:pt>
                <c:pt idx="10265">
                  <c:v>0.5255809710131023</c:v>
                </c:pt>
                <c:pt idx="10266">
                  <c:v>0.5415934688848556</c:v>
                </c:pt>
                <c:pt idx="10267">
                  <c:v>0.55477448847440902</c:v>
                </c:pt>
                <c:pt idx="10268">
                  <c:v>0.54452258434920098</c:v>
                </c:pt>
                <c:pt idx="10269">
                  <c:v>0.53348958276683422</c:v>
                </c:pt>
                <c:pt idx="10270">
                  <c:v>0.53114629039535788</c:v>
                </c:pt>
                <c:pt idx="10271">
                  <c:v>0.55536031156727805</c:v>
                </c:pt>
                <c:pt idx="10272">
                  <c:v>0.53788325596335174</c:v>
                </c:pt>
                <c:pt idx="10273">
                  <c:v>0.50644408331271373</c:v>
                </c:pt>
                <c:pt idx="10274">
                  <c:v>0.50663935767700363</c:v>
                </c:pt>
                <c:pt idx="10275">
                  <c:v>0.50986138468778308</c:v>
                </c:pt>
                <c:pt idx="10276">
                  <c:v>0.52060147472371554</c:v>
                </c:pt>
                <c:pt idx="10277">
                  <c:v>0.52440932482736424</c:v>
                </c:pt>
                <c:pt idx="10278">
                  <c:v>0.5255809710131023</c:v>
                </c:pt>
                <c:pt idx="10279">
                  <c:v>0.52909590957031649</c:v>
                </c:pt>
                <c:pt idx="10280">
                  <c:v>0.51288813733427308</c:v>
                </c:pt>
                <c:pt idx="10281">
                  <c:v>0.5260691569238265</c:v>
                </c:pt>
                <c:pt idx="10282">
                  <c:v>0.51747708489508049</c:v>
                </c:pt>
                <c:pt idx="10283">
                  <c:v>0.52167548372730854</c:v>
                </c:pt>
                <c:pt idx="10284">
                  <c:v>0.5498926293671671</c:v>
                </c:pt>
                <c:pt idx="10285">
                  <c:v>0.54344857534560775</c:v>
                </c:pt>
                <c:pt idx="10286">
                  <c:v>0.57107989789259705</c:v>
                </c:pt>
                <c:pt idx="10287">
                  <c:v>0.59500100751808249</c:v>
                </c:pt>
                <c:pt idx="10288">
                  <c:v>0.5889475022251025</c:v>
                </c:pt>
                <c:pt idx="10289">
                  <c:v>0.59548919342880668</c:v>
                </c:pt>
                <c:pt idx="10290">
                  <c:v>0.5902167855929854</c:v>
                </c:pt>
                <c:pt idx="10291">
                  <c:v>0.60066396408248313</c:v>
                </c:pt>
                <c:pt idx="10292">
                  <c:v>0.60359307954682828</c:v>
                </c:pt>
                <c:pt idx="10293">
                  <c:v>0.60945131047551859</c:v>
                </c:pt>
                <c:pt idx="10294">
                  <c:v>0.62019140051145083</c:v>
                </c:pt>
                <c:pt idx="10295">
                  <c:v>0.60974422202195311</c:v>
                </c:pt>
                <c:pt idx="10296">
                  <c:v>0.62282760442936147</c:v>
                </c:pt>
                <c:pt idx="10297">
                  <c:v>0.63093149054738284</c:v>
                </c:pt>
                <c:pt idx="10298">
                  <c:v>0.63591098683676983</c:v>
                </c:pt>
                <c:pt idx="10299">
                  <c:v>0.63864482793682531</c:v>
                </c:pt>
                <c:pt idx="10300">
                  <c:v>0.63229841109741081</c:v>
                </c:pt>
                <c:pt idx="10301">
                  <c:v>0.63073621618309339</c:v>
                </c:pt>
                <c:pt idx="10302">
                  <c:v>0.6378637304796666</c:v>
                </c:pt>
                <c:pt idx="10303">
                  <c:v>0.63825427920824573</c:v>
                </c:pt>
                <c:pt idx="10304">
                  <c:v>0.63981647412256315</c:v>
                </c:pt>
                <c:pt idx="10305">
                  <c:v>0.64909200642632303</c:v>
                </c:pt>
                <c:pt idx="10306">
                  <c:v>0.6528022193478269</c:v>
                </c:pt>
                <c:pt idx="10307">
                  <c:v>0.64821327178701948</c:v>
                </c:pt>
                <c:pt idx="10308">
                  <c:v>0.62839292381161727</c:v>
                </c:pt>
                <c:pt idx="10309">
                  <c:v>0.60164033590393129</c:v>
                </c:pt>
                <c:pt idx="10310">
                  <c:v>0.61033004511482214</c:v>
                </c:pt>
                <c:pt idx="10311">
                  <c:v>0.60964658483980827</c:v>
                </c:pt>
                <c:pt idx="10312">
                  <c:v>0.61433316958276052</c:v>
                </c:pt>
                <c:pt idx="10313">
                  <c:v>0.60867021301835966</c:v>
                </c:pt>
                <c:pt idx="10314">
                  <c:v>0.59363408696805475</c:v>
                </c:pt>
                <c:pt idx="10315">
                  <c:v>0.59412227287877895</c:v>
                </c:pt>
                <c:pt idx="10316">
                  <c:v>0.59695375116097926</c:v>
                </c:pt>
                <c:pt idx="10317">
                  <c:v>0.58172235074638445</c:v>
                </c:pt>
                <c:pt idx="10318">
                  <c:v>0.58484674057501906</c:v>
                </c:pt>
                <c:pt idx="10319">
                  <c:v>0.58553020085003293</c:v>
                </c:pt>
                <c:pt idx="10320">
                  <c:v>0.57850032373560456</c:v>
                </c:pt>
                <c:pt idx="10321">
                  <c:v>0.59470809597164798</c:v>
                </c:pt>
                <c:pt idx="10322">
                  <c:v>0.61033004511482214</c:v>
                </c:pt>
                <c:pt idx="10323">
                  <c:v>0.617067010682816</c:v>
                </c:pt>
                <c:pt idx="10324">
                  <c:v>0.61189224002913956</c:v>
                </c:pt>
                <c:pt idx="10325">
                  <c:v>0.61296624903273256</c:v>
                </c:pt>
                <c:pt idx="10326">
                  <c:v>0.61989848896501631</c:v>
                </c:pt>
                <c:pt idx="10327">
                  <c:v>0.61560245295064342</c:v>
                </c:pt>
                <c:pt idx="10328">
                  <c:v>0.61853156841498858</c:v>
                </c:pt>
                <c:pt idx="10329">
                  <c:v>0.6153095414042089</c:v>
                </c:pt>
                <c:pt idx="10330">
                  <c:v>0.62556144552941695</c:v>
                </c:pt>
                <c:pt idx="10331">
                  <c:v>0.6246827108901134</c:v>
                </c:pt>
                <c:pt idx="10332">
                  <c:v>0.63942592539398402</c:v>
                </c:pt>
                <c:pt idx="10333">
                  <c:v>0.62604963144014092</c:v>
                </c:pt>
                <c:pt idx="10334">
                  <c:v>0.63229841109741081</c:v>
                </c:pt>
                <c:pt idx="10335">
                  <c:v>0.63015039309022436</c:v>
                </c:pt>
                <c:pt idx="10336">
                  <c:v>0.6289787469044863</c:v>
                </c:pt>
                <c:pt idx="10337">
                  <c:v>0.62126540951504405</c:v>
                </c:pt>
                <c:pt idx="10338">
                  <c:v>0.61189224002913956</c:v>
                </c:pt>
                <c:pt idx="10339">
                  <c:v>0.62204650697220276</c:v>
                </c:pt>
                <c:pt idx="10340">
                  <c:v>0.62155832106147857</c:v>
                </c:pt>
                <c:pt idx="10341">
                  <c:v>0.6145284439470502</c:v>
                </c:pt>
                <c:pt idx="10342">
                  <c:v>0.6264401801687205</c:v>
                </c:pt>
                <c:pt idx="10343">
                  <c:v>0.62360870188651996</c:v>
                </c:pt>
                <c:pt idx="10344">
                  <c:v>0.60525291164329054</c:v>
                </c:pt>
                <c:pt idx="10345">
                  <c:v>0.60095687562891764</c:v>
                </c:pt>
                <c:pt idx="10346">
                  <c:v>0.57937905837490811</c:v>
                </c:pt>
                <c:pt idx="10347">
                  <c:v>0.58084361610708091</c:v>
                </c:pt>
                <c:pt idx="10348">
                  <c:v>0.58601838676075735</c:v>
                </c:pt>
                <c:pt idx="10349">
                  <c:v>0.59587974215738582</c:v>
                </c:pt>
                <c:pt idx="10350">
                  <c:v>0.60945131047551859</c:v>
                </c:pt>
                <c:pt idx="10351">
                  <c:v>0.59773484861813775</c:v>
                </c:pt>
                <c:pt idx="10352">
                  <c:v>0.59685611397883442</c:v>
                </c:pt>
                <c:pt idx="10353">
                  <c:v>0.59509864470022733</c:v>
                </c:pt>
                <c:pt idx="10354">
                  <c:v>0.60945131047551859</c:v>
                </c:pt>
                <c:pt idx="10355">
                  <c:v>0.61472371831133987</c:v>
                </c:pt>
                <c:pt idx="10356">
                  <c:v>0.62536617116512727</c:v>
                </c:pt>
                <c:pt idx="10357">
                  <c:v>0.62067958642217502</c:v>
                </c:pt>
                <c:pt idx="10358">
                  <c:v>0.62028903769359545</c:v>
                </c:pt>
                <c:pt idx="10359">
                  <c:v>0.63034566745451381</c:v>
                </c:pt>
                <c:pt idx="10360">
                  <c:v>0.62790473790089285</c:v>
                </c:pt>
                <c:pt idx="10361">
                  <c:v>0.63844955357253563</c:v>
                </c:pt>
                <c:pt idx="10362">
                  <c:v>0.66403049529448332</c:v>
                </c:pt>
                <c:pt idx="10363">
                  <c:v>0.65846517591222753</c:v>
                </c:pt>
                <c:pt idx="10364">
                  <c:v>0.65866045027651721</c:v>
                </c:pt>
                <c:pt idx="10365">
                  <c:v>0.65621952072289624</c:v>
                </c:pt>
                <c:pt idx="10366">
                  <c:v>0.66315176065517978</c:v>
                </c:pt>
                <c:pt idx="10367">
                  <c:v>0.68570594973063748</c:v>
                </c:pt>
                <c:pt idx="10368">
                  <c:v>0.66764307103384235</c:v>
                </c:pt>
                <c:pt idx="10369">
                  <c:v>0.66256593756231075</c:v>
                </c:pt>
                <c:pt idx="10370">
                  <c:v>0.63776609329752176</c:v>
                </c:pt>
                <c:pt idx="10371">
                  <c:v>0.6234134275222305</c:v>
                </c:pt>
                <c:pt idx="10372">
                  <c:v>0.61882447996142309</c:v>
                </c:pt>
                <c:pt idx="10373">
                  <c:v>0.62146068387933373</c:v>
                </c:pt>
                <c:pt idx="10374">
                  <c:v>0.63278659700813478</c:v>
                </c:pt>
                <c:pt idx="10375">
                  <c:v>0.64040229721543218</c:v>
                </c:pt>
                <c:pt idx="10376">
                  <c:v>0.64450305886551562</c:v>
                </c:pt>
                <c:pt idx="10377">
                  <c:v>0.66051555673726914</c:v>
                </c:pt>
                <c:pt idx="10378">
                  <c:v>0.65504787453715796</c:v>
                </c:pt>
                <c:pt idx="10379">
                  <c:v>0.65748880409077892</c:v>
                </c:pt>
                <c:pt idx="10380">
                  <c:v>0.64430778450122594</c:v>
                </c:pt>
                <c:pt idx="10381">
                  <c:v>0.65250930780139238</c:v>
                </c:pt>
                <c:pt idx="10382">
                  <c:v>0.6365944471117837</c:v>
                </c:pt>
                <c:pt idx="10383">
                  <c:v>0.62312051597579599</c:v>
                </c:pt>
                <c:pt idx="10384">
                  <c:v>0.60496000009685602</c:v>
                </c:pt>
                <c:pt idx="10385">
                  <c:v>0.6145284439470502</c:v>
                </c:pt>
                <c:pt idx="10386">
                  <c:v>0.60906076174693924</c:v>
                </c:pt>
                <c:pt idx="10387">
                  <c:v>0.61570009013278804</c:v>
                </c:pt>
                <c:pt idx="10388">
                  <c:v>0.62975984436164478</c:v>
                </c:pt>
                <c:pt idx="10389">
                  <c:v>0.63805900484395628</c:v>
                </c:pt>
                <c:pt idx="10390">
                  <c:v>0.63991411130470821</c:v>
                </c:pt>
                <c:pt idx="10391">
                  <c:v>0.63923065102969412</c:v>
                </c:pt>
                <c:pt idx="10392">
                  <c:v>0.61101350538983601</c:v>
                </c:pt>
                <c:pt idx="10393">
                  <c:v>0.60349544236468322</c:v>
                </c:pt>
                <c:pt idx="10394">
                  <c:v>0.6051552744611457</c:v>
                </c:pt>
                <c:pt idx="10395">
                  <c:v>0.58738530731078509</c:v>
                </c:pt>
                <c:pt idx="10396">
                  <c:v>0.58416328030000542</c:v>
                </c:pt>
                <c:pt idx="10397">
                  <c:v>0.58308927129641197</c:v>
                </c:pt>
                <c:pt idx="10398">
                  <c:v>0.57039643761758319</c:v>
                </c:pt>
                <c:pt idx="10399">
                  <c:v>0.57439956208552156</c:v>
                </c:pt>
                <c:pt idx="10400">
                  <c:v>0.58924041377153702</c:v>
                </c:pt>
                <c:pt idx="10401">
                  <c:v>0.60456945136827667</c:v>
                </c:pt>
                <c:pt idx="10402">
                  <c:v>0.60105451281106226</c:v>
                </c:pt>
                <c:pt idx="10403">
                  <c:v>0.59685611397883442</c:v>
                </c:pt>
                <c:pt idx="10404">
                  <c:v>0.6138449836720361</c:v>
                </c:pt>
                <c:pt idx="10405">
                  <c:v>0.59548919342880668</c:v>
                </c:pt>
                <c:pt idx="10406">
                  <c:v>0.59841830889315184</c:v>
                </c:pt>
                <c:pt idx="10407">
                  <c:v>0.58328454566070187</c:v>
                </c:pt>
                <c:pt idx="10408">
                  <c:v>0.57732867754986672</c:v>
                </c:pt>
                <c:pt idx="10409">
                  <c:v>0.57723104036772166</c:v>
                </c:pt>
                <c:pt idx="10410">
                  <c:v>0.56346419768529965</c:v>
                </c:pt>
                <c:pt idx="10411">
                  <c:v>0.55418866538153999</c:v>
                </c:pt>
                <c:pt idx="10412">
                  <c:v>0.57918378401061865</c:v>
                </c:pt>
                <c:pt idx="10413">
                  <c:v>0.57518065954268027</c:v>
                </c:pt>
                <c:pt idx="10414">
                  <c:v>0.5957821049752412</c:v>
                </c:pt>
                <c:pt idx="10415">
                  <c:v>0.58181998792852907</c:v>
                </c:pt>
                <c:pt idx="10416">
                  <c:v>0.58211289947496359</c:v>
                </c:pt>
                <c:pt idx="10417">
                  <c:v>0.58719003294649541</c:v>
                </c:pt>
                <c:pt idx="10418">
                  <c:v>0.61140405411841514</c:v>
                </c:pt>
                <c:pt idx="10419">
                  <c:v>0.63630153556534919</c:v>
                </c:pt>
                <c:pt idx="10420">
                  <c:v>0.66324939783732462</c:v>
                </c:pt>
                <c:pt idx="10421">
                  <c:v>0.65524314890144786</c:v>
                </c:pt>
                <c:pt idx="10422">
                  <c:v>0.64899436924417797</c:v>
                </c:pt>
                <c:pt idx="10423">
                  <c:v>0.65065420134064045</c:v>
                </c:pt>
                <c:pt idx="10424">
                  <c:v>0.65289985652997173</c:v>
                </c:pt>
                <c:pt idx="10425">
                  <c:v>0.60935367329337375</c:v>
                </c:pt>
                <c:pt idx="10426">
                  <c:v>0.60076160126462774</c:v>
                </c:pt>
                <c:pt idx="10427">
                  <c:v>0.60408126545755225</c:v>
                </c:pt>
                <c:pt idx="10428">
                  <c:v>0.62087486078646448</c:v>
                </c:pt>
                <c:pt idx="10429">
                  <c:v>0.61550481576849858</c:v>
                </c:pt>
                <c:pt idx="10430">
                  <c:v>0.61618827604351245</c:v>
                </c:pt>
                <c:pt idx="10431">
                  <c:v>0.64137866903688079</c:v>
                </c:pt>
                <c:pt idx="10432">
                  <c:v>0.63132203927596242</c:v>
                </c:pt>
                <c:pt idx="10433">
                  <c:v>0.63600862401891467</c:v>
                </c:pt>
                <c:pt idx="10434">
                  <c:v>0.64499124477623959</c:v>
                </c:pt>
                <c:pt idx="10435">
                  <c:v>0.62663545453301017</c:v>
                </c:pt>
                <c:pt idx="10436">
                  <c:v>0.64918964360846787</c:v>
                </c:pt>
                <c:pt idx="10437">
                  <c:v>0.64137866903688079</c:v>
                </c:pt>
                <c:pt idx="10438">
                  <c:v>0.6270260032615893</c:v>
                </c:pt>
                <c:pt idx="10439">
                  <c:v>0.61765283377568503</c:v>
                </c:pt>
                <c:pt idx="10440">
                  <c:v>0.64479597041195014</c:v>
                </c:pt>
                <c:pt idx="10441">
                  <c:v>0.66373758374804881</c:v>
                </c:pt>
                <c:pt idx="10442">
                  <c:v>0.66539741584451106</c:v>
                </c:pt>
                <c:pt idx="10443">
                  <c:v>0.66949817749459428</c:v>
                </c:pt>
                <c:pt idx="10444">
                  <c:v>0.66500686711593171</c:v>
                </c:pt>
                <c:pt idx="10445">
                  <c:v>0.65026365261206109</c:v>
                </c:pt>
                <c:pt idx="10446">
                  <c:v>0.65133766161565432</c:v>
                </c:pt>
                <c:pt idx="10447">
                  <c:v>0.65143529879779893</c:v>
                </c:pt>
                <c:pt idx="10448">
                  <c:v>0.63171258800454178</c:v>
                </c:pt>
                <c:pt idx="10449">
                  <c:v>0.61618827604351245</c:v>
                </c:pt>
                <c:pt idx="10450">
                  <c:v>0.60945131047551859</c:v>
                </c:pt>
                <c:pt idx="10451">
                  <c:v>0.58836167913223347</c:v>
                </c:pt>
                <c:pt idx="10452">
                  <c:v>0.5800625186499222</c:v>
                </c:pt>
                <c:pt idx="10453">
                  <c:v>0.57547357108911479</c:v>
                </c:pt>
                <c:pt idx="10454">
                  <c:v>0.58924041377153702</c:v>
                </c:pt>
                <c:pt idx="10455">
                  <c:v>0.60935367329337375</c:v>
                </c:pt>
                <c:pt idx="10456">
                  <c:v>0.60535054882543515</c:v>
                </c:pt>
                <c:pt idx="10457">
                  <c:v>0.60105451281106226</c:v>
                </c:pt>
                <c:pt idx="10458">
                  <c:v>0.58709239576435057</c:v>
                </c:pt>
                <c:pt idx="10459">
                  <c:v>0.58553020085003293</c:v>
                </c:pt>
                <c:pt idx="10460">
                  <c:v>0.60574109755401473</c:v>
                </c:pt>
                <c:pt idx="10461">
                  <c:v>0.61570009013278804</c:v>
                </c:pt>
                <c:pt idx="10462">
                  <c:v>0.62282760442936147</c:v>
                </c:pt>
                <c:pt idx="10463">
                  <c:v>0.61628591322565707</c:v>
                </c:pt>
                <c:pt idx="10464">
                  <c:v>0.59568446779309636</c:v>
                </c:pt>
                <c:pt idx="10465">
                  <c:v>0.58308927129641197</c:v>
                </c:pt>
                <c:pt idx="10466">
                  <c:v>0.58162471356423961</c:v>
                </c:pt>
                <c:pt idx="10467">
                  <c:v>0.59412227287877895</c:v>
                </c:pt>
                <c:pt idx="10468">
                  <c:v>0.59841830889315184</c:v>
                </c:pt>
                <c:pt idx="10469">
                  <c:v>0.59539155624666185</c:v>
                </c:pt>
                <c:pt idx="10470">
                  <c:v>0.61003713356838762</c:v>
                </c:pt>
                <c:pt idx="10471">
                  <c:v>0.60369071672897312</c:v>
                </c:pt>
                <c:pt idx="10472">
                  <c:v>0.61062295666125666</c:v>
                </c:pt>
                <c:pt idx="10473">
                  <c:v>0.62028903769359545</c:v>
                </c:pt>
                <c:pt idx="10474">
                  <c:v>0.61892211714356793</c:v>
                </c:pt>
                <c:pt idx="10475">
                  <c:v>0.62175359542576825</c:v>
                </c:pt>
                <c:pt idx="10476">
                  <c:v>0.60398362827540764</c:v>
                </c:pt>
                <c:pt idx="10477">
                  <c:v>0.5945128216073583</c:v>
                </c:pt>
                <c:pt idx="10478">
                  <c:v>0.58504201493930896</c:v>
                </c:pt>
                <c:pt idx="10479">
                  <c:v>0.58279635974997768</c:v>
                </c:pt>
                <c:pt idx="10480">
                  <c:v>0.60535054882543515</c:v>
                </c:pt>
                <c:pt idx="10481">
                  <c:v>0.59099788305014389</c:v>
                </c:pt>
                <c:pt idx="10482">
                  <c:v>0.5762546685462735</c:v>
                </c:pt>
                <c:pt idx="10483">
                  <c:v>0.57986724428563252</c:v>
                </c:pt>
                <c:pt idx="10484">
                  <c:v>0.55057608964218097</c:v>
                </c:pt>
                <c:pt idx="10485">
                  <c:v>0.56629567596749975</c:v>
                </c:pt>
                <c:pt idx="10486">
                  <c:v>0.56268310022814094</c:v>
                </c:pt>
                <c:pt idx="10487">
                  <c:v>0.56912715424970028</c:v>
                </c:pt>
                <c:pt idx="10488">
                  <c:v>0.54959971782073258</c:v>
                </c:pt>
                <c:pt idx="10489">
                  <c:v>0.55965634758165095</c:v>
                </c:pt>
                <c:pt idx="10490">
                  <c:v>0.54999026654931193</c:v>
                </c:pt>
                <c:pt idx="10491">
                  <c:v>0.54374148689204227</c:v>
                </c:pt>
                <c:pt idx="10492">
                  <c:v>0.53065810448463391</c:v>
                </c:pt>
                <c:pt idx="10493">
                  <c:v>0.52138257218087403</c:v>
                </c:pt>
                <c:pt idx="10494">
                  <c:v>0.51474324379502501</c:v>
                </c:pt>
                <c:pt idx="10495">
                  <c:v>0.49238432908385699</c:v>
                </c:pt>
                <c:pt idx="10496">
                  <c:v>0.48174187623006959</c:v>
                </c:pt>
                <c:pt idx="10497">
                  <c:v>0.47471199911564121</c:v>
                </c:pt>
                <c:pt idx="10498">
                  <c:v>0.48301115959795249</c:v>
                </c:pt>
                <c:pt idx="10499">
                  <c:v>0.49404416118031946</c:v>
                </c:pt>
                <c:pt idx="10500">
                  <c:v>0.49345833808745043</c:v>
                </c:pt>
                <c:pt idx="10501">
                  <c:v>0.49765673691967827</c:v>
                </c:pt>
                <c:pt idx="10502">
                  <c:v>0.48008204413360756</c:v>
                </c:pt>
                <c:pt idx="10503">
                  <c:v>0.48262061086937313</c:v>
                </c:pt>
                <c:pt idx="10504">
                  <c:v>0.49062685980524989</c:v>
                </c:pt>
                <c:pt idx="10505">
                  <c:v>0.49746146255538881</c:v>
                </c:pt>
                <c:pt idx="10506">
                  <c:v>0.49199378035527785</c:v>
                </c:pt>
                <c:pt idx="10507">
                  <c:v>0.47100178619413757</c:v>
                </c:pt>
                <c:pt idx="10508">
                  <c:v>0.47617655684781401</c:v>
                </c:pt>
                <c:pt idx="10509">
                  <c:v>0.46358136035112985</c:v>
                </c:pt>
                <c:pt idx="10510">
                  <c:v>0.46055460770463985</c:v>
                </c:pt>
                <c:pt idx="10511">
                  <c:v>0.46260498852968146</c:v>
                </c:pt>
                <c:pt idx="10512">
                  <c:v>0.47783638894427627</c:v>
                </c:pt>
                <c:pt idx="10513">
                  <c:v>0.47266161829059983</c:v>
                </c:pt>
                <c:pt idx="10514">
                  <c:v>0.47666474275853821</c:v>
                </c:pt>
                <c:pt idx="10515">
                  <c:v>0.48213242495864916</c:v>
                </c:pt>
                <c:pt idx="10516">
                  <c:v>0.49257960344814689</c:v>
                </c:pt>
                <c:pt idx="10517">
                  <c:v>0.47686001712282766</c:v>
                </c:pt>
                <c:pt idx="10518">
                  <c:v>0.50039057801973374</c:v>
                </c:pt>
                <c:pt idx="10519">
                  <c:v>0.50039057801973374</c:v>
                </c:pt>
                <c:pt idx="10520">
                  <c:v>0.49853547155898181</c:v>
                </c:pt>
                <c:pt idx="10521">
                  <c:v>0.48701428406589109</c:v>
                </c:pt>
                <c:pt idx="10522">
                  <c:v>0.4731498042013238</c:v>
                </c:pt>
                <c:pt idx="10523">
                  <c:v>0.44561611883647956</c:v>
                </c:pt>
                <c:pt idx="10524">
                  <c:v>0.46201916543681243</c:v>
                </c:pt>
                <c:pt idx="10525">
                  <c:v>0.46065224488678447</c:v>
                </c:pt>
                <c:pt idx="10526">
                  <c:v>0.43321619670408484</c:v>
                </c:pt>
                <c:pt idx="10527">
                  <c:v>0.420425725843111</c:v>
                </c:pt>
                <c:pt idx="10528">
                  <c:v>0.44503029574361053</c:v>
                </c:pt>
                <c:pt idx="10529">
                  <c:v>0.43956261354349957</c:v>
                </c:pt>
                <c:pt idx="10530">
                  <c:v>0.43946497636135473</c:v>
                </c:pt>
                <c:pt idx="10531">
                  <c:v>0.44795941120795568</c:v>
                </c:pt>
                <c:pt idx="10532">
                  <c:v>0.45401291650093545</c:v>
                </c:pt>
                <c:pt idx="10533">
                  <c:v>0.44141772000425128</c:v>
                </c:pt>
                <c:pt idx="10534">
                  <c:v>0.4401484366363686</c:v>
                </c:pt>
                <c:pt idx="10535">
                  <c:v>0.41573914110015897</c:v>
                </c:pt>
                <c:pt idx="10536">
                  <c:v>0.42257374385029745</c:v>
                </c:pt>
                <c:pt idx="10537">
                  <c:v>0.43458311725411281</c:v>
                </c:pt>
                <c:pt idx="10538">
                  <c:v>0.42686977986467034</c:v>
                </c:pt>
                <c:pt idx="10539">
                  <c:v>0.4085139896214407</c:v>
                </c:pt>
                <c:pt idx="10540">
                  <c:v>0.39845735986052233</c:v>
                </c:pt>
                <c:pt idx="10541">
                  <c:v>0.39582115594261191</c:v>
                </c:pt>
                <c:pt idx="10542">
                  <c:v>0.41866825656450413</c:v>
                </c:pt>
                <c:pt idx="10543">
                  <c:v>0.41095491917506166</c:v>
                </c:pt>
                <c:pt idx="10544">
                  <c:v>0.40861162680358576</c:v>
                </c:pt>
                <c:pt idx="10545">
                  <c:v>0.38195667607804462</c:v>
                </c:pt>
                <c:pt idx="10546">
                  <c:v>0.38400705690308645</c:v>
                </c:pt>
                <c:pt idx="10547">
                  <c:v>0.36662763848130497</c:v>
                </c:pt>
                <c:pt idx="10548">
                  <c:v>0.40451086515350232</c:v>
                </c:pt>
                <c:pt idx="10549">
                  <c:v>0.42833433759684292</c:v>
                </c:pt>
                <c:pt idx="10550">
                  <c:v>0.41837534501806961</c:v>
                </c:pt>
                <c:pt idx="10551">
                  <c:v>0.42940834660043636</c:v>
                </c:pt>
                <c:pt idx="10552">
                  <c:v>0.43243509924692636</c:v>
                </c:pt>
                <c:pt idx="10553">
                  <c:v>0.43184927615405733</c:v>
                </c:pt>
                <c:pt idx="10554">
                  <c:v>0.42286665539673196</c:v>
                </c:pt>
                <c:pt idx="10555">
                  <c:v>0.43223982488263668</c:v>
                </c:pt>
                <c:pt idx="10556">
                  <c:v>0.42335484130745638</c:v>
                </c:pt>
                <c:pt idx="10557">
                  <c:v>0.43311855952194023</c:v>
                </c:pt>
                <c:pt idx="10558">
                  <c:v>0.41749661037876606</c:v>
                </c:pt>
                <c:pt idx="10559">
                  <c:v>0.41837534501806961</c:v>
                </c:pt>
                <c:pt idx="10560">
                  <c:v>0.38605743772812806</c:v>
                </c:pt>
                <c:pt idx="10561">
                  <c:v>0.38010156961729269</c:v>
                </c:pt>
                <c:pt idx="10562">
                  <c:v>0.35071277779169652</c:v>
                </c:pt>
                <c:pt idx="10563">
                  <c:v>0.37316932968500915</c:v>
                </c:pt>
                <c:pt idx="10564">
                  <c:v>0.37014257703851938</c:v>
                </c:pt>
                <c:pt idx="10565">
                  <c:v>0.37902756061369969</c:v>
                </c:pt>
                <c:pt idx="10566">
                  <c:v>0.37443861305289228</c:v>
                </c:pt>
                <c:pt idx="10567">
                  <c:v>0.38820545573531451</c:v>
                </c:pt>
                <c:pt idx="10568">
                  <c:v>0.36418670892768401</c:v>
                </c:pt>
                <c:pt idx="10569">
                  <c:v>0.3554969997167936</c:v>
                </c:pt>
                <c:pt idx="10570">
                  <c:v>0.35334898170960716</c:v>
                </c:pt>
                <c:pt idx="10571">
                  <c:v>0.33040424390556988</c:v>
                </c:pt>
                <c:pt idx="10572">
                  <c:v>0.34241361730938524</c:v>
                </c:pt>
                <c:pt idx="10573">
                  <c:v>0.32103107441966561</c:v>
                </c:pt>
                <c:pt idx="10574">
                  <c:v>0.32044525132679658</c:v>
                </c:pt>
                <c:pt idx="10575">
                  <c:v>0.34143724548793664</c:v>
                </c:pt>
                <c:pt idx="10576">
                  <c:v>0.3664323641170153</c:v>
                </c:pt>
                <c:pt idx="10577">
                  <c:v>0.36272215119551143</c:v>
                </c:pt>
                <c:pt idx="10578">
                  <c:v>0.36692055002773971</c:v>
                </c:pt>
                <c:pt idx="10579">
                  <c:v>0.38459287999595548</c:v>
                </c:pt>
                <c:pt idx="10580">
                  <c:v>0.39347786357113579</c:v>
                </c:pt>
                <c:pt idx="10581">
                  <c:v>0.38420233126737613</c:v>
                </c:pt>
                <c:pt idx="10582">
                  <c:v>0.35413007916676564</c:v>
                </c:pt>
                <c:pt idx="10583">
                  <c:v>0.35539936253464854</c:v>
                </c:pt>
                <c:pt idx="10584">
                  <c:v>0.35442299071320016</c:v>
                </c:pt>
                <c:pt idx="10585">
                  <c:v>0.35266552143459307</c:v>
                </c:pt>
                <c:pt idx="10586">
                  <c:v>0.31029098438373315</c:v>
                </c:pt>
                <c:pt idx="10587">
                  <c:v>0.31693031276958217</c:v>
                </c:pt>
                <c:pt idx="10588">
                  <c:v>0.30716659455509832</c:v>
                </c:pt>
                <c:pt idx="10589">
                  <c:v>0.29789106225133888</c:v>
                </c:pt>
                <c:pt idx="10590">
                  <c:v>0.31048625874802283</c:v>
                </c:pt>
                <c:pt idx="10591">
                  <c:v>0.33782466974857783</c:v>
                </c:pt>
                <c:pt idx="10592">
                  <c:v>0.35071277779169652</c:v>
                </c:pt>
                <c:pt idx="10593">
                  <c:v>0.34670965332375814</c:v>
                </c:pt>
                <c:pt idx="10594">
                  <c:v>0.32220272060540345</c:v>
                </c:pt>
                <c:pt idx="10595">
                  <c:v>0.33792230693072267</c:v>
                </c:pt>
                <c:pt idx="10596">
                  <c:v>0.3623316024669323</c:v>
                </c:pt>
                <c:pt idx="10597">
                  <c:v>0.38410469408523107</c:v>
                </c:pt>
                <c:pt idx="10598">
                  <c:v>0.37824646315654076</c:v>
                </c:pt>
                <c:pt idx="10599">
                  <c:v>0.39640697903548094</c:v>
                </c:pt>
                <c:pt idx="10600">
                  <c:v>0.37121658604211238</c:v>
                </c:pt>
                <c:pt idx="10601">
                  <c:v>0.38801018137102461</c:v>
                </c:pt>
                <c:pt idx="10602">
                  <c:v>0.38498342872453462</c:v>
                </c:pt>
                <c:pt idx="10603">
                  <c:v>0.39494242130330837</c:v>
                </c:pt>
                <c:pt idx="10604">
                  <c:v>0.34241361730938524</c:v>
                </c:pt>
                <c:pt idx="10605">
                  <c:v>0.32269090651612764</c:v>
                </c:pt>
                <c:pt idx="10606">
                  <c:v>0.30550676245863628</c:v>
                </c:pt>
                <c:pt idx="10607">
                  <c:v>0.30433511627289822</c:v>
                </c:pt>
                <c:pt idx="10608">
                  <c:v>0.32083580005537593</c:v>
                </c:pt>
                <c:pt idx="10609">
                  <c:v>0.31302482548378863</c:v>
                </c:pt>
                <c:pt idx="10610">
                  <c:v>0.30169891235498736</c:v>
                </c:pt>
                <c:pt idx="10611">
                  <c:v>0.3554969997167936</c:v>
                </c:pt>
                <c:pt idx="10612">
                  <c:v>0.35774265490612489</c:v>
                </c:pt>
                <c:pt idx="10613">
                  <c:v>0.35940248700258692</c:v>
                </c:pt>
                <c:pt idx="10614">
                  <c:v>0.33352863373420494</c:v>
                </c:pt>
                <c:pt idx="10615">
                  <c:v>0.33499319146637729</c:v>
                </c:pt>
                <c:pt idx="10616">
                  <c:v>0.30413984190860832</c:v>
                </c:pt>
                <c:pt idx="10617">
                  <c:v>0.31390356012309217</c:v>
                </c:pt>
                <c:pt idx="10618">
                  <c:v>0.33479791710208784</c:v>
                </c:pt>
                <c:pt idx="10619">
                  <c:v>0.31263427675520927</c:v>
                </c:pt>
                <c:pt idx="10620">
                  <c:v>0.31292718830164379</c:v>
                </c:pt>
                <c:pt idx="10621">
                  <c:v>0.27953527200810924</c:v>
                </c:pt>
                <c:pt idx="10622">
                  <c:v>0.25756690602552057</c:v>
                </c:pt>
                <c:pt idx="10623">
                  <c:v>0.22993558347853105</c:v>
                </c:pt>
                <c:pt idx="10624">
                  <c:v>0.1909783478027407</c:v>
                </c:pt>
                <c:pt idx="10625">
                  <c:v>0.18638940024193329</c:v>
                </c:pt>
                <c:pt idx="10626">
                  <c:v>0.19088071062059564</c:v>
                </c:pt>
                <c:pt idx="10627">
                  <c:v>0.17574694738814567</c:v>
                </c:pt>
                <c:pt idx="10628">
                  <c:v>0.18756104642767113</c:v>
                </c:pt>
                <c:pt idx="10629">
                  <c:v>0.20328063275299013</c:v>
                </c:pt>
                <c:pt idx="10630">
                  <c:v>0.20699084567449422</c:v>
                </c:pt>
                <c:pt idx="10631">
                  <c:v>0.20406173021014884</c:v>
                </c:pt>
                <c:pt idx="10632">
                  <c:v>0.20884595213524593</c:v>
                </c:pt>
                <c:pt idx="10633">
                  <c:v>0.21060342141385302</c:v>
                </c:pt>
                <c:pt idx="10634">
                  <c:v>0.21929313062474365</c:v>
                </c:pt>
                <c:pt idx="10635">
                  <c:v>0.19615311845641714</c:v>
                </c:pt>
                <c:pt idx="10636">
                  <c:v>0.19654369647615111</c:v>
                </c:pt>
                <c:pt idx="10637">
                  <c:v>0.20845537411551196</c:v>
                </c:pt>
                <c:pt idx="10638">
                  <c:v>0.21353254664191645</c:v>
                </c:pt>
                <c:pt idx="10639">
                  <c:v>0.20191369267552606</c:v>
                </c:pt>
                <c:pt idx="10640">
                  <c:v>0.19351689501106994</c:v>
                </c:pt>
                <c:pt idx="10641">
                  <c:v>0.18111700216983007</c:v>
                </c:pt>
                <c:pt idx="10642">
                  <c:v>0.19088072038431392</c:v>
                </c:pt>
                <c:pt idx="10643">
                  <c:v>0.19312633651877231</c:v>
                </c:pt>
                <c:pt idx="10644">
                  <c:v>0.18502250898305994</c:v>
                </c:pt>
                <c:pt idx="10645">
                  <c:v>0.1978129505528794</c:v>
                </c:pt>
                <c:pt idx="10646">
                  <c:v>0.17438001707439987</c:v>
                </c:pt>
                <c:pt idx="10647">
                  <c:v>0.15455967886271571</c:v>
                </c:pt>
                <c:pt idx="10648">
                  <c:v>0.16686198334040192</c:v>
                </c:pt>
                <c:pt idx="10649">
                  <c:v>0.14879912417104313</c:v>
                </c:pt>
                <c:pt idx="10650">
                  <c:v>0.1434290498619224</c:v>
                </c:pt>
                <c:pt idx="10651">
                  <c:v>0.1574888236182157</c:v>
                </c:pt>
                <c:pt idx="10652">
                  <c:v>0.14801800718644786</c:v>
                </c:pt>
                <c:pt idx="10653">
                  <c:v>0.12614721980369481</c:v>
                </c:pt>
                <c:pt idx="10654">
                  <c:v>0.13366533164743855</c:v>
                </c:pt>
                <c:pt idx="10655">
                  <c:v>0.10349540330981055</c:v>
                </c:pt>
                <c:pt idx="10656">
                  <c:v>6.5807519347930388E-2</c:v>
                </c:pt>
                <c:pt idx="10657">
                  <c:v>5.9656328054214613E-2</c:v>
                </c:pt>
                <c:pt idx="10658">
                  <c:v>6.4635843871037713E-2</c:v>
                </c:pt>
                <c:pt idx="10659">
                  <c:v>1.6305389890751476E-2</c:v>
                </c:pt>
                <c:pt idx="10660">
                  <c:v>1.3962117046711908E-2</c:v>
                </c:pt>
                <c:pt idx="10661">
                  <c:v>0</c:v>
                </c:pt>
                <c:pt idx="10662">
                  <c:v>0</c:v>
                </c:pt>
                <c:pt idx="10663">
                  <c:v>0</c:v>
                </c:pt>
                <c:pt idx="10664">
                  <c:v>0</c:v>
                </c:pt>
                <c:pt idx="10665">
                  <c:v>0</c:v>
                </c:pt>
                <c:pt idx="10666">
                  <c:v>0</c:v>
                </c:pt>
                <c:pt idx="10667">
                  <c:v>0</c:v>
                </c:pt>
                <c:pt idx="10668">
                  <c:v>0</c:v>
                </c:pt>
                <c:pt idx="10669">
                  <c:v>0</c:v>
                </c:pt>
                <c:pt idx="10670">
                  <c:v>0</c:v>
                </c:pt>
                <c:pt idx="10671">
                  <c:v>0</c:v>
                </c:pt>
                <c:pt idx="10672">
                  <c:v>0</c:v>
                </c:pt>
                <c:pt idx="10673">
                  <c:v>0</c:v>
                </c:pt>
                <c:pt idx="10674">
                  <c:v>0</c:v>
                </c:pt>
                <c:pt idx="10675">
                  <c:v>0</c:v>
                </c:pt>
                <c:pt idx="10676">
                  <c:v>0</c:v>
                </c:pt>
                <c:pt idx="10677">
                  <c:v>0</c:v>
                </c:pt>
                <c:pt idx="10678">
                  <c:v>0</c:v>
                </c:pt>
                <c:pt idx="10679">
                  <c:v>0</c:v>
                </c:pt>
                <c:pt idx="10680">
                  <c:v>0</c:v>
                </c:pt>
                <c:pt idx="10681">
                  <c:v>0</c:v>
                </c:pt>
                <c:pt idx="10682">
                  <c:v>0</c:v>
                </c:pt>
                <c:pt idx="10683">
                  <c:v>0</c:v>
                </c:pt>
                <c:pt idx="10684">
                  <c:v>0</c:v>
                </c:pt>
                <c:pt idx="10685">
                  <c:v>0</c:v>
                </c:pt>
                <c:pt idx="10686">
                  <c:v>0</c:v>
                </c:pt>
                <c:pt idx="10687">
                  <c:v>0</c:v>
                </c:pt>
                <c:pt idx="10688">
                  <c:v>0</c:v>
                </c:pt>
                <c:pt idx="10689">
                  <c:v>0</c:v>
                </c:pt>
                <c:pt idx="10690">
                  <c:v>0</c:v>
                </c:pt>
                <c:pt idx="10691">
                  <c:v>0</c:v>
                </c:pt>
                <c:pt idx="10692">
                  <c:v>0</c:v>
                </c:pt>
                <c:pt idx="10693">
                  <c:v>0</c:v>
                </c:pt>
                <c:pt idx="10694">
                  <c:v>0</c:v>
                </c:pt>
                <c:pt idx="10695">
                  <c:v>0</c:v>
                </c:pt>
                <c:pt idx="10696">
                  <c:v>0</c:v>
                </c:pt>
                <c:pt idx="10697">
                  <c:v>0</c:v>
                </c:pt>
                <c:pt idx="10698">
                  <c:v>0</c:v>
                </c:pt>
                <c:pt idx="10699">
                  <c:v>0</c:v>
                </c:pt>
                <c:pt idx="10700">
                  <c:v>0</c:v>
                </c:pt>
                <c:pt idx="10701">
                  <c:v>0</c:v>
                </c:pt>
                <c:pt idx="10702">
                  <c:v>0</c:v>
                </c:pt>
                <c:pt idx="10703">
                  <c:v>0</c:v>
                </c:pt>
                <c:pt idx="10704">
                  <c:v>0</c:v>
                </c:pt>
                <c:pt idx="10705">
                  <c:v>0</c:v>
                </c:pt>
                <c:pt idx="10706">
                  <c:v>0</c:v>
                </c:pt>
                <c:pt idx="10707">
                  <c:v>0</c:v>
                </c:pt>
                <c:pt idx="10708">
                  <c:v>0</c:v>
                </c:pt>
                <c:pt idx="10709">
                  <c:v>0</c:v>
                </c:pt>
                <c:pt idx="10710">
                  <c:v>0</c:v>
                </c:pt>
                <c:pt idx="10711">
                  <c:v>0</c:v>
                </c:pt>
                <c:pt idx="10712">
                  <c:v>0</c:v>
                </c:pt>
                <c:pt idx="10713">
                  <c:v>0</c:v>
                </c:pt>
                <c:pt idx="10714">
                  <c:v>0</c:v>
                </c:pt>
                <c:pt idx="10715">
                  <c:v>0</c:v>
                </c:pt>
                <c:pt idx="10716">
                  <c:v>0</c:v>
                </c:pt>
                <c:pt idx="10717">
                  <c:v>0</c:v>
                </c:pt>
                <c:pt idx="10718">
                  <c:v>0</c:v>
                </c:pt>
                <c:pt idx="10719">
                  <c:v>0</c:v>
                </c:pt>
                <c:pt idx="10720">
                  <c:v>0</c:v>
                </c:pt>
                <c:pt idx="10721">
                  <c:v>0</c:v>
                </c:pt>
                <c:pt idx="10722">
                  <c:v>0</c:v>
                </c:pt>
                <c:pt idx="10723">
                  <c:v>0</c:v>
                </c:pt>
                <c:pt idx="10724">
                  <c:v>0</c:v>
                </c:pt>
                <c:pt idx="10725">
                  <c:v>0</c:v>
                </c:pt>
                <c:pt idx="10726">
                  <c:v>0</c:v>
                </c:pt>
                <c:pt idx="10727">
                  <c:v>0</c:v>
                </c:pt>
                <c:pt idx="10728">
                  <c:v>0</c:v>
                </c:pt>
                <c:pt idx="10729">
                  <c:v>0</c:v>
                </c:pt>
                <c:pt idx="10730">
                  <c:v>0</c:v>
                </c:pt>
                <c:pt idx="10731">
                  <c:v>0</c:v>
                </c:pt>
                <c:pt idx="10732">
                  <c:v>0</c:v>
                </c:pt>
                <c:pt idx="10733">
                  <c:v>0</c:v>
                </c:pt>
                <c:pt idx="10734">
                  <c:v>0</c:v>
                </c:pt>
                <c:pt idx="10735">
                  <c:v>0</c:v>
                </c:pt>
                <c:pt idx="10736">
                  <c:v>0</c:v>
                </c:pt>
                <c:pt idx="10737">
                  <c:v>0</c:v>
                </c:pt>
                <c:pt idx="10738">
                  <c:v>0</c:v>
                </c:pt>
                <c:pt idx="10739">
                  <c:v>0</c:v>
                </c:pt>
                <c:pt idx="10740">
                  <c:v>0</c:v>
                </c:pt>
                <c:pt idx="10741">
                  <c:v>0</c:v>
                </c:pt>
                <c:pt idx="10742">
                  <c:v>0</c:v>
                </c:pt>
                <c:pt idx="10743">
                  <c:v>0</c:v>
                </c:pt>
                <c:pt idx="10744">
                  <c:v>0</c:v>
                </c:pt>
                <c:pt idx="10745">
                  <c:v>0</c:v>
                </c:pt>
                <c:pt idx="10746">
                  <c:v>0</c:v>
                </c:pt>
                <c:pt idx="10747">
                  <c:v>0</c:v>
                </c:pt>
                <c:pt idx="10748">
                  <c:v>0</c:v>
                </c:pt>
                <c:pt idx="10749">
                  <c:v>0</c:v>
                </c:pt>
                <c:pt idx="10750">
                  <c:v>0</c:v>
                </c:pt>
                <c:pt idx="10751">
                  <c:v>0</c:v>
                </c:pt>
                <c:pt idx="10752">
                  <c:v>0</c:v>
                </c:pt>
                <c:pt idx="10753">
                  <c:v>0</c:v>
                </c:pt>
                <c:pt idx="10754">
                  <c:v>0</c:v>
                </c:pt>
                <c:pt idx="10755">
                  <c:v>0</c:v>
                </c:pt>
                <c:pt idx="10756">
                  <c:v>0</c:v>
                </c:pt>
                <c:pt idx="10757">
                  <c:v>0</c:v>
                </c:pt>
                <c:pt idx="10758">
                  <c:v>0</c:v>
                </c:pt>
                <c:pt idx="10759">
                  <c:v>0</c:v>
                </c:pt>
                <c:pt idx="10760">
                  <c:v>0</c:v>
                </c:pt>
                <c:pt idx="10761">
                  <c:v>0</c:v>
                </c:pt>
                <c:pt idx="10762">
                  <c:v>0</c:v>
                </c:pt>
                <c:pt idx="10763">
                  <c:v>0</c:v>
                </c:pt>
                <c:pt idx="10764">
                  <c:v>0</c:v>
                </c:pt>
                <c:pt idx="10765">
                  <c:v>0</c:v>
                </c:pt>
                <c:pt idx="10766">
                  <c:v>0</c:v>
                </c:pt>
                <c:pt idx="10767">
                  <c:v>0</c:v>
                </c:pt>
                <c:pt idx="10768">
                  <c:v>0</c:v>
                </c:pt>
                <c:pt idx="10769">
                  <c:v>0</c:v>
                </c:pt>
                <c:pt idx="10770">
                  <c:v>0</c:v>
                </c:pt>
                <c:pt idx="10771">
                  <c:v>0</c:v>
                </c:pt>
                <c:pt idx="10772">
                  <c:v>0</c:v>
                </c:pt>
                <c:pt idx="10773">
                  <c:v>0</c:v>
                </c:pt>
                <c:pt idx="10774">
                  <c:v>0</c:v>
                </c:pt>
                <c:pt idx="10775">
                  <c:v>0</c:v>
                </c:pt>
                <c:pt idx="10776">
                  <c:v>0</c:v>
                </c:pt>
                <c:pt idx="10777">
                  <c:v>0</c:v>
                </c:pt>
                <c:pt idx="10778">
                  <c:v>0</c:v>
                </c:pt>
                <c:pt idx="10779">
                  <c:v>0</c:v>
                </c:pt>
                <c:pt idx="10780">
                  <c:v>0</c:v>
                </c:pt>
                <c:pt idx="10781">
                  <c:v>0</c:v>
                </c:pt>
                <c:pt idx="10782">
                  <c:v>0</c:v>
                </c:pt>
                <c:pt idx="10783">
                  <c:v>0</c:v>
                </c:pt>
                <c:pt idx="10784">
                  <c:v>0</c:v>
                </c:pt>
                <c:pt idx="10785">
                  <c:v>0</c:v>
                </c:pt>
                <c:pt idx="10786">
                  <c:v>0</c:v>
                </c:pt>
                <c:pt idx="10787">
                  <c:v>0</c:v>
                </c:pt>
                <c:pt idx="10788">
                  <c:v>0</c:v>
                </c:pt>
                <c:pt idx="10789">
                  <c:v>0</c:v>
                </c:pt>
                <c:pt idx="10790">
                  <c:v>0</c:v>
                </c:pt>
                <c:pt idx="10791">
                  <c:v>0</c:v>
                </c:pt>
                <c:pt idx="10792">
                  <c:v>0</c:v>
                </c:pt>
                <c:pt idx="10793">
                  <c:v>0</c:v>
                </c:pt>
                <c:pt idx="10794">
                  <c:v>0</c:v>
                </c:pt>
                <c:pt idx="10795">
                  <c:v>0</c:v>
                </c:pt>
                <c:pt idx="10796">
                  <c:v>0</c:v>
                </c:pt>
                <c:pt idx="10797">
                  <c:v>0</c:v>
                </c:pt>
                <c:pt idx="10798">
                  <c:v>0</c:v>
                </c:pt>
                <c:pt idx="10799">
                  <c:v>0</c:v>
                </c:pt>
                <c:pt idx="10800">
                  <c:v>0</c:v>
                </c:pt>
                <c:pt idx="10801">
                  <c:v>0</c:v>
                </c:pt>
                <c:pt idx="10802">
                  <c:v>0</c:v>
                </c:pt>
                <c:pt idx="10803">
                  <c:v>0</c:v>
                </c:pt>
                <c:pt idx="10804">
                  <c:v>0</c:v>
                </c:pt>
                <c:pt idx="10805">
                  <c:v>0</c:v>
                </c:pt>
                <c:pt idx="10806">
                  <c:v>0</c:v>
                </c:pt>
                <c:pt idx="10807">
                  <c:v>0</c:v>
                </c:pt>
                <c:pt idx="10808">
                  <c:v>0</c:v>
                </c:pt>
                <c:pt idx="10809">
                  <c:v>0</c:v>
                </c:pt>
                <c:pt idx="10810">
                  <c:v>0</c:v>
                </c:pt>
                <c:pt idx="10811">
                  <c:v>0</c:v>
                </c:pt>
                <c:pt idx="10812">
                  <c:v>0</c:v>
                </c:pt>
                <c:pt idx="10813">
                  <c:v>0</c:v>
                </c:pt>
                <c:pt idx="10814">
                  <c:v>0</c:v>
                </c:pt>
                <c:pt idx="10815">
                  <c:v>0</c:v>
                </c:pt>
                <c:pt idx="10816">
                  <c:v>0</c:v>
                </c:pt>
                <c:pt idx="10817">
                  <c:v>0</c:v>
                </c:pt>
                <c:pt idx="10818">
                  <c:v>0</c:v>
                </c:pt>
                <c:pt idx="10819">
                  <c:v>0</c:v>
                </c:pt>
                <c:pt idx="10820">
                  <c:v>0</c:v>
                </c:pt>
                <c:pt idx="10821">
                  <c:v>0</c:v>
                </c:pt>
                <c:pt idx="10822">
                  <c:v>0</c:v>
                </c:pt>
                <c:pt idx="10823">
                  <c:v>0</c:v>
                </c:pt>
                <c:pt idx="10824">
                  <c:v>0</c:v>
                </c:pt>
                <c:pt idx="10825">
                  <c:v>0</c:v>
                </c:pt>
                <c:pt idx="10826">
                  <c:v>0</c:v>
                </c:pt>
                <c:pt idx="10827">
                  <c:v>0</c:v>
                </c:pt>
                <c:pt idx="10828">
                  <c:v>0</c:v>
                </c:pt>
                <c:pt idx="10829">
                  <c:v>0</c:v>
                </c:pt>
                <c:pt idx="10830">
                  <c:v>0</c:v>
                </c:pt>
                <c:pt idx="10831">
                  <c:v>0</c:v>
                </c:pt>
                <c:pt idx="10832">
                  <c:v>0</c:v>
                </c:pt>
                <c:pt idx="10833">
                  <c:v>0</c:v>
                </c:pt>
                <c:pt idx="10834">
                  <c:v>0</c:v>
                </c:pt>
                <c:pt idx="10835">
                  <c:v>0</c:v>
                </c:pt>
                <c:pt idx="10836">
                  <c:v>0</c:v>
                </c:pt>
                <c:pt idx="10837">
                  <c:v>0</c:v>
                </c:pt>
                <c:pt idx="10838">
                  <c:v>0</c:v>
                </c:pt>
                <c:pt idx="10839">
                  <c:v>0</c:v>
                </c:pt>
                <c:pt idx="10840">
                  <c:v>0</c:v>
                </c:pt>
                <c:pt idx="10841">
                  <c:v>0</c:v>
                </c:pt>
                <c:pt idx="10842">
                  <c:v>0</c:v>
                </c:pt>
                <c:pt idx="10843">
                  <c:v>0</c:v>
                </c:pt>
                <c:pt idx="10844">
                  <c:v>0</c:v>
                </c:pt>
                <c:pt idx="10845">
                  <c:v>0</c:v>
                </c:pt>
                <c:pt idx="10846">
                  <c:v>0</c:v>
                </c:pt>
                <c:pt idx="10847">
                  <c:v>0</c:v>
                </c:pt>
                <c:pt idx="10848">
                  <c:v>0</c:v>
                </c:pt>
                <c:pt idx="10849">
                  <c:v>0</c:v>
                </c:pt>
                <c:pt idx="10850">
                  <c:v>0</c:v>
                </c:pt>
                <c:pt idx="10851">
                  <c:v>0</c:v>
                </c:pt>
                <c:pt idx="10852">
                  <c:v>0</c:v>
                </c:pt>
                <c:pt idx="10853">
                  <c:v>0</c:v>
                </c:pt>
                <c:pt idx="10854">
                  <c:v>0</c:v>
                </c:pt>
                <c:pt idx="10855">
                  <c:v>0</c:v>
                </c:pt>
                <c:pt idx="10856">
                  <c:v>0</c:v>
                </c:pt>
                <c:pt idx="10857">
                  <c:v>0</c:v>
                </c:pt>
                <c:pt idx="10858">
                  <c:v>0</c:v>
                </c:pt>
                <c:pt idx="10859">
                  <c:v>0</c:v>
                </c:pt>
                <c:pt idx="10860">
                  <c:v>0</c:v>
                </c:pt>
                <c:pt idx="10861">
                  <c:v>0</c:v>
                </c:pt>
                <c:pt idx="10862">
                  <c:v>0</c:v>
                </c:pt>
                <c:pt idx="10863">
                  <c:v>0</c:v>
                </c:pt>
                <c:pt idx="10864">
                  <c:v>0</c:v>
                </c:pt>
                <c:pt idx="10865">
                  <c:v>0</c:v>
                </c:pt>
                <c:pt idx="10866">
                  <c:v>0</c:v>
                </c:pt>
                <c:pt idx="10867">
                  <c:v>0</c:v>
                </c:pt>
                <c:pt idx="10868">
                  <c:v>0</c:v>
                </c:pt>
                <c:pt idx="10869">
                  <c:v>0</c:v>
                </c:pt>
                <c:pt idx="10870">
                  <c:v>0</c:v>
                </c:pt>
                <c:pt idx="10871">
                  <c:v>0</c:v>
                </c:pt>
                <c:pt idx="10872">
                  <c:v>0</c:v>
                </c:pt>
                <c:pt idx="10873">
                  <c:v>0</c:v>
                </c:pt>
                <c:pt idx="10874">
                  <c:v>0</c:v>
                </c:pt>
                <c:pt idx="10875">
                  <c:v>0</c:v>
                </c:pt>
                <c:pt idx="10876">
                  <c:v>0</c:v>
                </c:pt>
                <c:pt idx="10877">
                  <c:v>0</c:v>
                </c:pt>
                <c:pt idx="10878">
                  <c:v>0</c:v>
                </c:pt>
                <c:pt idx="10879">
                  <c:v>0</c:v>
                </c:pt>
                <c:pt idx="10880">
                  <c:v>0</c:v>
                </c:pt>
                <c:pt idx="10881">
                  <c:v>0</c:v>
                </c:pt>
                <c:pt idx="10882">
                  <c:v>0</c:v>
                </c:pt>
                <c:pt idx="10883">
                  <c:v>0</c:v>
                </c:pt>
                <c:pt idx="10884">
                  <c:v>0</c:v>
                </c:pt>
                <c:pt idx="10885">
                  <c:v>0</c:v>
                </c:pt>
                <c:pt idx="10886">
                  <c:v>0</c:v>
                </c:pt>
                <c:pt idx="10887">
                  <c:v>0</c:v>
                </c:pt>
                <c:pt idx="10888">
                  <c:v>0</c:v>
                </c:pt>
                <c:pt idx="10889">
                  <c:v>0</c:v>
                </c:pt>
                <c:pt idx="10890">
                  <c:v>0</c:v>
                </c:pt>
                <c:pt idx="10891">
                  <c:v>0</c:v>
                </c:pt>
                <c:pt idx="10892">
                  <c:v>0</c:v>
                </c:pt>
                <c:pt idx="10893">
                  <c:v>0</c:v>
                </c:pt>
                <c:pt idx="10894">
                  <c:v>0</c:v>
                </c:pt>
                <c:pt idx="10895">
                  <c:v>0</c:v>
                </c:pt>
                <c:pt idx="10896">
                  <c:v>0</c:v>
                </c:pt>
                <c:pt idx="10897">
                  <c:v>0</c:v>
                </c:pt>
                <c:pt idx="10898">
                  <c:v>0</c:v>
                </c:pt>
                <c:pt idx="10899">
                  <c:v>0</c:v>
                </c:pt>
                <c:pt idx="10900">
                  <c:v>0</c:v>
                </c:pt>
                <c:pt idx="10901">
                  <c:v>0</c:v>
                </c:pt>
                <c:pt idx="10902">
                  <c:v>0</c:v>
                </c:pt>
                <c:pt idx="10903">
                  <c:v>0</c:v>
                </c:pt>
                <c:pt idx="10904">
                  <c:v>0</c:v>
                </c:pt>
                <c:pt idx="10905">
                  <c:v>0</c:v>
                </c:pt>
                <c:pt idx="10906">
                  <c:v>0</c:v>
                </c:pt>
                <c:pt idx="10907">
                  <c:v>0</c:v>
                </c:pt>
                <c:pt idx="10908">
                  <c:v>0</c:v>
                </c:pt>
                <c:pt idx="10909">
                  <c:v>0</c:v>
                </c:pt>
                <c:pt idx="10910">
                  <c:v>0</c:v>
                </c:pt>
                <c:pt idx="10911">
                  <c:v>0</c:v>
                </c:pt>
                <c:pt idx="10912">
                  <c:v>0</c:v>
                </c:pt>
                <c:pt idx="10913">
                  <c:v>0</c:v>
                </c:pt>
                <c:pt idx="10914">
                  <c:v>0</c:v>
                </c:pt>
                <c:pt idx="10915">
                  <c:v>0</c:v>
                </c:pt>
                <c:pt idx="10916">
                  <c:v>0</c:v>
                </c:pt>
                <c:pt idx="10917">
                  <c:v>0</c:v>
                </c:pt>
                <c:pt idx="10918">
                  <c:v>0</c:v>
                </c:pt>
                <c:pt idx="10919">
                  <c:v>0</c:v>
                </c:pt>
                <c:pt idx="10920">
                  <c:v>0</c:v>
                </c:pt>
                <c:pt idx="10921">
                  <c:v>0</c:v>
                </c:pt>
                <c:pt idx="10922">
                  <c:v>0</c:v>
                </c:pt>
                <c:pt idx="10923">
                  <c:v>0</c:v>
                </c:pt>
                <c:pt idx="10924">
                  <c:v>0</c:v>
                </c:pt>
                <c:pt idx="10925">
                  <c:v>0</c:v>
                </c:pt>
                <c:pt idx="10926">
                  <c:v>0</c:v>
                </c:pt>
                <c:pt idx="10927">
                  <c:v>0</c:v>
                </c:pt>
                <c:pt idx="10928">
                  <c:v>0</c:v>
                </c:pt>
                <c:pt idx="10929">
                  <c:v>0</c:v>
                </c:pt>
                <c:pt idx="10930">
                  <c:v>0</c:v>
                </c:pt>
                <c:pt idx="10931">
                  <c:v>0</c:v>
                </c:pt>
                <c:pt idx="10932">
                  <c:v>0</c:v>
                </c:pt>
                <c:pt idx="10933">
                  <c:v>0</c:v>
                </c:pt>
                <c:pt idx="10934">
                  <c:v>0</c:v>
                </c:pt>
                <c:pt idx="10935">
                  <c:v>0</c:v>
                </c:pt>
                <c:pt idx="10936">
                  <c:v>0</c:v>
                </c:pt>
                <c:pt idx="10937">
                  <c:v>0</c:v>
                </c:pt>
                <c:pt idx="10938">
                  <c:v>0</c:v>
                </c:pt>
                <c:pt idx="10939">
                  <c:v>0</c:v>
                </c:pt>
                <c:pt idx="10940">
                  <c:v>0</c:v>
                </c:pt>
                <c:pt idx="10941">
                  <c:v>0</c:v>
                </c:pt>
                <c:pt idx="10942">
                  <c:v>0</c:v>
                </c:pt>
                <c:pt idx="10943">
                  <c:v>0</c:v>
                </c:pt>
                <c:pt idx="10944">
                  <c:v>0</c:v>
                </c:pt>
                <c:pt idx="10945">
                  <c:v>0</c:v>
                </c:pt>
                <c:pt idx="10946">
                  <c:v>0</c:v>
                </c:pt>
                <c:pt idx="10947">
                  <c:v>0</c:v>
                </c:pt>
                <c:pt idx="10948">
                  <c:v>0</c:v>
                </c:pt>
                <c:pt idx="10949">
                  <c:v>0</c:v>
                </c:pt>
                <c:pt idx="10950">
                  <c:v>0</c:v>
                </c:pt>
                <c:pt idx="10951">
                  <c:v>0</c:v>
                </c:pt>
                <c:pt idx="10952">
                  <c:v>0</c:v>
                </c:pt>
                <c:pt idx="10953">
                  <c:v>0</c:v>
                </c:pt>
                <c:pt idx="10954">
                  <c:v>0</c:v>
                </c:pt>
                <c:pt idx="10955">
                  <c:v>0</c:v>
                </c:pt>
                <c:pt idx="10956">
                  <c:v>0</c:v>
                </c:pt>
                <c:pt idx="10957">
                  <c:v>0</c:v>
                </c:pt>
                <c:pt idx="10958">
                  <c:v>0</c:v>
                </c:pt>
                <c:pt idx="10959">
                  <c:v>0</c:v>
                </c:pt>
                <c:pt idx="10960">
                  <c:v>0</c:v>
                </c:pt>
                <c:pt idx="10961">
                  <c:v>0</c:v>
                </c:pt>
                <c:pt idx="10962">
                  <c:v>0</c:v>
                </c:pt>
                <c:pt idx="10963">
                  <c:v>0</c:v>
                </c:pt>
                <c:pt idx="10964">
                  <c:v>0</c:v>
                </c:pt>
                <c:pt idx="10965">
                  <c:v>0</c:v>
                </c:pt>
                <c:pt idx="10966">
                  <c:v>0</c:v>
                </c:pt>
                <c:pt idx="10967">
                  <c:v>0</c:v>
                </c:pt>
                <c:pt idx="10968">
                  <c:v>0</c:v>
                </c:pt>
                <c:pt idx="10969">
                  <c:v>0</c:v>
                </c:pt>
                <c:pt idx="10970">
                  <c:v>0</c:v>
                </c:pt>
                <c:pt idx="10971">
                  <c:v>0</c:v>
                </c:pt>
                <c:pt idx="10972">
                  <c:v>0</c:v>
                </c:pt>
                <c:pt idx="10973">
                  <c:v>0</c:v>
                </c:pt>
                <c:pt idx="10974">
                  <c:v>0</c:v>
                </c:pt>
                <c:pt idx="10975">
                  <c:v>0</c:v>
                </c:pt>
                <c:pt idx="10976">
                  <c:v>0</c:v>
                </c:pt>
                <c:pt idx="10977">
                  <c:v>0</c:v>
                </c:pt>
                <c:pt idx="10978">
                  <c:v>0</c:v>
                </c:pt>
                <c:pt idx="10979">
                  <c:v>0</c:v>
                </c:pt>
                <c:pt idx="10980">
                  <c:v>0</c:v>
                </c:pt>
                <c:pt idx="10981">
                  <c:v>0</c:v>
                </c:pt>
                <c:pt idx="10982">
                  <c:v>0</c:v>
                </c:pt>
                <c:pt idx="10983">
                  <c:v>0</c:v>
                </c:pt>
                <c:pt idx="10984">
                  <c:v>0</c:v>
                </c:pt>
                <c:pt idx="10985">
                  <c:v>0</c:v>
                </c:pt>
                <c:pt idx="10986">
                  <c:v>0</c:v>
                </c:pt>
                <c:pt idx="10987">
                  <c:v>0</c:v>
                </c:pt>
                <c:pt idx="10988">
                  <c:v>0</c:v>
                </c:pt>
                <c:pt idx="10989">
                  <c:v>0</c:v>
                </c:pt>
                <c:pt idx="10990">
                  <c:v>0</c:v>
                </c:pt>
                <c:pt idx="10991">
                  <c:v>0</c:v>
                </c:pt>
                <c:pt idx="10992">
                  <c:v>0</c:v>
                </c:pt>
                <c:pt idx="10993">
                  <c:v>0</c:v>
                </c:pt>
                <c:pt idx="10994">
                  <c:v>0</c:v>
                </c:pt>
                <c:pt idx="10995">
                  <c:v>0</c:v>
                </c:pt>
                <c:pt idx="10996">
                  <c:v>0</c:v>
                </c:pt>
                <c:pt idx="10997">
                  <c:v>0</c:v>
                </c:pt>
                <c:pt idx="10998">
                  <c:v>0</c:v>
                </c:pt>
                <c:pt idx="10999">
                  <c:v>0</c:v>
                </c:pt>
                <c:pt idx="11000">
                  <c:v>0</c:v>
                </c:pt>
                <c:pt idx="11001">
                  <c:v>0</c:v>
                </c:pt>
                <c:pt idx="11002">
                  <c:v>0</c:v>
                </c:pt>
                <c:pt idx="11003">
                  <c:v>0</c:v>
                </c:pt>
                <c:pt idx="11004">
                  <c:v>0</c:v>
                </c:pt>
                <c:pt idx="11005">
                  <c:v>0</c:v>
                </c:pt>
                <c:pt idx="11006">
                  <c:v>0</c:v>
                </c:pt>
                <c:pt idx="11007">
                  <c:v>0</c:v>
                </c:pt>
                <c:pt idx="11008">
                  <c:v>0</c:v>
                </c:pt>
                <c:pt idx="11009">
                  <c:v>0</c:v>
                </c:pt>
                <c:pt idx="11010">
                  <c:v>0</c:v>
                </c:pt>
                <c:pt idx="11011">
                  <c:v>0</c:v>
                </c:pt>
                <c:pt idx="11012">
                  <c:v>0</c:v>
                </c:pt>
                <c:pt idx="11013">
                  <c:v>0</c:v>
                </c:pt>
                <c:pt idx="11014">
                  <c:v>0</c:v>
                </c:pt>
                <c:pt idx="11015">
                  <c:v>0</c:v>
                </c:pt>
                <c:pt idx="11016">
                  <c:v>0</c:v>
                </c:pt>
                <c:pt idx="11017">
                  <c:v>0</c:v>
                </c:pt>
                <c:pt idx="11018">
                  <c:v>0</c:v>
                </c:pt>
                <c:pt idx="11019">
                  <c:v>0</c:v>
                </c:pt>
                <c:pt idx="11020">
                  <c:v>0</c:v>
                </c:pt>
                <c:pt idx="11021">
                  <c:v>0</c:v>
                </c:pt>
                <c:pt idx="11022">
                  <c:v>0</c:v>
                </c:pt>
                <c:pt idx="11023">
                  <c:v>0</c:v>
                </c:pt>
                <c:pt idx="11024">
                  <c:v>0</c:v>
                </c:pt>
                <c:pt idx="11025">
                  <c:v>0</c:v>
                </c:pt>
                <c:pt idx="11026">
                  <c:v>0</c:v>
                </c:pt>
                <c:pt idx="11027">
                  <c:v>0</c:v>
                </c:pt>
                <c:pt idx="11028">
                  <c:v>0</c:v>
                </c:pt>
                <c:pt idx="11029">
                  <c:v>0</c:v>
                </c:pt>
                <c:pt idx="11030">
                  <c:v>0</c:v>
                </c:pt>
                <c:pt idx="11031">
                  <c:v>0</c:v>
                </c:pt>
                <c:pt idx="11032">
                  <c:v>0</c:v>
                </c:pt>
                <c:pt idx="11033">
                  <c:v>0</c:v>
                </c:pt>
                <c:pt idx="11034">
                  <c:v>0</c:v>
                </c:pt>
                <c:pt idx="11035">
                  <c:v>0</c:v>
                </c:pt>
                <c:pt idx="11036">
                  <c:v>0</c:v>
                </c:pt>
                <c:pt idx="11037">
                  <c:v>0</c:v>
                </c:pt>
                <c:pt idx="11038">
                  <c:v>0</c:v>
                </c:pt>
                <c:pt idx="11039">
                  <c:v>0</c:v>
                </c:pt>
                <c:pt idx="11040">
                  <c:v>0</c:v>
                </c:pt>
                <c:pt idx="11041">
                  <c:v>0</c:v>
                </c:pt>
                <c:pt idx="11042">
                  <c:v>0</c:v>
                </c:pt>
                <c:pt idx="11043">
                  <c:v>0</c:v>
                </c:pt>
                <c:pt idx="11044">
                  <c:v>0</c:v>
                </c:pt>
                <c:pt idx="11045">
                  <c:v>0</c:v>
                </c:pt>
                <c:pt idx="11046">
                  <c:v>0</c:v>
                </c:pt>
                <c:pt idx="11047">
                  <c:v>0</c:v>
                </c:pt>
                <c:pt idx="11048">
                  <c:v>0</c:v>
                </c:pt>
                <c:pt idx="11049">
                  <c:v>0</c:v>
                </c:pt>
                <c:pt idx="11050">
                  <c:v>0</c:v>
                </c:pt>
                <c:pt idx="11051">
                  <c:v>0</c:v>
                </c:pt>
                <c:pt idx="11052">
                  <c:v>0</c:v>
                </c:pt>
                <c:pt idx="11053">
                  <c:v>0</c:v>
                </c:pt>
                <c:pt idx="11054">
                  <c:v>0</c:v>
                </c:pt>
                <c:pt idx="11055">
                  <c:v>0</c:v>
                </c:pt>
                <c:pt idx="11056">
                  <c:v>0</c:v>
                </c:pt>
                <c:pt idx="11057">
                  <c:v>0</c:v>
                </c:pt>
                <c:pt idx="11058">
                  <c:v>0</c:v>
                </c:pt>
                <c:pt idx="11059">
                  <c:v>0</c:v>
                </c:pt>
                <c:pt idx="11060">
                  <c:v>0</c:v>
                </c:pt>
                <c:pt idx="11061">
                  <c:v>0</c:v>
                </c:pt>
                <c:pt idx="11062">
                  <c:v>0</c:v>
                </c:pt>
                <c:pt idx="11063">
                  <c:v>0</c:v>
                </c:pt>
                <c:pt idx="11064">
                  <c:v>0</c:v>
                </c:pt>
                <c:pt idx="11065">
                  <c:v>0</c:v>
                </c:pt>
                <c:pt idx="11066">
                  <c:v>0.58941302440936649</c:v>
                </c:pt>
                <c:pt idx="11067">
                  <c:v>0.58768697151468419</c:v>
                </c:pt>
                <c:pt idx="11068">
                  <c:v>0.56892972223406857</c:v>
                </c:pt>
                <c:pt idx="11069">
                  <c:v>0.56225537256029057</c:v>
                </c:pt>
                <c:pt idx="11070">
                  <c:v>0.55730723688590955</c:v>
                </c:pt>
                <c:pt idx="11071">
                  <c:v>0.55385495848435085</c:v>
                </c:pt>
                <c:pt idx="11072">
                  <c:v>0.57157656912366939</c:v>
                </c:pt>
                <c:pt idx="11073">
                  <c:v>0.56363638518673453</c:v>
                </c:pt>
                <c:pt idx="11074">
                  <c:v>0.55696202400547712</c:v>
                </c:pt>
                <c:pt idx="11075">
                  <c:v>0.56248556818215034</c:v>
                </c:pt>
                <c:pt idx="11076">
                  <c:v>0.53854998760529371</c:v>
                </c:pt>
                <c:pt idx="11077">
                  <c:v>0.5304947864097862</c:v>
                </c:pt>
                <c:pt idx="11078">
                  <c:v>0.52922895214662935</c:v>
                </c:pt>
                <c:pt idx="11079">
                  <c:v>0.50287690442170541</c:v>
                </c:pt>
                <c:pt idx="11080">
                  <c:v>0.48964319931776301</c:v>
                </c:pt>
                <c:pt idx="11081">
                  <c:v>0.48711154229892872</c:v>
                </c:pt>
                <c:pt idx="11082">
                  <c:v>0.46559261298981314</c:v>
                </c:pt>
                <c:pt idx="11083">
                  <c:v>0.47594927558229516</c:v>
                </c:pt>
                <c:pt idx="11084">
                  <c:v>0.50149589179526144</c:v>
                </c:pt>
                <c:pt idx="11085">
                  <c:v>0.50299192168027806</c:v>
                </c:pt>
                <c:pt idx="11086">
                  <c:v>0.54234747888728485</c:v>
                </c:pt>
                <c:pt idx="11087">
                  <c:v>0.57054076937765785</c:v>
                </c:pt>
                <c:pt idx="11088">
                  <c:v>0.57318761626725845</c:v>
                </c:pt>
                <c:pt idx="11089">
                  <c:v>0.57617949191761819</c:v>
                </c:pt>
                <c:pt idx="11090">
                  <c:v>0.57894135606579145</c:v>
                </c:pt>
                <c:pt idx="11091">
                  <c:v>0.61703107900964138</c:v>
                </c:pt>
                <c:pt idx="11092">
                  <c:v>0.61300339210579069</c:v>
                </c:pt>
                <c:pt idx="11093">
                  <c:v>0.60333715527417375</c:v>
                </c:pt>
                <c:pt idx="11094">
                  <c:v>0.59159948005524798</c:v>
                </c:pt>
                <c:pt idx="11095">
                  <c:v>0.60080549825533969</c:v>
                </c:pt>
                <c:pt idx="11096">
                  <c:v>0.61565006638319741</c:v>
                </c:pt>
                <c:pt idx="11097">
                  <c:v>0.60023008975304748</c:v>
                </c:pt>
                <c:pt idx="11098">
                  <c:v>0.60759486518769013</c:v>
                </c:pt>
                <c:pt idx="11099">
                  <c:v>0.58515531449585012</c:v>
                </c:pt>
                <c:pt idx="11100">
                  <c:v>0.57825075769273271</c:v>
                </c:pt>
                <c:pt idx="11101">
                  <c:v>0.57065594774094475</c:v>
                </c:pt>
                <c:pt idx="11102">
                  <c:v>0.54879163293920308</c:v>
                </c:pt>
                <c:pt idx="11103">
                  <c:v>0.51047171437349337</c:v>
                </c:pt>
                <c:pt idx="11104">
                  <c:v>0.48998841219819544</c:v>
                </c:pt>
                <c:pt idx="11105">
                  <c:v>0.48653613379663674</c:v>
                </c:pt>
                <c:pt idx="11106">
                  <c:v>0.48342924088770434</c:v>
                </c:pt>
                <c:pt idx="11107">
                  <c:v>0.51127731849764513</c:v>
                </c:pt>
                <c:pt idx="11108">
                  <c:v>0.48492508665304768</c:v>
                </c:pt>
                <c:pt idx="11109">
                  <c:v>0.46685843574549057</c:v>
                </c:pt>
                <c:pt idx="11110">
                  <c:v>0.45327960982095261</c:v>
                </c:pt>
                <c:pt idx="11111">
                  <c:v>0.47192176129063834</c:v>
                </c:pt>
                <c:pt idx="11112">
                  <c:v>0.47353279692674799</c:v>
                </c:pt>
                <c:pt idx="11113">
                  <c:v>0.47157645635036927</c:v>
                </c:pt>
                <c:pt idx="11114">
                  <c:v>0.49424629472390591</c:v>
                </c:pt>
                <c:pt idx="11115">
                  <c:v>0.49056382070048743</c:v>
                </c:pt>
                <c:pt idx="11116">
                  <c:v>0.51806668542999557</c:v>
                </c:pt>
                <c:pt idx="11117">
                  <c:v>0.51714606404727137</c:v>
                </c:pt>
                <c:pt idx="11118">
                  <c:v>0.52600688087441028</c:v>
                </c:pt>
                <c:pt idx="11119">
                  <c:v>0.51346376263604698</c:v>
                </c:pt>
                <c:pt idx="11120">
                  <c:v>0.52151896383155427</c:v>
                </c:pt>
                <c:pt idx="11121">
                  <c:v>0.53854998760529371</c:v>
                </c:pt>
                <c:pt idx="11122">
                  <c:v>0.51921750243457998</c:v>
                </c:pt>
                <c:pt idx="11123">
                  <c:v>0.51933251969315264</c:v>
                </c:pt>
                <c:pt idx="11124">
                  <c:v>0.49930943614938017</c:v>
                </c:pt>
                <c:pt idx="11125">
                  <c:v>0.50794004584717967</c:v>
                </c:pt>
                <c:pt idx="11126">
                  <c:v>0.51495961990886951</c:v>
                </c:pt>
                <c:pt idx="11127">
                  <c:v>0.50747982721565421</c:v>
                </c:pt>
                <c:pt idx="11128">
                  <c:v>0.51588024129159393</c:v>
                </c:pt>
                <c:pt idx="11129">
                  <c:v>0.48826235930351314</c:v>
                </c:pt>
                <c:pt idx="11130">
                  <c:v>0.47399301555827367</c:v>
                </c:pt>
                <c:pt idx="11131">
                  <c:v>0.46294584665256977</c:v>
                </c:pt>
                <c:pt idx="11132">
                  <c:v>0.44372837874042848</c:v>
                </c:pt>
                <c:pt idx="11133">
                  <c:v>0.4216340409290209</c:v>
                </c:pt>
                <c:pt idx="11134">
                  <c:v>0.45397002407433784</c:v>
                </c:pt>
                <c:pt idx="11135">
                  <c:v>0.48124278524182307</c:v>
                </c:pt>
                <c:pt idx="11136">
                  <c:v>0.50023005753210437</c:v>
                </c:pt>
                <c:pt idx="11137">
                  <c:v>0.48941300369590324</c:v>
                </c:pt>
                <c:pt idx="11138">
                  <c:v>0.5005752704125368</c:v>
                </c:pt>
                <c:pt idx="11139">
                  <c:v>0.4873417379207885</c:v>
                </c:pt>
                <c:pt idx="11140">
                  <c:v>0.47756031121840481</c:v>
                </c:pt>
                <c:pt idx="11141">
                  <c:v>0.48296883813650537</c:v>
                </c:pt>
                <c:pt idx="11142">
                  <c:v>0.45845794111719362</c:v>
                </c:pt>
                <c:pt idx="11143">
                  <c:v>0.44614493794833288</c:v>
                </c:pt>
                <c:pt idx="11144">
                  <c:v>0.44464900012315312</c:v>
                </c:pt>
                <c:pt idx="11145">
                  <c:v>0.44602993219723985</c:v>
                </c:pt>
                <c:pt idx="11146">
                  <c:v>0.43624850549485594</c:v>
                </c:pt>
                <c:pt idx="11147">
                  <c:v>0.42773299360798633</c:v>
                </c:pt>
                <c:pt idx="11148">
                  <c:v>0.41898728609925695</c:v>
                </c:pt>
                <c:pt idx="11149">
                  <c:v>0.43705401755917106</c:v>
                </c:pt>
                <c:pt idx="11150">
                  <c:v>0.44326806804906638</c:v>
                </c:pt>
                <c:pt idx="11151">
                  <c:v>0.45132336130441053</c:v>
                </c:pt>
                <c:pt idx="11152">
                  <c:v>0.42393550232599542</c:v>
                </c:pt>
                <c:pt idx="11153">
                  <c:v>0.40828531856650585</c:v>
                </c:pt>
                <c:pt idx="11154">
                  <c:v>0.40483313222478401</c:v>
                </c:pt>
                <c:pt idx="11155">
                  <c:v>0.42140384530716135</c:v>
                </c:pt>
                <c:pt idx="11156">
                  <c:v>0.43659370686780874</c:v>
                </c:pt>
                <c:pt idx="11157">
                  <c:v>0.44027619239870663</c:v>
                </c:pt>
                <c:pt idx="11158">
                  <c:v>0.45017254429982634</c:v>
                </c:pt>
                <c:pt idx="11159">
                  <c:v>0.44372837874042848</c:v>
                </c:pt>
                <c:pt idx="11160">
                  <c:v>0.42428071520642785</c:v>
                </c:pt>
                <c:pt idx="11161">
                  <c:v>0.41081697558533992</c:v>
                </c:pt>
                <c:pt idx="11162">
                  <c:v>0.41990789597450195</c:v>
                </c:pt>
                <c:pt idx="11163">
                  <c:v>0.44672034645062486</c:v>
                </c:pt>
                <c:pt idx="11164">
                  <c:v>0.4413118195325243</c:v>
                </c:pt>
                <c:pt idx="11165">
                  <c:v>0.41864207321882452</c:v>
                </c:pt>
                <c:pt idx="11166">
                  <c:v>0.4245109108282874</c:v>
                </c:pt>
                <c:pt idx="11167">
                  <c:v>0.43590329261442373</c:v>
                </c:pt>
                <c:pt idx="11168">
                  <c:v>0.42243956450081543</c:v>
                </c:pt>
                <c:pt idx="11169">
                  <c:v>0.41887226884068429</c:v>
                </c:pt>
                <c:pt idx="11170">
                  <c:v>0.39873417954581858</c:v>
                </c:pt>
                <c:pt idx="11171">
                  <c:v>0.38941306353479721</c:v>
                </c:pt>
                <c:pt idx="11172">
                  <c:v>0.39217491617549105</c:v>
                </c:pt>
                <c:pt idx="11173">
                  <c:v>0.39482159045289777</c:v>
                </c:pt>
                <c:pt idx="11174">
                  <c:v>0.40011501956006867</c:v>
                </c:pt>
                <c:pt idx="11175">
                  <c:v>0.40655926567182354</c:v>
                </c:pt>
                <c:pt idx="11176">
                  <c:v>0.40851552569584526</c:v>
                </c:pt>
                <c:pt idx="11177">
                  <c:v>0.39735324747173206</c:v>
                </c:pt>
                <c:pt idx="11178">
                  <c:v>0.38987337422615953</c:v>
                </c:pt>
                <c:pt idx="11179">
                  <c:v>0.40149595163415541</c:v>
                </c:pt>
                <c:pt idx="11180">
                  <c:v>0.40310698727026506</c:v>
                </c:pt>
                <c:pt idx="11181">
                  <c:v>0.40609895498046145</c:v>
                </c:pt>
                <c:pt idx="11182">
                  <c:v>0.40978134845152248</c:v>
                </c:pt>
                <c:pt idx="11183">
                  <c:v>0.40437282153342191</c:v>
                </c:pt>
                <c:pt idx="11184">
                  <c:v>0.39746834528266195</c:v>
                </c:pt>
                <c:pt idx="11185">
                  <c:v>0.37663974967457436</c:v>
                </c:pt>
                <c:pt idx="11186">
                  <c:v>0.37284235045242009</c:v>
                </c:pt>
                <c:pt idx="11187">
                  <c:v>0.38101264945885727</c:v>
                </c:pt>
                <c:pt idx="11188">
                  <c:v>0.35604134968834633</c:v>
                </c:pt>
                <c:pt idx="11189">
                  <c:v>0.34579970435443719</c:v>
                </c:pt>
                <c:pt idx="11190">
                  <c:v>0.35765247738429284</c:v>
                </c:pt>
                <c:pt idx="11191">
                  <c:v>0.35604134968834633</c:v>
                </c:pt>
                <c:pt idx="11192">
                  <c:v>0.36121977304442421</c:v>
                </c:pt>
                <c:pt idx="11193">
                  <c:v>0.35166854196390007</c:v>
                </c:pt>
                <c:pt idx="11194">
                  <c:v>0.33118523978860215</c:v>
                </c:pt>
                <c:pt idx="11195">
                  <c:v>0.32255463009080265</c:v>
                </c:pt>
                <c:pt idx="11196">
                  <c:v>0.3146144461538678</c:v>
                </c:pt>
                <c:pt idx="11197">
                  <c:v>0.33486763325966318</c:v>
                </c:pt>
                <c:pt idx="11198">
                  <c:v>0.33705407739806503</c:v>
                </c:pt>
                <c:pt idx="11199">
                  <c:v>0.34315303007703024</c:v>
                </c:pt>
                <c:pt idx="11200">
                  <c:v>0.32497118929870683</c:v>
                </c:pt>
                <c:pt idx="11201">
                  <c:v>0.31772151167499407</c:v>
                </c:pt>
                <c:pt idx="11202">
                  <c:v>0.31254309982639583</c:v>
                </c:pt>
                <c:pt idx="11203">
                  <c:v>0.31944765662951302</c:v>
                </c:pt>
                <c:pt idx="11204">
                  <c:v>0.33785960096985956</c:v>
                </c:pt>
                <c:pt idx="11205">
                  <c:v>0.33521284614009561</c:v>
                </c:pt>
                <c:pt idx="11206">
                  <c:v>0.33590326039348084</c:v>
                </c:pt>
                <c:pt idx="11207">
                  <c:v>0.33268118912126132</c:v>
                </c:pt>
                <c:pt idx="11208">
                  <c:v>0.32934400853063273</c:v>
                </c:pt>
                <c:pt idx="11209">
                  <c:v>0.33509774832916572</c:v>
                </c:pt>
                <c:pt idx="11210">
                  <c:v>0.31944765662951302</c:v>
                </c:pt>
                <c:pt idx="11211">
                  <c:v>0.30851549347490237</c:v>
                </c:pt>
                <c:pt idx="11212">
                  <c:v>0.30264665586543948</c:v>
                </c:pt>
                <c:pt idx="11213">
                  <c:v>0.29781353744963091</c:v>
                </c:pt>
                <c:pt idx="11214">
                  <c:v>0.29585728893308882</c:v>
                </c:pt>
                <c:pt idx="11215">
                  <c:v>0.27169159328672965</c:v>
                </c:pt>
                <c:pt idx="11216">
                  <c:v>0.27456846318599615</c:v>
                </c:pt>
                <c:pt idx="11217">
                  <c:v>0.28009200736266959</c:v>
                </c:pt>
                <c:pt idx="11218">
                  <c:v>0.26892974064603603</c:v>
                </c:pt>
                <c:pt idx="11219">
                  <c:v>0.28952814063226362</c:v>
                </c:pt>
                <c:pt idx="11220">
                  <c:v>0.28193325012811843</c:v>
                </c:pt>
                <c:pt idx="11221">
                  <c:v>0.2729574275498865</c:v>
                </c:pt>
                <c:pt idx="11222">
                  <c:v>0.25443037389113066</c:v>
                </c:pt>
                <c:pt idx="11223">
                  <c:v>0.23958571370343584</c:v>
                </c:pt>
                <c:pt idx="11224">
                  <c:v>0.23843498875868829</c:v>
                </c:pt>
                <c:pt idx="11225">
                  <c:v>0.23901030520114386</c:v>
                </c:pt>
                <c:pt idx="11226">
                  <c:v>0.23532791173008261</c:v>
                </c:pt>
                <c:pt idx="11227">
                  <c:v>0.23118521907513889</c:v>
                </c:pt>
                <c:pt idx="11228">
                  <c:v>0.22957417193154961</c:v>
                </c:pt>
                <c:pt idx="11229">
                  <c:v>0.22324511569056127</c:v>
                </c:pt>
                <c:pt idx="11230">
                  <c:v>0.2057537006731025</c:v>
                </c:pt>
                <c:pt idx="11231">
                  <c:v>0.20506327491223764</c:v>
                </c:pt>
                <c:pt idx="11232">
                  <c:v>0.22128877511418232</c:v>
                </c:pt>
                <c:pt idx="11233">
                  <c:v>0.23337166321354053</c:v>
                </c:pt>
                <c:pt idx="11234">
                  <c:v>0.22266970718826906</c:v>
                </c:pt>
                <c:pt idx="11235">
                  <c:v>0.22416564501344882</c:v>
                </c:pt>
                <c:pt idx="11236">
                  <c:v>0.21495971887319398</c:v>
                </c:pt>
                <c:pt idx="11237">
                  <c:v>0.21357878679910725</c:v>
                </c:pt>
                <c:pt idx="11238">
                  <c:v>0.22313001787963138</c:v>
                </c:pt>
                <c:pt idx="11239">
                  <c:v>0.21818180165289291</c:v>
                </c:pt>
                <c:pt idx="11240">
                  <c:v>0.21565013312657921</c:v>
                </c:pt>
                <c:pt idx="11241">
                  <c:v>0.2101266004573854</c:v>
                </c:pt>
                <c:pt idx="11242">
                  <c:v>0.20138089294865602</c:v>
                </c:pt>
                <c:pt idx="11243">
                  <c:v>0.19367089312610131</c:v>
                </c:pt>
                <c:pt idx="11244">
                  <c:v>0.19021861472454282</c:v>
                </c:pt>
                <c:pt idx="11245">
                  <c:v>0.14844649830963186</c:v>
                </c:pt>
                <c:pt idx="11246">
                  <c:v>0.15707710800743135</c:v>
                </c:pt>
                <c:pt idx="11247">
                  <c:v>0.16283084780596435</c:v>
                </c:pt>
                <c:pt idx="11248">
                  <c:v>0.16846948979356768</c:v>
                </c:pt>
                <c:pt idx="11249">
                  <c:v>0.18101259652445112</c:v>
                </c:pt>
                <c:pt idx="11250">
                  <c:v>0.18342915573235552</c:v>
                </c:pt>
                <c:pt idx="11251">
                  <c:v>0.19436131888696617</c:v>
                </c:pt>
                <c:pt idx="11252">
                  <c:v>0.19769849947759477</c:v>
                </c:pt>
                <c:pt idx="11253">
                  <c:v>0.18653623276096121</c:v>
                </c:pt>
                <c:pt idx="11254">
                  <c:v>0.16455690070064666</c:v>
                </c:pt>
                <c:pt idx="11255">
                  <c:v>0.152934403845008</c:v>
                </c:pt>
                <c:pt idx="11256">
                  <c:v>0.17548906385525753</c:v>
                </c:pt>
                <c:pt idx="11257">
                  <c:v>0.18158800502674333</c:v>
                </c:pt>
                <c:pt idx="11258">
                  <c:v>0.17583426522821033</c:v>
                </c:pt>
                <c:pt idx="11259">
                  <c:v>0.1747985460345558</c:v>
                </c:pt>
                <c:pt idx="11260">
                  <c:v>0.15857304583261111</c:v>
                </c:pt>
                <c:pt idx="11261">
                  <c:v>0.13026465753130823</c:v>
                </c:pt>
                <c:pt idx="11262">
                  <c:v>0.13555808663847912</c:v>
                </c:pt>
                <c:pt idx="11263">
                  <c:v>0.14142692424794201</c:v>
                </c:pt>
                <c:pt idx="11264">
                  <c:v>0.14246256288923909</c:v>
                </c:pt>
                <c:pt idx="11265">
                  <c:v>0.1773302145608695</c:v>
                </c:pt>
                <c:pt idx="11266">
                  <c:v>0.18665133057189109</c:v>
                </c:pt>
                <c:pt idx="11267">
                  <c:v>0.20034517375500172</c:v>
                </c:pt>
                <c:pt idx="11268">
                  <c:v>0.1979286030396179</c:v>
                </c:pt>
                <c:pt idx="11269">
                  <c:v>0.17675488661093475</c:v>
                </c:pt>
                <c:pt idx="11270">
                  <c:v>0.21323357391867503</c:v>
                </c:pt>
                <c:pt idx="11271">
                  <c:v>0.2154200295645563</c:v>
                </c:pt>
                <c:pt idx="11272">
                  <c:v>0.2298043790608888</c:v>
                </c:pt>
                <c:pt idx="11273">
                  <c:v>0.24027613946430071</c:v>
                </c:pt>
                <c:pt idx="11274">
                  <c:v>0.22566167489846545</c:v>
                </c:pt>
                <c:pt idx="11275">
                  <c:v>0.23014959194132123</c:v>
                </c:pt>
                <c:pt idx="11276">
                  <c:v>0.25028768123618694</c:v>
                </c:pt>
                <c:pt idx="11277">
                  <c:v>0.27882617309951274</c:v>
                </c:pt>
                <c:pt idx="11278">
                  <c:v>0.29781353744963091</c:v>
                </c:pt>
                <c:pt idx="11279">
                  <c:v>0.29459145466993197</c:v>
                </c:pt>
                <c:pt idx="11280">
                  <c:v>0.30794017703244703</c:v>
                </c:pt>
                <c:pt idx="11281">
                  <c:v>0.2928653097154128</c:v>
                </c:pt>
                <c:pt idx="11282">
                  <c:v>0.29321052259584524</c:v>
                </c:pt>
                <c:pt idx="11283">
                  <c:v>0.31162255899602842</c:v>
                </c:pt>
                <c:pt idx="11284">
                  <c:v>0.30414268575045589</c:v>
                </c:pt>
                <c:pt idx="11285">
                  <c:v>0.3238204643539595</c:v>
                </c:pt>
                <c:pt idx="11286">
                  <c:v>0.32658223644229611</c:v>
                </c:pt>
                <c:pt idx="11287">
                  <c:v>0.34027616017776374</c:v>
                </c:pt>
                <c:pt idx="11288">
                  <c:v>0.31875713880881151</c:v>
                </c:pt>
                <c:pt idx="11289">
                  <c:v>0.3280782202973942</c:v>
                </c:pt>
                <c:pt idx="11290">
                  <c:v>0.32807826632731252</c:v>
                </c:pt>
                <c:pt idx="11291">
                  <c:v>0.34315303007703024</c:v>
                </c:pt>
                <c:pt idx="11292">
                  <c:v>0.36294590649146374</c:v>
                </c:pt>
                <c:pt idx="11293">
                  <c:v>0.35673186750904784</c:v>
                </c:pt>
                <c:pt idx="11294">
                  <c:v>0.34775604493081591</c:v>
                </c:pt>
                <c:pt idx="11295">
                  <c:v>0.35730718395150318</c:v>
                </c:pt>
                <c:pt idx="11296">
                  <c:v>0.33808971603936211</c:v>
                </c:pt>
                <c:pt idx="11297">
                  <c:v>0.33164555047996425</c:v>
                </c:pt>
                <c:pt idx="11298">
                  <c:v>0.31944765662951302</c:v>
                </c:pt>
                <c:pt idx="11299">
                  <c:v>0.3161104760388842</c:v>
                </c:pt>
                <c:pt idx="11300">
                  <c:v>0.32474108573668392</c:v>
                </c:pt>
                <c:pt idx="11301">
                  <c:v>0.31369391683098002</c:v>
                </c:pt>
                <c:pt idx="11302">
                  <c:v>0.32566161505957147</c:v>
                </c:pt>
                <c:pt idx="11303">
                  <c:v>0.31265819763732572</c:v>
                </c:pt>
                <c:pt idx="11304">
                  <c:v>0.32163400870807801</c:v>
                </c:pt>
                <c:pt idx="11305">
                  <c:v>0.30736476853015482</c:v>
                </c:pt>
                <c:pt idx="11306">
                  <c:v>0.30840039566397248</c:v>
                </c:pt>
                <c:pt idx="11307">
                  <c:v>0.30540850850613332</c:v>
                </c:pt>
                <c:pt idx="11308">
                  <c:v>0.28319907288379587</c:v>
                </c:pt>
                <c:pt idx="11309">
                  <c:v>0.2899884398161463</c:v>
                </c:pt>
                <c:pt idx="11310">
                  <c:v>0.27813575884612751</c:v>
                </c:pt>
                <c:pt idx="11311">
                  <c:v>0.27387795687277428</c:v>
                </c:pt>
                <c:pt idx="11312">
                  <c:v>0.27790564377662497</c:v>
                </c:pt>
                <c:pt idx="11313">
                  <c:v>0.27894127091044263</c:v>
                </c:pt>
                <c:pt idx="11314">
                  <c:v>0.27019556340171325</c:v>
                </c:pt>
                <c:pt idx="11315">
                  <c:v>0.26490213429454235</c:v>
                </c:pt>
                <c:pt idx="11316">
                  <c:v>0.26455692141410991</c:v>
                </c:pt>
                <c:pt idx="11317">
                  <c:v>0.25489068458249298</c:v>
                </c:pt>
                <c:pt idx="11318">
                  <c:v>0.25373986757790856</c:v>
                </c:pt>
                <c:pt idx="11319">
                  <c:v>0.22911387274766692</c:v>
                </c:pt>
                <c:pt idx="11320">
                  <c:v>0.22577669215703811</c:v>
                </c:pt>
                <c:pt idx="11321">
                  <c:v>0.21081701471077063</c:v>
                </c:pt>
                <c:pt idx="11322">
                  <c:v>0.21703106520066595</c:v>
                </c:pt>
                <c:pt idx="11323">
                  <c:v>0.24211734770731064</c:v>
                </c:pt>
                <c:pt idx="11324">
                  <c:v>0.24211737072226991</c:v>
                </c:pt>
                <c:pt idx="11325">
                  <c:v>0.24096655371768572</c:v>
                </c:pt>
                <c:pt idx="11326">
                  <c:v>0.24234748579177245</c:v>
                </c:pt>
                <c:pt idx="11327">
                  <c:v>0.24027613946430071</c:v>
                </c:pt>
                <c:pt idx="11328">
                  <c:v>0.23889529945005061</c:v>
                </c:pt>
                <c:pt idx="11329">
                  <c:v>0.23808968381841922</c:v>
                </c:pt>
                <c:pt idx="11330">
                  <c:v>0.24579976419333116</c:v>
                </c:pt>
                <c:pt idx="11331">
                  <c:v>0.24510925788010907</c:v>
                </c:pt>
                <c:pt idx="11332">
                  <c:v>0.24626007488469326</c:v>
                </c:pt>
                <c:pt idx="11333">
                  <c:v>0.25811276736219169</c:v>
                </c:pt>
                <c:pt idx="11334">
                  <c:v>0.25339465469747635</c:v>
                </c:pt>
                <c:pt idx="11335">
                  <c:v>0.23901030520114386</c:v>
                </c:pt>
                <c:pt idx="11336">
                  <c:v>0.23728417175410432</c:v>
                </c:pt>
                <c:pt idx="11337">
                  <c:v>0.23693895887367189</c:v>
                </c:pt>
                <c:pt idx="11338">
                  <c:v>0.23901030520114386</c:v>
                </c:pt>
                <c:pt idx="11339">
                  <c:v>0.23728417175410432</c:v>
                </c:pt>
                <c:pt idx="11340">
                  <c:v>0.24280779648313477</c:v>
                </c:pt>
                <c:pt idx="11341">
                  <c:v>0.23417718678533506</c:v>
                </c:pt>
                <c:pt idx="11342">
                  <c:v>0.22888375767816438</c:v>
                </c:pt>
                <c:pt idx="11343">
                  <c:v>0.21783658877246048</c:v>
                </c:pt>
                <c:pt idx="11344">
                  <c:v>0.22163408005445162</c:v>
                </c:pt>
                <c:pt idx="11345">
                  <c:v>0.22911387274766692</c:v>
                </c:pt>
                <c:pt idx="11346">
                  <c:v>0.2286535620563046</c:v>
                </c:pt>
                <c:pt idx="11347">
                  <c:v>0.22416564501344882</c:v>
                </c:pt>
                <c:pt idx="11348">
                  <c:v>0.22899885548909427</c:v>
                </c:pt>
                <c:pt idx="11349">
                  <c:v>0.20448786640994565</c:v>
                </c:pt>
                <c:pt idx="11350">
                  <c:v>0.19551204383171372</c:v>
                </c:pt>
                <c:pt idx="11351">
                  <c:v>0.19321058243473921</c:v>
                </c:pt>
                <c:pt idx="11352">
                  <c:v>0.1994246329246343</c:v>
                </c:pt>
                <c:pt idx="11353">
                  <c:v>0.19436131888696617</c:v>
                </c:pt>
                <c:pt idx="11354">
                  <c:v>0.19827381592005033</c:v>
                </c:pt>
                <c:pt idx="11355">
                  <c:v>0.1897583040331805</c:v>
                </c:pt>
                <c:pt idx="11356">
                  <c:v>0.18457997273693971</c:v>
                </c:pt>
                <c:pt idx="11357">
                  <c:v>0.19113923610726724</c:v>
                </c:pt>
                <c:pt idx="11358">
                  <c:v>0.16812427691313525</c:v>
                </c:pt>
                <c:pt idx="11359">
                  <c:v>0.15420023810816486</c:v>
                </c:pt>
                <c:pt idx="11360">
                  <c:v>0.14925202188142639</c:v>
                </c:pt>
                <c:pt idx="11361">
                  <c:v>0.16455690070064666</c:v>
                </c:pt>
                <c:pt idx="11362">
                  <c:v>0.17169157257326639</c:v>
                </c:pt>
                <c:pt idx="11363">
                  <c:v>0.17963175651020125</c:v>
                </c:pt>
                <c:pt idx="11364">
                  <c:v>0.18032218227106589</c:v>
                </c:pt>
                <c:pt idx="11365">
                  <c:v>0.17169157257326639</c:v>
                </c:pt>
                <c:pt idx="11366">
                  <c:v>0.18147290721581344</c:v>
                </c:pt>
                <c:pt idx="11367">
                  <c:v>0.15891825871304355</c:v>
                </c:pt>
                <c:pt idx="11368">
                  <c:v>0.1573072230769339</c:v>
                </c:pt>
                <c:pt idx="11369">
                  <c:v>0.15074795970660615</c:v>
                </c:pt>
                <c:pt idx="11370">
                  <c:v>0.1558112737442745</c:v>
                </c:pt>
                <c:pt idx="11371">
                  <c:v>0.15397004248630508</c:v>
                </c:pt>
                <c:pt idx="11372">
                  <c:v>0.15891825871304355</c:v>
                </c:pt>
                <c:pt idx="11373">
                  <c:v>0.16915990404695269</c:v>
                </c:pt>
                <c:pt idx="11374">
                  <c:v>0.1922899725594942</c:v>
                </c:pt>
                <c:pt idx="11375">
                  <c:v>0.1897583040331805</c:v>
                </c:pt>
                <c:pt idx="11376">
                  <c:v>0.18745684263620621</c:v>
                </c:pt>
                <c:pt idx="11377">
                  <c:v>0.18941310266022771</c:v>
                </c:pt>
                <c:pt idx="11378">
                  <c:v>0.20241652008247368</c:v>
                </c:pt>
                <c:pt idx="11379">
                  <c:v>0.20886076619422855</c:v>
                </c:pt>
                <c:pt idx="11380">
                  <c:v>0.21173763609349527</c:v>
                </c:pt>
                <c:pt idx="11381">
                  <c:v>0.22704251491271554</c:v>
                </c:pt>
                <c:pt idx="11382">
                  <c:v>0.26444182360318025</c:v>
                </c:pt>
                <c:pt idx="11383">
                  <c:v>0.28043722024310203</c:v>
                </c:pt>
                <c:pt idx="11384">
                  <c:v>0.26777900419380885</c:v>
                </c:pt>
                <c:pt idx="11385">
                  <c:v>0.26110464301255143</c:v>
                </c:pt>
                <c:pt idx="11386">
                  <c:v>0.26110464301255143</c:v>
                </c:pt>
                <c:pt idx="11387">
                  <c:v>0.24925196204253242</c:v>
                </c:pt>
                <c:pt idx="11388">
                  <c:v>0.2579976695512618</c:v>
                </c:pt>
                <c:pt idx="11389">
                  <c:v>0.26823931488517117</c:v>
                </c:pt>
                <c:pt idx="11390">
                  <c:v>0.26536244498590444</c:v>
                </c:pt>
                <c:pt idx="11391">
                  <c:v>0.26214036220620573</c:v>
                </c:pt>
                <c:pt idx="11392">
                  <c:v>0.26133485014189062</c:v>
                </c:pt>
                <c:pt idx="11393">
                  <c:v>0.27123128259536733</c:v>
                </c:pt>
                <c:pt idx="11394">
                  <c:v>0.27169159328672965</c:v>
                </c:pt>
                <c:pt idx="11395">
                  <c:v>0.24602987926283371</c:v>
                </c:pt>
                <c:pt idx="11396">
                  <c:v>0.24280779648313477</c:v>
                </c:pt>
                <c:pt idx="11397">
                  <c:v>0.25247403331475171</c:v>
                </c:pt>
                <c:pt idx="11398">
                  <c:v>0.25155350399186416</c:v>
                </c:pt>
                <c:pt idx="11399">
                  <c:v>0.2410816515286156</c:v>
                </c:pt>
                <c:pt idx="11400">
                  <c:v>0.24073645015566281</c:v>
                </c:pt>
                <c:pt idx="11401">
                  <c:v>0.23716915449553144</c:v>
                </c:pt>
                <c:pt idx="11402">
                  <c:v>0.24476404499967686</c:v>
                </c:pt>
                <c:pt idx="11403">
                  <c:v>0.23889529945005061</c:v>
                </c:pt>
                <c:pt idx="11404">
                  <c:v>0.22957417193154961</c:v>
                </c:pt>
                <c:pt idx="11405">
                  <c:v>0.22439585214278823</c:v>
                </c:pt>
                <c:pt idx="11406">
                  <c:v>0.23636363092373691</c:v>
                </c:pt>
                <c:pt idx="11407">
                  <c:v>0.2579976695512618</c:v>
                </c:pt>
                <c:pt idx="11408">
                  <c:v>0.25454539114970332</c:v>
                </c:pt>
                <c:pt idx="11409">
                  <c:v>0.25454539114970332</c:v>
                </c:pt>
                <c:pt idx="11410">
                  <c:v>0.25454539114970332</c:v>
                </c:pt>
                <c:pt idx="11411">
                  <c:v>0.25592631171631042</c:v>
                </c:pt>
                <c:pt idx="11412">
                  <c:v>0.2497122612264151</c:v>
                </c:pt>
                <c:pt idx="11413">
                  <c:v>0.25005747410684753</c:v>
                </c:pt>
                <c:pt idx="11414">
                  <c:v>0.25420017826927088</c:v>
                </c:pt>
                <c:pt idx="11415">
                  <c:v>0.25327964894638333</c:v>
                </c:pt>
                <c:pt idx="11416">
                  <c:v>0.25235902756365869</c:v>
                </c:pt>
                <c:pt idx="11417">
                  <c:v>0.24626007488469326</c:v>
                </c:pt>
                <c:pt idx="11418">
                  <c:v>0.24384342361695222</c:v>
                </c:pt>
                <c:pt idx="11419">
                  <c:v>0.24568466638240127</c:v>
                </c:pt>
                <c:pt idx="11420">
                  <c:v>0.23728417175410432</c:v>
                </c:pt>
                <c:pt idx="11421">
                  <c:v>0.23613343530187736</c:v>
                </c:pt>
                <c:pt idx="11422">
                  <c:v>0.22439585214278823</c:v>
                </c:pt>
                <c:pt idx="11423">
                  <c:v>0.21392399967953968</c:v>
                </c:pt>
                <c:pt idx="11424">
                  <c:v>0.21956272221950002</c:v>
                </c:pt>
                <c:pt idx="11425">
                  <c:v>0.21576524244498874</c:v>
                </c:pt>
                <c:pt idx="11426">
                  <c:v>0.20023015649642906</c:v>
                </c:pt>
                <c:pt idx="11427">
                  <c:v>0.19723818878623267</c:v>
                </c:pt>
                <c:pt idx="11428">
                  <c:v>0.1979286030396179</c:v>
                </c:pt>
                <c:pt idx="11429">
                  <c:v>0.19873412661141265</c:v>
                </c:pt>
                <c:pt idx="11430">
                  <c:v>0.19459143395646872</c:v>
                </c:pt>
                <c:pt idx="11431">
                  <c:v>0.18699654345232353</c:v>
                </c:pt>
                <c:pt idx="11432">
                  <c:v>0.18642112344255191</c:v>
                </c:pt>
                <c:pt idx="11433">
                  <c:v>0.18642112344255191</c:v>
                </c:pt>
                <c:pt idx="11434">
                  <c:v>0.18619101988052877</c:v>
                </c:pt>
                <c:pt idx="11435">
                  <c:v>0.17341770602030593</c:v>
                </c:pt>
                <c:pt idx="11436">
                  <c:v>0.1690448062360228</c:v>
                </c:pt>
                <c:pt idx="11437">
                  <c:v>0.17169157257326639</c:v>
                </c:pt>
                <c:pt idx="11438">
                  <c:v>0.16927501336536221</c:v>
                </c:pt>
                <c:pt idx="11439">
                  <c:v>0.17019562324060722</c:v>
                </c:pt>
                <c:pt idx="11440">
                  <c:v>0.17180667038419628</c:v>
                </c:pt>
                <c:pt idx="11441">
                  <c:v>0.18227843078760797</c:v>
                </c:pt>
                <c:pt idx="11442">
                  <c:v>0.17744531237179939</c:v>
                </c:pt>
                <c:pt idx="11443">
                  <c:v>0.18170310283767321</c:v>
                </c:pt>
                <c:pt idx="11444">
                  <c:v>0.19263517393244722</c:v>
                </c:pt>
                <c:pt idx="11445">
                  <c:v>0.19907933949184486</c:v>
                </c:pt>
                <c:pt idx="11446">
                  <c:v>0.20218640501297114</c:v>
                </c:pt>
                <c:pt idx="11447">
                  <c:v>0.19240507037042409</c:v>
                </c:pt>
                <c:pt idx="11448">
                  <c:v>0.17871113512747683</c:v>
                </c:pt>
                <c:pt idx="11449">
                  <c:v>0.1747985460345558</c:v>
                </c:pt>
                <c:pt idx="11450">
                  <c:v>0.17364782108980847</c:v>
                </c:pt>
                <c:pt idx="11451">
                  <c:v>0.18423477136398692</c:v>
                </c:pt>
                <c:pt idx="11452">
                  <c:v>0.18296893710083006</c:v>
                </c:pt>
                <c:pt idx="11453">
                  <c:v>0.17686990386950741</c:v>
                </c:pt>
                <c:pt idx="11454">
                  <c:v>0.1698504218676542</c:v>
                </c:pt>
                <c:pt idx="11455">
                  <c:v>0.1747985460345558</c:v>
                </c:pt>
                <c:pt idx="11456">
                  <c:v>0.18112769433538101</c:v>
                </c:pt>
                <c:pt idx="11457">
                  <c:v>0.1747985460345558</c:v>
                </c:pt>
                <c:pt idx="11458">
                  <c:v>0.16950511692738512</c:v>
                </c:pt>
                <c:pt idx="11459">
                  <c:v>0.16892980048492978</c:v>
                </c:pt>
                <c:pt idx="11460">
                  <c:v>0.16869960486307001</c:v>
                </c:pt>
                <c:pt idx="11461">
                  <c:v>0.1747985460345558</c:v>
                </c:pt>
                <c:pt idx="11462">
                  <c:v>0.17606438029771265</c:v>
                </c:pt>
                <c:pt idx="11463">
                  <c:v>0.1773302145608695</c:v>
                </c:pt>
                <c:pt idx="11464">
                  <c:v>0.18354425354328519</c:v>
                </c:pt>
                <c:pt idx="11465">
                  <c:v>0.1727272917669207</c:v>
                </c:pt>
                <c:pt idx="11466">
                  <c:v>0.16789408129127548</c:v>
                </c:pt>
                <c:pt idx="11467">
                  <c:v>0.17134635969283418</c:v>
                </c:pt>
                <c:pt idx="11468">
                  <c:v>0.16570771770523085</c:v>
                </c:pt>
                <c:pt idx="11469">
                  <c:v>0.15788263157922588</c:v>
                </c:pt>
                <c:pt idx="11470">
                  <c:v>0.14292287358060118</c:v>
                </c:pt>
                <c:pt idx="11471">
                  <c:v>0.14119672862608224</c:v>
                </c:pt>
                <c:pt idx="11472">
                  <c:v>0.14016110149226457</c:v>
                </c:pt>
                <c:pt idx="11473">
                  <c:v>0.14050631437269701</c:v>
                </c:pt>
                <c:pt idx="11474">
                  <c:v>0.15132336820889836</c:v>
                </c:pt>
                <c:pt idx="11475">
                  <c:v>0.15327961672544022</c:v>
                </c:pt>
                <c:pt idx="11476">
                  <c:v>0.14994243613481162</c:v>
                </c:pt>
                <c:pt idx="11477">
                  <c:v>0.1494821254434493</c:v>
                </c:pt>
                <c:pt idx="11478">
                  <c:v>0.15661679731606903</c:v>
                </c:pt>
                <c:pt idx="11479">
                  <c:v>0.1523589953427158</c:v>
                </c:pt>
                <c:pt idx="11480">
                  <c:v>0.14994243613481162</c:v>
                </c:pt>
                <c:pt idx="11481">
                  <c:v>0.15005753394574151</c:v>
                </c:pt>
                <c:pt idx="11482">
                  <c:v>0.13256611892828274</c:v>
                </c:pt>
                <c:pt idx="11483">
                  <c:v>0.12934403614858381</c:v>
                </c:pt>
                <c:pt idx="11484">
                  <c:v>0.1284234262733388</c:v>
                </c:pt>
                <c:pt idx="11485">
                  <c:v>0.1337168553805097</c:v>
                </c:pt>
                <c:pt idx="11486">
                  <c:v>0.1337168553805097</c:v>
                </c:pt>
                <c:pt idx="11487">
                  <c:v>0.14453390921671083</c:v>
                </c:pt>
                <c:pt idx="11488">
                  <c:v>0.14119672862608224</c:v>
                </c:pt>
                <c:pt idx="11489">
                  <c:v>0.1394705951790427</c:v>
                </c:pt>
                <c:pt idx="11490">
                  <c:v>0.158688143643541</c:v>
                </c:pt>
                <c:pt idx="11491">
                  <c:v>0.17157647476233651</c:v>
                </c:pt>
                <c:pt idx="11492">
                  <c:v>0.17054083612103943</c:v>
                </c:pt>
                <c:pt idx="11493">
                  <c:v>0.17008052542967733</c:v>
                </c:pt>
                <c:pt idx="11494">
                  <c:v>0.17100114681240175</c:v>
                </c:pt>
                <c:pt idx="11495">
                  <c:v>0.17146145750376407</c:v>
                </c:pt>
                <c:pt idx="11496">
                  <c:v>0.17387801671166825</c:v>
                </c:pt>
                <c:pt idx="11497">
                  <c:v>0.17951665869927136</c:v>
                </c:pt>
                <c:pt idx="11498">
                  <c:v>0.17606438029771265</c:v>
                </c:pt>
                <c:pt idx="11499">
                  <c:v>0.16881470267399989</c:v>
                </c:pt>
                <c:pt idx="11500">
                  <c:v>0.16490219413343632</c:v>
                </c:pt>
                <c:pt idx="11501">
                  <c:v>0.1654775220833713</c:v>
                </c:pt>
                <c:pt idx="11502">
                  <c:v>0.17031064049917966</c:v>
                </c:pt>
                <c:pt idx="11503">
                  <c:v>0.16501721139200898</c:v>
                </c:pt>
                <c:pt idx="11504">
                  <c:v>0.16363637137775888</c:v>
                </c:pt>
                <c:pt idx="11505">
                  <c:v>0.17376291890073836</c:v>
                </c:pt>
                <c:pt idx="11506">
                  <c:v>0.1773302145608695</c:v>
                </c:pt>
                <c:pt idx="11507">
                  <c:v>0.18918289553088852</c:v>
                </c:pt>
                <c:pt idx="11508">
                  <c:v>0.1837744606726246</c:v>
                </c:pt>
                <c:pt idx="11509">
                  <c:v>0.18734174482527632</c:v>
                </c:pt>
                <c:pt idx="11510">
                  <c:v>0.18826236620800074</c:v>
                </c:pt>
                <c:pt idx="11511">
                  <c:v>0.18124280365379053</c:v>
                </c:pt>
                <c:pt idx="11512">
                  <c:v>0.17836593375452403</c:v>
                </c:pt>
                <c:pt idx="11513">
                  <c:v>0.16110471435892482</c:v>
                </c:pt>
                <c:pt idx="11514">
                  <c:v>0.1690448062360228</c:v>
                </c:pt>
                <c:pt idx="11515">
                  <c:v>0.17410813178117079</c:v>
                </c:pt>
                <c:pt idx="11516">
                  <c:v>0.1751438509748251</c:v>
                </c:pt>
                <c:pt idx="11517">
                  <c:v>0.17928654362976881</c:v>
                </c:pt>
                <c:pt idx="11518">
                  <c:v>0.16271574999503446</c:v>
                </c:pt>
                <c:pt idx="11519">
                  <c:v>0.16915990404695269</c:v>
                </c:pt>
                <c:pt idx="11520">
                  <c:v>0.16996542761874744</c:v>
                </c:pt>
                <c:pt idx="11521">
                  <c:v>0.16513230920293887</c:v>
                </c:pt>
                <c:pt idx="11522">
                  <c:v>0.15650169950513915</c:v>
                </c:pt>
                <c:pt idx="11523">
                  <c:v>0.16294586506453701</c:v>
                </c:pt>
                <c:pt idx="11524">
                  <c:v>0.158688143643541</c:v>
                </c:pt>
                <c:pt idx="11525">
                  <c:v>0.1491369240704965</c:v>
                </c:pt>
                <c:pt idx="11526">
                  <c:v>0.14741077911597733</c:v>
                </c:pt>
                <c:pt idx="11527">
                  <c:v>0.14890671694115731</c:v>
                </c:pt>
                <c:pt idx="11528">
                  <c:v>0.14695046842461523</c:v>
                </c:pt>
                <c:pt idx="11529">
                  <c:v>0.14545453059943547</c:v>
                </c:pt>
                <c:pt idx="11530">
                  <c:v>0.14591484129079757</c:v>
                </c:pt>
                <c:pt idx="11531">
                  <c:v>0.13279631455014251</c:v>
                </c:pt>
                <c:pt idx="11532">
                  <c:v>0.12623706268729418</c:v>
                </c:pt>
                <c:pt idx="11533">
                  <c:v>0.1284234262733388</c:v>
                </c:pt>
                <c:pt idx="11534">
                  <c:v>0.11588030803497551</c:v>
                </c:pt>
                <c:pt idx="11535">
                  <c:v>0.11507479597066061</c:v>
                </c:pt>
                <c:pt idx="11536">
                  <c:v>0.10794012409804088</c:v>
                </c:pt>
                <c:pt idx="11537">
                  <c:v>0.10621397914352171</c:v>
                </c:pt>
                <c:pt idx="11538">
                  <c:v>0.12393550923048324</c:v>
                </c:pt>
                <c:pt idx="11539">
                  <c:v>0.12520134349364009</c:v>
                </c:pt>
                <c:pt idx="11540">
                  <c:v>0.13153049179446508</c:v>
                </c:pt>
                <c:pt idx="11541">
                  <c:v>0.14004600368133469</c:v>
                </c:pt>
                <c:pt idx="11542">
                  <c:v>0.14407359852534873</c:v>
                </c:pt>
                <c:pt idx="11543">
                  <c:v>0.13544298882754924</c:v>
                </c:pt>
                <c:pt idx="11544">
                  <c:v>0.13613349514077111</c:v>
                </c:pt>
                <c:pt idx="11545">
                  <c:v>0.13774454228436039</c:v>
                </c:pt>
                <c:pt idx="11546">
                  <c:v>0.13843495653774562</c:v>
                </c:pt>
                <c:pt idx="11547">
                  <c:v>0.13003446190944845</c:v>
                </c:pt>
                <c:pt idx="11548">
                  <c:v>0.12623706268729418</c:v>
                </c:pt>
                <c:pt idx="11549">
                  <c:v>0.12370540566846011</c:v>
                </c:pt>
                <c:pt idx="11550">
                  <c:v>0.118066763680857</c:v>
                </c:pt>
                <c:pt idx="11551">
                  <c:v>0.12830840901476614</c:v>
                </c:pt>
                <c:pt idx="11552">
                  <c:v>0.1287686276462916</c:v>
                </c:pt>
                <c:pt idx="11553">
                  <c:v>0.14499421990807315</c:v>
                </c:pt>
                <c:pt idx="11554">
                  <c:v>0.15028764901524383</c:v>
                </c:pt>
                <c:pt idx="11555">
                  <c:v>0.14994243613481162</c:v>
                </c:pt>
                <c:pt idx="11556">
                  <c:v>0.16283084780596435</c:v>
                </c:pt>
                <c:pt idx="11557">
                  <c:v>0.16858458760449735</c:v>
                </c:pt>
                <c:pt idx="11558">
                  <c:v>0.17215188326462871</c:v>
                </c:pt>
                <c:pt idx="11559">
                  <c:v>0.164441883442074</c:v>
                </c:pt>
                <c:pt idx="11560">
                  <c:v>0.15258920247205521</c:v>
                </c:pt>
                <c:pt idx="11561">
                  <c:v>0.1576524244498867</c:v>
                </c:pt>
                <c:pt idx="11562">
                  <c:v>0.14959723476185882</c:v>
                </c:pt>
                <c:pt idx="11563">
                  <c:v>0.14787108980733965</c:v>
                </c:pt>
                <c:pt idx="11564">
                  <c:v>0.14752587692690722</c:v>
                </c:pt>
                <c:pt idx="11565">
                  <c:v>0.14476410483857061</c:v>
                </c:pt>
                <c:pt idx="11566">
                  <c:v>0.14453390921671083</c:v>
                </c:pt>
                <c:pt idx="11567">
                  <c:v>0.158688143643541</c:v>
                </c:pt>
                <c:pt idx="11568">
                  <c:v>0.14994243613481162</c:v>
                </c:pt>
                <c:pt idx="11569">
                  <c:v>0.14039120505428748</c:v>
                </c:pt>
                <c:pt idx="11570">
                  <c:v>0.1365937252797762</c:v>
                </c:pt>
                <c:pt idx="11571">
                  <c:v>0.14303797139153107</c:v>
                </c:pt>
                <c:pt idx="11572">
                  <c:v>0.13693901871256586</c:v>
                </c:pt>
                <c:pt idx="11573">
                  <c:v>0.14073641793471992</c:v>
                </c:pt>
                <c:pt idx="11574">
                  <c:v>0.13440736169373158</c:v>
                </c:pt>
                <c:pt idx="11575">
                  <c:v>0.12543153911549965</c:v>
                </c:pt>
                <c:pt idx="11576">
                  <c:v>0.1131185359466389</c:v>
                </c:pt>
                <c:pt idx="11577">
                  <c:v>0.1059838755814988</c:v>
                </c:pt>
                <c:pt idx="11578">
                  <c:v>0.10794012409804088</c:v>
                </c:pt>
                <c:pt idx="11579">
                  <c:v>0.112313023882324</c:v>
                </c:pt>
                <c:pt idx="11580">
                  <c:v>0.12220937578344371</c:v>
                </c:pt>
                <c:pt idx="11581">
                  <c:v>0.10828533697847309</c:v>
                </c:pt>
                <c:pt idx="11582">
                  <c:v>8.9873381130647134E-2</c:v>
                </c:pt>
                <c:pt idx="11583">
                  <c:v>8.9528168250214923E-2</c:v>
                </c:pt>
                <c:pt idx="11584">
                  <c:v>8.446485421254657E-2</c:v>
                </c:pt>
                <c:pt idx="11585">
                  <c:v>7.5258916564812095E-2</c:v>
                </c:pt>
                <c:pt idx="11586">
                  <c:v>9.700805300326687E-2</c:v>
                </c:pt>
                <c:pt idx="11587">
                  <c:v>0.10517835200970427</c:v>
                </c:pt>
                <c:pt idx="11588">
                  <c:v>0.10540846707920659</c:v>
                </c:pt>
                <c:pt idx="11589">
                  <c:v>0.11150740825069261</c:v>
                </c:pt>
                <c:pt idx="11590">
                  <c:v>0.11749135517856479</c:v>
                </c:pt>
                <c:pt idx="11591">
                  <c:v>0.11196771894205493</c:v>
                </c:pt>
                <c:pt idx="11592">
                  <c:v>0.11714614229813236</c:v>
                </c:pt>
                <c:pt idx="11593">
                  <c:v>0.12186416290301127</c:v>
                </c:pt>
                <c:pt idx="11594">
                  <c:v>0.1212888349530763</c:v>
                </c:pt>
                <c:pt idx="11595">
                  <c:v>0.10644418627286112</c:v>
                </c:pt>
                <c:pt idx="11596">
                  <c:v>0.10794012409804088</c:v>
                </c:pt>
                <c:pt idx="11597">
                  <c:v>8.9758283319717247E-2</c:v>
                </c:pt>
                <c:pt idx="11598">
                  <c:v>7.8826212224943237E-2</c:v>
                </c:pt>
                <c:pt idx="11599">
                  <c:v>9.4936706675794902E-2</c:v>
                </c:pt>
                <c:pt idx="11600">
                  <c:v>0.10460294350741206</c:v>
                </c:pt>
                <c:pt idx="11601">
                  <c:v>0.10230148211043777</c:v>
                </c:pt>
                <c:pt idx="11602">
                  <c:v>9.8734186450306405E-2</c:v>
                </c:pt>
                <c:pt idx="11603">
                  <c:v>9.332565953220584E-2</c:v>
                </c:pt>
                <c:pt idx="11604">
                  <c:v>9.6087431620542452E-2</c:v>
                </c:pt>
                <c:pt idx="11605">
                  <c:v>8.6536200540018537E-2</c:v>
                </c:pt>
                <c:pt idx="11606">
                  <c:v>7.8365901533581139E-2</c:v>
                </c:pt>
                <c:pt idx="11607">
                  <c:v>6.6858421936514922E-2</c:v>
                </c:pt>
                <c:pt idx="11608">
                  <c:v>6.4326764917680856E-2</c:v>
                </c:pt>
                <c:pt idx="11609">
                  <c:v>7.1691540352323502E-2</c:v>
                </c:pt>
                <c:pt idx="11610">
                  <c:v>9.0563806891512E-2</c:v>
                </c:pt>
                <c:pt idx="11611">
                  <c:v>8.6536200540018537E-2</c:v>
                </c:pt>
                <c:pt idx="11612">
                  <c:v>8.6881413420450748E-2</c:v>
                </c:pt>
                <c:pt idx="11613">
                  <c:v>7.9976937169690787E-2</c:v>
                </c:pt>
                <c:pt idx="11614">
                  <c:v>9.5397005859677808E-2</c:v>
                </c:pt>
                <c:pt idx="11615">
                  <c:v>0.10678938764581392</c:v>
                </c:pt>
                <c:pt idx="11616">
                  <c:v>0.1002301357829658</c:v>
                </c:pt>
                <c:pt idx="11617">
                  <c:v>0.11449937596088899</c:v>
                </c:pt>
                <c:pt idx="11618">
                  <c:v>7.1921747481662912E-2</c:v>
                </c:pt>
                <c:pt idx="11619">
                  <c:v>9.3900987482140597E-2</c:v>
                </c:pt>
                <c:pt idx="11620">
                  <c:v>8.8492449056560396E-2</c:v>
                </c:pt>
                <c:pt idx="11621">
                  <c:v>0.10506325419877438</c:v>
                </c:pt>
                <c:pt idx="11622">
                  <c:v>0.11979281657553931</c:v>
                </c:pt>
                <c:pt idx="11623">
                  <c:v>0.12186416290301127</c:v>
                </c:pt>
                <c:pt idx="11624">
                  <c:v>0.12980434683994613</c:v>
                </c:pt>
                <c:pt idx="11625">
                  <c:v>0.12715759201018195</c:v>
                </c:pt>
                <c:pt idx="11626">
                  <c:v>0.14303797139153107</c:v>
                </c:pt>
                <c:pt idx="11627">
                  <c:v>0.15638660169420948</c:v>
                </c:pt>
                <c:pt idx="11628">
                  <c:v>0.16524740701386875</c:v>
                </c:pt>
                <c:pt idx="11629">
                  <c:v>0.18078249296242821</c:v>
                </c:pt>
                <c:pt idx="11630">
                  <c:v>0.20437286065885241</c:v>
                </c:pt>
                <c:pt idx="11631">
                  <c:v>0.20690442561784983</c:v>
                </c:pt>
                <c:pt idx="11632">
                  <c:v>0.21277326322731271</c:v>
                </c:pt>
                <c:pt idx="11633">
                  <c:v>0.20207130720204125</c:v>
                </c:pt>
                <c:pt idx="11634">
                  <c:v>0.20356724502722101</c:v>
                </c:pt>
                <c:pt idx="11635">
                  <c:v>0.1912542533658399</c:v>
                </c:pt>
                <c:pt idx="11636">
                  <c:v>0.1883773834665734</c:v>
                </c:pt>
                <c:pt idx="11637">
                  <c:v>0.185960824258669</c:v>
                </c:pt>
                <c:pt idx="11638">
                  <c:v>0.18066738364401869</c:v>
                </c:pt>
                <c:pt idx="11639">
                  <c:v>0.18481008780644204</c:v>
                </c:pt>
                <c:pt idx="11640">
                  <c:v>0.17997696939063368</c:v>
                </c:pt>
                <c:pt idx="11641">
                  <c:v>0.17330260820937604</c:v>
                </c:pt>
                <c:pt idx="11642">
                  <c:v>0.1698504218676542</c:v>
                </c:pt>
                <c:pt idx="11643">
                  <c:v>0.1808975907733581</c:v>
                </c:pt>
                <c:pt idx="11644">
                  <c:v>0.17215188326462871</c:v>
                </c:pt>
                <c:pt idx="11645">
                  <c:v>0.1719216761352893</c:v>
                </c:pt>
                <c:pt idx="11646">
                  <c:v>0.17261219395599103</c:v>
                </c:pt>
                <c:pt idx="11647">
                  <c:v>0.17065593393196932</c:v>
                </c:pt>
                <c:pt idx="11648">
                  <c:v>0.17986187157970379</c:v>
                </c:pt>
                <c:pt idx="11649">
                  <c:v>0.18768695770570853</c:v>
                </c:pt>
                <c:pt idx="11650">
                  <c:v>0.19815881016895709</c:v>
                </c:pt>
                <c:pt idx="11651">
                  <c:v>0.2094360826366839</c:v>
                </c:pt>
                <c:pt idx="11652">
                  <c:v>0.22370533432208672</c:v>
                </c:pt>
                <c:pt idx="11653">
                  <c:v>0.23118521907513889</c:v>
                </c:pt>
                <c:pt idx="11654">
                  <c:v>0.23107020181656601</c:v>
                </c:pt>
                <c:pt idx="11655">
                  <c:v>0.22888375767816438</c:v>
                </c:pt>
                <c:pt idx="11656">
                  <c:v>0.21311847610774515</c:v>
                </c:pt>
                <c:pt idx="11657">
                  <c:v>0.21265816541638283</c:v>
                </c:pt>
                <c:pt idx="11658">
                  <c:v>0.20241652008247368</c:v>
                </c:pt>
                <c:pt idx="11659">
                  <c:v>0.19309548462380932</c:v>
                </c:pt>
                <c:pt idx="11660">
                  <c:v>0.18860757908843317</c:v>
                </c:pt>
                <c:pt idx="11661">
                  <c:v>0.19102413829633735</c:v>
                </c:pt>
                <c:pt idx="11662">
                  <c:v>0.1897583040331805</c:v>
                </c:pt>
                <c:pt idx="11663">
                  <c:v>0.19631756740350825</c:v>
                </c:pt>
                <c:pt idx="11664">
                  <c:v>0.20713463274718902</c:v>
                </c:pt>
                <c:pt idx="11665">
                  <c:v>0.20920597907466099</c:v>
                </c:pt>
                <c:pt idx="11666">
                  <c:v>0.20724973055811891</c:v>
                </c:pt>
                <c:pt idx="11667">
                  <c:v>0.20034517375500172</c:v>
                </c:pt>
                <c:pt idx="11668">
                  <c:v>0.19551204383171372</c:v>
                </c:pt>
                <c:pt idx="11669">
                  <c:v>0.20517837272316752</c:v>
                </c:pt>
                <c:pt idx="11670">
                  <c:v>0.20920597907466099</c:v>
                </c:pt>
                <c:pt idx="11671">
                  <c:v>0.20425776284792252</c:v>
                </c:pt>
                <c:pt idx="11672">
                  <c:v>0.1950517331403514</c:v>
                </c:pt>
                <c:pt idx="11673">
                  <c:v>0.19643266521443814</c:v>
                </c:pt>
                <c:pt idx="11674">
                  <c:v>0.19631756740350825</c:v>
                </c:pt>
                <c:pt idx="11675">
                  <c:v>0.19286538106178641</c:v>
                </c:pt>
                <c:pt idx="11676">
                  <c:v>0.20253161789340357</c:v>
                </c:pt>
                <c:pt idx="11677">
                  <c:v>0.19689297590580024</c:v>
                </c:pt>
                <c:pt idx="11678">
                  <c:v>0.19159954679862956</c:v>
                </c:pt>
                <c:pt idx="11679">
                  <c:v>0.19585725671214615</c:v>
                </c:pt>
                <c:pt idx="11680">
                  <c:v>0.19113923610726724</c:v>
                </c:pt>
                <c:pt idx="11681">
                  <c:v>0.18434977711507994</c:v>
                </c:pt>
                <c:pt idx="11682">
                  <c:v>0.15834294227058821</c:v>
                </c:pt>
                <c:pt idx="11683">
                  <c:v>0.15857304583261111</c:v>
                </c:pt>
                <c:pt idx="11684">
                  <c:v>0.15074795970660615</c:v>
                </c:pt>
                <c:pt idx="11685">
                  <c:v>0.14545453059943547</c:v>
                </c:pt>
                <c:pt idx="11686">
                  <c:v>0.14016107847730552</c:v>
                </c:pt>
                <c:pt idx="11687">
                  <c:v>0.13279631455014251</c:v>
                </c:pt>
                <c:pt idx="11688">
                  <c:v>0.12451091773277523</c:v>
                </c:pt>
                <c:pt idx="11689">
                  <c:v>0.12485613061320766</c:v>
                </c:pt>
                <c:pt idx="11690">
                  <c:v>0.12807821339290659</c:v>
                </c:pt>
                <c:pt idx="11691">
                  <c:v>0.12911393258656068</c:v>
                </c:pt>
                <c:pt idx="11692">
                  <c:v>0.11472958309022818</c:v>
                </c:pt>
                <c:pt idx="11693">
                  <c:v>0.12520134349364009</c:v>
                </c:pt>
                <c:pt idx="11694">
                  <c:v>0.12289988209666536</c:v>
                </c:pt>
                <c:pt idx="11695">
                  <c:v>0.10759491121760845</c:v>
                </c:pt>
                <c:pt idx="11696">
                  <c:v>0.10747981340667856</c:v>
                </c:pt>
                <c:pt idx="11697">
                  <c:v>0.10391251774654742</c:v>
                </c:pt>
                <c:pt idx="11698">
                  <c:v>9.6317546690044997E-2</c:v>
                </c:pt>
                <c:pt idx="11699">
                  <c:v>9.1944727458119102E-2</c:v>
                </c:pt>
                <c:pt idx="11700">
                  <c:v>8.5385475595270988E-2</c:v>
                </c:pt>
                <c:pt idx="11701">
                  <c:v>8.4810067092979002E-2</c:v>
                </c:pt>
                <c:pt idx="11702">
                  <c:v>9.4246188855093393E-2</c:v>
                </c:pt>
                <c:pt idx="11703">
                  <c:v>9.9309514400241383E-2</c:v>
                </c:pt>
                <c:pt idx="11704">
                  <c:v>9.9769825091603481E-2</c:v>
                </c:pt>
                <c:pt idx="11705">
                  <c:v>9.7813576575061623E-2</c:v>
                </c:pt>
                <c:pt idx="11706">
                  <c:v>9.2980446651773407E-2</c:v>
                </c:pt>
                <c:pt idx="11707">
                  <c:v>8.8607546867490283E-2</c:v>
                </c:pt>
                <c:pt idx="11708">
                  <c:v>0.10299189636382278</c:v>
                </c:pt>
                <c:pt idx="11709">
                  <c:v>0.10747981340667856</c:v>
                </c:pt>
                <c:pt idx="11710">
                  <c:v>0.10483313912927184</c:v>
                </c:pt>
                <c:pt idx="11711">
                  <c:v>0.11058687892780483</c:v>
                </c:pt>
                <c:pt idx="11712">
                  <c:v>0.12186416290301127</c:v>
                </c:pt>
                <c:pt idx="11713">
                  <c:v>0.12105863933121674</c:v>
                </c:pt>
                <c:pt idx="11714">
                  <c:v>0.1316454975455581</c:v>
                </c:pt>
                <c:pt idx="11715">
                  <c:v>0.14476410483857061</c:v>
                </c:pt>
                <c:pt idx="11716">
                  <c:v>0.14579974347986768</c:v>
                </c:pt>
                <c:pt idx="11717">
                  <c:v>0.14556962841036536</c:v>
                </c:pt>
                <c:pt idx="11718">
                  <c:v>0.14994243613481162</c:v>
                </c:pt>
                <c:pt idx="11719">
                  <c:v>0.15316451891451055</c:v>
                </c:pt>
                <c:pt idx="11720">
                  <c:v>0.15212889178069289</c:v>
                </c:pt>
                <c:pt idx="11721">
                  <c:v>0.15443035317766718</c:v>
                </c:pt>
                <c:pt idx="11722">
                  <c:v>0.15017255120431416</c:v>
                </c:pt>
                <c:pt idx="11723">
                  <c:v>0.12934403614858381</c:v>
                </c:pt>
                <c:pt idx="11724">
                  <c:v>0.12025311575942199</c:v>
                </c:pt>
                <c:pt idx="11725">
                  <c:v>0.11898729300374478</c:v>
                </c:pt>
                <c:pt idx="11726">
                  <c:v>0.11461448527929829</c:v>
                </c:pt>
                <c:pt idx="11727">
                  <c:v>0.11139240249959936</c:v>
                </c:pt>
                <c:pt idx="11728">
                  <c:v>0.11392405951843365</c:v>
                </c:pt>
                <c:pt idx="11729">
                  <c:v>0.11714614229813236</c:v>
                </c:pt>
                <c:pt idx="11730">
                  <c:v>0.12830840901476614</c:v>
                </c:pt>
                <c:pt idx="11731">
                  <c:v>0.1402761072433576</c:v>
                </c:pt>
                <c:pt idx="11732">
                  <c:v>0.12911393258656068</c:v>
                </c:pt>
                <c:pt idx="11733">
                  <c:v>0.1348676723850939</c:v>
                </c:pt>
                <c:pt idx="11734">
                  <c:v>0.14614494485282048</c:v>
                </c:pt>
                <c:pt idx="11735">
                  <c:v>0.14326807495355398</c:v>
                </c:pt>
                <c:pt idx="11736">
                  <c:v>0.13647870802120354</c:v>
                </c:pt>
                <c:pt idx="11737">
                  <c:v>0.12853852408426869</c:v>
                </c:pt>
                <c:pt idx="11738">
                  <c:v>0.11852698231238246</c:v>
                </c:pt>
                <c:pt idx="11739">
                  <c:v>0.10379741993561753</c:v>
                </c:pt>
                <c:pt idx="11740">
                  <c:v>0.10356731637359462</c:v>
                </c:pt>
                <c:pt idx="11741">
                  <c:v>0.1069044854567438</c:v>
                </c:pt>
                <c:pt idx="11742">
                  <c:v>0.11081699399730738</c:v>
                </c:pt>
                <c:pt idx="11743">
                  <c:v>0.10391251774654742</c:v>
                </c:pt>
                <c:pt idx="11744">
                  <c:v>0.10771000902853833</c:v>
                </c:pt>
                <c:pt idx="11745">
                  <c:v>0.11910239081467444</c:v>
                </c:pt>
                <c:pt idx="11746">
                  <c:v>0.12393550923048324</c:v>
                </c:pt>
                <c:pt idx="11747">
                  <c:v>0.11426927239886586</c:v>
                </c:pt>
                <c:pt idx="11748">
                  <c:v>0.1031070056822323</c:v>
                </c:pt>
                <c:pt idx="11749">
                  <c:v>0.11415417458793597</c:v>
                </c:pt>
                <c:pt idx="11750">
                  <c:v>0.11208281675298459</c:v>
                </c:pt>
                <c:pt idx="11751">
                  <c:v>0.10207128648857799</c:v>
                </c:pt>
                <c:pt idx="11752">
                  <c:v>8.5615579157293897E-2</c:v>
                </c:pt>
                <c:pt idx="11753">
                  <c:v>8.7917132614105054E-2</c:v>
                </c:pt>
                <c:pt idx="11754">
                  <c:v>8.0092046488100088E-2</c:v>
                </c:pt>
                <c:pt idx="11755">
                  <c:v>7.5143818753882208E-2</c:v>
                </c:pt>
                <c:pt idx="11756">
                  <c:v>8.6881413420450748E-2</c:v>
                </c:pt>
                <c:pt idx="11757">
                  <c:v>6.9274981144419323E-2</c:v>
                </c:pt>
                <c:pt idx="11758">
                  <c:v>4.6950528263508984E-2</c:v>
                </c:pt>
                <c:pt idx="11759">
                  <c:v>3.6938997999102385E-2</c:v>
                </c:pt>
                <c:pt idx="11760">
                  <c:v>3.8550033635212033E-2</c:v>
                </c:pt>
                <c:pt idx="11761">
                  <c:v>4.1311805723548867E-2</c:v>
                </c:pt>
                <c:pt idx="11762">
                  <c:v>3.7629412252487615E-2</c:v>
                </c:pt>
                <c:pt idx="11763">
                  <c:v>3.3256604528041356E-2</c:v>
                </c:pt>
                <c:pt idx="11764">
                  <c:v>3.1530459573522185E-2</c:v>
                </c:pt>
                <c:pt idx="11765">
                  <c:v>2.2554648502769892E-2</c:v>
                </c:pt>
                <c:pt idx="11766">
                  <c:v>1.7951633648984222E-2</c:v>
                </c:pt>
                <c:pt idx="11767">
                  <c:v>2.6582243346783718E-2</c:v>
                </c:pt>
                <c:pt idx="11768">
                  <c:v>2.8883796803595096E-2</c:v>
                </c:pt>
                <c:pt idx="11769">
                  <c:v>3.1530459573522185E-2</c:v>
                </c:pt>
                <c:pt idx="11770">
                  <c:v>2.9919423937412537E-2</c:v>
                </c:pt>
                <c:pt idx="11771">
                  <c:v>2.2669746313699779E-2</c:v>
                </c:pt>
                <c:pt idx="11772">
                  <c:v>2.8308388301302889E-2</c:v>
                </c:pt>
                <c:pt idx="11773">
                  <c:v>2.9574211056980104E-2</c:v>
                </c:pt>
                <c:pt idx="11774">
                  <c:v>3.3256604528041356E-2</c:v>
                </c:pt>
                <c:pt idx="11775">
                  <c:v>4.5109297005539783E-2</c:v>
                </c:pt>
                <c:pt idx="11776">
                  <c:v>3.7974625132920048E-2</c:v>
                </c:pt>
                <c:pt idx="11777">
                  <c:v>3.0034521748342424E-2</c:v>
                </c:pt>
                <c:pt idx="11778">
                  <c:v>2.5546616212966278E-2</c:v>
                </c:pt>
                <c:pt idx="11779">
                  <c:v>2.8193278982893366E-2</c:v>
                </c:pt>
                <c:pt idx="11780">
                  <c:v>2.3590275636587332E-2</c:v>
                </c:pt>
                <c:pt idx="11781">
                  <c:v>2.2784752064792801E-2</c:v>
                </c:pt>
                <c:pt idx="11782">
                  <c:v>1.1392370278656694E-2</c:v>
                </c:pt>
                <c:pt idx="11783">
                  <c:v>1.0816961776364487E-2</c:v>
                </c:pt>
                <c:pt idx="11784">
                  <c:v>5.2934291071706774E-3</c:v>
                </c:pt>
                <c:pt idx="11785">
                  <c:v>0</c:v>
                </c:pt>
                <c:pt idx="11786">
                  <c:v>0</c:v>
                </c:pt>
                <c:pt idx="11787">
                  <c:v>0</c:v>
                </c:pt>
                <c:pt idx="11788">
                  <c:v>0</c:v>
                </c:pt>
                <c:pt idx="11789">
                  <c:v>0</c:v>
                </c:pt>
                <c:pt idx="11790">
                  <c:v>0</c:v>
                </c:pt>
                <c:pt idx="11791">
                  <c:v>0</c:v>
                </c:pt>
                <c:pt idx="11792">
                  <c:v>0</c:v>
                </c:pt>
                <c:pt idx="11793">
                  <c:v>0</c:v>
                </c:pt>
                <c:pt idx="11794">
                  <c:v>0</c:v>
                </c:pt>
                <c:pt idx="11795">
                  <c:v>0</c:v>
                </c:pt>
                <c:pt idx="11796">
                  <c:v>0</c:v>
                </c:pt>
                <c:pt idx="11797">
                  <c:v>0</c:v>
                </c:pt>
                <c:pt idx="11798">
                  <c:v>0</c:v>
                </c:pt>
                <c:pt idx="11799">
                  <c:v>0</c:v>
                </c:pt>
                <c:pt idx="11800">
                  <c:v>0</c:v>
                </c:pt>
                <c:pt idx="11801">
                  <c:v>0</c:v>
                </c:pt>
                <c:pt idx="11802">
                  <c:v>0</c:v>
                </c:pt>
                <c:pt idx="11803">
                  <c:v>0</c:v>
                </c:pt>
                <c:pt idx="11804">
                  <c:v>0</c:v>
                </c:pt>
                <c:pt idx="11805">
                  <c:v>0</c:v>
                </c:pt>
                <c:pt idx="11806">
                  <c:v>0</c:v>
                </c:pt>
                <c:pt idx="11807">
                  <c:v>0</c:v>
                </c:pt>
                <c:pt idx="11808">
                  <c:v>0</c:v>
                </c:pt>
                <c:pt idx="11809">
                  <c:v>0</c:v>
                </c:pt>
                <c:pt idx="11810">
                  <c:v>0</c:v>
                </c:pt>
                <c:pt idx="11811">
                  <c:v>0</c:v>
                </c:pt>
                <c:pt idx="11812">
                  <c:v>0</c:v>
                </c:pt>
                <c:pt idx="11813">
                  <c:v>0</c:v>
                </c:pt>
                <c:pt idx="11814">
                  <c:v>0</c:v>
                </c:pt>
                <c:pt idx="11815">
                  <c:v>0</c:v>
                </c:pt>
                <c:pt idx="11816">
                  <c:v>0</c:v>
                </c:pt>
                <c:pt idx="11817">
                  <c:v>0</c:v>
                </c:pt>
                <c:pt idx="11818">
                  <c:v>0</c:v>
                </c:pt>
                <c:pt idx="11819">
                  <c:v>0</c:v>
                </c:pt>
                <c:pt idx="11820">
                  <c:v>0</c:v>
                </c:pt>
                <c:pt idx="11821">
                  <c:v>0</c:v>
                </c:pt>
                <c:pt idx="11822">
                  <c:v>0</c:v>
                </c:pt>
                <c:pt idx="11823">
                  <c:v>0</c:v>
                </c:pt>
                <c:pt idx="11824">
                  <c:v>0</c:v>
                </c:pt>
                <c:pt idx="11825">
                  <c:v>0</c:v>
                </c:pt>
                <c:pt idx="11826">
                  <c:v>0</c:v>
                </c:pt>
                <c:pt idx="11827">
                  <c:v>0</c:v>
                </c:pt>
                <c:pt idx="11828">
                  <c:v>0</c:v>
                </c:pt>
                <c:pt idx="11829">
                  <c:v>0</c:v>
                </c:pt>
                <c:pt idx="11830">
                  <c:v>0</c:v>
                </c:pt>
                <c:pt idx="11831">
                  <c:v>0</c:v>
                </c:pt>
                <c:pt idx="11832">
                  <c:v>0</c:v>
                </c:pt>
                <c:pt idx="11833">
                  <c:v>0</c:v>
                </c:pt>
                <c:pt idx="11834">
                  <c:v>0</c:v>
                </c:pt>
                <c:pt idx="11835">
                  <c:v>0</c:v>
                </c:pt>
                <c:pt idx="11836">
                  <c:v>0</c:v>
                </c:pt>
                <c:pt idx="11837">
                  <c:v>0</c:v>
                </c:pt>
                <c:pt idx="11838">
                  <c:v>0</c:v>
                </c:pt>
                <c:pt idx="11839">
                  <c:v>0</c:v>
                </c:pt>
                <c:pt idx="11840">
                  <c:v>0</c:v>
                </c:pt>
                <c:pt idx="11841">
                  <c:v>0</c:v>
                </c:pt>
                <c:pt idx="11842">
                  <c:v>0</c:v>
                </c:pt>
                <c:pt idx="11843">
                  <c:v>0</c:v>
                </c:pt>
                <c:pt idx="11844">
                  <c:v>0</c:v>
                </c:pt>
                <c:pt idx="11845">
                  <c:v>0</c:v>
                </c:pt>
                <c:pt idx="11846">
                  <c:v>0</c:v>
                </c:pt>
                <c:pt idx="11847">
                  <c:v>0</c:v>
                </c:pt>
                <c:pt idx="11848">
                  <c:v>0</c:v>
                </c:pt>
                <c:pt idx="11849">
                  <c:v>0</c:v>
                </c:pt>
                <c:pt idx="11850">
                  <c:v>0</c:v>
                </c:pt>
                <c:pt idx="11851">
                  <c:v>0</c:v>
                </c:pt>
                <c:pt idx="11852">
                  <c:v>0</c:v>
                </c:pt>
                <c:pt idx="11853">
                  <c:v>0</c:v>
                </c:pt>
                <c:pt idx="11854">
                  <c:v>0</c:v>
                </c:pt>
                <c:pt idx="11855">
                  <c:v>0</c:v>
                </c:pt>
                <c:pt idx="11856">
                  <c:v>0</c:v>
                </c:pt>
                <c:pt idx="11857">
                  <c:v>0</c:v>
                </c:pt>
                <c:pt idx="11858">
                  <c:v>0</c:v>
                </c:pt>
                <c:pt idx="11859">
                  <c:v>0</c:v>
                </c:pt>
                <c:pt idx="11860">
                  <c:v>0</c:v>
                </c:pt>
                <c:pt idx="11861">
                  <c:v>0</c:v>
                </c:pt>
                <c:pt idx="11862">
                  <c:v>0</c:v>
                </c:pt>
                <c:pt idx="11863">
                  <c:v>0</c:v>
                </c:pt>
                <c:pt idx="11864">
                  <c:v>0</c:v>
                </c:pt>
                <c:pt idx="11865">
                  <c:v>0</c:v>
                </c:pt>
                <c:pt idx="11866">
                  <c:v>0</c:v>
                </c:pt>
                <c:pt idx="11867">
                  <c:v>0</c:v>
                </c:pt>
                <c:pt idx="11868">
                  <c:v>0</c:v>
                </c:pt>
                <c:pt idx="11869">
                  <c:v>0</c:v>
                </c:pt>
                <c:pt idx="11870">
                  <c:v>0</c:v>
                </c:pt>
                <c:pt idx="11871">
                  <c:v>0</c:v>
                </c:pt>
                <c:pt idx="11872">
                  <c:v>0</c:v>
                </c:pt>
                <c:pt idx="11873">
                  <c:v>0</c:v>
                </c:pt>
                <c:pt idx="11874">
                  <c:v>0</c:v>
                </c:pt>
                <c:pt idx="11875">
                  <c:v>0</c:v>
                </c:pt>
                <c:pt idx="11876">
                  <c:v>0</c:v>
                </c:pt>
                <c:pt idx="11877">
                  <c:v>0</c:v>
                </c:pt>
                <c:pt idx="11878">
                  <c:v>0</c:v>
                </c:pt>
                <c:pt idx="11879">
                  <c:v>0</c:v>
                </c:pt>
                <c:pt idx="11880">
                  <c:v>0</c:v>
                </c:pt>
                <c:pt idx="11881">
                  <c:v>0</c:v>
                </c:pt>
                <c:pt idx="11882">
                  <c:v>0</c:v>
                </c:pt>
                <c:pt idx="11883">
                  <c:v>0</c:v>
                </c:pt>
                <c:pt idx="11884">
                  <c:v>0</c:v>
                </c:pt>
                <c:pt idx="11885">
                  <c:v>0</c:v>
                </c:pt>
                <c:pt idx="11886">
                  <c:v>0</c:v>
                </c:pt>
                <c:pt idx="11887">
                  <c:v>0</c:v>
                </c:pt>
                <c:pt idx="11888">
                  <c:v>0</c:v>
                </c:pt>
                <c:pt idx="11889">
                  <c:v>0</c:v>
                </c:pt>
                <c:pt idx="11890">
                  <c:v>0</c:v>
                </c:pt>
                <c:pt idx="11891">
                  <c:v>0</c:v>
                </c:pt>
                <c:pt idx="11892">
                  <c:v>0</c:v>
                </c:pt>
                <c:pt idx="11893">
                  <c:v>0</c:v>
                </c:pt>
                <c:pt idx="11894">
                  <c:v>0</c:v>
                </c:pt>
                <c:pt idx="11895">
                  <c:v>0</c:v>
                </c:pt>
                <c:pt idx="11896">
                  <c:v>0</c:v>
                </c:pt>
                <c:pt idx="11897">
                  <c:v>0</c:v>
                </c:pt>
                <c:pt idx="11898">
                  <c:v>0</c:v>
                </c:pt>
                <c:pt idx="11899">
                  <c:v>0</c:v>
                </c:pt>
                <c:pt idx="11900">
                  <c:v>0</c:v>
                </c:pt>
                <c:pt idx="11901">
                  <c:v>0</c:v>
                </c:pt>
                <c:pt idx="11902">
                  <c:v>0</c:v>
                </c:pt>
                <c:pt idx="11903">
                  <c:v>0</c:v>
                </c:pt>
                <c:pt idx="11904">
                  <c:v>0</c:v>
                </c:pt>
                <c:pt idx="11905">
                  <c:v>0</c:v>
                </c:pt>
                <c:pt idx="11906">
                  <c:v>0</c:v>
                </c:pt>
                <c:pt idx="11907">
                  <c:v>0</c:v>
                </c:pt>
                <c:pt idx="11908">
                  <c:v>0</c:v>
                </c:pt>
                <c:pt idx="11909">
                  <c:v>0</c:v>
                </c:pt>
                <c:pt idx="11910">
                  <c:v>0</c:v>
                </c:pt>
                <c:pt idx="11911">
                  <c:v>0</c:v>
                </c:pt>
                <c:pt idx="11912">
                  <c:v>0</c:v>
                </c:pt>
                <c:pt idx="11913">
                  <c:v>0</c:v>
                </c:pt>
                <c:pt idx="11914">
                  <c:v>0</c:v>
                </c:pt>
                <c:pt idx="11915">
                  <c:v>0</c:v>
                </c:pt>
                <c:pt idx="11916">
                  <c:v>0</c:v>
                </c:pt>
                <c:pt idx="11917">
                  <c:v>0</c:v>
                </c:pt>
                <c:pt idx="11918">
                  <c:v>0</c:v>
                </c:pt>
                <c:pt idx="11919">
                  <c:v>0</c:v>
                </c:pt>
                <c:pt idx="11920">
                  <c:v>0</c:v>
                </c:pt>
                <c:pt idx="11921">
                  <c:v>0</c:v>
                </c:pt>
                <c:pt idx="11922">
                  <c:v>0</c:v>
                </c:pt>
                <c:pt idx="11923">
                  <c:v>0</c:v>
                </c:pt>
                <c:pt idx="11924">
                  <c:v>0</c:v>
                </c:pt>
                <c:pt idx="11925">
                  <c:v>0</c:v>
                </c:pt>
                <c:pt idx="11926">
                  <c:v>0</c:v>
                </c:pt>
                <c:pt idx="11927">
                  <c:v>0</c:v>
                </c:pt>
                <c:pt idx="11928">
                  <c:v>0</c:v>
                </c:pt>
                <c:pt idx="11929">
                  <c:v>0</c:v>
                </c:pt>
                <c:pt idx="11930">
                  <c:v>0</c:v>
                </c:pt>
                <c:pt idx="11931">
                  <c:v>0</c:v>
                </c:pt>
                <c:pt idx="11932">
                  <c:v>0</c:v>
                </c:pt>
                <c:pt idx="11933">
                  <c:v>0</c:v>
                </c:pt>
                <c:pt idx="11934">
                  <c:v>0</c:v>
                </c:pt>
                <c:pt idx="11935">
                  <c:v>0</c:v>
                </c:pt>
                <c:pt idx="11936">
                  <c:v>0</c:v>
                </c:pt>
                <c:pt idx="11937">
                  <c:v>0</c:v>
                </c:pt>
                <c:pt idx="11938">
                  <c:v>0</c:v>
                </c:pt>
                <c:pt idx="11939">
                  <c:v>0</c:v>
                </c:pt>
                <c:pt idx="11940">
                  <c:v>0</c:v>
                </c:pt>
                <c:pt idx="11941">
                  <c:v>0</c:v>
                </c:pt>
                <c:pt idx="11942">
                  <c:v>0</c:v>
                </c:pt>
                <c:pt idx="11943">
                  <c:v>0</c:v>
                </c:pt>
                <c:pt idx="11944">
                  <c:v>0</c:v>
                </c:pt>
                <c:pt idx="11945">
                  <c:v>0</c:v>
                </c:pt>
                <c:pt idx="11946">
                  <c:v>0</c:v>
                </c:pt>
                <c:pt idx="11947">
                  <c:v>0</c:v>
                </c:pt>
                <c:pt idx="11948">
                  <c:v>0</c:v>
                </c:pt>
                <c:pt idx="11949">
                  <c:v>0</c:v>
                </c:pt>
                <c:pt idx="11950">
                  <c:v>0</c:v>
                </c:pt>
                <c:pt idx="11951">
                  <c:v>0</c:v>
                </c:pt>
                <c:pt idx="11952">
                  <c:v>0</c:v>
                </c:pt>
                <c:pt idx="11953">
                  <c:v>0</c:v>
                </c:pt>
                <c:pt idx="11954">
                  <c:v>0</c:v>
                </c:pt>
                <c:pt idx="11955">
                  <c:v>0</c:v>
                </c:pt>
                <c:pt idx="11956">
                  <c:v>0</c:v>
                </c:pt>
                <c:pt idx="11957">
                  <c:v>0</c:v>
                </c:pt>
                <c:pt idx="11958">
                  <c:v>0</c:v>
                </c:pt>
                <c:pt idx="11959">
                  <c:v>0</c:v>
                </c:pt>
                <c:pt idx="11960">
                  <c:v>0</c:v>
                </c:pt>
                <c:pt idx="11961">
                  <c:v>0</c:v>
                </c:pt>
                <c:pt idx="11962">
                  <c:v>0</c:v>
                </c:pt>
                <c:pt idx="11963">
                  <c:v>0</c:v>
                </c:pt>
                <c:pt idx="11964">
                  <c:v>0</c:v>
                </c:pt>
                <c:pt idx="11965">
                  <c:v>0</c:v>
                </c:pt>
                <c:pt idx="11966">
                  <c:v>0</c:v>
                </c:pt>
                <c:pt idx="11967">
                  <c:v>0</c:v>
                </c:pt>
                <c:pt idx="11968">
                  <c:v>0</c:v>
                </c:pt>
                <c:pt idx="11969">
                  <c:v>0</c:v>
                </c:pt>
                <c:pt idx="11970">
                  <c:v>0</c:v>
                </c:pt>
                <c:pt idx="11971">
                  <c:v>0</c:v>
                </c:pt>
                <c:pt idx="11972">
                  <c:v>0</c:v>
                </c:pt>
                <c:pt idx="11973">
                  <c:v>0</c:v>
                </c:pt>
                <c:pt idx="11974">
                  <c:v>0</c:v>
                </c:pt>
                <c:pt idx="11975">
                  <c:v>0</c:v>
                </c:pt>
                <c:pt idx="11976">
                  <c:v>0</c:v>
                </c:pt>
                <c:pt idx="11977">
                  <c:v>0</c:v>
                </c:pt>
                <c:pt idx="11978">
                  <c:v>0</c:v>
                </c:pt>
                <c:pt idx="11979">
                  <c:v>0</c:v>
                </c:pt>
                <c:pt idx="11980">
                  <c:v>0</c:v>
                </c:pt>
                <c:pt idx="11981">
                  <c:v>0</c:v>
                </c:pt>
                <c:pt idx="11982">
                  <c:v>0</c:v>
                </c:pt>
                <c:pt idx="11983">
                  <c:v>0</c:v>
                </c:pt>
                <c:pt idx="11984">
                  <c:v>0</c:v>
                </c:pt>
                <c:pt idx="11985">
                  <c:v>0</c:v>
                </c:pt>
                <c:pt idx="11986">
                  <c:v>0</c:v>
                </c:pt>
                <c:pt idx="11987">
                  <c:v>0</c:v>
                </c:pt>
                <c:pt idx="11988">
                  <c:v>0</c:v>
                </c:pt>
                <c:pt idx="11989">
                  <c:v>0</c:v>
                </c:pt>
                <c:pt idx="11990">
                  <c:v>0</c:v>
                </c:pt>
                <c:pt idx="11991">
                  <c:v>0</c:v>
                </c:pt>
                <c:pt idx="11992">
                  <c:v>0</c:v>
                </c:pt>
                <c:pt idx="11993">
                  <c:v>0</c:v>
                </c:pt>
                <c:pt idx="11994">
                  <c:v>0</c:v>
                </c:pt>
                <c:pt idx="11995">
                  <c:v>0</c:v>
                </c:pt>
                <c:pt idx="11996">
                  <c:v>0</c:v>
                </c:pt>
                <c:pt idx="11997">
                  <c:v>0</c:v>
                </c:pt>
                <c:pt idx="11998">
                  <c:v>0</c:v>
                </c:pt>
                <c:pt idx="11999">
                  <c:v>0</c:v>
                </c:pt>
                <c:pt idx="12000">
                  <c:v>0</c:v>
                </c:pt>
                <c:pt idx="12001">
                  <c:v>0</c:v>
                </c:pt>
                <c:pt idx="12002">
                  <c:v>0</c:v>
                </c:pt>
                <c:pt idx="12003">
                  <c:v>0</c:v>
                </c:pt>
                <c:pt idx="12004">
                  <c:v>0</c:v>
                </c:pt>
                <c:pt idx="12005">
                  <c:v>0</c:v>
                </c:pt>
                <c:pt idx="12006">
                  <c:v>0</c:v>
                </c:pt>
                <c:pt idx="12007">
                  <c:v>0</c:v>
                </c:pt>
                <c:pt idx="12008">
                  <c:v>0</c:v>
                </c:pt>
                <c:pt idx="12009">
                  <c:v>0</c:v>
                </c:pt>
                <c:pt idx="12010">
                  <c:v>0</c:v>
                </c:pt>
                <c:pt idx="12011">
                  <c:v>0</c:v>
                </c:pt>
                <c:pt idx="12012">
                  <c:v>0</c:v>
                </c:pt>
                <c:pt idx="12013">
                  <c:v>0</c:v>
                </c:pt>
                <c:pt idx="12014">
                  <c:v>0</c:v>
                </c:pt>
                <c:pt idx="12015">
                  <c:v>0</c:v>
                </c:pt>
                <c:pt idx="12016">
                  <c:v>0</c:v>
                </c:pt>
                <c:pt idx="12017">
                  <c:v>0</c:v>
                </c:pt>
                <c:pt idx="12018">
                  <c:v>0</c:v>
                </c:pt>
                <c:pt idx="12019">
                  <c:v>0</c:v>
                </c:pt>
                <c:pt idx="12020">
                  <c:v>0</c:v>
                </c:pt>
                <c:pt idx="12021">
                  <c:v>0</c:v>
                </c:pt>
                <c:pt idx="12022">
                  <c:v>0</c:v>
                </c:pt>
                <c:pt idx="12023">
                  <c:v>0</c:v>
                </c:pt>
                <c:pt idx="12024">
                  <c:v>0</c:v>
                </c:pt>
                <c:pt idx="12025">
                  <c:v>0</c:v>
                </c:pt>
                <c:pt idx="12026">
                  <c:v>0</c:v>
                </c:pt>
                <c:pt idx="12027">
                  <c:v>0</c:v>
                </c:pt>
                <c:pt idx="12028">
                  <c:v>0</c:v>
                </c:pt>
                <c:pt idx="12029">
                  <c:v>0</c:v>
                </c:pt>
                <c:pt idx="12030">
                  <c:v>0</c:v>
                </c:pt>
                <c:pt idx="12031">
                  <c:v>0</c:v>
                </c:pt>
                <c:pt idx="12032">
                  <c:v>0</c:v>
                </c:pt>
                <c:pt idx="12033">
                  <c:v>0</c:v>
                </c:pt>
                <c:pt idx="12034">
                  <c:v>0</c:v>
                </c:pt>
                <c:pt idx="12035">
                  <c:v>0</c:v>
                </c:pt>
                <c:pt idx="12036">
                  <c:v>0</c:v>
                </c:pt>
                <c:pt idx="12037">
                  <c:v>0</c:v>
                </c:pt>
                <c:pt idx="12038">
                  <c:v>0</c:v>
                </c:pt>
                <c:pt idx="12039">
                  <c:v>0</c:v>
                </c:pt>
                <c:pt idx="12040">
                  <c:v>0</c:v>
                </c:pt>
                <c:pt idx="12041">
                  <c:v>0</c:v>
                </c:pt>
                <c:pt idx="12042">
                  <c:v>0</c:v>
                </c:pt>
                <c:pt idx="12043">
                  <c:v>0</c:v>
                </c:pt>
                <c:pt idx="12044">
                  <c:v>0</c:v>
                </c:pt>
                <c:pt idx="12045">
                  <c:v>0</c:v>
                </c:pt>
                <c:pt idx="12046">
                  <c:v>0</c:v>
                </c:pt>
                <c:pt idx="12047">
                  <c:v>0</c:v>
                </c:pt>
                <c:pt idx="12048">
                  <c:v>0</c:v>
                </c:pt>
                <c:pt idx="12049">
                  <c:v>0</c:v>
                </c:pt>
                <c:pt idx="12050">
                  <c:v>0</c:v>
                </c:pt>
                <c:pt idx="12051">
                  <c:v>0</c:v>
                </c:pt>
                <c:pt idx="12052">
                  <c:v>0</c:v>
                </c:pt>
                <c:pt idx="12053">
                  <c:v>0</c:v>
                </c:pt>
                <c:pt idx="12054">
                  <c:v>0</c:v>
                </c:pt>
                <c:pt idx="12055">
                  <c:v>0</c:v>
                </c:pt>
                <c:pt idx="12056">
                  <c:v>0</c:v>
                </c:pt>
                <c:pt idx="12057">
                  <c:v>0</c:v>
                </c:pt>
                <c:pt idx="12058">
                  <c:v>0</c:v>
                </c:pt>
                <c:pt idx="12059">
                  <c:v>0</c:v>
                </c:pt>
                <c:pt idx="12060">
                  <c:v>0</c:v>
                </c:pt>
                <c:pt idx="12061">
                  <c:v>0</c:v>
                </c:pt>
                <c:pt idx="12062">
                  <c:v>0</c:v>
                </c:pt>
                <c:pt idx="12063">
                  <c:v>0</c:v>
                </c:pt>
                <c:pt idx="12064">
                  <c:v>0</c:v>
                </c:pt>
                <c:pt idx="12065">
                  <c:v>0</c:v>
                </c:pt>
                <c:pt idx="12066">
                  <c:v>0</c:v>
                </c:pt>
                <c:pt idx="12067">
                  <c:v>0</c:v>
                </c:pt>
                <c:pt idx="12068">
                  <c:v>0</c:v>
                </c:pt>
                <c:pt idx="12069">
                  <c:v>0</c:v>
                </c:pt>
                <c:pt idx="12070">
                  <c:v>0</c:v>
                </c:pt>
                <c:pt idx="12071">
                  <c:v>0</c:v>
                </c:pt>
                <c:pt idx="12072">
                  <c:v>0</c:v>
                </c:pt>
                <c:pt idx="12073">
                  <c:v>0</c:v>
                </c:pt>
                <c:pt idx="12074">
                  <c:v>0</c:v>
                </c:pt>
                <c:pt idx="12075">
                  <c:v>0</c:v>
                </c:pt>
                <c:pt idx="12076">
                  <c:v>0</c:v>
                </c:pt>
                <c:pt idx="12077">
                  <c:v>0</c:v>
                </c:pt>
                <c:pt idx="12078">
                  <c:v>0</c:v>
                </c:pt>
                <c:pt idx="12079">
                  <c:v>0</c:v>
                </c:pt>
                <c:pt idx="12080">
                  <c:v>0</c:v>
                </c:pt>
                <c:pt idx="12081">
                  <c:v>0</c:v>
                </c:pt>
                <c:pt idx="12082">
                  <c:v>0</c:v>
                </c:pt>
                <c:pt idx="12083">
                  <c:v>0</c:v>
                </c:pt>
                <c:pt idx="12084">
                  <c:v>0</c:v>
                </c:pt>
                <c:pt idx="12085">
                  <c:v>0</c:v>
                </c:pt>
                <c:pt idx="12086">
                  <c:v>0</c:v>
                </c:pt>
                <c:pt idx="12087">
                  <c:v>0</c:v>
                </c:pt>
                <c:pt idx="12088">
                  <c:v>0</c:v>
                </c:pt>
                <c:pt idx="12089">
                  <c:v>0</c:v>
                </c:pt>
                <c:pt idx="12090">
                  <c:v>0</c:v>
                </c:pt>
                <c:pt idx="12091">
                  <c:v>0</c:v>
                </c:pt>
                <c:pt idx="12092">
                  <c:v>0</c:v>
                </c:pt>
                <c:pt idx="12093">
                  <c:v>0</c:v>
                </c:pt>
                <c:pt idx="12094">
                  <c:v>0</c:v>
                </c:pt>
                <c:pt idx="12095">
                  <c:v>0</c:v>
                </c:pt>
                <c:pt idx="12096">
                  <c:v>0</c:v>
                </c:pt>
                <c:pt idx="12097">
                  <c:v>0</c:v>
                </c:pt>
                <c:pt idx="12098">
                  <c:v>0</c:v>
                </c:pt>
                <c:pt idx="12099">
                  <c:v>0</c:v>
                </c:pt>
                <c:pt idx="12100">
                  <c:v>0</c:v>
                </c:pt>
                <c:pt idx="12101">
                  <c:v>0</c:v>
                </c:pt>
                <c:pt idx="12102">
                  <c:v>0</c:v>
                </c:pt>
                <c:pt idx="12103">
                  <c:v>0</c:v>
                </c:pt>
                <c:pt idx="12104">
                  <c:v>0</c:v>
                </c:pt>
                <c:pt idx="12105">
                  <c:v>0</c:v>
                </c:pt>
                <c:pt idx="12106">
                  <c:v>0</c:v>
                </c:pt>
                <c:pt idx="12107">
                  <c:v>0</c:v>
                </c:pt>
                <c:pt idx="12108">
                  <c:v>0</c:v>
                </c:pt>
                <c:pt idx="12109">
                  <c:v>0</c:v>
                </c:pt>
                <c:pt idx="12110">
                  <c:v>0</c:v>
                </c:pt>
                <c:pt idx="12111">
                  <c:v>0</c:v>
                </c:pt>
                <c:pt idx="12112">
                  <c:v>0</c:v>
                </c:pt>
                <c:pt idx="12113">
                  <c:v>0</c:v>
                </c:pt>
                <c:pt idx="12114">
                  <c:v>0</c:v>
                </c:pt>
                <c:pt idx="12115">
                  <c:v>0</c:v>
                </c:pt>
                <c:pt idx="12116">
                  <c:v>0</c:v>
                </c:pt>
                <c:pt idx="12117">
                  <c:v>0</c:v>
                </c:pt>
                <c:pt idx="12118">
                  <c:v>0</c:v>
                </c:pt>
                <c:pt idx="12119">
                  <c:v>0</c:v>
                </c:pt>
                <c:pt idx="12120">
                  <c:v>0</c:v>
                </c:pt>
                <c:pt idx="12121">
                  <c:v>0</c:v>
                </c:pt>
                <c:pt idx="12122">
                  <c:v>0</c:v>
                </c:pt>
                <c:pt idx="12123">
                  <c:v>0</c:v>
                </c:pt>
                <c:pt idx="12124">
                  <c:v>0</c:v>
                </c:pt>
                <c:pt idx="12125">
                  <c:v>0</c:v>
                </c:pt>
                <c:pt idx="12126">
                  <c:v>0</c:v>
                </c:pt>
                <c:pt idx="12127">
                  <c:v>0</c:v>
                </c:pt>
                <c:pt idx="12128">
                  <c:v>0</c:v>
                </c:pt>
                <c:pt idx="12129">
                  <c:v>0</c:v>
                </c:pt>
                <c:pt idx="12130">
                  <c:v>0</c:v>
                </c:pt>
                <c:pt idx="12131">
                  <c:v>0</c:v>
                </c:pt>
                <c:pt idx="12132">
                  <c:v>0</c:v>
                </c:pt>
                <c:pt idx="12133">
                  <c:v>0</c:v>
                </c:pt>
                <c:pt idx="12134">
                  <c:v>0</c:v>
                </c:pt>
                <c:pt idx="12135">
                  <c:v>0</c:v>
                </c:pt>
                <c:pt idx="12136">
                  <c:v>0</c:v>
                </c:pt>
                <c:pt idx="12137">
                  <c:v>0</c:v>
                </c:pt>
                <c:pt idx="12138">
                  <c:v>0</c:v>
                </c:pt>
                <c:pt idx="12139">
                  <c:v>0</c:v>
                </c:pt>
                <c:pt idx="12140">
                  <c:v>0</c:v>
                </c:pt>
                <c:pt idx="12141">
                  <c:v>0</c:v>
                </c:pt>
                <c:pt idx="12142">
                  <c:v>0</c:v>
                </c:pt>
                <c:pt idx="12143">
                  <c:v>0</c:v>
                </c:pt>
                <c:pt idx="12144">
                  <c:v>0</c:v>
                </c:pt>
                <c:pt idx="12145">
                  <c:v>0</c:v>
                </c:pt>
                <c:pt idx="12146">
                  <c:v>0</c:v>
                </c:pt>
                <c:pt idx="12147">
                  <c:v>0</c:v>
                </c:pt>
                <c:pt idx="12148">
                  <c:v>0</c:v>
                </c:pt>
                <c:pt idx="12149">
                  <c:v>0</c:v>
                </c:pt>
                <c:pt idx="12150">
                  <c:v>0</c:v>
                </c:pt>
                <c:pt idx="12151">
                  <c:v>0.73137447013487455</c:v>
                </c:pt>
                <c:pt idx="12152">
                  <c:v>0.70712909441233118</c:v>
                </c:pt>
                <c:pt idx="12153">
                  <c:v>0.7063262202954399</c:v>
                </c:pt>
                <c:pt idx="12154">
                  <c:v>0.69139364161849715</c:v>
                </c:pt>
                <c:pt idx="12155">
                  <c:v>0.67389210019267809</c:v>
                </c:pt>
                <c:pt idx="12156">
                  <c:v>0.66891461143224151</c:v>
                </c:pt>
                <c:pt idx="12157">
                  <c:v>0.67453437700706487</c:v>
                </c:pt>
                <c:pt idx="12158">
                  <c:v>0.68031473988439295</c:v>
                </c:pt>
                <c:pt idx="12159">
                  <c:v>0.67630061014772003</c:v>
                </c:pt>
                <c:pt idx="12160">
                  <c:v>0.68497113037893387</c:v>
                </c:pt>
                <c:pt idx="12161">
                  <c:v>0.68641616891457935</c:v>
                </c:pt>
                <c:pt idx="12162">
                  <c:v>0.67469497430956982</c:v>
                </c:pt>
                <c:pt idx="12163">
                  <c:v>0.66859341682723183</c:v>
                </c:pt>
                <c:pt idx="12164">
                  <c:v>0.6708413294797686</c:v>
                </c:pt>
                <c:pt idx="12165">
                  <c:v>0.65237642903018633</c:v>
                </c:pt>
                <c:pt idx="12166">
                  <c:v>0.63888888888888884</c:v>
                </c:pt>
                <c:pt idx="12167">
                  <c:v>0.62941559087989707</c:v>
                </c:pt>
                <c:pt idx="12168">
                  <c:v>0.62684649967886941</c:v>
                </c:pt>
                <c:pt idx="12169">
                  <c:v>0.63824661207450228</c:v>
                </c:pt>
                <c:pt idx="12170">
                  <c:v>0.62604362556197812</c:v>
                </c:pt>
                <c:pt idx="12171">
                  <c:v>0.63712265574823368</c:v>
                </c:pt>
                <c:pt idx="12172">
                  <c:v>0.64370589274245327</c:v>
                </c:pt>
                <c:pt idx="12173">
                  <c:v>0.66008347784200394</c:v>
                </c:pt>
                <c:pt idx="12174">
                  <c:v>0.67886958895311489</c:v>
                </c:pt>
                <c:pt idx="12175">
                  <c:v>0.68272323378291588</c:v>
                </c:pt>
                <c:pt idx="12176">
                  <c:v>0.67678227360308285</c:v>
                </c:pt>
                <c:pt idx="12177">
                  <c:v>0.67389210019267809</c:v>
                </c:pt>
                <c:pt idx="12178">
                  <c:v>0.67341042068079626</c:v>
                </c:pt>
                <c:pt idx="12179">
                  <c:v>0.6708413294797686</c:v>
                </c:pt>
                <c:pt idx="12180">
                  <c:v>0.67646120745022476</c:v>
                </c:pt>
                <c:pt idx="12181">
                  <c:v>0.66168911368015415</c:v>
                </c:pt>
                <c:pt idx="12182">
                  <c:v>0.6665061175337188</c:v>
                </c:pt>
                <c:pt idx="12183">
                  <c:v>0.66746946050096345</c:v>
                </c:pt>
                <c:pt idx="12184">
                  <c:v>0.67678227360308285</c:v>
                </c:pt>
                <c:pt idx="12185">
                  <c:v>0.67212586705202315</c:v>
                </c:pt>
                <c:pt idx="12186">
                  <c:v>0.6568722222222223</c:v>
                </c:pt>
                <c:pt idx="12187">
                  <c:v>0.66088635195889545</c:v>
                </c:pt>
                <c:pt idx="12188">
                  <c:v>0.65269749518304443</c:v>
                </c:pt>
                <c:pt idx="12189">
                  <c:v>0.65462432562620432</c:v>
                </c:pt>
                <c:pt idx="12190">
                  <c:v>0.66152862877328178</c:v>
                </c:pt>
                <c:pt idx="12191">
                  <c:v>0.67100192678227355</c:v>
                </c:pt>
                <c:pt idx="12192">
                  <c:v>0.6708413294797686</c:v>
                </c:pt>
                <c:pt idx="12193">
                  <c:v>0.66875401412973678</c:v>
                </c:pt>
                <c:pt idx="12194">
                  <c:v>0.66698779704560041</c:v>
                </c:pt>
                <c:pt idx="12195">
                  <c:v>0.6653821612074502</c:v>
                </c:pt>
                <c:pt idx="12196">
                  <c:v>0.67453437700706487</c:v>
                </c:pt>
                <c:pt idx="12197">
                  <c:v>0.680796403339756</c:v>
                </c:pt>
                <c:pt idx="12198">
                  <c:v>0.68914574502247894</c:v>
                </c:pt>
                <c:pt idx="12199">
                  <c:v>0.70118813423249837</c:v>
                </c:pt>
                <c:pt idx="12200">
                  <c:v>0.69669232498394362</c:v>
                </c:pt>
                <c:pt idx="12201">
                  <c:v>0.70038538856775845</c:v>
                </c:pt>
                <c:pt idx="12202">
                  <c:v>0.68561340719332042</c:v>
                </c:pt>
                <c:pt idx="12203">
                  <c:v>0.66955688824662807</c:v>
                </c:pt>
                <c:pt idx="12204">
                  <c:v>0.66714839434810513</c:v>
                </c:pt>
                <c:pt idx="12205">
                  <c:v>0.66249198779704566</c:v>
                </c:pt>
                <c:pt idx="12206">
                  <c:v>0.67164420359666011</c:v>
                </c:pt>
                <c:pt idx="12207">
                  <c:v>0.66329473346178536</c:v>
                </c:pt>
                <c:pt idx="12208">
                  <c:v>0.67437377970456014</c:v>
                </c:pt>
                <c:pt idx="12209">
                  <c:v>0.66763007385998718</c:v>
                </c:pt>
                <c:pt idx="12210">
                  <c:v>0.6607257546563905</c:v>
                </c:pt>
                <c:pt idx="12211">
                  <c:v>0.6653821612074502</c:v>
                </c:pt>
                <c:pt idx="12212">
                  <c:v>0.6665061175337188</c:v>
                </c:pt>
                <c:pt idx="12213">
                  <c:v>0.65783558124598573</c:v>
                </c:pt>
                <c:pt idx="12214">
                  <c:v>0.66136803147077705</c:v>
                </c:pt>
                <c:pt idx="12215">
                  <c:v>0.67437377970456014</c:v>
                </c:pt>
                <c:pt idx="12216">
                  <c:v>0.66602443802183675</c:v>
                </c:pt>
                <c:pt idx="12217">
                  <c:v>0.66361594412331404</c:v>
                </c:pt>
                <c:pt idx="12218">
                  <c:v>0.63792552986512518</c:v>
                </c:pt>
                <c:pt idx="12219">
                  <c:v>0.62909439627488761</c:v>
                </c:pt>
                <c:pt idx="12220">
                  <c:v>0.63696205844572895</c:v>
                </c:pt>
                <c:pt idx="12221">
                  <c:v>0.62042385998715477</c:v>
                </c:pt>
                <c:pt idx="12222">
                  <c:v>0.59858699421965311</c:v>
                </c:pt>
                <c:pt idx="12223">
                  <c:v>0.58542064868336552</c:v>
                </c:pt>
                <c:pt idx="12224">
                  <c:v>0.58638412010276175</c:v>
                </c:pt>
                <c:pt idx="12225">
                  <c:v>0.58365441554271036</c:v>
                </c:pt>
                <c:pt idx="12226">
                  <c:v>0.59200388567758511</c:v>
                </c:pt>
                <c:pt idx="12227">
                  <c:v>0.607739193962749</c:v>
                </c:pt>
                <c:pt idx="12228">
                  <c:v>0.60918434489402684</c:v>
                </c:pt>
                <c:pt idx="12229">
                  <c:v>0.60324338471419403</c:v>
                </c:pt>
                <c:pt idx="12230">
                  <c:v>0.60854206807964051</c:v>
                </c:pt>
                <c:pt idx="12231">
                  <c:v>0.59569680475272957</c:v>
                </c:pt>
                <c:pt idx="12232">
                  <c:v>0.59505452793834301</c:v>
                </c:pt>
                <c:pt idx="12233">
                  <c:v>0.59746303789338473</c:v>
                </c:pt>
                <c:pt idx="12234">
                  <c:v>0.59666027617212603</c:v>
                </c:pt>
                <c:pt idx="12235">
                  <c:v>0.62588314065510597</c:v>
                </c:pt>
                <c:pt idx="12236">
                  <c:v>0.63776493256262046</c:v>
                </c:pt>
                <c:pt idx="12237">
                  <c:v>0.62459858702633286</c:v>
                </c:pt>
                <c:pt idx="12238">
                  <c:v>0.62588314065510597</c:v>
                </c:pt>
                <c:pt idx="12239">
                  <c:v>0.62315343609505458</c:v>
                </c:pt>
                <c:pt idx="12240">
                  <c:v>0.62716756583172772</c:v>
                </c:pt>
                <c:pt idx="12241">
                  <c:v>0.6403340398201669</c:v>
                </c:pt>
                <c:pt idx="12242">
                  <c:v>0.65012840398201677</c:v>
                </c:pt>
                <c:pt idx="12243">
                  <c:v>0.65301857739242131</c:v>
                </c:pt>
                <c:pt idx="12244">
                  <c:v>0.65542707129094402</c:v>
                </c:pt>
                <c:pt idx="12245">
                  <c:v>0.63583810211946057</c:v>
                </c:pt>
                <c:pt idx="12246">
                  <c:v>0.62427752087347455</c:v>
                </c:pt>
                <c:pt idx="12247">
                  <c:v>0.61978158317276821</c:v>
                </c:pt>
                <c:pt idx="12248">
                  <c:v>0.62909439627488761</c:v>
                </c:pt>
                <c:pt idx="12249">
                  <c:v>0.62042385998715477</c:v>
                </c:pt>
                <c:pt idx="12250">
                  <c:v>0.63198456968529215</c:v>
                </c:pt>
                <c:pt idx="12251">
                  <c:v>0.63985223185613371</c:v>
                </c:pt>
                <c:pt idx="12252">
                  <c:v>0.63985223185613371</c:v>
                </c:pt>
                <c:pt idx="12253">
                  <c:v>0.63551703596660225</c:v>
                </c:pt>
                <c:pt idx="12254">
                  <c:v>0.64466923570969814</c:v>
                </c:pt>
                <c:pt idx="12255">
                  <c:v>0.64242133911368016</c:v>
                </c:pt>
                <c:pt idx="12256">
                  <c:v>0.65350036929993571</c:v>
                </c:pt>
                <c:pt idx="12257">
                  <c:v>0.65895953757225412</c:v>
                </c:pt>
                <c:pt idx="12258">
                  <c:v>0.65173415221579956</c:v>
                </c:pt>
                <c:pt idx="12259">
                  <c:v>0.62877331406551074</c:v>
                </c:pt>
                <c:pt idx="12260">
                  <c:v>0.61640973025048185</c:v>
                </c:pt>
                <c:pt idx="12261">
                  <c:v>0.61062938342967232</c:v>
                </c:pt>
                <c:pt idx="12262">
                  <c:v>0.62251128773281961</c:v>
                </c:pt>
                <c:pt idx="12263">
                  <c:v>0.60886315028901716</c:v>
                </c:pt>
                <c:pt idx="12264">
                  <c:v>0.6112716441875401</c:v>
                </c:pt>
                <c:pt idx="12265">
                  <c:v>0.62620422286448307</c:v>
                </c:pt>
                <c:pt idx="12266">
                  <c:v>0.64113678548490682</c:v>
                </c:pt>
                <c:pt idx="12267">
                  <c:v>0.65960181438664089</c:v>
                </c:pt>
                <c:pt idx="12268">
                  <c:v>0.66201030828516383</c:v>
                </c:pt>
                <c:pt idx="12269">
                  <c:v>0.64177906229929338</c:v>
                </c:pt>
                <c:pt idx="12270">
                  <c:v>0.64161846499678865</c:v>
                </c:pt>
                <c:pt idx="12271">
                  <c:v>0.65012840398201677</c:v>
                </c:pt>
                <c:pt idx="12272">
                  <c:v>0.63792552986512518</c:v>
                </c:pt>
                <c:pt idx="12273">
                  <c:v>0.64434816955684004</c:v>
                </c:pt>
                <c:pt idx="12274">
                  <c:v>0.6514129415542711</c:v>
                </c:pt>
                <c:pt idx="12275">
                  <c:v>0.6514129415542711</c:v>
                </c:pt>
                <c:pt idx="12276">
                  <c:v>0.66056515735388577</c:v>
                </c:pt>
                <c:pt idx="12277">
                  <c:v>0.64161846499678865</c:v>
                </c:pt>
                <c:pt idx="12278">
                  <c:v>0.61705200706486818</c:v>
                </c:pt>
                <c:pt idx="12279">
                  <c:v>0.61496470777135492</c:v>
                </c:pt>
                <c:pt idx="12280">
                  <c:v>0.61287728002569031</c:v>
                </c:pt>
                <c:pt idx="12281">
                  <c:v>0.6194605170199099</c:v>
                </c:pt>
                <c:pt idx="12282">
                  <c:v>0.62042385998715477</c:v>
                </c:pt>
                <c:pt idx="12283">
                  <c:v>0.60244063904945411</c:v>
                </c:pt>
                <c:pt idx="12284">
                  <c:v>0.6194605170199099</c:v>
                </c:pt>
                <c:pt idx="12285">
                  <c:v>0.6359986994219653</c:v>
                </c:pt>
                <c:pt idx="12286">
                  <c:v>0.62074505459216445</c:v>
                </c:pt>
                <c:pt idx="12287">
                  <c:v>0.61496470777135492</c:v>
                </c:pt>
                <c:pt idx="12288">
                  <c:v>0.60870266538214524</c:v>
                </c:pt>
                <c:pt idx="12289">
                  <c:v>0.59136160886319833</c:v>
                </c:pt>
                <c:pt idx="12290">
                  <c:v>0.58831082209377006</c:v>
                </c:pt>
                <c:pt idx="12291">
                  <c:v>0.60533081245985865</c:v>
                </c:pt>
                <c:pt idx="12292">
                  <c:v>0.61496470777135492</c:v>
                </c:pt>
                <c:pt idx="12293">
                  <c:v>0.60597297687861285</c:v>
                </c:pt>
                <c:pt idx="12294">
                  <c:v>0.60099548811817582</c:v>
                </c:pt>
                <c:pt idx="12295">
                  <c:v>0.60741812780989068</c:v>
                </c:pt>
                <c:pt idx="12296">
                  <c:v>0.63278744380218366</c:v>
                </c:pt>
                <c:pt idx="12297">
                  <c:v>0.63824661207450228</c:v>
                </c:pt>
                <c:pt idx="12298">
                  <c:v>0.63150290622992933</c:v>
                </c:pt>
                <c:pt idx="12299">
                  <c:v>0.63937055234425166</c:v>
                </c:pt>
                <c:pt idx="12300">
                  <c:v>0.62829165061014769</c:v>
                </c:pt>
                <c:pt idx="12301">
                  <c:v>0.60324338471419403</c:v>
                </c:pt>
                <c:pt idx="12302">
                  <c:v>0.5903982498394349</c:v>
                </c:pt>
                <c:pt idx="12303">
                  <c:v>0.60035321130378949</c:v>
                </c:pt>
                <c:pt idx="12304">
                  <c:v>0.60966602440590867</c:v>
                </c:pt>
                <c:pt idx="12305">
                  <c:v>0.61801536608863206</c:v>
                </c:pt>
                <c:pt idx="12306">
                  <c:v>0.61319847463069999</c:v>
                </c:pt>
                <c:pt idx="12307">
                  <c:v>0.59955046563904935</c:v>
                </c:pt>
                <c:pt idx="12308">
                  <c:v>0.5969813583815029</c:v>
                </c:pt>
                <c:pt idx="12309">
                  <c:v>0.61191392100192687</c:v>
                </c:pt>
                <c:pt idx="12310">
                  <c:v>0.63631991008349398</c:v>
                </c:pt>
                <c:pt idx="12311">
                  <c:v>0.62459858702633286</c:v>
                </c:pt>
                <c:pt idx="12312">
                  <c:v>0.61962111432241485</c:v>
                </c:pt>
                <c:pt idx="12313">
                  <c:v>0.6194605170199099</c:v>
                </c:pt>
                <c:pt idx="12314">
                  <c:v>0.60741812780989068</c:v>
                </c:pt>
                <c:pt idx="12315">
                  <c:v>0.58204879576107893</c:v>
                </c:pt>
                <c:pt idx="12316">
                  <c:v>0.59071933204881177</c:v>
                </c:pt>
                <c:pt idx="12317">
                  <c:v>0.60051380860629422</c:v>
                </c:pt>
                <c:pt idx="12318">
                  <c:v>0.59296722864482976</c:v>
                </c:pt>
                <c:pt idx="12319">
                  <c:v>0.57418113359023759</c:v>
                </c:pt>
                <c:pt idx="12320">
                  <c:v>0.57739238921001923</c:v>
                </c:pt>
                <c:pt idx="12321">
                  <c:v>0.58734747912652518</c:v>
                </c:pt>
                <c:pt idx="12322">
                  <c:v>0.57867694283879234</c:v>
                </c:pt>
                <c:pt idx="12323">
                  <c:v>0.55748233782915868</c:v>
                </c:pt>
                <c:pt idx="12324">
                  <c:v>0.55122031149646755</c:v>
                </c:pt>
                <c:pt idx="12325">
                  <c:v>0.55956963712267171</c:v>
                </c:pt>
                <c:pt idx="12326">
                  <c:v>0.53452151573538842</c:v>
                </c:pt>
                <c:pt idx="12327">
                  <c:v>0.54672450224791258</c:v>
                </c:pt>
                <c:pt idx="12328">
                  <c:v>0.52456642581888246</c:v>
                </c:pt>
                <c:pt idx="12329">
                  <c:v>0.51862559409120079</c:v>
                </c:pt>
                <c:pt idx="12330">
                  <c:v>0.50850990687219011</c:v>
                </c:pt>
                <c:pt idx="12331">
                  <c:v>0.50176620102761715</c:v>
                </c:pt>
                <c:pt idx="12332">
                  <c:v>0.48651255619781608</c:v>
                </c:pt>
                <c:pt idx="12333">
                  <c:v>0.45953760436737312</c:v>
                </c:pt>
                <c:pt idx="12334">
                  <c:v>0.44813747591522168</c:v>
                </c:pt>
                <c:pt idx="12335">
                  <c:v>0.44139365767501615</c:v>
                </c:pt>
                <c:pt idx="12336">
                  <c:v>0.44717400449582523</c:v>
                </c:pt>
                <c:pt idx="12337">
                  <c:v>0.44910083493898512</c:v>
                </c:pt>
                <c:pt idx="12338">
                  <c:v>0.43641616891457913</c:v>
                </c:pt>
                <c:pt idx="12339">
                  <c:v>0.4246949743095696</c:v>
                </c:pt>
                <c:pt idx="12340">
                  <c:v>0.41522156390494547</c:v>
                </c:pt>
                <c:pt idx="12341">
                  <c:v>0.4258189306358382</c:v>
                </c:pt>
                <c:pt idx="12342">
                  <c:v>0.43593448940269752</c:v>
                </c:pt>
                <c:pt idx="12343">
                  <c:v>0.43143869621066155</c:v>
                </c:pt>
                <c:pt idx="12344">
                  <c:v>0.42790622992935146</c:v>
                </c:pt>
                <c:pt idx="12345">
                  <c:v>0.41441868978805396</c:v>
                </c:pt>
                <c:pt idx="12346">
                  <c:v>0.41024409120102745</c:v>
                </c:pt>
                <c:pt idx="12347">
                  <c:v>0.40976241168914584</c:v>
                </c:pt>
                <c:pt idx="12348">
                  <c:v>0.41425822093770059</c:v>
                </c:pt>
                <c:pt idx="12349">
                  <c:v>0.40173415221579956</c:v>
                </c:pt>
                <c:pt idx="12350">
                  <c:v>0.39804110468850329</c:v>
                </c:pt>
                <c:pt idx="12351">
                  <c:v>0.39402697495183037</c:v>
                </c:pt>
                <c:pt idx="12352">
                  <c:v>0.41040456005138082</c:v>
                </c:pt>
                <c:pt idx="12353">
                  <c:v>0.40655102761721262</c:v>
                </c:pt>
                <c:pt idx="12354">
                  <c:v>0.43432886962106609</c:v>
                </c:pt>
                <c:pt idx="12355">
                  <c:v>0.45584454078355829</c:v>
                </c:pt>
                <c:pt idx="12356">
                  <c:v>0.46499675658317274</c:v>
                </c:pt>
                <c:pt idx="12357">
                  <c:v>0.46017986512524089</c:v>
                </c:pt>
                <c:pt idx="12358">
                  <c:v>0.45648681759794463</c:v>
                </c:pt>
                <c:pt idx="12359">
                  <c:v>0.44026970134874754</c:v>
                </c:pt>
                <c:pt idx="12360">
                  <c:v>0.43754012524084773</c:v>
                </c:pt>
                <c:pt idx="12361">
                  <c:v>0.43930634232498389</c:v>
                </c:pt>
                <c:pt idx="12362">
                  <c:v>0.44476562299293509</c:v>
                </c:pt>
                <c:pt idx="12363">
                  <c:v>0.46114322414900455</c:v>
                </c:pt>
                <c:pt idx="12364">
                  <c:v>0.46852920680796384</c:v>
                </c:pt>
                <c:pt idx="12365">
                  <c:v>0.4606615446371225</c:v>
                </c:pt>
                <c:pt idx="12366">
                  <c:v>0.4617855009633911</c:v>
                </c:pt>
                <c:pt idx="12367">
                  <c:v>0.46419399486191404</c:v>
                </c:pt>
                <c:pt idx="12368">
                  <c:v>0.44299940590879894</c:v>
                </c:pt>
                <c:pt idx="12369">
                  <c:v>0.43448933847141946</c:v>
                </c:pt>
                <c:pt idx="12370">
                  <c:v>0.43432886962106609</c:v>
                </c:pt>
                <c:pt idx="12371">
                  <c:v>0.43786131984585741</c:v>
                </c:pt>
                <c:pt idx="12372">
                  <c:v>0.43143869621066155</c:v>
                </c:pt>
                <c:pt idx="12373">
                  <c:v>0.4211625240847785</c:v>
                </c:pt>
                <c:pt idx="12374">
                  <c:v>0.41441868978805396</c:v>
                </c:pt>
                <c:pt idx="12375">
                  <c:v>0.42967246307000639</c:v>
                </c:pt>
                <c:pt idx="12376">
                  <c:v>0.43400767501605642</c:v>
                </c:pt>
                <c:pt idx="12377">
                  <c:v>0.43529221258831097</c:v>
                </c:pt>
                <c:pt idx="12378">
                  <c:v>0.45327556197816321</c:v>
                </c:pt>
                <c:pt idx="12379">
                  <c:v>0.44075149325626195</c:v>
                </c:pt>
                <c:pt idx="12380">
                  <c:v>0.44235712909441216</c:v>
                </c:pt>
                <c:pt idx="12381">
                  <c:v>0.46499675658317274</c:v>
                </c:pt>
                <c:pt idx="12382">
                  <c:v>0.45648681759794463</c:v>
                </c:pt>
                <c:pt idx="12383">
                  <c:v>0.45407832369942192</c:v>
                </c:pt>
                <c:pt idx="12384">
                  <c:v>0.44219653179190743</c:v>
                </c:pt>
                <c:pt idx="12385">
                  <c:v>0.42678228965960163</c:v>
                </c:pt>
                <c:pt idx="12386">
                  <c:v>0.43497114643545265</c:v>
                </c:pt>
                <c:pt idx="12387">
                  <c:v>0.43272323378291588</c:v>
                </c:pt>
                <c:pt idx="12388">
                  <c:v>0.43352599550417481</c:v>
                </c:pt>
                <c:pt idx="12389">
                  <c:v>0.43641616891457913</c:v>
                </c:pt>
                <c:pt idx="12390">
                  <c:v>0.41634552023121385</c:v>
                </c:pt>
                <c:pt idx="12391">
                  <c:v>0.41891462748876029</c:v>
                </c:pt>
                <c:pt idx="12392">
                  <c:v>0.41201030828516383</c:v>
                </c:pt>
                <c:pt idx="12393">
                  <c:v>0.39322410083493908</c:v>
                </c:pt>
                <c:pt idx="12394">
                  <c:v>0.39499031791907524</c:v>
                </c:pt>
                <c:pt idx="12395">
                  <c:v>0.38005775529865127</c:v>
                </c:pt>
                <c:pt idx="12396">
                  <c:v>0.3458574181117533</c:v>
                </c:pt>
                <c:pt idx="12397">
                  <c:v>0.33156711624919732</c:v>
                </c:pt>
                <c:pt idx="12398">
                  <c:v>0.34666029222864481</c:v>
                </c:pt>
                <c:pt idx="12399">
                  <c:v>0.36528578998073225</c:v>
                </c:pt>
                <c:pt idx="12400">
                  <c:v>0.38391140012845226</c:v>
                </c:pt>
                <c:pt idx="12401">
                  <c:v>0.37508026653821447</c:v>
                </c:pt>
                <c:pt idx="12402">
                  <c:v>0.37668590237636468</c:v>
                </c:pt>
                <c:pt idx="12403">
                  <c:v>0.36384075144508676</c:v>
                </c:pt>
                <c:pt idx="12404">
                  <c:v>0.36592806679511858</c:v>
                </c:pt>
                <c:pt idx="12405">
                  <c:v>0.37893379897238288</c:v>
                </c:pt>
                <c:pt idx="12406">
                  <c:v>0.3497109505459215</c:v>
                </c:pt>
                <c:pt idx="12407">
                  <c:v>0.32257551380860616</c:v>
                </c:pt>
                <c:pt idx="12408">
                  <c:v>0.31807957610789983</c:v>
                </c:pt>
                <c:pt idx="12409">
                  <c:v>0.33076424213230582</c:v>
                </c:pt>
                <c:pt idx="12410">
                  <c:v>0.33750807642903013</c:v>
                </c:pt>
                <c:pt idx="12411">
                  <c:v>0.33991645793192027</c:v>
                </c:pt>
                <c:pt idx="12412">
                  <c:v>0.34537573859987147</c:v>
                </c:pt>
                <c:pt idx="12413">
                  <c:v>0.35838147077713556</c:v>
                </c:pt>
                <c:pt idx="12414">
                  <c:v>0.37909439627488761</c:v>
                </c:pt>
                <c:pt idx="12415">
                  <c:v>0.37475920038535637</c:v>
                </c:pt>
                <c:pt idx="12416">
                  <c:v>0.38407188503532419</c:v>
                </c:pt>
                <c:pt idx="12417">
                  <c:v>0.3813423089274246</c:v>
                </c:pt>
                <c:pt idx="12418">
                  <c:v>0.37251128773281938</c:v>
                </c:pt>
                <c:pt idx="12419">
                  <c:v>0.39499031791907524</c:v>
                </c:pt>
                <c:pt idx="12420">
                  <c:v>0.38728326910725763</c:v>
                </c:pt>
                <c:pt idx="12421">
                  <c:v>0.35565189466923575</c:v>
                </c:pt>
                <c:pt idx="12422">
                  <c:v>0.34810531470777129</c:v>
                </c:pt>
                <c:pt idx="12423">
                  <c:v>0.36576746949261385</c:v>
                </c:pt>
                <c:pt idx="12424">
                  <c:v>0.35324340077071303</c:v>
                </c:pt>
                <c:pt idx="12425">
                  <c:v>0.33381502890173387</c:v>
                </c:pt>
                <c:pt idx="12426">
                  <c:v>0.3362235228002568</c:v>
                </c:pt>
                <c:pt idx="12427">
                  <c:v>0.36400123635195891</c:v>
                </c:pt>
                <c:pt idx="12428">
                  <c:v>0.38407188503532419</c:v>
                </c:pt>
                <c:pt idx="12429">
                  <c:v>0.38664099229287086</c:v>
                </c:pt>
                <c:pt idx="12430">
                  <c:v>0.37443798972382791</c:v>
                </c:pt>
                <c:pt idx="12431">
                  <c:v>0.38037894990366072</c:v>
                </c:pt>
                <c:pt idx="12432">
                  <c:v>0.39884397880539502</c:v>
                </c:pt>
                <c:pt idx="12433">
                  <c:v>0.38969176300578034</c:v>
                </c:pt>
                <c:pt idx="12434">
                  <c:v>0.38118171162491965</c:v>
                </c:pt>
                <c:pt idx="12435">
                  <c:v>0.3856776332691072</c:v>
                </c:pt>
                <c:pt idx="12436">
                  <c:v>0.3848747591522157</c:v>
                </c:pt>
                <c:pt idx="12437">
                  <c:v>0.38455367694283882</c:v>
                </c:pt>
                <c:pt idx="12438">
                  <c:v>0.39932565831727684</c:v>
                </c:pt>
                <c:pt idx="12439">
                  <c:v>0.41281307000642253</c:v>
                </c:pt>
                <c:pt idx="12440">
                  <c:v>0.42501605651894669</c:v>
                </c:pt>
                <c:pt idx="12441">
                  <c:v>0.42630061014771981</c:v>
                </c:pt>
                <c:pt idx="12442">
                  <c:v>0.41602443802183697</c:v>
                </c:pt>
                <c:pt idx="12443">
                  <c:v>0.42405269749518304</c:v>
                </c:pt>
                <c:pt idx="12444">
                  <c:v>0.43368659280667954</c:v>
                </c:pt>
                <c:pt idx="12445">
                  <c:v>0.44621066152858058</c:v>
                </c:pt>
                <c:pt idx="12446">
                  <c:v>0.44797687861271696</c:v>
                </c:pt>
                <c:pt idx="12447">
                  <c:v>0.46836860950545911</c:v>
                </c:pt>
                <c:pt idx="12448">
                  <c:v>0.48426464354527954</c:v>
                </c:pt>
                <c:pt idx="12449">
                  <c:v>0.49646751766217068</c:v>
                </c:pt>
                <c:pt idx="12450">
                  <c:v>0.50337182080924858</c:v>
                </c:pt>
                <c:pt idx="12451">
                  <c:v>0.51910727360308284</c:v>
                </c:pt>
                <c:pt idx="12452">
                  <c:v>0.5351637925497752</c:v>
                </c:pt>
                <c:pt idx="12453">
                  <c:v>0.52842007064868346</c:v>
                </c:pt>
                <c:pt idx="12454">
                  <c:v>0.51991014771997435</c:v>
                </c:pt>
                <c:pt idx="12455">
                  <c:v>0.52231852922286426</c:v>
                </c:pt>
                <c:pt idx="12456">
                  <c:v>0.52215804431599233</c:v>
                </c:pt>
                <c:pt idx="12457">
                  <c:v>0.49951828837508039</c:v>
                </c:pt>
                <c:pt idx="12458">
                  <c:v>0.5019267983301221</c:v>
                </c:pt>
                <c:pt idx="12459">
                  <c:v>0.5150931438664097</c:v>
                </c:pt>
                <c:pt idx="12460">
                  <c:v>0.51220295439948638</c:v>
                </c:pt>
                <c:pt idx="12461">
                  <c:v>0.52296078998073203</c:v>
                </c:pt>
                <c:pt idx="12462">
                  <c:v>0.52842007064868346</c:v>
                </c:pt>
                <c:pt idx="12463">
                  <c:v>0.52231852922286426</c:v>
                </c:pt>
                <c:pt idx="12464">
                  <c:v>0.52231852922286426</c:v>
                </c:pt>
                <c:pt idx="12465">
                  <c:v>0.51926787090558757</c:v>
                </c:pt>
                <c:pt idx="12466">
                  <c:v>0.5123635517019911</c:v>
                </c:pt>
                <c:pt idx="12467">
                  <c:v>0.50321135195889521</c:v>
                </c:pt>
                <c:pt idx="12468">
                  <c:v>0.48699423570969813</c:v>
                </c:pt>
                <c:pt idx="12469">
                  <c:v>0.47752082530507378</c:v>
                </c:pt>
                <c:pt idx="12470">
                  <c:v>0.45134873153500332</c:v>
                </c:pt>
                <c:pt idx="12471">
                  <c:v>0.45439951830443137</c:v>
                </c:pt>
                <c:pt idx="12472">
                  <c:v>0.46852920680796384</c:v>
                </c:pt>
                <c:pt idx="12473">
                  <c:v>0.45343604688503536</c:v>
                </c:pt>
                <c:pt idx="12474">
                  <c:v>0.4463712588310853</c:v>
                </c:pt>
                <c:pt idx="12475">
                  <c:v>0.45391783879254977</c:v>
                </c:pt>
                <c:pt idx="12476">
                  <c:v>0.45215160565189483</c:v>
                </c:pt>
                <c:pt idx="12477">
                  <c:v>0.46451507707129092</c:v>
                </c:pt>
                <c:pt idx="12478">
                  <c:v>0.48490692035966587</c:v>
                </c:pt>
                <c:pt idx="12479">
                  <c:v>0.48827877328195246</c:v>
                </c:pt>
                <c:pt idx="12480">
                  <c:v>0.4868336223506744</c:v>
                </c:pt>
                <c:pt idx="12481">
                  <c:v>0.4914900289017341</c:v>
                </c:pt>
                <c:pt idx="12482">
                  <c:v>0.48651255619781608</c:v>
                </c:pt>
                <c:pt idx="12483">
                  <c:v>0.46355173410404626</c:v>
                </c:pt>
                <c:pt idx="12484">
                  <c:v>0.43994861913937067</c:v>
                </c:pt>
                <c:pt idx="12485">
                  <c:v>0.44043029865125227</c:v>
                </c:pt>
                <c:pt idx="12486">
                  <c:v>0.45054585741811182</c:v>
                </c:pt>
                <c:pt idx="12487">
                  <c:v>0.45439951830443137</c:v>
                </c:pt>
                <c:pt idx="12488">
                  <c:v>0.43529221258831097</c:v>
                </c:pt>
                <c:pt idx="12489">
                  <c:v>0.42999354527938327</c:v>
                </c:pt>
                <c:pt idx="12490">
                  <c:v>0.44621066152858058</c:v>
                </c:pt>
                <c:pt idx="12491">
                  <c:v>0.45359664418754009</c:v>
                </c:pt>
                <c:pt idx="12492">
                  <c:v>0.45199100834938988</c:v>
                </c:pt>
                <c:pt idx="12493">
                  <c:v>0.46772646114322414</c:v>
                </c:pt>
                <c:pt idx="12494">
                  <c:v>0.48153495504174693</c:v>
                </c:pt>
                <c:pt idx="12495">
                  <c:v>0.47045603725112373</c:v>
                </c:pt>
                <c:pt idx="12496">
                  <c:v>0.45488119781631342</c:v>
                </c:pt>
                <c:pt idx="12497">
                  <c:v>0.45359664418754009</c:v>
                </c:pt>
                <c:pt idx="12498">
                  <c:v>0.43802180475272956</c:v>
                </c:pt>
                <c:pt idx="12499">
                  <c:v>0.43031473988439295</c:v>
                </c:pt>
                <c:pt idx="12500">
                  <c:v>0.42324982337829153</c:v>
                </c:pt>
                <c:pt idx="12501">
                  <c:v>0.4463712588310853</c:v>
                </c:pt>
                <c:pt idx="12502">
                  <c:v>0.43256263648041093</c:v>
                </c:pt>
                <c:pt idx="12503">
                  <c:v>0.41457928709055869</c:v>
                </c:pt>
                <c:pt idx="12504">
                  <c:v>0.40173415221579956</c:v>
                </c:pt>
                <c:pt idx="12505">
                  <c:v>0.37508026653821447</c:v>
                </c:pt>
                <c:pt idx="12506">
                  <c:v>0.38455367694283882</c:v>
                </c:pt>
                <c:pt idx="12507">
                  <c:v>0.39081571933204873</c:v>
                </c:pt>
                <c:pt idx="12508">
                  <c:v>0.38150290622992933</c:v>
                </c:pt>
                <c:pt idx="12509">
                  <c:v>0.38278745985870266</c:v>
                </c:pt>
                <c:pt idx="12510">
                  <c:v>0.39836217084136161</c:v>
                </c:pt>
                <c:pt idx="12511">
                  <c:v>0.40061019588953117</c:v>
                </c:pt>
                <c:pt idx="12512">
                  <c:v>0.3856776332691072</c:v>
                </c:pt>
                <c:pt idx="12513">
                  <c:v>0.40093127809890805</c:v>
                </c:pt>
                <c:pt idx="12514">
                  <c:v>0.39049450867052027</c:v>
                </c:pt>
                <c:pt idx="12515">
                  <c:v>0.3856776332691072</c:v>
                </c:pt>
                <c:pt idx="12516">
                  <c:v>0.37443798972382791</c:v>
                </c:pt>
                <c:pt idx="12517">
                  <c:v>0.3516377649325626</c:v>
                </c:pt>
                <c:pt idx="12518">
                  <c:v>0.34505454399486202</c:v>
                </c:pt>
                <c:pt idx="12519">
                  <c:v>0.33012196531791904</c:v>
                </c:pt>
                <c:pt idx="12520">
                  <c:v>0.30041743737957605</c:v>
                </c:pt>
                <c:pt idx="12521">
                  <c:v>0.29014126525369299</c:v>
                </c:pt>
                <c:pt idx="12522">
                  <c:v>0.29865120423892111</c:v>
                </c:pt>
                <c:pt idx="12523">
                  <c:v>0.30876689145793179</c:v>
                </c:pt>
                <c:pt idx="12524">
                  <c:v>0.32353885677585104</c:v>
                </c:pt>
                <c:pt idx="12525">
                  <c:v>0.3269107096981374</c:v>
                </c:pt>
                <c:pt idx="12526">
                  <c:v>0.33847143545279379</c:v>
                </c:pt>
                <c:pt idx="12527">
                  <c:v>0.34633908156711612</c:v>
                </c:pt>
                <c:pt idx="12528">
                  <c:v>0.34216435452793825</c:v>
                </c:pt>
                <c:pt idx="12529">
                  <c:v>0.31759791265253678</c:v>
                </c:pt>
                <c:pt idx="12530">
                  <c:v>0.30732174052665395</c:v>
                </c:pt>
                <c:pt idx="12531">
                  <c:v>0.33895309890815684</c:v>
                </c:pt>
                <c:pt idx="12532">
                  <c:v>0.34248556518946693</c:v>
                </c:pt>
                <c:pt idx="12533">
                  <c:v>0.35420674373795769</c:v>
                </c:pt>
                <c:pt idx="12534">
                  <c:v>0.36689140976236345</c:v>
                </c:pt>
                <c:pt idx="12535">
                  <c:v>0.3810212267180475</c:v>
                </c:pt>
                <c:pt idx="12536">
                  <c:v>0.360950578034682</c:v>
                </c:pt>
                <c:pt idx="12537">
                  <c:v>0.34457286448297997</c:v>
                </c:pt>
                <c:pt idx="12538">
                  <c:v>0.34216435452793825</c:v>
                </c:pt>
                <c:pt idx="12539">
                  <c:v>0.35452795439948614</c:v>
                </c:pt>
                <c:pt idx="12540">
                  <c:v>0.36400123635195891</c:v>
                </c:pt>
                <c:pt idx="12541">
                  <c:v>0.35356459537572249</c:v>
                </c:pt>
                <c:pt idx="12542">
                  <c:v>0.34377010276172126</c:v>
                </c:pt>
                <c:pt idx="12543">
                  <c:v>0.34714197174052663</c:v>
                </c:pt>
                <c:pt idx="12544">
                  <c:v>0.34168269107257543</c:v>
                </c:pt>
                <c:pt idx="12545">
                  <c:v>0.33317275208734753</c:v>
                </c:pt>
                <c:pt idx="12546">
                  <c:v>0.31005131663455354</c:v>
                </c:pt>
                <c:pt idx="12547">
                  <c:v>0.29688498715478495</c:v>
                </c:pt>
                <c:pt idx="12548">
                  <c:v>0.29046247591522145</c:v>
                </c:pt>
                <c:pt idx="12549">
                  <c:v>0.27697493577392418</c:v>
                </c:pt>
                <c:pt idx="12550">
                  <c:v>0.30764293513166363</c:v>
                </c:pt>
                <c:pt idx="12551">
                  <c:v>0.32658964354527931</c:v>
                </c:pt>
                <c:pt idx="12552">
                  <c:v>0.32000640655105972</c:v>
                </c:pt>
                <c:pt idx="12553">
                  <c:v>0.30764293513166363</c:v>
                </c:pt>
                <c:pt idx="12554">
                  <c:v>0.29945407835581261</c:v>
                </c:pt>
                <c:pt idx="12555">
                  <c:v>0.30860629415542706</c:v>
                </c:pt>
                <c:pt idx="12556">
                  <c:v>0.30073863198458572</c:v>
                </c:pt>
                <c:pt idx="12557">
                  <c:v>0.28323696210661531</c:v>
                </c:pt>
                <c:pt idx="12558">
                  <c:v>0.26172129094412311</c:v>
                </c:pt>
                <c:pt idx="12559">
                  <c:v>0.25818884071933201</c:v>
                </c:pt>
                <c:pt idx="12560">
                  <c:v>0.26252403660886325</c:v>
                </c:pt>
                <c:pt idx="12561">
                  <c:v>0.26140009633911365</c:v>
                </c:pt>
                <c:pt idx="12562">
                  <c:v>0.26766212267180456</c:v>
                </c:pt>
                <c:pt idx="12563">
                  <c:v>0.2461464515093128</c:v>
                </c:pt>
                <c:pt idx="12564">
                  <c:v>0.24951830443159917</c:v>
                </c:pt>
                <c:pt idx="12565">
                  <c:v>0.23603087668593448</c:v>
                </c:pt>
                <c:pt idx="12566">
                  <c:v>0.22366729287090559</c:v>
                </c:pt>
                <c:pt idx="12567">
                  <c:v>0.24052668593448945</c:v>
                </c:pt>
                <c:pt idx="12568">
                  <c:v>0.22077711946050105</c:v>
                </c:pt>
                <c:pt idx="12569">
                  <c:v>0.21017988118175968</c:v>
                </c:pt>
                <c:pt idx="12570">
                  <c:v>0.17180480089916506</c:v>
                </c:pt>
                <c:pt idx="12571">
                  <c:v>0.15719332048811796</c:v>
                </c:pt>
                <c:pt idx="12572">
                  <c:v>0.15189463712267171</c:v>
                </c:pt>
                <c:pt idx="12573">
                  <c:v>0.13519584136159279</c:v>
                </c:pt>
                <c:pt idx="12574">
                  <c:v>0.14129739884393056</c:v>
                </c:pt>
                <c:pt idx="12575">
                  <c:v>0.13937056840077067</c:v>
                </c:pt>
                <c:pt idx="12576">
                  <c:v>0.1568722382787413</c:v>
                </c:pt>
                <c:pt idx="12577">
                  <c:v>0.15831726075786778</c:v>
                </c:pt>
                <c:pt idx="12578">
                  <c:v>0.15093127809890827</c:v>
                </c:pt>
                <c:pt idx="12579">
                  <c:v>0.16104685292228638</c:v>
                </c:pt>
                <c:pt idx="12580">
                  <c:v>0.16586385677585103</c:v>
                </c:pt>
                <c:pt idx="12581">
                  <c:v>0.14274242132305726</c:v>
                </c:pt>
                <c:pt idx="12582">
                  <c:v>0.12459860308285164</c:v>
                </c:pt>
                <c:pt idx="12583">
                  <c:v>0.14033392742453432</c:v>
                </c:pt>
                <c:pt idx="12584">
                  <c:v>0.1411368015414256</c:v>
                </c:pt>
                <c:pt idx="12585">
                  <c:v>0.13535643866409752</c:v>
                </c:pt>
                <c:pt idx="12586">
                  <c:v>0.12764937379576091</c:v>
                </c:pt>
                <c:pt idx="12587">
                  <c:v>0.10083493898522811</c:v>
                </c:pt>
                <c:pt idx="12588">
                  <c:v>7.8516377649325619E-2</c:v>
                </c:pt>
                <c:pt idx="12589">
                  <c:v>7.8034682080924789E-2</c:v>
                </c:pt>
                <c:pt idx="12590">
                  <c:v>8.2851637764932429E-2</c:v>
                </c:pt>
                <c:pt idx="12591">
                  <c:v>7.3859987154784701E-2</c:v>
                </c:pt>
                <c:pt idx="12592">
                  <c:v>5.9087989723827672E-2</c:v>
                </c:pt>
                <c:pt idx="12593">
                  <c:v>7.4341682723185532E-2</c:v>
                </c:pt>
                <c:pt idx="12594">
                  <c:v>8.6223506743738021E-2</c:v>
                </c:pt>
                <c:pt idx="12595">
                  <c:v>9.0237636480411165E-2</c:v>
                </c:pt>
                <c:pt idx="12596">
                  <c:v>8.5099550417469416E-2</c:v>
                </c:pt>
                <c:pt idx="12597">
                  <c:v>6.7116249197173961E-2</c:v>
                </c:pt>
                <c:pt idx="12598">
                  <c:v>7.6910725754656184E-2</c:v>
                </c:pt>
                <c:pt idx="12599">
                  <c:v>8.3012202954399594E-2</c:v>
                </c:pt>
                <c:pt idx="12600">
                  <c:v>8.6544637122671908E-2</c:v>
                </c:pt>
                <c:pt idx="12601">
                  <c:v>8.0282594733461776E-2</c:v>
                </c:pt>
                <c:pt idx="12602">
                  <c:v>5.3307642903018593E-2</c:v>
                </c:pt>
                <c:pt idx="12603">
                  <c:v>4.3834296724470256E-2</c:v>
                </c:pt>
                <c:pt idx="12604">
                  <c:v>6.181759794476549E-2</c:v>
                </c:pt>
                <c:pt idx="12605">
                  <c:v>8.236994219653182E-2</c:v>
                </c:pt>
                <c:pt idx="12606">
                  <c:v>7.8516377649325619E-2</c:v>
                </c:pt>
                <c:pt idx="12607">
                  <c:v>9.3609505459216313E-2</c:v>
                </c:pt>
                <c:pt idx="12608">
                  <c:v>0.12347463070006426</c:v>
                </c:pt>
                <c:pt idx="12609">
                  <c:v>0.12299293513166343</c:v>
                </c:pt>
                <c:pt idx="12610">
                  <c:v>0.11544637122671797</c:v>
                </c:pt>
                <c:pt idx="12611">
                  <c:v>0.10517019910083492</c:v>
                </c:pt>
                <c:pt idx="12612">
                  <c:v>0.10629415542710352</c:v>
                </c:pt>
                <c:pt idx="12613">
                  <c:v>9.4733461785484918E-2</c:v>
                </c:pt>
                <c:pt idx="12614">
                  <c:v>9.0237636480411165E-2</c:v>
                </c:pt>
                <c:pt idx="12615">
                  <c:v>9.5054592164418805E-2</c:v>
                </c:pt>
                <c:pt idx="12616">
                  <c:v>0.11223506743737954</c:v>
                </c:pt>
                <c:pt idx="12617">
                  <c:v>0.15462427745664731</c:v>
                </c:pt>
                <c:pt idx="12618">
                  <c:v>0.17308927424534359</c:v>
                </c:pt>
                <c:pt idx="12619">
                  <c:v>0.18095696852922272</c:v>
                </c:pt>
                <c:pt idx="12620">
                  <c:v>0.18288375080282604</c:v>
                </c:pt>
                <c:pt idx="12621">
                  <c:v>0.2066473988439308</c:v>
                </c:pt>
                <c:pt idx="12622">
                  <c:v>0.20279383429672437</c:v>
                </c:pt>
                <c:pt idx="12623">
                  <c:v>0.20761078998073201</c:v>
                </c:pt>
                <c:pt idx="12624">
                  <c:v>0.20022479126525372</c:v>
                </c:pt>
                <c:pt idx="12625">
                  <c:v>0.2060051380860628</c:v>
                </c:pt>
                <c:pt idx="12626">
                  <c:v>0.17341040462427748</c:v>
                </c:pt>
                <c:pt idx="12627">
                  <c:v>0.18625561978163119</c:v>
                </c:pt>
                <c:pt idx="12628">
                  <c:v>0.1865767501605653</c:v>
                </c:pt>
                <c:pt idx="12629">
                  <c:v>0.19315992292870909</c:v>
                </c:pt>
                <c:pt idx="12630">
                  <c:v>0.16939627488760434</c:v>
                </c:pt>
                <c:pt idx="12631">
                  <c:v>0.12540141297366736</c:v>
                </c:pt>
                <c:pt idx="12632">
                  <c:v>0.12588310854206819</c:v>
                </c:pt>
                <c:pt idx="12633">
                  <c:v>0.12748876043673718</c:v>
                </c:pt>
                <c:pt idx="12634">
                  <c:v>0.14049454078355805</c:v>
                </c:pt>
                <c:pt idx="12635">
                  <c:v>0.17421323057161198</c:v>
                </c:pt>
                <c:pt idx="12636">
                  <c:v>0.18015414258188822</c:v>
                </c:pt>
                <c:pt idx="12637">
                  <c:v>0.16056518946692355</c:v>
                </c:pt>
                <c:pt idx="12638">
                  <c:v>0.14274245343609504</c:v>
                </c:pt>
                <c:pt idx="12639">
                  <c:v>0.12925497752087334</c:v>
                </c:pt>
                <c:pt idx="12640">
                  <c:v>0.14707771355170185</c:v>
                </c:pt>
                <c:pt idx="12641">
                  <c:v>0.16763005780346818</c:v>
                </c:pt>
                <c:pt idx="12642">
                  <c:v>0.14226075786769421</c:v>
                </c:pt>
                <c:pt idx="12643">
                  <c:v>0.12058445728965972</c:v>
                </c:pt>
                <c:pt idx="12644">
                  <c:v>8.8953114964675617E-2</c:v>
                </c:pt>
                <c:pt idx="12645">
                  <c:v>4.1104688503532438E-2</c:v>
                </c:pt>
                <c:pt idx="12646">
                  <c:v>4.2870905587668595E-2</c:v>
                </c:pt>
                <c:pt idx="12647">
                  <c:v>9.6339113680166122E-4</c:v>
                </c:pt>
                <c:pt idx="12648">
                  <c:v>0</c:v>
                </c:pt>
                <c:pt idx="12649">
                  <c:v>0</c:v>
                </c:pt>
                <c:pt idx="12650">
                  <c:v>0</c:v>
                </c:pt>
                <c:pt idx="12651">
                  <c:v>0</c:v>
                </c:pt>
                <c:pt idx="12652">
                  <c:v>0</c:v>
                </c:pt>
                <c:pt idx="12653">
                  <c:v>0</c:v>
                </c:pt>
                <c:pt idx="12654">
                  <c:v>0</c:v>
                </c:pt>
                <c:pt idx="12655">
                  <c:v>0</c:v>
                </c:pt>
                <c:pt idx="12656">
                  <c:v>0</c:v>
                </c:pt>
                <c:pt idx="12657">
                  <c:v>0</c:v>
                </c:pt>
                <c:pt idx="12658">
                  <c:v>0</c:v>
                </c:pt>
                <c:pt idx="12659">
                  <c:v>0</c:v>
                </c:pt>
                <c:pt idx="12660">
                  <c:v>0</c:v>
                </c:pt>
                <c:pt idx="12661">
                  <c:v>0</c:v>
                </c:pt>
                <c:pt idx="12662">
                  <c:v>0</c:v>
                </c:pt>
                <c:pt idx="12663">
                  <c:v>0</c:v>
                </c:pt>
                <c:pt idx="12664">
                  <c:v>0</c:v>
                </c:pt>
                <c:pt idx="12665">
                  <c:v>0</c:v>
                </c:pt>
                <c:pt idx="12666">
                  <c:v>0</c:v>
                </c:pt>
                <c:pt idx="12667">
                  <c:v>0</c:v>
                </c:pt>
                <c:pt idx="12668">
                  <c:v>0</c:v>
                </c:pt>
                <c:pt idx="12669">
                  <c:v>0</c:v>
                </c:pt>
                <c:pt idx="12670">
                  <c:v>0</c:v>
                </c:pt>
                <c:pt idx="12671">
                  <c:v>0</c:v>
                </c:pt>
                <c:pt idx="12672">
                  <c:v>0</c:v>
                </c:pt>
                <c:pt idx="12673">
                  <c:v>0</c:v>
                </c:pt>
                <c:pt idx="12674">
                  <c:v>0</c:v>
                </c:pt>
                <c:pt idx="12675">
                  <c:v>0</c:v>
                </c:pt>
                <c:pt idx="12676">
                  <c:v>0</c:v>
                </c:pt>
                <c:pt idx="12677">
                  <c:v>0</c:v>
                </c:pt>
                <c:pt idx="12678">
                  <c:v>0</c:v>
                </c:pt>
                <c:pt idx="12679">
                  <c:v>0</c:v>
                </c:pt>
                <c:pt idx="12680">
                  <c:v>0</c:v>
                </c:pt>
                <c:pt idx="12681">
                  <c:v>0</c:v>
                </c:pt>
                <c:pt idx="12682">
                  <c:v>0</c:v>
                </c:pt>
                <c:pt idx="12683">
                  <c:v>0</c:v>
                </c:pt>
                <c:pt idx="12684">
                  <c:v>0</c:v>
                </c:pt>
                <c:pt idx="12685">
                  <c:v>0</c:v>
                </c:pt>
                <c:pt idx="12686">
                  <c:v>0</c:v>
                </c:pt>
                <c:pt idx="12687">
                  <c:v>0</c:v>
                </c:pt>
                <c:pt idx="12688">
                  <c:v>0</c:v>
                </c:pt>
                <c:pt idx="12689">
                  <c:v>0</c:v>
                </c:pt>
                <c:pt idx="12690">
                  <c:v>0</c:v>
                </c:pt>
                <c:pt idx="12691">
                  <c:v>0</c:v>
                </c:pt>
                <c:pt idx="12692">
                  <c:v>0</c:v>
                </c:pt>
                <c:pt idx="12693">
                  <c:v>0</c:v>
                </c:pt>
                <c:pt idx="12694">
                  <c:v>0</c:v>
                </c:pt>
                <c:pt idx="12695">
                  <c:v>0</c:v>
                </c:pt>
                <c:pt idx="12696">
                  <c:v>0</c:v>
                </c:pt>
                <c:pt idx="12697">
                  <c:v>0</c:v>
                </c:pt>
                <c:pt idx="12698">
                  <c:v>0</c:v>
                </c:pt>
                <c:pt idx="12699">
                  <c:v>0</c:v>
                </c:pt>
                <c:pt idx="12700">
                  <c:v>0</c:v>
                </c:pt>
                <c:pt idx="12701">
                  <c:v>0</c:v>
                </c:pt>
                <c:pt idx="12702">
                  <c:v>0</c:v>
                </c:pt>
                <c:pt idx="12703">
                  <c:v>0</c:v>
                </c:pt>
                <c:pt idx="12704">
                  <c:v>0</c:v>
                </c:pt>
                <c:pt idx="12705">
                  <c:v>0</c:v>
                </c:pt>
                <c:pt idx="12706">
                  <c:v>0</c:v>
                </c:pt>
                <c:pt idx="12707">
                  <c:v>0</c:v>
                </c:pt>
                <c:pt idx="12708">
                  <c:v>0</c:v>
                </c:pt>
                <c:pt idx="12709">
                  <c:v>0</c:v>
                </c:pt>
                <c:pt idx="12710">
                  <c:v>0</c:v>
                </c:pt>
                <c:pt idx="12711">
                  <c:v>0</c:v>
                </c:pt>
                <c:pt idx="12712">
                  <c:v>0</c:v>
                </c:pt>
                <c:pt idx="12713">
                  <c:v>0</c:v>
                </c:pt>
                <c:pt idx="12714">
                  <c:v>0</c:v>
                </c:pt>
                <c:pt idx="12715">
                  <c:v>0</c:v>
                </c:pt>
                <c:pt idx="12716">
                  <c:v>0</c:v>
                </c:pt>
                <c:pt idx="12717">
                  <c:v>0</c:v>
                </c:pt>
                <c:pt idx="12718">
                  <c:v>0</c:v>
                </c:pt>
                <c:pt idx="12719">
                  <c:v>0</c:v>
                </c:pt>
                <c:pt idx="12720">
                  <c:v>0</c:v>
                </c:pt>
                <c:pt idx="12721">
                  <c:v>0</c:v>
                </c:pt>
                <c:pt idx="12722">
                  <c:v>0</c:v>
                </c:pt>
                <c:pt idx="12723">
                  <c:v>0</c:v>
                </c:pt>
                <c:pt idx="12724">
                  <c:v>0</c:v>
                </c:pt>
                <c:pt idx="12725">
                  <c:v>0</c:v>
                </c:pt>
                <c:pt idx="12726">
                  <c:v>0</c:v>
                </c:pt>
                <c:pt idx="12727">
                  <c:v>0</c:v>
                </c:pt>
                <c:pt idx="12728">
                  <c:v>0</c:v>
                </c:pt>
                <c:pt idx="12729">
                  <c:v>0</c:v>
                </c:pt>
                <c:pt idx="12730">
                  <c:v>0</c:v>
                </c:pt>
                <c:pt idx="12731">
                  <c:v>0</c:v>
                </c:pt>
                <c:pt idx="12732">
                  <c:v>0</c:v>
                </c:pt>
                <c:pt idx="12733">
                  <c:v>0</c:v>
                </c:pt>
                <c:pt idx="12734">
                  <c:v>0</c:v>
                </c:pt>
                <c:pt idx="12735">
                  <c:v>0</c:v>
                </c:pt>
                <c:pt idx="12736">
                  <c:v>0</c:v>
                </c:pt>
                <c:pt idx="12737">
                  <c:v>0</c:v>
                </c:pt>
                <c:pt idx="12738">
                  <c:v>0</c:v>
                </c:pt>
                <c:pt idx="12739">
                  <c:v>0</c:v>
                </c:pt>
                <c:pt idx="12740">
                  <c:v>0</c:v>
                </c:pt>
                <c:pt idx="12741">
                  <c:v>0</c:v>
                </c:pt>
                <c:pt idx="12742">
                  <c:v>0</c:v>
                </c:pt>
                <c:pt idx="12743">
                  <c:v>0</c:v>
                </c:pt>
                <c:pt idx="12744">
                  <c:v>0</c:v>
                </c:pt>
                <c:pt idx="12745">
                  <c:v>0</c:v>
                </c:pt>
                <c:pt idx="12746">
                  <c:v>0</c:v>
                </c:pt>
                <c:pt idx="12747">
                  <c:v>0</c:v>
                </c:pt>
                <c:pt idx="12748">
                  <c:v>0</c:v>
                </c:pt>
                <c:pt idx="12749">
                  <c:v>0</c:v>
                </c:pt>
                <c:pt idx="12750">
                  <c:v>0</c:v>
                </c:pt>
                <c:pt idx="12751">
                  <c:v>0</c:v>
                </c:pt>
                <c:pt idx="12752">
                  <c:v>0</c:v>
                </c:pt>
                <c:pt idx="12753">
                  <c:v>0</c:v>
                </c:pt>
                <c:pt idx="12754">
                  <c:v>0</c:v>
                </c:pt>
                <c:pt idx="12755">
                  <c:v>0</c:v>
                </c:pt>
                <c:pt idx="12756">
                  <c:v>0</c:v>
                </c:pt>
                <c:pt idx="12757">
                  <c:v>0</c:v>
                </c:pt>
                <c:pt idx="12758">
                  <c:v>0</c:v>
                </c:pt>
                <c:pt idx="12759">
                  <c:v>0</c:v>
                </c:pt>
                <c:pt idx="12760">
                  <c:v>0</c:v>
                </c:pt>
                <c:pt idx="12761">
                  <c:v>0</c:v>
                </c:pt>
                <c:pt idx="12762">
                  <c:v>0</c:v>
                </c:pt>
                <c:pt idx="12763">
                  <c:v>0</c:v>
                </c:pt>
                <c:pt idx="12764">
                  <c:v>0</c:v>
                </c:pt>
                <c:pt idx="12765">
                  <c:v>0</c:v>
                </c:pt>
                <c:pt idx="12766">
                  <c:v>0</c:v>
                </c:pt>
                <c:pt idx="12767">
                  <c:v>0</c:v>
                </c:pt>
                <c:pt idx="12768">
                  <c:v>0</c:v>
                </c:pt>
                <c:pt idx="12769">
                  <c:v>0</c:v>
                </c:pt>
                <c:pt idx="12770">
                  <c:v>0</c:v>
                </c:pt>
                <c:pt idx="12771">
                  <c:v>0</c:v>
                </c:pt>
                <c:pt idx="12772">
                  <c:v>0</c:v>
                </c:pt>
                <c:pt idx="12773">
                  <c:v>0</c:v>
                </c:pt>
                <c:pt idx="12774">
                  <c:v>0</c:v>
                </c:pt>
                <c:pt idx="12775">
                  <c:v>0</c:v>
                </c:pt>
                <c:pt idx="12776">
                  <c:v>0</c:v>
                </c:pt>
                <c:pt idx="12777">
                  <c:v>0</c:v>
                </c:pt>
                <c:pt idx="12778">
                  <c:v>0</c:v>
                </c:pt>
                <c:pt idx="12779">
                  <c:v>0</c:v>
                </c:pt>
                <c:pt idx="12780">
                  <c:v>0</c:v>
                </c:pt>
                <c:pt idx="12781">
                  <c:v>0</c:v>
                </c:pt>
                <c:pt idx="12782">
                  <c:v>0</c:v>
                </c:pt>
                <c:pt idx="12783">
                  <c:v>0</c:v>
                </c:pt>
                <c:pt idx="12784">
                  <c:v>0</c:v>
                </c:pt>
                <c:pt idx="12785">
                  <c:v>0</c:v>
                </c:pt>
                <c:pt idx="12786">
                  <c:v>0</c:v>
                </c:pt>
                <c:pt idx="12787">
                  <c:v>0</c:v>
                </c:pt>
                <c:pt idx="12788">
                  <c:v>0</c:v>
                </c:pt>
                <c:pt idx="12789">
                  <c:v>0</c:v>
                </c:pt>
                <c:pt idx="12790">
                  <c:v>0</c:v>
                </c:pt>
                <c:pt idx="12791">
                  <c:v>0</c:v>
                </c:pt>
                <c:pt idx="12792">
                  <c:v>0</c:v>
                </c:pt>
                <c:pt idx="12793">
                  <c:v>0</c:v>
                </c:pt>
                <c:pt idx="12794">
                  <c:v>0</c:v>
                </c:pt>
                <c:pt idx="12795">
                  <c:v>0</c:v>
                </c:pt>
                <c:pt idx="12796">
                  <c:v>0</c:v>
                </c:pt>
                <c:pt idx="12797">
                  <c:v>0</c:v>
                </c:pt>
                <c:pt idx="12798">
                  <c:v>0</c:v>
                </c:pt>
                <c:pt idx="12799">
                  <c:v>0</c:v>
                </c:pt>
                <c:pt idx="12800">
                  <c:v>0</c:v>
                </c:pt>
                <c:pt idx="12801">
                  <c:v>0</c:v>
                </c:pt>
                <c:pt idx="12802">
                  <c:v>0</c:v>
                </c:pt>
                <c:pt idx="12803">
                  <c:v>0</c:v>
                </c:pt>
                <c:pt idx="12804">
                  <c:v>0</c:v>
                </c:pt>
                <c:pt idx="12805">
                  <c:v>0</c:v>
                </c:pt>
                <c:pt idx="12806">
                  <c:v>0</c:v>
                </c:pt>
                <c:pt idx="12807">
                  <c:v>0</c:v>
                </c:pt>
                <c:pt idx="12808">
                  <c:v>0</c:v>
                </c:pt>
                <c:pt idx="12809">
                  <c:v>0</c:v>
                </c:pt>
                <c:pt idx="12810">
                  <c:v>0</c:v>
                </c:pt>
                <c:pt idx="12811">
                  <c:v>0</c:v>
                </c:pt>
                <c:pt idx="12812">
                  <c:v>0</c:v>
                </c:pt>
                <c:pt idx="12813">
                  <c:v>0</c:v>
                </c:pt>
                <c:pt idx="12814">
                  <c:v>0</c:v>
                </c:pt>
                <c:pt idx="12815">
                  <c:v>0</c:v>
                </c:pt>
                <c:pt idx="12816">
                  <c:v>0</c:v>
                </c:pt>
                <c:pt idx="12817">
                  <c:v>0</c:v>
                </c:pt>
                <c:pt idx="12818">
                  <c:v>0</c:v>
                </c:pt>
                <c:pt idx="12819">
                  <c:v>0</c:v>
                </c:pt>
                <c:pt idx="12820">
                  <c:v>0</c:v>
                </c:pt>
                <c:pt idx="12821">
                  <c:v>0</c:v>
                </c:pt>
                <c:pt idx="12822">
                  <c:v>0</c:v>
                </c:pt>
                <c:pt idx="12823">
                  <c:v>0</c:v>
                </c:pt>
                <c:pt idx="12824">
                  <c:v>0</c:v>
                </c:pt>
                <c:pt idx="12825">
                  <c:v>0</c:v>
                </c:pt>
                <c:pt idx="12826">
                  <c:v>0</c:v>
                </c:pt>
                <c:pt idx="12827">
                  <c:v>0</c:v>
                </c:pt>
                <c:pt idx="12828">
                  <c:v>0</c:v>
                </c:pt>
                <c:pt idx="12829">
                  <c:v>0</c:v>
                </c:pt>
                <c:pt idx="12830">
                  <c:v>0</c:v>
                </c:pt>
                <c:pt idx="12831">
                  <c:v>0</c:v>
                </c:pt>
                <c:pt idx="12832">
                  <c:v>0</c:v>
                </c:pt>
                <c:pt idx="12833">
                  <c:v>0</c:v>
                </c:pt>
                <c:pt idx="12834">
                  <c:v>0</c:v>
                </c:pt>
                <c:pt idx="12835">
                  <c:v>0</c:v>
                </c:pt>
                <c:pt idx="12836">
                  <c:v>0</c:v>
                </c:pt>
                <c:pt idx="12837">
                  <c:v>0</c:v>
                </c:pt>
                <c:pt idx="12838">
                  <c:v>0</c:v>
                </c:pt>
                <c:pt idx="12839">
                  <c:v>0</c:v>
                </c:pt>
                <c:pt idx="12840">
                  <c:v>0</c:v>
                </c:pt>
                <c:pt idx="12841">
                  <c:v>0</c:v>
                </c:pt>
                <c:pt idx="12842">
                  <c:v>0</c:v>
                </c:pt>
                <c:pt idx="12843">
                  <c:v>0</c:v>
                </c:pt>
                <c:pt idx="12844">
                  <c:v>0</c:v>
                </c:pt>
                <c:pt idx="12845">
                  <c:v>0</c:v>
                </c:pt>
                <c:pt idx="12846">
                  <c:v>0</c:v>
                </c:pt>
                <c:pt idx="12847">
                  <c:v>0</c:v>
                </c:pt>
                <c:pt idx="12848">
                  <c:v>0</c:v>
                </c:pt>
                <c:pt idx="12849">
                  <c:v>0</c:v>
                </c:pt>
                <c:pt idx="12850">
                  <c:v>0</c:v>
                </c:pt>
                <c:pt idx="12851">
                  <c:v>0</c:v>
                </c:pt>
                <c:pt idx="12852">
                  <c:v>0</c:v>
                </c:pt>
                <c:pt idx="12853">
                  <c:v>0</c:v>
                </c:pt>
                <c:pt idx="12854">
                  <c:v>0</c:v>
                </c:pt>
                <c:pt idx="12855">
                  <c:v>0</c:v>
                </c:pt>
                <c:pt idx="12856">
                  <c:v>0</c:v>
                </c:pt>
                <c:pt idx="12857">
                  <c:v>0</c:v>
                </c:pt>
                <c:pt idx="12858">
                  <c:v>0</c:v>
                </c:pt>
                <c:pt idx="12859">
                  <c:v>0</c:v>
                </c:pt>
                <c:pt idx="12860">
                  <c:v>0</c:v>
                </c:pt>
                <c:pt idx="12861">
                  <c:v>0</c:v>
                </c:pt>
                <c:pt idx="12862">
                  <c:v>0</c:v>
                </c:pt>
                <c:pt idx="12863">
                  <c:v>0</c:v>
                </c:pt>
                <c:pt idx="12864">
                  <c:v>0</c:v>
                </c:pt>
                <c:pt idx="12865">
                  <c:v>0</c:v>
                </c:pt>
                <c:pt idx="12866">
                  <c:v>0</c:v>
                </c:pt>
                <c:pt idx="12867">
                  <c:v>0</c:v>
                </c:pt>
                <c:pt idx="12868">
                  <c:v>0</c:v>
                </c:pt>
                <c:pt idx="12869">
                  <c:v>0</c:v>
                </c:pt>
                <c:pt idx="12870">
                  <c:v>0</c:v>
                </c:pt>
                <c:pt idx="12871">
                  <c:v>0</c:v>
                </c:pt>
                <c:pt idx="12872">
                  <c:v>0</c:v>
                </c:pt>
                <c:pt idx="12873">
                  <c:v>0</c:v>
                </c:pt>
                <c:pt idx="12874">
                  <c:v>0</c:v>
                </c:pt>
                <c:pt idx="12875">
                  <c:v>0</c:v>
                </c:pt>
                <c:pt idx="12876">
                  <c:v>0</c:v>
                </c:pt>
                <c:pt idx="12877">
                  <c:v>0</c:v>
                </c:pt>
                <c:pt idx="12878">
                  <c:v>0</c:v>
                </c:pt>
                <c:pt idx="12879">
                  <c:v>0</c:v>
                </c:pt>
                <c:pt idx="12880">
                  <c:v>0</c:v>
                </c:pt>
                <c:pt idx="12881">
                  <c:v>0</c:v>
                </c:pt>
                <c:pt idx="12882">
                  <c:v>0</c:v>
                </c:pt>
                <c:pt idx="12883">
                  <c:v>0</c:v>
                </c:pt>
                <c:pt idx="12884">
                  <c:v>0</c:v>
                </c:pt>
                <c:pt idx="12885">
                  <c:v>0</c:v>
                </c:pt>
                <c:pt idx="12886">
                  <c:v>0</c:v>
                </c:pt>
                <c:pt idx="12887">
                  <c:v>0</c:v>
                </c:pt>
                <c:pt idx="12888">
                  <c:v>0</c:v>
                </c:pt>
                <c:pt idx="12889">
                  <c:v>0</c:v>
                </c:pt>
                <c:pt idx="12890">
                  <c:v>0</c:v>
                </c:pt>
                <c:pt idx="12891">
                  <c:v>0</c:v>
                </c:pt>
                <c:pt idx="12892">
                  <c:v>0</c:v>
                </c:pt>
                <c:pt idx="12893">
                  <c:v>0</c:v>
                </c:pt>
                <c:pt idx="12894">
                  <c:v>0</c:v>
                </c:pt>
                <c:pt idx="12895">
                  <c:v>0</c:v>
                </c:pt>
                <c:pt idx="12896">
                  <c:v>0</c:v>
                </c:pt>
                <c:pt idx="12897">
                  <c:v>0</c:v>
                </c:pt>
                <c:pt idx="12898">
                  <c:v>0</c:v>
                </c:pt>
                <c:pt idx="12899">
                  <c:v>0</c:v>
                </c:pt>
                <c:pt idx="12900">
                  <c:v>0</c:v>
                </c:pt>
                <c:pt idx="12901">
                  <c:v>0</c:v>
                </c:pt>
                <c:pt idx="12902">
                  <c:v>0</c:v>
                </c:pt>
                <c:pt idx="12903">
                  <c:v>0</c:v>
                </c:pt>
                <c:pt idx="12904">
                  <c:v>0</c:v>
                </c:pt>
                <c:pt idx="12905">
                  <c:v>0</c:v>
                </c:pt>
                <c:pt idx="12906">
                  <c:v>0</c:v>
                </c:pt>
                <c:pt idx="12907">
                  <c:v>0</c:v>
                </c:pt>
                <c:pt idx="12908">
                  <c:v>0</c:v>
                </c:pt>
                <c:pt idx="12909">
                  <c:v>0</c:v>
                </c:pt>
                <c:pt idx="12910">
                  <c:v>0</c:v>
                </c:pt>
                <c:pt idx="12911">
                  <c:v>0</c:v>
                </c:pt>
                <c:pt idx="12912">
                  <c:v>0</c:v>
                </c:pt>
                <c:pt idx="12913">
                  <c:v>0</c:v>
                </c:pt>
                <c:pt idx="12914">
                  <c:v>0</c:v>
                </c:pt>
                <c:pt idx="12915">
                  <c:v>0</c:v>
                </c:pt>
                <c:pt idx="12916">
                  <c:v>0</c:v>
                </c:pt>
                <c:pt idx="12917">
                  <c:v>0</c:v>
                </c:pt>
                <c:pt idx="12918">
                  <c:v>0</c:v>
                </c:pt>
                <c:pt idx="12919">
                  <c:v>0</c:v>
                </c:pt>
                <c:pt idx="12920">
                  <c:v>0</c:v>
                </c:pt>
                <c:pt idx="12921">
                  <c:v>0</c:v>
                </c:pt>
                <c:pt idx="12922">
                  <c:v>0</c:v>
                </c:pt>
                <c:pt idx="12923">
                  <c:v>0</c:v>
                </c:pt>
                <c:pt idx="12924">
                  <c:v>0</c:v>
                </c:pt>
                <c:pt idx="12925">
                  <c:v>0</c:v>
                </c:pt>
                <c:pt idx="12926">
                  <c:v>0</c:v>
                </c:pt>
                <c:pt idx="12927">
                  <c:v>0</c:v>
                </c:pt>
                <c:pt idx="12928">
                  <c:v>0</c:v>
                </c:pt>
                <c:pt idx="12929">
                  <c:v>0</c:v>
                </c:pt>
                <c:pt idx="12930">
                  <c:v>0</c:v>
                </c:pt>
                <c:pt idx="12931">
                  <c:v>0</c:v>
                </c:pt>
                <c:pt idx="12932">
                  <c:v>0</c:v>
                </c:pt>
                <c:pt idx="12933">
                  <c:v>0</c:v>
                </c:pt>
                <c:pt idx="12934">
                  <c:v>0</c:v>
                </c:pt>
                <c:pt idx="12935">
                  <c:v>0</c:v>
                </c:pt>
                <c:pt idx="12936">
                  <c:v>0</c:v>
                </c:pt>
                <c:pt idx="12937">
                  <c:v>0</c:v>
                </c:pt>
                <c:pt idx="12938">
                  <c:v>0</c:v>
                </c:pt>
                <c:pt idx="12939">
                  <c:v>0</c:v>
                </c:pt>
                <c:pt idx="12940">
                  <c:v>0</c:v>
                </c:pt>
                <c:pt idx="12941">
                  <c:v>0</c:v>
                </c:pt>
                <c:pt idx="12942">
                  <c:v>0</c:v>
                </c:pt>
                <c:pt idx="12943">
                  <c:v>0</c:v>
                </c:pt>
                <c:pt idx="12944">
                  <c:v>0</c:v>
                </c:pt>
                <c:pt idx="12945">
                  <c:v>0</c:v>
                </c:pt>
                <c:pt idx="12946">
                  <c:v>0</c:v>
                </c:pt>
                <c:pt idx="12947">
                  <c:v>0</c:v>
                </c:pt>
                <c:pt idx="12948">
                  <c:v>0</c:v>
                </c:pt>
                <c:pt idx="12949">
                  <c:v>0</c:v>
                </c:pt>
                <c:pt idx="12950">
                  <c:v>0</c:v>
                </c:pt>
                <c:pt idx="12951">
                  <c:v>0</c:v>
                </c:pt>
                <c:pt idx="12952">
                  <c:v>0</c:v>
                </c:pt>
                <c:pt idx="12953">
                  <c:v>0</c:v>
                </c:pt>
                <c:pt idx="12954">
                  <c:v>0</c:v>
                </c:pt>
                <c:pt idx="12955">
                  <c:v>0</c:v>
                </c:pt>
                <c:pt idx="12956">
                  <c:v>0</c:v>
                </c:pt>
                <c:pt idx="12957">
                  <c:v>0</c:v>
                </c:pt>
                <c:pt idx="12958">
                  <c:v>0</c:v>
                </c:pt>
                <c:pt idx="12959">
                  <c:v>0</c:v>
                </c:pt>
                <c:pt idx="12960">
                  <c:v>0</c:v>
                </c:pt>
                <c:pt idx="12961">
                  <c:v>0</c:v>
                </c:pt>
                <c:pt idx="12962">
                  <c:v>0</c:v>
                </c:pt>
                <c:pt idx="12963">
                  <c:v>0</c:v>
                </c:pt>
                <c:pt idx="12964">
                  <c:v>0</c:v>
                </c:pt>
                <c:pt idx="12965">
                  <c:v>0</c:v>
                </c:pt>
                <c:pt idx="12966">
                  <c:v>0</c:v>
                </c:pt>
                <c:pt idx="12967">
                  <c:v>0</c:v>
                </c:pt>
                <c:pt idx="12968">
                  <c:v>0</c:v>
                </c:pt>
                <c:pt idx="12969">
                  <c:v>0</c:v>
                </c:pt>
                <c:pt idx="12970">
                  <c:v>0</c:v>
                </c:pt>
                <c:pt idx="12971">
                  <c:v>0</c:v>
                </c:pt>
                <c:pt idx="12972">
                  <c:v>0</c:v>
                </c:pt>
                <c:pt idx="12973">
                  <c:v>0</c:v>
                </c:pt>
                <c:pt idx="12974">
                  <c:v>0</c:v>
                </c:pt>
                <c:pt idx="12975">
                  <c:v>0</c:v>
                </c:pt>
                <c:pt idx="12976">
                  <c:v>0</c:v>
                </c:pt>
                <c:pt idx="12977">
                  <c:v>0</c:v>
                </c:pt>
                <c:pt idx="12978">
                  <c:v>0</c:v>
                </c:pt>
                <c:pt idx="12979">
                  <c:v>0</c:v>
                </c:pt>
                <c:pt idx="12980">
                  <c:v>0</c:v>
                </c:pt>
                <c:pt idx="12981">
                  <c:v>0</c:v>
                </c:pt>
                <c:pt idx="12982">
                  <c:v>0</c:v>
                </c:pt>
                <c:pt idx="12983">
                  <c:v>0</c:v>
                </c:pt>
                <c:pt idx="12984">
                  <c:v>0</c:v>
                </c:pt>
                <c:pt idx="12985">
                  <c:v>0</c:v>
                </c:pt>
                <c:pt idx="12986">
                  <c:v>0</c:v>
                </c:pt>
                <c:pt idx="12987">
                  <c:v>0</c:v>
                </c:pt>
                <c:pt idx="12988">
                  <c:v>0</c:v>
                </c:pt>
                <c:pt idx="12989">
                  <c:v>0</c:v>
                </c:pt>
                <c:pt idx="12990">
                  <c:v>0</c:v>
                </c:pt>
                <c:pt idx="12991">
                  <c:v>0</c:v>
                </c:pt>
                <c:pt idx="12992">
                  <c:v>0</c:v>
                </c:pt>
                <c:pt idx="12993">
                  <c:v>0</c:v>
                </c:pt>
                <c:pt idx="12994">
                  <c:v>0</c:v>
                </c:pt>
                <c:pt idx="12995">
                  <c:v>0</c:v>
                </c:pt>
                <c:pt idx="12996">
                  <c:v>0</c:v>
                </c:pt>
                <c:pt idx="12997">
                  <c:v>0</c:v>
                </c:pt>
                <c:pt idx="12998">
                  <c:v>0</c:v>
                </c:pt>
                <c:pt idx="12999">
                  <c:v>0</c:v>
                </c:pt>
                <c:pt idx="13000">
                  <c:v>0</c:v>
                </c:pt>
                <c:pt idx="13001">
                  <c:v>0</c:v>
                </c:pt>
                <c:pt idx="13002">
                  <c:v>0</c:v>
                </c:pt>
                <c:pt idx="13003">
                  <c:v>0</c:v>
                </c:pt>
                <c:pt idx="13004">
                  <c:v>0</c:v>
                </c:pt>
                <c:pt idx="13005">
                  <c:v>0</c:v>
                </c:pt>
                <c:pt idx="13006">
                  <c:v>0</c:v>
                </c:pt>
                <c:pt idx="13007">
                  <c:v>0</c:v>
                </c:pt>
                <c:pt idx="13008">
                  <c:v>0</c:v>
                </c:pt>
                <c:pt idx="13009">
                  <c:v>0</c:v>
                </c:pt>
                <c:pt idx="13010">
                  <c:v>0</c:v>
                </c:pt>
                <c:pt idx="13011">
                  <c:v>0</c:v>
                </c:pt>
                <c:pt idx="13012">
                  <c:v>0</c:v>
                </c:pt>
                <c:pt idx="13013">
                  <c:v>0</c:v>
                </c:pt>
                <c:pt idx="13014">
                  <c:v>0</c:v>
                </c:pt>
                <c:pt idx="13015">
                  <c:v>0</c:v>
                </c:pt>
                <c:pt idx="13016">
                  <c:v>0</c:v>
                </c:pt>
                <c:pt idx="13017">
                  <c:v>0</c:v>
                </c:pt>
                <c:pt idx="13018">
                  <c:v>0</c:v>
                </c:pt>
                <c:pt idx="13019">
                  <c:v>0</c:v>
                </c:pt>
                <c:pt idx="13020">
                  <c:v>0</c:v>
                </c:pt>
                <c:pt idx="13021">
                  <c:v>0</c:v>
                </c:pt>
                <c:pt idx="13022">
                  <c:v>0</c:v>
                </c:pt>
                <c:pt idx="13023">
                  <c:v>0</c:v>
                </c:pt>
                <c:pt idx="13024">
                  <c:v>0</c:v>
                </c:pt>
                <c:pt idx="13025">
                  <c:v>0</c:v>
                </c:pt>
                <c:pt idx="13026">
                  <c:v>0</c:v>
                </c:pt>
                <c:pt idx="13027">
                  <c:v>0</c:v>
                </c:pt>
                <c:pt idx="13028">
                  <c:v>0</c:v>
                </c:pt>
                <c:pt idx="13029">
                  <c:v>0</c:v>
                </c:pt>
                <c:pt idx="13030">
                  <c:v>0</c:v>
                </c:pt>
                <c:pt idx="13031">
                  <c:v>0</c:v>
                </c:pt>
                <c:pt idx="13032">
                  <c:v>0</c:v>
                </c:pt>
                <c:pt idx="13033">
                  <c:v>0</c:v>
                </c:pt>
                <c:pt idx="13034">
                  <c:v>0</c:v>
                </c:pt>
                <c:pt idx="13035">
                  <c:v>0</c:v>
                </c:pt>
                <c:pt idx="13036">
                  <c:v>0</c:v>
                </c:pt>
                <c:pt idx="13037">
                  <c:v>0</c:v>
                </c:pt>
                <c:pt idx="13038">
                  <c:v>0</c:v>
                </c:pt>
                <c:pt idx="13039">
                  <c:v>0</c:v>
                </c:pt>
                <c:pt idx="13040">
                  <c:v>0</c:v>
                </c:pt>
                <c:pt idx="13041">
                  <c:v>0</c:v>
                </c:pt>
                <c:pt idx="13042">
                  <c:v>0</c:v>
                </c:pt>
                <c:pt idx="13043">
                  <c:v>0</c:v>
                </c:pt>
                <c:pt idx="13044">
                  <c:v>0</c:v>
                </c:pt>
                <c:pt idx="13045">
                  <c:v>0</c:v>
                </c:pt>
                <c:pt idx="13046">
                  <c:v>0</c:v>
                </c:pt>
                <c:pt idx="13047">
                  <c:v>0</c:v>
                </c:pt>
                <c:pt idx="13048">
                  <c:v>0</c:v>
                </c:pt>
                <c:pt idx="13049">
                  <c:v>0</c:v>
                </c:pt>
                <c:pt idx="13050">
                  <c:v>0</c:v>
                </c:pt>
                <c:pt idx="13051">
                  <c:v>0</c:v>
                </c:pt>
                <c:pt idx="13052">
                  <c:v>0</c:v>
                </c:pt>
                <c:pt idx="13053">
                  <c:v>0</c:v>
                </c:pt>
                <c:pt idx="13054">
                  <c:v>0</c:v>
                </c:pt>
                <c:pt idx="13055">
                  <c:v>0</c:v>
                </c:pt>
                <c:pt idx="13056">
                  <c:v>0</c:v>
                </c:pt>
                <c:pt idx="13057">
                  <c:v>0</c:v>
                </c:pt>
                <c:pt idx="13058">
                  <c:v>0</c:v>
                </c:pt>
                <c:pt idx="13059">
                  <c:v>0</c:v>
                </c:pt>
                <c:pt idx="13060">
                  <c:v>0</c:v>
                </c:pt>
                <c:pt idx="13061">
                  <c:v>0</c:v>
                </c:pt>
                <c:pt idx="13062">
                  <c:v>0</c:v>
                </c:pt>
                <c:pt idx="13063">
                  <c:v>0</c:v>
                </c:pt>
                <c:pt idx="13064">
                  <c:v>0</c:v>
                </c:pt>
                <c:pt idx="13065">
                  <c:v>0</c:v>
                </c:pt>
                <c:pt idx="13066">
                  <c:v>0</c:v>
                </c:pt>
                <c:pt idx="13067">
                  <c:v>0</c:v>
                </c:pt>
                <c:pt idx="13068">
                  <c:v>0</c:v>
                </c:pt>
                <c:pt idx="13069">
                  <c:v>0</c:v>
                </c:pt>
                <c:pt idx="13070">
                  <c:v>0</c:v>
                </c:pt>
                <c:pt idx="13071">
                  <c:v>0</c:v>
                </c:pt>
                <c:pt idx="13072">
                  <c:v>0</c:v>
                </c:pt>
                <c:pt idx="13073">
                  <c:v>0</c:v>
                </c:pt>
                <c:pt idx="13074">
                  <c:v>0</c:v>
                </c:pt>
                <c:pt idx="13075">
                  <c:v>0</c:v>
                </c:pt>
                <c:pt idx="13076">
                  <c:v>0</c:v>
                </c:pt>
                <c:pt idx="13077">
                  <c:v>0</c:v>
                </c:pt>
                <c:pt idx="13078">
                  <c:v>0</c:v>
                </c:pt>
                <c:pt idx="13079">
                  <c:v>0</c:v>
                </c:pt>
                <c:pt idx="13080">
                  <c:v>0</c:v>
                </c:pt>
                <c:pt idx="13081">
                  <c:v>0</c:v>
                </c:pt>
                <c:pt idx="13082">
                  <c:v>0</c:v>
                </c:pt>
                <c:pt idx="13083">
                  <c:v>0</c:v>
                </c:pt>
                <c:pt idx="13084">
                  <c:v>0.73531534131909337</c:v>
                </c:pt>
                <c:pt idx="13085">
                  <c:v>0.72362534276230339</c:v>
                </c:pt>
                <c:pt idx="13086">
                  <c:v>0.72795497185741076</c:v>
                </c:pt>
                <c:pt idx="13087">
                  <c:v>0.72968682349545366</c:v>
                </c:pt>
                <c:pt idx="13088">
                  <c:v>0.74209842690142858</c:v>
                </c:pt>
                <c:pt idx="13089">
                  <c:v>0.73430509453023518</c:v>
                </c:pt>
                <c:pt idx="13090">
                  <c:v>0.72477991052099866</c:v>
                </c:pt>
                <c:pt idx="13091">
                  <c:v>0.7188627507576848</c:v>
                </c:pt>
                <c:pt idx="13092">
                  <c:v>0.70370904892480857</c:v>
                </c:pt>
                <c:pt idx="13093">
                  <c:v>0.68754510030307392</c:v>
                </c:pt>
                <c:pt idx="13094">
                  <c:v>0.67845287920334796</c:v>
                </c:pt>
                <c:pt idx="13095">
                  <c:v>0.67166979362101298</c:v>
                </c:pt>
                <c:pt idx="13096">
                  <c:v>0.6612786837927549</c:v>
                </c:pt>
                <c:pt idx="13097">
                  <c:v>0.6734016452590561</c:v>
                </c:pt>
                <c:pt idx="13098">
                  <c:v>0.67903016308269581</c:v>
                </c:pt>
                <c:pt idx="13099">
                  <c:v>0.68711213739356314</c:v>
                </c:pt>
                <c:pt idx="13100">
                  <c:v>0.70673978929138404</c:v>
                </c:pt>
                <c:pt idx="13101">
                  <c:v>0.7110694183864914</c:v>
                </c:pt>
                <c:pt idx="13102">
                  <c:v>0.7125126280848606</c:v>
                </c:pt>
                <c:pt idx="13103">
                  <c:v>0.7125126280848606</c:v>
                </c:pt>
                <c:pt idx="13104">
                  <c:v>0.71915139269735873</c:v>
                </c:pt>
                <c:pt idx="13105">
                  <c:v>0.72521287343050944</c:v>
                </c:pt>
                <c:pt idx="13106">
                  <c:v>0.71164670226583904</c:v>
                </c:pt>
                <c:pt idx="13107">
                  <c:v>0.70313176504546093</c:v>
                </c:pt>
                <c:pt idx="13108">
                  <c:v>0.69692596334247359</c:v>
                </c:pt>
                <c:pt idx="13109">
                  <c:v>0.6996680617693749</c:v>
                </c:pt>
                <c:pt idx="13110">
                  <c:v>0.69403954394573519</c:v>
                </c:pt>
                <c:pt idx="13111">
                  <c:v>0.68379275508731396</c:v>
                </c:pt>
                <c:pt idx="13112">
                  <c:v>0.68162794053976028</c:v>
                </c:pt>
                <c:pt idx="13113">
                  <c:v>0.68090633569057557</c:v>
                </c:pt>
                <c:pt idx="13114">
                  <c:v>0.68451435993649867</c:v>
                </c:pt>
                <c:pt idx="13115">
                  <c:v>0.69245201327752892</c:v>
                </c:pt>
                <c:pt idx="13116">
                  <c:v>0.68711213739356314</c:v>
                </c:pt>
                <c:pt idx="13117">
                  <c:v>0.67715399047481584</c:v>
                </c:pt>
                <c:pt idx="13118">
                  <c:v>0.66734016452590539</c:v>
                </c:pt>
                <c:pt idx="13119">
                  <c:v>0.66676288064655775</c:v>
                </c:pt>
                <c:pt idx="13120">
                  <c:v>0.6615673257324286</c:v>
                </c:pt>
                <c:pt idx="13121">
                  <c:v>0.65247510463270308</c:v>
                </c:pt>
                <c:pt idx="13122">
                  <c:v>0.65896954827536436</c:v>
                </c:pt>
                <c:pt idx="13123">
                  <c:v>0.64381584644248813</c:v>
                </c:pt>
                <c:pt idx="13124">
                  <c:v>0.64136238995526051</c:v>
                </c:pt>
                <c:pt idx="13125">
                  <c:v>0.63804300764901134</c:v>
                </c:pt>
                <c:pt idx="13126">
                  <c:v>0.63587819310145743</c:v>
                </c:pt>
                <c:pt idx="13127">
                  <c:v>0.6449704142011834</c:v>
                </c:pt>
                <c:pt idx="13128">
                  <c:v>0.6484341174772692</c:v>
                </c:pt>
                <c:pt idx="13129">
                  <c:v>0.63414634146341453</c:v>
                </c:pt>
                <c:pt idx="13130">
                  <c:v>0.62606436715254721</c:v>
                </c:pt>
                <c:pt idx="13131">
                  <c:v>0.61033338144032312</c:v>
                </c:pt>
                <c:pt idx="13132">
                  <c:v>0.59604560542646845</c:v>
                </c:pt>
                <c:pt idx="13133">
                  <c:v>0.59647856833597923</c:v>
                </c:pt>
                <c:pt idx="13134">
                  <c:v>0.60181844421994501</c:v>
                </c:pt>
                <c:pt idx="13135">
                  <c:v>0.59792177803434821</c:v>
                </c:pt>
                <c:pt idx="13136">
                  <c:v>0.59922066676288055</c:v>
                </c:pt>
                <c:pt idx="13137">
                  <c:v>0.5925819021503822</c:v>
                </c:pt>
                <c:pt idx="13138">
                  <c:v>0.57656227449848441</c:v>
                </c:pt>
                <c:pt idx="13139">
                  <c:v>0.55938807908789134</c:v>
                </c:pt>
                <c:pt idx="13140">
                  <c:v>0.56140857266560817</c:v>
                </c:pt>
                <c:pt idx="13141">
                  <c:v>0.55145042574686087</c:v>
                </c:pt>
                <c:pt idx="13142">
                  <c:v>0.54091499494876594</c:v>
                </c:pt>
                <c:pt idx="13143">
                  <c:v>0.55751190648001137</c:v>
                </c:pt>
                <c:pt idx="13144">
                  <c:v>0.56732573242892159</c:v>
                </c:pt>
                <c:pt idx="13145">
                  <c:v>0.59489103766777296</c:v>
                </c:pt>
                <c:pt idx="13146">
                  <c:v>0.58753066820609012</c:v>
                </c:pt>
                <c:pt idx="13147">
                  <c:v>0.58608745850772115</c:v>
                </c:pt>
                <c:pt idx="13148">
                  <c:v>0.59460239572809903</c:v>
                </c:pt>
                <c:pt idx="13149">
                  <c:v>0.57151104055419233</c:v>
                </c:pt>
                <c:pt idx="13150">
                  <c:v>0.58882955693462247</c:v>
                </c:pt>
                <c:pt idx="13151">
                  <c:v>0.59243758118054535</c:v>
                </c:pt>
                <c:pt idx="13152">
                  <c:v>0.58983980372348088</c:v>
                </c:pt>
                <c:pt idx="13153">
                  <c:v>0.59546832154712059</c:v>
                </c:pt>
                <c:pt idx="13154">
                  <c:v>0.5925819021503822</c:v>
                </c:pt>
                <c:pt idx="13155">
                  <c:v>0.5826237552316349</c:v>
                </c:pt>
                <c:pt idx="13156">
                  <c:v>0.56111993072593447</c:v>
                </c:pt>
                <c:pt idx="13157">
                  <c:v>0.55982104199740212</c:v>
                </c:pt>
                <c:pt idx="13158">
                  <c:v>0.56617116467022632</c:v>
                </c:pt>
                <c:pt idx="13159">
                  <c:v>0.56443931303218342</c:v>
                </c:pt>
                <c:pt idx="13160">
                  <c:v>0.56732573242892159</c:v>
                </c:pt>
                <c:pt idx="13161">
                  <c:v>0.5666041275797371</c:v>
                </c:pt>
                <c:pt idx="13162">
                  <c:v>0.56747005339875867</c:v>
                </c:pt>
                <c:pt idx="13163">
                  <c:v>0.57035647279549706</c:v>
                </c:pt>
                <c:pt idx="13164">
                  <c:v>0.57208832443354019</c:v>
                </c:pt>
                <c:pt idx="13165">
                  <c:v>0.5716553615240294</c:v>
                </c:pt>
                <c:pt idx="13166">
                  <c:v>0.56544955982104184</c:v>
                </c:pt>
                <c:pt idx="13167">
                  <c:v>0.58045894068408144</c:v>
                </c:pt>
                <c:pt idx="13168">
                  <c:v>0.58969548275364403</c:v>
                </c:pt>
                <c:pt idx="13169">
                  <c:v>0.59171597633136086</c:v>
                </c:pt>
                <c:pt idx="13170">
                  <c:v>0.59517967960744689</c:v>
                </c:pt>
                <c:pt idx="13171">
                  <c:v>0.60528214749603104</c:v>
                </c:pt>
                <c:pt idx="13172">
                  <c:v>0.6093231346514647</c:v>
                </c:pt>
                <c:pt idx="13173">
                  <c:v>0.60326165391831421</c:v>
                </c:pt>
                <c:pt idx="13174">
                  <c:v>0.5957569634867943</c:v>
                </c:pt>
                <c:pt idx="13175">
                  <c:v>0.59344782796940376</c:v>
                </c:pt>
                <c:pt idx="13176">
                  <c:v>0.5908500505123393</c:v>
                </c:pt>
                <c:pt idx="13177">
                  <c:v>0.59720017318516372</c:v>
                </c:pt>
                <c:pt idx="13178">
                  <c:v>0.6022514071294558</c:v>
                </c:pt>
                <c:pt idx="13179">
                  <c:v>0.62014720738923357</c:v>
                </c:pt>
                <c:pt idx="13180">
                  <c:v>0.62231202193678725</c:v>
                </c:pt>
                <c:pt idx="13181">
                  <c:v>0.61235387501803995</c:v>
                </c:pt>
                <c:pt idx="13182">
                  <c:v>0.61293115889738781</c:v>
                </c:pt>
                <c:pt idx="13183">
                  <c:v>0.60686967816423709</c:v>
                </c:pt>
                <c:pt idx="13184">
                  <c:v>0.61148794919901839</c:v>
                </c:pt>
                <c:pt idx="13185">
                  <c:v>0.61726078799249517</c:v>
                </c:pt>
                <c:pt idx="13186">
                  <c:v>0.62433251551450408</c:v>
                </c:pt>
                <c:pt idx="13187">
                  <c:v>0.61567325732428912</c:v>
                </c:pt>
                <c:pt idx="13188">
                  <c:v>0.60268437003896658</c:v>
                </c:pt>
                <c:pt idx="13189">
                  <c:v>0.59994227161206504</c:v>
                </c:pt>
                <c:pt idx="13190">
                  <c:v>0.59748881512483742</c:v>
                </c:pt>
                <c:pt idx="13191">
                  <c:v>0.59633424736614216</c:v>
                </c:pt>
                <c:pt idx="13192">
                  <c:v>0.59373646990907769</c:v>
                </c:pt>
                <c:pt idx="13193">
                  <c:v>0.58955116178380695</c:v>
                </c:pt>
                <c:pt idx="13194">
                  <c:v>0.57728387934766912</c:v>
                </c:pt>
                <c:pt idx="13195">
                  <c:v>0.56443931303218342</c:v>
                </c:pt>
                <c:pt idx="13196">
                  <c:v>0.54986289507865482</c:v>
                </c:pt>
                <c:pt idx="13197">
                  <c:v>0.54971857410881775</c:v>
                </c:pt>
                <c:pt idx="13198">
                  <c:v>0.54827536441044877</c:v>
                </c:pt>
                <c:pt idx="13199">
                  <c:v>0.55188338865637165</c:v>
                </c:pt>
                <c:pt idx="13200">
                  <c:v>0.55289363544523007</c:v>
                </c:pt>
                <c:pt idx="13201">
                  <c:v>0.55751190648001137</c:v>
                </c:pt>
                <c:pt idx="13202">
                  <c:v>0.53932746428055989</c:v>
                </c:pt>
                <c:pt idx="13203">
                  <c:v>0.52706018184442183</c:v>
                </c:pt>
                <c:pt idx="13204">
                  <c:v>0.5318227738490402</c:v>
                </c:pt>
                <c:pt idx="13205">
                  <c:v>0.52734882378409575</c:v>
                </c:pt>
                <c:pt idx="13206">
                  <c:v>0.53066820609034493</c:v>
                </c:pt>
                <c:pt idx="13207">
                  <c:v>0.54149227882811357</c:v>
                </c:pt>
                <c:pt idx="13208">
                  <c:v>0.53384326742675703</c:v>
                </c:pt>
                <c:pt idx="13209">
                  <c:v>0.54264684658680884</c:v>
                </c:pt>
                <c:pt idx="13210">
                  <c:v>0.54885264828979619</c:v>
                </c:pt>
                <c:pt idx="13211">
                  <c:v>0.56025400490691291</c:v>
                </c:pt>
                <c:pt idx="13212">
                  <c:v>0.56862462115745394</c:v>
                </c:pt>
                <c:pt idx="13213">
                  <c:v>0.57367585510174623</c:v>
                </c:pt>
                <c:pt idx="13214">
                  <c:v>0.56010968393707583</c:v>
                </c:pt>
                <c:pt idx="13215">
                  <c:v>0.5513061047770238</c:v>
                </c:pt>
                <c:pt idx="13216">
                  <c:v>0.54625487083273194</c:v>
                </c:pt>
                <c:pt idx="13217">
                  <c:v>0.54163659979795042</c:v>
                </c:pt>
                <c:pt idx="13218">
                  <c:v>0.54452301919468882</c:v>
                </c:pt>
                <c:pt idx="13219">
                  <c:v>0.54957425313898112</c:v>
                </c:pt>
                <c:pt idx="13220">
                  <c:v>0.55116178380718717</c:v>
                </c:pt>
                <c:pt idx="13221">
                  <c:v>0.56270746139414052</c:v>
                </c:pt>
                <c:pt idx="13222">
                  <c:v>0.5684803001876173</c:v>
                </c:pt>
                <c:pt idx="13223">
                  <c:v>0.57006783085582335</c:v>
                </c:pt>
                <c:pt idx="13224">
                  <c:v>0.56674844854957418</c:v>
                </c:pt>
                <c:pt idx="13225">
                  <c:v>0.56025400490691291</c:v>
                </c:pt>
                <c:pt idx="13226">
                  <c:v>0.56386202915283579</c:v>
                </c:pt>
                <c:pt idx="13227">
                  <c:v>0.56501659691153105</c:v>
                </c:pt>
                <c:pt idx="13228">
                  <c:v>0.56429499206234657</c:v>
                </c:pt>
                <c:pt idx="13229">
                  <c:v>0.55217203059604536</c:v>
                </c:pt>
                <c:pt idx="13230">
                  <c:v>0.54437869822485196</c:v>
                </c:pt>
                <c:pt idx="13231">
                  <c:v>0.54221388367729806</c:v>
                </c:pt>
                <c:pt idx="13232">
                  <c:v>0.54827536441044877</c:v>
                </c:pt>
                <c:pt idx="13233">
                  <c:v>0.55361524029441478</c:v>
                </c:pt>
                <c:pt idx="13234">
                  <c:v>0.56169721460528188</c:v>
                </c:pt>
                <c:pt idx="13235">
                  <c:v>0.57050079376533391</c:v>
                </c:pt>
                <c:pt idx="13236">
                  <c:v>0.58363400202049354</c:v>
                </c:pt>
                <c:pt idx="13237">
                  <c:v>0.58305671814114568</c:v>
                </c:pt>
                <c:pt idx="13238">
                  <c:v>0.58074758262375514</c:v>
                </c:pt>
                <c:pt idx="13239">
                  <c:v>0.5925819021503822</c:v>
                </c:pt>
                <c:pt idx="13240">
                  <c:v>0.59705585221532664</c:v>
                </c:pt>
                <c:pt idx="13241">
                  <c:v>0.59416943281858825</c:v>
                </c:pt>
                <c:pt idx="13242">
                  <c:v>0.59200461827103457</c:v>
                </c:pt>
                <c:pt idx="13243">
                  <c:v>0.58435560686967802</c:v>
                </c:pt>
                <c:pt idx="13244">
                  <c:v>0.58305671814114568</c:v>
                </c:pt>
                <c:pt idx="13245">
                  <c:v>0.57280992928272467</c:v>
                </c:pt>
                <c:pt idx="13246">
                  <c:v>0.55780054841968529</c:v>
                </c:pt>
                <c:pt idx="13247">
                  <c:v>0.54264684658680884</c:v>
                </c:pt>
                <c:pt idx="13248">
                  <c:v>0.53932746428055989</c:v>
                </c:pt>
                <c:pt idx="13249">
                  <c:v>0.54221388367729806</c:v>
                </c:pt>
                <c:pt idx="13250">
                  <c:v>0.535286477125126</c:v>
                </c:pt>
                <c:pt idx="13251">
                  <c:v>0.52648289796507419</c:v>
                </c:pt>
                <c:pt idx="13252">
                  <c:v>0.52143166402078212</c:v>
                </c:pt>
                <c:pt idx="13253">
                  <c:v>0.51161783807187167</c:v>
                </c:pt>
                <c:pt idx="13254">
                  <c:v>0.5318227738490402</c:v>
                </c:pt>
                <c:pt idx="13255">
                  <c:v>0.56775869533843237</c:v>
                </c:pt>
                <c:pt idx="13256">
                  <c:v>0.53341030451724625</c:v>
                </c:pt>
                <c:pt idx="13257">
                  <c:v>0.52965795930148629</c:v>
                </c:pt>
                <c:pt idx="13258">
                  <c:v>0.53095684803001864</c:v>
                </c:pt>
                <c:pt idx="13259">
                  <c:v>0.53976042719007045</c:v>
                </c:pt>
                <c:pt idx="13260">
                  <c:v>0.55390388223408848</c:v>
                </c:pt>
                <c:pt idx="13261">
                  <c:v>0.5449559821041996</c:v>
                </c:pt>
                <c:pt idx="13262">
                  <c:v>0.54264684658680884</c:v>
                </c:pt>
                <c:pt idx="13263">
                  <c:v>0.54596622889305801</c:v>
                </c:pt>
                <c:pt idx="13264">
                  <c:v>0.56140857266560817</c:v>
                </c:pt>
                <c:pt idx="13265">
                  <c:v>0.57151104055419233</c:v>
                </c:pt>
                <c:pt idx="13266">
                  <c:v>0.57367585510174623</c:v>
                </c:pt>
                <c:pt idx="13267">
                  <c:v>0.57598499061913677</c:v>
                </c:pt>
                <c:pt idx="13268">
                  <c:v>0.58421128589984095</c:v>
                </c:pt>
                <c:pt idx="13269">
                  <c:v>0.58045894068408144</c:v>
                </c:pt>
                <c:pt idx="13270">
                  <c:v>0.58522153268869959</c:v>
                </c:pt>
                <c:pt idx="13271">
                  <c:v>0.586231779477558</c:v>
                </c:pt>
                <c:pt idx="13272">
                  <c:v>0.59012844566315481</c:v>
                </c:pt>
                <c:pt idx="13273">
                  <c:v>0.58406696493000432</c:v>
                </c:pt>
                <c:pt idx="13274">
                  <c:v>0.57930437292538595</c:v>
                </c:pt>
                <c:pt idx="13275">
                  <c:v>0.58204647135228749</c:v>
                </c:pt>
                <c:pt idx="13276">
                  <c:v>0.57916005195554909</c:v>
                </c:pt>
                <c:pt idx="13277">
                  <c:v>0.57309857122239838</c:v>
                </c:pt>
                <c:pt idx="13278">
                  <c:v>0.56039832587674976</c:v>
                </c:pt>
                <c:pt idx="13279">
                  <c:v>0.55116178380718717</c:v>
                </c:pt>
                <c:pt idx="13280">
                  <c:v>0.5471207966517535</c:v>
                </c:pt>
                <c:pt idx="13281">
                  <c:v>0.53687400779333205</c:v>
                </c:pt>
                <c:pt idx="13282">
                  <c:v>0.54668783374224272</c:v>
                </c:pt>
                <c:pt idx="13283">
                  <c:v>0.54856400635012248</c:v>
                </c:pt>
                <c:pt idx="13284">
                  <c:v>0.55173906768653458</c:v>
                </c:pt>
                <c:pt idx="13285">
                  <c:v>0.55505844999278375</c:v>
                </c:pt>
                <c:pt idx="13286">
                  <c:v>0.54192524173762435</c:v>
                </c:pt>
                <c:pt idx="13287">
                  <c:v>0.53976042719007045</c:v>
                </c:pt>
                <c:pt idx="13288">
                  <c:v>0.55274931447539322</c:v>
                </c:pt>
                <c:pt idx="13289">
                  <c:v>0.55751190648001137</c:v>
                </c:pt>
                <c:pt idx="13290">
                  <c:v>0.55145042574686087</c:v>
                </c:pt>
                <c:pt idx="13291">
                  <c:v>0.5666041275797371</c:v>
                </c:pt>
                <c:pt idx="13292">
                  <c:v>0.55303795641506692</c:v>
                </c:pt>
                <c:pt idx="13293">
                  <c:v>0.54899696925963326</c:v>
                </c:pt>
                <c:pt idx="13294">
                  <c:v>0.57122239861451862</c:v>
                </c:pt>
                <c:pt idx="13295">
                  <c:v>0.57078943570500784</c:v>
                </c:pt>
                <c:pt idx="13296">
                  <c:v>0.57252128734305074</c:v>
                </c:pt>
                <c:pt idx="13297">
                  <c:v>0.57122239861451862</c:v>
                </c:pt>
                <c:pt idx="13298">
                  <c:v>0.56977918891614943</c:v>
                </c:pt>
                <c:pt idx="13299">
                  <c:v>0.55780054841968529</c:v>
                </c:pt>
                <c:pt idx="13300">
                  <c:v>0.54885264828979619</c:v>
                </c:pt>
                <c:pt idx="13301">
                  <c:v>0.54928561119930697</c:v>
                </c:pt>
                <c:pt idx="13302">
                  <c:v>0.53802857555202754</c:v>
                </c:pt>
                <c:pt idx="13303">
                  <c:v>0.53254437869822469</c:v>
                </c:pt>
                <c:pt idx="13304">
                  <c:v>0.53240005772838783</c:v>
                </c:pt>
                <c:pt idx="13305">
                  <c:v>0.5218646269302929</c:v>
                </c:pt>
                <c:pt idx="13306">
                  <c:v>0.52085438014143426</c:v>
                </c:pt>
                <c:pt idx="13307">
                  <c:v>0.51955549141290214</c:v>
                </c:pt>
                <c:pt idx="13308">
                  <c:v>0.51941117044306528</c:v>
                </c:pt>
                <c:pt idx="13309">
                  <c:v>0.52388512050800973</c:v>
                </c:pt>
                <c:pt idx="13310">
                  <c:v>0.52431808341752051</c:v>
                </c:pt>
                <c:pt idx="13311">
                  <c:v>0.5158031461971424</c:v>
                </c:pt>
                <c:pt idx="13312">
                  <c:v>0.50945302352431798</c:v>
                </c:pt>
                <c:pt idx="13313">
                  <c:v>0.51652475104632689</c:v>
                </c:pt>
                <c:pt idx="13314">
                  <c:v>0.52388512050800973</c:v>
                </c:pt>
                <c:pt idx="13315">
                  <c:v>0.52330783662866187</c:v>
                </c:pt>
                <c:pt idx="13316">
                  <c:v>0.51161783807187167</c:v>
                </c:pt>
                <c:pt idx="13317">
                  <c:v>0.5087314186751335</c:v>
                </c:pt>
                <c:pt idx="13318">
                  <c:v>0.51334968970991479</c:v>
                </c:pt>
                <c:pt idx="13319">
                  <c:v>0.51017462837350247</c:v>
                </c:pt>
                <c:pt idx="13320">
                  <c:v>0.51075191225285033</c:v>
                </c:pt>
                <c:pt idx="13321">
                  <c:v>0.50108240727377673</c:v>
                </c:pt>
                <c:pt idx="13322">
                  <c:v>0.50007216048491832</c:v>
                </c:pt>
                <c:pt idx="13323">
                  <c:v>0.50324722182133041</c:v>
                </c:pt>
                <c:pt idx="13324">
                  <c:v>0.49372203781209389</c:v>
                </c:pt>
                <c:pt idx="13325">
                  <c:v>0.47928994082840215</c:v>
                </c:pt>
                <c:pt idx="13326">
                  <c:v>0.48333092798383603</c:v>
                </c:pt>
                <c:pt idx="13327">
                  <c:v>0.48030018761726057</c:v>
                </c:pt>
                <c:pt idx="13328">
                  <c:v>0.4958868523596478</c:v>
                </c:pt>
                <c:pt idx="13329">
                  <c:v>0.49920623466589675</c:v>
                </c:pt>
                <c:pt idx="13330">
                  <c:v>0.49920623466589675</c:v>
                </c:pt>
                <c:pt idx="13331">
                  <c:v>0.50165969115312437</c:v>
                </c:pt>
                <c:pt idx="13332">
                  <c:v>0.49660845720883229</c:v>
                </c:pt>
                <c:pt idx="13333">
                  <c:v>0.49213450714388784</c:v>
                </c:pt>
                <c:pt idx="13334">
                  <c:v>0.48636166835041106</c:v>
                </c:pt>
                <c:pt idx="13335">
                  <c:v>0.49502092654062624</c:v>
                </c:pt>
                <c:pt idx="13336">
                  <c:v>0.4958868523596478</c:v>
                </c:pt>
                <c:pt idx="13337">
                  <c:v>0.49112426035502943</c:v>
                </c:pt>
                <c:pt idx="13338">
                  <c:v>0.49328907490258311</c:v>
                </c:pt>
                <c:pt idx="13339">
                  <c:v>0.49386635878193097</c:v>
                </c:pt>
                <c:pt idx="13340">
                  <c:v>0.48751623610910633</c:v>
                </c:pt>
                <c:pt idx="13341">
                  <c:v>0.47337278106508873</c:v>
                </c:pt>
                <c:pt idx="13342">
                  <c:v>0.46731130033193802</c:v>
                </c:pt>
                <c:pt idx="13343">
                  <c:v>0.47337278106508873</c:v>
                </c:pt>
                <c:pt idx="13344">
                  <c:v>0.46889883100014429</c:v>
                </c:pt>
                <c:pt idx="13345">
                  <c:v>0.47510463270313164</c:v>
                </c:pt>
                <c:pt idx="13346">
                  <c:v>0.4713522874873719</c:v>
                </c:pt>
                <c:pt idx="13347">
                  <c:v>0.45692019050368016</c:v>
                </c:pt>
                <c:pt idx="13348">
                  <c:v>0.45388945013710469</c:v>
                </c:pt>
                <c:pt idx="13349">
                  <c:v>0.46023957280992933</c:v>
                </c:pt>
                <c:pt idx="13350">
                  <c:v>0.469187472939818</c:v>
                </c:pt>
                <c:pt idx="13351">
                  <c:v>0.46557944869389511</c:v>
                </c:pt>
                <c:pt idx="13352">
                  <c:v>0.44696204358493286</c:v>
                </c:pt>
                <c:pt idx="13353">
                  <c:v>0.43945735315341294</c:v>
                </c:pt>
                <c:pt idx="13354">
                  <c:v>0.42213883677298303</c:v>
                </c:pt>
                <c:pt idx="13355">
                  <c:v>0.40958291239717126</c:v>
                </c:pt>
                <c:pt idx="13356">
                  <c:v>0.41391254149227863</c:v>
                </c:pt>
                <c:pt idx="13357">
                  <c:v>0.40987155433684497</c:v>
                </c:pt>
                <c:pt idx="13358">
                  <c:v>0.39933612353875003</c:v>
                </c:pt>
                <c:pt idx="13359">
                  <c:v>0.3987588396594024</c:v>
                </c:pt>
                <c:pt idx="13360">
                  <c:v>0.39803723481021791</c:v>
                </c:pt>
                <c:pt idx="13361">
                  <c:v>0.39284167989608876</c:v>
                </c:pt>
                <c:pt idx="13362">
                  <c:v>0.40077933323711923</c:v>
                </c:pt>
                <c:pt idx="13363">
                  <c:v>0.38317217491701538</c:v>
                </c:pt>
                <c:pt idx="13364">
                  <c:v>0.37884254582190779</c:v>
                </c:pt>
                <c:pt idx="13365">
                  <c:v>0.35647279549718558</c:v>
                </c:pt>
                <c:pt idx="13366">
                  <c:v>0.34810217924664433</c:v>
                </c:pt>
                <c:pt idx="13367">
                  <c:v>0.3268869966806176</c:v>
                </c:pt>
                <c:pt idx="13368">
                  <c:v>0.30365132053687383</c:v>
                </c:pt>
                <c:pt idx="13369">
                  <c:v>0.30119786404964621</c:v>
                </c:pt>
                <c:pt idx="13370">
                  <c:v>0.31029008514937217</c:v>
                </c:pt>
                <c:pt idx="13371">
                  <c:v>0.32212440467599923</c:v>
                </c:pt>
                <c:pt idx="13372">
                  <c:v>0.32962909510751892</c:v>
                </c:pt>
                <c:pt idx="13373">
                  <c:v>0.340020204935777</c:v>
                </c:pt>
                <c:pt idx="13374">
                  <c:v>0.33799971135806017</c:v>
                </c:pt>
                <c:pt idx="13375">
                  <c:v>0.32501082407273763</c:v>
                </c:pt>
                <c:pt idx="13376">
                  <c:v>0.32948477413768207</c:v>
                </c:pt>
                <c:pt idx="13377">
                  <c:v>0.32948477413768207</c:v>
                </c:pt>
                <c:pt idx="13378">
                  <c:v>0.34810217924664433</c:v>
                </c:pt>
                <c:pt idx="13379">
                  <c:v>0.36325588107952056</c:v>
                </c:pt>
                <c:pt idx="13380">
                  <c:v>0.36224563429066237</c:v>
                </c:pt>
                <c:pt idx="13381">
                  <c:v>0.36325588107952056</c:v>
                </c:pt>
                <c:pt idx="13382">
                  <c:v>0.36801847308413915</c:v>
                </c:pt>
                <c:pt idx="13383">
                  <c:v>0.36975032472218206</c:v>
                </c:pt>
                <c:pt idx="13384">
                  <c:v>0.34478279694039538</c:v>
                </c:pt>
                <c:pt idx="13385">
                  <c:v>0.33929860008659252</c:v>
                </c:pt>
                <c:pt idx="13386">
                  <c:v>0.35993649877327161</c:v>
                </c:pt>
                <c:pt idx="13387">
                  <c:v>0.3560398325876748</c:v>
                </c:pt>
                <c:pt idx="13388">
                  <c:v>0.35358637610044741</c:v>
                </c:pt>
                <c:pt idx="13389">
                  <c:v>0.36729686823495444</c:v>
                </c:pt>
                <c:pt idx="13390">
                  <c:v>0.37249242314908337</c:v>
                </c:pt>
                <c:pt idx="13391">
                  <c:v>0.37840958291239701</c:v>
                </c:pt>
                <c:pt idx="13392">
                  <c:v>0.37970847164092913</c:v>
                </c:pt>
                <c:pt idx="13393">
                  <c:v>0.38043007649011407</c:v>
                </c:pt>
                <c:pt idx="13394">
                  <c:v>0.39991340741809767</c:v>
                </c:pt>
                <c:pt idx="13395">
                  <c:v>0.40496464136238974</c:v>
                </c:pt>
                <c:pt idx="13396">
                  <c:v>0.41131476403521439</c:v>
                </c:pt>
                <c:pt idx="13397">
                  <c:v>0.41622167700966939</c:v>
                </c:pt>
                <c:pt idx="13398">
                  <c:v>0.42921056429499194</c:v>
                </c:pt>
                <c:pt idx="13399">
                  <c:v>0.43700389666618533</c:v>
                </c:pt>
                <c:pt idx="13400">
                  <c:v>0.43108673690287191</c:v>
                </c:pt>
                <c:pt idx="13401">
                  <c:v>0.43397315629961009</c:v>
                </c:pt>
                <c:pt idx="13402">
                  <c:v>0.44349834030884661</c:v>
                </c:pt>
                <c:pt idx="13403">
                  <c:v>0.44061192091210821</c:v>
                </c:pt>
                <c:pt idx="13404">
                  <c:v>0.4303651320536872</c:v>
                </c:pt>
                <c:pt idx="13405">
                  <c:v>0.4318083417520564</c:v>
                </c:pt>
                <c:pt idx="13406">
                  <c:v>0.42776735459662296</c:v>
                </c:pt>
                <c:pt idx="13407">
                  <c:v>0.41925241737624463</c:v>
                </c:pt>
                <c:pt idx="13408">
                  <c:v>0.41290229470342044</c:v>
                </c:pt>
                <c:pt idx="13409">
                  <c:v>0.41261365276374629</c:v>
                </c:pt>
                <c:pt idx="13410">
                  <c:v>0.40886130754798655</c:v>
                </c:pt>
                <c:pt idx="13411">
                  <c:v>0.41651031894934332</c:v>
                </c:pt>
                <c:pt idx="13412">
                  <c:v>0.41982970125559227</c:v>
                </c:pt>
                <c:pt idx="13413">
                  <c:v>0.42112858998412461</c:v>
                </c:pt>
                <c:pt idx="13414">
                  <c:v>0.43368451435993638</c:v>
                </c:pt>
                <c:pt idx="13415">
                  <c:v>0.4385914273343916</c:v>
                </c:pt>
                <c:pt idx="13416">
                  <c:v>0.44263241448982504</c:v>
                </c:pt>
                <c:pt idx="13417">
                  <c:v>0.43830278539471768</c:v>
                </c:pt>
                <c:pt idx="13418">
                  <c:v>0.43989031606292373</c:v>
                </c:pt>
                <c:pt idx="13419">
                  <c:v>0.43368451435993638</c:v>
                </c:pt>
                <c:pt idx="13420">
                  <c:v>0.44421994515803132</c:v>
                </c:pt>
                <c:pt idx="13421">
                  <c:v>0.44927117910232339</c:v>
                </c:pt>
                <c:pt idx="13422">
                  <c:v>0.45475537595612625</c:v>
                </c:pt>
                <c:pt idx="13423">
                  <c:v>0.46254870832731987</c:v>
                </c:pt>
                <c:pt idx="13424">
                  <c:v>0.45980660990041855</c:v>
                </c:pt>
                <c:pt idx="13425">
                  <c:v>0.4531678452879202</c:v>
                </c:pt>
                <c:pt idx="13426">
                  <c:v>0.43296290951075189</c:v>
                </c:pt>
                <c:pt idx="13427">
                  <c:v>0.42978784817433957</c:v>
                </c:pt>
                <c:pt idx="13428">
                  <c:v>0.42921056429499194</c:v>
                </c:pt>
                <c:pt idx="13429">
                  <c:v>0.43628229181700084</c:v>
                </c:pt>
                <c:pt idx="13430">
                  <c:v>0.45013710492134495</c:v>
                </c:pt>
                <c:pt idx="13431">
                  <c:v>0.40424303651320526</c:v>
                </c:pt>
                <c:pt idx="13432">
                  <c:v>0.42516957713955827</c:v>
                </c:pt>
                <c:pt idx="13433">
                  <c:v>0.44898253716264969</c:v>
                </c:pt>
                <c:pt idx="13434">
                  <c:v>0.43368451435993638</c:v>
                </c:pt>
                <c:pt idx="13435">
                  <c:v>0.41910809640640778</c:v>
                </c:pt>
                <c:pt idx="13436">
                  <c:v>0.41665463991918017</c:v>
                </c:pt>
                <c:pt idx="13437">
                  <c:v>0.42300476259200437</c:v>
                </c:pt>
                <c:pt idx="13438">
                  <c:v>0.44306537739933582</c:v>
                </c:pt>
                <c:pt idx="13439">
                  <c:v>0.42531389810939535</c:v>
                </c:pt>
                <c:pt idx="13440">
                  <c:v>0.38100736036946148</c:v>
                </c:pt>
                <c:pt idx="13441">
                  <c:v>0.38548131043440592</c:v>
                </c:pt>
                <c:pt idx="13442">
                  <c:v>0.36614230047625895</c:v>
                </c:pt>
                <c:pt idx="13443">
                  <c:v>0.34997835185452453</c:v>
                </c:pt>
                <c:pt idx="13444">
                  <c:v>0.34983403088468745</c:v>
                </c:pt>
                <c:pt idx="13445">
                  <c:v>0.36022514071294554</c:v>
                </c:pt>
                <c:pt idx="13446">
                  <c:v>0.35791600519555478</c:v>
                </c:pt>
                <c:pt idx="13447">
                  <c:v>0.35502958579881638</c:v>
                </c:pt>
                <c:pt idx="13448">
                  <c:v>0.36397748592870549</c:v>
                </c:pt>
                <c:pt idx="13449">
                  <c:v>0.38490402655505829</c:v>
                </c:pt>
                <c:pt idx="13450">
                  <c:v>0.37941982970125543</c:v>
                </c:pt>
                <c:pt idx="13451">
                  <c:v>0.38576995237407985</c:v>
                </c:pt>
                <c:pt idx="13452">
                  <c:v>0.40092365420695608</c:v>
                </c:pt>
                <c:pt idx="13453">
                  <c:v>0.41117044306537731</c:v>
                </c:pt>
                <c:pt idx="13454">
                  <c:v>0.42401500938086301</c:v>
                </c:pt>
                <c:pt idx="13455">
                  <c:v>0.42791167556645959</c:v>
                </c:pt>
                <c:pt idx="13456">
                  <c:v>0.4303651320536872</c:v>
                </c:pt>
                <c:pt idx="13457">
                  <c:v>0.43281858854091482</c:v>
                </c:pt>
                <c:pt idx="13458">
                  <c:v>0.43339587242026245</c:v>
                </c:pt>
                <c:pt idx="13459">
                  <c:v>0.42776735459662296</c:v>
                </c:pt>
                <c:pt idx="13460">
                  <c:v>0.4303651320536872</c:v>
                </c:pt>
                <c:pt idx="13461">
                  <c:v>0.43281858854091482</c:v>
                </c:pt>
                <c:pt idx="13462">
                  <c:v>0.43195266272189325</c:v>
                </c:pt>
                <c:pt idx="13463">
                  <c:v>0.43599364987732714</c:v>
                </c:pt>
                <c:pt idx="13464">
                  <c:v>0.45504401789579996</c:v>
                </c:pt>
                <c:pt idx="13465">
                  <c:v>0.4531678452879202</c:v>
                </c:pt>
                <c:pt idx="13466">
                  <c:v>0.44811661134362812</c:v>
                </c:pt>
                <c:pt idx="13467">
                  <c:v>0.44378698224852076</c:v>
                </c:pt>
                <c:pt idx="13468">
                  <c:v>0.43974599509308687</c:v>
                </c:pt>
                <c:pt idx="13469">
                  <c:v>0.4400346370327608</c:v>
                </c:pt>
                <c:pt idx="13470">
                  <c:v>0.4400346370327608</c:v>
                </c:pt>
                <c:pt idx="13471">
                  <c:v>0.43888006927406553</c:v>
                </c:pt>
                <c:pt idx="13472">
                  <c:v>0.42617982392841647</c:v>
                </c:pt>
                <c:pt idx="13473">
                  <c:v>0.41059315918602945</c:v>
                </c:pt>
                <c:pt idx="13474">
                  <c:v>0.41420118343195256</c:v>
                </c:pt>
                <c:pt idx="13475">
                  <c:v>0.41679896088901702</c:v>
                </c:pt>
                <c:pt idx="13476">
                  <c:v>0.42026266416510305</c:v>
                </c:pt>
                <c:pt idx="13477">
                  <c:v>0.40842834463847599</c:v>
                </c:pt>
                <c:pt idx="13478">
                  <c:v>0.41246933179390965</c:v>
                </c:pt>
                <c:pt idx="13479">
                  <c:v>0.42834463847597037</c:v>
                </c:pt>
                <c:pt idx="13480">
                  <c:v>0.45042574686101888</c:v>
                </c:pt>
                <c:pt idx="13481">
                  <c:v>0.45071438880069259</c:v>
                </c:pt>
                <c:pt idx="13482">
                  <c:v>0.4478279694039542</c:v>
                </c:pt>
                <c:pt idx="13483">
                  <c:v>0.446384759705585</c:v>
                </c:pt>
                <c:pt idx="13484">
                  <c:v>0.45865204214172306</c:v>
                </c:pt>
                <c:pt idx="13485">
                  <c:v>0.45244624043873571</c:v>
                </c:pt>
                <c:pt idx="13486">
                  <c:v>0.44739500649444364</c:v>
                </c:pt>
                <c:pt idx="13487">
                  <c:v>0.4478279694039542</c:v>
                </c:pt>
                <c:pt idx="13488">
                  <c:v>0.45894068408139699</c:v>
                </c:pt>
                <c:pt idx="13489">
                  <c:v>0.46197142444797201</c:v>
                </c:pt>
                <c:pt idx="13490">
                  <c:v>0.45778611632270172</c:v>
                </c:pt>
                <c:pt idx="13491">
                  <c:v>0.45706451147351679</c:v>
                </c:pt>
                <c:pt idx="13492">
                  <c:v>0.44609611776591129</c:v>
                </c:pt>
                <c:pt idx="13493">
                  <c:v>0.43786982248520689</c:v>
                </c:pt>
                <c:pt idx="13494">
                  <c:v>0.43455044017895794</c:v>
                </c:pt>
                <c:pt idx="13495">
                  <c:v>0.43729253860585926</c:v>
                </c:pt>
                <c:pt idx="13496">
                  <c:v>0.43556068696781636</c:v>
                </c:pt>
                <c:pt idx="13497">
                  <c:v>0.44508587097705288</c:v>
                </c:pt>
                <c:pt idx="13498">
                  <c:v>0.45749747438302757</c:v>
                </c:pt>
                <c:pt idx="13499">
                  <c:v>0.46211574541780909</c:v>
                </c:pt>
                <c:pt idx="13500">
                  <c:v>0.45865204214172306</c:v>
                </c:pt>
                <c:pt idx="13501">
                  <c:v>0.45518833886563703</c:v>
                </c:pt>
                <c:pt idx="13502">
                  <c:v>0.4531678452879202</c:v>
                </c:pt>
                <c:pt idx="13503">
                  <c:v>0.47510463270313164</c:v>
                </c:pt>
                <c:pt idx="13504">
                  <c:v>0.48203203925530369</c:v>
                </c:pt>
                <c:pt idx="13505">
                  <c:v>0.48506277962187894</c:v>
                </c:pt>
                <c:pt idx="13506">
                  <c:v>0.48102179246644527</c:v>
                </c:pt>
                <c:pt idx="13507">
                  <c:v>0.47726944725068532</c:v>
                </c:pt>
                <c:pt idx="13508">
                  <c:v>0.48462981671236816</c:v>
                </c:pt>
                <c:pt idx="13509">
                  <c:v>0.48982537162649731</c:v>
                </c:pt>
                <c:pt idx="13510">
                  <c:v>0.49776302496752756</c:v>
                </c:pt>
                <c:pt idx="13511">
                  <c:v>0.49790734593736463</c:v>
                </c:pt>
                <c:pt idx="13512">
                  <c:v>0.49069129744551887</c:v>
                </c:pt>
                <c:pt idx="13513">
                  <c:v>0.50021648145475539</c:v>
                </c:pt>
                <c:pt idx="13514">
                  <c:v>0.51003030740366562</c:v>
                </c:pt>
                <c:pt idx="13515">
                  <c:v>0.51205080098138245</c:v>
                </c:pt>
                <c:pt idx="13516">
                  <c:v>0.50656660412757959</c:v>
                </c:pt>
                <c:pt idx="13517">
                  <c:v>0.50007216048491832</c:v>
                </c:pt>
                <c:pt idx="13518">
                  <c:v>0.50165969115312437</c:v>
                </c:pt>
                <c:pt idx="13519">
                  <c:v>0.49458796363111546</c:v>
                </c:pt>
                <c:pt idx="13520">
                  <c:v>0.49170154423437706</c:v>
                </c:pt>
                <c:pt idx="13521">
                  <c:v>0.49530956848029994</c:v>
                </c:pt>
                <c:pt idx="13522">
                  <c:v>0.50108240727377673</c:v>
                </c:pt>
                <c:pt idx="13523">
                  <c:v>0.49357771684225704</c:v>
                </c:pt>
                <c:pt idx="13524">
                  <c:v>0.49401067975176782</c:v>
                </c:pt>
                <c:pt idx="13525">
                  <c:v>0.49184586520421414</c:v>
                </c:pt>
                <c:pt idx="13526">
                  <c:v>0.48621734738057443</c:v>
                </c:pt>
                <c:pt idx="13527">
                  <c:v>0.48477413768220501</c:v>
                </c:pt>
                <c:pt idx="13528">
                  <c:v>0.47351710203492536</c:v>
                </c:pt>
                <c:pt idx="13529">
                  <c:v>0.47178525039688268</c:v>
                </c:pt>
                <c:pt idx="13530">
                  <c:v>0.46500216481454748</c:v>
                </c:pt>
                <c:pt idx="13531">
                  <c:v>0.4546110549862894</c:v>
                </c:pt>
                <c:pt idx="13532">
                  <c:v>0.45129167268004022</c:v>
                </c:pt>
                <c:pt idx="13533">
                  <c:v>0.44883821619281261</c:v>
                </c:pt>
                <c:pt idx="13534">
                  <c:v>0.44768364843411734</c:v>
                </c:pt>
                <c:pt idx="13535">
                  <c:v>0.44696204358493286</c:v>
                </c:pt>
                <c:pt idx="13536">
                  <c:v>0.44364266127868368</c:v>
                </c:pt>
                <c:pt idx="13537">
                  <c:v>0.44248809351998841</c:v>
                </c:pt>
                <c:pt idx="13538">
                  <c:v>0.43758118054553319</c:v>
                </c:pt>
                <c:pt idx="13539">
                  <c:v>0.43772550151537004</c:v>
                </c:pt>
                <c:pt idx="13540">
                  <c:v>0.44725068552460656</c:v>
                </c:pt>
                <c:pt idx="13541">
                  <c:v>0.45215759849906179</c:v>
                </c:pt>
                <c:pt idx="13542">
                  <c:v>0.45778611632270172</c:v>
                </c:pt>
                <c:pt idx="13543">
                  <c:v>0.46038389377976596</c:v>
                </c:pt>
                <c:pt idx="13544">
                  <c:v>0.45937364699090777</c:v>
                </c:pt>
                <c:pt idx="13545">
                  <c:v>0.46067253571943989</c:v>
                </c:pt>
                <c:pt idx="13546">
                  <c:v>0.45345648722759391</c:v>
                </c:pt>
                <c:pt idx="13547">
                  <c:v>0.43700389666618533</c:v>
                </c:pt>
                <c:pt idx="13548">
                  <c:v>0.43440611920912087</c:v>
                </c:pt>
                <c:pt idx="13549">
                  <c:v>0.43310723048058875</c:v>
                </c:pt>
                <c:pt idx="13550">
                  <c:v>0.43541636599797928</c:v>
                </c:pt>
                <c:pt idx="13551">
                  <c:v>0.43426179823928401</c:v>
                </c:pt>
                <c:pt idx="13552">
                  <c:v>0.42820031750613352</c:v>
                </c:pt>
                <c:pt idx="13553">
                  <c:v>0.41319093664309414</c:v>
                </c:pt>
                <c:pt idx="13554">
                  <c:v>0.39919180256891318</c:v>
                </c:pt>
                <c:pt idx="13555">
                  <c:v>0.39962476547842396</c:v>
                </c:pt>
                <c:pt idx="13556">
                  <c:v>0.39991340741809767</c:v>
                </c:pt>
                <c:pt idx="13557">
                  <c:v>0.39630538317217479</c:v>
                </c:pt>
                <c:pt idx="13558">
                  <c:v>0.3987588396594024</c:v>
                </c:pt>
                <c:pt idx="13559">
                  <c:v>0.39601674123250108</c:v>
                </c:pt>
                <c:pt idx="13560">
                  <c:v>0.38678019916293827</c:v>
                </c:pt>
                <c:pt idx="13561">
                  <c:v>0.38144032327897226</c:v>
                </c:pt>
                <c:pt idx="13562">
                  <c:v>0.39616106220233771</c:v>
                </c:pt>
                <c:pt idx="13563">
                  <c:v>0.40799538172896521</c:v>
                </c:pt>
                <c:pt idx="13564">
                  <c:v>0.4172319237985278</c:v>
                </c:pt>
                <c:pt idx="13565">
                  <c:v>0.42387068841102593</c:v>
                </c:pt>
                <c:pt idx="13566">
                  <c:v>0.42055130610477698</c:v>
                </c:pt>
                <c:pt idx="13567">
                  <c:v>0.41304661567325707</c:v>
                </c:pt>
                <c:pt idx="13568">
                  <c:v>0.4055419252417376</c:v>
                </c:pt>
                <c:pt idx="13569">
                  <c:v>0.4072737768797805</c:v>
                </c:pt>
                <c:pt idx="13570">
                  <c:v>0.40640785106075894</c:v>
                </c:pt>
                <c:pt idx="13571">
                  <c:v>0.39890316062923947</c:v>
                </c:pt>
                <c:pt idx="13572">
                  <c:v>0.39442921056429503</c:v>
                </c:pt>
                <c:pt idx="13573">
                  <c:v>0.39890316062923947</c:v>
                </c:pt>
                <c:pt idx="13574">
                  <c:v>0.39168711213739349</c:v>
                </c:pt>
                <c:pt idx="13575">
                  <c:v>0.39154279116755664</c:v>
                </c:pt>
                <c:pt idx="13576">
                  <c:v>0.38374945879636302</c:v>
                </c:pt>
                <c:pt idx="13577">
                  <c:v>0.37407995381728942</c:v>
                </c:pt>
                <c:pt idx="13578">
                  <c:v>0.36946168278250813</c:v>
                </c:pt>
                <c:pt idx="13579">
                  <c:v>0.3795641506710925</c:v>
                </c:pt>
                <c:pt idx="13580">
                  <c:v>0.37509020060614806</c:v>
                </c:pt>
                <c:pt idx="13581">
                  <c:v>0.36931736181267127</c:v>
                </c:pt>
                <c:pt idx="13582">
                  <c:v>0.35344205513061033</c:v>
                </c:pt>
                <c:pt idx="13583">
                  <c:v>0.35344205513061033</c:v>
                </c:pt>
                <c:pt idx="13584">
                  <c:v>0.35315341319093663</c:v>
                </c:pt>
                <c:pt idx="13585">
                  <c:v>0.34810217924664433</c:v>
                </c:pt>
                <c:pt idx="13586">
                  <c:v>0.34261798239284147</c:v>
                </c:pt>
                <c:pt idx="13587">
                  <c:v>0.33929860008659252</c:v>
                </c:pt>
                <c:pt idx="13588">
                  <c:v>0.33583489681050649</c:v>
                </c:pt>
                <c:pt idx="13589">
                  <c:v>0.33814403232789703</c:v>
                </c:pt>
                <c:pt idx="13590">
                  <c:v>0.32746428055996524</c:v>
                </c:pt>
                <c:pt idx="13591">
                  <c:v>0.33049502092654048</c:v>
                </c:pt>
                <c:pt idx="13592">
                  <c:v>0.3332371193534418</c:v>
                </c:pt>
                <c:pt idx="13593">
                  <c:v>0.33280415644393102</c:v>
                </c:pt>
                <c:pt idx="13594">
                  <c:v>0.32486650310290077</c:v>
                </c:pt>
                <c:pt idx="13595">
                  <c:v>0.3154856400635011</c:v>
                </c:pt>
                <c:pt idx="13596">
                  <c:v>0.32991773704719285</c:v>
                </c:pt>
                <c:pt idx="13597">
                  <c:v>0.33164958868523575</c:v>
                </c:pt>
                <c:pt idx="13598">
                  <c:v>0.32890749025833443</c:v>
                </c:pt>
                <c:pt idx="13599">
                  <c:v>0.31461971424447954</c:v>
                </c:pt>
                <c:pt idx="13600">
                  <c:v>0.30769230769230749</c:v>
                </c:pt>
                <c:pt idx="13601">
                  <c:v>0.30033193823062465</c:v>
                </c:pt>
                <c:pt idx="13602">
                  <c:v>0.29946601241160331</c:v>
                </c:pt>
                <c:pt idx="13603">
                  <c:v>0.29802280271323411</c:v>
                </c:pt>
                <c:pt idx="13604">
                  <c:v>0.30206378986866778</c:v>
                </c:pt>
                <c:pt idx="13605">
                  <c:v>0.29946601241160331</c:v>
                </c:pt>
                <c:pt idx="13606">
                  <c:v>0.29484774137682201</c:v>
                </c:pt>
                <c:pt idx="13607">
                  <c:v>0.29398181555780045</c:v>
                </c:pt>
                <c:pt idx="13608">
                  <c:v>0.29600230913551728</c:v>
                </c:pt>
                <c:pt idx="13609">
                  <c:v>0.30264107374801563</c:v>
                </c:pt>
                <c:pt idx="13610">
                  <c:v>0.29773416077356041</c:v>
                </c:pt>
                <c:pt idx="13611">
                  <c:v>0.29224996391975755</c:v>
                </c:pt>
                <c:pt idx="13612">
                  <c:v>0.29123971713089891</c:v>
                </c:pt>
                <c:pt idx="13613">
                  <c:v>0.29802280271323411</c:v>
                </c:pt>
                <c:pt idx="13614">
                  <c:v>0.29109539616106206</c:v>
                </c:pt>
                <c:pt idx="13615">
                  <c:v>0.28301342185019474</c:v>
                </c:pt>
                <c:pt idx="13616">
                  <c:v>0.27695194111704424</c:v>
                </c:pt>
                <c:pt idx="13617">
                  <c:v>0.26237552316351542</c:v>
                </c:pt>
                <c:pt idx="13618">
                  <c:v>0.25847885697791884</c:v>
                </c:pt>
                <c:pt idx="13619">
                  <c:v>0.24015009380863028</c:v>
                </c:pt>
                <c:pt idx="13620">
                  <c:v>0.2280271323423293</c:v>
                </c:pt>
                <c:pt idx="13621">
                  <c:v>0.22355318227738485</c:v>
                </c:pt>
                <c:pt idx="13622">
                  <c:v>0.21575984990619124</c:v>
                </c:pt>
                <c:pt idx="13623">
                  <c:v>0.20825515947467155</c:v>
                </c:pt>
                <c:pt idx="13624">
                  <c:v>0.19656516091788112</c:v>
                </c:pt>
                <c:pt idx="13625">
                  <c:v>0.19483330927983844</c:v>
                </c:pt>
                <c:pt idx="13626">
                  <c:v>0.20277096262086869</c:v>
                </c:pt>
                <c:pt idx="13627">
                  <c:v>0.20132775292249949</c:v>
                </c:pt>
                <c:pt idx="13628">
                  <c:v>0.20320392553037947</c:v>
                </c:pt>
                <c:pt idx="13629">
                  <c:v>0.21446096117765912</c:v>
                </c:pt>
                <c:pt idx="13630">
                  <c:v>0.22716120652330773</c:v>
                </c:pt>
                <c:pt idx="13631">
                  <c:v>0.22369750324722171</c:v>
                </c:pt>
                <c:pt idx="13632">
                  <c:v>0.2219656516091788</c:v>
                </c:pt>
                <c:pt idx="13633">
                  <c:v>0.21547120796651731</c:v>
                </c:pt>
                <c:pt idx="13634">
                  <c:v>0.21373935632847441</c:v>
                </c:pt>
                <c:pt idx="13635">
                  <c:v>0.21792466445374492</c:v>
                </c:pt>
                <c:pt idx="13636">
                  <c:v>0.21547120796651731</c:v>
                </c:pt>
                <c:pt idx="13637">
                  <c:v>0.2052244191080963</c:v>
                </c:pt>
                <c:pt idx="13638">
                  <c:v>0.20147207389233635</c:v>
                </c:pt>
                <c:pt idx="13639">
                  <c:v>0.20305960456054262</c:v>
                </c:pt>
                <c:pt idx="13640">
                  <c:v>0.20406985134940103</c:v>
                </c:pt>
                <c:pt idx="13641">
                  <c:v>0.19959590128445659</c:v>
                </c:pt>
                <c:pt idx="13642">
                  <c:v>0.20233799971135791</c:v>
                </c:pt>
                <c:pt idx="13643">
                  <c:v>0.20897676432385603</c:v>
                </c:pt>
                <c:pt idx="13644">
                  <c:v>0.20334824650021632</c:v>
                </c:pt>
                <c:pt idx="13645">
                  <c:v>0.20738923365564998</c:v>
                </c:pt>
                <c:pt idx="13646">
                  <c:v>0.20710059171597628</c:v>
                </c:pt>
                <c:pt idx="13647">
                  <c:v>0.20002886419396737</c:v>
                </c:pt>
                <c:pt idx="13648">
                  <c:v>0.21633713378553887</c:v>
                </c:pt>
                <c:pt idx="13649">
                  <c:v>0.22167700966950488</c:v>
                </c:pt>
                <c:pt idx="13650">
                  <c:v>0.21503824505700675</c:v>
                </c:pt>
                <c:pt idx="13651">
                  <c:v>0.21316207244912677</c:v>
                </c:pt>
                <c:pt idx="13652">
                  <c:v>0.21474960311733282</c:v>
                </c:pt>
                <c:pt idx="13653">
                  <c:v>0.22788281137249222</c:v>
                </c:pt>
                <c:pt idx="13654">
                  <c:v>0.24043873574830421</c:v>
                </c:pt>
                <c:pt idx="13655">
                  <c:v>0.25400490691297439</c:v>
                </c:pt>
                <c:pt idx="13656">
                  <c:v>0.25342762303362654</c:v>
                </c:pt>
                <c:pt idx="13657">
                  <c:v>0.2479434261798239</c:v>
                </c:pt>
                <c:pt idx="13658">
                  <c:v>0.22903737913118749</c:v>
                </c:pt>
                <c:pt idx="13659">
                  <c:v>0.21691441766488651</c:v>
                </c:pt>
                <c:pt idx="13660">
                  <c:v>0.21532688699668046</c:v>
                </c:pt>
                <c:pt idx="13661">
                  <c:v>0.2166257757252128</c:v>
                </c:pt>
                <c:pt idx="13662">
                  <c:v>0.21027565305238838</c:v>
                </c:pt>
                <c:pt idx="13663">
                  <c:v>0.21186318372059443</c:v>
                </c:pt>
                <c:pt idx="13664">
                  <c:v>0.21099725790157287</c:v>
                </c:pt>
                <c:pt idx="13665">
                  <c:v>0.19541059315918585</c:v>
                </c:pt>
                <c:pt idx="13666">
                  <c:v>0.1785250396882665</c:v>
                </c:pt>
                <c:pt idx="13667">
                  <c:v>0.18213306393418938</c:v>
                </c:pt>
                <c:pt idx="13668">
                  <c:v>0.19237985279261083</c:v>
                </c:pt>
                <c:pt idx="13669">
                  <c:v>0.18761726078799246</c:v>
                </c:pt>
                <c:pt idx="13670">
                  <c:v>0.1804012122961467</c:v>
                </c:pt>
                <c:pt idx="13671">
                  <c:v>0.17419541059315913</c:v>
                </c:pt>
                <c:pt idx="13672">
                  <c:v>0.18444219945158014</c:v>
                </c:pt>
                <c:pt idx="13673">
                  <c:v>0.19093664309424141</c:v>
                </c:pt>
                <c:pt idx="13674">
                  <c:v>0.18776158175782931</c:v>
                </c:pt>
                <c:pt idx="13675">
                  <c:v>0.19483330927983844</c:v>
                </c:pt>
                <c:pt idx="13676">
                  <c:v>0.19844133352576132</c:v>
                </c:pt>
                <c:pt idx="13677">
                  <c:v>0.19541059315918585</c:v>
                </c:pt>
                <c:pt idx="13678">
                  <c:v>0.18473084139125406</c:v>
                </c:pt>
                <c:pt idx="13679">
                  <c:v>0.16842257179968234</c:v>
                </c:pt>
                <c:pt idx="13680">
                  <c:v>0.16827825082984549</c:v>
                </c:pt>
                <c:pt idx="13681">
                  <c:v>0.17650454611054966</c:v>
                </c:pt>
                <c:pt idx="13682">
                  <c:v>0.18141145908500489</c:v>
                </c:pt>
                <c:pt idx="13683">
                  <c:v>0.17015442343772547</c:v>
                </c:pt>
                <c:pt idx="13684">
                  <c:v>0.17203059604560522</c:v>
                </c:pt>
                <c:pt idx="13685">
                  <c:v>0.1707317073170731</c:v>
                </c:pt>
                <c:pt idx="13686">
                  <c:v>0.16885553470919312</c:v>
                </c:pt>
                <c:pt idx="13687">
                  <c:v>0.14359936498773251</c:v>
                </c:pt>
                <c:pt idx="13688">
                  <c:v>0.12050800981382581</c:v>
                </c:pt>
                <c:pt idx="13689">
                  <c:v>0.1539904748159906</c:v>
                </c:pt>
                <c:pt idx="13690">
                  <c:v>9.9725790157309868E-2</c:v>
                </c:pt>
                <c:pt idx="13691">
                  <c:v>8.7169865781497879E-2</c:v>
                </c:pt>
                <c:pt idx="13692">
                  <c:v>8.5005051233944195E-2</c:v>
                </c:pt>
                <c:pt idx="13693">
                  <c:v>7.8943570500793703E-2</c:v>
                </c:pt>
                <c:pt idx="13694">
                  <c:v>8.8468754510030223E-2</c:v>
                </c:pt>
                <c:pt idx="13695">
                  <c:v>9.4241593303506788E-2</c:v>
                </c:pt>
                <c:pt idx="13696">
                  <c:v>9.9725790157309868E-2</c:v>
                </c:pt>
                <c:pt idx="13697">
                  <c:v>0.11531245489969688</c:v>
                </c:pt>
                <c:pt idx="13698">
                  <c:v>0.11242603550295849</c:v>
                </c:pt>
                <c:pt idx="13699">
                  <c:v>0.11386924520132768</c:v>
                </c:pt>
                <c:pt idx="13700">
                  <c:v>0.11401356617116454</c:v>
                </c:pt>
                <c:pt idx="13701">
                  <c:v>0.11156010968393693</c:v>
                </c:pt>
                <c:pt idx="13702">
                  <c:v>0.12642516957713945</c:v>
                </c:pt>
                <c:pt idx="13703">
                  <c:v>0.12671381151681316</c:v>
                </c:pt>
                <c:pt idx="13704">
                  <c:v>0.1262808486073026</c:v>
                </c:pt>
                <c:pt idx="13705">
                  <c:v>0.12238418242170579</c:v>
                </c:pt>
                <c:pt idx="13706">
                  <c:v>0.12065233078366289</c:v>
                </c:pt>
                <c:pt idx="13707">
                  <c:v>0.12310578727089028</c:v>
                </c:pt>
                <c:pt idx="13708">
                  <c:v>0.12570356472795496</c:v>
                </c:pt>
                <c:pt idx="13709">
                  <c:v>0.111704430653774</c:v>
                </c:pt>
                <c:pt idx="13710">
                  <c:v>0.11098282580458929</c:v>
                </c:pt>
                <c:pt idx="13711">
                  <c:v>0.12166257757252108</c:v>
                </c:pt>
                <c:pt idx="13712">
                  <c:v>0.1212296146630103</c:v>
                </c:pt>
                <c:pt idx="13713">
                  <c:v>0.1017462837350267</c:v>
                </c:pt>
                <c:pt idx="13714">
                  <c:v>8.5726656083128905E-2</c:v>
                </c:pt>
                <c:pt idx="13715">
                  <c:v>7.4036657526338479E-2</c:v>
                </c:pt>
                <c:pt idx="13716">
                  <c:v>7.6201472073892162E-2</c:v>
                </c:pt>
                <c:pt idx="13717">
                  <c:v>7.6201472073892162E-2</c:v>
                </c:pt>
                <c:pt idx="13718">
                  <c:v>6.8841102612209548E-2</c:v>
                </c:pt>
                <c:pt idx="13719">
                  <c:v>5.3543079809496241E-2</c:v>
                </c:pt>
                <c:pt idx="13720">
                  <c:v>2.7998268148361927E-2</c:v>
                </c:pt>
                <c:pt idx="13721">
                  <c:v>3.5935921489392397E-2</c:v>
                </c:pt>
                <c:pt idx="13722">
                  <c:v>5.2388512050800973E-2</c:v>
                </c:pt>
                <c:pt idx="13723">
                  <c:v>5.4120363688843875E-2</c:v>
                </c:pt>
                <c:pt idx="13724">
                  <c:v>4.9502092654062579E-2</c:v>
                </c:pt>
                <c:pt idx="13725">
                  <c:v>5.1955549141290192E-2</c:v>
                </c:pt>
                <c:pt idx="13726">
                  <c:v>6.0326165391831221E-2</c:v>
                </c:pt>
                <c:pt idx="13727">
                  <c:v>6.8263818732861692E-2</c:v>
                </c:pt>
                <c:pt idx="13728">
                  <c:v>6.7542213883677205E-2</c:v>
                </c:pt>
                <c:pt idx="13729">
                  <c:v>7.8943570500793703E-2</c:v>
                </c:pt>
                <c:pt idx="13730">
                  <c:v>0.10607591283013407</c:v>
                </c:pt>
                <c:pt idx="13731">
                  <c:v>0.11199307259344771</c:v>
                </c:pt>
                <c:pt idx="13732">
                  <c:v>0.10419974022225431</c:v>
                </c:pt>
                <c:pt idx="13733">
                  <c:v>9.6839370760571475E-2</c:v>
                </c:pt>
                <c:pt idx="13734">
                  <c:v>9.9004185308125159E-2</c:v>
                </c:pt>
                <c:pt idx="13735">
                  <c:v>7.3459373646990844E-2</c:v>
                </c:pt>
                <c:pt idx="13736">
                  <c:v>7.1005917159763232E-2</c:v>
                </c:pt>
                <c:pt idx="13737">
                  <c:v>7.446962043584926E-2</c:v>
                </c:pt>
                <c:pt idx="13738">
                  <c:v>8.9334680329051785E-2</c:v>
                </c:pt>
                <c:pt idx="13739">
                  <c:v>0.10044739500649436</c:v>
                </c:pt>
                <c:pt idx="13740">
                  <c:v>0.10102467888584221</c:v>
                </c:pt>
                <c:pt idx="13741">
                  <c:v>9.9292827247799087E-2</c:v>
                </c:pt>
                <c:pt idx="13742">
                  <c:v>0.11646702265839215</c:v>
                </c:pt>
                <c:pt idx="13743">
                  <c:v>0.13320825515947443</c:v>
                </c:pt>
                <c:pt idx="13744">
                  <c:v>0.1233944292105642</c:v>
                </c:pt>
                <c:pt idx="13745">
                  <c:v>0.1233944292105642</c:v>
                </c:pt>
                <c:pt idx="13746">
                  <c:v>0.10477702410160172</c:v>
                </c:pt>
                <c:pt idx="13747">
                  <c:v>7.6778755953239797E-2</c:v>
                </c:pt>
                <c:pt idx="13748">
                  <c:v>5.0223697503247067E-2</c:v>
                </c:pt>
                <c:pt idx="13749">
                  <c:v>0</c:v>
                </c:pt>
                <c:pt idx="13750">
                  <c:v>0</c:v>
                </c:pt>
                <c:pt idx="13751">
                  <c:v>0</c:v>
                </c:pt>
                <c:pt idx="13752">
                  <c:v>0</c:v>
                </c:pt>
                <c:pt idx="13753">
                  <c:v>0</c:v>
                </c:pt>
                <c:pt idx="13754">
                  <c:v>0</c:v>
                </c:pt>
                <c:pt idx="13755">
                  <c:v>0</c:v>
                </c:pt>
                <c:pt idx="13756">
                  <c:v>0</c:v>
                </c:pt>
                <c:pt idx="13757">
                  <c:v>0</c:v>
                </c:pt>
                <c:pt idx="13758">
                  <c:v>0</c:v>
                </c:pt>
                <c:pt idx="13759">
                  <c:v>0</c:v>
                </c:pt>
                <c:pt idx="13760">
                  <c:v>0</c:v>
                </c:pt>
                <c:pt idx="13761">
                  <c:v>0</c:v>
                </c:pt>
                <c:pt idx="13762">
                  <c:v>0</c:v>
                </c:pt>
                <c:pt idx="13763">
                  <c:v>0</c:v>
                </c:pt>
                <c:pt idx="13764">
                  <c:v>0</c:v>
                </c:pt>
                <c:pt idx="13765">
                  <c:v>0</c:v>
                </c:pt>
                <c:pt idx="13766">
                  <c:v>0</c:v>
                </c:pt>
                <c:pt idx="13767">
                  <c:v>0</c:v>
                </c:pt>
                <c:pt idx="13768">
                  <c:v>0</c:v>
                </c:pt>
                <c:pt idx="13769">
                  <c:v>0</c:v>
                </c:pt>
                <c:pt idx="13770">
                  <c:v>0</c:v>
                </c:pt>
                <c:pt idx="13771">
                  <c:v>0</c:v>
                </c:pt>
                <c:pt idx="13772">
                  <c:v>0</c:v>
                </c:pt>
                <c:pt idx="13773">
                  <c:v>0</c:v>
                </c:pt>
                <c:pt idx="13774">
                  <c:v>0</c:v>
                </c:pt>
                <c:pt idx="13775">
                  <c:v>0</c:v>
                </c:pt>
                <c:pt idx="13776">
                  <c:v>0</c:v>
                </c:pt>
                <c:pt idx="13777">
                  <c:v>0</c:v>
                </c:pt>
                <c:pt idx="13778">
                  <c:v>0</c:v>
                </c:pt>
                <c:pt idx="13779">
                  <c:v>0</c:v>
                </c:pt>
                <c:pt idx="13780">
                  <c:v>0</c:v>
                </c:pt>
                <c:pt idx="13781">
                  <c:v>0</c:v>
                </c:pt>
                <c:pt idx="13782">
                  <c:v>0</c:v>
                </c:pt>
                <c:pt idx="13783">
                  <c:v>0</c:v>
                </c:pt>
                <c:pt idx="13784">
                  <c:v>0</c:v>
                </c:pt>
                <c:pt idx="13785">
                  <c:v>0</c:v>
                </c:pt>
                <c:pt idx="13786">
                  <c:v>0</c:v>
                </c:pt>
                <c:pt idx="13787">
                  <c:v>0</c:v>
                </c:pt>
                <c:pt idx="13788">
                  <c:v>0</c:v>
                </c:pt>
                <c:pt idx="13789">
                  <c:v>0</c:v>
                </c:pt>
                <c:pt idx="13790">
                  <c:v>0</c:v>
                </c:pt>
                <c:pt idx="13791">
                  <c:v>0</c:v>
                </c:pt>
                <c:pt idx="13792">
                  <c:v>0</c:v>
                </c:pt>
                <c:pt idx="13793">
                  <c:v>0</c:v>
                </c:pt>
                <c:pt idx="13794">
                  <c:v>0</c:v>
                </c:pt>
                <c:pt idx="13795">
                  <c:v>0</c:v>
                </c:pt>
                <c:pt idx="13796">
                  <c:v>0</c:v>
                </c:pt>
                <c:pt idx="13797">
                  <c:v>0</c:v>
                </c:pt>
                <c:pt idx="13798">
                  <c:v>0</c:v>
                </c:pt>
                <c:pt idx="13799">
                  <c:v>0</c:v>
                </c:pt>
                <c:pt idx="13800">
                  <c:v>0</c:v>
                </c:pt>
                <c:pt idx="13801">
                  <c:v>0</c:v>
                </c:pt>
                <c:pt idx="13802">
                  <c:v>0</c:v>
                </c:pt>
                <c:pt idx="13803">
                  <c:v>0</c:v>
                </c:pt>
                <c:pt idx="13804">
                  <c:v>0</c:v>
                </c:pt>
                <c:pt idx="13805">
                  <c:v>0</c:v>
                </c:pt>
                <c:pt idx="13806">
                  <c:v>0</c:v>
                </c:pt>
                <c:pt idx="13807">
                  <c:v>0</c:v>
                </c:pt>
                <c:pt idx="13808">
                  <c:v>0</c:v>
                </c:pt>
                <c:pt idx="13809">
                  <c:v>0</c:v>
                </c:pt>
                <c:pt idx="13810">
                  <c:v>0</c:v>
                </c:pt>
                <c:pt idx="13811">
                  <c:v>0</c:v>
                </c:pt>
                <c:pt idx="13812">
                  <c:v>0</c:v>
                </c:pt>
                <c:pt idx="13813">
                  <c:v>0</c:v>
                </c:pt>
                <c:pt idx="13814">
                  <c:v>0</c:v>
                </c:pt>
                <c:pt idx="13815">
                  <c:v>0</c:v>
                </c:pt>
                <c:pt idx="13816">
                  <c:v>0</c:v>
                </c:pt>
                <c:pt idx="13817">
                  <c:v>0</c:v>
                </c:pt>
                <c:pt idx="13818">
                  <c:v>0</c:v>
                </c:pt>
                <c:pt idx="13819">
                  <c:v>0</c:v>
                </c:pt>
                <c:pt idx="13820">
                  <c:v>0</c:v>
                </c:pt>
                <c:pt idx="13821">
                  <c:v>0</c:v>
                </c:pt>
                <c:pt idx="13822">
                  <c:v>0</c:v>
                </c:pt>
                <c:pt idx="13823">
                  <c:v>0</c:v>
                </c:pt>
                <c:pt idx="13824">
                  <c:v>0</c:v>
                </c:pt>
                <c:pt idx="13825">
                  <c:v>0</c:v>
                </c:pt>
                <c:pt idx="13826">
                  <c:v>0</c:v>
                </c:pt>
                <c:pt idx="13827">
                  <c:v>0</c:v>
                </c:pt>
                <c:pt idx="13828">
                  <c:v>0</c:v>
                </c:pt>
                <c:pt idx="13829">
                  <c:v>0</c:v>
                </c:pt>
                <c:pt idx="13830">
                  <c:v>0</c:v>
                </c:pt>
                <c:pt idx="13831">
                  <c:v>0</c:v>
                </c:pt>
                <c:pt idx="13832">
                  <c:v>0</c:v>
                </c:pt>
                <c:pt idx="13833">
                  <c:v>0</c:v>
                </c:pt>
                <c:pt idx="13834">
                  <c:v>0</c:v>
                </c:pt>
                <c:pt idx="13835">
                  <c:v>0</c:v>
                </c:pt>
                <c:pt idx="13836">
                  <c:v>0</c:v>
                </c:pt>
                <c:pt idx="13837">
                  <c:v>0</c:v>
                </c:pt>
                <c:pt idx="13838">
                  <c:v>0</c:v>
                </c:pt>
                <c:pt idx="13839">
                  <c:v>0</c:v>
                </c:pt>
                <c:pt idx="13840">
                  <c:v>0</c:v>
                </c:pt>
                <c:pt idx="13841">
                  <c:v>0</c:v>
                </c:pt>
                <c:pt idx="13842">
                  <c:v>0</c:v>
                </c:pt>
                <c:pt idx="13843">
                  <c:v>0</c:v>
                </c:pt>
                <c:pt idx="13844">
                  <c:v>0</c:v>
                </c:pt>
                <c:pt idx="13845">
                  <c:v>0</c:v>
                </c:pt>
                <c:pt idx="13846">
                  <c:v>0</c:v>
                </c:pt>
                <c:pt idx="13847">
                  <c:v>0</c:v>
                </c:pt>
                <c:pt idx="13848">
                  <c:v>0</c:v>
                </c:pt>
                <c:pt idx="13849">
                  <c:v>0</c:v>
                </c:pt>
                <c:pt idx="13850">
                  <c:v>0</c:v>
                </c:pt>
                <c:pt idx="13851">
                  <c:v>0</c:v>
                </c:pt>
                <c:pt idx="13852">
                  <c:v>0</c:v>
                </c:pt>
                <c:pt idx="13853">
                  <c:v>0</c:v>
                </c:pt>
                <c:pt idx="13854">
                  <c:v>0</c:v>
                </c:pt>
                <c:pt idx="13855">
                  <c:v>0</c:v>
                </c:pt>
                <c:pt idx="13856">
                  <c:v>0</c:v>
                </c:pt>
                <c:pt idx="13857">
                  <c:v>0</c:v>
                </c:pt>
                <c:pt idx="13858">
                  <c:v>0</c:v>
                </c:pt>
                <c:pt idx="13859">
                  <c:v>0</c:v>
                </c:pt>
                <c:pt idx="13860">
                  <c:v>0</c:v>
                </c:pt>
                <c:pt idx="13861">
                  <c:v>0</c:v>
                </c:pt>
                <c:pt idx="13862">
                  <c:v>0</c:v>
                </c:pt>
                <c:pt idx="13863">
                  <c:v>0</c:v>
                </c:pt>
                <c:pt idx="13864">
                  <c:v>0</c:v>
                </c:pt>
                <c:pt idx="13865">
                  <c:v>0</c:v>
                </c:pt>
                <c:pt idx="13866">
                  <c:v>0</c:v>
                </c:pt>
                <c:pt idx="13867">
                  <c:v>0</c:v>
                </c:pt>
                <c:pt idx="13868">
                  <c:v>0</c:v>
                </c:pt>
                <c:pt idx="13869">
                  <c:v>0</c:v>
                </c:pt>
                <c:pt idx="13870">
                  <c:v>0</c:v>
                </c:pt>
                <c:pt idx="13871">
                  <c:v>0</c:v>
                </c:pt>
                <c:pt idx="13872">
                  <c:v>0</c:v>
                </c:pt>
                <c:pt idx="13873">
                  <c:v>0</c:v>
                </c:pt>
                <c:pt idx="13874">
                  <c:v>0</c:v>
                </c:pt>
                <c:pt idx="13875">
                  <c:v>0</c:v>
                </c:pt>
                <c:pt idx="13876">
                  <c:v>0</c:v>
                </c:pt>
                <c:pt idx="13877">
                  <c:v>0</c:v>
                </c:pt>
                <c:pt idx="13878">
                  <c:v>0</c:v>
                </c:pt>
                <c:pt idx="13879">
                  <c:v>0</c:v>
                </c:pt>
                <c:pt idx="13880">
                  <c:v>0</c:v>
                </c:pt>
                <c:pt idx="13881">
                  <c:v>0</c:v>
                </c:pt>
                <c:pt idx="13882">
                  <c:v>0</c:v>
                </c:pt>
                <c:pt idx="13883">
                  <c:v>0</c:v>
                </c:pt>
                <c:pt idx="13884">
                  <c:v>0</c:v>
                </c:pt>
                <c:pt idx="13885">
                  <c:v>0</c:v>
                </c:pt>
                <c:pt idx="13886">
                  <c:v>0</c:v>
                </c:pt>
                <c:pt idx="13887">
                  <c:v>0</c:v>
                </c:pt>
                <c:pt idx="13888">
                  <c:v>0</c:v>
                </c:pt>
                <c:pt idx="13889">
                  <c:v>0</c:v>
                </c:pt>
                <c:pt idx="13890">
                  <c:v>0</c:v>
                </c:pt>
                <c:pt idx="13891">
                  <c:v>0</c:v>
                </c:pt>
                <c:pt idx="13892">
                  <c:v>0</c:v>
                </c:pt>
                <c:pt idx="13893">
                  <c:v>0</c:v>
                </c:pt>
                <c:pt idx="13894">
                  <c:v>0</c:v>
                </c:pt>
                <c:pt idx="13895">
                  <c:v>0</c:v>
                </c:pt>
                <c:pt idx="13896">
                  <c:v>0</c:v>
                </c:pt>
                <c:pt idx="13897">
                  <c:v>0</c:v>
                </c:pt>
                <c:pt idx="13898">
                  <c:v>0</c:v>
                </c:pt>
                <c:pt idx="13899">
                  <c:v>0</c:v>
                </c:pt>
                <c:pt idx="13900">
                  <c:v>0</c:v>
                </c:pt>
                <c:pt idx="13901">
                  <c:v>0</c:v>
                </c:pt>
                <c:pt idx="13902">
                  <c:v>0</c:v>
                </c:pt>
                <c:pt idx="13903">
                  <c:v>0</c:v>
                </c:pt>
                <c:pt idx="13904">
                  <c:v>0</c:v>
                </c:pt>
                <c:pt idx="13905">
                  <c:v>0</c:v>
                </c:pt>
                <c:pt idx="13906">
                  <c:v>0</c:v>
                </c:pt>
                <c:pt idx="13907">
                  <c:v>0</c:v>
                </c:pt>
                <c:pt idx="13908">
                  <c:v>0</c:v>
                </c:pt>
                <c:pt idx="13909">
                  <c:v>0</c:v>
                </c:pt>
                <c:pt idx="13910">
                  <c:v>0</c:v>
                </c:pt>
                <c:pt idx="13911">
                  <c:v>0</c:v>
                </c:pt>
                <c:pt idx="13912">
                  <c:v>0</c:v>
                </c:pt>
                <c:pt idx="13913">
                  <c:v>0</c:v>
                </c:pt>
                <c:pt idx="13914">
                  <c:v>0</c:v>
                </c:pt>
                <c:pt idx="13915">
                  <c:v>0</c:v>
                </c:pt>
                <c:pt idx="13916">
                  <c:v>0</c:v>
                </c:pt>
                <c:pt idx="13917">
                  <c:v>0</c:v>
                </c:pt>
                <c:pt idx="13918">
                  <c:v>0</c:v>
                </c:pt>
                <c:pt idx="13919">
                  <c:v>0</c:v>
                </c:pt>
                <c:pt idx="13920">
                  <c:v>0</c:v>
                </c:pt>
                <c:pt idx="13921">
                  <c:v>0</c:v>
                </c:pt>
                <c:pt idx="13922">
                  <c:v>0</c:v>
                </c:pt>
                <c:pt idx="13923">
                  <c:v>0</c:v>
                </c:pt>
                <c:pt idx="13924">
                  <c:v>0</c:v>
                </c:pt>
                <c:pt idx="13925">
                  <c:v>0</c:v>
                </c:pt>
                <c:pt idx="13926">
                  <c:v>0</c:v>
                </c:pt>
                <c:pt idx="13927">
                  <c:v>0</c:v>
                </c:pt>
                <c:pt idx="13928">
                  <c:v>0</c:v>
                </c:pt>
                <c:pt idx="13929">
                  <c:v>0</c:v>
                </c:pt>
                <c:pt idx="13930">
                  <c:v>0</c:v>
                </c:pt>
                <c:pt idx="13931">
                  <c:v>0</c:v>
                </c:pt>
                <c:pt idx="13932">
                  <c:v>0</c:v>
                </c:pt>
                <c:pt idx="13933">
                  <c:v>0</c:v>
                </c:pt>
                <c:pt idx="13934">
                  <c:v>0</c:v>
                </c:pt>
                <c:pt idx="13935">
                  <c:v>0</c:v>
                </c:pt>
                <c:pt idx="13936">
                  <c:v>0</c:v>
                </c:pt>
                <c:pt idx="13937">
                  <c:v>0</c:v>
                </c:pt>
                <c:pt idx="13938">
                  <c:v>0</c:v>
                </c:pt>
                <c:pt idx="13939">
                  <c:v>0</c:v>
                </c:pt>
                <c:pt idx="13940">
                  <c:v>0</c:v>
                </c:pt>
                <c:pt idx="13941">
                  <c:v>0</c:v>
                </c:pt>
                <c:pt idx="13942">
                  <c:v>0</c:v>
                </c:pt>
                <c:pt idx="13943">
                  <c:v>0</c:v>
                </c:pt>
                <c:pt idx="13944">
                  <c:v>0</c:v>
                </c:pt>
                <c:pt idx="13945">
                  <c:v>0</c:v>
                </c:pt>
                <c:pt idx="13946">
                  <c:v>0</c:v>
                </c:pt>
                <c:pt idx="13947">
                  <c:v>0</c:v>
                </c:pt>
                <c:pt idx="13948">
                  <c:v>0</c:v>
                </c:pt>
                <c:pt idx="13949">
                  <c:v>0</c:v>
                </c:pt>
                <c:pt idx="13950">
                  <c:v>0</c:v>
                </c:pt>
                <c:pt idx="13951">
                  <c:v>0</c:v>
                </c:pt>
                <c:pt idx="13952">
                  <c:v>0</c:v>
                </c:pt>
                <c:pt idx="13953">
                  <c:v>0</c:v>
                </c:pt>
                <c:pt idx="13954">
                  <c:v>0</c:v>
                </c:pt>
                <c:pt idx="13955">
                  <c:v>0</c:v>
                </c:pt>
                <c:pt idx="13956">
                  <c:v>0</c:v>
                </c:pt>
                <c:pt idx="13957">
                  <c:v>0</c:v>
                </c:pt>
                <c:pt idx="13958">
                  <c:v>0</c:v>
                </c:pt>
                <c:pt idx="13959">
                  <c:v>0</c:v>
                </c:pt>
                <c:pt idx="13960">
                  <c:v>0</c:v>
                </c:pt>
                <c:pt idx="13961">
                  <c:v>0</c:v>
                </c:pt>
                <c:pt idx="13962">
                  <c:v>0</c:v>
                </c:pt>
                <c:pt idx="13963">
                  <c:v>0</c:v>
                </c:pt>
                <c:pt idx="13964">
                  <c:v>0</c:v>
                </c:pt>
                <c:pt idx="13965">
                  <c:v>0</c:v>
                </c:pt>
                <c:pt idx="13966">
                  <c:v>0</c:v>
                </c:pt>
                <c:pt idx="13967">
                  <c:v>0</c:v>
                </c:pt>
                <c:pt idx="13968">
                  <c:v>0</c:v>
                </c:pt>
                <c:pt idx="13969">
                  <c:v>0</c:v>
                </c:pt>
                <c:pt idx="13970">
                  <c:v>0</c:v>
                </c:pt>
                <c:pt idx="13971">
                  <c:v>0</c:v>
                </c:pt>
                <c:pt idx="13972">
                  <c:v>0</c:v>
                </c:pt>
                <c:pt idx="13973">
                  <c:v>0</c:v>
                </c:pt>
                <c:pt idx="13974">
                  <c:v>0</c:v>
                </c:pt>
                <c:pt idx="13975">
                  <c:v>0</c:v>
                </c:pt>
                <c:pt idx="13976">
                  <c:v>0</c:v>
                </c:pt>
                <c:pt idx="13977">
                  <c:v>0</c:v>
                </c:pt>
                <c:pt idx="13978">
                  <c:v>0</c:v>
                </c:pt>
                <c:pt idx="13979">
                  <c:v>0</c:v>
                </c:pt>
                <c:pt idx="13980">
                  <c:v>0</c:v>
                </c:pt>
                <c:pt idx="13981">
                  <c:v>0</c:v>
                </c:pt>
                <c:pt idx="13982">
                  <c:v>0</c:v>
                </c:pt>
                <c:pt idx="13983">
                  <c:v>0</c:v>
                </c:pt>
                <c:pt idx="13984">
                  <c:v>0</c:v>
                </c:pt>
                <c:pt idx="13985">
                  <c:v>0</c:v>
                </c:pt>
                <c:pt idx="13986">
                  <c:v>0</c:v>
                </c:pt>
                <c:pt idx="13987">
                  <c:v>0</c:v>
                </c:pt>
                <c:pt idx="13988">
                  <c:v>0</c:v>
                </c:pt>
                <c:pt idx="13989">
                  <c:v>0</c:v>
                </c:pt>
                <c:pt idx="13990">
                  <c:v>0</c:v>
                </c:pt>
                <c:pt idx="13991">
                  <c:v>0</c:v>
                </c:pt>
                <c:pt idx="13992">
                  <c:v>0</c:v>
                </c:pt>
                <c:pt idx="13993">
                  <c:v>0</c:v>
                </c:pt>
                <c:pt idx="13994">
                  <c:v>0</c:v>
                </c:pt>
                <c:pt idx="13995">
                  <c:v>0</c:v>
                </c:pt>
                <c:pt idx="13996">
                  <c:v>0</c:v>
                </c:pt>
                <c:pt idx="13997">
                  <c:v>0</c:v>
                </c:pt>
                <c:pt idx="13998">
                  <c:v>0</c:v>
                </c:pt>
                <c:pt idx="13999">
                  <c:v>0</c:v>
                </c:pt>
                <c:pt idx="14000">
                  <c:v>0</c:v>
                </c:pt>
                <c:pt idx="14001">
                  <c:v>0</c:v>
                </c:pt>
                <c:pt idx="14002">
                  <c:v>0</c:v>
                </c:pt>
                <c:pt idx="14003">
                  <c:v>0</c:v>
                </c:pt>
                <c:pt idx="14004">
                  <c:v>0</c:v>
                </c:pt>
                <c:pt idx="14005">
                  <c:v>0</c:v>
                </c:pt>
                <c:pt idx="14006">
                  <c:v>0</c:v>
                </c:pt>
                <c:pt idx="14007">
                  <c:v>0</c:v>
                </c:pt>
                <c:pt idx="14008">
                  <c:v>0</c:v>
                </c:pt>
                <c:pt idx="14009">
                  <c:v>0</c:v>
                </c:pt>
                <c:pt idx="14010">
                  <c:v>0</c:v>
                </c:pt>
                <c:pt idx="14011">
                  <c:v>0</c:v>
                </c:pt>
                <c:pt idx="14012">
                  <c:v>0</c:v>
                </c:pt>
                <c:pt idx="14013">
                  <c:v>0</c:v>
                </c:pt>
                <c:pt idx="14014">
                  <c:v>0</c:v>
                </c:pt>
                <c:pt idx="14015">
                  <c:v>0</c:v>
                </c:pt>
                <c:pt idx="14016">
                  <c:v>0</c:v>
                </c:pt>
                <c:pt idx="14017">
                  <c:v>0</c:v>
                </c:pt>
                <c:pt idx="14018">
                  <c:v>0</c:v>
                </c:pt>
                <c:pt idx="14019">
                  <c:v>0</c:v>
                </c:pt>
                <c:pt idx="14020">
                  <c:v>0</c:v>
                </c:pt>
                <c:pt idx="14021">
                  <c:v>0</c:v>
                </c:pt>
                <c:pt idx="14022">
                  <c:v>0</c:v>
                </c:pt>
                <c:pt idx="14023">
                  <c:v>0</c:v>
                </c:pt>
                <c:pt idx="14024">
                  <c:v>0</c:v>
                </c:pt>
                <c:pt idx="14025">
                  <c:v>0</c:v>
                </c:pt>
                <c:pt idx="14026">
                  <c:v>0</c:v>
                </c:pt>
                <c:pt idx="14027">
                  <c:v>0</c:v>
                </c:pt>
                <c:pt idx="14028">
                  <c:v>0</c:v>
                </c:pt>
                <c:pt idx="14029">
                  <c:v>0</c:v>
                </c:pt>
                <c:pt idx="14030">
                  <c:v>0</c:v>
                </c:pt>
                <c:pt idx="14031">
                  <c:v>0</c:v>
                </c:pt>
                <c:pt idx="14032">
                  <c:v>0</c:v>
                </c:pt>
                <c:pt idx="14033">
                  <c:v>0</c:v>
                </c:pt>
                <c:pt idx="14034">
                  <c:v>0</c:v>
                </c:pt>
                <c:pt idx="14035">
                  <c:v>0</c:v>
                </c:pt>
                <c:pt idx="14036">
                  <c:v>0</c:v>
                </c:pt>
                <c:pt idx="14037">
                  <c:v>0</c:v>
                </c:pt>
                <c:pt idx="14038">
                  <c:v>0</c:v>
                </c:pt>
                <c:pt idx="14039">
                  <c:v>0</c:v>
                </c:pt>
                <c:pt idx="14040">
                  <c:v>0</c:v>
                </c:pt>
                <c:pt idx="14041">
                  <c:v>0</c:v>
                </c:pt>
                <c:pt idx="14042">
                  <c:v>0</c:v>
                </c:pt>
                <c:pt idx="14043">
                  <c:v>0</c:v>
                </c:pt>
                <c:pt idx="14044">
                  <c:v>0</c:v>
                </c:pt>
                <c:pt idx="14045">
                  <c:v>0</c:v>
                </c:pt>
                <c:pt idx="14046">
                  <c:v>0</c:v>
                </c:pt>
                <c:pt idx="14047">
                  <c:v>0</c:v>
                </c:pt>
                <c:pt idx="14048">
                  <c:v>0</c:v>
                </c:pt>
                <c:pt idx="14049">
                  <c:v>0</c:v>
                </c:pt>
                <c:pt idx="14050">
                  <c:v>0</c:v>
                </c:pt>
                <c:pt idx="14051">
                  <c:v>0</c:v>
                </c:pt>
                <c:pt idx="14052">
                  <c:v>0</c:v>
                </c:pt>
                <c:pt idx="14053">
                  <c:v>0</c:v>
                </c:pt>
                <c:pt idx="14054">
                  <c:v>0</c:v>
                </c:pt>
                <c:pt idx="14055">
                  <c:v>0</c:v>
                </c:pt>
                <c:pt idx="14056">
                  <c:v>0</c:v>
                </c:pt>
                <c:pt idx="14057">
                  <c:v>0</c:v>
                </c:pt>
                <c:pt idx="14058">
                  <c:v>0</c:v>
                </c:pt>
                <c:pt idx="14059">
                  <c:v>0</c:v>
                </c:pt>
                <c:pt idx="14060">
                  <c:v>0</c:v>
                </c:pt>
                <c:pt idx="14061">
                  <c:v>0</c:v>
                </c:pt>
                <c:pt idx="14062">
                  <c:v>0</c:v>
                </c:pt>
                <c:pt idx="14063">
                  <c:v>0</c:v>
                </c:pt>
                <c:pt idx="14064">
                  <c:v>0</c:v>
                </c:pt>
                <c:pt idx="14065">
                  <c:v>0</c:v>
                </c:pt>
                <c:pt idx="14066">
                  <c:v>0</c:v>
                </c:pt>
                <c:pt idx="14067">
                  <c:v>0</c:v>
                </c:pt>
                <c:pt idx="14068">
                  <c:v>0</c:v>
                </c:pt>
                <c:pt idx="14069">
                  <c:v>0</c:v>
                </c:pt>
                <c:pt idx="14070">
                  <c:v>0</c:v>
                </c:pt>
                <c:pt idx="14071">
                  <c:v>0</c:v>
                </c:pt>
                <c:pt idx="14072">
                  <c:v>0</c:v>
                </c:pt>
                <c:pt idx="14073">
                  <c:v>0</c:v>
                </c:pt>
                <c:pt idx="14074">
                  <c:v>0</c:v>
                </c:pt>
                <c:pt idx="14075">
                  <c:v>0</c:v>
                </c:pt>
                <c:pt idx="14076">
                  <c:v>0</c:v>
                </c:pt>
                <c:pt idx="14077">
                  <c:v>0</c:v>
                </c:pt>
                <c:pt idx="14078">
                  <c:v>0</c:v>
                </c:pt>
                <c:pt idx="14079">
                  <c:v>0</c:v>
                </c:pt>
                <c:pt idx="14080">
                  <c:v>0</c:v>
                </c:pt>
                <c:pt idx="14081">
                  <c:v>0</c:v>
                </c:pt>
                <c:pt idx="14082">
                  <c:v>0</c:v>
                </c:pt>
                <c:pt idx="14083">
                  <c:v>0</c:v>
                </c:pt>
                <c:pt idx="14084">
                  <c:v>0</c:v>
                </c:pt>
                <c:pt idx="14085">
                  <c:v>0</c:v>
                </c:pt>
                <c:pt idx="14086">
                  <c:v>0</c:v>
                </c:pt>
                <c:pt idx="14087">
                  <c:v>0</c:v>
                </c:pt>
                <c:pt idx="14088">
                  <c:v>0</c:v>
                </c:pt>
                <c:pt idx="14089">
                  <c:v>0</c:v>
                </c:pt>
                <c:pt idx="14090">
                  <c:v>0</c:v>
                </c:pt>
                <c:pt idx="14091">
                  <c:v>0</c:v>
                </c:pt>
                <c:pt idx="14092">
                  <c:v>0</c:v>
                </c:pt>
                <c:pt idx="14093">
                  <c:v>0</c:v>
                </c:pt>
                <c:pt idx="14094">
                  <c:v>0</c:v>
                </c:pt>
                <c:pt idx="14095">
                  <c:v>0</c:v>
                </c:pt>
                <c:pt idx="14096">
                  <c:v>0</c:v>
                </c:pt>
                <c:pt idx="14097">
                  <c:v>0</c:v>
                </c:pt>
                <c:pt idx="14098">
                  <c:v>0</c:v>
                </c:pt>
                <c:pt idx="14099">
                  <c:v>0</c:v>
                </c:pt>
                <c:pt idx="14100">
                  <c:v>0</c:v>
                </c:pt>
                <c:pt idx="14101">
                  <c:v>0</c:v>
                </c:pt>
                <c:pt idx="14102">
                  <c:v>0</c:v>
                </c:pt>
                <c:pt idx="14103">
                  <c:v>0</c:v>
                </c:pt>
                <c:pt idx="14104">
                  <c:v>0</c:v>
                </c:pt>
                <c:pt idx="14105">
                  <c:v>0</c:v>
                </c:pt>
                <c:pt idx="14106">
                  <c:v>0</c:v>
                </c:pt>
                <c:pt idx="14107">
                  <c:v>0</c:v>
                </c:pt>
                <c:pt idx="14108">
                  <c:v>0</c:v>
                </c:pt>
                <c:pt idx="14109">
                  <c:v>0</c:v>
                </c:pt>
                <c:pt idx="14110">
                  <c:v>0</c:v>
                </c:pt>
                <c:pt idx="14111">
                  <c:v>0</c:v>
                </c:pt>
                <c:pt idx="14112">
                  <c:v>0</c:v>
                </c:pt>
                <c:pt idx="14113">
                  <c:v>0</c:v>
                </c:pt>
                <c:pt idx="14114">
                  <c:v>0</c:v>
                </c:pt>
                <c:pt idx="14115">
                  <c:v>0</c:v>
                </c:pt>
                <c:pt idx="14116">
                  <c:v>0</c:v>
                </c:pt>
                <c:pt idx="14117">
                  <c:v>0</c:v>
                </c:pt>
                <c:pt idx="14118">
                  <c:v>0.48046448087431703</c:v>
                </c:pt>
                <c:pt idx="14119">
                  <c:v>0.47213114754098351</c:v>
                </c:pt>
                <c:pt idx="14120">
                  <c:v>0.46530054644808749</c:v>
                </c:pt>
                <c:pt idx="14121">
                  <c:v>0.45464480874316937</c:v>
                </c:pt>
                <c:pt idx="14122">
                  <c:v>0.45218579234972678</c:v>
                </c:pt>
                <c:pt idx="14123">
                  <c:v>0.44767759562841514</c:v>
                </c:pt>
                <c:pt idx="14124">
                  <c:v>0.44999999999999996</c:v>
                </c:pt>
                <c:pt idx="14125">
                  <c:v>0.4469945355191256</c:v>
                </c:pt>
                <c:pt idx="14126">
                  <c:v>0.44508196721311477</c:v>
                </c:pt>
                <c:pt idx="14127">
                  <c:v>0.43715846994535523</c:v>
                </c:pt>
                <c:pt idx="14128">
                  <c:v>0.43620218579234971</c:v>
                </c:pt>
                <c:pt idx="14129">
                  <c:v>0.42923497267759569</c:v>
                </c:pt>
                <c:pt idx="14130">
                  <c:v>0.42008196721311464</c:v>
                </c:pt>
                <c:pt idx="14131">
                  <c:v>0.41393442622950816</c:v>
                </c:pt>
                <c:pt idx="14132">
                  <c:v>0.41079234972677581</c:v>
                </c:pt>
                <c:pt idx="14133">
                  <c:v>0.40846994535519121</c:v>
                </c:pt>
                <c:pt idx="14134">
                  <c:v>0.40792349726775945</c:v>
                </c:pt>
                <c:pt idx="14135">
                  <c:v>0.41270491803278686</c:v>
                </c:pt>
                <c:pt idx="14136">
                  <c:v>0.41803278688524581</c:v>
                </c:pt>
                <c:pt idx="14137">
                  <c:v>0.4193989071038251</c:v>
                </c:pt>
                <c:pt idx="14138">
                  <c:v>0.42349726775956276</c:v>
                </c:pt>
                <c:pt idx="14139">
                  <c:v>0.41857923497267757</c:v>
                </c:pt>
                <c:pt idx="14140">
                  <c:v>0.42855191256830594</c:v>
                </c:pt>
                <c:pt idx="14141">
                  <c:v>0.43428961748633865</c:v>
                </c:pt>
                <c:pt idx="14142">
                  <c:v>0.43196721311475406</c:v>
                </c:pt>
                <c:pt idx="14143">
                  <c:v>0.42090163934426239</c:v>
                </c:pt>
                <c:pt idx="14144">
                  <c:v>0.41434426229508192</c:v>
                </c:pt>
                <c:pt idx="14145">
                  <c:v>0.41147540983606534</c:v>
                </c:pt>
                <c:pt idx="14146">
                  <c:v>0.40956284153005473</c:v>
                </c:pt>
                <c:pt idx="14147">
                  <c:v>0.4110655737704918</c:v>
                </c:pt>
                <c:pt idx="14148">
                  <c:v>0.41721311475409828</c:v>
                </c:pt>
                <c:pt idx="14149">
                  <c:v>0.41666666666666674</c:v>
                </c:pt>
                <c:pt idx="14150">
                  <c:v>0.41680327868852451</c:v>
                </c:pt>
                <c:pt idx="14151">
                  <c:v>0.41174863387978133</c:v>
                </c:pt>
                <c:pt idx="14152">
                  <c:v>0.40519125683060109</c:v>
                </c:pt>
                <c:pt idx="14153">
                  <c:v>0.4025956284153005</c:v>
                </c:pt>
                <c:pt idx="14154">
                  <c:v>0.39767759562841531</c:v>
                </c:pt>
                <c:pt idx="14155">
                  <c:v>0.39836065573770485</c:v>
                </c:pt>
                <c:pt idx="14156">
                  <c:v>0.4015027322404372</c:v>
                </c:pt>
                <c:pt idx="14157">
                  <c:v>0.39672131147540979</c:v>
                </c:pt>
                <c:pt idx="14158">
                  <c:v>0.38879781420765025</c:v>
                </c:pt>
                <c:pt idx="14159">
                  <c:v>0.38784153005464472</c:v>
                </c:pt>
                <c:pt idx="14160">
                  <c:v>0.38661202185792343</c:v>
                </c:pt>
                <c:pt idx="14161">
                  <c:v>0.38306010928961731</c:v>
                </c:pt>
                <c:pt idx="14162">
                  <c:v>0.37786885245901636</c:v>
                </c:pt>
                <c:pt idx="14163">
                  <c:v>0.37322404371584694</c:v>
                </c:pt>
                <c:pt idx="14164">
                  <c:v>0.3760928961748633</c:v>
                </c:pt>
                <c:pt idx="14165">
                  <c:v>0.38292349726775954</c:v>
                </c:pt>
                <c:pt idx="14166">
                  <c:v>0.38251366120218577</c:v>
                </c:pt>
                <c:pt idx="14167">
                  <c:v>0.3762295081967213</c:v>
                </c:pt>
                <c:pt idx="14168">
                  <c:v>0.3663934426229507</c:v>
                </c:pt>
                <c:pt idx="14169">
                  <c:v>0.3568306010928961</c:v>
                </c:pt>
                <c:pt idx="14170">
                  <c:v>0.35054644808743163</c:v>
                </c:pt>
                <c:pt idx="14171">
                  <c:v>0.34890710382513657</c:v>
                </c:pt>
                <c:pt idx="14172">
                  <c:v>0.34986338797814209</c:v>
                </c:pt>
                <c:pt idx="14173">
                  <c:v>0.35163934426229493</c:v>
                </c:pt>
                <c:pt idx="14174">
                  <c:v>0.34822404371584681</c:v>
                </c:pt>
                <c:pt idx="14175">
                  <c:v>0.34836065573770481</c:v>
                </c:pt>
                <c:pt idx="14176">
                  <c:v>0.3519125683060107</c:v>
                </c:pt>
                <c:pt idx="14177">
                  <c:v>0.35245901639344268</c:v>
                </c:pt>
                <c:pt idx="14178">
                  <c:v>0.34808743169398904</c:v>
                </c:pt>
                <c:pt idx="14179">
                  <c:v>0.33975409836065551</c:v>
                </c:pt>
                <c:pt idx="14180">
                  <c:v>0.34603825136612021</c:v>
                </c:pt>
                <c:pt idx="14181">
                  <c:v>0.3389344262295082</c:v>
                </c:pt>
                <c:pt idx="14182">
                  <c:v>0.32527322404371595</c:v>
                </c:pt>
                <c:pt idx="14183">
                  <c:v>0.32568306010928971</c:v>
                </c:pt>
                <c:pt idx="14184">
                  <c:v>0.32855191256830585</c:v>
                </c:pt>
                <c:pt idx="14185">
                  <c:v>0.3230874316939889</c:v>
                </c:pt>
                <c:pt idx="14186">
                  <c:v>0.32008196721311455</c:v>
                </c:pt>
                <c:pt idx="14187">
                  <c:v>0.32896174863387984</c:v>
                </c:pt>
                <c:pt idx="14188">
                  <c:v>0.33524590163934409</c:v>
                </c:pt>
                <c:pt idx="14189">
                  <c:v>0.33401639344262302</c:v>
                </c:pt>
                <c:pt idx="14190">
                  <c:v>0.34344262295081962</c:v>
                </c:pt>
                <c:pt idx="14191">
                  <c:v>0.33797814207650267</c:v>
                </c:pt>
                <c:pt idx="14192">
                  <c:v>0.35532786885245882</c:v>
                </c:pt>
                <c:pt idx="14193">
                  <c:v>0.3569672131147541</c:v>
                </c:pt>
                <c:pt idx="14194">
                  <c:v>0.37240437158469941</c:v>
                </c:pt>
                <c:pt idx="14195">
                  <c:v>0.3857923497267759</c:v>
                </c:pt>
                <c:pt idx="14196">
                  <c:v>0.38934426229508201</c:v>
                </c:pt>
                <c:pt idx="14197">
                  <c:v>0.39699453551912578</c:v>
                </c:pt>
                <c:pt idx="14198">
                  <c:v>0.39808743169398908</c:v>
                </c:pt>
                <c:pt idx="14199">
                  <c:v>0.39877049180327861</c:v>
                </c:pt>
                <c:pt idx="14200">
                  <c:v>0.39658469945355201</c:v>
                </c:pt>
                <c:pt idx="14201">
                  <c:v>0.39262295081967213</c:v>
                </c:pt>
                <c:pt idx="14202">
                  <c:v>0.37855191256830589</c:v>
                </c:pt>
                <c:pt idx="14203">
                  <c:v>0.36256830601092882</c:v>
                </c:pt>
                <c:pt idx="14204">
                  <c:v>0.35792349726775963</c:v>
                </c:pt>
                <c:pt idx="14205">
                  <c:v>0.36038251366120222</c:v>
                </c:pt>
                <c:pt idx="14206">
                  <c:v>0.36584699453551917</c:v>
                </c:pt>
                <c:pt idx="14207">
                  <c:v>0.36721311475409824</c:v>
                </c:pt>
                <c:pt idx="14208">
                  <c:v>0.37144808743169389</c:v>
                </c:pt>
                <c:pt idx="14209">
                  <c:v>0.37513661202185777</c:v>
                </c:pt>
                <c:pt idx="14210">
                  <c:v>0.37308743169398917</c:v>
                </c:pt>
                <c:pt idx="14211">
                  <c:v>0.36598360655737694</c:v>
                </c:pt>
                <c:pt idx="14212">
                  <c:v>0.36789617486338777</c:v>
                </c:pt>
                <c:pt idx="14213">
                  <c:v>0.38155737704918025</c:v>
                </c:pt>
                <c:pt idx="14214">
                  <c:v>0.38319672131147531</c:v>
                </c:pt>
                <c:pt idx="14215">
                  <c:v>0.38879781420765025</c:v>
                </c:pt>
                <c:pt idx="14216">
                  <c:v>0.38538251366120213</c:v>
                </c:pt>
                <c:pt idx="14217">
                  <c:v>0.38346994535519108</c:v>
                </c:pt>
                <c:pt idx="14218">
                  <c:v>0.375</c:v>
                </c:pt>
                <c:pt idx="14219">
                  <c:v>0.36461748633879787</c:v>
                </c:pt>
                <c:pt idx="14220">
                  <c:v>0.37131147540983589</c:v>
                </c:pt>
                <c:pt idx="14221">
                  <c:v>0.36598360655737694</c:v>
                </c:pt>
                <c:pt idx="14222">
                  <c:v>0.34808743169398904</c:v>
                </c:pt>
                <c:pt idx="14223">
                  <c:v>0.3377049180327869</c:v>
                </c:pt>
                <c:pt idx="14224">
                  <c:v>0.33360655737704925</c:v>
                </c:pt>
                <c:pt idx="14225">
                  <c:v>0.32499999999999996</c:v>
                </c:pt>
                <c:pt idx="14226">
                  <c:v>0.32718579234972678</c:v>
                </c:pt>
                <c:pt idx="14227">
                  <c:v>0.32472677595628419</c:v>
                </c:pt>
                <c:pt idx="14228">
                  <c:v>0.32759562841530054</c:v>
                </c:pt>
                <c:pt idx="14229">
                  <c:v>0.32418032786885242</c:v>
                </c:pt>
                <c:pt idx="14230">
                  <c:v>0.31762295081967218</c:v>
                </c:pt>
                <c:pt idx="14231">
                  <c:v>0.32377049180327866</c:v>
                </c:pt>
                <c:pt idx="14232">
                  <c:v>0.33333333333333326</c:v>
                </c:pt>
                <c:pt idx="14233">
                  <c:v>0.33975409836065551</c:v>
                </c:pt>
                <c:pt idx="14234">
                  <c:v>0.34043715846994527</c:v>
                </c:pt>
                <c:pt idx="14235">
                  <c:v>0.34139344262295079</c:v>
                </c:pt>
                <c:pt idx="14236">
                  <c:v>0.34562841530054644</c:v>
                </c:pt>
                <c:pt idx="14237">
                  <c:v>0.34412568306010916</c:v>
                </c:pt>
                <c:pt idx="14238">
                  <c:v>0.35122950819672116</c:v>
                </c:pt>
                <c:pt idx="14239">
                  <c:v>0.35109289617486339</c:v>
                </c:pt>
                <c:pt idx="14240">
                  <c:v>0.34357923497267739</c:v>
                </c:pt>
                <c:pt idx="14241">
                  <c:v>0.34781420765027304</c:v>
                </c:pt>
                <c:pt idx="14242">
                  <c:v>0.34685792349726774</c:v>
                </c:pt>
                <c:pt idx="14243">
                  <c:v>0.33838797814207644</c:v>
                </c:pt>
                <c:pt idx="14244">
                  <c:v>0.33319672131147549</c:v>
                </c:pt>
                <c:pt idx="14245">
                  <c:v>0.33142076502732221</c:v>
                </c:pt>
                <c:pt idx="14246">
                  <c:v>0.32800546448087409</c:v>
                </c:pt>
                <c:pt idx="14247">
                  <c:v>0.32404371584699443</c:v>
                </c:pt>
                <c:pt idx="14248">
                  <c:v>0.31994535519125678</c:v>
                </c:pt>
                <c:pt idx="14249">
                  <c:v>0.31803278688524594</c:v>
                </c:pt>
                <c:pt idx="14250">
                  <c:v>0.30218579234972665</c:v>
                </c:pt>
                <c:pt idx="14251">
                  <c:v>0.30942622950819665</c:v>
                </c:pt>
                <c:pt idx="14252">
                  <c:v>0.32622950819672125</c:v>
                </c:pt>
                <c:pt idx="14253">
                  <c:v>0.32254098360655736</c:v>
                </c:pt>
                <c:pt idx="14254">
                  <c:v>0.31994535519125678</c:v>
                </c:pt>
                <c:pt idx="14255">
                  <c:v>0.31953551912568301</c:v>
                </c:pt>
                <c:pt idx="14256">
                  <c:v>0.31871584699453548</c:v>
                </c:pt>
                <c:pt idx="14257">
                  <c:v>0.30696721311475406</c:v>
                </c:pt>
                <c:pt idx="14258">
                  <c:v>0.29713114754098369</c:v>
                </c:pt>
                <c:pt idx="14259">
                  <c:v>0.27445355191256837</c:v>
                </c:pt>
                <c:pt idx="14260">
                  <c:v>0.28196721311475414</c:v>
                </c:pt>
                <c:pt idx="14261">
                  <c:v>0.27691256830601096</c:v>
                </c:pt>
                <c:pt idx="14262">
                  <c:v>0.26557377049180331</c:v>
                </c:pt>
                <c:pt idx="14263">
                  <c:v>0.26338797814207648</c:v>
                </c:pt>
                <c:pt idx="14264">
                  <c:v>0.23224043715846987</c:v>
                </c:pt>
                <c:pt idx="14265">
                  <c:v>0.22363387978142057</c:v>
                </c:pt>
                <c:pt idx="14266">
                  <c:v>0.22486338797814209</c:v>
                </c:pt>
                <c:pt idx="14267">
                  <c:v>0.21489071038251373</c:v>
                </c:pt>
                <c:pt idx="14268">
                  <c:v>0.2066939890710382</c:v>
                </c:pt>
                <c:pt idx="14269">
                  <c:v>0.20792349726775949</c:v>
                </c:pt>
                <c:pt idx="14270">
                  <c:v>0.2066939890710382</c:v>
                </c:pt>
                <c:pt idx="14271">
                  <c:v>0.21557377049180326</c:v>
                </c:pt>
                <c:pt idx="14272">
                  <c:v>0.21571038251366104</c:v>
                </c:pt>
                <c:pt idx="14273">
                  <c:v>0.22390710382513657</c:v>
                </c:pt>
                <c:pt idx="14274">
                  <c:v>0.21721311475409832</c:v>
                </c:pt>
                <c:pt idx="14275">
                  <c:v>0.2065573770491802</c:v>
                </c:pt>
                <c:pt idx="14276">
                  <c:v>0.22991803278688527</c:v>
                </c:pt>
                <c:pt idx="14277">
                  <c:v>0.23265027322404364</c:v>
                </c:pt>
                <c:pt idx="14278">
                  <c:v>0.23128415300546434</c:v>
                </c:pt>
                <c:pt idx="14279">
                  <c:v>0.2162568306010928</c:v>
                </c:pt>
                <c:pt idx="14280">
                  <c:v>0.21721311475409832</c:v>
                </c:pt>
                <c:pt idx="14281">
                  <c:v>0.21939890710382515</c:v>
                </c:pt>
                <c:pt idx="14282">
                  <c:v>0.19836065573770489</c:v>
                </c:pt>
                <c:pt idx="14283">
                  <c:v>0.20109289617486326</c:v>
                </c:pt>
                <c:pt idx="14284">
                  <c:v>0.21734972677595632</c:v>
                </c:pt>
                <c:pt idx="14285">
                  <c:v>0.22076502732240422</c:v>
                </c:pt>
                <c:pt idx="14286">
                  <c:v>0.23060109289617481</c:v>
                </c:pt>
                <c:pt idx="14287">
                  <c:v>0.23674863387978129</c:v>
                </c:pt>
                <c:pt idx="14288">
                  <c:v>0.2319672131147541</c:v>
                </c:pt>
                <c:pt idx="14289">
                  <c:v>0.2416666666666667</c:v>
                </c:pt>
                <c:pt idx="14290">
                  <c:v>0.24644808743169389</c:v>
                </c:pt>
                <c:pt idx="14291">
                  <c:v>0.24084699453551894</c:v>
                </c:pt>
                <c:pt idx="14292">
                  <c:v>0.23374316939890716</c:v>
                </c:pt>
                <c:pt idx="14293">
                  <c:v>0.22896174863387975</c:v>
                </c:pt>
                <c:pt idx="14294">
                  <c:v>0.23360655737704916</c:v>
                </c:pt>
                <c:pt idx="14295">
                  <c:v>0.23142076502732234</c:v>
                </c:pt>
                <c:pt idx="14296">
                  <c:v>0.21680327868852456</c:v>
                </c:pt>
                <c:pt idx="14297">
                  <c:v>0.22759562841530045</c:v>
                </c:pt>
                <c:pt idx="14298">
                  <c:v>0.24180327868852469</c:v>
                </c:pt>
                <c:pt idx="14299">
                  <c:v>0.25765027322404377</c:v>
                </c:pt>
                <c:pt idx="14300">
                  <c:v>0.25546448087431695</c:v>
                </c:pt>
                <c:pt idx="14301">
                  <c:v>0.25505464480874318</c:v>
                </c:pt>
                <c:pt idx="14302">
                  <c:v>0.2605191256830599</c:v>
                </c:pt>
                <c:pt idx="14303">
                  <c:v>0.26448087431693978</c:v>
                </c:pt>
                <c:pt idx="14304">
                  <c:v>0.26010928961748614</c:v>
                </c:pt>
                <c:pt idx="14305">
                  <c:v>0.26898907103825143</c:v>
                </c:pt>
                <c:pt idx="14306">
                  <c:v>0.27527322404371568</c:v>
                </c:pt>
                <c:pt idx="14307">
                  <c:v>0.27663934426229497</c:v>
                </c:pt>
                <c:pt idx="14308">
                  <c:v>0.27459016393442615</c:v>
                </c:pt>
                <c:pt idx="14309">
                  <c:v>0.27281420765027309</c:v>
                </c:pt>
                <c:pt idx="14310">
                  <c:v>0.27950819672131133</c:v>
                </c:pt>
                <c:pt idx="14311">
                  <c:v>0.28456284153005451</c:v>
                </c:pt>
                <c:pt idx="14312">
                  <c:v>0.30109289617486334</c:v>
                </c:pt>
                <c:pt idx="14313">
                  <c:v>0.30546448087431699</c:v>
                </c:pt>
                <c:pt idx="14314">
                  <c:v>0.30655737704918029</c:v>
                </c:pt>
                <c:pt idx="14315">
                  <c:v>0.30901639344262288</c:v>
                </c:pt>
                <c:pt idx="14316">
                  <c:v>0.31721311475409841</c:v>
                </c:pt>
                <c:pt idx="14317">
                  <c:v>0.32131147540983607</c:v>
                </c:pt>
                <c:pt idx="14318">
                  <c:v>0.31994535519125678</c:v>
                </c:pt>
                <c:pt idx="14319">
                  <c:v>0.31857923497267748</c:v>
                </c:pt>
                <c:pt idx="14320">
                  <c:v>0.31830601092896171</c:v>
                </c:pt>
                <c:pt idx="14321">
                  <c:v>0.31994535519125678</c:v>
                </c:pt>
                <c:pt idx="14322">
                  <c:v>0.31065573770491794</c:v>
                </c:pt>
                <c:pt idx="14323">
                  <c:v>0.30273224043715841</c:v>
                </c:pt>
                <c:pt idx="14324">
                  <c:v>0.30696721311475406</c:v>
                </c:pt>
                <c:pt idx="14325">
                  <c:v>0.31297814207650276</c:v>
                </c:pt>
                <c:pt idx="14326">
                  <c:v>0.31789617486338795</c:v>
                </c:pt>
                <c:pt idx="14327">
                  <c:v>0.30997267759562841</c:v>
                </c:pt>
                <c:pt idx="14328">
                  <c:v>0.31024590163934418</c:v>
                </c:pt>
                <c:pt idx="14329">
                  <c:v>0.30136612021857934</c:v>
                </c:pt>
                <c:pt idx="14330">
                  <c:v>0.30054644808743158</c:v>
                </c:pt>
                <c:pt idx="14331">
                  <c:v>0.30300546448087418</c:v>
                </c:pt>
                <c:pt idx="14332">
                  <c:v>0.29986338797814205</c:v>
                </c:pt>
                <c:pt idx="14333">
                  <c:v>0.29275956284153004</c:v>
                </c:pt>
                <c:pt idx="14334">
                  <c:v>0.29467213114754087</c:v>
                </c:pt>
                <c:pt idx="14335">
                  <c:v>0.29822404371584699</c:v>
                </c:pt>
                <c:pt idx="14336">
                  <c:v>0.30423497267759547</c:v>
                </c:pt>
                <c:pt idx="14337">
                  <c:v>0.30245901639344264</c:v>
                </c:pt>
                <c:pt idx="14338">
                  <c:v>0.29795081967213122</c:v>
                </c:pt>
                <c:pt idx="14339">
                  <c:v>0.29945355191256828</c:v>
                </c:pt>
                <c:pt idx="14340">
                  <c:v>0.30355191256830594</c:v>
                </c:pt>
                <c:pt idx="14341">
                  <c:v>0.30505464480874322</c:v>
                </c:pt>
                <c:pt idx="14342">
                  <c:v>0.30655737704918029</c:v>
                </c:pt>
                <c:pt idx="14343">
                  <c:v>0.30095628415300557</c:v>
                </c:pt>
                <c:pt idx="14344">
                  <c:v>0.29918032786885229</c:v>
                </c:pt>
                <c:pt idx="14345">
                  <c:v>0.29098360655737698</c:v>
                </c:pt>
                <c:pt idx="14346">
                  <c:v>0.28415300546448075</c:v>
                </c:pt>
                <c:pt idx="14347">
                  <c:v>0.29057377049180322</c:v>
                </c:pt>
                <c:pt idx="14348">
                  <c:v>0.29057377049180322</c:v>
                </c:pt>
                <c:pt idx="14349">
                  <c:v>0.28647540983606556</c:v>
                </c:pt>
                <c:pt idx="14350">
                  <c:v>0.28278688524590168</c:v>
                </c:pt>
                <c:pt idx="14351">
                  <c:v>0.27937158469945356</c:v>
                </c:pt>
                <c:pt idx="14352">
                  <c:v>0.27185792349726756</c:v>
                </c:pt>
                <c:pt idx="14353">
                  <c:v>0.25204918032786883</c:v>
                </c:pt>
                <c:pt idx="14354">
                  <c:v>0.26803278688524568</c:v>
                </c:pt>
                <c:pt idx="14355">
                  <c:v>0.26502732240437155</c:v>
                </c:pt>
                <c:pt idx="14356">
                  <c:v>0.25355191256830611</c:v>
                </c:pt>
                <c:pt idx="14357">
                  <c:v>0.24849726775956271</c:v>
                </c:pt>
                <c:pt idx="14358">
                  <c:v>0.25642076502732225</c:v>
                </c:pt>
                <c:pt idx="14359">
                  <c:v>0.25969945355191237</c:v>
                </c:pt>
                <c:pt idx="14360">
                  <c:v>0.2512295081967213</c:v>
                </c:pt>
                <c:pt idx="14361">
                  <c:v>0.24508196721311482</c:v>
                </c:pt>
                <c:pt idx="14362">
                  <c:v>0.24972677595628423</c:v>
                </c:pt>
                <c:pt idx="14363">
                  <c:v>0.25382513661202188</c:v>
                </c:pt>
                <c:pt idx="14364">
                  <c:v>0.26147540983606565</c:v>
                </c:pt>
                <c:pt idx="14365">
                  <c:v>0.26653005464480861</c:v>
                </c:pt>
                <c:pt idx="14366">
                  <c:v>0.28278688524590168</c:v>
                </c:pt>
                <c:pt idx="14367">
                  <c:v>0.29494535519125686</c:v>
                </c:pt>
                <c:pt idx="14368">
                  <c:v>0.29726775956284146</c:v>
                </c:pt>
                <c:pt idx="14369">
                  <c:v>0.29699453551912569</c:v>
                </c:pt>
                <c:pt idx="14370">
                  <c:v>0.29125683060109275</c:v>
                </c:pt>
                <c:pt idx="14371">
                  <c:v>0.28989071038251368</c:v>
                </c:pt>
                <c:pt idx="14372">
                  <c:v>0.29726775956284146</c:v>
                </c:pt>
                <c:pt idx="14373">
                  <c:v>0.30300546448087418</c:v>
                </c:pt>
                <c:pt idx="14374">
                  <c:v>0.30368852459016393</c:v>
                </c:pt>
                <c:pt idx="14375">
                  <c:v>0.30122950819672134</c:v>
                </c:pt>
                <c:pt idx="14376">
                  <c:v>0.29781420765027322</c:v>
                </c:pt>
                <c:pt idx="14377">
                  <c:v>0.30122950819672134</c:v>
                </c:pt>
                <c:pt idx="14378">
                  <c:v>0.31147540983606548</c:v>
                </c:pt>
                <c:pt idx="14379">
                  <c:v>0.30806010928961736</c:v>
                </c:pt>
                <c:pt idx="14380">
                  <c:v>0.31653005464480866</c:v>
                </c:pt>
                <c:pt idx="14381">
                  <c:v>0.32295081967213113</c:v>
                </c:pt>
                <c:pt idx="14382">
                  <c:v>0.33210382513661196</c:v>
                </c:pt>
                <c:pt idx="14383">
                  <c:v>0.32868852459016384</c:v>
                </c:pt>
                <c:pt idx="14384">
                  <c:v>0.32062841530054631</c:v>
                </c:pt>
                <c:pt idx="14385">
                  <c:v>0.31734972677595641</c:v>
                </c:pt>
                <c:pt idx="14386">
                  <c:v>0.32035519125683054</c:v>
                </c:pt>
                <c:pt idx="14387">
                  <c:v>0.3158469945355189</c:v>
                </c:pt>
                <c:pt idx="14388">
                  <c:v>0.32117486338797807</c:v>
                </c:pt>
                <c:pt idx="14389">
                  <c:v>0.32226775956284159</c:v>
                </c:pt>
                <c:pt idx="14390">
                  <c:v>0.32226775956284159</c:v>
                </c:pt>
                <c:pt idx="14391">
                  <c:v>0.32185792349726783</c:v>
                </c:pt>
                <c:pt idx="14392">
                  <c:v>0.33319672131147549</c:v>
                </c:pt>
                <c:pt idx="14393">
                  <c:v>0.32513661202185795</c:v>
                </c:pt>
                <c:pt idx="14394">
                  <c:v>0.32172131147540983</c:v>
                </c:pt>
                <c:pt idx="14395">
                  <c:v>0.31325136612021853</c:v>
                </c:pt>
                <c:pt idx="14396">
                  <c:v>0.31379781420765029</c:v>
                </c:pt>
                <c:pt idx="14397">
                  <c:v>0.31871584699453548</c:v>
                </c:pt>
                <c:pt idx="14398">
                  <c:v>0.31516393442622936</c:v>
                </c:pt>
                <c:pt idx="14399">
                  <c:v>0.31420765027322406</c:v>
                </c:pt>
                <c:pt idx="14400">
                  <c:v>0.31133879781420748</c:v>
                </c:pt>
                <c:pt idx="14401">
                  <c:v>0.29767759562841523</c:v>
                </c:pt>
                <c:pt idx="14402">
                  <c:v>0.29153005464480874</c:v>
                </c:pt>
                <c:pt idx="14403">
                  <c:v>0.28907103825136615</c:v>
                </c:pt>
                <c:pt idx="14404">
                  <c:v>0.28866120218579239</c:v>
                </c:pt>
                <c:pt idx="14405">
                  <c:v>0.28948087431693992</c:v>
                </c:pt>
                <c:pt idx="14406">
                  <c:v>0.2870218579234971</c:v>
                </c:pt>
                <c:pt idx="14407">
                  <c:v>0.27978142076502732</c:v>
                </c:pt>
                <c:pt idx="14408">
                  <c:v>0.27923497267759556</c:v>
                </c:pt>
                <c:pt idx="14409">
                  <c:v>0.2714480874316938</c:v>
                </c:pt>
                <c:pt idx="14410">
                  <c:v>0.26885245901639343</c:v>
                </c:pt>
                <c:pt idx="14411">
                  <c:v>0.26557377049180331</c:v>
                </c:pt>
                <c:pt idx="14412">
                  <c:v>0.26639344262295084</c:v>
                </c:pt>
                <c:pt idx="14413">
                  <c:v>0.27172131147540979</c:v>
                </c:pt>
                <c:pt idx="14414">
                  <c:v>0.2788251366120218</c:v>
                </c:pt>
                <c:pt idx="14415">
                  <c:v>0.28060109289617485</c:v>
                </c:pt>
                <c:pt idx="14416">
                  <c:v>0.28756830601092886</c:v>
                </c:pt>
                <c:pt idx="14417">
                  <c:v>0.29480874316939887</c:v>
                </c:pt>
                <c:pt idx="14418">
                  <c:v>0.29275956284153004</c:v>
                </c:pt>
                <c:pt idx="14419">
                  <c:v>0.29166666666666652</c:v>
                </c:pt>
                <c:pt idx="14420">
                  <c:v>0.29467213114754087</c:v>
                </c:pt>
                <c:pt idx="14421">
                  <c:v>0.29289617486338804</c:v>
                </c:pt>
                <c:pt idx="14422">
                  <c:v>0.29986338797814205</c:v>
                </c:pt>
                <c:pt idx="14423">
                  <c:v>0.30505464480874322</c:v>
                </c:pt>
                <c:pt idx="14424">
                  <c:v>0.30846994535519112</c:v>
                </c:pt>
                <c:pt idx="14425">
                  <c:v>0.30724043715846983</c:v>
                </c:pt>
                <c:pt idx="14426">
                  <c:v>0.30573770491803276</c:v>
                </c:pt>
                <c:pt idx="14427">
                  <c:v>0.30915300546448088</c:v>
                </c:pt>
                <c:pt idx="14428">
                  <c:v>0.30683060109289606</c:v>
                </c:pt>
                <c:pt idx="14429">
                  <c:v>0.30846994535519112</c:v>
                </c:pt>
                <c:pt idx="14430">
                  <c:v>0.3028688524590164</c:v>
                </c:pt>
                <c:pt idx="14431">
                  <c:v>0.2943989071038251</c:v>
                </c:pt>
                <c:pt idx="14432">
                  <c:v>0.29084699453551899</c:v>
                </c:pt>
                <c:pt idx="14433">
                  <c:v>0.28893442622950816</c:v>
                </c:pt>
                <c:pt idx="14434">
                  <c:v>0.2849726775956285</c:v>
                </c:pt>
                <c:pt idx="14435">
                  <c:v>0.28060109289617485</c:v>
                </c:pt>
                <c:pt idx="14436">
                  <c:v>0.28046448087431686</c:v>
                </c:pt>
                <c:pt idx="14437">
                  <c:v>0.28469945355191251</c:v>
                </c:pt>
                <c:pt idx="14438">
                  <c:v>0.28210382513661192</c:v>
                </c:pt>
                <c:pt idx="14439">
                  <c:v>0.27937158469945356</c:v>
                </c:pt>
                <c:pt idx="14440">
                  <c:v>0.27732240437158473</c:v>
                </c:pt>
                <c:pt idx="14441">
                  <c:v>0.26707650273224037</c:v>
                </c:pt>
                <c:pt idx="14442">
                  <c:v>0.26693989071038238</c:v>
                </c:pt>
                <c:pt idx="14443">
                  <c:v>0.26256830601092895</c:v>
                </c:pt>
                <c:pt idx="14444">
                  <c:v>0.26229508196721318</c:v>
                </c:pt>
                <c:pt idx="14445">
                  <c:v>0.26338797814207648</c:v>
                </c:pt>
                <c:pt idx="14446">
                  <c:v>0.25751366120218577</c:v>
                </c:pt>
                <c:pt idx="14447">
                  <c:v>0.25259562841530037</c:v>
                </c:pt>
                <c:pt idx="14448">
                  <c:v>0.24754098360655719</c:v>
                </c:pt>
                <c:pt idx="14449">
                  <c:v>0.24808743169398895</c:v>
                </c:pt>
                <c:pt idx="14450">
                  <c:v>0.24193989071038247</c:v>
                </c:pt>
                <c:pt idx="14451">
                  <c:v>0.23825136612021858</c:v>
                </c:pt>
                <c:pt idx="14452">
                  <c:v>0.24112021857923494</c:v>
                </c:pt>
                <c:pt idx="14453">
                  <c:v>0.24740437158469941</c:v>
                </c:pt>
                <c:pt idx="14454">
                  <c:v>0.24726775956284142</c:v>
                </c:pt>
                <c:pt idx="14455">
                  <c:v>0.25191256830601083</c:v>
                </c:pt>
                <c:pt idx="14456">
                  <c:v>0.25683060109289602</c:v>
                </c:pt>
                <c:pt idx="14457">
                  <c:v>0.25642076502732225</c:v>
                </c:pt>
                <c:pt idx="14458">
                  <c:v>0.2595628415300546</c:v>
                </c:pt>
                <c:pt idx="14459">
                  <c:v>0.26338797814207648</c:v>
                </c:pt>
                <c:pt idx="14460">
                  <c:v>0.26379781420765025</c:v>
                </c:pt>
                <c:pt idx="14461">
                  <c:v>0.26420765027322402</c:v>
                </c:pt>
                <c:pt idx="14462">
                  <c:v>0.26352459016393426</c:v>
                </c:pt>
                <c:pt idx="14463">
                  <c:v>0.26229508196721318</c:v>
                </c:pt>
                <c:pt idx="14464">
                  <c:v>0.26530054644808754</c:v>
                </c:pt>
                <c:pt idx="14465">
                  <c:v>0.257377049180328</c:v>
                </c:pt>
                <c:pt idx="14466">
                  <c:v>0.25081967213114753</c:v>
                </c:pt>
                <c:pt idx="14467">
                  <c:v>0.24863387978142071</c:v>
                </c:pt>
                <c:pt idx="14468">
                  <c:v>0.24193989071038247</c:v>
                </c:pt>
                <c:pt idx="14469">
                  <c:v>0.23265027322404364</c:v>
                </c:pt>
                <c:pt idx="14470">
                  <c:v>0.20806010928961749</c:v>
                </c:pt>
                <c:pt idx="14471">
                  <c:v>0.22663934426229515</c:v>
                </c:pt>
                <c:pt idx="14472">
                  <c:v>0.23265027322404364</c:v>
                </c:pt>
                <c:pt idx="14473">
                  <c:v>0.21693989071038233</c:v>
                </c:pt>
                <c:pt idx="14474">
                  <c:v>0.23620218579234953</c:v>
                </c:pt>
                <c:pt idx="14475">
                  <c:v>0.24289617486338799</c:v>
                </c:pt>
                <c:pt idx="14476">
                  <c:v>0.24576502732240435</c:v>
                </c:pt>
                <c:pt idx="14477">
                  <c:v>0.2319672131147541</c:v>
                </c:pt>
                <c:pt idx="14478">
                  <c:v>0.24631147540983611</c:v>
                </c:pt>
                <c:pt idx="14479">
                  <c:v>0.2523224043715846</c:v>
                </c:pt>
                <c:pt idx="14480">
                  <c:v>0.25778688524590154</c:v>
                </c:pt>
                <c:pt idx="14481">
                  <c:v>0.26407103825136602</c:v>
                </c:pt>
                <c:pt idx="14482">
                  <c:v>0.26748633879781414</c:v>
                </c:pt>
                <c:pt idx="14483">
                  <c:v>0.27240437158469932</c:v>
                </c:pt>
                <c:pt idx="14484">
                  <c:v>0.26653005464480861</c:v>
                </c:pt>
                <c:pt idx="14485">
                  <c:v>0.27704918032786896</c:v>
                </c:pt>
                <c:pt idx="14486">
                  <c:v>0.28073770491803263</c:v>
                </c:pt>
                <c:pt idx="14487">
                  <c:v>0.27527322404371568</c:v>
                </c:pt>
                <c:pt idx="14488">
                  <c:v>0.2786885245901638</c:v>
                </c:pt>
                <c:pt idx="14489">
                  <c:v>0.29207650273224028</c:v>
                </c:pt>
                <c:pt idx="14490">
                  <c:v>0.29016393442622945</c:v>
                </c:pt>
                <c:pt idx="14491">
                  <c:v>0.28852459016393439</c:v>
                </c:pt>
                <c:pt idx="14492">
                  <c:v>0.28292349726775945</c:v>
                </c:pt>
                <c:pt idx="14493">
                  <c:v>0.27964480874316933</c:v>
                </c:pt>
                <c:pt idx="14494">
                  <c:v>0.28237704918032791</c:v>
                </c:pt>
                <c:pt idx="14495">
                  <c:v>0.28428961748633874</c:v>
                </c:pt>
                <c:pt idx="14496">
                  <c:v>0.28155737704918038</c:v>
                </c:pt>
                <c:pt idx="14497">
                  <c:v>0.27076502732240426</c:v>
                </c:pt>
                <c:pt idx="14498">
                  <c:v>0.27199453551912556</c:v>
                </c:pt>
                <c:pt idx="14499">
                  <c:v>0.26530054644808754</c:v>
                </c:pt>
                <c:pt idx="14500">
                  <c:v>0.26092896174863389</c:v>
                </c:pt>
                <c:pt idx="14501">
                  <c:v>0.2583333333333333</c:v>
                </c:pt>
                <c:pt idx="14502">
                  <c:v>0.25601092896174849</c:v>
                </c:pt>
                <c:pt idx="14503">
                  <c:v>0.25491803278688518</c:v>
                </c:pt>
                <c:pt idx="14504">
                  <c:v>0.24412568306010907</c:v>
                </c:pt>
                <c:pt idx="14505">
                  <c:v>0.23538251366120222</c:v>
                </c:pt>
                <c:pt idx="14506">
                  <c:v>0.22213114754098351</c:v>
                </c:pt>
                <c:pt idx="14507">
                  <c:v>0.21284153005464468</c:v>
                </c:pt>
                <c:pt idx="14508">
                  <c:v>0.21420765027322397</c:v>
                </c:pt>
                <c:pt idx="14509">
                  <c:v>0.2054644808743169</c:v>
                </c:pt>
                <c:pt idx="14510">
                  <c:v>0.22076502732240422</c:v>
                </c:pt>
                <c:pt idx="14511">
                  <c:v>0.22868852459016376</c:v>
                </c:pt>
                <c:pt idx="14512">
                  <c:v>0.22663934426229515</c:v>
                </c:pt>
                <c:pt idx="14513">
                  <c:v>0.21885245901639339</c:v>
                </c:pt>
                <c:pt idx="14514">
                  <c:v>0.21912568306010916</c:v>
                </c:pt>
                <c:pt idx="14515">
                  <c:v>0.23224043715846987</c:v>
                </c:pt>
                <c:pt idx="14516">
                  <c:v>0.23907103825136611</c:v>
                </c:pt>
                <c:pt idx="14517">
                  <c:v>0.23948087431693987</c:v>
                </c:pt>
                <c:pt idx="14518">
                  <c:v>0.24193989071038247</c:v>
                </c:pt>
                <c:pt idx="14519">
                  <c:v>0.24139344262295093</c:v>
                </c:pt>
                <c:pt idx="14520">
                  <c:v>0.24234972677595623</c:v>
                </c:pt>
                <c:pt idx="14521">
                  <c:v>0.23292349726775941</c:v>
                </c:pt>
                <c:pt idx="14522">
                  <c:v>0.22950819672131151</c:v>
                </c:pt>
                <c:pt idx="14523">
                  <c:v>0.23224043715846987</c:v>
                </c:pt>
                <c:pt idx="14524">
                  <c:v>0.23292349726775941</c:v>
                </c:pt>
                <c:pt idx="14525">
                  <c:v>0.2307377049180328</c:v>
                </c:pt>
                <c:pt idx="14526">
                  <c:v>0.21844262295081962</c:v>
                </c:pt>
                <c:pt idx="14527">
                  <c:v>0.20696721311475397</c:v>
                </c:pt>
                <c:pt idx="14528">
                  <c:v>0.20806010928961749</c:v>
                </c:pt>
                <c:pt idx="14529">
                  <c:v>0.21434426229508197</c:v>
                </c:pt>
                <c:pt idx="14530">
                  <c:v>0.20942622950819678</c:v>
                </c:pt>
                <c:pt idx="14531">
                  <c:v>0.20587431693989067</c:v>
                </c:pt>
                <c:pt idx="14532">
                  <c:v>0.20437158469945338</c:v>
                </c:pt>
                <c:pt idx="14533">
                  <c:v>0.20355191256830585</c:v>
                </c:pt>
                <c:pt idx="14534">
                  <c:v>0.20614754098360666</c:v>
                </c:pt>
                <c:pt idx="14535">
                  <c:v>0.20437158469945338</c:v>
                </c:pt>
                <c:pt idx="14536">
                  <c:v>0.19781420765027335</c:v>
                </c:pt>
                <c:pt idx="14537">
                  <c:v>0.18551912568306017</c:v>
                </c:pt>
                <c:pt idx="14538">
                  <c:v>0.18114754098360653</c:v>
                </c:pt>
                <c:pt idx="14539">
                  <c:v>0.19412568306010924</c:v>
                </c:pt>
                <c:pt idx="14540">
                  <c:v>0.19467213114754101</c:v>
                </c:pt>
                <c:pt idx="14541">
                  <c:v>0.19316939890710372</c:v>
                </c:pt>
                <c:pt idx="14542">
                  <c:v>0.19398907103825147</c:v>
                </c:pt>
                <c:pt idx="14543">
                  <c:v>0.20068306010928949</c:v>
                </c:pt>
                <c:pt idx="14544">
                  <c:v>0.20027322404371573</c:v>
                </c:pt>
                <c:pt idx="14545">
                  <c:v>0.20587431693989067</c:v>
                </c:pt>
                <c:pt idx="14546">
                  <c:v>0.20450819672131137</c:v>
                </c:pt>
                <c:pt idx="14547">
                  <c:v>0.19644808743169384</c:v>
                </c:pt>
                <c:pt idx="14548">
                  <c:v>0.19521857923497254</c:v>
                </c:pt>
                <c:pt idx="14549">
                  <c:v>0.19344262295081971</c:v>
                </c:pt>
                <c:pt idx="14550">
                  <c:v>0.19836065573770489</c:v>
                </c:pt>
                <c:pt idx="14551">
                  <c:v>0.18784153005464477</c:v>
                </c:pt>
                <c:pt idx="14552">
                  <c:v>0.19098360655737712</c:v>
                </c:pt>
                <c:pt idx="14553">
                  <c:v>0.19344262295081971</c:v>
                </c:pt>
                <c:pt idx="14554">
                  <c:v>0.18483606557377041</c:v>
                </c:pt>
                <c:pt idx="14555">
                  <c:v>0.18073770491803276</c:v>
                </c:pt>
                <c:pt idx="14556">
                  <c:v>0.18319672131147535</c:v>
                </c:pt>
                <c:pt idx="14557">
                  <c:v>0.18387978142076489</c:v>
                </c:pt>
                <c:pt idx="14558">
                  <c:v>0.17704918032786865</c:v>
                </c:pt>
                <c:pt idx="14559">
                  <c:v>0.17226775956284146</c:v>
                </c:pt>
                <c:pt idx="14560">
                  <c:v>0.172814207650273</c:v>
                </c:pt>
                <c:pt idx="14561">
                  <c:v>0.18183060109289628</c:v>
                </c:pt>
                <c:pt idx="14562">
                  <c:v>0.180191256830601</c:v>
                </c:pt>
                <c:pt idx="14563">
                  <c:v>0.17581967213114735</c:v>
                </c:pt>
                <c:pt idx="14564">
                  <c:v>0.17240437158469923</c:v>
                </c:pt>
                <c:pt idx="14565">
                  <c:v>0.17199453551912569</c:v>
                </c:pt>
                <c:pt idx="14566">
                  <c:v>0.1644808743169397</c:v>
                </c:pt>
                <c:pt idx="14567">
                  <c:v>0.15177595628415297</c:v>
                </c:pt>
                <c:pt idx="14568">
                  <c:v>0.15478142076502732</c:v>
                </c:pt>
                <c:pt idx="14569">
                  <c:v>0.14631147540983602</c:v>
                </c:pt>
                <c:pt idx="14570">
                  <c:v>0.14030054644808732</c:v>
                </c:pt>
                <c:pt idx="14571">
                  <c:v>0.13128415300546448</c:v>
                </c:pt>
                <c:pt idx="14572">
                  <c:v>0.13128415300546448</c:v>
                </c:pt>
                <c:pt idx="14573">
                  <c:v>0.1226775956284154</c:v>
                </c:pt>
                <c:pt idx="14574">
                  <c:v>0.11475409836065564</c:v>
                </c:pt>
                <c:pt idx="14575">
                  <c:v>0.10040983606557363</c:v>
                </c:pt>
                <c:pt idx="14576">
                  <c:v>9.8087431693989036E-2</c:v>
                </c:pt>
                <c:pt idx="14577">
                  <c:v>9.7404371584699279E-2</c:v>
                </c:pt>
                <c:pt idx="14578">
                  <c:v>9.7950819672131262E-2</c:v>
                </c:pt>
                <c:pt idx="14579">
                  <c:v>0.10122950819672116</c:v>
                </c:pt>
                <c:pt idx="14580">
                  <c:v>0.10655737704918034</c:v>
                </c:pt>
                <c:pt idx="14581">
                  <c:v>0.11297814207650259</c:v>
                </c:pt>
                <c:pt idx="14582">
                  <c:v>0.11598360655737694</c:v>
                </c:pt>
                <c:pt idx="14583">
                  <c:v>0.11174863387978129</c:v>
                </c:pt>
                <c:pt idx="14584">
                  <c:v>0.10601092896174857</c:v>
                </c:pt>
                <c:pt idx="14585">
                  <c:v>0.11024590163934422</c:v>
                </c:pt>
                <c:pt idx="14586">
                  <c:v>0.11448087431693987</c:v>
                </c:pt>
                <c:pt idx="14587">
                  <c:v>0.1153005464480874</c:v>
                </c:pt>
                <c:pt idx="14588">
                  <c:v>0.12896174863387966</c:v>
                </c:pt>
                <c:pt idx="14589">
                  <c:v>0.13019125683060118</c:v>
                </c:pt>
                <c:pt idx="14590">
                  <c:v>0.13387978142076506</c:v>
                </c:pt>
                <c:pt idx="14591">
                  <c:v>0.12213114754098364</c:v>
                </c:pt>
                <c:pt idx="14592">
                  <c:v>0.12090163934426212</c:v>
                </c:pt>
                <c:pt idx="14593">
                  <c:v>0.1163934426229507</c:v>
                </c:pt>
                <c:pt idx="14594">
                  <c:v>0.10437158469945351</c:v>
                </c:pt>
                <c:pt idx="14595">
                  <c:v>9.6174863387977982E-2</c:v>
                </c:pt>
                <c:pt idx="14596">
                  <c:v>9.4672131147540917E-2</c:v>
                </c:pt>
                <c:pt idx="14597">
                  <c:v>9.3989071038251382E-2</c:v>
                </c:pt>
                <c:pt idx="14598">
                  <c:v>9.9043715846994562E-2</c:v>
                </c:pt>
                <c:pt idx="14599">
                  <c:v>9.8633879781420797E-2</c:v>
                </c:pt>
                <c:pt idx="14600">
                  <c:v>0.10259562841530045</c:v>
                </c:pt>
                <c:pt idx="14601">
                  <c:v>0.10450819672131129</c:v>
                </c:pt>
                <c:pt idx="14602">
                  <c:v>9.5765027322404217E-2</c:v>
                </c:pt>
                <c:pt idx="14603">
                  <c:v>8.838797814207644E-2</c:v>
                </c:pt>
                <c:pt idx="14604">
                  <c:v>9.4125683060109377E-2</c:v>
                </c:pt>
                <c:pt idx="14605">
                  <c:v>0.11010928961748645</c:v>
                </c:pt>
                <c:pt idx="14606">
                  <c:v>0.11748633879781423</c:v>
                </c:pt>
                <c:pt idx="14607">
                  <c:v>0.12527322404371577</c:v>
                </c:pt>
                <c:pt idx="14608">
                  <c:v>0.11598360655737694</c:v>
                </c:pt>
                <c:pt idx="14609">
                  <c:v>0.11161202185792352</c:v>
                </c:pt>
                <c:pt idx="14610">
                  <c:v>0.11939890710382506</c:v>
                </c:pt>
                <c:pt idx="14611">
                  <c:v>0.11871584699453552</c:v>
                </c:pt>
                <c:pt idx="14612">
                  <c:v>0.11174863387978129</c:v>
                </c:pt>
                <c:pt idx="14613">
                  <c:v>0.10286885245901645</c:v>
                </c:pt>
                <c:pt idx="14614">
                  <c:v>0.10396174863387975</c:v>
                </c:pt>
                <c:pt idx="14615">
                  <c:v>0.10054644808743163</c:v>
                </c:pt>
                <c:pt idx="14616">
                  <c:v>0.10491803278688505</c:v>
                </c:pt>
                <c:pt idx="14617">
                  <c:v>0.10396174863387975</c:v>
                </c:pt>
                <c:pt idx="14618">
                  <c:v>9.5628415300546443E-2</c:v>
                </c:pt>
                <c:pt idx="14619">
                  <c:v>9.6174863387977982E-2</c:v>
                </c:pt>
                <c:pt idx="14620">
                  <c:v>9.6038251366120209E-2</c:v>
                </c:pt>
                <c:pt idx="14621">
                  <c:v>8.7158469945355144E-2</c:v>
                </c:pt>
                <c:pt idx="14622">
                  <c:v>7.7868852459016535E-2</c:v>
                </c:pt>
                <c:pt idx="14623">
                  <c:v>7.1311475409836067E-2</c:v>
                </c:pt>
                <c:pt idx="14624">
                  <c:v>6.8169398907103718E-2</c:v>
                </c:pt>
                <c:pt idx="14625">
                  <c:v>6.3387978142076529E-2</c:v>
                </c:pt>
                <c:pt idx="14626">
                  <c:v>6.6256830601092886E-2</c:v>
                </c:pt>
                <c:pt idx="14627">
                  <c:v>7.4863387978142182E-2</c:v>
                </c:pt>
                <c:pt idx="14628">
                  <c:v>5.8333333333333348E-2</c:v>
                </c:pt>
                <c:pt idx="14629">
                  <c:v>4.644808743169393E-2</c:v>
                </c:pt>
                <c:pt idx="14630">
                  <c:v>5.040983606557381E-2</c:v>
                </c:pt>
                <c:pt idx="14631">
                  <c:v>5.2459016393442637E-2</c:v>
                </c:pt>
                <c:pt idx="14632">
                  <c:v>2.336065573770485E-2</c:v>
                </c:pt>
                <c:pt idx="14633">
                  <c:v>1.8169398907103895E-2</c:v>
                </c:pt>
                <c:pt idx="14634">
                  <c:v>0</c:v>
                </c:pt>
                <c:pt idx="14635">
                  <c:v>0</c:v>
                </c:pt>
                <c:pt idx="14636">
                  <c:v>0</c:v>
                </c:pt>
                <c:pt idx="14637">
                  <c:v>0</c:v>
                </c:pt>
                <c:pt idx="14638">
                  <c:v>0</c:v>
                </c:pt>
                <c:pt idx="14639">
                  <c:v>0</c:v>
                </c:pt>
                <c:pt idx="14640">
                  <c:v>0</c:v>
                </c:pt>
                <c:pt idx="14641">
                  <c:v>0</c:v>
                </c:pt>
                <c:pt idx="14642">
                  <c:v>0</c:v>
                </c:pt>
                <c:pt idx="14643">
                  <c:v>0</c:v>
                </c:pt>
                <c:pt idx="14644">
                  <c:v>0</c:v>
                </c:pt>
                <c:pt idx="14645">
                  <c:v>0</c:v>
                </c:pt>
                <c:pt idx="14646">
                  <c:v>0</c:v>
                </c:pt>
                <c:pt idx="14647">
                  <c:v>0</c:v>
                </c:pt>
                <c:pt idx="14648">
                  <c:v>0</c:v>
                </c:pt>
                <c:pt idx="14649">
                  <c:v>0</c:v>
                </c:pt>
                <c:pt idx="14650">
                  <c:v>0</c:v>
                </c:pt>
                <c:pt idx="14651">
                  <c:v>0</c:v>
                </c:pt>
                <c:pt idx="14652">
                  <c:v>0</c:v>
                </c:pt>
                <c:pt idx="14653">
                  <c:v>0</c:v>
                </c:pt>
                <c:pt idx="14654">
                  <c:v>0</c:v>
                </c:pt>
                <c:pt idx="14655">
                  <c:v>0</c:v>
                </c:pt>
                <c:pt idx="14656">
                  <c:v>0</c:v>
                </c:pt>
                <c:pt idx="14657">
                  <c:v>0</c:v>
                </c:pt>
                <c:pt idx="14658">
                  <c:v>0</c:v>
                </c:pt>
                <c:pt idx="14659">
                  <c:v>0</c:v>
                </c:pt>
                <c:pt idx="14660">
                  <c:v>0</c:v>
                </c:pt>
                <c:pt idx="14661">
                  <c:v>0</c:v>
                </c:pt>
                <c:pt idx="14662">
                  <c:v>0</c:v>
                </c:pt>
                <c:pt idx="14663">
                  <c:v>0</c:v>
                </c:pt>
                <c:pt idx="14664">
                  <c:v>0</c:v>
                </c:pt>
                <c:pt idx="14665">
                  <c:v>0</c:v>
                </c:pt>
                <c:pt idx="14666">
                  <c:v>0</c:v>
                </c:pt>
                <c:pt idx="14667">
                  <c:v>0</c:v>
                </c:pt>
                <c:pt idx="14668">
                  <c:v>0</c:v>
                </c:pt>
                <c:pt idx="14669">
                  <c:v>0</c:v>
                </c:pt>
                <c:pt idx="14670">
                  <c:v>0</c:v>
                </c:pt>
                <c:pt idx="14671">
                  <c:v>0</c:v>
                </c:pt>
                <c:pt idx="14672">
                  <c:v>0</c:v>
                </c:pt>
                <c:pt idx="14673">
                  <c:v>0</c:v>
                </c:pt>
                <c:pt idx="14674">
                  <c:v>0</c:v>
                </c:pt>
                <c:pt idx="14675">
                  <c:v>0</c:v>
                </c:pt>
                <c:pt idx="14676">
                  <c:v>0</c:v>
                </c:pt>
                <c:pt idx="14677">
                  <c:v>0</c:v>
                </c:pt>
                <c:pt idx="14678">
                  <c:v>0</c:v>
                </c:pt>
                <c:pt idx="14679">
                  <c:v>0</c:v>
                </c:pt>
                <c:pt idx="14680">
                  <c:v>0</c:v>
                </c:pt>
                <c:pt idx="14681">
                  <c:v>0</c:v>
                </c:pt>
                <c:pt idx="14682">
                  <c:v>0</c:v>
                </c:pt>
                <c:pt idx="14683">
                  <c:v>0</c:v>
                </c:pt>
                <c:pt idx="14684">
                  <c:v>0</c:v>
                </c:pt>
                <c:pt idx="14685">
                  <c:v>0</c:v>
                </c:pt>
                <c:pt idx="14686">
                  <c:v>0</c:v>
                </c:pt>
                <c:pt idx="14687">
                  <c:v>0</c:v>
                </c:pt>
                <c:pt idx="14688">
                  <c:v>0</c:v>
                </c:pt>
                <c:pt idx="14689">
                  <c:v>0</c:v>
                </c:pt>
                <c:pt idx="14690">
                  <c:v>0</c:v>
                </c:pt>
                <c:pt idx="14691">
                  <c:v>0</c:v>
                </c:pt>
                <c:pt idx="14692">
                  <c:v>0</c:v>
                </c:pt>
                <c:pt idx="14693">
                  <c:v>0</c:v>
                </c:pt>
                <c:pt idx="14694">
                  <c:v>0</c:v>
                </c:pt>
                <c:pt idx="14695">
                  <c:v>0</c:v>
                </c:pt>
                <c:pt idx="14696">
                  <c:v>0</c:v>
                </c:pt>
                <c:pt idx="14697">
                  <c:v>0</c:v>
                </c:pt>
                <c:pt idx="14698">
                  <c:v>0</c:v>
                </c:pt>
                <c:pt idx="14699">
                  <c:v>0</c:v>
                </c:pt>
                <c:pt idx="14700">
                  <c:v>0</c:v>
                </c:pt>
                <c:pt idx="14701">
                  <c:v>0</c:v>
                </c:pt>
                <c:pt idx="14702">
                  <c:v>0</c:v>
                </c:pt>
                <c:pt idx="14703">
                  <c:v>0</c:v>
                </c:pt>
                <c:pt idx="14704">
                  <c:v>0</c:v>
                </c:pt>
                <c:pt idx="14705">
                  <c:v>0</c:v>
                </c:pt>
                <c:pt idx="14706">
                  <c:v>0</c:v>
                </c:pt>
                <c:pt idx="14707">
                  <c:v>0</c:v>
                </c:pt>
                <c:pt idx="14708">
                  <c:v>0</c:v>
                </c:pt>
                <c:pt idx="14709">
                  <c:v>0</c:v>
                </c:pt>
                <c:pt idx="14710">
                  <c:v>0</c:v>
                </c:pt>
                <c:pt idx="14711">
                  <c:v>0</c:v>
                </c:pt>
                <c:pt idx="14712">
                  <c:v>0</c:v>
                </c:pt>
                <c:pt idx="14713">
                  <c:v>0</c:v>
                </c:pt>
                <c:pt idx="14714">
                  <c:v>0</c:v>
                </c:pt>
                <c:pt idx="14715">
                  <c:v>0</c:v>
                </c:pt>
                <c:pt idx="14716">
                  <c:v>0</c:v>
                </c:pt>
                <c:pt idx="14717">
                  <c:v>0</c:v>
                </c:pt>
                <c:pt idx="14718">
                  <c:v>0</c:v>
                </c:pt>
                <c:pt idx="14719">
                  <c:v>0</c:v>
                </c:pt>
                <c:pt idx="14720">
                  <c:v>0</c:v>
                </c:pt>
                <c:pt idx="14721">
                  <c:v>0</c:v>
                </c:pt>
                <c:pt idx="14722">
                  <c:v>0</c:v>
                </c:pt>
                <c:pt idx="14723">
                  <c:v>0</c:v>
                </c:pt>
                <c:pt idx="14724">
                  <c:v>0</c:v>
                </c:pt>
                <c:pt idx="14725">
                  <c:v>0</c:v>
                </c:pt>
                <c:pt idx="14726">
                  <c:v>0</c:v>
                </c:pt>
                <c:pt idx="14727">
                  <c:v>0</c:v>
                </c:pt>
                <c:pt idx="14728">
                  <c:v>0</c:v>
                </c:pt>
                <c:pt idx="14729">
                  <c:v>0</c:v>
                </c:pt>
                <c:pt idx="14730">
                  <c:v>0</c:v>
                </c:pt>
                <c:pt idx="14731">
                  <c:v>0</c:v>
                </c:pt>
                <c:pt idx="14732">
                  <c:v>0</c:v>
                </c:pt>
                <c:pt idx="14733">
                  <c:v>0</c:v>
                </c:pt>
                <c:pt idx="14734">
                  <c:v>0</c:v>
                </c:pt>
                <c:pt idx="14735">
                  <c:v>0</c:v>
                </c:pt>
                <c:pt idx="14736">
                  <c:v>0</c:v>
                </c:pt>
                <c:pt idx="14737">
                  <c:v>0</c:v>
                </c:pt>
                <c:pt idx="14738">
                  <c:v>0</c:v>
                </c:pt>
                <c:pt idx="14739">
                  <c:v>0</c:v>
                </c:pt>
                <c:pt idx="14740">
                  <c:v>0</c:v>
                </c:pt>
                <c:pt idx="14741">
                  <c:v>0</c:v>
                </c:pt>
                <c:pt idx="14742">
                  <c:v>0</c:v>
                </c:pt>
                <c:pt idx="14743">
                  <c:v>0</c:v>
                </c:pt>
                <c:pt idx="14744">
                  <c:v>0</c:v>
                </c:pt>
                <c:pt idx="14745">
                  <c:v>0</c:v>
                </c:pt>
                <c:pt idx="14746">
                  <c:v>0</c:v>
                </c:pt>
                <c:pt idx="14747">
                  <c:v>0</c:v>
                </c:pt>
                <c:pt idx="14748">
                  <c:v>0</c:v>
                </c:pt>
                <c:pt idx="14749">
                  <c:v>0</c:v>
                </c:pt>
                <c:pt idx="14750">
                  <c:v>0</c:v>
                </c:pt>
                <c:pt idx="14751">
                  <c:v>0</c:v>
                </c:pt>
                <c:pt idx="14752">
                  <c:v>0</c:v>
                </c:pt>
                <c:pt idx="14753">
                  <c:v>0</c:v>
                </c:pt>
                <c:pt idx="14754">
                  <c:v>0</c:v>
                </c:pt>
                <c:pt idx="14755">
                  <c:v>0</c:v>
                </c:pt>
                <c:pt idx="14756">
                  <c:v>0</c:v>
                </c:pt>
                <c:pt idx="14757">
                  <c:v>0</c:v>
                </c:pt>
                <c:pt idx="14758">
                  <c:v>0</c:v>
                </c:pt>
                <c:pt idx="14759">
                  <c:v>0</c:v>
                </c:pt>
                <c:pt idx="14760">
                  <c:v>0</c:v>
                </c:pt>
                <c:pt idx="14761">
                  <c:v>0</c:v>
                </c:pt>
                <c:pt idx="14762">
                  <c:v>0</c:v>
                </c:pt>
                <c:pt idx="14763">
                  <c:v>0</c:v>
                </c:pt>
                <c:pt idx="14764">
                  <c:v>0</c:v>
                </c:pt>
                <c:pt idx="14765">
                  <c:v>0</c:v>
                </c:pt>
                <c:pt idx="14766">
                  <c:v>0</c:v>
                </c:pt>
                <c:pt idx="14767">
                  <c:v>0</c:v>
                </c:pt>
                <c:pt idx="14768">
                  <c:v>0</c:v>
                </c:pt>
                <c:pt idx="14769">
                  <c:v>0</c:v>
                </c:pt>
                <c:pt idx="14770">
                  <c:v>0</c:v>
                </c:pt>
                <c:pt idx="14771">
                  <c:v>0</c:v>
                </c:pt>
                <c:pt idx="14772">
                  <c:v>0</c:v>
                </c:pt>
                <c:pt idx="14773">
                  <c:v>0</c:v>
                </c:pt>
                <c:pt idx="14774">
                  <c:v>0</c:v>
                </c:pt>
                <c:pt idx="14775">
                  <c:v>0</c:v>
                </c:pt>
                <c:pt idx="14776">
                  <c:v>0</c:v>
                </c:pt>
                <c:pt idx="14777">
                  <c:v>0</c:v>
                </c:pt>
                <c:pt idx="14778">
                  <c:v>0</c:v>
                </c:pt>
                <c:pt idx="14779">
                  <c:v>0</c:v>
                </c:pt>
                <c:pt idx="14780">
                  <c:v>0</c:v>
                </c:pt>
                <c:pt idx="14781">
                  <c:v>0</c:v>
                </c:pt>
                <c:pt idx="14782">
                  <c:v>0</c:v>
                </c:pt>
                <c:pt idx="14783">
                  <c:v>0</c:v>
                </c:pt>
                <c:pt idx="14784">
                  <c:v>0</c:v>
                </c:pt>
                <c:pt idx="14785">
                  <c:v>0</c:v>
                </c:pt>
                <c:pt idx="14786">
                  <c:v>0</c:v>
                </c:pt>
                <c:pt idx="14787">
                  <c:v>0</c:v>
                </c:pt>
                <c:pt idx="14788">
                  <c:v>0</c:v>
                </c:pt>
                <c:pt idx="14789">
                  <c:v>0</c:v>
                </c:pt>
                <c:pt idx="14790">
                  <c:v>0</c:v>
                </c:pt>
                <c:pt idx="14791">
                  <c:v>0</c:v>
                </c:pt>
                <c:pt idx="14792">
                  <c:v>0</c:v>
                </c:pt>
                <c:pt idx="14793">
                  <c:v>0</c:v>
                </c:pt>
                <c:pt idx="14794">
                  <c:v>0</c:v>
                </c:pt>
                <c:pt idx="14795">
                  <c:v>0</c:v>
                </c:pt>
                <c:pt idx="14796">
                  <c:v>0</c:v>
                </c:pt>
                <c:pt idx="14797">
                  <c:v>0</c:v>
                </c:pt>
                <c:pt idx="14798">
                  <c:v>0</c:v>
                </c:pt>
                <c:pt idx="14799">
                  <c:v>0</c:v>
                </c:pt>
                <c:pt idx="14800">
                  <c:v>0</c:v>
                </c:pt>
                <c:pt idx="14801">
                  <c:v>0.79778287461773711</c:v>
                </c:pt>
                <c:pt idx="14802">
                  <c:v>0.78803516819571851</c:v>
                </c:pt>
                <c:pt idx="14803">
                  <c:v>0.7887996941896025</c:v>
                </c:pt>
                <c:pt idx="14804">
                  <c:v>0.78249235474006129</c:v>
                </c:pt>
                <c:pt idx="14805">
                  <c:v>0.77083333333333348</c:v>
                </c:pt>
                <c:pt idx="14806">
                  <c:v>0.76853975535168195</c:v>
                </c:pt>
                <c:pt idx="14807">
                  <c:v>0.76146788990825676</c:v>
                </c:pt>
                <c:pt idx="14808">
                  <c:v>0.77522935779816504</c:v>
                </c:pt>
                <c:pt idx="14809">
                  <c:v>0.78344801223241589</c:v>
                </c:pt>
                <c:pt idx="14810">
                  <c:v>0.79032874617737003</c:v>
                </c:pt>
                <c:pt idx="14811">
                  <c:v>0.79090214067278297</c:v>
                </c:pt>
                <c:pt idx="14812">
                  <c:v>0.79376911314984699</c:v>
                </c:pt>
                <c:pt idx="14813">
                  <c:v>0.7910932721712538</c:v>
                </c:pt>
                <c:pt idx="14814">
                  <c:v>0.78650611620795097</c:v>
                </c:pt>
                <c:pt idx="14815">
                  <c:v>0.78440366972477071</c:v>
                </c:pt>
                <c:pt idx="14816">
                  <c:v>0.79071100917431192</c:v>
                </c:pt>
                <c:pt idx="14817">
                  <c:v>0.79568042813455664</c:v>
                </c:pt>
                <c:pt idx="14818">
                  <c:v>0.79224006116207946</c:v>
                </c:pt>
                <c:pt idx="14819">
                  <c:v>0.7870795107033639</c:v>
                </c:pt>
                <c:pt idx="14820">
                  <c:v>0.78440366972477071</c:v>
                </c:pt>
                <c:pt idx="14821">
                  <c:v>0.78115443425076436</c:v>
                </c:pt>
                <c:pt idx="14822">
                  <c:v>0.78535932721712531</c:v>
                </c:pt>
                <c:pt idx="14823">
                  <c:v>0.78383027522935778</c:v>
                </c:pt>
                <c:pt idx="14824">
                  <c:v>0.78019877675840976</c:v>
                </c:pt>
                <c:pt idx="14825">
                  <c:v>0.77866972477064222</c:v>
                </c:pt>
                <c:pt idx="14826">
                  <c:v>0.7746559633027521</c:v>
                </c:pt>
                <c:pt idx="14827">
                  <c:v>0.7633792048929664</c:v>
                </c:pt>
                <c:pt idx="14828">
                  <c:v>0.76185015290519886</c:v>
                </c:pt>
                <c:pt idx="14829">
                  <c:v>0.76662844036697253</c:v>
                </c:pt>
                <c:pt idx="14830">
                  <c:v>0.76318807339449535</c:v>
                </c:pt>
                <c:pt idx="14831">
                  <c:v>0.75477828746177367</c:v>
                </c:pt>
                <c:pt idx="14832">
                  <c:v>0.74942660550458706</c:v>
                </c:pt>
                <c:pt idx="14833">
                  <c:v>0.74923547400611623</c:v>
                </c:pt>
                <c:pt idx="14834">
                  <c:v>0.76204128440366969</c:v>
                </c:pt>
                <c:pt idx="14835">
                  <c:v>0.76395259938837934</c:v>
                </c:pt>
                <c:pt idx="14836">
                  <c:v>0.75860091743119273</c:v>
                </c:pt>
                <c:pt idx="14837">
                  <c:v>0.75172018348623859</c:v>
                </c:pt>
                <c:pt idx="14838">
                  <c:v>0.75993883792048922</c:v>
                </c:pt>
                <c:pt idx="14839">
                  <c:v>0.76070336391437321</c:v>
                </c:pt>
                <c:pt idx="14840">
                  <c:v>0.75879204892966357</c:v>
                </c:pt>
                <c:pt idx="14841">
                  <c:v>0.75611620795107015</c:v>
                </c:pt>
                <c:pt idx="14842">
                  <c:v>0.75516055045871555</c:v>
                </c:pt>
                <c:pt idx="14843">
                  <c:v>0.75458715596330261</c:v>
                </c:pt>
                <c:pt idx="14844">
                  <c:v>0.75</c:v>
                </c:pt>
                <c:pt idx="14845">
                  <c:v>0.7446483180428134</c:v>
                </c:pt>
                <c:pt idx="14846">
                  <c:v>0.74675076452599387</c:v>
                </c:pt>
                <c:pt idx="14847">
                  <c:v>0.73146024464831805</c:v>
                </c:pt>
                <c:pt idx="14848">
                  <c:v>0.74445718654434234</c:v>
                </c:pt>
                <c:pt idx="14849">
                  <c:v>0.74331039755351669</c:v>
                </c:pt>
                <c:pt idx="14850">
                  <c:v>0.74885321100917435</c:v>
                </c:pt>
                <c:pt idx="14851">
                  <c:v>0.75095565749235482</c:v>
                </c:pt>
                <c:pt idx="14852">
                  <c:v>0.75458715596330261</c:v>
                </c:pt>
                <c:pt idx="14853">
                  <c:v>0.75898318042813462</c:v>
                </c:pt>
                <c:pt idx="14854">
                  <c:v>0.75726299694189603</c:v>
                </c:pt>
                <c:pt idx="14855">
                  <c:v>0.75420489296636095</c:v>
                </c:pt>
                <c:pt idx="14856">
                  <c:v>0.75152905198776754</c:v>
                </c:pt>
                <c:pt idx="14857">
                  <c:v>0.76299694189602429</c:v>
                </c:pt>
                <c:pt idx="14858">
                  <c:v>0.76261467889908263</c:v>
                </c:pt>
                <c:pt idx="14859">
                  <c:v>0.76987767584097844</c:v>
                </c:pt>
                <c:pt idx="14860">
                  <c:v>0.76624617737003042</c:v>
                </c:pt>
                <c:pt idx="14861">
                  <c:v>0.77045107033639137</c:v>
                </c:pt>
                <c:pt idx="14862">
                  <c:v>0.76892201834862384</c:v>
                </c:pt>
                <c:pt idx="14863">
                  <c:v>0.76051223241590216</c:v>
                </c:pt>
                <c:pt idx="14864">
                  <c:v>0.75516055045871555</c:v>
                </c:pt>
                <c:pt idx="14865">
                  <c:v>0.7570718654434252</c:v>
                </c:pt>
                <c:pt idx="14866">
                  <c:v>0.76280581039755369</c:v>
                </c:pt>
                <c:pt idx="14867">
                  <c:v>0.76548165137614688</c:v>
                </c:pt>
                <c:pt idx="14868">
                  <c:v>0.76720183486238525</c:v>
                </c:pt>
                <c:pt idx="14869">
                  <c:v>0.76433486238532122</c:v>
                </c:pt>
                <c:pt idx="14870">
                  <c:v>0.76280581039755369</c:v>
                </c:pt>
                <c:pt idx="14871">
                  <c:v>0.76643730886850148</c:v>
                </c:pt>
                <c:pt idx="14872">
                  <c:v>0.76242354740061158</c:v>
                </c:pt>
                <c:pt idx="14873">
                  <c:v>0.76815749235474007</c:v>
                </c:pt>
                <c:pt idx="14874">
                  <c:v>0.76223241590214075</c:v>
                </c:pt>
                <c:pt idx="14875">
                  <c:v>0.75210244648318048</c:v>
                </c:pt>
                <c:pt idx="14876">
                  <c:v>0.7580275229357798</c:v>
                </c:pt>
                <c:pt idx="14877">
                  <c:v>0.75726299694189603</c:v>
                </c:pt>
                <c:pt idx="14878">
                  <c:v>0.75420489296636095</c:v>
                </c:pt>
                <c:pt idx="14879">
                  <c:v>0.75458715596330261</c:v>
                </c:pt>
                <c:pt idx="14880">
                  <c:v>0.75229357798165153</c:v>
                </c:pt>
                <c:pt idx="14881">
                  <c:v>0.74655963302752282</c:v>
                </c:pt>
                <c:pt idx="14882">
                  <c:v>0.7429281345565748</c:v>
                </c:pt>
                <c:pt idx="14883">
                  <c:v>0.74579510703363927</c:v>
                </c:pt>
                <c:pt idx="14884">
                  <c:v>0.74598623853210988</c:v>
                </c:pt>
                <c:pt idx="14885">
                  <c:v>0.74636850152905199</c:v>
                </c:pt>
                <c:pt idx="14886">
                  <c:v>0.73642966360856255</c:v>
                </c:pt>
                <c:pt idx="14887">
                  <c:v>0.72916666666666674</c:v>
                </c:pt>
                <c:pt idx="14888">
                  <c:v>0.73050458715596345</c:v>
                </c:pt>
                <c:pt idx="14889">
                  <c:v>0.73222477064220182</c:v>
                </c:pt>
                <c:pt idx="14890">
                  <c:v>0.72171253822629966</c:v>
                </c:pt>
                <c:pt idx="14891">
                  <c:v>0.7182721712538227</c:v>
                </c:pt>
                <c:pt idx="14892">
                  <c:v>0.71941896024464813</c:v>
                </c:pt>
                <c:pt idx="14893">
                  <c:v>0.72056574923547401</c:v>
                </c:pt>
                <c:pt idx="14894">
                  <c:v>0.72840214067278297</c:v>
                </c:pt>
                <c:pt idx="14895">
                  <c:v>0.73260703363914392</c:v>
                </c:pt>
                <c:pt idx="14896">
                  <c:v>0.72056574923547401</c:v>
                </c:pt>
                <c:pt idx="14897">
                  <c:v>0.71750764525993871</c:v>
                </c:pt>
                <c:pt idx="14898">
                  <c:v>0.72438837920489285</c:v>
                </c:pt>
                <c:pt idx="14899">
                  <c:v>0.71655198776758411</c:v>
                </c:pt>
                <c:pt idx="14900">
                  <c:v>0.72171253822629966</c:v>
                </c:pt>
                <c:pt idx="14901">
                  <c:v>0.72113914373088672</c:v>
                </c:pt>
                <c:pt idx="14902">
                  <c:v>0.72056574923547401</c:v>
                </c:pt>
                <c:pt idx="14903">
                  <c:v>0.71100917431192645</c:v>
                </c:pt>
                <c:pt idx="14904">
                  <c:v>0.70164373088685017</c:v>
                </c:pt>
                <c:pt idx="14905">
                  <c:v>0.70833333333333326</c:v>
                </c:pt>
                <c:pt idx="14906">
                  <c:v>0.70336391437308876</c:v>
                </c:pt>
                <c:pt idx="14907">
                  <c:v>0.69896788990825698</c:v>
                </c:pt>
                <c:pt idx="14908">
                  <c:v>0.69457186544342497</c:v>
                </c:pt>
                <c:pt idx="14909">
                  <c:v>0.68883792048929671</c:v>
                </c:pt>
                <c:pt idx="14910">
                  <c:v>0.68310397553516822</c:v>
                </c:pt>
                <c:pt idx="14911">
                  <c:v>0.67526758409785947</c:v>
                </c:pt>
                <c:pt idx="14912">
                  <c:v>0.6660932721712538</c:v>
                </c:pt>
                <c:pt idx="14913">
                  <c:v>0.6660932721712538</c:v>
                </c:pt>
                <c:pt idx="14914">
                  <c:v>0.66685779816513757</c:v>
                </c:pt>
                <c:pt idx="14915">
                  <c:v>0.66666666666666674</c:v>
                </c:pt>
                <c:pt idx="14916">
                  <c:v>0.66551987767584109</c:v>
                </c:pt>
                <c:pt idx="14917">
                  <c:v>0.65921253822629966</c:v>
                </c:pt>
                <c:pt idx="14918">
                  <c:v>0.65730122324159002</c:v>
                </c:pt>
                <c:pt idx="14919">
                  <c:v>0.65443425076452599</c:v>
                </c:pt>
                <c:pt idx="14920">
                  <c:v>0.65691896024464835</c:v>
                </c:pt>
                <c:pt idx="14921">
                  <c:v>0.658830275229358</c:v>
                </c:pt>
                <c:pt idx="14922">
                  <c:v>0.66265290519877662</c:v>
                </c:pt>
                <c:pt idx="14923">
                  <c:v>0.66360856269113166</c:v>
                </c:pt>
                <c:pt idx="14924">
                  <c:v>0.66035932721712554</c:v>
                </c:pt>
                <c:pt idx="14925">
                  <c:v>0.65844801223241589</c:v>
                </c:pt>
                <c:pt idx="14926">
                  <c:v>0.65099388379204881</c:v>
                </c:pt>
                <c:pt idx="14927">
                  <c:v>0.64621559633027514</c:v>
                </c:pt>
                <c:pt idx="14928">
                  <c:v>0.64124617737003065</c:v>
                </c:pt>
                <c:pt idx="14929">
                  <c:v>0.64105504587155959</c:v>
                </c:pt>
                <c:pt idx="14930">
                  <c:v>0.64506880733944949</c:v>
                </c:pt>
                <c:pt idx="14931">
                  <c:v>0.63971712538226311</c:v>
                </c:pt>
                <c:pt idx="14932">
                  <c:v>0.63971712538226311</c:v>
                </c:pt>
                <c:pt idx="14933">
                  <c:v>0.63340978593272168</c:v>
                </c:pt>
                <c:pt idx="14934">
                  <c:v>0.63264525993883791</c:v>
                </c:pt>
                <c:pt idx="14935">
                  <c:v>0.62939602446483178</c:v>
                </c:pt>
                <c:pt idx="14936">
                  <c:v>0.61850152905198796</c:v>
                </c:pt>
                <c:pt idx="14937">
                  <c:v>0.60607798165137616</c:v>
                </c:pt>
                <c:pt idx="14938">
                  <c:v>0.60301987767584109</c:v>
                </c:pt>
                <c:pt idx="14939">
                  <c:v>0.60646024464831805</c:v>
                </c:pt>
                <c:pt idx="14940">
                  <c:v>0.60684250764525971</c:v>
                </c:pt>
                <c:pt idx="14941">
                  <c:v>0.60263761467889898</c:v>
                </c:pt>
                <c:pt idx="14942">
                  <c:v>0.60684250764525971</c:v>
                </c:pt>
                <c:pt idx="14943">
                  <c:v>0.61601681957186538</c:v>
                </c:pt>
                <c:pt idx="14944">
                  <c:v>0.63665902140672781</c:v>
                </c:pt>
                <c:pt idx="14945">
                  <c:v>0.63780581039755346</c:v>
                </c:pt>
                <c:pt idx="14946">
                  <c:v>0.6383792048929664</c:v>
                </c:pt>
                <c:pt idx="14947">
                  <c:v>0.64124617737003065</c:v>
                </c:pt>
                <c:pt idx="14948">
                  <c:v>0.63589449541284404</c:v>
                </c:pt>
                <c:pt idx="14949">
                  <c:v>0.63780581039755346</c:v>
                </c:pt>
                <c:pt idx="14950">
                  <c:v>0.63818807339449535</c:v>
                </c:pt>
                <c:pt idx="14951">
                  <c:v>0.63207186544342497</c:v>
                </c:pt>
                <c:pt idx="14952">
                  <c:v>0.61831039755351691</c:v>
                </c:pt>
                <c:pt idx="14953">
                  <c:v>0.62442660550458706</c:v>
                </c:pt>
                <c:pt idx="14954">
                  <c:v>0.62767584097859319</c:v>
                </c:pt>
                <c:pt idx="14955">
                  <c:v>0.6146788990825689</c:v>
                </c:pt>
                <c:pt idx="14956">
                  <c:v>0.60779816513761475</c:v>
                </c:pt>
                <c:pt idx="14957">
                  <c:v>0.57511467889908241</c:v>
                </c:pt>
                <c:pt idx="14958">
                  <c:v>0.55963302752293576</c:v>
                </c:pt>
                <c:pt idx="14959">
                  <c:v>0.58753822629969421</c:v>
                </c:pt>
                <c:pt idx="14960">
                  <c:v>0.59709480122324154</c:v>
                </c:pt>
                <c:pt idx="14961">
                  <c:v>0.61831039755351691</c:v>
                </c:pt>
                <c:pt idx="14962">
                  <c:v>0.62863149847094779</c:v>
                </c:pt>
                <c:pt idx="14963">
                  <c:v>0.62557339449541272</c:v>
                </c:pt>
                <c:pt idx="14964">
                  <c:v>0.63111620795107037</c:v>
                </c:pt>
                <c:pt idx="14965">
                  <c:v>0.63876146788990806</c:v>
                </c:pt>
                <c:pt idx="14966">
                  <c:v>0.62844036697247718</c:v>
                </c:pt>
                <c:pt idx="14967">
                  <c:v>0.61487003058103973</c:v>
                </c:pt>
                <c:pt idx="14968">
                  <c:v>0.60569571865443428</c:v>
                </c:pt>
                <c:pt idx="14969">
                  <c:v>0.62691131498470964</c:v>
                </c:pt>
                <c:pt idx="14970">
                  <c:v>0.61945718654434256</c:v>
                </c:pt>
                <c:pt idx="14971">
                  <c:v>0.62538226299694211</c:v>
                </c:pt>
                <c:pt idx="14972">
                  <c:v>0.6423929663608563</c:v>
                </c:pt>
                <c:pt idx="14973">
                  <c:v>0.66055045871559614</c:v>
                </c:pt>
                <c:pt idx="14974">
                  <c:v>0.66494648318042815</c:v>
                </c:pt>
                <c:pt idx="14975">
                  <c:v>0.66093272171253825</c:v>
                </c:pt>
                <c:pt idx="14976">
                  <c:v>0.66456422018348627</c:v>
                </c:pt>
                <c:pt idx="14977">
                  <c:v>0.67660550458715596</c:v>
                </c:pt>
                <c:pt idx="14978">
                  <c:v>0.68998470948012236</c:v>
                </c:pt>
                <c:pt idx="14979">
                  <c:v>0.67889908256880749</c:v>
                </c:pt>
                <c:pt idx="14980">
                  <c:v>0.68769113149847083</c:v>
                </c:pt>
                <c:pt idx="14981">
                  <c:v>0.69342507645259932</c:v>
                </c:pt>
                <c:pt idx="14982">
                  <c:v>0.68367737003058116</c:v>
                </c:pt>
                <c:pt idx="14983">
                  <c:v>0.69629204892966357</c:v>
                </c:pt>
                <c:pt idx="14984">
                  <c:v>0.70451070336391441</c:v>
                </c:pt>
                <c:pt idx="14985">
                  <c:v>0.71387614678899092</c:v>
                </c:pt>
                <c:pt idx="14986">
                  <c:v>0.7098623853211008</c:v>
                </c:pt>
                <c:pt idx="14987">
                  <c:v>0.71139143730886856</c:v>
                </c:pt>
                <c:pt idx="14988">
                  <c:v>0.72209480122324154</c:v>
                </c:pt>
                <c:pt idx="14989">
                  <c:v>0.72534403669724767</c:v>
                </c:pt>
                <c:pt idx="14990">
                  <c:v>0.71903669724770647</c:v>
                </c:pt>
                <c:pt idx="14991">
                  <c:v>0.71158256880733939</c:v>
                </c:pt>
                <c:pt idx="14992">
                  <c:v>0.71368501529051986</c:v>
                </c:pt>
                <c:pt idx="14993">
                  <c:v>0.71731651376146788</c:v>
                </c:pt>
                <c:pt idx="14994">
                  <c:v>0.71865443425076458</c:v>
                </c:pt>
                <c:pt idx="14995">
                  <c:v>0.71464067278287446</c:v>
                </c:pt>
                <c:pt idx="14996">
                  <c:v>0.71081804281345584</c:v>
                </c:pt>
                <c:pt idx="14997">
                  <c:v>0.70546636085626924</c:v>
                </c:pt>
                <c:pt idx="14998">
                  <c:v>0.70317278287461771</c:v>
                </c:pt>
                <c:pt idx="14999">
                  <c:v>0.69973241590214075</c:v>
                </c:pt>
                <c:pt idx="15000">
                  <c:v>0.70107033639143723</c:v>
                </c:pt>
                <c:pt idx="15001">
                  <c:v>0.70183486238532122</c:v>
                </c:pt>
                <c:pt idx="15002">
                  <c:v>0.69896788990825698</c:v>
                </c:pt>
                <c:pt idx="15003">
                  <c:v>0.69877675840978593</c:v>
                </c:pt>
                <c:pt idx="15004">
                  <c:v>0.6968654434250765</c:v>
                </c:pt>
                <c:pt idx="15005">
                  <c:v>0.68769113149847083</c:v>
                </c:pt>
                <c:pt idx="15006">
                  <c:v>0.69074923547400591</c:v>
                </c:pt>
                <c:pt idx="15007">
                  <c:v>0.69170489296636095</c:v>
                </c:pt>
                <c:pt idx="15008">
                  <c:v>0.68482415902140681</c:v>
                </c:pt>
                <c:pt idx="15009">
                  <c:v>0.68654434250764518</c:v>
                </c:pt>
                <c:pt idx="15010">
                  <c:v>0.68272171253822633</c:v>
                </c:pt>
                <c:pt idx="15011">
                  <c:v>0.68081039755351669</c:v>
                </c:pt>
                <c:pt idx="15012">
                  <c:v>0.67354740061162088</c:v>
                </c:pt>
                <c:pt idx="15013">
                  <c:v>0.66360856269113166</c:v>
                </c:pt>
                <c:pt idx="15014">
                  <c:v>0.65424311926605494</c:v>
                </c:pt>
                <c:pt idx="15015">
                  <c:v>0.65328746177370034</c:v>
                </c:pt>
                <c:pt idx="15016">
                  <c:v>0.65386085626911306</c:v>
                </c:pt>
                <c:pt idx="15017">
                  <c:v>0.65386085626911306</c:v>
                </c:pt>
                <c:pt idx="15018">
                  <c:v>0.64984709480122316</c:v>
                </c:pt>
                <c:pt idx="15019">
                  <c:v>0.64678899082568808</c:v>
                </c:pt>
                <c:pt idx="15020">
                  <c:v>0.64755351681957185</c:v>
                </c:pt>
                <c:pt idx="15021">
                  <c:v>0.64430428134556572</c:v>
                </c:pt>
                <c:pt idx="15022">
                  <c:v>0.64755351681957185</c:v>
                </c:pt>
                <c:pt idx="15023">
                  <c:v>0.6597859327217126</c:v>
                </c:pt>
                <c:pt idx="15024">
                  <c:v>0.66456422018348627</c:v>
                </c:pt>
                <c:pt idx="15025">
                  <c:v>0.66150611620795119</c:v>
                </c:pt>
                <c:pt idx="15026">
                  <c:v>0.65959480122324154</c:v>
                </c:pt>
                <c:pt idx="15027">
                  <c:v>0.6597859327217126</c:v>
                </c:pt>
                <c:pt idx="15028">
                  <c:v>0.65921253822629966</c:v>
                </c:pt>
                <c:pt idx="15029">
                  <c:v>0.66322629969418956</c:v>
                </c:pt>
                <c:pt idx="15030">
                  <c:v>0.66532874617737003</c:v>
                </c:pt>
                <c:pt idx="15031">
                  <c:v>0.66743119266055029</c:v>
                </c:pt>
                <c:pt idx="15032">
                  <c:v>0.66685779816513757</c:v>
                </c:pt>
                <c:pt idx="15033">
                  <c:v>0.66093272171253825</c:v>
                </c:pt>
                <c:pt idx="15034">
                  <c:v>0.65405198776758411</c:v>
                </c:pt>
                <c:pt idx="15035">
                  <c:v>0.65691896024464835</c:v>
                </c:pt>
                <c:pt idx="15036">
                  <c:v>0.65959480122324154</c:v>
                </c:pt>
                <c:pt idx="15037">
                  <c:v>0.65902140672782861</c:v>
                </c:pt>
                <c:pt idx="15038">
                  <c:v>0.66246177370030579</c:v>
                </c:pt>
                <c:pt idx="15039">
                  <c:v>0.66781345565749239</c:v>
                </c:pt>
                <c:pt idx="15040">
                  <c:v>0.67048929663608581</c:v>
                </c:pt>
                <c:pt idx="15041">
                  <c:v>0.66762232415902134</c:v>
                </c:pt>
                <c:pt idx="15042">
                  <c:v>0.67106269113149852</c:v>
                </c:pt>
                <c:pt idx="15043">
                  <c:v>0.66666666666666674</c:v>
                </c:pt>
                <c:pt idx="15044">
                  <c:v>0.6660932721712538</c:v>
                </c:pt>
                <c:pt idx="15045">
                  <c:v>0.65596330275229353</c:v>
                </c:pt>
                <c:pt idx="15046">
                  <c:v>0.64774464831804268</c:v>
                </c:pt>
                <c:pt idx="15047">
                  <c:v>0.64468654434250761</c:v>
                </c:pt>
                <c:pt idx="15048">
                  <c:v>0.639334862385321</c:v>
                </c:pt>
                <c:pt idx="15049">
                  <c:v>0.63742354740061158</c:v>
                </c:pt>
                <c:pt idx="15050">
                  <c:v>0.64506880733944949</c:v>
                </c:pt>
                <c:pt idx="15051">
                  <c:v>0.64698012232415913</c:v>
                </c:pt>
                <c:pt idx="15052">
                  <c:v>0.63493883792048944</c:v>
                </c:pt>
                <c:pt idx="15053">
                  <c:v>0.65252293577981635</c:v>
                </c:pt>
                <c:pt idx="15054">
                  <c:v>0.66743119266055029</c:v>
                </c:pt>
                <c:pt idx="15055">
                  <c:v>0.66188837920489307</c:v>
                </c:pt>
                <c:pt idx="15056">
                  <c:v>0.66838685015290533</c:v>
                </c:pt>
                <c:pt idx="15057">
                  <c:v>0.67373853211009171</c:v>
                </c:pt>
                <c:pt idx="15058">
                  <c:v>0.67488532110091737</c:v>
                </c:pt>
                <c:pt idx="15059">
                  <c:v>0.67335626911314983</c:v>
                </c:pt>
                <c:pt idx="15060">
                  <c:v>0.67392966360856255</c:v>
                </c:pt>
                <c:pt idx="15061">
                  <c:v>0.67354740061162088</c:v>
                </c:pt>
                <c:pt idx="15062">
                  <c:v>0.67201834862385335</c:v>
                </c:pt>
                <c:pt idx="15063">
                  <c:v>0.66724006116207968</c:v>
                </c:pt>
                <c:pt idx="15064">
                  <c:v>0.66169724770642202</c:v>
                </c:pt>
                <c:pt idx="15065">
                  <c:v>0.66016819571865448</c:v>
                </c:pt>
                <c:pt idx="15066">
                  <c:v>0.65787461773700295</c:v>
                </c:pt>
                <c:pt idx="15067">
                  <c:v>0.65366972477064222</c:v>
                </c:pt>
                <c:pt idx="15068">
                  <c:v>0.65519877675840976</c:v>
                </c:pt>
                <c:pt idx="15069">
                  <c:v>0.65577217125382248</c:v>
                </c:pt>
                <c:pt idx="15070">
                  <c:v>0.65309633027522929</c:v>
                </c:pt>
                <c:pt idx="15071">
                  <c:v>0.64774464831804268</c:v>
                </c:pt>
                <c:pt idx="15072">
                  <c:v>0.64067278287461771</c:v>
                </c:pt>
                <c:pt idx="15073">
                  <c:v>0.64067278287461771</c:v>
                </c:pt>
                <c:pt idx="15074">
                  <c:v>0.63627675840978593</c:v>
                </c:pt>
                <c:pt idx="15075">
                  <c:v>0.63226299694189603</c:v>
                </c:pt>
                <c:pt idx="15076">
                  <c:v>0.63168960244648331</c:v>
                </c:pt>
                <c:pt idx="15077">
                  <c:v>0.62958715596330284</c:v>
                </c:pt>
                <c:pt idx="15078">
                  <c:v>0.62251529051987764</c:v>
                </c:pt>
                <c:pt idx="15079">
                  <c:v>0.61754587155963292</c:v>
                </c:pt>
                <c:pt idx="15080">
                  <c:v>0.60990061162079523</c:v>
                </c:pt>
                <c:pt idx="15081">
                  <c:v>0.61983944954128445</c:v>
                </c:pt>
                <c:pt idx="15082">
                  <c:v>0.61123853211009171</c:v>
                </c:pt>
                <c:pt idx="15083">
                  <c:v>0.60187308868501543</c:v>
                </c:pt>
                <c:pt idx="15084">
                  <c:v>0.60684250764525971</c:v>
                </c:pt>
                <c:pt idx="15085">
                  <c:v>0.60837155963302769</c:v>
                </c:pt>
                <c:pt idx="15086">
                  <c:v>0.60837155963302769</c:v>
                </c:pt>
                <c:pt idx="15087">
                  <c:v>0.61181192660550465</c:v>
                </c:pt>
                <c:pt idx="15088">
                  <c:v>0.61276758409785925</c:v>
                </c:pt>
                <c:pt idx="15089">
                  <c:v>0.61104740061162088</c:v>
                </c:pt>
                <c:pt idx="15090">
                  <c:v>0.60359327217125402</c:v>
                </c:pt>
                <c:pt idx="15091">
                  <c:v>0.59690366972477049</c:v>
                </c:pt>
                <c:pt idx="15092">
                  <c:v>0.59059633027522929</c:v>
                </c:pt>
                <c:pt idx="15093">
                  <c:v>0.59499235474006129</c:v>
                </c:pt>
                <c:pt idx="15094">
                  <c:v>0.59900611620795097</c:v>
                </c:pt>
                <c:pt idx="15095">
                  <c:v>0.59499235474006129</c:v>
                </c:pt>
                <c:pt idx="15096">
                  <c:v>0.5951834862385319</c:v>
                </c:pt>
                <c:pt idx="15097">
                  <c:v>0.60550458715596323</c:v>
                </c:pt>
                <c:pt idx="15098">
                  <c:v>0.61181192660550465</c:v>
                </c:pt>
                <c:pt idx="15099">
                  <c:v>0.61219418960244631</c:v>
                </c:pt>
                <c:pt idx="15100">
                  <c:v>0.60894495412844041</c:v>
                </c:pt>
                <c:pt idx="15101">
                  <c:v>0.60149082568807355</c:v>
                </c:pt>
                <c:pt idx="15102">
                  <c:v>0.59690366972477049</c:v>
                </c:pt>
                <c:pt idx="15103">
                  <c:v>0.61353211009174324</c:v>
                </c:pt>
                <c:pt idx="15104">
                  <c:v>0.62767584097859319</c:v>
                </c:pt>
                <c:pt idx="15105">
                  <c:v>0.6330275229357798</c:v>
                </c:pt>
                <c:pt idx="15106">
                  <c:v>0.63857033639143745</c:v>
                </c:pt>
                <c:pt idx="15107">
                  <c:v>0.64373088685015301</c:v>
                </c:pt>
                <c:pt idx="15108">
                  <c:v>0.64908256880733939</c:v>
                </c:pt>
                <c:pt idx="15109">
                  <c:v>0.64717125382263019</c:v>
                </c:pt>
                <c:pt idx="15110">
                  <c:v>0.64793577981651373</c:v>
                </c:pt>
                <c:pt idx="15111">
                  <c:v>0.64430428134556572</c:v>
                </c:pt>
                <c:pt idx="15112">
                  <c:v>0.63704128440366992</c:v>
                </c:pt>
                <c:pt idx="15113">
                  <c:v>0.62863149847094779</c:v>
                </c:pt>
                <c:pt idx="15114">
                  <c:v>0.62824923547400613</c:v>
                </c:pt>
                <c:pt idx="15115">
                  <c:v>0.62614678899082565</c:v>
                </c:pt>
                <c:pt idx="15116">
                  <c:v>0.62155963302752304</c:v>
                </c:pt>
                <c:pt idx="15117">
                  <c:v>0.62824923547400613</c:v>
                </c:pt>
                <c:pt idx="15118">
                  <c:v>0.6290137614678899</c:v>
                </c:pt>
                <c:pt idx="15119">
                  <c:v>0.62767584097859319</c:v>
                </c:pt>
                <c:pt idx="15120">
                  <c:v>0.62729357798165131</c:v>
                </c:pt>
                <c:pt idx="15121">
                  <c:v>0.6280581039755353</c:v>
                </c:pt>
                <c:pt idx="15122">
                  <c:v>0.6219418960244647</c:v>
                </c:pt>
                <c:pt idx="15123">
                  <c:v>0.61945718654434256</c:v>
                </c:pt>
                <c:pt idx="15124">
                  <c:v>0.61869266055045857</c:v>
                </c:pt>
                <c:pt idx="15125">
                  <c:v>0.62461773700305812</c:v>
                </c:pt>
                <c:pt idx="15126">
                  <c:v>0.62461773700305812</c:v>
                </c:pt>
                <c:pt idx="15127">
                  <c:v>0.62729357798165131</c:v>
                </c:pt>
                <c:pt idx="15128">
                  <c:v>0.62347094801223246</c:v>
                </c:pt>
                <c:pt idx="15129">
                  <c:v>0.62652905198776754</c:v>
                </c:pt>
                <c:pt idx="15130">
                  <c:v>0.6280581039755353</c:v>
                </c:pt>
                <c:pt idx="15131">
                  <c:v>0.62327981651376163</c:v>
                </c:pt>
                <c:pt idx="15132">
                  <c:v>0.62136850152905199</c:v>
                </c:pt>
                <c:pt idx="15133">
                  <c:v>0.61028287461773689</c:v>
                </c:pt>
                <c:pt idx="15134">
                  <c:v>0.62060397553516822</c:v>
                </c:pt>
                <c:pt idx="15135">
                  <c:v>0.62385321100917412</c:v>
                </c:pt>
                <c:pt idx="15136">
                  <c:v>0.62920489296636073</c:v>
                </c:pt>
                <c:pt idx="15137">
                  <c:v>0.62882262996941884</c:v>
                </c:pt>
                <c:pt idx="15138">
                  <c:v>0.62538226299694211</c:v>
                </c:pt>
                <c:pt idx="15139">
                  <c:v>0.62079510703363905</c:v>
                </c:pt>
                <c:pt idx="15140">
                  <c:v>0.62060397553516822</c:v>
                </c:pt>
                <c:pt idx="15141">
                  <c:v>0.6196483180428134</c:v>
                </c:pt>
                <c:pt idx="15142">
                  <c:v>0.61238532110091737</c:v>
                </c:pt>
                <c:pt idx="15143">
                  <c:v>0.60703363914373076</c:v>
                </c:pt>
                <c:pt idx="15144">
                  <c:v>0.60894495412844041</c:v>
                </c:pt>
                <c:pt idx="15145">
                  <c:v>0.61009174311926584</c:v>
                </c:pt>
                <c:pt idx="15146">
                  <c:v>0.61085626911314983</c:v>
                </c:pt>
                <c:pt idx="15147">
                  <c:v>0.60951834862385312</c:v>
                </c:pt>
                <c:pt idx="15148">
                  <c:v>0.60550458715596323</c:v>
                </c:pt>
                <c:pt idx="15149">
                  <c:v>0.60378440366972463</c:v>
                </c:pt>
                <c:pt idx="15150">
                  <c:v>0.60340214067278297</c:v>
                </c:pt>
                <c:pt idx="15151">
                  <c:v>0.60282874617737003</c:v>
                </c:pt>
                <c:pt idx="15152">
                  <c:v>0.59556574923547401</c:v>
                </c:pt>
                <c:pt idx="15153">
                  <c:v>0.60149082568807355</c:v>
                </c:pt>
                <c:pt idx="15154">
                  <c:v>0.59097859327217117</c:v>
                </c:pt>
                <c:pt idx="15155">
                  <c:v>0.58639143730886856</c:v>
                </c:pt>
                <c:pt idx="15156">
                  <c:v>0.59059633027522929</c:v>
                </c:pt>
                <c:pt idx="15157">
                  <c:v>0.59499235474006129</c:v>
                </c:pt>
                <c:pt idx="15158">
                  <c:v>0.58830275229357776</c:v>
                </c:pt>
                <c:pt idx="15159">
                  <c:v>0.58734709480122316</c:v>
                </c:pt>
                <c:pt idx="15160">
                  <c:v>0.5839067278287462</c:v>
                </c:pt>
                <c:pt idx="15161">
                  <c:v>0.58180428134556594</c:v>
                </c:pt>
                <c:pt idx="15162">
                  <c:v>0.57798165137614688</c:v>
                </c:pt>
                <c:pt idx="15163">
                  <c:v>0.57320336391437321</c:v>
                </c:pt>
                <c:pt idx="15164">
                  <c:v>0.57071865443425085</c:v>
                </c:pt>
                <c:pt idx="15165">
                  <c:v>0.56402905198776754</c:v>
                </c:pt>
                <c:pt idx="15166">
                  <c:v>0.56708715596330261</c:v>
                </c:pt>
                <c:pt idx="15167">
                  <c:v>0.5615443425076454</c:v>
                </c:pt>
                <c:pt idx="15168">
                  <c:v>0.55428134556574915</c:v>
                </c:pt>
                <c:pt idx="15169">
                  <c:v>0.55657492354740046</c:v>
                </c:pt>
                <c:pt idx="15170">
                  <c:v>0.56555810397553508</c:v>
                </c:pt>
                <c:pt idx="15171">
                  <c:v>0.56861620795107015</c:v>
                </c:pt>
                <c:pt idx="15172">
                  <c:v>0.56613149847094801</c:v>
                </c:pt>
                <c:pt idx="15173">
                  <c:v>0.57339449541284382</c:v>
                </c:pt>
                <c:pt idx="15174">
                  <c:v>0.5749235474006118</c:v>
                </c:pt>
                <c:pt idx="15175">
                  <c:v>0.57415902140672781</c:v>
                </c:pt>
                <c:pt idx="15176">
                  <c:v>0.57396788990825676</c:v>
                </c:pt>
                <c:pt idx="15177">
                  <c:v>0.57511467889908241</c:v>
                </c:pt>
                <c:pt idx="15178">
                  <c:v>0.5705275229357798</c:v>
                </c:pt>
                <c:pt idx="15179">
                  <c:v>0.56269113149847105</c:v>
                </c:pt>
                <c:pt idx="15180">
                  <c:v>0.56307339449541294</c:v>
                </c:pt>
                <c:pt idx="15181">
                  <c:v>0.56460244648318048</c:v>
                </c:pt>
                <c:pt idx="15182">
                  <c:v>0.55466360856269126</c:v>
                </c:pt>
                <c:pt idx="15183">
                  <c:v>0.56899847094801226</c:v>
                </c:pt>
                <c:pt idx="15184">
                  <c:v>0.56651376146788968</c:v>
                </c:pt>
                <c:pt idx="15185">
                  <c:v>0.58639143730886856</c:v>
                </c:pt>
                <c:pt idx="15186">
                  <c:v>0.58983180428134574</c:v>
                </c:pt>
                <c:pt idx="15187">
                  <c:v>0.58811162079510715</c:v>
                </c:pt>
                <c:pt idx="15188">
                  <c:v>0.58486238532110102</c:v>
                </c:pt>
                <c:pt idx="15189">
                  <c:v>0.58352446483180409</c:v>
                </c:pt>
                <c:pt idx="15190">
                  <c:v>0.5879204892966361</c:v>
                </c:pt>
                <c:pt idx="15191">
                  <c:v>0.5951834862385319</c:v>
                </c:pt>
                <c:pt idx="15192">
                  <c:v>0.59556574923547401</c:v>
                </c:pt>
                <c:pt idx="15193">
                  <c:v>0.59633027522935778</c:v>
                </c:pt>
                <c:pt idx="15194">
                  <c:v>0.59671253822629988</c:v>
                </c:pt>
                <c:pt idx="15195">
                  <c:v>0.60053516819571851</c:v>
                </c:pt>
                <c:pt idx="15196">
                  <c:v>0.60569571865443428</c:v>
                </c:pt>
                <c:pt idx="15197">
                  <c:v>0.59862385321100908</c:v>
                </c:pt>
                <c:pt idx="15198">
                  <c:v>0.59288990825688082</c:v>
                </c:pt>
                <c:pt idx="15199">
                  <c:v>0.58753822629969421</c:v>
                </c:pt>
                <c:pt idx="15200">
                  <c:v>0.59231651376146788</c:v>
                </c:pt>
                <c:pt idx="15201">
                  <c:v>0.5932721712538227</c:v>
                </c:pt>
                <c:pt idx="15202">
                  <c:v>0.59059633027522929</c:v>
                </c:pt>
                <c:pt idx="15203">
                  <c:v>0.58868501529051986</c:v>
                </c:pt>
                <c:pt idx="15204">
                  <c:v>0.58868501529051986</c:v>
                </c:pt>
                <c:pt idx="15205">
                  <c:v>0.58600917431192667</c:v>
                </c:pt>
                <c:pt idx="15206">
                  <c:v>0.57874617737003042</c:v>
                </c:pt>
                <c:pt idx="15207">
                  <c:v>0.57243883792048922</c:v>
                </c:pt>
                <c:pt idx="15208">
                  <c:v>0.56135321100917435</c:v>
                </c:pt>
                <c:pt idx="15209">
                  <c:v>0.56039755351681952</c:v>
                </c:pt>
                <c:pt idx="15210">
                  <c:v>0.55695718654434234</c:v>
                </c:pt>
                <c:pt idx="15211">
                  <c:v>0.55217889908256867</c:v>
                </c:pt>
                <c:pt idx="15212">
                  <c:v>0.54931192660550465</c:v>
                </c:pt>
                <c:pt idx="15213">
                  <c:v>0.54376911314984699</c:v>
                </c:pt>
                <c:pt idx="15214">
                  <c:v>0.55026758409785925</c:v>
                </c:pt>
                <c:pt idx="15215">
                  <c:v>0.54606269113149852</c:v>
                </c:pt>
                <c:pt idx="15216">
                  <c:v>0.5441513761467891</c:v>
                </c:pt>
                <c:pt idx="15217">
                  <c:v>0.54453363914373099</c:v>
                </c:pt>
                <c:pt idx="15218">
                  <c:v>0.53669724770642202</c:v>
                </c:pt>
                <c:pt idx="15219">
                  <c:v>0.52847859327217117</c:v>
                </c:pt>
                <c:pt idx="15220">
                  <c:v>0.52140672782874598</c:v>
                </c:pt>
                <c:pt idx="15221">
                  <c:v>0.52389143730886856</c:v>
                </c:pt>
                <c:pt idx="15222">
                  <c:v>0.5183486238532109</c:v>
                </c:pt>
                <c:pt idx="15223">
                  <c:v>0.51261467889908263</c:v>
                </c:pt>
                <c:pt idx="15224">
                  <c:v>0.50305810397553508</c:v>
                </c:pt>
                <c:pt idx="15225">
                  <c:v>0.5103211009174311</c:v>
                </c:pt>
                <c:pt idx="15226">
                  <c:v>0.50363149847094801</c:v>
                </c:pt>
                <c:pt idx="15227">
                  <c:v>0.51930428134556572</c:v>
                </c:pt>
                <c:pt idx="15228">
                  <c:v>0.52331804281345562</c:v>
                </c:pt>
                <c:pt idx="15229">
                  <c:v>0.53115443425076458</c:v>
                </c:pt>
                <c:pt idx="15230">
                  <c:v>0.5361238532110093</c:v>
                </c:pt>
                <c:pt idx="15231">
                  <c:v>0.53402140672782883</c:v>
                </c:pt>
                <c:pt idx="15232">
                  <c:v>0.53650611620795097</c:v>
                </c:pt>
                <c:pt idx="15233">
                  <c:v>0.53975535168195732</c:v>
                </c:pt>
                <c:pt idx="15234">
                  <c:v>0.54300458715596345</c:v>
                </c:pt>
                <c:pt idx="15235">
                  <c:v>0.54243119266055051</c:v>
                </c:pt>
                <c:pt idx="15236">
                  <c:v>0.54166666666666652</c:v>
                </c:pt>
                <c:pt idx="15237">
                  <c:v>0.53478593272171238</c:v>
                </c:pt>
                <c:pt idx="15238">
                  <c:v>0.54281345565749239</c:v>
                </c:pt>
                <c:pt idx="15239">
                  <c:v>0.5500764525993882</c:v>
                </c:pt>
                <c:pt idx="15240">
                  <c:v>0.54548929663608559</c:v>
                </c:pt>
                <c:pt idx="15241">
                  <c:v>0.54759174311926606</c:v>
                </c:pt>
                <c:pt idx="15242">
                  <c:v>0.55122324159021407</c:v>
                </c:pt>
                <c:pt idx="15243">
                  <c:v>0.54625382262996958</c:v>
                </c:pt>
                <c:pt idx="15244">
                  <c:v>0.548165137614679</c:v>
                </c:pt>
                <c:pt idx="15245">
                  <c:v>0.55103211009174324</c:v>
                </c:pt>
                <c:pt idx="15246">
                  <c:v>0.54931192660550465</c:v>
                </c:pt>
                <c:pt idx="15247">
                  <c:v>0.54587155963302747</c:v>
                </c:pt>
                <c:pt idx="15248">
                  <c:v>0.53803516819571873</c:v>
                </c:pt>
                <c:pt idx="15249">
                  <c:v>0.53230122324159024</c:v>
                </c:pt>
                <c:pt idx="15250">
                  <c:v>0.51873088685015278</c:v>
                </c:pt>
                <c:pt idx="15251">
                  <c:v>0.52331804281345562</c:v>
                </c:pt>
                <c:pt idx="15252">
                  <c:v>0.52714067278287469</c:v>
                </c:pt>
                <c:pt idx="15253">
                  <c:v>0.51662844036697231</c:v>
                </c:pt>
                <c:pt idx="15254">
                  <c:v>0.52427370030581044</c:v>
                </c:pt>
                <c:pt idx="15255">
                  <c:v>0.53631498470948014</c:v>
                </c:pt>
                <c:pt idx="15256">
                  <c:v>0.53841743119266039</c:v>
                </c:pt>
                <c:pt idx="15257">
                  <c:v>0.53937308868501543</c:v>
                </c:pt>
                <c:pt idx="15258">
                  <c:v>0.53860856269113144</c:v>
                </c:pt>
                <c:pt idx="15259">
                  <c:v>0.53956422018348627</c:v>
                </c:pt>
                <c:pt idx="15260">
                  <c:v>0.53287461773700318</c:v>
                </c:pt>
                <c:pt idx="15261">
                  <c:v>0.5307721712538227</c:v>
                </c:pt>
                <c:pt idx="15262">
                  <c:v>0.52886085626911306</c:v>
                </c:pt>
                <c:pt idx="15263">
                  <c:v>0.5246559633027521</c:v>
                </c:pt>
                <c:pt idx="15264">
                  <c:v>0.52618501529051986</c:v>
                </c:pt>
                <c:pt idx="15265">
                  <c:v>0.52331804281345562</c:v>
                </c:pt>
                <c:pt idx="15266">
                  <c:v>0.52427370030581044</c:v>
                </c:pt>
                <c:pt idx="15267">
                  <c:v>0.52408256880733939</c:v>
                </c:pt>
                <c:pt idx="15268">
                  <c:v>0.52943425076452599</c:v>
                </c:pt>
                <c:pt idx="15269">
                  <c:v>0.52790519877675846</c:v>
                </c:pt>
                <c:pt idx="15270">
                  <c:v>0.52331804281345562</c:v>
                </c:pt>
                <c:pt idx="15271">
                  <c:v>0.51452599388379183</c:v>
                </c:pt>
                <c:pt idx="15272">
                  <c:v>0.50955657492354756</c:v>
                </c:pt>
                <c:pt idx="15273">
                  <c:v>0.51261467889908263</c:v>
                </c:pt>
                <c:pt idx="15274">
                  <c:v>0.51357033639143723</c:v>
                </c:pt>
                <c:pt idx="15275">
                  <c:v>0.5093654434250765</c:v>
                </c:pt>
                <c:pt idx="15276">
                  <c:v>0.50592507645259954</c:v>
                </c:pt>
                <c:pt idx="15277">
                  <c:v>0.50860091743119273</c:v>
                </c:pt>
                <c:pt idx="15278">
                  <c:v>0.50840978593272168</c:v>
                </c:pt>
                <c:pt idx="15279">
                  <c:v>0.51567278287461771</c:v>
                </c:pt>
                <c:pt idx="15280">
                  <c:v>0.51720183486238525</c:v>
                </c:pt>
                <c:pt idx="15281">
                  <c:v>0.51605504587155959</c:v>
                </c:pt>
                <c:pt idx="15282">
                  <c:v>0.51261467889908263</c:v>
                </c:pt>
                <c:pt idx="15283">
                  <c:v>0.51261467889908263</c:v>
                </c:pt>
                <c:pt idx="15284">
                  <c:v>0.51146788990825676</c:v>
                </c:pt>
                <c:pt idx="15285">
                  <c:v>0.50898318042813462</c:v>
                </c:pt>
                <c:pt idx="15286">
                  <c:v>0.50210244648318048</c:v>
                </c:pt>
                <c:pt idx="15287">
                  <c:v>0.49713302752293576</c:v>
                </c:pt>
                <c:pt idx="15288">
                  <c:v>0.49675076452599387</c:v>
                </c:pt>
                <c:pt idx="15289">
                  <c:v>0.4919724770642202</c:v>
                </c:pt>
                <c:pt idx="15290">
                  <c:v>0.49216360856269104</c:v>
                </c:pt>
                <c:pt idx="15291">
                  <c:v>0.49503058103975528</c:v>
                </c:pt>
                <c:pt idx="15292">
                  <c:v>0.49025229357798161</c:v>
                </c:pt>
                <c:pt idx="15293">
                  <c:v>0.48700305810397548</c:v>
                </c:pt>
                <c:pt idx="15294">
                  <c:v>0.48356269113149852</c:v>
                </c:pt>
                <c:pt idx="15295">
                  <c:v>0.48834097859327219</c:v>
                </c:pt>
                <c:pt idx="15296">
                  <c:v>0.48470948012232418</c:v>
                </c:pt>
                <c:pt idx="15297">
                  <c:v>0.48470948012232418</c:v>
                </c:pt>
                <c:pt idx="15298">
                  <c:v>0.48356269113149852</c:v>
                </c:pt>
                <c:pt idx="15299">
                  <c:v>0.48222477064220182</c:v>
                </c:pt>
                <c:pt idx="15300">
                  <c:v>0.48069571865443428</c:v>
                </c:pt>
                <c:pt idx="15301">
                  <c:v>0.48050458715596323</c:v>
                </c:pt>
                <c:pt idx="15302">
                  <c:v>0.48088685015290533</c:v>
                </c:pt>
                <c:pt idx="15303">
                  <c:v>0.48165137614678888</c:v>
                </c:pt>
                <c:pt idx="15304">
                  <c:v>0.4826070336391437</c:v>
                </c:pt>
                <c:pt idx="15305">
                  <c:v>0.47801987767584087</c:v>
                </c:pt>
                <c:pt idx="15306">
                  <c:v>0.47266819571865448</c:v>
                </c:pt>
                <c:pt idx="15307">
                  <c:v>0.47515290519877684</c:v>
                </c:pt>
                <c:pt idx="15308">
                  <c:v>0.47037461773700318</c:v>
                </c:pt>
                <c:pt idx="15309">
                  <c:v>0.46693425076452599</c:v>
                </c:pt>
                <c:pt idx="15310">
                  <c:v>0.46941896024464813</c:v>
                </c:pt>
                <c:pt idx="15311">
                  <c:v>0.47113914373088672</c:v>
                </c:pt>
                <c:pt idx="15312">
                  <c:v>0.47247706422018365</c:v>
                </c:pt>
                <c:pt idx="15313">
                  <c:v>0.46597859327217139</c:v>
                </c:pt>
                <c:pt idx="15314">
                  <c:v>0.46464067278287446</c:v>
                </c:pt>
                <c:pt idx="15315">
                  <c:v>0.47362385321100908</c:v>
                </c:pt>
                <c:pt idx="15316">
                  <c:v>0.4732415902140672</c:v>
                </c:pt>
                <c:pt idx="15317">
                  <c:v>0.47381498470948014</c:v>
                </c:pt>
                <c:pt idx="15318">
                  <c:v>0.47343272171253825</c:v>
                </c:pt>
                <c:pt idx="15319">
                  <c:v>0.4722859327217126</c:v>
                </c:pt>
                <c:pt idx="15320">
                  <c:v>0.46444954128440386</c:v>
                </c:pt>
                <c:pt idx="15321">
                  <c:v>0.46043577981651373</c:v>
                </c:pt>
                <c:pt idx="15322">
                  <c:v>0.46330275229357798</c:v>
                </c:pt>
                <c:pt idx="15323">
                  <c:v>0.46311162079510693</c:v>
                </c:pt>
                <c:pt idx="15324">
                  <c:v>0.46483180428134552</c:v>
                </c:pt>
                <c:pt idx="15325">
                  <c:v>0.45948012232415891</c:v>
                </c:pt>
                <c:pt idx="15326">
                  <c:v>0.45680428134556572</c:v>
                </c:pt>
                <c:pt idx="15327">
                  <c:v>0.45718654434250761</c:v>
                </c:pt>
                <c:pt idx="15328">
                  <c:v>0.45795107033639137</c:v>
                </c:pt>
                <c:pt idx="15329">
                  <c:v>0.45259938837920499</c:v>
                </c:pt>
                <c:pt idx="15330">
                  <c:v>0.44667431192660545</c:v>
                </c:pt>
                <c:pt idx="15331">
                  <c:v>0.44629204892966357</c:v>
                </c:pt>
                <c:pt idx="15332">
                  <c:v>0.44304281345565744</c:v>
                </c:pt>
                <c:pt idx="15333">
                  <c:v>0.44170489296636095</c:v>
                </c:pt>
                <c:pt idx="15334">
                  <c:v>0.43386850152905199</c:v>
                </c:pt>
                <c:pt idx="15335">
                  <c:v>0.42507645259938842</c:v>
                </c:pt>
                <c:pt idx="15336">
                  <c:v>0.42278287461773689</c:v>
                </c:pt>
                <c:pt idx="15337">
                  <c:v>0.42048929663608559</c:v>
                </c:pt>
                <c:pt idx="15338">
                  <c:v>0.4137996941896025</c:v>
                </c:pt>
                <c:pt idx="15339">
                  <c:v>0.41074159021406742</c:v>
                </c:pt>
                <c:pt idx="15340">
                  <c:v>0.41972477064220182</c:v>
                </c:pt>
                <c:pt idx="15341">
                  <c:v>0.42201834862385335</c:v>
                </c:pt>
                <c:pt idx="15342">
                  <c:v>0.42641437308868491</c:v>
                </c:pt>
                <c:pt idx="15343">
                  <c:v>0.42851681957186538</c:v>
                </c:pt>
                <c:pt idx="15344">
                  <c:v>0.4201070336391437</c:v>
                </c:pt>
                <c:pt idx="15345">
                  <c:v>0.41551987767584109</c:v>
                </c:pt>
                <c:pt idx="15346">
                  <c:v>0.41265290519877662</c:v>
                </c:pt>
                <c:pt idx="15347">
                  <c:v>0.41246177370030601</c:v>
                </c:pt>
                <c:pt idx="15348">
                  <c:v>0.41418195718654416</c:v>
                </c:pt>
                <c:pt idx="15349">
                  <c:v>0.41360856269113144</c:v>
                </c:pt>
                <c:pt idx="15350">
                  <c:v>0.41437308868501521</c:v>
                </c:pt>
                <c:pt idx="15351">
                  <c:v>0.41972477064220182</c:v>
                </c:pt>
                <c:pt idx="15352">
                  <c:v>0.41055045871559637</c:v>
                </c:pt>
                <c:pt idx="15353">
                  <c:v>0.40711009174311941</c:v>
                </c:pt>
                <c:pt idx="15354">
                  <c:v>0.40787461773700295</c:v>
                </c:pt>
                <c:pt idx="15355">
                  <c:v>0.39965596330275233</c:v>
                </c:pt>
                <c:pt idx="15356">
                  <c:v>0.38092507645259932</c:v>
                </c:pt>
                <c:pt idx="15357">
                  <c:v>0.38340978593272168</c:v>
                </c:pt>
                <c:pt idx="15358">
                  <c:v>0.33046636085626901</c:v>
                </c:pt>
                <c:pt idx="15359">
                  <c:v>0.36888379204892985</c:v>
                </c:pt>
                <c:pt idx="15360">
                  <c:v>0.38685015290519886</c:v>
                </c:pt>
                <c:pt idx="15361">
                  <c:v>0.37423547400611623</c:v>
                </c:pt>
                <c:pt idx="15362">
                  <c:v>0.37289755351681952</c:v>
                </c:pt>
                <c:pt idx="15363">
                  <c:v>0.38283639143730874</c:v>
                </c:pt>
                <c:pt idx="15364">
                  <c:v>0.39430428134556572</c:v>
                </c:pt>
                <c:pt idx="15365">
                  <c:v>0.4008027522935782</c:v>
                </c:pt>
                <c:pt idx="15366">
                  <c:v>0.39965596330275233</c:v>
                </c:pt>
                <c:pt idx="15367">
                  <c:v>0.40519877675840976</c:v>
                </c:pt>
                <c:pt idx="15368">
                  <c:v>0.40214067278287469</c:v>
                </c:pt>
                <c:pt idx="15369">
                  <c:v>0.3964067278287462</c:v>
                </c:pt>
                <c:pt idx="15370">
                  <c:v>0.39162844036697253</c:v>
                </c:pt>
                <c:pt idx="15371">
                  <c:v>0.40386085626911328</c:v>
                </c:pt>
                <c:pt idx="15372">
                  <c:v>0.41112385321100908</c:v>
                </c:pt>
                <c:pt idx="15373">
                  <c:v>0.41456422018348627</c:v>
                </c:pt>
                <c:pt idx="15374">
                  <c:v>0.41055045871559637</c:v>
                </c:pt>
                <c:pt idx="15375">
                  <c:v>0.42316513761467878</c:v>
                </c:pt>
                <c:pt idx="15376">
                  <c:v>0.42354740061162088</c:v>
                </c:pt>
                <c:pt idx="15377">
                  <c:v>0.41456422018348627</c:v>
                </c:pt>
                <c:pt idx="15378">
                  <c:v>0.40061162079510715</c:v>
                </c:pt>
                <c:pt idx="15379">
                  <c:v>0.39525993883792054</c:v>
                </c:pt>
                <c:pt idx="15380">
                  <c:v>0.39449541284403655</c:v>
                </c:pt>
                <c:pt idx="15381">
                  <c:v>0.40252293577981635</c:v>
                </c:pt>
                <c:pt idx="15382">
                  <c:v>0.4013761467889907</c:v>
                </c:pt>
                <c:pt idx="15383">
                  <c:v>0.40022935779816526</c:v>
                </c:pt>
                <c:pt idx="15384">
                  <c:v>0.39468654434250761</c:v>
                </c:pt>
                <c:pt idx="15385">
                  <c:v>0.38379204892966379</c:v>
                </c:pt>
                <c:pt idx="15386">
                  <c:v>0.38188073394495414</c:v>
                </c:pt>
                <c:pt idx="15387">
                  <c:v>0.3813073394495412</c:v>
                </c:pt>
                <c:pt idx="15388">
                  <c:v>0.37996941896024472</c:v>
                </c:pt>
                <c:pt idx="15389">
                  <c:v>0.37958715596330284</c:v>
                </c:pt>
                <c:pt idx="15390">
                  <c:v>0.38761467889908241</c:v>
                </c:pt>
                <c:pt idx="15391">
                  <c:v>0.38952599388379205</c:v>
                </c:pt>
                <c:pt idx="15392">
                  <c:v>0.39239296636085608</c:v>
                </c:pt>
                <c:pt idx="15393">
                  <c:v>0.39201070336391441</c:v>
                </c:pt>
                <c:pt idx="15394">
                  <c:v>0.38188073394495414</c:v>
                </c:pt>
                <c:pt idx="15395">
                  <c:v>0.3803516819571866</c:v>
                </c:pt>
                <c:pt idx="15396">
                  <c:v>0.37041284403669739</c:v>
                </c:pt>
                <c:pt idx="15397">
                  <c:v>0.37863149847094801</c:v>
                </c:pt>
                <c:pt idx="15398">
                  <c:v>0.3813073394495412</c:v>
                </c:pt>
                <c:pt idx="15399">
                  <c:v>0.39315749235474007</c:v>
                </c:pt>
                <c:pt idx="15400">
                  <c:v>0.40099388379204881</c:v>
                </c:pt>
                <c:pt idx="15401">
                  <c:v>0.39449541284403655</c:v>
                </c:pt>
                <c:pt idx="15402">
                  <c:v>0.40099388379204881</c:v>
                </c:pt>
                <c:pt idx="15403">
                  <c:v>0.39946483180428127</c:v>
                </c:pt>
                <c:pt idx="15404">
                  <c:v>0.39143730886850148</c:v>
                </c:pt>
                <c:pt idx="15405">
                  <c:v>0.39755351681957185</c:v>
                </c:pt>
                <c:pt idx="15406">
                  <c:v>0.39659785932721703</c:v>
                </c:pt>
                <c:pt idx="15407">
                  <c:v>0.39850917431192667</c:v>
                </c:pt>
                <c:pt idx="15408">
                  <c:v>0.39812691131498479</c:v>
                </c:pt>
                <c:pt idx="15409">
                  <c:v>0.39908256880733939</c:v>
                </c:pt>
                <c:pt idx="15410">
                  <c:v>0.39506880733944949</c:v>
                </c:pt>
                <c:pt idx="15411">
                  <c:v>0.38723241590214053</c:v>
                </c:pt>
                <c:pt idx="15412">
                  <c:v>0.39220183486238547</c:v>
                </c:pt>
                <c:pt idx="15413">
                  <c:v>0.39525993883792054</c:v>
                </c:pt>
                <c:pt idx="15414">
                  <c:v>0.3883792048929664</c:v>
                </c:pt>
                <c:pt idx="15415">
                  <c:v>0.38876146788990829</c:v>
                </c:pt>
                <c:pt idx="15416">
                  <c:v>0.38570336391437299</c:v>
                </c:pt>
                <c:pt idx="15417">
                  <c:v>0.37920489296636073</c:v>
                </c:pt>
                <c:pt idx="15418">
                  <c:v>0.37691131498470964</c:v>
                </c:pt>
                <c:pt idx="15419">
                  <c:v>0.3669724770642202</c:v>
                </c:pt>
                <c:pt idx="15420">
                  <c:v>0.37442660550458706</c:v>
                </c:pt>
                <c:pt idx="15421">
                  <c:v>0.37155963302752304</c:v>
                </c:pt>
                <c:pt idx="15422">
                  <c:v>0.36735474006116209</c:v>
                </c:pt>
                <c:pt idx="15423">
                  <c:v>0.36257645259938842</c:v>
                </c:pt>
                <c:pt idx="15424">
                  <c:v>0.36429663608562679</c:v>
                </c:pt>
                <c:pt idx="15425">
                  <c:v>0.36544342507645244</c:v>
                </c:pt>
                <c:pt idx="15426">
                  <c:v>0.36639908256880727</c:v>
                </c:pt>
                <c:pt idx="15427">
                  <c:v>0.36429663608562679</c:v>
                </c:pt>
                <c:pt idx="15428">
                  <c:v>0.35837155963302747</c:v>
                </c:pt>
                <c:pt idx="15429">
                  <c:v>0.35301987767584109</c:v>
                </c:pt>
                <c:pt idx="15430">
                  <c:v>0.34919724770642202</c:v>
                </c:pt>
                <c:pt idx="15431">
                  <c:v>0.34709480122324177</c:v>
                </c:pt>
                <c:pt idx="15432">
                  <c:v>0.33830275229357798</c:v>
                </c:pt>
                <c:pt idx="15433">
                  <c:v>0.3371559633027521</c:v>
                </c:pt>
                <c:pt idx="15434">
                  <c:v>0.34116972477064222</c:v>
                </c:pt>
                <c:pt idx="15435">
                  <c:v>0.33237767584097844</c:v>
                </c:pt>
                <c:pt idx="15436">
                  <c:v>0.32454128440366969</c:v>
                </c:pt>
                <c:pt idx="15437">
                  <c:v>0.32014525993883769</c:v>
                </c:pt>
                <c:pt idx="15438">
                  <c:v>0.32129204892966357</c:v>
                </c:pt>
                <c:pt idx="15439">
                  <c:v>0.32339449541284404</c:v>
                </c:pt>
                <c:pt idx="15440">
                  <c:v>0.3125</c:v>
                </c:pt>
                <c:pt idx="15441">
                  <c:v>0.31001529051987786</c:v>
                </c:pt>
                <c:pt idx="15442">
                  <c:v>0.30466360856269126</c:v>
                </c:pt>
                <c:pt idx="15443">
                  <c:v>0.30504587155963314</c:v>
                </c:pt>
                <c:pt idx="15444">
                  <c:v>0.29797400611620795</c:v>
                </c:pt>
                <c:pt idx="15445">
                  <c:v>0.29778287461773711</c:v>
                </c:pt>
                <c:pt idx="15446">
                  <c:v>0.30638379204892963</c:v>
                </c:pt>
                <c:pt idx="15447">
                  <c:v>0.30905963302752282</c:v>
                </c:pt>
                <c:pt idx="15448">
                  <c:v>0.31746941896024472</c:v>
                </c:pt>
                <c:pt idx="15449">
                  <c:v>0.32148318042813462</c:v>
                </c:pt>
                <c:pt idx="15450">
                  <c:v>0.32262996941896027</c:v>
                </c:pt>
                <c:pt idx="15451">
                  <c:v>0.33103975535168195</c:v>
                </c:pt>
                <c:pt idx="15452">
                  <c:v>0.33333333333333348</c:v>
                </c:pt>
                <c:pt idx="15453">
                  <c:v>0.33581804281345562</c:v>
                </c:pt>
                <c:pt idx="15454">
                  <c:v>0.33868501529052009</c:v>
                </c:pt>
                <c:pt idx="15455">
                  <c:v>0.33295107033639137</c:v>
                </c:pt>
                <c:pt idx="15456">
                  <c:v>0.34212538226299682</c:v>
                </c:pt>
                <c:pt idx="15457">
                  <c:v>0.33677370030581044</c:v>
                </c:pt>
                <c:pt idx="15458">
                  <c:v>0.32759938837920477</c:v>
                </c:pt>
                <c:pt idx="15459">
                  <c:v>0.31613149847094801</c:v>
                </c:pt>
                <c:pt idx="15460">
                  <c:v>0.3258792048929664</c:v>
                </c:pt>
                <c:pt idx="15461">
                  <c:v>0.32014525993883769</c:v>
                </c:pt>
                <c:pt idx="15462">
                  <c:v>0.32664373088685017</c:v>
                </c:pt>
                <c:pt idx="15463">
                  <c:v>0.33868501529052009</c:v>
                </c:pt>
                <c:pt idx="15464">
                  <c:v>0.34174311926605516</c:v>
                </c:pt>
                <c:pt idx="15465">
                  <c:v>0.34269877675840976</c:v>
                </c:pt>
                <c:pt idx="15466">
                  <c:v>0.33811162079510715</c:v>
                </c:pt>
                <c:pt idx="15467">
                  <c:v>0.33964067278287469</c:v>
                </c:pt>
                <c:pt idx="15468">
                  <c:v>0.33830275229357798</c:v>
                </c:pt>
                <c:pt idx="15469">
                  <c:v>0.33677370030581044</c:v>
                </c:pt>
                <c:pt idx="15470">
                  <c:v>0.34269877675840976</c:v>
                </c:pt>
                <c:pt idx="15471">
                  <c:v>0.34231651376146788</c:v>
                </c:pt>
                <c:pt idx="15472">
                  <c:v>0.34575688073394484</c:v>
                </c:pt>
                <c:pt idx="15473">
                  <c:v>0.33849388379204903</c:v>
                </c:pt>
                <c:pt idx="15474">
                  <c:v>0.33677370030581044</c:v>
                </c:pt>
                <c:pt idx="15475">
                  <c:v>0.34575688073394484</c:v>
                </c:pt>
                <c:pt idx="15476">
                  <c:v>0.34900611620795097</c:v>
                </c:pt>
                <c:pt idx="15477">
                  <c:v>0.34805045871559637</c:v>
                </c:pt>
                <c:pt idx="15478">
                  <c:v>0.3512996941896025</c:v>
                </c:pt>
                <c:pt idx="15479">
                  <c:v>0.35110856269113144</c:v>
                </c:pt>
                <c:pt idx="15480">
                  <c:v>0.35321100917431192</c:v>
                </c:pt>
                <c:pt idx="15481">
                  <c:v>0.3442278287461773</c:v>
                </c:pt>
                <c:pt idx="15482">
                  <c:v>0.33811162079510715</c:v>
                </c:pt>
                <c:pt idx="15483">
                  <c:v>0.33543577981651373</c:v>
                </c:pt>
                <c:pt idx="15484">
                  <c:v>0.33830275229357798</c:v>
                </c:pt>
                <c:pt idx="15485">
                  <c:v>0.33983180428134552</c:v>
                </c:pt>
                <c:pt idx="15486">
                  <c:v>0.34059633027522929</c:v>
                </c:pt>
                <c:pt idx="15487">
                  <c:v>0.34059633027522929</c:v>
                </c:pt>
                <c:pt idx="15488">
                  <c:v>0.3371559633027521</c:v>
                </c:pt>
                <c:pt idx="15489">
                  <c:v>0.34346330275229375</c:v>
                </c:pt>
                <c:pt idx="15490">
                  <c:v>0.34269877675840976</c:v>
                </c:pt>
                <c:pt idx="15491">
                  <c:v>0.34613914373088694</c:v>
                </c:pt>
                <c:pt idx="15492">
                  <c:v>0.34193425076452577</c:v>
                </c:pt>
                <c:pt idx="15493">
                  <c:v>0.34709480122324177</c:v>
                </c:pt>
                <c:pt idx="15494">
                  <c:v>0.34785932721712531</c:v>
                </c:pt>
                <c:pt idx="15495">
                  <c:v>0.34461009174311918</c:v>
                </c:pt>
                <c:pt idx="15496">
                  <c:v>0.33811162079510715</c:v>
                </c:pt>
                <c:pt idx="15497">
                  <c:v>0.32721712538226289</c:v>
                </c:pt>
                <c:pt idx="15498">
                  <c:v>0.32893730886850148</c:v>
                </c:pt>
                <c:pt idx="15499">
                  <c:v>0.33849388379204903</c:v>
                </c:pt>
                <c:pt idx="15500">
                  <c:v>0.34116972477064222</c:v>
                </c:pt>
                <c:pt idx="15501">
                  <c:v>0.33734709480122316</c:v>
                </c:pt>
                <c:pt idx="15502">
                  <c:v>0.33409785932721703</c:v>
                </c:pt>
                <c:pt idx="15503">
                  <c:v>0.33123088685015301</c:v>
                </c:pt>
                <c:pt idx="15504">
                  <c:v>0.33218654434250761</c:v>
                </c:pt>
                <c:pt idx="15505">
                  <c:v>0.33333333333333348</c:v>
                </c:pt>
                <c:pt idx="15506">
                  <c:v>0.33256880733944949</c:v>
                </c:pt>
                <c:pt idx="15507">
                  <c:v>0.32893730886850148</c:v>
                </c:pt>
                <c:pt idx="15508">
                  <c:v>0.32454128440366969</c:v>
                </c:pt>
                <c:pt idx="15509">
                  <c:v>0.32320336391437321</c:v>
                </c:pt>
                <c:pt idx="15510">
                  <c:v>0.31670489296636095</c:v>
                </c:pt>
                <c:pt idx="15511">
                  <c:v>0.31727828746177367</c:v>
                </c:pt>
                <c:pt idx="15512">
                  <c:v>0.32148318042813462</c:v>
                </c:pt>
                <c:pt idx="15513">
                  <c:v>0.3205275229357798</c:v>
                </c:pt>
                <c:pt idx="15514">
                  <c:v>0.31441131498470942</c:v>
                </c:pt>
                <c:pt idx="15515">
                  <c:v>0.30523700305810419</c:v>
                </c:pt>
                <c:pt idx="15516">
                  <c:v>0.30829510703363927</c:v>
                </c:pt>
                <c:pt idx="15517">
                  <c:v>0.30963302752293576</c:v>
                </c:pt>
                <c:pt idx="15518">
                  <c:v>0.30504587155963314</c:v>
                </c:pt>
                <c:pt idx="15519">
                  <c:v>0.29682721712538207</c:v>
                </c:pt>
                <c:pt idx="15520">
                  <c:v>0.28746177370030579</c:v>
                </c:pt>
                <c:pt idx="15521">
                  <c:v>0.27752293577981657</c:v>
                </c:pt>
                <c:pt idx="15522">
                  <c:v>0.2777140672782874</c:v>
                </c:pt>
                <c:pt idx="15523">
                  <c:v>0.2723623853211008</c:v>
                </c:pt>
                <c:pt idx="15524">
                  <c:v>0.27255351681957185</c:v>
                </c:pt>
                <c:pt idx="15525">
                  <c:v>0.27446483180428149</c:v>
                </c:pt>
                <c:pt idx="15526">
                  <c:v>0.26911314984709489</c:v>
                </c:pt>
                <c:pt idx="15527">
                  <c:v>0.26548165137614665</c:v>
                </c:pt>
                <c:pt idx="15528">
                  <c:v>0.26509938837920477</c:v>
                </c:pt>
                <c:pt idx="15529">
                  <c:v>0.25860091743119251</c:v>
                </c:pt>
                <c:pt idx="15530">
                  <c:v>0.26051223241590216</c:v>
                </c:pt>
                <c:pt idx="15531">
                  <c:v>0.25133792048929671</c:v>
                </c:pt>
                <c:pt idx="15532">
                  <c:v>0.2540137614678899</c:v>
                </c:pt>
                <c:pt idx="15533">
                  <c:v>0.26012996941896027</c:v>
                </c:pt>
                <c:pt idx="15534">
                  <c:v>0.25382262996941884</c:v>
                </c:pt>
                <c:pt idx="15535">
                  <c:v>0.25974770642201839</c:v>
                </c:pt>
                <c:pt idx="15536">
                  <c:v>0.25516055045871555</c:v>
                </c:pt>
                <c:pt idx="15537">
                  <c:v>0.25210244648318048</c:v>
                </c:pt>
                <c:pt idx="15538">
                  <c:v>0.24866207951070329</c:v>
                </c:pt>
                <c:pt idx="15539">
                  <c:v>0.24732415902140681</c:v>
                </c:pt>
                <c:pt idx="15540">
                  <c:v>0.23948776758409784</c:v>
                </c:pt>
                <c:pt idx="15541">
                  <c:v>0.23738532110091737</c:v>
                </c:pt>
                <c:pt idx="15542">
                  <c:v>0.23700305810397548</c:v>
                </c:pt>
                <c:pt idx="15543">
                  <c:v>0.22515290519877662</c:v>
                </c:pt>
                <c:pt idx="15544">
                  <c:v>0.22878440366972486</c:v>
                </c:pt>
                <c:pt idx="15545">
                  <c:v>0.24254587155963314</c:v>
                </c:pt>
                <c:pt idx="15546">
                  <c:v>0.25133792048929671</c:v>
                </c:pt>
                <c:pt idx="15547">
                  <c:v>0.25114678899082565</c:v>
                </c:pt>
                <c:pt idx="15548">
                  <c:v>0.25993883792048922</c:v>
                </c:pt>
                <c:pt idx="15549">
                  <c:v>0.25821865443425063</c:v>
                </c:pt>
                <c:pt idx="15550">
                  <c:v>0.26529051987767582</c:v>
                </c:pt>
                <c:pt idx="15551">
                  <c:v>0.2714067278287462</c:v>
                </c:pt>
                <c:pt idx="15552">
                  <c:v>0.26930428134556572</c:v>
                </c:pt>
                <c:pt idx="15553">
                  <c:v>0.26815749235473985</c:v>
                </c:pt>
                <c:pt idx="15554">
                  <c:v>0.26433486238532122</c:v>
                </c:pt>
                <c:pt idx="15555">
                  <c:v>0.25821865443425063</c:v>
                </c:pt>
                <c:pt idx="15556">
                  <c:v>0.25688073394495414</c:v>
                </c:pt>
                <c:pt idx="15557">
                  <c:v>0.26471712538226311</c:v>
                </c:pt>
                <c:pt idx="15558">
                  <c:v>0.26471712538226311</c:v>
                </c:pt>
                <c:pt idx="15559">
                  <c:v>0.26911314984709489</c:v>
                </c:pt>
                <c:pt idx="15560">
                  <c:v>0.26357033639143723</c:v>
                </c:pt>
                <c:pt idx="15561">
                  <c:v>0.26471712538226311</c:v>
                </c:pt>
                <c:pt idx="15562">
                  <c:v>0.2673929663608563</c:v>
                </c:pt>
                <c:pt idx="15563">
                  <c:v>0.26529051987767582</c:v>
                </c:pt>
                <c:pt idx="15564">
                  <c:v>0.25860091743119251</c:v>
                </c:pt>
                <c:pt idx="15565">
                  <c:v>0.26586391437308876</c:v>
                </c:pt>
                <c:pt idx="15566">
                  <c:v>0.26605504587155959</c:v>
                </c:pt>
                <c:pt idx="15567">
                  <c:v>0.25993883792048922</c:v>
                </c:pt>
                <c:pt idx="15568">
                  <c:v>0.25668960244648309</c:v>
                </c:pt>
                <c:pt idx="15569">
                  <c:v>0.25420489296636095</c:v>
                </c:pt>
                <c:pt idx="15570">
                  <c:v>0.25076452599388377</c:v>
                </c:pt>
                <c:pt idx="15571">
                  <c:v>0.24770642201834869</c:v>
                </c:pt>
                <c:pt idx="15572">
                  <c:v>0.24579510703363927</c:v>
                </c:pt>
                <c:pt idx="15573">
                  <c:v>0.24483944954128423</c:v>
                </c:pt>
                <c:pt idx="15574">
                  <c:v>0.23604740061162088</c:v>
                </c:pt>
                <c:pt idx="15575">
                  <c:v>0.24445718654434256</c:v>
                </c:pt>
                <c:pt idx="15576">
                  <c:v>0.24617737003058116</c:v>
                </c:pt>
                <c:pt idx="15577">
                  <c:v>0.23948776758409784</c:v>
                </c:pt>
                <c:pt idx="15578">
                  <c:v>0.23681192660550443</c:v>
                </c:pt>
                <c:pt idx="15579">
                  <c:v>0.23451834862385335</c:v>
                </c:pt>
                <c:pt idx="15580">
                  <c:v>0.23738532110091737</c:v>
                </c:pt>
                <c:pt idx="15581">
                  <c:v>0.22553516819571873</c:v>
                </c:pt>
                <c:pt idx="15582">
                  <c:v>0.22572629969418956</c:v>
                </c:pt>
                <c:pt idx="15583">
                  <c:v>0.21788990825688082</c:v>
                </c:pt>
                <c:pt idx="15584">
                  <c:v>0.19820336391437299</c:v>
                </c:pt>
                <c:pt idx="15585">
                  <c:v>0.20603975535168195</c:v>
                </c:pt>
                <c:pt idx="15586">
                  <c:v>0.20336391437308876</c:v>
                </c:pt>
                <c:pt idx="15587">
                  <c:v>0.20279051987767582</c:v>
                </c:pt>
                <c:pt idx="15588">
                  <c:v>0.20451070336391441</c:v>
                </c:pt>
                <c:pt idx="15589">
                  <c:v>0.19705657492354733</c:v>
                </c:pt>
                <c:pt idx="15590">
                  <c:v>0.19724770642201839</c:v>
                </c:pt>
                <c:pt idx="15591">
                  <c:v>0.20068807339449535</c:v>
                </c:pt>
                <c:pt idx="15592">
                  <c:v>0.19610091743119251</c:v>
                </c:pt>
                <c:pt idx="15593">
                  <c:v>0.18635321100917435</c:v>
                </c:pt>
                <c:pt idx="15594">
                  <c:v>0.19208715596330261</c:v>
                </c:pt>
                <c:pt idx="15595">
                  <c:v>0.19590978593272168</c:v>
                </c:pt>
                <c:pt idx="15596">
                  <c:v>0.19304281345565744</c:v>
                </c:pt>
                <c:pt idx="15597">
                  <c:v>0.19705657492354733</c:v>
                </c:pt>
                <c:pt idx="15598">
                  <c:v>0.19113149847094801</c:v>
                </c:pt>
                <c:pt idx="15599">
                  <c:v>0.19017584097859341</c:v>
                </c:pt>
                <c:pt idx="15600">
                  <c:v>0.20527522935779818</c:v>
                </c:pt>
                <c:pt idx="15601">
                  <c:v>0.20279051987767582</c:v>
                </c:pt>
                <c:pt idx="15602">
                  <c:v>0.20202599388379205</c:v>
                </c:pt>
                <c:pt idx="15603">
                  <c:v>0.19724770642201839</c:v>
                </c:pt>
                <c:pt idx="15604">
                  <c:v>0.18386850152905199</c:v>
                </c:pt>
                <c:pt idx="15605">
                  <c:v>0.18998470948012236</c:v>
                </c:pt>
                <c:pt idx="15606">
                  <c:v>0.19285168195718638</c:v>
                </c:pt>
                <c:pt idx="15607">
                  <c:v>0.18730886850152895</c:v>
                </c:pt>
                <c:pt idx="15608">
                  <c:v>0.17985474006116209</c:v>
                </c:pt>
                <c:pt idx="15609">
                  <c:v>0.17278287461773689</c:v>
                </c:pt>
                <c:pt idx="15610">
                  <c:v>0.17622324159021407</c:v>
                </c:pt>
                <c:pt idx="15611">
                  <c:v>0.16227064220183496</c:v>
                </c:pt>
                <c:pt idx="15612">
                  <c:v>0.15538990825688082</c:v>
                </c:pt>
                <c:pt idx="15613">
                  <c:v>0.1433486238532109</c:v>
                </c:pt>
                <c:pt idx="15614">
                  <c:v>0.14984709480122316</c:v>
                </c:pt>
                <c:pt idx="15615">
                  <c:v>0.14621559633027514</c:v>
                </c:pt>
                <c:pt idx="15616">
                  <c:v>0.14984709480122316</c:v>
                </c:pt>
                <c:pt idx="15617">
                  <c:v>0.13646788990825698</c:v>
                </c:pt>
                <c:pt idx="15618">
                  <c:v>0.13895259938837934</c:v>
                </c:pt>
                <c:pt idx="15619">
                  <c:v>0.12347094801223246</c:v>
                </c:pt>
                <c:pt idx="15620">
                  <c:v>0.1146788990825689</c:v>
                </c:pt>
                <c:pt idx="15621">
                  <c:v>0.12213302752293576</c:v>
                </c:pt>
                <c:pt idx="15622">
                  <c:v>0.11525229357798161</c:v>
                </c:pt>
                <c:pt idx="15623">
                  <c:v>0.10378440366972486</c:v>
                </c:pt>
                <c:pt idx="15624">
                  <c:v>9.174311926605494E-2</c:v>
                </c:pt>
                <c:pt idx="15625">
                  <c:v>8.0275229357798183E-2</c:v>
                </c:pt>
                <c:pt idx="15626">
                  <c:v>8.0657492354740068E-2</c:v>
                </c:pt>
                <c:pt idx="15627">
                  <c:v>6.498470948012236E-2</c:v>
                </c:pt>
                <c:pt idx="15628">
                  <c:v>4.243119266055051E-2</c:v>
                </c:pt>
                <c:pt idx="15629">
                  <c:v>4.5298165137614532E-2</c:v>
                </c:pt>
                <c:pt idx="15630">
                  <c:v>5.5237003058103973E-2</c:v>
                </c:pt>
                <c:pt idx="15631">
                  <c:v>2.2362385321101019E-2</c:v>
                </c:pt>
                <c:pt idx="15632">
                  <c:v>5.0458715596330306E-2</c:v>
                </c:pt>
                <c:pt idx="15633">
                  <c:v>6.25E-2</c:v>
                </c:pt>
                <c:pt idx="15634">
                  <c:v>7.6834862385321223E-2</c:v>
                </c:pt>
                <c:pt idx="15635">
                  <c:v>8.7347094801223157E-2</c:v>
                </c:pt>
                <c:pt idx="15636">
                  <c:v>9.0978593272171171E-2</c:v>
                </c:pt>
                <c:pt idx="15637">
                  <c:v>9.4610091743119407E-2</c:v>
                </c:pt>
                <c:pt idx="15638">
                  <c:v>8.8493883792049033E-2</c:v>
                </c:pt>
                <c:pt idx="15639">
                  <c:v>9.0405198776758455E-2</c:v>
                </c:pt>
                <c:pt idx="15640">
                  <c:v>9.4036697247706469E-2</c:v>
                </c:pt>
                <c:pt idx="15641">
                  <c:v>9.32721712538227E-2</c:v>
                </c:pt>
                <c:pt idx="15642">
                  <c:v>9.078746177370034E-2</c:v>
                </c:pt>
                <c:pt idx="15643">
                  <c:v>9.078746177370034E-2</c:v>
                </c:pt>
                <c:pt idx="15644">
                  <c:v>8.3715596330275366E-2</c:v>
                </c:pt>
                <c:pt idx="15645">
                  <c:v>7.3394495412844041E-2</c:v>
                </c:pt>
                <c:pt idx="15646">
                  <c:v>7.2247706422018387E-2</c:v>
                </c:pt>
                <c:pt idx="15647">
                  <c:v>6.0588685015290578E-2</c:v>
                </c:pt>
                <c:pt idx="15648">
                  <c:v>7.5496941896024516E-2</c:v>
                </c:pt>
                <c:pt idx="15649">
                  <c:v>6.5940366972477182E-2</c:v>
                </c:pt>
                <c:pt idx="15650">
                  <c:v>7.3203363914372988E-2</c:v>
                </c:pt>
                <c:pt idx="15651">
                  <c:v>8.8685015290519864E-2</c:v>
                </c:pt>
                <c:pt idx="15652">
                  <c:v>8.2377675840978659E-2</c:v>
                </c:pt>
                <c:pt idx="15653">
                  <c:v>0.10263761467889898</c:v>
                </c:pt>
                <c:pt idx="15654">
                  <c:v>0.11888379204892963</c:v>
                </c:pt>
                <c:pt idx="15655">
                  <c:v>0.12672018348623859</c:v>
                </c:pt>
                <c:pt idx="15656">
                  <c:v>0.12824923547400613</c:v>
                </c:pt>
                <c:pt idx="15657">
                  <c:v>0.12920489296636073</c:v>
                </c:pt>
                <c:pt idx="15658">
                  <c:v>0.12557339449541294</c:v>
                </c:pt>
                <c:pt idx="15659">
                  <c:v>0.12194189602446492</c:v>
                </c:pt>
                <c:pt idx="15660">
                  <c:v>0.12461773700305812</c:v>
                </c:pt>
                <c:pt idx="15661">
                  <c:v>0.11983944954128445</c:v>
                </c:pt>
                <c:pt idx="15662">
                  <c:v>0.11716360856269126</c:v>
                </c:pt>
                <c:pt idx="15663">
                  <c:v>0.11582568807339455</c:v>
                </c:pt>
                <c:pt idx="15664">
                  <c:v>0.11544342507645267</c:v>
                </c:pt>
                <c:pt idx="15665">
                  <c:v>0.11085626911314983</c:v>
                </c:pt>
                <c:pt idx="15666">
                  <c:v>0.11926605504587151</c:v>
                </c:pt>
                <c:pt idx="15667">
                  <c:v>0.1299694189602445</c:v>
                </c:pt>
                <c:pt idx="15668">
                  <c:v>0.12155963302752282</c:v>
                </c:pt>
                <c:pt idx="15669">
                  <c:v>0.12117737003058093</c:v>
                </c:pt>
                <c:pt idx="15670">
                  <c:v>0.12366207951070329</c:v>
                </c:pt>
                <c:pt idx="15671">
                  <c:v>0.13818807339449535</c:v>
                </c:pt>
                <c:pt idx="15672">
                  <c:v>0.13876146788990829</c:v>
                </c:pt>
                <c:pt idx="15673">
                  <c:v>0.14105504587155959</c:v>
                </c:pt>
                <c:pt idx="15674">
                  <c:v>0.14258409785932713</c:v>
                </c:pt>
                <c:pt idx="15675">
                  <c:v>0.1299694189602445</c:v>
                </c:pt>
                <c:pt idx="15676">
                  <c:v>0.13474770642201839</c:v>
                </c:pt>
                <c:pt idx="15677">
                  <c:v>0.12786697247706424</c:v>
                </c:pt>
                <c:pt idx="15678">
                  <c:v>0.12079510703363905</c:v>
                </c:pt>
                <c:pt idx="15679">
                  <c:v>0.12117737003058093</c:v>
                </c:pt>
                <c:pt idx="15680">
                  <c:v>0.11334097859327219</c:v>
                </c:pt>
                <c:pt idx="15681">
                  <c:v>0.10149082568807333</c:v>
                </c:pt>
                <c:pt idx="15682">
                  <c:v>9.9961773700305789E-2</c:v>
                </c:pt>
                <c:pt idx="15683">
                  <c:v>9.8432721712538251E-2</c:v>
                </c:pt>
                <c:pt idx="15684">
                  <c:v>9.919724770642202E-2</c:v>
                </c:pt>
                <c:pt idx="15685">
                  <c:v>9.6330275229357776E-2</c:v>
                </c:pt>
                <c:pt idx="15686">
                  <c:v>0.10378440366972486</c:v>
                </c:pt>
                <c:pt idx="15687">
                  <c:v>0.11085626911314983</c:v>
                </c:pt>
                <c:pt idx="15688">
                  <c:v>0.10818042813455642</c:v>
                </c:pt>
                <c:pt idx="15689">
                  <c:v>0.10378440366972486</c:v>
                </c:pt>
                <c:pt idx="15690">
                  <c:v>0.11295871559633031</c:v>
                </c:pt>
                <c:pt idx="15691">
                  <c:v>0.10531345565749239</c:v>
                </c:pt>
                <c:pt idx="15692">
                  <c:v>9.32721712538227E-2</c:v>
                </c:pt>
                <c:pt idx="15693">
                  <c:v>8.5053516819571851E-2</c:v>
                </c:pt>
                <c:pt idx="15694">
                  <c:v>7.912844036697253E-2</c:v>
                </c:pt>
                <c:pt idx="15695">
                  <c:v>7.7217125382262886E-2</c:v>
                </c:pt>
                <c:pt idx="15696">
                  <c:v>8.5626911314984566E-2</c:v>
                </c:pt>
                <c:pt idx="15697">
                  <c:v>8.5818042813455619E-2</c:v>
                </c:pt>
                <c:pt idx="15698">
                  <c:v>7.8363914373088761E-2</c:v>
                </c:pt>
                <c:pt idx="15699">
                  <c:v>7.415902140672781E-2</c:v>
                </c:pt>
                <c:pt idx="15700">
                  <c:v>8.5244648318042904E-2</c:v>
                </c:pt>
                <c:pt idx="15701">
                  <c:v>0.10531345565749239</c:v>
                </c:pt>
                <c:pt idx="15702">
                  <c:v>0.10531345565749239</c:v>
                </c:pt>
                <c:pt idx="15703">
                  <c:v>0.10913608562691124</c:v>
                </c:pt>
                <c:pt idx="15704">
                  <c:v>0.10340214067278275</c:v>
                </c:pt>
                <c:pt idx="15705">
                  <c:v>9.32721712538227E-2</c:v>
                </c:pt>
                <c:pt idx="15706">
                  <c:v>8.0848623853210899E-2</c:v>
                </c:pt>
                <c:pt idx="15707">
                  <c:v>7.3585626911315094E-2</c:v>
                </c:pt>
                <c:pt idx="15708">
                  <c:v>8.5818042813455619E-2</c:v>
                </c:pt>
                <c:pt idx="15709">
                  <c:v>7.9701834862385246E-2</c:v>
                </c:pt>
                <c:pt idx="15710">
                  <c:v>6.7660550458715552E-2</c:v>
                </c:pt>
                <c:pt idx="15711">
                  <c:v>4.6444954128440408E-2</c:v>
                </c:pt>
                <c:pt idx="15712">
                  <c:v>3.9946483180428149E-2</c:v>
                </c:pt>
                <c:pt idx="15713">
                  <c:v>5.3516819571866048E-3</c:v>
                </c:pt>
                <c:pt idx="15714">
                  <c:v>0</c:v>
                </c:pt>
                <c:pt idx="15715">
                  <c:v>0</c:v>
                </c:pt>
                <c:pt idx="15716">
                  <c:v>0</c:v>
                </c:pt>
                <c:pt idx="15717">
                  <c:v>0</c:v>
                </c:pt>
                <c:pt idx="15718">
                  <c:v>0</c:v>
                </c:pt>
                <c:pt idx="15719">
                  <c:v>0</c:v>
                </c:pt>
                <c:pt idx="15720">
                  <c:v>0</c:v>
                </c:pt>
                <c:pt idx="15721">
                  <c:v>0</c:v>
                </c:pt>
                <c:pt idx="15722">
                  <c:v>0</c:v>
                </c:pt>
                <c:pt idx="15723">
                  <c:v>0</c:v>
                </c:pt>
                <c:pt idx="15724">
                  <c:v>0</c:v>
                </c:pt>
                <c:pt idx="15725">
                  <c:v>0</c:v>
                </c:pt>
                <c:pt idx="15726">
                  <c:v>0</c:v>
                </c:pt>
                <c:pt idx="15727">
                  <c:v>0</c:v>
                </c:pt>
                <c:pt idx="15728">
                  <c:v>0</c:v>
                </c:pt>
                <c:pt idx="15729">
                  <c:v>0</c:v>
                </c:pt>
                <c:pt idx="15730">
                  <c:v>0</c:v>
                </c:pt>
                <c:pt idx="15731">
                  <c:v>0</c:v>
                </c:pt>
                <c:pt idx="15732">
                  <c:v>0</c:v>
                </c:pt>
                <c:pt idx="15733">
                  <c:v>0</c:v>
                </c:pt>
                <c:pt idx="15734">
                  <c:v>0</c:v>
                </c:pt>
                <c:pt idx="15735">
                  <c:v>0</c:v>
                </c:pt>
                <c:pt idx="15736">
                  <c:v>0</c:v>
                </c:pt>
                <c:pt idx="15737">
                  <c:v>0</c:v>
                </c:pt>
                <c:pt idx="15738">
                  <c:v>0</c:v>
                </c:pt>
                <c:pt idx="15739">
                  <c:v>0</c:v>
                </c:pt>
                <c:pt idx="15740">
                  <c:v>0</c:v>
                </c:pt>
                <c:pt idx="15741">
                  <c:v>0</c:v>
                </c:pt>
                <c:pt idx="15742">
                  <c:v>0</c:v>
                </c:pt>
                <c:pt idx="15743">
                  <c:v>0</c:v>
                </c:pt>
                <c:pt idx="15744">
                  <c:v>0</c:v>
                </c:pt>
                <c:pt idx="15745">
                  <c:v>0</c:v>
                </c:pt>
                <c:pt idx="15746">
                  <c:v>0</c:v>
                </c:pt>
                <c:pt idx="15747">
                  <c:v>0</c:v>
                </c:pt>
                <c:pt idx="15748">
                  <c:v>0</c:v>
                </c:pt>
                <c:pt idx="15749">
                  <c:v>0</c:v>
                </c:pt>
                <c:pt idx="15750">
                  <c:v>0</c:v>
                </c:pt>
                <c:pt idx="15751">
                  <c:v>0</c:v>
                </c:pt>
                <c:pt idx="15752">
                  <c:v>0</c:v>
                </c:pt>
                <c:pt idx="15753">
                  <c:v>0</c:v>
                </c:pt>
                <c:pt idx="15754">
                  <c:v>0</c:v>
                </c:pt>
                <c:pt idx="15755">
                  <c:v>0</c:v>
                </c:pt>
                <c:pt idx="15756">
                  <c:v>0</c:v>
                </c:pt>
                <c:pt idx="15757">
                  <c:v>0</c:v>
                </c:pt>
                <c:pt idx="15758">
                  <c:v>0</c:v>
                </c:pt>
                <c:pt idx="15759">
                  <c:v>0</c:v>
                </c:pt>
                <c:pt idx="15760">
                  <c:v>0</c:v>
                </c:pt>
                <c:pt idx="15761">
                  <c:v>0</c:v>
                </c:pt>
                <c:pt idx="15762">
                  <c:v>0</c:v>
                </c:pt>
                <c:pt idx="15763">
                  <c:v>0</c:v>
                </c:pt>
                <c:pt idx="15764">
                  <c:v>0</c:v>
                </c:pt>
                <c:pt idx="15765">
                  <c:v>0</c:v>
                </c:pt>
                <c:pt idx="15766">
                  <c:v>0</c:v>
                </c:pt>
                <c:pt idx="15767">
                  <c:v>0</c:v>
                </c:pt>
                <c:pt idx="15768">
                  <c:v>0</c:v>
                </c:pt>
                <c:pt idx="15769">
                  <c:v>0</c:v>
                </c:pt>
                <c:pt idx="15770">
                  <c:v>0</c:v>
                </c:pt>
                <c:pt idx="15771">
                  <c:v>0</c:v>
                </c:pt>
                <c:pt idx="15772">
                  <c:v>0</c:v>
                </c:pt>
                <c:pt idx="15773">
                  <c:v>0</c:v>
                </c:pt>
                <c:pt idx="15774">
                  <c:v>0</c:v>
                </c:pt>
                <c:pt idx="15775">
                  <c:v>0</c:v>
                </c:pt>
                <c:pt idx="15776">
                  <c:v>0</c:v>
                </c:pt>
                <c:pt idx="15777">
                  <c:v>0</c:v>
                </c:pt>
                <c:pt idx="15778">
                  <c:v>0</c:v>
                </c:pt>
                <c:pt idx="15779">
                  <c:v>0</c:v>
                </c:pt>
                <c:pt idx="15780">
                  <c:v>0</c:v>
                </c:pt>
                <c:pt idx="15781">
                  <c:v>0</c:v>
                </c:pt>
                <c:pt idx="15782">
                  <c:v>0</c:v>
                </c:pt>
                <c:pt idx="15783">
                  <c:v>0</c:v>
                </c:pt>
                <c:pt idx="15784">
                  <c:v>0</c:v>
                </c:pt>
                <c:pt idx="15785">
                  <c:v>0</c:v>
                </c:pt>
                <c:pt idx="15786">
                  <c:v>0</c:v>
                </c:pt>
                <c:pt idx="15787">
                  <c:v>0</c:v>
                </c:pt>
                <c:pt idx="15788">
                  <c:v>0</c:v>
                </c:pt>
                <c:pt idx="15789">
                  <c:v>0</c:v>
                </c:pt>
                <c:pt idx="15790">
                  <c:v>0</c:v>
                </c:pt>
                <c:pt idx="15791">
                  <c:v>0</c:v>
                </c:pt>
                <c:pt idx="15792">
                  <c:v>0</c:v>
                </c:pt>
                <c:pt idx="15793">
                  <c:v>0</c:v>
                </c:pt>
                <c:pt idx="15794">
                  <c:v>0</c:v>
                </c:pt>
                <c:pt idx="15795">
                  <c:v>0</c:v>
                </c:pt>
                <c:pt idx="15796">
                  <c:v>0</c:v>
                </c:pt>
                <c:pt idx="15797">
                  <c:v>0</c:v>
                </c:pt>
                <c:pt idx="15798">
                  <c:v>0</c:v>
                </c:pt>
                <c:pt idx="15799">
                  <c:v>0</c:v>
                </c:pt>
                <c:pt idx="15800">
                  <c:v>0</c:v>
                </c:pt>
                <c:pt idx="15801">
                  <c:v>0</c:v>
                </c:pt>
                <c:pt idx="15802">
                  <c:v>0</c:v>
                </c:pt>
                <c:pt idx="15803">
                  <c:v>0</c:v>
                </c:pt>
                <c:pt idx="15804">
                  <c:v>0</c:v>
                </c:pt>
                <c:pt idx="15805">
                  <c:v>0</c:v>
                </c:pt>
                <c:pt idx="15806">
                  <c:v>0</c:v>
                </c:pt>
                <c:pt idx="15807">
                  <c:v>0</c:v>
                </c:pt>
                <c:pt idx="15808">
                  <c:v>0</c:v>
                </c:pt>
                <c:pt idx="15809">
                  <c:v>0</c:v>
                </c:pt>
                <c:pt idx="15810">
                  <c:v>0</c:v>
                </c:pt>
                <c:pt idx="15811">
                  <c:v>0</c:v>
                </c:pt>
                <c:pt idx="15812">
                  <c:v>0</c:v>
                </c:pt>
                <c:pt idx="15813">
                  <c:v>0</c:v>
                </c:pt>
                <c:pt idx="15814">
                  <c:v>0</c:v>
                </c:pt>
                <c:pt idx="15815">
                  <c:v>0</c:v>
                </c:pt>
                <c:pt idx="15816">
                  <c:v>0</c:v>
                </c:pt>
                <c:pt idx="15817">
                  <c:v>0</c:v>
                </c:pt>
                <c:pt idx="15818">
                  <c:v>0</c:v>
                </c:pt>
                <c:pt idx="15819">
                  <c:v>0</c:v>
                </c:pt>
                <c:pt idx="15820">
                  <c:v>0</c:v>
                </c:pt>
                <c:pt idx="15821">
                  <c:v>0</c:v>
                </c:pt>
                <c:pt idx="15822">
                  <c:v>0</c:v>
                </c:pt>
                <c:pt idx="15823">
                  <c:v>0</c:v>
                </c:pt>
                <c:pt idx="15824">
                  <c:v>0</c:v>
                </c:pt>
                <c:pt idx="15825">
                  <c:v>0</c:v>
                </c:pt>
                <c:pt idx="15826">
                  <c:v>0</c:v>
                </c:pt>
                <c:pt idx="15827">
                  <c:v>0</c:v>
                </c:pt>
                <c:pt idx="15828">
                  <c:v>0</c:v>
                </c:pt>
                <c:pt idx="15829">
                  <c:v>0</c:v>
                </c:pt>
                <c:pt idx="15830">
                  <c:v>0</c:v>
                </c:pt>
                <c:pt idx="15831">
                  <c:v>0</c:v>
                </c:pt>
                <c:pt idx="15832">
                  <c:v>0</c:v>
                </c:pt>
                <c:pt idx="15833">
                  <c:v>0</c:v>
                </c:pt>
                <c:pt idx="15834">
                  <c:v>0</c:v>
                </c:pt>
                <c:pt idx="15835">
                  <c:v>0</c:v>
                </c:pt>
                <c:pt idx="15836">
                  <c:v>0</c:v>
                </c:pt>
                <c:pt idx="15837">
                  <c:v>0</c:v>
                </c:pt>
                <c:pt idx="15838">
                  <c:v>0</c:v>
                </c:pt>
                <c:pt idx="15839">
                  <c:v>0</c:v>
                </c:pt>
                <c:pt idx="15840">
                  <c:v>0</c:v>
                </c:pt>
                <c:pt idx="15841">
                  <c:v>0</c:v>
                </c:pt>
                <c:pt idx="15842">
                  <c:v>0</c:v>
                </c:pt>
                <c:pt idx="15843">
                  <c:v>0</c:v>
                </c:pt>
                <c:pt idx="15844">
                  <c:v>0</c:v>
                </c:pt>
                <c:pt idx="15845">
                  <c:v>0</c:v>
                </c:pt>
                <c:pt idx="15846">
                  <c:v>0</c:v>
                </c:pt>
                <c:pt idx="15847">
                  <c:v>0</c:v>
                </c:pt>
                <c:pt idx="15848">
                  <c:v>0</c:v>
                </c:pt>
                <c:pt idx="15849">
                  <c:v>0.86351975371985645</c:v>
                </c:pt>
                <c:pt idx="15850">
                  <c:v>0.85710620831195494</c:v>
                </c:pt>
                <c:pt idx="15851">
                  <c:v>0.84812724474089318</c:v>
                </c:pt>
                <c:pt idx="15852">
                  <c:v>0.83940482298614705</c:v>
                </c:pt>
                <c:pt idx="15853">
                  <c:v>0.84684453565931239</c:v>
                </c:pt>
                <c:pt idx="15854">
                  <c:v>0.84530528476141642</c:v>
                </c:pt>
                <c:pt idx="15855">
                  <c:v>0.84735761929194497</c:v>
                </c:pt>
                <c:pt idx="15856">
                  <c:v>0.82606464853771189</c:v>
                </c:pt>
                <c:pt idx="15857">
                  <c:v>0.82965623396613641</c:v>
                </c:pt>
                <c:pt idx="15858">
                  <c:v>0.83940482298614705</c:v>
                </c:pt>
                <c:pt idx="15859">
                  <c:v>0.84068753206772717</c:v>
                </c:pt>
                <c:pt idx="15860">
                  <c:v>0.84325295023088764</c:v>
                </c:pt>
                <c:pt idx="15861">
                  <c:v>0.8429964084145718</c:v>
                </c:pt>
                <c:pt idx="15862">
                  <c:v>0.83940482298614705</c:v>
                </c:pt>
                <c:pt idx="15863">
                  <c:v>0.84145715751667538</c:v>
                </c:pt>
                <c:pt idx="15864">
                  <c:v>0.83991790661877896</c:v>
                </c:pt>
                <c:pt idx="15865">
                  <c:v>0.83735248845561849</c:v>
                </c:pt>
                <c:pt idx="15866">
                  <c:v>0.83735248845561849</c:v>
                </c:pt>
                <c:pt idx="15867">
                  <c:v>0.83863519753719884</c:v>
                </c:pt>
                <c:pt idx="15868">
                  <c:v>0.83837865572088255</c:v>
                </c:pt>
                <c:pt idx="15869">
                  <c:v>0.82837352488455629</c:v>
                </c:pt>
                <c:pt idx="15870">
                  <c:v>0.8232426885582349</c:v>
                </c:pt>
                <c:pt idx="15871">
                  <c:v>0.81554643406875327</c:v>
                </c:pt>
                <c:pt idx="15872">
                  <c:v>0.81811185223191396</c:v>
                </c:pt>
                <c:pt idx="15873">
                  <c:v>0.79604925602873289</c:v>
                </c:pt>
                <c:pt idx="15874">
                  <c:v>0.78219599794766559</c:v>
                </c:pt>
                <c:pt idx="15875">
                  <c:v>0.77296049256028754</c:v>
                </c:pt>
                <c:pt idx="15876">
                  <c:v>0.76321190354027735</c:v>
                </c:pt>
                <c:pt idx="15877">
                  <c:v>0.76038994356080059</c:v>
                </c:pt>
                <c:pt idx="15878">
                  <c:v>0.75525910723447942</c:v>
                </c:pt>
                <c:pt idx="15879">
                  <c:v>0.75320677270395087</c:v>
                </c:pt>
                <c:pt idx="15880">
                  <c:v>0.75628527449974348</c:v>
                </c:pt>
                <c:pt idx="15881">
                  <c:v>0.75320677270395087</c:v>
                </c:pt>
                <c:pt idx="15882">
                  <c:v>0.74397126731657282</c:v>
                </c:pt>
                <c:pt idx="15883">
                  <c:v>0.74602360184710137</c:v>
                </c:pt>
                <c:pt idx="15884">
                  <c:v>0.75679835813237584</c:v>
                </c:pt>
                <c:pt idx="15885">
                  <c:v>0.75602873268342763</c:v>
                </c:pt>
                <c:pt idx="15886">
                  <c:v>0.74987172909184197</c:v>
                </c:pt>
                <c:pt idx="15887">
                  <c:v>0.74114930733709627</c:v>
                </c:pt>
                <c:pt idx="15888">
                  <c:v>0.74063622370446391</c:v>
                </c:pt>
                <c:pt idx="15889">
                  <c:v>0.74551051821446923</c:v>
                </c:pt>
                <c:pt idx="15890">
                  <c:v>0.74858902001026162</c:v>
                </c:pt>
                <c:pt idx="15891">
                  <c:v>0.74884556182657791</c:v>
                </c:pt>
                <c:pt idx="15892">
                  <c:v>0.74730631092868149</c:v>
                </c:pt>
                <c:pt idx="15893">
                  <c:v>0.74294510005130854</c:v>
                </c:pt>
                <c:pt idx="15894">
                  <c:v>0.74371472550025675</c:v>
                </c:pt>
                <c:pt idx="15895">
                  <c:v>0.73858388917393536</c:v>
                </c:pt>
                <c:pt idx="15896">
                  <c:v>0.72344792201128816</c:v>
                </c:pt>
                <c:pt idx="15897">
                  <c:v>0.71190354027706548</c:v>
                </c:pt>
                <c:pt idx="15898">
                  <c:v>0.71292970754232954</c:v>
                </c:pt>
                <c:pt idx="15899">
                  <c:v>0.71190354027706548</c:v>
                </c:pt>
                <c:pt idx="15900">
                  <c:v>0.70805541303232444</c:v>
                </c:pt>
                <c:pt idx="15901">
                  <c:v>0.70523345305284768</c:v>
                </c:pt>
                <c:pt idx="15902">
                  <c:v>0.68753206772703956</c:v>
                </c:pt>
                <c:pt idx="15903">
                  <c:v>0.68727552591072349</c:v>
                </c:pt>
                <c:pt idx="15904">
                  <c:v>0.71164699846074919</c:v>
                </c:pt>
                <c:pt idx="15905">
                  <c:v>0.71857362750128262</c:v>
                </c:pt>
                <c:pt idx="15906">
                  <c:v>0.71780400205233441</c:v>
                </c:pt>
                <c:pt idx="15907">
                  <c:v>0.71062083119548514</c:v>
                </c:pt>
                <c:pt idx="15908">
                  <c:v>0.72421754746023592</c:v>
                </c:pt>
                <c:pt idx="15909">
                  <c:v>0.73550538737814297</c:v>
                </c:pt>
                <c:pt idx="15910">
                  <c:v>0.73242688558235014</c:v>
                </c:pt>
                <c:pt idx="15911">
                  <c:v>0.74474089276552102</c:v>
                </c:pt>
                <c:pt idx="15912">
                  <c:v>0.74345818368394045</c:v>
                </c:pt>
                <c:pt idx="15913">
                  <c:v>0.72601334017444863</c:v>
                </c:pt>
                <c:pt idx="15914">
                  <c:v>0.74140584915341212</c:v>
                </c:pt>
                <c:pt idx="15915">
                  <c:v>0.75346331452026671</c:v>
                </c:pt>
                <c:pt idx="15916">
                  <c:v>0.75628527449974348</c:v>
                </c:pt>
                <c:pt idx="15917">
                  <c:v>0.74345818368394045</c:v>
                </c:pt>
                <c:pt idx="15918">
                  <c:v>0.74935864545920983</c:v>
                </c:pt>
                <c:pt idx="15919">
                  <c:v>0.74628014366341699</c:v>
                </c:pt>
                <c:pt idx="15920">
                  <c:v>0.73961005643919986</c:v>
                </c:pt>
                <c:pt idx="15921">
                  <c:v>0.73293996921498206</c:v>
                </c:pt>
                <c:pt idx="15922">
                  <c:v>0.7367880964597231</c:v>
                </c:pt>
                <c:pt idx="15923">
                  <c:v>0.73601847101077489</c:v>
                </c:pt>
                <c:pt idx="15924">
                  <c:v>0.73396613648024656</c:v>
                </c:pt>
                <c:pt idx="15925">
                  <c:v>0.74397126731657282</c:v>
                </c:pt>
                <c:pt idx="15926">
                  <c:v>0.75577219086711134</c:v>
                </c:pt>
                <c:pt idx="15927">
                  <c:v>0.75551564905079549</c:v>
                </c:pt>
                <c:pt idx="15928">
                  <c:v>0.75192406362237074</c:v>
                </c:pt>
                <c:pt idx="15929">
                  <c:v>0.74730631092868149</c:v>
                </c:pt>
                <c:pt idx="15930">
                  <c:v>0.7375577219086713</c:v>
                </c:pt>
                <c:pt idx="15931">
                  <c:v>0.73293996921498206</c:v>
                </c:pt>
                <c:pt idx="15932">
                  <c:v>0.73730118009235524</c:v>
                </c:pt>
                <c:pt idx="15933">
                  <c:v>0.74602360184710137</c:v>
                </c:pt>
                <c:pt idx="15934">
                  <c:v>0.74320164186762461</c:v>
                </c:pt>
                <c:pt idx="15935">
                  <c:v>0.73781426372498715</c:v>
                </c:pt>
                <c:pt idx="15936">
                  <c:v>0.73986659825551571</c:v>
                </c:pt>
                <c:pt idx="15937">
                  <c:v>0.73601847101077489</c:v>
                </c:pt>
                <c:pt idx="15938">
                  <c:v>0.74397126731657282</c:v>
                </c:pt>
                <c:pt idx="15939">
                  <c:v>0.7262698819907647</c:v>
                </c:pt>
                <c:pt idx="15940">
                  <c:v>0.71729091841970249</c:v>
                </c:pt>
                <c:pt idx="15941">
                  <c:v>0.72832221652129325</c:v>
                </c:pt>
                <c:pt idx="15942">
                  <c:v>0.71267316572601369</c:v>
                </c:pt>
                <c:pt idx="15943">
                  <c:v>0.71139045664443312</c:v>
                </c:pt>
                <c:pt idx="15944">
                  <c:v>0.70882503848127265</c:v>
                </c:pt>
                <c:pt idx="15945">
                  <c:v>0.68907131862493598</c:v>
                </c:pt>
                <c:pt idx="15946">
                  <c:v>0.67342226782965642</c:v>
                </c:pt>
                <c:pt idx="15947">
                  <c:v>0.66418676244227837</c:v>
                </c:pt>
                <c:pt idx="15948">
                  <c:v>0.66393022062596208</c:v>
                </c:pt>
                <c:pt idx="15949">
                  <c:v>0.66008209338122104</c:v>
                </c:pt>
                <c:pt idx="15950">
                  <c:v>0.65982555156490519</c:v>
                </c:pt>
                <c:pt idx="15951">
                  <c:v>0.6523858388917394</c:v>
                </c:pt>
                <c:pt idx="15952">
                  <c:v>0.66213442791174981</c:v>
                </c:pt>
                <c:pt idx="15953">
                  <c:v>0.67470497691123676</c:v>
                </c:pt>
                <c:pt idx="15954">
                  <c:v>0.66393022062596208</c:v>
                </c:pt>
                <c:pt idx="15955">
                  <c:v>0.67573114417650082</c:v>
                </c:pt>
                <c:pt idx="15956">
                  <c:v>0.68522319138019494</c:v>
                </c:pt>
                <c:pt idx="15957">
                  <c:v>0.68573627501282708</c:v>
                </c:pt>
                <c:pt idx="15958">
                  <c:v>0.68727552591072349</c:v>
                </c:pt>
                <c:pt idx="15959">
                  <c:v>0.68830169317598777</c:v>
                </c:pt>
                <c:pt idx="15960">
                  <c:v>0.68368394048229852</c:v>
                </c:pt>
                <c:pt idx="15961">
                  <c:v>0.67290918419702406</c:v>
                </c:pt>
                <c:pt idx="15962">
                  <c:v>0.65828630066700877</c:v>
                </c:pt>
                <c:pt idx="15963">
                  <c:v>0.65520779887121594</c:v>
                </c:pt>
                <c:pt idx="15964">
                  <c:v>0.65700359158542865</c:v>
                </c:pt>
                <c:pt idx="15965">
                  <c:v>0.65392508978963582</c:v>
                </c:pt>
                <c:pt idx="15966">
                  <c:v>0.65392508978963582</c:v>
                </c:pt>
                <c:pt idx="15967">
                  <c:v>0.67162647511544393</c:v>
                </c:pt>
                <c:pt idx="15968">
                  <c:v>0.66495638789122657</c:v>
                </c:pt>
                <c:pt idx="15969">
                  <c:v>0.67111339148281179</c:v>
                </c:pt>
                <c:pt idx="15970">
                  <c:v>0.67136993329912809</c:v>
                </c:pt>
                <c:pt idx="15971">
                  <c:v>0.65674704976911236</c:v>
                </c:pt>
                <c:pt idx="15972">
                  <c:v>0.67213955874807629</c:v>
                </c:pt>
                <c:pt idx="15973">
                  <c:v>0.68522319138019494</c:v>
                </c:pt>
                <c:pt idx="15974">
                  <c:v>0.69266290405336095</c:v>
                </c:pt>
                <c:pt idx="15975">
                  <c:v>0.6880451513596717</c:v>
                </c:pt>
                <c:pt idx="15976">
                  <c:v>0.69702411493073391</c:v>
                </c:pt>
                <c:pt idx="15977">
                  <c:v>0.71010774756285278</c:v>
                </c:pt>
                <c:pt idx="15978">
                  <c:v>0.71036428937916907</c:v>
                </c:pt>
                <c:pt idx="15979">
                  <c:v>0.70959466393022086</c:v>
                </c:pt>
                <c:pt idx="15980">
                  <c:v>0.71600820933812237</c:v>
                </c:pt>
                <c:pt idx="15981">
                  <c:v>0.72088250384812724</c:v>
                </c:pt>
                <c:pt idx="15982">
                  <c:v>0.71190354027706548</c:v>
                </c:pt>
                <c:pt idx="15983">
                  <c:v>0.7075423293996923</c:v>
                </c:pt>
                <c:pt idx="15984">
                  <c:v>0.7075423293996923</c:v>
                </c:pt>
                <c:pt idx="15985">
                  <c:v>0.70420728578758363</c:v>
                </c:pt>
                <c:pt idx="15986">
                  <c:v>0.69343252950230916</c:v>
                </c:pt>
                <c:pt idx="15987">
                  <c:v>0.69984607491021067</c:v>
                </c:pt>
                <c:pt idx="15988">
                  <c:v>0.71062083119548514</c:v>
                </c:pt>
                <c:pt idx="15989">
                  <c:v>0.71498204207285787</c:v>
                </c:pt>
                <c:pt idx="15990">
                  <c:v>0.72575679835813234</c:v>
                </c:pt>
                <c:pt idx="15991">
                  <c:v>0.71857362750128262</c:v>
                </c:pt>
                <c:pt idx="15992">
                  <c:v>0.72883530015392517</c:v>
                </c:pt>
                <c:pt idx="15993">
                  <c:v>0.72088250384812724</c:v>
                </c:pt>
                <c:pt idx="15994">
                  <c:v>0.71446895844022595</c:v>
                </c:pt>
                <c:pt idx="15995">
                  <c:v>0.70472036942021576</c:v>
                </c:pt>
                <c:pt idx="15996">
                  <c:v>0.70318111852231935</c:v>
                </c:pt>
                <c:pt idx="15997">
                  <c:v>0.70369420215495126</c:v>
                </c:pt>
                <c:pt idx="15998">
                  <c:v>0.70523345305284768</c:v>
                </c:pt>
                <c:pt idx="15999">
                  <c:v>0.70369420215495126</c:v>
                </c:pt>
                <c:pt idx="16000">
                  <c:v>0.70651616213442803</c:v>
                </c:pt>
                <c:pt idx="16001">
                  <c:v>0.70446382760389947</c:v>
                </c:pt>
                <c:pt idx="16002">
                  <c:v>0.69779374037968211</c:v>
                </c:pt>
                <c:pt idx="16003">
                  <c:v>0.68394048229861482</c:v>
                </c:pt>
                <c:pt idx="16004">
                  <c:v>0.67188301693176</c:v>
                </c:pt>
                <c:pt idx="16005">
                  <c:v>0.67547460236018497</c:v>
                </c:pt>
                <c:pt idx="16006">
                  <c:v>0.67932272960492557</c:v>
                </c:pt>
                <c:pt idx="16007">
                  <c:v>0.68163160595177019</c:v>
                </c:pt>
                <c:pt idx="16008">
                  <c:v>0.67521806054386868</c:v>
                </c:pt>
                <c:pt idx="16009">
                  <c:v>0.65212929707542355</c:v>
                </c:pt>
                <c:pt idx="16010">
                  <c:v>0.68727552591072349</c:v>
                </c:pt>
                <c:pt idx="16011">
                  <c:v>0.68855823499230362</c:v>
                </c:pt>
                <c:pt idx="16012">
                  <c:v>0.68830169317598777</c:v>
                </c:pt>
                <c:pt idx="16013">
                  <c:v>0.69830682401231425</c:v>
                </c:pt>
                <c:pt idx="16014">
                  <c:v>0.71062083119548514</c:v>
                </c:pt>
                <c:pt idx="16015">
                  <c:v>0.70266803488968721</c:v>
                </c:pt>
                <c:pt idx="16016">
                  <c:v>0.69984607491021067</c:v>
                </c:pt>
                <c:pt idx="16017">
                  <c:v>0.70112878399179079</c:v>
                </c:pt>
                <c:pt idx="16018">
                  <c:v>0.70908158029758872</c:v>
                </c:pt>
                <c:pt idx="16019">
                  <c:v>0.7067727039507441</c:v>
                </c:pt>
                <c:pt idx="16020">
                  <c:v>0.69214982042072859</c:v>
                </c:pt>
                <c:pt idx="16021">
                  <c:v>0.68317085684966661</c:v>
                </c:pt>
                <c:pt idx="16022">
                  <c:v>0.67932272960492557</c:v>
                </c:pt>
                <c:pt idx="16023">
                  <c:v>0.68445356593124673</c:v>
                </c:pt>
                <c:pt idx="16024">
                  <c:v>0.68291431503335032</c:v>
                </c:pt>
                <c:pt idx="16025">
                  <c:v>0.66906105695228346</c:v>
                </c:pt>
                <c:pt idx="16026">
                  <c:v>0.66572601334017478</c:v>
                </c:pt>
                <c:pt idx="16027">
                  <c:v>0.65161621344279119</c:v>
                </c:pt>
                <c:pt idx="16028">
                  <c:v>0.65084658799384298</c:v>
                </c:pt>
                <c:pt idx="16029">
                  <c:v>0.65264238070805569</c:v>
                </c:pt>
                <c:pt idx="16030">
                  <c:v>0.65546434068753223</c:v>
                </c:pt>
                <c:pt idx="16031">
                  <c:v>0.65982555156490519</c:v>
                </c:pt>
                <c:pt idx="16032">
                  <c:v>0.66085171883016924</c:v>
                </c:pt>
                <c:pt idx="16033">
                  <c:v>0.66393022062596208</c:v>
                </c:pt>
                <c:pt idx="16034">
                  <c:v>0.6572601334017445</c:v>
                </c:pt>
                <c:pt idx="16035">
                  <c:v>0.64725500256541824</c:v>
                </c:pt>
                <c:pt idx="16036">
                  <c:v>0.63083632632119047</c:v>
                </c:pt>
                <c:pt idx="16037">
                  <c:v>0.62596203181118537</c:v>
                </c:pt>
                <c:pt idx="16038">
                  <c:v>0.63314520266803487</c:v>
                </c:pt>
                <c:pt idx="16039">
                  <c:v>0.62852744997434584</c:v>
                </c:pt>
                <c:pt idx="16040">
                  <c:v>0.62904053360697798</c:v>
                </c:pt>
                <c:pt idx="16041">
                  <c:v>0.62750128270908156</c:v>
                </c:pt>
                <c:pt idx="16042">
                  <c:v>0.62827090815802977</c:v>
                </c:pt>
                <c:pt idx="16043">
                  <c:v>0.64315033350436135</c:v>
                </c:pt>
                <c:pt idx="16044">
                  <c:v>0.64058491534120088</c:v>
                </c:pt>
                <c:pt idx="16045">
                  <c:v>0.63801949717804018</c:v>
                </c:pt>
                <c:pt idx="16046">
                  <c:v>0.62724474089276572</c:v>
                </c:pt>
                <c:pt idx="16047">
                  <c:v>0.62750128270908156</c:v>
                </c:pt>
                <c:pt idx="16048">
                  <c:v>0.62390969728065682</c:v>
                </c:pt>
                <c:pt idx="16049">
                  <c:v>0.61210877373011829</c:v>
                </c:pt>
                <c:pt idx="16050">
                  <c:v>0.60569522832221678</c:v>
                </c:pt>
                <c:pt idx="16051">
                  <c:v>0.59979476654694719</c:v>
                </c:pt>
                <c:pt idx="16052">
                  <c:v>0.59876859928168313</c:v>
                </c:pt>
                <c:pt idx="16053">
                  <c:v>0.59312467932272983</c:v>
                </c:pt>
                <c:pt idx="16054">
                  <c:v>0.59825551564905077</c:v>
                </c:pt>
                <c:pt idx="16055">
                  <c:v>0.58850692662904081</c:v>
                </c:pt>
                <c:pt idx="16056">
                  <c:v>0.57542329399692149</c:v>
                </c:pt>
                <c:pt idx="16057">
                  <c:v>0.56849666495638806</c:v>
                </c:pt>
                <c:pt idx="16058">
                  <c:v>0.57773217034376612</c:v>
                </c:pt>
                <c:pt idx="16059">
                  <c:v>0.59107234479220128</c:v>
                </c:pt>
                <c:pt idx="16060">
                  <c:v>0.59594663930220637</c:v>
                </c:pt>
                <c:pt idx="16061">
                  <c:v>0.58158029758850693</c:v>
                </c:pt>
                <c:pt idx="16062">
                  <c:v>0.5844022575679837</c:v>
                </c:pt>
                <c:pt idx="16063">
                  <c:v>0.59620318111852244</c:v>
                </c:pt>
                <c:pt idx="16064">
                  <c:v>0.59825551564905077</c:v>
                </c:pt>
                <c:pt idx="16065">
                  <c:v>0.58799384299640844</c:v>
                </c:pt>
                <c:pt idx="16066">
                  <c:v>0.58491534120061583</c:v>
                </c:pt>
                <c:pt idx="16067">
                  <c:v>0.58978963571062093</c:v>
                </c:pt>
                <c:pt idx="16068">
                  <c:v>0.57106208311954876</c:v>
                </c:pt>
                <c:pt idx="16069">
                  <c:v>0.5551564905079529</c:v>
                </c:pt>
                <c:pt idx="16070">
                  <c:v>0.5528476141611085</c:v>
                </c:pt>
                <c:pt idx="16071">
                  <c:v>0.55079527963057995</c:v>
                </c:pt>
                <c:pt idx="16072">
                  <c:v>0.54669061056952284</c:v>
                </c:pt>
                <c:pt idx="16073">
                  <c:v>0.538224730631093</c:v>
                </c:pt>
                <c:pt idx="16074">
                  <c:v>0.5333504361210879</c:v>
                </c:pt>
                <c:pt idx="16075">
                  <c:v>0.53104155977424328</c:v>
                </c:pt>
                <c:pt idx="16076">
                  <c:v>0.52231913801949736</c:v>
                </c:pt>
                <c:pt idx="16077">
                  <c:v>0.52847614161108258</c:v>
                </c:pt>
                <c:pt idx="16078">
                  <c:v>0.52898922524371494</c:v>
                </c:pt>
                <c:pt idx="16079">
                  <c:v>0.52180605438686523</c:v>
                </c:pt>
                <c:pt idx="16080">
                  <c:v>0.5171883016931762</c:v>
                </c:pt>
                <c:pt idx="16081">
                  <c:v>0.51282709081580302</c:v>
                </c:pt>
                <c:pt idx="16082">
                  <c:v>0.50872242175474613</c:v>
                </c:pt>
                <c:pt idx="16083">
                  <c:v>0.50025654181631607</c:v>
                </c:pt>
                <c:pt idx="16084">
                  <c:v>0.50256541816316069</c:v>
                </c:pt>
                <c:pt idx="16085">
                  <c:v>0.49717804002052346</c:v>
                </c:pt>
                <c:pt idx="16086">
                  <c:v>0.47691123653155487</c:v>
                </c:pt>
                <c:pt idx="16087">
                  <c:v>0.49076449461262195</c:v>
                </c:pt>
                <c:pt idx="16088">
                  <c:v>0.48922524371472553</c:v>
                </c:pt>
                <c:pt idx="16089">
                  <c:v>0.48229861467419211</c:v>
                </c:pt>
                <c:pt idx="16090">
                  <c:v>0.47562852744997453</c:v>
                </c:pt>
                <c:pt idx="16091">
                  <c:v>0.47357619291944597</c:v>
                </c:pt>
                <c:pt idx="16092">
                  <c:v>0.47229348383786562</c:v>
                </c:pt>
                <c:pt idx="16093">
                  <c:v>0.47639815289892251</c:v>
                </c:pt>
                <c:pt idx="16094">
                  <c:v>0.46459722934838399</c:v>
                </c:pt>
                <c:pt idx="16095">
                  <c:v>0.46562339661364827</c:v>
                </c:pt>
                <c:pt idx="16096">
                  <c:v>0.46741918932786053</c:v>
                </c:pt>
                <c:pt idx="16097">
                  <c:v>0.45407901487942537</c:v>
                </c:pt>
                <c:pt idx="16098">
                  <c:v>0.45818368394048248</c:v>
                </c:pt>
                <c:pt idx="16099">
                  <c:v>0.45920985120574676</c:v>
                </c:pt>
                <c:pt idx="16100">
                  <c:v>0.45844022575679855</c:v>
                </c:pt>
                <c:pt idx="16101">
                  <c:v>0.45330938943047716</c:v>
                </c:pt>
                <c:pt idx="16102">
                  <c:v>0.44048229861467436</c:v>
                </c:pt>
                <c:pt idx="16103">
                  <c:v>0.43714725500256568</c:v>
                </c:pt>
                <c:pt idx="16104">
                  <c:v>0.42303745510518231</c:v>
                </c:pt>
                <c:pt idx="16105">
                  <c:v>0.41893278604412543</c:v>
                </c:pt>
                <c:pt idx="16106">
                  <c:v>0.42098512057465376</c:v>
                </c:pt>
                <c:pt idx="16107">
                  <c:v>0.41867624422780914</c:v>
                </c:pt>
                <c:pt idx="16108">
                  <c:v>0.42483324781939458</c:v>
                </c:pt>
                <c:pt idx="16109">
                  <c:v>0.43227296049256037</c:v>
                </c:pt>
                <c:pt idx="16110">
                  <c:v>0.43740379681888153</c:v>
                </c:pt>
                <c:pt idx="16111">
                  <c:v>0.43996921498204222</c:v>
                </c:pt>
                <c:pt idx="16112">
                  <c:v>0.43150333504361216</c:v>
                </c:pt>
                <c:pt idx="16113">
                  <c:v>0.42945100051308382</c:v>
                </c:pt>
                <c:pt idx="16114">
                  <c:v>0.43483837865572106</c:v>
                </c:pt>
                <c:pt idx="16115">
                  <c:v>0.4320164186762443</c:v>
                </c:pt>
                <c:pt idx="16116">
                  <c:v>0.42508978963571065</c:v>
                </c:pt>
                <c:pt idx="16117">
                  <c:v>0.42893791688045169</c:v>
                </c:pt>
                <c:pt idx="16118">
                  <c:v>0.43175987685992845</c:v>
                </c:pt>
                <c:pt idx="16119">
                  <c:v>0.42611595690097515</c:v>
                </c:pt>
                <c:pt idx="16120">
                  <c:v>0.43329912775782464</c:v>
                </c:pt>
                <c:pt idx="16121">
                  <c:v>0.43996921498204222</c:v>
                </c:pt>
                <c:pt idx="16122">
                  <c:v>0.41995895330938948</c:v>
                </c:pt>
                <c:pt idx="16123">
                  <c:v>0.41380194971780404</c:v>
                </c:pt>
                <c:pt idx="16124">
                  <c:v>0.40841457157516681</c:v>
                </c:pt>
                <c:pt idx="16125">
                  <c:v>0.39635710620831199</c:v>
                </c:pt>
                <c:pt idx="16126">
                  <c:v>0.39096972806567476</c:v>
                </c:pt>
                <c:pt idx="16127">
                  <c:v>0.38378655720882504</c:v>
                </c:pt>
                <c:pt idx="16128">
                  <c:v>0.36967675731144189</c:v>
                </c:pt>
                <c:pt idx="16129">
                  <c:v>0.37018984094407381</c:v>
                </c:pt>
                <c:pt idx="16130">
                  <c:v>0.37557721908671127</c:v>
                </c:pt>
                <c:pt idx="16131">
                  <c:v>0.36095433555669576</c:v>
                </c:pt>
                <c:pt idx="16132">
                  <c:v>0.34171369933299123</c:v>
                </c:pt>
                <c:pt idx="16133">
                  <c:v>0.35197537198563378</c:v>
                </c:pt>
                <c:pt idx="16134">
                  <c:v>0.36788096459722941</c:v>
                </c:pt>
                <c:pt idx="16135">
                  <c:v>0.38173422267829671</c:v>
                </c:pt>
                <c:pt idx="16136">
                  <c:v>0.39173935351462297</c:v>
                </c:pt>
                <c:pt idx="16137">
                  <c:v>0.39430477167778366</c:v>
                </c:pt>
                <c:pt idx="16138">
                  <c:v>0.40148794253463338</c:v>
                </c:pt>
                <c:pt idx="16139">
                  <c:v>0.40738840430990253</c:v>
                </c:pt>
                <c:pt idx="16140">
                  <c:v>0.39994869163673696</c:v>
                </c:pt>
                <c:pt idx="16141">
                  <c:v>0.38917393535146227</c:v>
                </c:pt>
                <c:pt idx="16142">
                  <c:v>0.39096972806567476</c:v>
                </c:pt>
                <c:pt idx="16143">
                  <c:v>0.38891739353514643</c:v>
                </c:pt>
                <c:pt idx="16144">
                  <c:v>0.38609543355566966</c:v>
                </c:pt>
                <c:pt idx="16145">
                  <c:v>0.37814263724987174</c:v>
                </c:pt>
                <c:pt idx="16146">
                  <c:v>0.36967675731144189</c:v>
                </c:pt>
                <c:pt idx="16147">
                  <c:v>0.35941508465879957</c:v>
                </c:pt>
                <c:pt idx="16148">
                  <c:v>0.36890713186249369</c:v>
                </c:pt>
                <c:pt idx="16149">
                  <c:v>0.3730118009235508</c:v>
                </c:pt>
                <c:pt idx="16150">
                  <c:v>0.34992303745510522</c:v>
                </c:pt>
                <c:pt idx="16151">
                  <c:v>0.34633145202668048</c:v>
                </c:pt>
                <c:pt idx="16152">
                  <c:v>0.35813237557721922</c:v>
                </c:pt>
                <c:pt idx="16153">
                  <c:v>0.36121087737301205</c:v>
                </c:pt>
                <c:pt idx="16154">
                  <c:v>0.38276038994356099</c:v>
                </c:pt>
                <c:pt idx="16155">
                  <c:v>0.39456131349409973</c:v>
                </c:pt>
                <c:pt idx="16156">
                  <c:v>0.39994869163673696</c:v>
                </c:pt>
                <c:pt idx="16157">
                  <c:v>0.38558234992303753</c:v>
                </c:pt>
                <c:pt idx="16158">
                  <c:v>0.38173422267829671</c:v>
                </c:pt>
                <c:pt idx="16159">
                  <c:v>0.41380194971780404</c:v>
                </c:pt>
                <c:pt idx="16160">
                  <c:v>0.4166239096972808</c:v>
                </c:pt>
                <c:pt idx="16161">
                  <c:v>0.42226782965623411</c:v>
                </c:pt>
                <c:pt idx="16162">
                  <c:v>0.43227296049256037</c:v>
                </c:pt>
                <c:pt idx="16163">
                  <c:v>0.43073370959466417</c:v>
                </c:pt>
                <c:pt idx="16164">
                  <c:v>0.43945613134941008</c:v>
                </c:pt>
                <c:pt idx="16165">
                  <c:v>0.42996408414571596</c:v>
                </c:pt>
                <c:pt idx="16166">
                  <c:v>0.43124679322729609</c:v>
                </c:pt>
                <c:pt idx="16167">
                  <c:v>0.44920472036942027</c:v>
                </c:pt>
                <c:pt idx="16168">
                  <c:v>0.46228835300153936</c:v>
                </c:pt>
                <c:pt idx="16169">
                  <c:v>0.46459722934838399</c:v>
                </c:pt>
                <c:pt idx="16170">
                  <c:v>0.46126218573627509</c:v>
                </c:pt>
                <c:pt idx="16171">
                  <c:v>0.45818368394048248</c:v>
                </c:pt>
                <c:pt idx="16172">
                  <c:v>0.47357619291944597</c:v>
                </c:pt>
                <c:pt idx="16173">
                  <c:v>0.47768086198050308</c:v>
                </c:pt>
                <c:pt idx="16174">
                  <c:v>0.48255515649050795</c:v>
                </c:pt>
                <c:pt idx="16175">
                  <c:v>0.48973832734735767</c:v>
                </c:pt>
                <c:pt idx="16176">
                  <c:v>0.4815289892252439</c:v>
                </c:pt>
                <c:pt idx="16177">
                  <c:v>0.46716264751154446</c:v>
                </c:pt>
                <c:pt idx="16178">
                  <c:v>0.46254489481785543</c:v>
                </c:pt>
                <c:pt idx="16179">
                  <c:v>0.45741405849153427</c:v>
                </c:pt>
                <c:pt idx="16180">
                  <c:v>0.45818368394048248</c:v>
                </c:pt>
                <c:pt idx="16181">
                  <c:v>0.45510518214468965</c:v>
                </c:pt>
                <c:pt idx="16182">
                  <c:v>0.45228322216521311</c:v>
                </c:pt>
                <c:pt idx="16183">
                  <c:v>0.45356593124679323</c:v>
                </c:pt>
                <c:pt idx="16184">
                  <c:v>0.44381734222678304</c:v>
                </c:pt>
                <c:pt idx="16185">
                  <c:v>0.43842996408414581</c:v>
                </c:pt>
                <c:pt idx="16186">
                  <c:v>0.43252950230887666</c:v>
                </c:pt>
                <c:pt idx="16187">
                  <c:v>0.42432016418676266</c:v>
                </c:pt>
                <c:pt idx="16188">
                  <c:v>0.42226782965623411</c:v>
                </c:pt>
                <c:pt idx="16189">
                  <c:v>0.40815802975885074</c:v>
                </c:pt>
                <c:pt idx="16190">
                  <c:v>0.40379681888147778</c:v>
                </c:pt>
                <c:pt idx="16191">
                  <c:v>0.41200615700359178</c:v>
                </c:pt>
                <c:pt idx="16192">
                  <c:v>0.42457670600307873</c:v>
                </c:pt>
                <c:pt idx="16193">
                  <c:v>0.42406362237044637</c:v>
                </c:pt>
                <c:pt idx="16194">
                  <c:v>0.39994869163673696</c:v>
                </c:pt>
                <c:pt idx="16195">
                  <c:v>0.38968701898409464</c:v>
                </c:pt>
                <c:pt idx="16196">
                  <c:v>0.39840944073884055</c:v>
                </c:pt>
                <c:pt idx="16197">
                  <c:v>0.38994356080041048</c:v>
                </c:pt>
                <c:pt idx="16198">
                  <c:v>0.40379681888147778</c:v>
                </c:pt>
                <c:pt idx="16199">
                  <c:v>0.41354540790148819</c:v>
                </c:pt>
                <c:pt idx="16200">
                  <c:v>0.42662904053360706</c:v>
                </c:pt>
                <c:pt idx="16201">
                  <c:v>0.42893791688045169</c:v>
                </c:pt>
                <c:pt idx="16202">
                  <c:v>0.42893791688045169</c:v>
                </c:pt>
                <c:pt idx="16203">
                  <c:v>0.43791688045151367</c:v>
                </c:pt>
                <c:pt idx="16204">
                  <c:v>0.43971267316572615</c:v>
                </c:pt>
                <c:pt idx="16205">
                  <c:v>0.43919958953309401</c:v>
                </c:pt>
                <c:pt idx="16206">
                  <c:v>0.44304771677783483</c:v>
                </c:pt>
                <c:pt idx="16207">
                  <c:v>0.45895330938943046</c:v>
                </c:pt>
                <c:pt idx="16208">
                  <c:v>0.47203694202154978</c:v>
                </c:pt>
                <c:pt idx="16209">
                  <c:v>0.46844535659312481</c:v>
                </c:pt>
                <c:pt idx="16210">
                  <c:v>0.46074910210364295</c:v>
                </c:pt>
                <c:pt idx="16211">
                  <c:v>0.4628014366341715</c:v>
                </c:pt>
                <c:pt idx="16212">
                  <c:v>0.46382760389943578</c:v>
                </c:pt>
                <c:pt idx="16213">
                  <c:v>0.46023601847101103</c:v>
                </c:pt>
                <c:pt idx="16214">
                  <c:v>0.46074910210364295</c:v>
                </c:pt>
                <c:pt idx="16215">
                  <c:v>0.46074910210364295</c:v>
                </c:pt>
                <c:pt idx="16216">
                  <c:v>0.47075423293996921</c:v>
                </c:pt>
                <c:pt idx="16217">
                  <c:v>0.47973319651103141</c:v>
                </c:pt>
                <c:pt idx="16218">
                  <c:v>0.47742432016418701</c:v>
                </c:pt>
                <c:pt idx="16219">
                  <c:v>0.46947152385838908</c:v>
                </c:pt>
                <c:pt idx="16220">
                  <c:v>0.46511031298101591</c:v>
                </c:pt>
                <c:pt idx="16221">
                  <c:v>0.46639302206259625</c:v>
                </c:pt>
                <c:pt idx="16222">
                  <c:v>0.47357619291944597</c:v>
                </c:pt>
                <c:pt idx="16223">
                  <c:v>0.47511544381734239</c:v>
                </c:pt>
                <c:pt idx="16224">
                  <c:v>0.47691123653155487</c:v>
                </c:pt>
                <c:pt idx="16225">
                  <c:v>0.48563365828630078</c:v>
                </c:pt>
                <c:pt idx="16226">
                  <c:v>0.48768599281682934</c:v>
                </c:pt>
                <c:pt idx="16227">
                  <c:v>0.4871729091841972</c:v>
                </c:pt>
                <c:pt idx="16228">
                  <c:v>0.48794253463314541</c:v>
                </c:pt>
                <c:pt idx="16229">
                  <c:v>0.48512057465366865</c:v>
                </c:pt>
                <c:pt idx="16230">
                  <c:v>0.4733196511031299</c:v>
                </c:pt>
                <c:pt idx="16231">
                  <c:v>0.45946639302206282</c:v>
                </c:pt>
                <c:pt idx="16232">
                  <c:v>0.44253463314520269</c:v>
                </c:pt>
                <c:pt idx="16233">
                  <c:v>0.43996921498204222</c:v>
                </c:pt>
                <c:pt idx="16234">
                  <c:v>0.43381221139045678</c:v>
                </c:pt>
                <c:pt idx="16235">
                  <c:v>0.43227296049256037</c:v>
                </c:pt>
                <c:pt idx="16236">
                  <c:v>0.42996408414571596</c:v>
                </c:pt>
                <c:pt idx="16237">
                  <c:v>0.42919445869676776</c:v>
                </c:pt>
                <c:pt idx="16238">
                  <c:v>0.42816829143150348</c:v>
                </c:pt>
                <c:pt idx="16239">
                  <c:v>0.42893791688045169</c:v>
                </c:pt>
                <c:pt idx="16240">
                  <c:v>0.43047716777834788</c:v>
                </c:pt>
                <c:pt idx="16241">
                  <c:v>0.43227296049256037</c:v>
                </c:pt>
                <c:pt idx="16242">
                  <c:v>0.42842483324781955</c:v>
                </c:pt>
                <c:pt idx="16243">
                  <c:v>0.42226782965623411</c:v>
                </c:pt>
                <c:pt idx="16244">
                  <c:v>0.42278091328886624</c:v>
                </c:pt>
                <c:pt idx="16245">
                  <c:v>0.41739353514622901</c:v>
                </c:pt>
                <c:pt idx="16246">
                  <c:v>0.41867624422780914</c:v>
                </c:pt>
                <c:pt idx="16247">
                  <c:v>0.40713186249358668</c:v>
                </c:pt>
                <c:pt idx="16248">
                  <c:v>0.39994869163673696</c:v>
                </c:pt>
                <c:pt idx="16249">
                  <c:v>0.39610056439199615</c:v>
                </c:pt>
                <c:pt idx="16250">
                  <c:v>0.40584915341200611</c:v>
                </c:pt>
                <c:pt idx="16251">
                  <c:v>0.40456644433042599</c:v>
                </c:pt>
                <c:pt idx="16252">
                  <c:v>0.40738840430990253</c:v>
                </c:pt>
                <c:pt idx="16253">
                  <c:v>0.41200615700359178</c:v>
                </c:pt>
                <c:pt idx="16254">
                  <c:v>0.40661877886095432</c:v>
                </c:pt>
                <c:pt idx="16255">
                  <c:v>0.38866085171883036</c:v>
                </c:pt>
                <c:pt idx="16256">
                  <c:v>0.39481785531041558</c:v>
                </c:pt>
                <c:pt idx="16257">
                  <c:v>0.39969214982042089</c:v>
                </c:pt>
                <c:pt idx="16258">
                  <c:v>0.41200615700359178</c:v>
                </c:pt>
                <c:pt idx="16259">
                  <c:v>0.41200615700359178</c:v>
                </c:pt>
                <c:pt idx="16260">
                  <c:v>0.40738840430990253</c:v>
                </c:pt>
                <c:pt idx="16261">
                  <c:v>0.42175474602360197</c:v>
                </c:pt>
                <c:pt idx="16262">
                  <c:v>0.42611595690097515</c:v>
                </c:pt>
                <c:pt idx="16263">
                  <c:v>0.42226782965623411</c:v>
                </c:pt>
                <c:pt idx="16264">
                  <c:v>0.43996921498204222</c:v>
                </c:pt>
                <c:pt idx="16265">
                  <c:v>0.45177013853258097</c:v>
                </c:pt>
                <c:pt idx="16266">
                  <c:v>0.44766546947152386</c:v>
                </c:pt>
                <c:pt idx="16267">
                  <c:v>0.44433042585941518</c:v>
                </c:pt>
                <c:pt idx="16268">
                  <c:v>0.44433042585941518</c:v>
                </c:pt>
                <c:pt idx="16269">
                  <c:v>0.4409953822473065</c:v>
                </c:pt>
                <c:pt idx="16270">
                  <c:v>0.4466393022062598</c:v>
                </c:pt>
                <c:pt idx="16271">
                  <c:v>0.44997434581836848</c:v>
                </c:pt>
                <c:pt idx="16272">
                  <c:v>0.44971780400205241</c:v>
                </c:pt>
                <c:pt idx="16273">
                  <c:v>0.43329912775782464</c:v>
                </c:pt>
                <c:pt idx="16274">
                  <c:v>0.42483324781939458</c:v>
                </c:pt>
                <c:pt idx="16275">
                  <c:v>0.42201128783991804</c:v>
                </c:pt>
                <c:pt idx="16276">
                  <c:v>0.41970241149307363</c:v>
                </c:pt>
                <c:pt idx="16277">
                  <c:v>0.42791174961518741</c:v>
                </c:pt>
                <c:pt idx="16278">
                  <c:v>0.43099025141098024</c:v>
                </c:pt>
                <c:pt idx="16279">
                  <c:v>0.43304258594150857</c:v>
                </c:pt>
                <c:pt idx="16280">
                  <c:v>0.43612108773730118</c:v>
                </c:pt>
                <c:pt idx="16281">
                  <c:v>0.43612108773730118</c:v>
                </c:pt>
                <c:pt idx="16282">
                  <c:v>0.42996408414571596</c:v>
                </c:pt>
                <c:pt idx="16283">
                  <c:v>0.41841970241149307</c:v>
                </c:pt>
                <c:pt idx="16284">
                  <c:v>0.41277578245253999</c:v>
                </c:pt>
                <c:pt idx="16285">
                  <c:v>0.41123653155464357</c:v>
                </c:pt>
                <c:pt idx="16286">
                  <c:v>0.40995382247306322</c:v>
                </c:pt>
                <c:pt idx="16287">
                  <c:v>0.41200615700359178</c:v>
                </c:pt>
                <c:pt idx="16288">
                  <c:v>0.40430990251410992</c:v>
                </c:pt>
                <c:pt idx="16289">
                  <c:v>0.39353514622883545</c:v>
                </c:pt>
                <c:pt idx="16290">
                  <c:v>0.3914828116983069</c:v>
                </c:pt>
                <c:pt idx="16291">
                  <c:v>0.3809645972293485</c:v>
                </c:pt>
                <c:pt idx="16292">
                  <c:v>0.38635197537198573</c:v>
                </c:pt>
                <c:pt idx="16293">
                  <c:v>0.37172909184197023</c:v>
                </c:pt>
                <c:pt idx="16294">
                  <c:v>0.3858388917393536</c:v>
                </c:pt>
                <c:pt idx="16295">
                  <c:v>0.39994869163673696</c:v>
                </c:pt>
                <c:pt idx="16296">
                  <c:v>0.4053360697793742</c:v>
                </c:pt>
                <c:pt idx="16297">
                  <c:v>0.42688558234992313</c:v>
                </c:pt>
                <c:pt idx="16298">
                  <c:v>0.43689071318624939</c:v>
                </c:pt>
                <c:pt idx="16299">
                  <c:v>0.43971267316572615</c:v>
                </c:pt>
                <c:pt idx="16300">
                  <c:v>0.44073884043099021</c:v>
                </c:pt>
                <c:pt idx="16301">
                  <c:v>0.43483837865572106</c:v>
                </c:pt>
                <c:pt idx="16302">
                  <c:v>0.42996408414571596</c:v>
                </c:pt>
                <c:pt idx="16303">
                  <c:v>0.43509492047203691</c:v>
                </c:pt>
                <c:pt idx="16304">
                  <c:v>0.44279117496151899</c:v>
                </c:pt>
                <c:pt idx="16305">
                  <c:v>0.43150333504361216</c:v>
                </c:pt>
                <c:pt idx="16306">
                  <c:v>0.41174961518727571</c:v>
                </c:pt>
                <c:pt idx="16307">
                  <c:v>0.40405336069779385</c:v>
                </c:pt>
                <c:pt idx="16308">
                  <c:v>0.41534120061570046</c:v>
                </c:pt>
                <c:pt idx="16309">
                  <c:v>0.42278091328886624</c:v>
                </c:pt>
                <c:pt idx="16310">
                  <c:v>0.41559774243201653</c:v>
                </c:pt>
                <c:pt idx="16311">
                  <c:v>0.42355053873781445</c:v>
                </c:pt>
                <c:pt idx="16312">
                  <c:v>0.43252950230887666</c:v>
                </c:pt>
                <c:pt idx="16313">
                  <c:v>0.41918932786044127</c:v>
                </c:pt>
                <c:pt idx="16314">
                  <c:v>0.43612108773730118</c:v>
                </c:pt>
                <c:pt idx="16315">
                  <c:v>0.44356080041046719</c:v>
                </c:pt>
                <c:pt idx="16316">
                  <c:v>0.44484350949204732</c:v>
                </c:pt>
                <c:pt idx="16317">
                  <c:v>0.45767060030785034</c:v>
                </c:pt>
                <c:pt idx="16318">
                  <c:v>0.43560800410466927</c:v>
                </c:pt>
                <c:pt idx="16319">
                  <c:v>0.42662904053360706</c:v>
                </c:pt>
                <c:pt idx="16320">
                  <c:v>0.43996921498204222</c:v>
                </c:pt>
                <c:pt idx="16321">
                  <c:v>0.45510518214468965</c:v>
                </c:pt>
                <c:pt idx="16322">
                  <c:v>0.45869676757311462</c:v>
                </c:pt>
                <c:pt idx="16323">
                  <c:v>0.45664443304258606</c:v>
                </c:pt>
                <c:pt idx="16324">
                  <c:v>0.47203694202154978</c:v>
                </c:pt>
                <c:pt idx="16325">
                  <c:v>0.4676757311441766</c:v>
                </c:pt>
                <c:pt idx="16326">
                  <c:v>0.46408414571575185</c:v>
                </c:pt>
                <c:pt idx="16327">
                  <c:v>0.46921498204207301</c:v>
                </c:pt>
                <c:pt idx="16328">
                  <c:v>0.48512057465366865</c:v>
                </c:pt>
                <c:pt idx="16329">
                  <c:v>0.4976911236531556</c:v>
                </c:pt>
                <c:pt idx="16330">
                  <c:v>0.49820420728578774</c:v>
                </c:pt>
                <c:pt idx="16331">
                  <c:v>0.48999486916367374</c:v>
                </c:pt>
                <c:pt idx="16332">
                  <c:v>0.49846074910210358</c:v>
                </c:pt>
                <c:pt idx="16333">
                  <c:v>0.50769625448948208</c:v>
                </c:pt>
                <c:pt idx="16334">
                  <c:v>0.52642380708055425</c:v>
                </c:pt>
                <c:pt idx="16335">
                  <c:v>0.53129810159055935</c:v>
                </c:pt>
                <c:pt idx="16336">
                  <c:v>0.54258594150846617</c:v>
                </c:pt>
                <c:pt idx="16337">
                  <c:v>0.54925602873268353</c:v>
                </c:pt>
                <c:pt idx="16338">
                  <c:v>0.53694202154951265</c:v>
                </c:pt>
                <c:pt idx="16339">
                  <c:v>0.53694202154951265</c:v>
                </c:pt>
                <c:pt idx="16340">
                  <c:v>0.53642893791688051</c:v>
                </c:pt>
                <c:pt idx="16341">
                  <c:v>0.5333504361210879</c:v>
                </c:pt>
                <c:pt idx="16342">
                  <c:v>0.52129297075423309</c:v>
                </c:pt>
                <c:pt idx="16343">
                  <c:v>0.51308363263211909</c:v>
                </c:pt>
                <c:pt idx="16344">
                  <c:v>0.51308363263211909</c:v>
                </c:pt>
                <c:pt idx="16345">
                  <c:v>0.51359671626475123</c:v>
                </c:pt>
                <c:pt idx="16346">
                  <c:v>0.51257054899948695</c:v>
                </c:pt>
                <c:pt idx="16347">
                  <c:v>0.5171883016931762</c:v>
                </c:pt>
                <c:pt idx="16348">
                  <c:v>0.51975371985633667</c:v>
                </c:pt>
                <c:pt idx="16349">
                  <c:v>0.5171883016931762</c:v>
                </c:pt>
                <c:pt idx="16350">
                  <c:v>0.51000513083632648</c:v>
                </c:pt>
                <c:pt idx="16351">
                  <c:v>0.51282709081580302</c:v>
                </c:pt>
                <c:pt idx="16352">
                  <c:v>0.51103129810159054</c:v>
                </c:pt>
                <c:pt idx="16353">
                  <c:v>0.51462288353001551</c:v>
                </c:pt>
                <c:pt idx="16354">
                  <c:v>0.51051821446895862</c:v>
                </c:pt>
                <c:pt idx="16355">
                  <c:v>0.51410979989738337</c:v>
                </c:pt>
                <c:pt idx="16356">
                  <c:v>0.51282709081580302</c:v>
                </c:pt>
                <c:pt idx="16357">
                  <c:v>0.52231913801949736</c:v>
                </c:pt>
                <c:pt idx="16358">
                  <c:v>0.51257054899948695</c:v>
                </c:pt>
                <c:pt idx="16359">
                  <c:v>0.50974858902001041</c:v>
                </c:pt>
                <c:pt idx="16360">
                  <c:v>0.50667008722421758</c:v>
                </c:pt>
                <c:pt idx="16361">
                  <c:v>0.5033350436121089</c:v>
                </c:pt>
                <c:pt idx="16362">
                  <c:v>0.50590046177526959</c:v>
                </c:pt>
                <c:pt idx="16363">
                  <c:v>0.49512570548999513</c:v>
                </c:pt>
                <c:pt idx="16364">
                  <c:v>0.48024628014366355</c:v>
                </c:pt>
                <c:pt idx="16365">
                  <c:v>0.48024628014366355</c:v>
                </c:pt>
                <c:pt idx="16366">
                  <c:v>0.47357619291944597</c:v>
                </c:pt>
                <c:pt idx="16367">
                  <c:v>0.47126731657260157</c:v>
                </c:pt>
                <c:pt idx="16368">
                  <c:v>0.4643406875320677</c:v>
                </c:pt>
                <c:pt idx="16369">
                  <c:v>0.46151872755259116</c:v>
                </c:pt>
                <c:pt idx="16370">
                  <c:v>0.46074910210364295</c:v>
                </c:pt>
                <c:pt idx="16371">
                  <c:v>0.4620318111852233</c:v>
                </c:pt>
                <c:pt idx="16372">
                  <c:v>0.44638276038994373</c:v>
                </c:pt>
                <c:pt idx="16373">
                  <c:v>0.44227809132888662</c:v>
                </c:pt>
                <c:pt idx="16374">
                  <c:v>0.45844022575679855</c:v>
                </c:pt>
                <c:pt idx="16375">
                  <c:v>0.46664956387891232</c:v>
                </c:pt>
                <c:pt idx="16376">
                  <c:v>0.47485890200102632</c:v>
                </c:pt>
                <c:pt idx="16377">
                  <c:v>0.47460236018471025</c:v>
                </c:pt>
                <c:pt idx="16378">
                  <c:v>0.47511544381734239</c:v>
                </c:pt>
                <c:pt idx="16379">
                  <c:v>0.47768086198050308</c:v>
                </c:pt>
                <c:pt idx="16380">
                  <c:v>0.47049769112365336</c:v>
                </c:pt>
                <c:pt idx="16381">
                  <c:v>0.46895844022575695</c:v>
                </c:pt>
                <c:pt idx="16382">
                  <c:v>0.46895844022575695</c:v>
                </c:pt>
                <c:pt idx="16383">
                  <c:v>0.47280656747049776</c:v>
                </c:pt>
                <c:pt idx="16384">
                  <c:v>0.47562852744997453</c:v>
                </c:pt>
                <c:pt idx="16385">
                  <c:v>0.47280656747049776</c:v>
                </c:pt>
                <c:pt idx="16386">
                  <c:v>0.47408927655207811</c:v>
                </c:pt>
                <c:pt idx="16387">
                  <c:v>0.47306310928681383</c:v>
                </c:pt>
                <c:pt idx="16388">
                  <c:v>0.46074910210364295</c:v>
                </c:pt>
                <c:pt idx="16389">
                  <c:v>0.45100051308363276</c:v>
                </c:pt>
                <c:pt idx="16390">
                  <c:v>0.43663417136993332</c:v>
                </c:pt>
                <c:pt idx="16391">
                  <c:v>0.45074397126731669</c:v>
                </c:pt>
                <c:pt idx="16392">
                  <c:v>0.45356593124679323</c:v>
                </c:pt>
                <c:pt idx="16393">
                  <c:v>0.46254489481785543</c:v>
                </c:pt>
                <c:pt idx="16394">
                  <c:v>0.47075423293996921</c:v>
                </c:pt>
                <c:pt idx="16395">
                  <c:v>0.45895330938943046</c:v>
                </c:pt>
                <c:pt idx="16396">
                  <c:v>0.45484864032837358</c:v>
                </c:pt>
                <c:pt idx="16397">
                  <c:v>0.46639302206259625</c:v>
                </c:pt>
                <c:pt idx="16398">
                  <c:v>0.47049769112365336</c:v>
                </c:pt>
                <c:pt idx="16399">
                  <c:v>0.46228835300153936</c:v>
                </c:pt>
                <c:pt idx="16400">
                  <c:v>0.45741405849153427</c:v>
                </c:pt>
                <c:pt idx="16401">
                  <c:v>0.46074910210364295</c:v>
                </c:pt>
                <c:pt idx="16402">
                  <c:v>0.46459722934838399</c:v>
                </c:pt>
                <c:pt idx="16403">
                  <c:v>0.46587993842996411</c:v>
                </c:pt>
                <c:pt idx="16404">
                  <c:v>0.46741918932786053</c:v>
                </c:pt>
                <c:pt idx="16405">
                  <c:v>0.46074910210364295</c:v>
                </c:pt>
                <c:pt idx="16406">
                  <c:v>0.45920985120574676</c:v>
                </c:pt>
                <c:pt idx="16407">
                  <c:v>0.47537198563365846</c:v>
                </c:pt>
                <c:pt idx="16408">
                  <c:v>0.46613648024628018</c:v>
                </c:pt>
                <c:pt idx="16409">
                  <c:v>0.45536172396100572</c:v>
                </c:pt>
                <c:pt idx="16410">
                  <c:v>0.45664443304258606</c:v>
                </c:pt>
                <c:pt idx="16411">
                  <c:v>0.4320164186762443</c:v>
                </c:pt>
                <c:pt idx="16412">
                  <c:v>0.41457157516675225</c:v>
                </c:pt>
                <c:pt idx="16413">
                  <c:v>0.41790661877886115</c:v>
                </c:pt>
                <c:pt idx="16414">
                  <c:v>0.43894304771677795</c:v>
                </c:pt>
                <c:pt idx="16415">
                  <c:v>0.44715238583889172</c:v>
                </c:pt>
                <c:pt idx="16416">
                  <c:v>0.45510518214468965</c:v>
                </c:pt>
                <c:pt idx="16417">
                  <c:v>0.45407901487942537</c:v>
                </c:pt>
                <c:pt idx="16418">
                  <c:v>0.4620318111852233</c:v>
                </c:pt>
                <c:pt idx="16419">
                  <c:v>0.47280656747049776</c:v>
                </c:pt>
                <c:pt idx="16420">
                  <c:v>0.4620318111852233</c:v>
                </c:pt>
                <c:pt idx="16421">
                  <c:v>0.46972806567470515</c:v>
                </c:pt>
                <c:pt idx="16422">
                  <c:v>0.48024628014366355</c:v>
                </c:pt>
                <c:pt idx="16423">
                  <c:v>0.48024628014366355</c:v>
                </c:pt>
                <c:pt idx="16424">
                  <c:v>0.50179579271421249</c:v>
                </c:pt>
                <c:pt idx="16425">
                  <c:v>0.49461262185736277</c:v>
                </c:pt>
                <c:pt idx="16426">
                  <c:v>0.5115443817342229</c:v>
                </c:pt>
                <c:pt idx="16427">
                  <c:v>0.51026167265264233</c:v>
                </c:pt>
                <c:pt idx="16428">
                  <c:v>0.52898922524371494</c:v>
                </c:pt>
                <c:pt idx="16429">
                  <c:v>0.52616726526423818</c:v>
                </c:pt>
                <c:pt idx="16430">
                  <c:v>0.530015392508979</c:v>
                </c:pt>
                <c:pt idx="16431">
                  <c:v>0.51539250897896371</c:v>
                </c:pt>
                <c:pt idx="16432">
                  <c:v>0.51334017444843516</c:v>
                </c:pt>
                <c:pt idx="16433">
                  <c:v>0.51026167265264233</c:v>
                </c:pt>
                <c:pt idx="16434">
                  <c:v>0.51564905079527978</c:v>
                </c:pt>
                <c:pt idx="16435">
                  <c:v>0.5171883016931762</c:v>
                </c:pt>
                <c:pt idx="16436">
                  <c:v>0.49486916367367906</c:v>
                </c:pt>
                <c:pt idx="16437">
                  <c:v>0.50384812724474104</c:v>
                </c:pt>
                <c:pt idx="16438">
                  <c:v>0.51795792714212441</c:v>
                </c:pt>
                <c:pt idx="16439">
                  <c:v>0.52103642893791702</c:v>
                </c:pt>
                <c:pt idx="16440">
                  <c:v>0.51744484350949205</c:v>
                </c:pt>
                <c:pt idx="16441">
                  <c:v>0.52001026167265274</c:v>
                </c:pt>
                <c:pt idx="16442">
                  <c:v>0.52360184710107771</c:v>
                </c:pt>
                <c:pt idx="16443">
                  <c:v>0.50384812724474104</c:v>
                </c:pt>
                <c:pt idx="16444">
                  <c:v>0.53591585428424837</c:v>
                </c:pt>
                <c:pt idx="16445">
                  <c:v>0.54540790148794271</c:v>
                </c:pt>
                <c:pt idx="16446">
                  <c:v>0.54694715238583891</c:v>
                </c:pt>
                <c:pt idx="16447">
                  <c:v>0.55489994869163684</c:v>
                </c:pt>
                <c:pt idx="16448">
                  <c:v>0.55746536685479753</c:v>
                </c:pt>
                <c:pt idx="16449">
                  <c:v>0.55233453052847614</c:v>
                </c:pt>
                <c:pt idx="16450">
                  <c:v>0.55207798871216029</c:v>
                </c:pt>
                <c:pt idx="16451">
                  <c:v>0.5551564905079529</c:v>
                </c:pt>
                <c:pt idx="16452">
                  <c:v>0.54746023601847105</c:v>
                </c:pt>
                <c:pt idx="16453">
                  <c:v>0.53976398152898941</c:v>
                </c:pt>
                <c:pt idx="16454">
                  <c:v>0.53027193432529507</c:v>
                </c:pt>
                <c:pt idx="16455">
                  <c:v>0.53078501795792721</c:v>
                </c:pt>
                <c:pt idx="16456">
                  <c:v>0.52924576706003079</c:v>
                </c:pt>
                <c:pt idx="16457">
                  <c:v>0.52411493073370963</c:v>
                </c:pt>
                <c:pt idx="16458">
                  <c:v>0.51128783991790661</c:v>
                </c:pt>
                <c:pt idx="16459">
                  <c:v>0.51847101077475632</c:v>
                </c:pt>
                <c:pt idx="16460">
                  <c:v>0.52411493073370963</c:v>
                </c:pt>
                <c:pt idx="16461">
                  <c:v>0.52873268342739888</c:v>
                </c:pt>
                <c:pt idx="16462">
                  <c:v>0.52770651616213438</c:v>
                </c:pt>
                <c:pt idx="16463">
                  <c:v>0.52411493073370963</c:v>
                </c:pt>
                <c:pt idx="16464">
                  <c:v>0.53694202154951265</c:v>
                </c:pt>
                <c:pt idx="16465">
                  <c:v>0.53848127244740907</c:v>
                </c:pt>
                <c:pt idx="16466">
                  <c:v>0.54002052334530548</c:v>
                </c:pt>
                <c:pt idx="16467">
                  <c:v>0.53950743971267334</c:v>
                </c:pt>
                <c:pt idx="16468">
                  <c:v>0.53027193432529507</c:v>
                </c:pt>
                <c:pt idx="16469">
                  <c:v>0.53027193432529507</c:v>
                </c:pt>
                <c:pt idx="16470">
                  <c:v>0.52077988712160095</c:v>
                </c:pt>
                <c:pt idx="16471">
                  <c:v>0.51282709081580302</c:v>
                </c:pt>
                <c:pt idx="16472">
                  <c:v>0.5</c:v>
                </c:pt>
                <c:pt idx="16473">
                  <c:v>0.49743458183683953</c:v>
                </c:pt>
                <c:pt idx="16474">
                  <c:v>0.48742945100051305</c:v>
                </c:pt>
                <c:pt idx="16475">
                  <c:v>0.48101590559261154</c:v>
                </c:pt>
                <c:pt idx="16476">
                  <c:v>0.47280656747049776</c:v>
                </c:pt>
                <c:pt idx="16477">
                  <c:v>0.46536685479733197</c:v>
                </c:pt>
                <c:pt idx="16478">
                  <c:v>0.46562339661364827</c:v>
                </c:pt>
                <c:pt idx="16479">
                  <c:v>0.46562339661364827</c:v>
                </c:pt>
                <c:pt idx="16480">
                  <c:v>0.46357106208311949</c:v>
                </c:pt>
                <c:pt idx="16481">
                  <c:v>0.46459722934838399</c:v>
                </c:pt>
                <c:pt idx="16482">
                  <c:v>0.45100051308363276</c:v>
                </c:pt>
                <c:pt idx="16483">
                  <c:v>0.4620318111852233</c:v>
                </c:pt>
                <c:pt idx="16484">
                  <c:v>0.46895844022575695</c:v>
                </c:pt>
                <c:pt idx="16485">
                  <c:v>0.46870189840944088</c:v>
                </c:pt>
                <c:pt idx="16486">
                  <c:v>0.46716264751154446</c:v>
                </c:pt>
                <c:pt idx="16487">
                  <c:v>0.44586967675731159</c:v>
                </c:pt>
                <c:pt idx="16488">
                  <c:v>0.45613134940995392</c:v>
                </c:pt>
                <c:pt idx="16489">
                  <c:v>0.47537198563365846</c:v>
                </c:pt>
                <c:pt idx="16490">
                  <c:v>0.47845048742945129</c:v>
                </c:pt>
                <c:pt idx="16491">
                  <c:v>0.49435608004104692</c:v>
                </c:pt>
                <c:pt idx="16492">
                  <c:v>0.49384299640841456</c:v>
                </c:pt>
                <c:pt idx="16493">
                  <c:v>0.50410466906105711</c:v>
                </c:pt>
                <c:pt idx="16494">
                  <c:v>0.50538737814263746</c:v>
                </c:pt>
                <c:pt idx="16495">
                  <c:v>0.49794766546947167</c:v>
                </c:pt>
                <c:pt idx="16496">
                  <c:v>0.4928168291431505</c:v>
                </c:pt>
                <c:pt idx="16497">
                  <c:v>0.49025141097999003</c:v>
                </c:pt>
                <c:pt idx="16498">
                  <c:v>0.49256028732683443</c:v>
                </c:pt>
                <c:pt idx="16499">
                  <c:v>0.49640841457157525</c:v>
                </c:pt>
                <c:pt idx="16500">
                  <c:v>0.49153412006157016</c:v>
                </c:pt>
                <c:pt idx="16501">
                  <c:v>0.49025141097999003</c:v>
                </c:pt>
                <c:pt idx="16502">
                  <c:v>0.49615187275525918</c:v>
                </c:pt>
                <c:pt idx="16503">
                  <c:v>0.49179066187788623</c:v>
                </c:pt>
                <c:pt idx="16504">
                  <c:v>0.4920472036942023</c:v>
                </c:pt>
                <c:pt idx="16505">
                  <c:v>0.49743458183683953</c:v>
                </c:pt>
                <c:pt idx="16506">
                  <c:v>0.4871729091841972</c:v>
                </c:pt>
                <c:pt idx="16507">
                  <c:v>0.4789635710620832</c:v>
                </c:pt>
                <c:pt idx="16508">
                  <c:v>0.4766546947152388</c:v>
                </c:pt>
                <c:pt idx="16509">
                  <c:v>0.47049769112365336</c:v>
                </c:pt>
                <c:pt idx="16510">
                  <c:v>0.45920985120574676</c:v>
                </c:pt>
                <c:pt idx="16511">
                  <c:v>0.47793740379681893</c:v>
                </c:pt>
                <c:pt idx="16512">
                  <c:v>0.4815289892252439</c:v>
                </c:pt>
                <c:pt idx="16513">
                  <c:v>0.4789635710620832</c:v>
                </c:pt>
                <c:pt idx="16514">
                  <c:v>0.4789635710620832</c:v>
                </c:pt>
                <c:pt idx="16515">
                  <c:v>0.47742432016418701</c:v>
                </c:pt>
                <c:pt idx="16516">
                  <c:v>0.47998973832734748</c:v>
                </c:pt>
                <c:pt idx="16517">
                  <c:v>0.48589020010261685</c:v>
                </c:pt>
                <c:pt idx="16518">
                  <c:v>0.49153412006157016</c:v>
                </c:pt>
                <c:pt idx="16519">
                  <c:v>0.48691636736788113</c:v>
                </c:pt>
                <c:pt idx="16520">
                  <c:v>0.47768086198050308</c:v>
                </c:pt>
                <c:pt idx="16521">
                  <c:v>0.48101590559261154</c:v>
                </c:pt>
                <c:pt idx="16522">
                  <c:v>0.49076449461262195</c:v>
                </c:pt>
                <c:pt idx="16523">
                  <c:v>0.49230374551051836</c:v>
                </c:pt>
                <c:pt idx="16524">
                  <c:v>0.48589020010261685</c:v>
                </c:pt>
                <c:pt idx="16525">
                  <c:v>0.4733196511031299</c:v>
                </c:pt>
                <c:pt idx="16526">
                  <c:v>0.46126218573627509</c:v>
                </c:pt>
                <c:pt idx="16527">
                  <c:v>0.45484864032837358</c:v>
                </c:pt>
                <c:pt idx="16528">
                  <c:v>0.44766546947152386</c:v>
                </c:pt>
                <c:pt idx="16529">
                  <c:v>0.44227809132888662</c:v>
                </c:pt>
                <c:pt idx="16530">
                  <c:v>0.4409953822473065</c:v>
                </c:pt>
                <c:pt idx="16531">
                  <c:v>0.44202154951257078</c:v>
                </c:pt>
                <c:pt idx="16532">
                  <c:v>0.4489481785531042</c:v>
                </c:pt>
                <c:pt idx="16533">
                  <c:v>0.45202668034889704</c:v>
                </c:pt>
                <c:pt idx="16534">
                  <c:v>0.44792201128783993</c:v>
                </c:pt>
                <c:pt idx="16535">
                  <c:v>0.43663417136993332</c:v>
                </c:pt>
                <c:pt idx="16536">
                  <c:v>0.42868137506413562</c:v>
                </c:pt>
                <c:pt idx="16537">
                  <c:v>0.42226782965623411</c:v>
                </c:pt>
                <c:pt idx="16538">
                  <c:v>0.42252437147255018</c:v>
                </c:pt>
                <c:pt idx="16539">
                  <c:v>0.42252437147255018</c:v>
                </c:pt>
                <c:pt idx="16540">
                  <c:v>0.43047716777834788</c:v>
                </c:pt>
                <c:pt idx="16541">
                  <c:v>0.43355566957414071</c:v>
                </c:pt>
                <c:pt idx="16542">
                  <c:v>0.43560800410466927</c:v>
                </c:pt>
                <c:pt idx="16543">
                  <c:v>0.43329912775782464</c:v>
                </c:pt>
                <c:pt idx="16544">
                  <c:v>0.4466393022062598</c:v>
                </c:pt>
                <c:pt idx="16545">
                  <c:v>0.44535659312467946</c:v>
                </c:pt>
                <c:pt idx="16546">
                  <c:v>0.4466393022062598</c:v>
                </c:pt>
                <c:pt idx="16547">
                  <c:v>0.44997434581836848</c:v>
                </c:pt>
                <c:pt idx="16548">
                  <c:v>0.43817342226782974</c:v>
                </c:pt>
                <c:pt idx="16549">
                  <c:v>0.45382247306310952</c:v>
                </c:pt>
                <c:pt idx="16550">
                  <c:v>0.45202668034889704</c:v>
                </c:pt>
                <c:pt idx="16551">
                  <c:v>0.44561313494099553</c:v>
                </c:pt>
                <c:pt idx="16552">
                  <c:v>0.44458696767573125</c:v>
                </c:pt>
                <c:pt idx="16553">
                  <c:v>0.44048229861467436</c:v>
                </c:pt>
                <c:pt idx="16554">
                  <c:v>0.44202154951257078</c:v>
                </c:pt>
                <c:pt idx="16555">
                  <c:v>0.44766546947152386</c:v>
                </c:pt>
                <c:pt idx="16556">
                  <c:v>0.44561313494099553</c:v>
                </c:pt>
                <c:pt idx="16557">
                  <c:v>0.44304771677783483</c:v>
                </c:pt>
                <c:pt idx="16558">
                  <c:v>0.42970754232939967</c:v>
                </c:pt>
                <c:pt idx="16559">
                  <c:v>0.4214982042072859</c:v>
                </c:pt>
                <c:pt idx="16560">
                  <c:v>0.41970241149307363</c:v>
                </c:pt>
                <c:pt idx="16561">
                  <c:v>0.41713699332991294</c:v>
                </c:pt>
                <c:pt idx="16562">
                  <c:v>0.42329399692149816</c:v>
                </c:pt>
                <c:pt idx="16563">
                  <c:v>0.42329399692149816</c:v>
                </c:pt>
                <c:pt idx="16564">
                  <c:v>0.42432016418676266</c:v>
                </c:pt>
                <c:pt idx="16565">
                  <c:v>0.41149307337095964</c:v>
                </c:pt>
                <c:pt idx="16566">
                  <c:v>0.39815289892252448</c:v>
                </c:pt>
                <c:pt idx="16567">
                  <c:v>0.39276552077988724</c:v>
                </c:pt>
                <c:pt idx="16568">
                  <c:v>0.39815289892252448</c:v>
                </c:pt>
                <c:pt idx="16569">
                  <c:v>0.39610056439199615</c:v>
                </c:pt>
                <c:pt idx="16570">
                  <c:v>0.38532580810672146</c:v>
                </c:pt>
                <c:pt idx="16571">
                  <c:v>0.39430477167778366</c:v>
                </c:pt>
                <c:pt idx="16572">
                  <c:v>0.39353514622883545</c:v>
                </c:pt>
                <c:pt idx="16573">
                  <c:v>0.37455105182144699</c:v>
                </c:pt>
                <c:pt idx="16574">
                  <c:v>0.39481785531041558</c:v>
                </c:pt>
                <c:pt idx="16575">
                  <c:v>0.40610569522832241</c:v>
                </c:pt>
                <c:pt idx="16576">
                  <c:v>0.41251924063622392</c:v>
                </c:pt>
                <c:pt idx="16577">
                  <c:v>0.41816316059517722</c:v>
                </c:pt>
                <c:pt idx="16578">
                  <c:v>0.41636736788096473</c:v>
                </c:pt>
                <c:pt idx="16579">
                  <c:v>0.42175474602360197</c:v>
                </c:pt>
                <c:pt idx="16580">
                  <c:v>0.41611082606464866</c:v>
                </c:pt>
                <c:pt idx="16581">
                  <c:v>0.41508465879938439</c:v>
                </c:pt>
                <c:pt idx="16582">
                  <c:v>0.43099025141098024</c:v>
                </c:pt>
                <c:pt idx="16583">
                  <c:v>0.43073370959466417</c:v>
                </c:pt>
                <c:pt idx="16584">
                  <c:v>0.43663417136993332</c:v>
                </c:pt>
                <c:pt idx="16585">
                  <c:v>0.43586454592098511</c:v>
                </c:pt>
                <c:pt idx="16586">
                  <c:v>0.4376603386351976</c:v>
                </c:pt>
                <c:pt idx="16587">
                  <c:v>0.42945100051308382</c:v>
                </c:pt>
                <c:pt idx="16588">
                  <c:v>0.42842483324781955</c:v>
                </c:pt>
                <c:pt idx="16589">
                  <c:v>0.43175987685992845</c:v>
                </c:pt>
                <c:pt idx="16590">
                  <c:v>0.43227296049256037</c:v>
                </c:pt>
                <c:pt idx="16591">
                  <c:v>0.42688558234992313</c:v>
                </c:pt>
                <c:pt idx="16592">
                  <c:v>0.42303745510518231</c:v>
                </c:pt>
                <c:pt idx="16593">
                  <c:v>0.43099025141098024</c:v>
                </c:pt>
                <c:pt idx="16594">
                  <c:v>0.43073370959466417</c:v>
                </c:pt>
                <c:pt idx="16595">
                  <c:v>0.42124166239096983</c:v>
                </c:pt>
                <c:pt idx="16596">
                  <c:v>0.40815802975885074</c:v>
                </c:pt>
                <c:pt idx="16597">
                  <c:v>0.42611595690097515</c:v>
                </c:pt>
                <c:pt idx="16598">
                  <c:v>0.42791174961518741</c:v>
                </c:pt>
                <c:pt idx="16599">
                  <c:v>0.42226782965623411</c:v>
                </c:pt>
                <c:pt idx="16600">
                  <c:v>0.42226782965623411</c:v>
                </c:pt>
                <c:pt idx="16601">
                  <c:v>0.41636736788096473</c:v>
                </c:pt>
                <c:pt idx="16602">
                  <c:v>0.40918419702411502</c:v>
                </c:pt>
                <c:pt idx="16603">
                  <c:v>0.40430990251410992</c:v>
                </c:pt>
                <c:pt idx="16604">
                  <c:v>0.40430990251410992</c:v>
                </c:pt>
                <c:pt idx="16605">
                  <c:v>0.40430990251410992</c:v>
                </c:pt>
                <c:pt idx="16606">
                  <c:v>0.38814776808619822</c:v>
                </c:pt>
                <c:pt idx="16607">
                  <c:v>0.3704463827603901</c:v>
                </c:pt>
                <c:pt idx="16608">
                  <c:v>0.37788609543355589</c:v>
                </c:pt>
                <c:pt idx="16609">
                  <c:v>0.38712160082093394</c:v>
                </c:pt>
                <c:pt idx="16610">
                  <c:v>0.38917393535146227</c:v>
                </c:pt>
                <c:pt idx="16611">
                  <c:v>0.38327347357619312</c:v>
                </c:pt>
                <c:pt idx="16612">
                  <c:v>0.37429451000513092</c:v>
                </c:pt>
                <c:pt idx="16613">
                  <c:v>0.36916367367880976</c:v>
                </c:pt>
                <c:pt idx="16614">
                  <c:v>0.36531554643406894</c:v>
                </c:pt>
                <c:pt idx="16615">
                  <c:v>0.36865059004617762</c:v>
                </c:pt>
                <c:pt idx="16616">
                  <c:v>0.37147255002565438</c:v>
                </c:pt>
                <c:pt idx="16617">
                  <c:v>0.35505387378142639</c:v>
                </c:pt>
                <c:pt idx="16618">
                  <c:v>0.34735761929194475</c:v>
                </c:pt>
                <c:pt idx="16619">
                  <c:v>0.34581836839404834</c:v>
                </c:pt>
                <c:pt idx="16620">
                  <c:v>0.34812724474089274</c:v>
                </c:pt>
                <c:pt idx="16621">
                  <c:v>0.34761416110826082</c:v>
                </c:pt>
                <c:pt idx="16622">
                  <c:v>0.34581836839404834</c:v>
                </c:pt>
                <c:pt idx="16623">
                  <c:v>0.35171883016931771</c:v>
                </c:pt>
                <c:pt idx="16624">
                  <c:v>0.34633145202668048</c:v>
                </c:pt>
                <c:pt idx="16625">
                  <c:v>0.34633145202668048</c:v>
                </c:pt>
                <c:pt idx="16626">
                  <c:v>0.3314520266803489</c:v>
                </c:pt>
                <c:pt idx="16627">
                  <c:v>0.30887634684453591</c:v>
                </c:pt>
                <c:pt idx="16628">
                  <c:v>0.31682914315033361</c:v>
                </c:pt>
                <c:pt idx="16629">
                  <c:v>0.35197537198563378</c:v>
                </c:pt>
                <c:pt idx="16630">
                  <c:v>0.36505900461775287</c:v>
                </c:pt>
                <c:pt idx="16631">
                  <c:v>0.3648024628014368</c:v>
                </c:pt>
                <c:pt idx="16632">
                  <c:v>0.36300667008722431</c:v>
                </c:pt>
                <c:pt idx="16633">
                  <c:v>0.36582863006670108</c:v>
                </c:pt>
                <c:pt idx="16634">
                  <c:v>0.36198050282196026</c:v>
                </c:pt>
                <c:pt idx="16635">
                  <c:v>0.35531041559774246</c:v>
                </c:pt>
                <c:pt idx="16636">
                  <c:v>0.36095433555669576</c:v>
                </c:pt>
                <c:pt idx="16637">
                  <c:v>0.35915854284248327</c:v>
                </c:pt>
                <c:pt idx="16638">
                  <c:v>0.3486403283735251</c:v>
                </c:pt>
                <c:pt idx="16639">
                  <c:v>0.34068753206772717</c:v>
                </c:pt>
                <c:pt idx="16640">
                  <c:v>0.34556182657773227</c:v>
                </c:pt>
                <c:pt idx="16641">
                  <c:v>0.3347870702924578</c:v>
                </c:pt>
                <c:pt idx="16642">
                  <c:v>0.3347870702924578</c:v>
                </c:pt>
                <c:pt idx="16643">
                  <c:v>0.32272960492560299</c:v>
                </c:pt>
                <c:pt idx="16644">
                  <c:v>0.31682914315033361</c:v>
                </c:pt>
                <c:pt idx="16645">
                  <c:v>0.31528989225243742</c:v>
                </c:pt>
                <c:pt idx="16646">
                  <c:v>0.31323755772190864</c:v>
                </c:pt>
                <c:pt idx="16647">
                  <c:v>0.29835813237557729</c:v>
                </c:pt>
                <c:pt idx="16648">
                  <c:v>0.29348383786557219</c:v>
                </c:pt>
                <c:pt idx="16649">
                  <c:v>0.30348896870189868</c:v>
                </c:pt>
                <c:pt idx="16650">
                  <c:v>0.30759363776295534</c:v>
                </c:pt>
                <c:pt idx="16651">
                  <c:v>0.31015905592611603</c:v>
                </c:pt>
                <c:pt idx="16652">
                  <c:v>0.31528989225243742</c:v>
                </c:pt>
                <c:pt idx="16653">
                  <c:v>0.31528989225243742</c:v>
                </c:pt>
                <c:pt idx="16654">
                  <c:v>0.32016418676244252</c:v>
                </c:pt>
                <c:pt idx="16655">
                  <c:v>0.30682401231400713</c:v>
                </c:pt>
                <c:pt idx="16656">
                  <c:v>0.29758850692662908</c:v>
                </c:pt>
                <c:pt idx="16657">
                  <c:v>0.31503335043612113</c:v>
                </c:pt>
                <c:pt idx="16658">
                  <c:v>0.32426885582349918</c:v>
                </c:pt>
                <c:pt idx="16659">
                  <c:v>0.31836839404823003</c:v>
                </c:pt>
                <c:pt idx="16660">
                  <c:v>0.3096459722934839</c:v>
                </c:pt>
                <c:pt idx="16661">
                  <c:v>0.30990251410979996</c:v>
                </c:pt>
                <c:pt idx="16662">
                  <c:v>0.30759363776295534</c:v>
                </c:pt>
                <c:pt idx="16663">
                  <c:v>0.30015392508978977</c:v>
                </c:pt>
                <c:pt idx="16664">
                  <c:v>0.29220112878399185</c:v>
                </c:pt>
                <c:pt idx="16665">
                  <c:v>0.28707029245767068</c:v>
                </c:pt>
                <c:pt idx="16666">
                  <c:v>0.28219599794766559</c:v>
                </c:pt>
                <c:pt idx="16667">
                  <c:v>0.28424833247819414</c:v>
                </c:pt>
                <c:pt idx="16668">
                  <c:v>0.27937403796818883</c:v>
                </c:pt>
                <c:pt idx="16669">
                  <c:v>0.27398665982555159</c:v>
                </c:pt>
                <c:pt idx="16670">
                  <c:v>0.27167778347870719</c:v>
                </c:pt>
                <c:pt idx="16671">
                  <c:v>0.27706516162134442</c:v>
                </c:pt>
                <c:pt idx="16672">
                  <c:v>0.27142124166239112</c:v>
                </c:pt>
                <c:pt idx="16673">
                  <c:v>0.26218573627501307</c:v>
                </c:pt>
                <c:pt idx="16674">
                  <c:v>0.26731657260133401</c:v>
                </c:pt>
                <c:pt idx="16675">
                  <c:v>0.25910723447922024</c:v>
                </c:pt>
                <c:pt idx="16676">
                  <c:v>0.26552077988712175</c:v>
                </c:pt>
                <c:pt idx="16677">
                  <c:v>0.26603386351975389</c:v>
                </c:pt>
                <c:pt idx="16678">
                  <c:v>0.25602873268342763</c:v>
                </c:pt>
                <c:pt idx="16679">
                  <c:v>0.24499743458183687</c:v>
                </c:pt>
                <c:pt idx="16680">
                  <c:v>0.24781939456131363</c:v>
                </c:pt>
                <c:pt idx="16681">
                  <c:v>0.23935351462288379</c:v>
                </c:pt>
                <c:pt idx="16682">
                  <c:v>0.24320164186762461</c:v>
                </c:pt>
                <c:pt idx="16683">
                  <c:v>0.23473576192919454</c:v>
                </c:pt>
                <c:pt idx="16684">
                  <c:v>0.23063109286813765</c:v>
                </c:pt>
                <c:pt idx="16685">
                  <c:v>0.23396613648024633</c:v>
                </c:pt>
                <c:pt idx="16686">
                  <c:v>0.23601847101077489</c:v>
                </c:pt>
                <c:pt idx="16687">
                  <c:v>0.23140071831708586</c:v>
                </c:pt>
                <c:pt idx="16688">
                  <c:v>0.23140071831708586</c:v>
                </c:pt>
                <c:pt idx="16689">
                  <c:v>0.22498717290918435</c:v>
                </c:pt>
                <c:pt idx="16690">
                  <c:v>0.22267829656233973</c:v>
                </c:pt>
                <c:pt idx="16691">
                  <c:v>0.22909184197024124</c:v>
                </c:pt>
                <c:pt idx="16692">
                  <c:v>0.22883530015392517</c:v>
                </c:pt>
                <c:pt idx="16693">
                  <c:v>0.22473063109286828</c:v>
                </c:pt>
                <c:pt idx="16694">
                  <c:v>0.22447408927655199</c:v>
                </c:pt>
                <c:pt idx="16695">
                  <c:v>0.22190867111339174</c:v>
                </c:pt>
                <c:pt idx="16696">
                  <c:v>0.21395587480759382</c:v>
                </c:pt>
                <c:pt idx="16697">
                  <c:v>0.21344279117496145</c:v>
                </c:pt>
                <c:pt idx="16698">
                  <c:v>0.21139045664443312</c:v>
                </c:pt>
                <c:pt idx="16699">
                  <c:v>0.21857362750128284</c:v>
                </c:pt>
                <c:pt idx="16700">
                  <c:v>0.22909184197024124</c:v>
                </c:pt>
                <c:pt idx="16701">
                  <c:v>0.22652642380708077</c:v>
                </c:pt>
                <c:pt idx="16702">
                  <c:v>0.22447408927655199</c:v>
                </c:pt>
                <c:pt idx="16703">
                  <c:v>0.23601847101077489</c:v>
                </c:pt>
                <c:pt idx="16704">
                  <c:v>0.23268342739866599</c:v>
                </c:pt>
                <c:pt idx="16705">
                  <c:v>0.22550025654181649</c:v>
                </c:pt>
                <c:pt idx="16706">
                  <c:v>0.21754746023601856</c:v>
                </c:pt>
                <c:pt idx="16707">
                  <c:v>0.22498717290918435</c:v>
                </c:pt>
                <c:pt idx="16708">
                  <c:v>0.22986146741918945</c:v>
                </c:pt>
                <c:pt idx="16709">
                  <c:v>0.21831708568496677</c:v>
                </c:pt>
                <c:pt idx="16710">
                  <c:v>0.21062083119548491</c:v>
                </c:pt>
                <c:pt idx="16711">
                  <c:v>0.20805541303232444</c:v>
                </c:pt>
                <c:pt idx="16712">
                  <c:v>0.20472036942021554</c:v>
                </c:pt>
                <c:pt idx="16713">
                  <c:v>0.20959466393022064</c:v>
                </c:pt>
                <c:pt idx="16714">
                  <c:v>0.20497691123653161</c:v>
                </c:pt>
                <c:pt idx="16715">
                  <c:v>0.19676757311441762</c:v>
                </c:pt>
                <c:pt idx="16716">
                  <c:v>0.19035402770651633</c:v>
                </c:pt>
                <c:pt idx="16717">
                  <c:v>0.19061056952283217</c:v>
                </c:pt>
                <c:pt idx="16718">
                  <c:v>0.18855823499230384</c:v>
                </c:pt>
                <c:pt idx="16719">
                  <c:v>0.17419189327860463</c:v>
                </c:pt>
                <c:pt idx="16720">
                  <c:v>0.1685479733196511</c:v>
                </c:pt>
                <c:pt idx="16721">
                  <c:v>0.16085171883016947</c:v>
                </c:pt>
                <c:pt idx="16722">
                  <c:v>0.1572601334017445</c:v>
                </c:pt>
                <c:pt idx="16723">
                  <c:v>0.1580297588506927</c:v>
                </c:pt>
                <c:pt idx="16724">
                  <c:v>0.17290918419702428</c:v>
                </c:pt>
                <c:pt idx="16725">
                  <c:v>0.16521292970754242</c:v>
                </c:pt>
                <c:pt idx="16726">
                  <c:v>0.16085171883016947</c:v>
                </c:pt>
                <c:pt idx="16727">
                  <c:v>0.16469984607491028</c:v>
                </c:pt>
                <c:pt idx="16728">
                  <c:v>0.17034376603386359</c:v>
                </c:pt>
                <c:pt idx="16729">
                  <c:v>0.17034376603386359</c:v>
                </c:pt>
                <c:pt idx="16730">
                  <c:v>0.16649563878912277</c:v>
                </c:pt>
                <c:pt idx="16731">
                  <c:v>0.16264751154438173</c:v>
                </c:pt>
                <c:pt idx="16732">
                  <c:v>0.16162134427911767</c:v>
                </c:pt>
                <c:pt idx="16733">
                  <c:v>0.1605951770138534</c:v>
                </c:pt>
                <c:pt idx="16734">
                  <c:v>0.15187275525910726</c:v>
                </c:pt>
                <c:pt idx="16735">
                  <c:v>0.15033350436121107</c:v>
                </c:pt>
                <c:pt idx="16736">
                  <c:v>0.14494612621857383</c:v>
                </c:pt>
                <c:pt idx="16737">
                  <c:v>0.14212416623909707</c:v>
                </c:pt>
                <c:pt idx="16738">
                  <c:v>0.14648537711647003</c:v>
                </c:pt>
                <c:pt idx="16739">
                  <c:v>0.15059004617752714</c:v>
                </c:pt>
                <c:pt idx="16740">
                  <c:v>0.1444330425859417</c:v>
                </c:pt>
                <c:pt idx="16741">
                  <c:v>0.16316059517701409</c:v>
                </c:pt>
                <c:pt idx="16742">
                  <c:v>0.15289892252437154</c:v>
                </c:pt>
                <c:pt idx="16743">
                  <c:v>0.15905592611595698</c:v>
                </c:pt>
                <c:pt idx="16744">
                  <c:v>0.15495125705490009</c:v>
                </c:pt>
                <c:pt idx="16745">
                  <c:v>0.14802462801436644</c:v>
                </c:pt>
                <c:pt idx="16746">
                  <c:v>0.14135454079014886</c:v>
                </c:pt>
                <c:pt idx="16747">
                  <c:v>0.14109799897383279</c:v>
                </c:pt>
                <c:pt idx="16748">
                  <c:v>0.14340687532067742</c:v>
                </c:pt>
                <c:pt idx="16749">
                  <c:v>0.1452026680348899</c:v>
                </c:pt>
                <c:pt idx="16750">
                  <c:v>0.14289379168804528</c:v>
                </c:pt>
                <c:pt idx="16751">
                  <c:v>0.14161108260646493</c:v>
                </c:pt>
                <c:pt idx="16752">
                  <c:v>0.14058491534120066</c:v>
                </c:pt>
                <c:pt idx="16753">
                  <c:v>0.13673678809645984</c:v>
                </c:pt>
                <c:pt idx="16754">
                  <c:v>0.13673678809645984</c:v>
                </c:pt>
                <c:pt idx="16755">
                  <c:v>0.13109286813750654</c:v>
                </c:pt>
                <c:pt idx="16756">
                  <c:v>0.12493586454592109</c:v>
                </c:pt>
                <c:pt idx="16757">
                  <c:v>0.12339661364802468</c:v>
                </c:pt>
                <c:pt idx="16758">
                  <c:v>0.12493586454592109</c:v>
                </c:pt>
                <c:pt idx="16759">
                  <c:v>0.12544894817855323</c:v>
                </c:pt>
                <c:pt idx="16760">
                  <c:v>0.12314007183170861</c:v>
                </c:pt>
                <c:pt idx="16761">
                  <c:v>0.11723961005643924</c:v>
                </c:pt>
                <c:pt idx="16762">
                  <c:v>0.11877886095433565</c:v>
                </c:pt>
                <c:pt idx="16763">
                  <c:v>0.10928681375064153</c:v>
                </c:pt>
                <c:pt idx="16764">
                  <c:v>0.11236531554643414</c:v>
                </c:pt>
                <c:pt idx="16765">
                  <c:v>0.11185223191380222</c:v>
                </c:pt>
                <c:pt idx="16766">
                  <c:v>0.1062083119548487</c:v>
                </c:pt>
                <c:pt idx="16767">
                  <c:v>0.11903540277065172</c:v>
                </c:pt>
                <c:pt idx="16768">
                  <c:v>0.1223704463827604</c:v>
                </c:pt>
                <c:pt idx="16769">
                  <c:v>0.12878399179066191</c:v>
                </c:pt>
                <c:pt idx="16770">
                  <c:v>0.12852744997434606</c:v>
                </c:pt>
                <c:pt idx="16771">
                  <c:v>0.12698819907644965</c:v>
                </c:pt>
                <c:pt idx="16772">
                  <c:v>0.12904053360697798</c:v>
                </c:pt>
                <c:pt idx="16773">
                  <c:v>0.12339661364802468</c:v>
                </c:pt>
                <c:pt idx="16774">
                  <c:v>0.12083119548486398</c:v>
                </c:pt>
                <c:pt idx="16775">
                  <c:v>0.11698306824012317</c:v>
                </c:pt>
                <c:pt idx="16776">
                  <c:v>0.11441765007696247</c:v>
                </c:pt>
                <c:pt idx="16777">
                  <c:v>0.10312981015905609</c:v>
                </c:pt>
                <c:pt idx="16778">
                  <c:v>0.10877373011800939</c:v>
                </c:pt>
                <c:pt idx="16779">
                  <c:v>0.11236531554643414</c:v>
                </c:pt>
                <c:pt idx="16780">
                  <c:v>0.10672139558748084</c:v>
                </c:pt>
                <c:pt idx="16781">
                  <c:v>9.7998973832734704E-2</c:v>
                </c:pt>
                <c:pt idx="16782">
                  <c:v>9.7998973832734704E-2</c:v>
                </c:pt>
                <c:pt idx="16783">
                  <c:v>0.1013340174448436</c:v>
                </c:pt>
                <c:pt idx="16784">
                  <c:v>9.5690097485890302E-2</c:v>
                </c:pt>
                <c:pt idx="16785">
                  <c:v>8.3889173935351558E-2</c:v>
                </c:pt>
                <c:pt idx="16786">
                  <c:v>8.004104669061074E-2</c:v>
                </c:pt>
                <c:pt idx="16787">
                  <c:v>8.8506926629040583E-2</c:v>
                </c:pt>
                <c:pt idx="16788">
                  <c:v>7.7475628527450047E-2</c:v>
                </c:pt>
                <c:pt idx="16789">
                  <c:v>7.0805541303232467E-2</c:v>
                </c:pt>
                <c:pt idx="16790">
                  <c:v>6.9779374037968411E-2</c:v>
                </c:pt>
                <c:pt idx="16791">
                  <c:v>6.8496664956387843E-2</c:v>
                </c:pt>
                <c:pt idx="16792">
                  <c:v>6.7983581323755926E-2</c:v>
                </c:pt>
                <c:pt idx="16793">
                  <c:v>6.0287326834274069E-2</c:v>
                </c:pt>
                <c:pt idx="16794">
                  <c:v>6.0287326834274069E-2</c:v>
                </c:pt>
                <c:pt idx="16795">
                  <c:v>6.4135454079014886E-2</c:v>
                </c:pt>
                <c:pt idx="16796">
                  <c:v>6.7213955874807718E-2</c:v>
                </c:pt>
                <c:pt idx="16797">
                  <c:v>7.5679835813237561E-2</c:v>
                </c:pt>
                <c:pt idx="16798">
                  <c:v>8.004104669061074E-2</c:v>
                </c:pt>
                <c:pt idx="16799">
                  <c:v>8.2606464853771433E-2</c:v>
                </c:pt>
                <c:pt idx="16800">
                  <c:v>8.1836839404823225E-2</c:v>
                </c:pt>
                <c:pt idx="16801">
                  <c:v>8.5171883016931682E-2</c:v>
                </c:pt>
                <c:pt idx="16802">
                  <c:v>8.8763468445356652E-2</c:v>
                </c:pt>
                <c:pt idx="16803">
                  <c:v>9.2355053873781401E-2</c:v>
                </c:pt>
                <c:pt idx="16804">
                  <c:v>8.8250384812724514E-2</c:v>
                </c:pt>
                <c:pt idx="16805">
                  <c:v>8.0297588506926809E-2</c:v>
                </c:pt>
                <c:pt idx="16806">
                  <c:v>7.9784504874294671E-2</c:v>
                </c:pt>
                <c:pt idx="16807">
                  <c:v>7.4653668547973506E-2</c:v>
                </c:pt>
                <c:pt idx="16808">
                  <c:v>7.8501795792714324E-2</c:v>
                </c:pt>
                <c:pt idx="16809">
                  <c:v>8.594150846587989E-2</c:v>
                </c:pt>
                <c:pt idx="16810">
                  <c:v>8.9276552077988791E-2</c:v>
                </c:pt>
                <c:pt idx="16811">
                  <c:v>8.7993842996408445E-2</c:v>
                </c:pt>
                <c:pt idx="16812">
                  <c:v>9.0559261159569138E-2</c:v>
                </c:pt>
                <c:pt idx="16813">
                  <c:v>8.286300667008728E-2</c:v>
                </c:pt>
                <c:pt idx="16814">
                  <c:v>7.9271421241662532E-2</c:v>
                </c:pt>
                <c:pt idx="16815">
                  <c:v>7.7475628527450047E-2</c:v>
                </c:pt>
                <c:pt idx="16816">
                  <c:v>6.3878912262698817E-2</c:v>
                </c:pt>
                <c:pt idx="16817">
                  <c:v>6.0800410466906207E-2</c:v>
                </c:pt>
                <c:pt idx="16818">
                  <c:v>5.5156490507952904E-2</c:v>
                </c:pt>
                <c:pt idx="16819">
                  <c:v>4.7716777834787338E-2</c:v>
                </c:pt>
                <c:pt idx="16820">
                  <c:v>4.3612108773730229E-2</c:v>
                </c:pt>
                <c:pt idx="16821">
                  <c:v>4.9769112365315671E-2</c:v>
                </c:pt>
                <c:pt idx="16822">
                  <c:v>4.1816316059517744E-2</c:v>
                </c:pt>
                <c:pt idx="16823">
                  <c:v>4.2842483324782021E-2</c:v>
                </c:pt>
                <c:pt idx="16824">
                  <c:v>4.8742945100051394E-2</c:v>
                </c:pt>
                <c:pt idx="16825">
                  <c:v>4.9512570548999379E-2</c:v>
                </c:pt>
                <c:pt idx="16826">
                  <c:v>5.5669574140585043E-2</c:v>
                </c:pt>
                <c:pt idx="16827">
                  <c:v>5.6182657773217182E-2</c:v>
                </c:pt>
                <c:pt idx="16828">
                  <c:v>5.4643406875320766E-2</c:v>
                </c:pt>
                <c:pt idx="16829">
                  <c:v>6.0287326834274069E-2</c:v>
                </c:pt>
                <c:pt idx="16830">
                  <c:v>5.0282195997947587E-2</c:v>
                </c:pt>
                <c:pt idx="16831">
                  <c:v>5.002565418163174E-2</c:v>
                </c:pt>
                <c:pt idx="16832">
                  <c:v>5.4643406875320766E-2</c:v>
                </c:pt>
                <c:pt idx="16833">
                  <c:v>6.4135454079014886E-2</c:v>
                </c:pt>
                <c:pt idx="16834">
                  <c:v>7.0548999486916397E-2</c:v>
                </c:pt>
                <c:pt idx="16835">
                  <c:v>8.004104669061074E-2</c:v>
                </c:pt>
                <c:pt idx="16836">
                  <c:v>8.2349923037455142E-2</c:v>
                </c:pt>
                <c:pt idx="16837">
                  <c:v>8.9276552077988791E-2</c:v>
                </c:pt>
                <c:pt idx="16838">
                  <c:v>7.8501795792714324E-2</c:v>
                </c:pt>
                <c:pt idx="16839">
                  <c:v>6.9779374037968411E-2</c:v>
                </c:pt>
                <c:pt idx="16840">
                  <c:v>6.9266290405336051E-2</c:v>
                </c:pt>
                <c:pt idx="16841">
                  <c:v>7.4397126731657437E-2</c:v>
                </c:pt>
                <c:pt idx="16842">
                  <c:v>6.7983581323755926E-2</c:v>
                </c:pt>
                <c:pt idx="16843">
                  <c:v>6.6957414058491649E-2</c:v>
                </c:pt>
                <c:pt idx="16844">
                  <c:v>7.0035915854284259E-2</c:v>
                </c:pt>
                <c:pt idx="16845">
                  <c:v>6.1056952283222277E-2</c:v>
                </c:pt>
                <c:pt idx="16846">
                  <c:v>5.695228322216539E-2</c:v>
                </c:pt>
                <c:pt idx="16847">
                  <c:v>5.9517701385325861E-2</c:v>
                </c:pt>
                <c:pt idx="16848">
                  <c:v>6.0800410466906207E-2</c:v>
                </c:pt>
                <c:pt idx="16849">
                  <c:v>5.4386865059004696E-2</c:v>
                </c:pt>
                <c:pt idx="16850">
                  <c:v>5.3360697793740419E-2</c:v>
                </c:pt>
                <c:pt idx="16851">
                  <c:v>5.1564905079528156E-2</c:v>
                </c:pt>
                <c:pt idx="16852">
                  <c:v>4.335556695741416E-2</c:v>
                </c:pt>
                <c:pt idx="16853">
                  <c:v>3.8737814263725134E-2</c:v>
                </c:pt>
                <c:pt idx="16854">
                  <c:v>3.5659312467932303E-2</c:v>
                </c:pt>
                <c:pt idx="16855">
                  <c:v>4.5407901487942715E-2</c:v>
                </c:pt>
                <c:pt idx="16856">
                  <c:v>5.1564905079528156E-2</c:v>
                </c:pt>
                <c:pt idx="16857">
                  <c:v>5.1821446895844003E-2</c:v>
                </c:pt>
                <c:pt idx="16858">
                  <c:v>4.3612108773730229E-2</c:v>
                </c:pt>
                <c:pt idx="16859">
                  <c:v>4.8486403283735324E-2</c:v>
                </c:pt>
                <c:pt idx="16860">
                  <c:v>3.4633145202668025E-2</c:v>
                </c:pt>
                <c:pt idx="16861">
                  <c:v>3.4633145202668025E-2</c:v>
                </c:pt>
                <c:pt idx="16862">
                  <c:v>2.5910723447922113E-2</c:v>
                </c:pt>
                <c:pt idx="16863">
                  <c:v>1.5392508978963715E-2</c:v>
                </c:pt>
                <c:pt idx="16864">
                  <c:v>2.0523345305284879E-2</c:v>
                </c:pt>
                <c:pt idx="16865">
                  <c:v>2.4114930733709627E-2</c:v>
                </c:pt>
                <c:pt idx="16866">
                  <c:v>2.4114930733709627E-2</c:v>
                </c:pt>
                <c:pt idx="16867">
                  <c:v>1.3853258081067299E-2</c:v>
                </c:pt>
                <c:pt idx="16868">
                  <c:v>1.2827090815803022E-2</c:v>
                </c:pt>
                <c:pt idx="16869">
                  <c:v>1.2827090815803022E-2</c:v>
                </c:pt>
                <c:pt idx="16870">
                  <c:v>2.1036428937916796E-2</c:v>
                </c:pt>
                <c:pt idx="16871">
                  <c:v>1.0261672652642551E-2</c:v>
                </c:pt>
                <c:pt idx="16872">
                  <c:v>1.1287839917906828E-2</c:v>
                </c:pt>
                <c:pt idx="16873">
                  <c:v>2.9245767060030792E-2</c:v>
                </c:pt>
                <c:pt idx="16874">
                  <c:v>4.4894817855310354E-2</c:v>
                </c:pt>
                <c:pt idx="16875">
                  <c:v>4.0277065161621328E-2</c:v>
                </c:pt>
                <c:pt idx="16876">
                  <c:v>3.9250897896357051E-2</c:v>
                </c:pt>
                <c:pt idx="16877">
                  <c:v>4.053360697793762E-2</c:v>
                </c:pt>
                <c:pt idx="16878">
                  <c:v>4.9769112365315671E-2</c:v>
                </c:pt>
                <c:pt idx="16879">
                  <c:v>5.977424320164193E-2</c:v>
                </c:pt>
                <c:pt idx="16880">
                  <c:v>6.5161621344279386E-2</c:v>
                </c:pt>
                <c:pt idx="16881">
                  <c:v>6.5674704976911302E-2</c:v>
                </c:pt>
                <c:pt idx="16882">
                  <c:v>6.1313494099538346E-2</c:v>
                </c:pt>
                <c:pt idx="16883">
                  <c:v>6.1056952283222277E-2</c:v>
                </c:pt>
                <c:pt idx="16884">
                  <c:v>7.0292457670600328E-2</c:v>
                </c:pt>
                <c:pt idx="16885">
                  <c:v>7.0292457670600328E-2</c:v>
                </c:pt>
                <c:pt idx="16886">
                  <c:v>5.8234992303745514E-2</c:v>
                </c:pt>
                <c:pt idx="16887">
                  <c:v>2.8476141611082806E-2</c:v>
                </c:pt>
                <c:pt idx="16888">
                  <c:v>5.6439199589533251E-2</c:v>
                </c:pt>
                <c:pt idx="16889">
                  <c:v>4.8486403283735324E-2</c:v>
                </c:pt>
                <c:pt idx="16890">
                  <c:v>3.8481272447408843E-2</c:v>
                </c:pt>
                <c:pt idx="16891">
                  <c:v>2.4114930733709627E-2</c:v>
                </c:pt>
                <c:pt idx="16892">
                  <c:v>2.1292970754233087E-2</c:v>
                </c:pt>
                <c:pt idx="16893">
                  <c:v>2.7193432529502459E-2</c:v>
                </c:pt>
                <c:pt idx="16894">
                  <c:v>3.5659312467932303E-2</c:v>
                </c:pt>
                <c:pt idx="16895">
                  <c:v>1.1800923550538744E-2</c:v>
                </c:pt>
                <c:pt idx="16896">
                  <c:v>1.4622883530015507E-2</c:v>
                </c:pt>
                <c:pt idx="16897">
                  <c:v>1.5905592611595853E-2</c:v>
                </c:pt>
                <c:pt idx="16898">
                  <c:v>3.0785017957927208E-2</c:v>
                </c:pt>
                <c:pt idx="16899">
                  <c:v>3.1041559774243277E-2</c:v>
                </c:pt>
                <c:pt idx="16900">
                  <c:v>4.335556695741416E-2</c:v>
                </c:pt>
                <c:pt idx="16901">
                  <c:v>3.7198563365828718E-2</c:v>
                </c:pt>
                <c:pt idx="16902">
                  <c:v>3.7198563365828718E-2</c:v>
                </c:pt>
                <c:pt idx="16903">
                  <c:v>3.5659312467932303E-2</c:v>
                </c:pt>
                <c:pt idx="16904">
                  <c:v>3.7455105182144788E-2</c:v>
                </c:pt>
                <c:pt idx="16905">
                  <c:v>5.3360697793740419E-2</c:v>
                </c:pt>
                <c:pt idx="16906">
                  <c:v>5.2334530528476364E-2</c:v>
                </c:pt>
                <c:pt idx="16907">
                  <c:v>4.3868650590046299E-2</c:v>
                </c:pt>
                <c:pt idx="16908">
                  <c:v>3.6942021549512649E-2</c:v>
                </c:pt>
                <c:pt idx="16909">
                  <c:v>4.1303232426885828E-2</c:v>
                </c:pt>
                <c:pt idx="16910">
                  <c:v>4.4381734222678437E-2</c:v>
                </c:pt>
                <c:pt idx="16911">
                  <c:v>4.4894817855310354E-2</c:v>
                </c:pt>
                <c:pt idx="16912">
                  <c:v>0</c:v>
                </c:pt>
                <c:pt idx="16913">
                  <c:v>0</c:v>
                </c:pt>
                <c:pt idx="16914">
                  <c:v>0</c:v>
                </c:pt>
                <c:pt idx="16915">
                  <c:v>0</c:v>
                </c:pt>
                <c:pt idx="16916">
                  <c:v>0</c:v>
                </c:pt>
                <c:pt idx="16917">
                  <c:v>0</c:v>
                </c:pt>
                <c:pt idx="16918">
                  <c:v>0</c:v>
                </c:pt>
                <c:pt idx="16919">
                  <c:v>0</c:v>
                </c:pt>
                <c:pt idx="16920">
                  <c:v>0</c:v>
                </c:pt>
                <c:pt idx="16921">
                  <c:v>0</c:v>
                </c:pt>
                <c:pt idx="16922">
                  <c:v>0</c:v>
                </c:pt>
                <c:pt idx="16923">
                  <c:v>0</c:v>
                </c:pt>
                <c:pt idx="16924">
                  <c:v>0</c:v>
                </c:pt>
                <c:pt idx="16925">
                  <c:v>0</c:v>
                </c:pt>
                <c:pt idx="16926">
                  <c:v>0</c:v>
                </c:pt>
                <c:pt idx="16927">
                  <c:v>0</c:v>
                </c:pt>
                <c:pt idx="16928">
                  <c:v>0</c:v>
                </c:pt>
                <c:pt idx="16929">
                  <c:v>0</c:v>
                </c:pt>
                <c:pt idx="16930">
                  <c:v>0</c:v>
                </c:pt>
                <c:pt idx="16931">
                  <c:v>0</c:v>
                </c:pt>
                <c:pt idx="16932">
                  <c:v>0</c:v>
                </c:pt>
                <c:pt idx="16933">
                  <c:v>0</c:v>
                </c:pt>
                <c:pt idx="16934">
                  <c:v>0</c:v>
                </c:pt>
                <c:pt idx="16935">
                  <c:v>0</c:v>
                </c:pt>
                <c:pt idx="16936">
                  <c:v>0</c:v>
                </c:pt>
                <c:pt idx="16937">
                  <c:v>0</c:v>
                </c:pt>
                <c:pt idx="16938">
                  <c:v>0</c:v>
                </c:pt>
                <c:pt idx="16939">
                  <c:v>0</c:v>
                </c:pt>
                <c:pt idx="16940">
                  <c:v>0</c:v>
                </c:pt>
                <c:pt idx="16941">
                  <c:v>0</c:v>
                </c:pt>
                <c:pt idx="16942">
                  <c:v>0</c:v>
                </c:pt>
                <c:pt idx="16943">
                  <c:v>0</c:v>
                </c:pt>
                <c:pt idx="16944">
                  <c:v>0</c:v>
                </c:pt>
                <c:pt idx="16945">
                  <c:v>0</c:v>
                </c:pt>
                <c:pt idx="16946">
                  <c:v>0</c:v>
                </c:pt>
                <c:pt idx="16947">
                  <c:v>0</c:v>
                </c:pt>
                <c:pt idx="16948">
                  <c:v>0</c:v>
                </c:pt>
                <c:pt idx="16949">
                  <c:v>0</c:v>
                </c:pt>
                <c:pt idx="16950">
                  <c:v>0</c:v>
                </c:pt>
                <c:pt idx="16951">
                  <c:v>0</c:v>
                </c:pt>
                <c:pt idx="16952">
                  <c:v>0</c:v>
                </c:pt>
                <c:pt idx="16953">
                  <c:v>0</c:v>
                </c:pt>
                <c:pt idx="16954">
                  <c:v>0</c:v>
                </c:pt>
                <c:pt idx="16955">
                  <c:v>0</c:v>
                </c:pt>
                <c:pt idx="16956">
                  <c:v>0</c:v>
                </c:pt>
                <c:pt idx="16957">
                  <c:v>0</c:v>
                </c:pt>
                <c:pt idx="16958">
                  <c:v>0</c:v>
                </c:pt>
                <c:pt idx="16959">
                  <c:v>0</c:v>
                </c:pt>
                <c:pt idx="16960">
                  <c:v>0</c:v>
                </c:pt>
                <c:pt idx="16961">
                  <c:v>0</c:v>
                </c:pt>
                <c:pt idx="16962">
                  <c:v>0</c:v>
                </c:pt>
                <c:pt idx="16963">
                  <c:v>0</c:v>
                </c:pt>
                <c:pt idx="16964">
                  <c:v>0</c:v>
                </c:pt>
                <c:pt idx="16965">
                  <c:v>0</c:v>
                </c:pt>
                <c:pt idx="16966">
                  <c:v>0</c:v>
                </c:pt>
                <c:pt idx="16967">
                  <c:v>0</c:v>
                </c:pt>
                <c:pt idx="16968">
                  <c:v>0</c:v>
                </c:pt>
                <c:pt idx="16969">
                  <c:v>0</c:v>
                </c:pt>
                <c:pt idx="16970">
                  <c:v>0</c:v>
                </c:pt>
                <c:pt idx="16971">
                  <c:v>0</c:v>
                </c:pt>
                <c:pt idx="16972">
                  <c:v>0</c:v>
                </c:pt>
                <c:pt idx="16973">
                  <c:v>0</c:v>
                </c:pt>
                <c:pt idx="16974">
                  <c:v>0</c:v>
                </c:pt>
                <c:pt idx="16975">
                  <c:v>0</c:v>
                </c:pt>
                <c:pt idx="16976">
                  <c:v>0</c:v>
                </c:pt>
                <c:pt idx="16977">
                  <c:v>0</c:v>
                </c:pt>
                <c:pt idx="16978">
                  <c:v>0</c:v>
                </c:pt>
                <c:pt idx="16979">
                  <c:v>0</c:v>
                </c:pt>
                <c:pt idx="16980">
                  <c:v>0</c:v>
                </c:pt>
                <c:pt idx="16981">
                  <c:v>0</c:v>
                </c:pt>
                <c:pt idx="16982">
                  <c:v>0</c:v>
                </c:pt>
                <c:pt idx="16983">
                  <c:v>0</c:v>
                </c:pt>
                <c:pt idx="16984">
                  <c:v>0</c:v>
                </c:pt>
                <c:pt idx="16985">
                  <c:v>0</c:v>
                </c:pt>
                <c:pt idx="16986">
                  <c:v>0</c:v>
                </c:pt>
                <c:pt idx="16987">
                  <c:v>0</c:v>
                </c:pt>
                <c:pt idx="16988">
                  <c:v>0</c:v>
                </c:pt>
                <c:pt idx="16989">
                  <c:v>0</c:v>
                </c:pt>
                <c:pt idx="16990">
                  <c:v>0</c:v>
                </c:pt>
                <c:pt idx="16991">
                  <c:v>0</c:v>
                </c:pt>
                <c:pt idx="16992">
                  <c:v>0</c:v>
                </c:pt>
                <c:pt idx="16993">
                  <c:v>0</c:v>
                </c:pt>
                <c:pt idx="16994">
                  <c:v>0</c:v>
                </c:pt>
                <c:pt idx="16995">
                  <c:v>0</c:v>
                </c:pt>
                <c:pt idx="16996">
                  <c:v>0</c:v>
                </c:pt>
                <c:pt idx="16997">
                  <c:v>0</c:v>
                </c:pt>
                <c:pt idx="16998">
                  <c:v>0</c:v>
                </c:pt>
                <c:pt idx="16999">
                  <c:v>0</c:v>
                </c:pt>
                <c:pt idx="17000">
                  <c:v>0</c:v>
                </c:pt>
                <c:pt idx="17001">
                  <c:v>0</c:v>
                </c:pt>
                <c:pt idx="17002">
                  <c:v>0</c:v>
                </c:pt>
                <c:pt idx="17003">
                  <c:v>0</c:v>
                </c:pt>
                <c:pt idx="17004">
                  <c:v>0</c:v>
                </c:pt>
                <c:pt idx="17005">
                  <c:v>0</c:v>
                </c:pt>
                <c:pt idx="17006">
                  <c:v>0</c:v>
                </c:pt>
                <c:pt idx="17007">
                  <c:v>0</c:v>
                </c:pt>
                <c:pt idx="17008">
                  <c:v>0</c:v>
                </c:pt>
                <c:pt idx="17009">
                  <c:v>0</c:v>
                </c:pt>
                <c:pt idx="17010">
                  <c:v>0</c:v>
                </c:pt>
                <c:pt idx="17011">
                  <c:v>0</c:v>
                </c:pt>
                <c:pt idx="17012">
                  <c:v>0</c:v>
                </c:pt>
                <c:pt idx="17013">
                  <c:v>0</c:v>
                </c:pt>
                <c:pt idx="17014">
                  <c:v>0</c:v>
                </c:pt>
                <c:pt idx="17015">
                  <c:v>0</c:v>
                </c:pt>
                <c:pt idx="17016">
                  <c:v>0</c:v>
                </c:pt>
                <c:pt idx="17017">
                  <c:v>0</c:v>
                </c:pt>
                <c:pt idx="17018">
                  <c:v>0</c:v>
                </c:pt>
                <c:pt idx="17019">
                  <c:v>0</c:v>
                </c:pt>
                <c:pt idx="17020">
                  <c:v>0</c:v>
                </c:pt>
                <c:pt idx="17021">
                  <c:v>0</c:v>
                </c:pt>
                <c:pt idx="17022">
                  <c:v>0</c:v>
                </c:pt>
                <c:pt idx="17023">
                  <c:v>0</c:v>
                </c:pt>
                <c:pt idx="17024">
                  <c:v>0</c:v>
                </c:pt>
                <c:pt idx="17025">
                  <c:v>0</c:v>
                </c:pt>
                <c:pt idx="17026">
                  <c:v>0</c:v>
                </c:pt>
                <c:pt idx="17027">
                  <c:v>0</c:v>
                </c:pt>
                <c:pt idx="17028">
                  <c:v>0</c:v>
                </c:pt>
                <c:pt idx="17029">
                  <c:v>0</c:v>
                </c:pt>
                <c:pt idx="17030">
                  <c:v>0</c:v>
                </c:pt>
                <c:pt idx="17031">
                  <c:v>0</c:v>
                </c:pt>
                <c:pt idx="17032">
                  <c:v>0</c:v>
                </c:pt>
                <c:pt idx="17033">
                  <c:v>0</c:v>
                </c:pt>
                <c:pt idx="17034">
                  <c:v>0</c:v>
                </c:pt>
                <c:pt idx="17035">
                  <c:v>0</c:v>
                </c:pt>
                <c:pt idx="17036">
                  <c:v>0</c:v>
                </c:pt>
                <c:pt idx="17037">
                  <c:v>0</c:v>
                </c:pt>
                <c:pt idx="17038">
                  <c:v>0</c:v>
                </c:pt>
                <c:pt idx="17039">
                  <c:v>0</c:v>
                </c:pt>
                <c:pt idx="17040">
                  <c:v>0</c:v>
                </c:pt>
                <c:pt idx="17041">
                  <c:v>0</c:v>
                </c:pt>
                <c:pt idx="17042">
                  <c:v>0</c:v>
                </c:pt>
                <c:pt idx="17043">
                  <c:v>0</c:v>
                </c:pt>
                <c:pt idx="17044">
                  <c:v>0</c:v>
                </c:pt>
                <c:pt idx="17045">
                  <c:v>0</c:v>
                </c:pt>
                <c:pt idx="17046">
                  <c:v>0</c:v>
                </c:pt>
                <c:pt idx="17047">
                  <c:v>0</c:v>
                </c:pt>
                <c:pt idx="17048">
                  <c:v>0</c:v>
                </c:pt>
                <c:pt idx="17049">
                  <c:v>0</c:v>
                </c:pt>
                <c:pt idx="17050">
                  <c:v>0</c:v>
                </c:pt>
                <c:pt idx="17051">
                  <c:v>0</c:v>
                </c:pt>
                <c:pt idx="17052">
                  <c:v>0</c:v>
                </c:pt>
                <c:pt idx="17053">
                  <c:v>0</c:v>
                </c:pt>
                <c:pt idx="17054">
                  <c:v>0</c:v>
                </c:pt>
                <c:pt idx="17055">
                  <c:v>0</c:v>
                </c:pt>
                <c:pt idx="17056">
                  <c:v>0</c:v>
                </c:pt>
                <c:pt idx="17057">
                  <c:v>0</c:v>
                </c:pt>
                <c:pt idx="17058">
                  <c:v>0</c:v>
                </c:pt>
                <c:pt idx="17059">
                  <c:v>0</c:v>
                </c:pt>
                <c:pt idx="17060">
                  <c:v>0</c:v>
                </c:pt>
                <c:pt idx="17061">
                  <c:v>0</c:v>
                </c:pt>
                <c:pt idx="17062">
                  <c:v>0</c:v>
                </c:pt>
                <c:pt idx="17063">
                  <c:v>0</c:v>
                </c:pt>
                <c:pt idx="17064">
                  <c:v>0</c:v>
                </c:pt>
                <c:pt idx="17065">
                  <c:v>0</c:v>
                </c:pt>
                <c:pt idx="17066">
                  <c:v>0</c:v>
                </c:pt>
                <c:pt idx="17067">
                  <c:v>0</c:v>
                </c:pt>
                <c:pt idx="17068">
                  <c:v>0</c:v>
                </c:pt>
                <c:pt idx="17069">
                  <c:v>0</c:v>
                </c:pt>
                <c:pt idx="17070">
                  <c:v>0</c:v>
                </c:pt>
                <c:pt idx="17071">
                  <c:v>0</c:v>
                </c:pt>
                <c:pt idx="17072">
                  <c:v>0</c:v>
                </c:pt>
                <c:pt idx="17073">
                  <c:v>0</c:v>
                </c:pt>
                <c:pt idx="17074">
                  <c:v>0</c:v>
                </c:pt>
                <c:pt idx="17075">
                  <c:v>0</c:v>
                </c:pt>
                <c:pt idx="17076">
                  <c:v>0</c:v>
                </c:pt>
                <c:pt idx="17077">
                  <c:v>0</c:v>
                </c:pt>
                <c:pt idx="17078">
                  <c:v>0</c:v>
                </c:pt>
                <c:pt idx="17079">
                  <c:v>0</c:v>
                </c:pt>
                <c:pt idx="17080">
                  <c:v>0</c:v>
                </c:pt>
                <c:pt idx="17081">
                  <c:v>0</c:v>
                </c:pt>
                <c:pt idx="17082">
                  <c:v>0</c:v>
                </c:pt>
                <c:pt idx="17083">
                  <c:v>0</c:v>
                </c:pt>
                <c:pt idx="17084">
                  <c:v>0</c:v>
                </c:pt>
                <c:pt idx="17085">
                  <c:v>0</c:v>
                </c:pt>
                <c:pt idx="17086">
                  <c:v>0</c:v>
                </c:pt>
                <c:pt idx="17087">
                  <c:v>0</c:v>
                </c:pt>
                <c:pt idx="17088">
                  <c:v>0</c:v>
                </c:pt>
                <c:pt idx="17089">
                  <c:v>0</c:v>
                </c:pt>
                <c:pt idx="17090">
                  <c:v>0</c:v>
                </c:pt>
                <c:pt idx="17091">
                  <c:v>0</c:v>
                </c:pt>
                <c:pt idx="17092">
                  <c:v>0</c:v>
                </c:pt>
                <c:pt idx="17093">
                  <c:v>0</c:v>
                </c:pt>
                <c:pt idx="17094">
                  <c:v>0</c:v>
                </c:pt>
                <c:pt idx="17095">
                  <c:v>0</c:v>
                </c:pt>
                <c:pt idx="17096">
                  <c:v>0</c:v>
                </c:pt>
                <c:pt idx="17097">
                  <c:v>0</c:v>
                </c:pt>
                <c:pt idx="17098">
                  <c:v>0</c:v>
                </c:pt>
                <c:pt idx="17099">
                  <c:v>0</c:v>
                </c:pt>
                <c:pt idx="17100">
                  <c:v>0</c:v>
                </c:pt>
                <c:pt idx="17101">
                  <c:v>0</c:v>
                </c:pt>
                <c:pt idx="17102">
                  <c:v>0</c:v>
                </c:pt>
                <c:pt idx="17103">
                  <c:v>0</c:v>
                </c:pt>
                <c:pt idx="17104">
                  <c:v>0</c:v>
                </c:pt>
                <c:pt idx="17105">
                  <c:v>0</c:v>
                </c:pt>
                <c:pt idx="17106">
                  <c:v>0</c:v>
                </c:pt>
                <c:pt idx="17107">
                  <c:v>0</c:v>
                </c:pt>
                <c:pt idx="17108">
                  <c:v>0</c:v>
                </c:pt>
                <c:pt idx="17109">
                  <c:v>0</c:v>
                </c:pt>
                <c:pt idx="17110">
                  <c:v>0</c:v>
                </c:pt>
                <c:pt idx="17111">
                  <c:v>0</c:v>
                </c:pt>
                <c:pt idx="17112">
                  <c:v>0</c:v>
                </c:pt>
                <c:pt idx="17113">
                  <c:v>0</c:v>
                </c:pt>
                <c:pt idx="17114">
                  <c:v>0</c:v>
                </c:pt>
                <c:pt idx="17115">
                  <c:v>0</c:v>
                </c:pt>
                <c:pt idx="17116">
                  <c:v>0</c:v>
                </c:pt>
                <c:pt idx="17117">
                  <c:v>0</c:v>
                </c:pt>
                <c:pt idx="17118">
                  <c:v>0</c:v>
                </c:pt>
                <c:pt idx="17119">
                  <c:v>0</c:v>
                </c:pt>
                <c:pt idx="17120">
                  <c:v>0</c:v>
                </c:pt>
                <c:pt idx="17121">
                  <c:v>0</c:v>
                </c:pt>
                <c:pt idx="17122">
                  <c:v>0</c:v>
                </c:pt>
                <c:pt idx="17123">
                  <c:v>0</c:v>
                </c:pt>
                <c:pt idx="17124">
                  <c:v>0</c:v>
                </c:pt>
                <c:pt idx="17125">
                  <c:v>0</c:v>
                </c:pt>
                <c:pt idx="17126">
                  <c:v>0</c:v>
                </c:pt>
                <c:pt idx="17127">
                  <c:v>0</c:v>
                </c:pt>
                <c:pt idx="17128">
                  <c:v>0</c:v>
                </c:pt>
                <c:pt idx="17129">
                  <c:v>0</c:v>
                </c:pt>
                <c:pt idx="17130">
                  <c:v>0</c:v>
                </c:pt>
                <c:pt idx="17131">
                  <c:v>0</c:v>
                </c:pt>
                <c:pt idx="17132">
                  <c:v>0</c:v>
                </c:pt>
                <c:pt idx="17133">
                  <c:v>0</c:v>
                </c:pt>
                <c:pt idx="17134">
                  <c:v>0</c:v>
                </c:pt>
                <c:pt idx="17135">
                  <c:v>0</c:v>
                </c:pt>
                <c:pt idx="17136">
                  <c:v>0</c:v>
                </c:pt>
                <c:pt idx="17137">
                  <c:v>0</c:v>
                </c:pt>
                <c:pt idx="17138">
                  <c:v>0</c:v>
                </c:pt>
                <c:pt idx="17139">
                  <c:v>0</c:v>
                </c:pt>
                <c:pt idx="17140">
                  <c:v>0</c:v>
                </c:pt>
                <c:pt idx="17141">
                  <c:v>0</c:v>
                </c:pt>
                <c:pt idx="17142">
                  <c:v>0</c:v>
                </c:pt>
                <c:pt idx="17143">
                  <c:v>0</c:v>
                </c:pt>
                <c:pt idx="17144">
                  <c:v>0</c:v>
                </c:pt>
                <c:pt idx="17145">
                  <c:v>0</c:v>
                </c:pt>
                <c:pt idx="17146">
                  <c:v>0</c:v>
                </c:pt>
                <c:pt idx="17147">
                  <c:v>0</c:v>
                </c:pt>
                <c:pt idx="17148">
                  <c:v>0</c:v>
                </c:pt>
                <c:pt idx="17149">
                  <c:v>0</c:v>
                </c:pt>
                <c:pt idx="17150">
                  <c:v>0</c:v>
                </c:pt>
                <c:pt idx="17151">
                  <c:v>0</c:v>
                </c:pt>
                <c:pt idx="17152">
                  <c:v>0</c:v>
                </c:pt>
                <c:pt idx="17153">
                  <c:v>0</c:v>
                </c:pt>
                <c:pt idx="17154">
                  <c:v>0</c:v>
                </c:pt>
                <c:pt idx="17155">
                  <c:v>0</c:v>
                </c:pt>
                <c:pt idx="17156">
                  <c:v>0</c:v>
                </c:pt>
                <c:pt idx="17157">
                  <c:v>0</c:v>
                </c:pt>
                <c:pt idx="17158">
                  <c:v>0</c:v>
                </c:pt>
                <c:pt idx="17159">
                  <c:v>0</c:v>
                </c:pt>
                <c:pt idx="17160">
                  <c:v>0</c:v>
                </c:pt>
                <c:pt idx="17161">
                  <c:v>0</c:v>
                </c:pt>
                <c:pt idx="17162">
                  <c:v>0</c:v>
                </c:pt>
                <c:pt idx="17163">
                  <c:v>0</c:v>
                </c:pt>
                <c:pt idx="17164">
                  <c:v>0</c:v>
                </c:pt>
                <c:pt idx="17165">
                  <c:v>0</c:v>
                </c:pt>
                <c:pt idx="17166">
                  <c:v>0</c:v>
                </c:pt>
                <c:pt idx="17167">
                  <c:v>0</c:v>
                </c:pt>
                <c:pt idx="17168">
                  <c:v>0</c:v>
                </c:pt>
                <c:pt idx="17169">
                  <c:v>0</c:v>
                </c:pt>
                <c:pt idx="17170">
                  <c:v>0</c:v>
                </c:pt>
                <c:pt idx="17171">
                  <c:v>0</c:v>
                </c:pt>
                <c:pt idx="17172">
                  <c:v>0</c:v>
                </c:pt>
                <c:pt idx="17173">
                  <c:v>0</c:v>
                </c:pt>
                <c:pt idx="17174">
                  <c:v>0</c:v>
                </c:pt>
                <c:pt idx="17175">
                  <c:v>0</c:v>
                </c:pt>
                <c:pt idx="17176">
                  <c:v>0</c:v>
                </c:pt>
                <c:pt idx="17177">
                  <c:v>0</c:v>
                </c:pt>
                <c:pt idx="17178">
                  <c:v>0</c:v>
                </c:pt>
                <c:pt idx="17179">
                  <c:v>0</c:v>
                </c:pt>
                <c:pt idx="17180">
                  <c:v>0</c:v>
                </c:pt>
                <c:pt idx="17181">
                  <c:v>0</c:v>
                </c:pt>
                <c:pt idx="17182">
                  <c:v>0</c:v>
                </c:pt>
                <c:pt idx="17183">
                  <c:v>0</c:v>
                </c:pt>
                <c:pt idx="17184">
                  <c:v>0</c:v>
                </c:pt>
                <c:pt idx="17185">
                  <c:v>0</c:v>
                </c:pt>
                <c:pt idx="17186">
                  <c:v>0</c:v>
                </c:pt>
                <c:pt idx="17187">
                  <c:v>0</c:v>
                </c:pt>
                <c:pt idx="17188">
                  <c:v>0</c:v>
                </c:pt>
                <c:pt idx="17189">
                  <c:v>0</c:v>
                </c:pt>
                <c:pt idx="17190">
                  <c:v>0</c:v>
                </c:pt>
                <c:pt idx="17191">
                  <c:v>0</c:v>
                </c:pt>
                <c:pt idx="17192">
                  <c:v>0</c:v>
                </c:pt>
                <c:pt idx="17193">
                  <c:v>0</c:v>
                </c:pt>
                <c:pt idx="17194">
                  <c:v>0</c:v>
                </c:pt>
                <c:pt idx="17195">
                  <c:v>0</c:v>
                </c:pt>
                <c:pt idx="17196">
                  <c:v>0</c:v>
                </c:pt>
                <c:pt idx="17197">
                  <c:v>0</c:v>
                </c:pt>
                <c:pt idx="17198">
                  <c:v>0</c:v>
                </c:pt>
                <c:pt idx="17199">
                  <c:v>0</c:v>
                </c:pt>
                <c:pt idx="17200">
                  <c:v>0</c:v>
                </c:pt>
                <c:pt idx="17201">
                  <c:v>0</c:v>
                </c:pt>
                <c:pt idx="17202">
                  <c:v>0</c:v>
                </c:pt>
                <c:pt idx="17203">
                  <c:v>0</c:v>
                </c:pt>
                <c:pt idx="17204">
                  <c:v>0</c:v>
                </c:pt>
                <c:pt idx="17205">
                  <c:v>0</c:v>
                </c:pt>
                <c:pt idx="17206">
                  <c:v>0</c:v>
                </c:pt>
                <c:pt idx="17207">
                  <c:v>0</c:v>
                </c:pt>
                <c:pt idx="17208">
                  <c:v>0</c:v>
                </c:pt>
                <c:pt idx="17209">
                  <c:v>0</c:v>
                </c:pt>
                <c:pt idx="17210">
                  <c:v>0</c:v>
                </c:pt>
                <c:pt idx="17211">
                  <c:v>0</c:v>
                </c:pt>
                <c:pt idx="17212">
                  <c:v>0</c:v>
                </c:pt>
                <c:pt idx="17213">
                  <c:v>0</c:v>
                </c:pt>
                <c:pt idx="17214">
                  <c:v>0</c:v>
                </c:pt>
                <c:pt idx="17215">
                  <c:v>0</c:v>
                </c:pt>
                <c:pt idx="17216">
                  <c:v>0</c:v>
                </c:pt>
                <c:pt idx="17217">
                  <c:v>0</c:v>
                </c:pt>
                <c:pt idx="17218">
                  <c:v>0</c:v>
                </c:pt>
                <c:pt idx="17219">
                  <c:v>0</c:v>
                </c:pt>
                <c:pt idx="17220">
                  <c:v>0</c:v>
                </c:pt>
                <c:pt idx="17221">
                  <c:v>0</c:v>
                </c:pt>
                <c:pt idx="17222">
                  <c:v>0</c:v>
                </c:pt>
                <c:pt idx="17223">
                  <c:v>0</c:v>
                </c:pt>
                <c:pt idx="17224">
                  <c:v>0</c:v>
                </c:pt>
                <c:pt idx="17225">
                  <c:v>0</c:v>
                </c:pt>
                <c:pt idx="17226">
                  <c:v>0</c:v>
                </c:pt>
                <c:pt idx="17227">
                  <c:v>0</c:v>
                </c:pt>
                <c:pt idx="17228">
                  <c:v>0</c:v>
                </c:pt>
                <c:pt idx="17229">
                  <c:v>0</c:v>
                </c:pt>
                <c:pt idx="17230">
                  <c:v>2.6708487084870849</c:v>
                </c:pt>
                <c:pt idx="17231">
                  <c:v>2.6472324723247231</c:v>
                </c:pt>
                <c:pt idx="17232">
                  <c:v>2.6450184501845015</c:v>
                </c:pt>
                <c:pt idx="17233">
                  <c:v>2.6162361623616235</c:v>
                </c:pt>
                <c:pt idx="17234">
                  <c:v>2.6221402214022138</c:v>
                </c:pt>
                <c:pt idx="17235">
                  <c:v>2.6516605166051654</c:v>
                </c:pt>
                <c:pt idx="17236">
                  <c:v>2.6487084870848703</c:v>
                </c:pt>
                <c:pt idx="17237">
                  <c:v>2.6405904059040588</c:v>
                </c:pt>
                <c:pt idx="17238">
                  <c:v>2.6405904059040588</c:v>
                </c:pt>
                <c:pt idx="17239">
                  <c:v>2.6420664206642064</c:v>
                </c:pt>
                <c:pt idx="17240">
                  <c:v>2.6398523985239852</c:v>
                </c:pt>
                <c:pt idx="17241">
                  <c:v>2.6383763837638372</c:v>
                </c:pt>
                <c:pt idx="17242">
                  <c:v>2.6391143911439112</c:v>
                </c:pt>
                <c:pt idx="17243">
                  <c:v>2.6265682656826566</c:v>
                </c:pt>
                <c:pt idx="17244">
                  <c:v>2.5955719557195569</c:v>
                </c:pt>
                <c:pt idx="17245">
                  <c:v>2.5852398523985238</c:v>
                </c:pt>
                <c:pt idx="17246">
                  <c:v>2.5933579335793353</c:v>
                </c:pt>
                <c:pt idx="17247">
                  <c:v>2.5822878228782287</c:v>
                </c:pt>
                <c:pt idx="17248">
                  <c:v>2.5608856088560885</c:v>
                </c:pt>
                <c:pt idx="17249">
                  <c:v>2.5453874538745387</c:v>
                </c:pt>
                <c:pt idx="17250">
                  <c:v>2.5276752767527673</c:v>
                </c:pt>
                <c:pt idx="17251">
                  <c:v>2.5276752767527673</c:v>
                </c:pt>
                <c:pt idx="17252">
                  <c:v>2.4922509225092249</c:v>
                </c:pt>
                <c:pt idx="17253">
                  <c:v>2.4634686346863468</c:v>
                </c:pt>
                <c:pt idx="17254">
                  <c:v>2.466420664206642</c:v>
                </c:pt>
                <c:pt idx="17255">
                  <c:v>2.4782287822878231</c:v>
                </c:pt>
                <c:pt idx="17256">
                  <c:v>2.4738007380073799</c:v>
                </c:pt>
                <c:pt idx="17257">
                  <c:v>2.447970479704797</c:v>
                </c:pt>
                <c:pt idx="17258">
                  <c:v>2.4250922509225088</c:v>
                </c:pt>
                <c:pt idx="17259">
                  <c:v>2.4383763837638379</c:v>
                </c:pt>
                <c:pt idx="17260">
                  <c:v>2.4487084870848705</c:v>
                </c:pt>
                <c:pt idx="17261">
                  <c:v>2.4250922509225088</c:v>
                </c:pt>
                <c:pt idx="17262">
                  <c:v>2.4110701107011066</c:v>
                </c:pt>
                <c:pt idx="17263">
                  <c:v>2.4073800738007378</c:v>
                </c:pt>
                <c:pt idx="17264">
                  <c:v>2.4221402214022136</c:v>
                </c:pt>
                <c:pt idx="17265">
                  <c:v>2.4177121771217713</c:v>
                </c:pt>
                <c:pt idx="17266">
                  <c:v>2.4258302583025828</c:v>
                </c:pt>
                <c:pt idx="17267">
                  <c:v>2.4214022140221401</c:v>
                </c:pt>
                <c:pt idx="17268">
                  <c:v>2.373431734317343</c:v>
                </c:pt>
                <c:pt idx="17269">
                  <c:v>2.3313653136531363</c:v>
                </c:pt>
                <c:pt idx="17270">
                  <c:v>2.3940959409594096</c:v>
                </c:pt>
                <c:pt idx="17271">
                  <c:v>2.3675276752767527</c:v>
                </c:pt>
                <c:pt idx="17272">
                  <c:v>2.3845018450184501</c:v>
                </c:pt>
                <c:pt idx="17273">
                  <c:v>2.3837638376383765</c:v>
                </c:pt>
                <c:pt idx="17274">
                  <c:v>2.3638376383763835</c:v>
                </c:pt>
                <c:pt idx="17275">
                  <c:v>2.3357933579335795</c:v>
                </c:pt>
                <c:pt idx="17276">
                  <c:v>2.3357933579335795</c:v>
                </c:pt>
                <c:pt idx="17277">
                  <c:v>2.3291512915129151</c:v>
                </c:pt>
                <c:pt idx="17278">
                  <c:v>2.2546125461254611</c:v>
                </c:pt>
                <c:pt idx="17279">
                  <c:v>2.2929889298892987</c:v>
                </c:pt>
                <c:pt idx="17280">
                  <c:v>2.2915129151291511</c:v>
                </c:pt>
                <c:pt idx="17281">
                  <c:v>2.3225092250922508</c:v>
                </c:pt>
                <c:pt idx="17282">
                  <c:v>2.3402214022140218</c:v>
                </c:pt>
                <c:pt idx="17283">
                  <c:v>2.3940959409594096</c:v>
                </c:pt>
                <c:pt idx="17284">
                  <c:v>2.4236162361623617</c:v>
                </c:pt>
                <c:pt idx="17285">
                  <c:v>2.4398523985239851</c:v>
                </c:pt>
                <c:pt idx="17286">
                  <c:v>2.3985239852398519</c:v>
                </c:pt>
                <c:pt idx="17287">
                  <c:v>2.4221402214022136</c:v>
                </c:pt>
                <c:pt idx="17288">
                  <c:v>2.45830258302583</c:v>
                </c:pt>
                <c:pt idx="17289">
                  <c:v>2.4774907749077486</c:v>
                </c:pt>
                <c:pt idx="17290">
                  <c:v>2.4804428044280438</c:v>
                </c:pt>
                <c:pt idx="17291">
                  <c:v>2.5380073800738003</c:v>
                </c:pt>
                <c:pt idx="17292">
                  <c:v>2.5439114391143911</c:v>
                </c:pt>
                <c:pt idx="17293">
                  <c:v>2.5586715867158669</c:v>
                </c:pt>
                <c:pt idx="17294">
                  <c:v>2.5800738007380071</c:v>
                </c:pt>
                <c:pt idx="17295">
                  <c:v>2.5675276752767529</c:v>
                </c:pt>
                <c:pt idx="17296">
                  <c:v>2.5549815498154982</c:v>
                </c:pt>
                <c:pt idx="17297">
                  <c:v>2.5542435424354237</c:v>
                </c:pt>
                <c:pt idx="17298">
                  <c:v>2.570479704797048</c:v>
                </c:pt>
                <c:pt idx="17299">
                  <c:v>2.5416974169741695</c:v>
                </c:pt>
                <c:pt idx="17300">
                  <c:v>2.5047970479704795</c:v>
                </c:pt>
                <c:pt idx="17301">
                  <c:v>2.4752767527675279</c:v>
                </c:pt>
                <c:pt idx="17302">
                  <c:v>2.4878228782287821</c:v>
                </c:pt>
                <c:pt idx="17303">
                  <c:v>2.5166051660516602</c:v>
                </c:pt>
                <c:pt idx="17304">
                  <c:v>2.5247232472324721</c:v>
                </c:pt>
                <c:pt idx="17305">
                  <c:v>2.5107011070110699</c:v>
                </c:pt>
                <c:pt idx="17306">
                  <c:v>2.5232472324723245</c:v>
                </c:pt>
                <c:pt idx="17307">
                  <c:v>2.5372693726937268</c:v>
                </c:pt>
                <c:pt idx="17308">
                  <c:v>2.5394833948339484</c:v>
                </c:pt>
                <c:pt idx="17309">
                  <c:v>2.5387453874538743</c:v>
                </c:pt>
                <c:pt idx="17310">
                  <c:v>2.5439114391143911</c:v>
                </c:pt>
                <c:pt idx="17311">
                  <c:v>2.5653136531365313</c:v>
                </c:pt>
                <c:pt idx="17312">
                  <c:v>2.5372693726937268</c:v>
                </c:pt>
                <c:pt idx="17313">
                  <c:v>2.587453874538745</c:v>
                </c:pt>
                <c:pt idx="17314">
                  <c:v>2.6051660516605164</c:v>
                </c:pt>
                <c:pt idx="17315">
                  <c:v>2.5845018450184498</c:v>
                </c:pt>
                <c:pt idx="17316">
                  <c:v>2.6014760147601472</c:v>
                </c:pt>
                <c:pt idx="17317">
                  <c:v>2.5815498154981551</c:v>
                </c:pt>
                <c:pt idx="17318">
                  <c:v>2.5940959409594098</c:v>
                </c:pt>
                <c:pt idx="17319">
                  <c:v>2.5940959409594098</c:v>
                </c:pt>
                <c:pt idx="17320">
                  <c:v>2.5778597785977855</c:v>
                </c:pt>
                <c:pt idx="17321">
                  <c:v>2.5800738007380071</c:v>
                </c:pt>
                <c:pt idx="17322">
                  <c:v>2.5608856088560885</c:v>
                </c:pt>
                <c:pt idx="17323">
                  <c:v>2.588191881918819</c:v>
                </c:pt>
                <c:pt idx="17324">
                  <c:v>2.6036900369003688</c:v>
                </c:pt>
                <c:pt idx="17325">
                  <c:v>2.5955719557195569</c:v>
                </c:pt>
                <c:pt idx="17326">
                  <c:v>2.5594095940959405</c:v>
                </c:pt>
                <c:pt idx="17327">
                  <c:v>2.606642066420664</c:v>
                </c:pt>
                <c:pt idx="17328">
                  <c:v>2.5859778597785978</c:v>
                </c:pt>
                <c:pt idx="17329">
                  <c:v>2.5527675276752766</c:v>
                </c:pt>
                <c:pt idx="17330">
                  <c:v>2.5416974169741695</c:v>
                </c:pt>
                <c:pt idx="17331">
                  <c:v>2.5077490774907747</c:v>
                </c:pt>
                <c:pt idx="17332">
                  <c:v>2.4730627306273063</c:v>
                </c:pt>
                <c:pt idx="17333">
                  <c:v>2.4782287822878231</c:v>
                </c:pt>
                <c:pt idx="17334">
                  <c:v>2.4464944649446494</c:v>
                </c:pt>
                <c:pt idx="17335">
                  <c:v>2.4036900369003686</c:v>
                </c:pt>
                <c:pt idx="17336">
                  <c:v>2.3955719557195567</c:v>
                </c:pt>
                <c:pt idx="17337">
                  <c:v>2.3977859778597783</c:v>
                </c:pt>
                <c:pt idx="17338">
                  <c:v>2.3992619926199263</c:v>
                </c:pt>
                <c:pt idx="17339">
                  <c:v>2.3808118081180814</c:v>
                </c:pt>
                <c:pt idx="17340">
                  <c:v>2.3608856088560883</c:v>
                </c:pt>
                <c:pt idx="17341">
                  <c:v>2.3461254612546125</c:v>
                </c:pt>
                <c:pt idx="17342">
                  <c:v>2.3527675276752764</c:v>
                </c:pt>
                <c:pt idx="17343">
                  <c:v>2.3409594095940962</c:v>
                </c:pt>
                <c:pt idx="17344">
                  <c:v>2.3446494464944649</c:v>
                </c:pt>
                <c:pt idx="17345">
                  <c:v>2.3173431734317345</c:v>
                </c:pt>
                <c:pt idx="17346">
                  <c:v>2.3173431734317345</c:v>
                </c:pt>
                <c:pt idx="17347">
                  <c:v>2.288560885608856</c:v>
                </c:pt>
                <c:pt idx="17348">
                  <c:v>2.2804428044280445</c:v>
                </c:pt>
                <c:pt idx="17349">
                  <c:v>2.2856088560885608</c:v>
                </c:pt>
                <c:pt idx="17350">
                  <c:v>2.2339483394833946</c:v>
                </c:pt>
                <c:pt idx="17351">
                  <c:v>2.2501845018450184</c:v>
                </c:pt>
                <c:pt idx="17352">
                  <c:v>2.2044280442804429</c:v>
                </c:pt>
                <c:pt idx="17353">
                  <c:v>2.2162361623616231</c:v>
                </c:pt>
                <c:pt idx="17354">
                  <c:v>2.2206642066420663</c:v>
                </c:pt>
                <c:pt idx="17355">
                  <c:v>2.2221402214022135</c:v>
                </c:pt>
                <c:pt idx="17356">
                  <c:v>2.2590405904059034</c:v>
                </c:pt>
                <c:pt idx="17357">
                  <c:v>2.2915129151291511</c:v>
                </c:pt>
                <c:pt idx="17358">
                  <c:v>2.3070110701107009</c:v>
                </c:pt>
                <c:pt idx="17359">
                  <c:v>2.3047970479704798</c:v>
                </c:pt>
                <c:pt idx="17360">
                  <c:v>2.2634686346863466</c:v>
                </c:pt>
                <c:pt idx="17361">
                  <c:v>2.2494464944649444</c:v>
                </c:pt>
                <c:pt idx="17362">
                  <c:v>2.2339483394833946</c:v>
                </c:pt>
                <c:pt idx="17363">
                  <c:v>2.2103321033210332</c:v>
                </c:pt>
                <c:pt idx="17364">
                  <c:v>2.1992619926199262</c:v>
                </c:pt>
                <c:pt idx="17365">
                  <c:v>2.2073800738007381</c:v>
                </c:pt>
                <c:pt idx="17366">
                  <c:v>2.2265682656826566</c:v>
                </c:pt>
                <c:pt idx="17367">
                  <c:v>2.2214022140221399</c:v>
                </c:pt>
                <c:pt idx="17368">
                  <c:v>2.1815498154981547</c:v>
                </c:pt>
                <c:pt idx="17369">
                  <c:v>2.1896678966789667</c:v>
                </c:pt>
                <c:pt idx="17370">
                  <c:v>2.2265682656826566</c:v>
                </c:pt>
                <c:pt idx="17371">
                  <c:v>2.2597785977859779</c:v>
                </c:pt>
                <c:pt idx="17372">
                  <c:v>2.2819188191881916</c:v>
                </c:pt>
                <c:pt idx="17373">
                  <c:v>2.2575645756457563</c:v>
                </c:pt>
                <c:pt idx="17374">
                  <c:v>2.2966789667896679</c:v>
                </c:pt>
                <c:pt idx="17375">
                  <c:v>2.3025830258302582</c:v>
                </c:pt>
                <c:pt idx="17376">
                  <c:v>2.2752767527675277</c:v>
                </c:pt>
                <c:pt idx="17377">
                  <c:v>2.2590405904059034</c:v>
                </c:pt>
                <c:pt idx="17378">
                  <c:v>2.2848708487084868</c:v>
                </c:pt>
                <c:pt idx="17379">
                  <c:v>2.3313653136531363</c:v>
                </c:pt>
                <c:pt idx="17380">
                  <c:v>2.3173431734317345</c:v>
                </c:pt>
                <c:pt idx="17381">
                  <c:v>2.3210332103321032</c:v>
                </c:pt>
                <c:pt idx="17382">
                  <c:v>2.3328413284132838</c:v>
                </c:pt>
                <c:pt idx="17383">
                  <c:v>2.3328413284132838</c:v>
                </c:pt>
                <c:pt idx="17384">
                  <c:v>2.3564575645756451</c:v>
                </c:pt>
                <c:pt idx="17385">
                  <c:v>2.3321033210332098</c:v>
                </c:pt>
                <c:pt idx="17386">
                  <c:v>2.3247232472324719</c:v>
                </c:pt>
                <c:pt idx="17387">
                  <c:v>2.3372693726937266</c:v>
                </c:pt>
                <c:pt idx="17388">
                  <c:v>2.3372693726937266</c:v>
                </c:pt>
                <c:pt idx="17389">
                  <c:v>2.3579335793357932</c:v>
                </c:pt>
                <c:pt idx="17390">
                  <c:v>2.3512915129151288</c:v>
                </c:pt>
                <c:pt idx="17391">
                  <c:v>2.3461254612546125</c:v>
                </c:pt>
                <c:pt idx="17392">
                  <c:v>2.3173431734317345</c:v>
                </c:pt>
                <c:pt idx="17393">
                  <c:v>2.3225092250922508</c:v>
                </c:pt>
                <c:pt idx="17394">
                  <c:v>2.3306273062730627</c:v>
                </c:pt>
                <c:pt idx="17395">
                  <c:v>2.3254612546125459</c:v>
                </c:pt>
                <c:pt idx="17396">
                  <c:v>2.3261992619926199</c:v>
                </c:pt>
                <c:pt idx="17397">
                  <c:v>2.3542435424354244</c:v>
                </c:pt>
                <c:pt idx="17398">
                  <c:v>2.3520295202952028</c:v>
                </c:pt>
                <c:pt idx="17399">
                  <c:v>2.3867158671586712</c:v>
                </c:pt>
                <c:pt idx="17400">
                  <c:v>2.3815498154981549</c:v>
                </c:pt>
                <c:pt idx="17401">
                  <c:v>2.3616236162361619</c:v>
                </c:pt>
                <c:pt idx="17402">
                  <c:v>2.3726937269372694</c:v>
                </c:pt>
                <c:pt idx="17403">
                  <c:v>2.3726937269372694</c:v>
                </c:pt>
                <c:pt idx="17404">
                  <c:v>2.3535055350553504</c:v>
                </c:pt>
                <c:pt idx="17405">
                  <c:v>2.3468634686346861</c:v>
                </c:pt>
                <c:pt idx="17406">
                  <c:v>2.3586715867158667</c:v>
                </c:pt>
                <c:pt idx="17407">
                  <c:v>2.3623616236162364</c:v>
                </c:pt>
                <c:pt idx="17408">
                  <c:v>2.3490774907749077</c:v>
                </c:pt>
                <c:pt idx="17409">
                  <c:v>2.3712177121771214</c:v>
                </c:pt>
                <c:pt idx="17410">
                  <c:v>2.3712177121771214</c:v>
                </c:pt>
                <c:pt idx="17411">
                  <c:v>2.3741697416974166</c:v>
                </c:pt>
                <c:pt idx="17412">
                  <c:v>2.3697416974169738</c:v>
                </c:pt>
                <c:pt idx="17413">
                  <c:v>2.3372693726937266</c:v>
                </c:pt>
                <c:pt idx="17414">
                  <c:v>2.3608856088560883</c:v>
                </c:pt>
                <c:pt idx="17415">
                  <c:v>2.3645756457564575</c:v>
                </c:pt>
                <c:pt idx="17416">
                  <c:v>2.3881918819188188</c:v>
                </c:pt>
                <c:pt idx="17417">
                  <c:v>2.410332103321033</c:v>
                </c:pt>
                <c:pt idx="17418">
                  <c:v>2.4250922509225088</c:v>
                </c:pt>
                <c:pt idx="17419">
                  <c:v>2.3387453874538746</c:v>
                </c:pt>
                <c:pt idx="17420">
                  <c:v>2.3003690036900366</c:v>
                </c:pt>
                <c:pt idx="17421">
                  <c:v>2.2922509225092247</c:v>
                </c:pt>
                <c:pt idx="17422">
                  <c:v>2.2922509225092247</c:v>
                </c:pt>
                <c:pt idx="17423">
                  <c:v>2.2583025830258299</c:v>
                </c:pt>
                <c:pt idx="17424">
                  <c:v>2.2442804428044281</c:v>
                </c:pt>
                <c:pt idx="17425">
                  <c:v>2.1911439114391142</c:v>
                </c:pt>
                <c:pt idx="17426">
                  <c:v>2.1254612546125462</c:v>
                </c:pt>
                <c:pt idx="17427">
                  <c:v>2.1202952029520294</c:v>
                </c:pt>
                <c:pt idx="17428">
                  <c:v>2.1247232472324726</c:v>
                </c:pt>
                <c:pt idx="17429">
                  <c:v>2.1269372693726933</c:v>
                </c:pt>
                <c:pt idx="17430">
                  <c:v>2.1099630996309964</c:v>
                </c:pt>
                <c:pt idx="17431">
                  <c:v>2.121033210332103</c:v>
                </c:pt>
                <c:pt idx="17432">
                  <c:v>2.1461254612546128</c:v>
                </c:pt>
                <c:pt idx="17433">
                  <c:v>2.1667896678966785</c:v>
                </c:pt>
                <c:pt idx="17434">
                  <c:v>2.1431734317343176</c:v>
                </c:pt>
                <c:pt idx="17435">
                  <c:v>2.1431734317343176</c:v>
                </c:pt>
                <c:pt idx="17436">
                  <c:v>2.1047970479704796</c:v>
                </c:pt>
                <c:pt idx="17437">
                  <c:v>2.07380073800738</c:v>
                </c:pt>
                <c:pt idx="17438">
                  <c:v>2.0516605166051658</c:v>
                </c:pt>
                <c:pt idx="17439">
                  <c:v>2.0420664206642063</c:v>
                </c:pt>
                <c:pt idx="17440">
                  <c:v>2.054612546125461</c:v>
                </c:pt>
                <c:pt idx="17441">
                  <c:v>2.0642066420664209</c:v>
                </c:pt>
                <c:pt idx="17442">
                  <c:v>2.0110701107011066</c:v>
                </c:pt>
                <c:pt idx="17443">
                  <c:v>2.03690036900369</c:v>
                </c:pt>
                <c:pt idx="17444">
                  <c:v>2.1276752767527674</c:v>
                </c:pt>
                <c:pt idx="17445">
                  <c:v>2.1512915129151291</c:v>
                </c:pt>
                <c:pt idx="17446">
                  <c:v>2.1726937269372693</c:v>
                </c:pt>
                <c:pt idx="17447">
                  <c:v>2.1601476014760146</c:v>
                </c:pt>
                <c:pt idx="17448">
                  <c:v>2.1357933579335793</c:v>
                </c:pt>
                <c:pt idx="17449">
                  <c:v>2.2228782287822879</c:v>
                </c:pt>
                <c:pt idx="17450">
                  <c:v>2.2494464944649444</c:v>
                </c:pt>
                <c:pt idx="17451">
                  <c:v>2.270110701107011</c:v>
                </c:pt>
                <c:pt idx="17452">
                  <c:v>2.2162361623616231</c:v>
                </c:pt>
                <c:pt idx="17453">
                  <c:v>2.1446494464944648</c:v>
                </c:pt>
                <c:pt idx="17454">
                  <c:v>2.3675276752767527</c:v>
                </c:pt>
                <c:pt idx="17455">
                  <c:v>2.3498154981549813</c:v>
                </c:pt>
                <c:pt idx="17456">
                  <c:v>2.3498154981549813</c:v>
                </c:pt>
                <c:pt idx="17457">
                  <c:v>2.3306273062730627</c:v>
                </c:pt>
                <c:pt idx="17458">
                  <c:v>2.3328413284132838</c:v>
                </c:pt>
                <c:pt idx="17459">
                  <c:v>2.3276752767527675</c:v>
                </c:pt>
                <c:pt idx="17460">
                  <c:v>2.3025830258302582</c:v>
                </c:pt>
                <c:pt idx="17461">
                  <c:v>2.3202952029520296</c:v>
                </c:pt>
                <c:pt idx="17462">
                  <c:v>2.3062730627306269</c:v>
                </c:pt>
                <c:pt idx="17463">
                  <c:v>2.261254612546125</c:v>
                </c:pt>
                <c:pt idx="17464">
                  <c:v>2.2391143911439113</c:v>
                </c:pt>
                <c:pt idx="17465">
                  <c:v>2.2383763837638377</c:v>
                </c:pt>
                <c:pt idx="17466">
                  <c:v>2.2361623616236161</c:v>
                </c:pt>
                <c:pt idx="17467">
                  <c:v>2.2369003690036897</c:v>
                </c:pt>
                <c:pt idx="17468">
                  <c:v>2.2369003690036897</c:v>
                </c:pt>
                <c:pt idx="17469">
                  <c:v>2.2177121771217712</c:v>
                </c:pt>
                <c:pt idx="17470">
                  <c:v>2.2007380073800733</c:v>
                </c:pt>
                <c:pt idx="17471">
                  <c:v>2.1867158671586715</c:v>
                </c:pt>
                <c:pt idx="17472">
                  <c:v>2.1675276752767529</c:v>
                </c:pt>
                <c:pt idx="17473">
                  <c:v>2.1704797047970477</c:v>
                </c:pt>
                <c:pt idx="17474">
                  <c:v>2.1726937269372693</c:v>
                </c:pt>
                <c:pt idx="17475">
                  <c:v>2.1586715867158666</c:v>
                </c:pt>
                <c:pt idx="17476">
                  <c:v>2.1446494464944648</c:v>
                </c:pt>
                <c:pt idx="17477">
                  <c:v>2.1402214022140216</c:v>
                </c:pt>
                <c:pt idx="17478">
                  <c:v>2.0981549815498153</c:v>
                </c:pt>
                <c:pt idx="17479">
                  <c:v>2.1011070110701109</c:v>
                </c:pt>
                <c:pt idx="17480">
                  <c:v>2.0878228782287822</c:v>
                </c:pt>
                <c:pt idx="17481">
                  <c:v>2.092250922509225</c:v>
                </c:pt>
                <c:pt idx="17482">
                  <c:v>2.0892988929889298</c:v>
                </c:pt>
                <c:pt idx="17483">
                  <c:v>2.1121771217712175</c:v>
                </c:pt>
                <c:pt idx="17484">
                  <c:v>2.1151291512915127</c:v>
                </c:pt>
                <c:pt idx="17485">
                  <c:v>2.1092250922509224</c:v>
                </c:pt>
                <c:pt idx="17486">
                  <c:v>2.0804428044280443</c:v>
                </c:pt>
                <c:pt idx="17487">
                  <c:v>2.0811808118081179</c:v>
                </c:pt>
                <c:pt idx="17488">
                  <c:v>2.122509225092251</c:v>
                </c:pt>
                <c:pt idx="17489">
                  <c:v>2.140959409594096</c:v>
                </c:pt>
                <c:pt idx="17490">
                  <c:v>2.1261992619926198</c:v>
                </c:pt>
                <c:pt idx="17491">
                  <c:v>2.1800738007380076</c:v>
                </c:pt>
                <c:pt idx="17492">
                  <c:v>2.1756457564575644</c:v>
                </c:pt>
                <c:pt idx="17493">
                  <c:v>2.1682656826568265</c:v>
                </c:pt>
                <c:pt idx="17494">
                  <c:v>2.2118081180811808</c:v>
                </c:pt>
                <c:pt idx="17495">
                  <c:v>2.2103321033210332</c:v>
                </c:pt>
                <c:pt idx="17496">
                  <c:v>2.2295202952029518</c:v>
                </c:pt>
                <c:pt idx="17497">
                  <c:v>2.2162361623616231</c:v>
                </c:pt>
                <c:pt idx="17498">
                  <c:v>2.2088560885608852</c:v>
                </c:pt>
                <c:pt idx="17499">
                  <c:v>2.1734317343173428</c:v>
                </c:pt>
                <c:pt idx="17500">
                  <c:v>2.1468634686346864</c:v>
                </c:pt>
                <c:pt idx="17501">
                  <c:v>2.1166051660516603</c:v>
                </c:pt>
                <c:pt idx="17502">
                  <c:v>2.1070110701107012</c:v>
                </c:pt>
                <c:pt idx="17503">
                  <c:v>2.1261992619926198</c:v>
                </c:pt>
                <c:pt idx="17504">
                  <c:v>2.1291512915129149</c:v>
                </c:pt>
                <c:pt idx="17505">
                  <c:v>2.1180811808118079</c:v>
                </c:pt>
                <c:pt idx="17506">
                  <c:v>2.1173431734317343</c:v>
                </c:pt>
                <c:pt idx="17507">
                  <c:v>2.1549815498154978</c:v>
                </c:pt>
                <c:pt idx="17508">
                  <c:v>2.1549815498154978</c:v>
                </c:pt>
                <c:pt idx="17509">
                  <c:v>2.1468634686346864</c:v>
                </c:pt>
                <c:pt idx="17510">
                  <c:v>2.1424354243542432</c:v>
                </c:pt>
                <c:pt idx="17511">
                  <c:v>2.1867158671586715</c:v>
                </c:pt>
                <c:pt idx="17512">
                  <c:v>2.0767527675276751</c:v>
                </c:pt>
                <c:pt idx="17513">
                  <c:v>2.0767527675276751</c:v>
                </c:pt>
                <c:pt idx="17514">
                  <c:v>2.0398523985239847</c:v>
                </c:pt>
                <c:pt idx="17515">
                  <c:v>2.0280442804428045</c:v>
                </c:pt>
                <c:pt idx="17516">
                  <c:v>2.0103321033210331</c:v>
                </c:pt>
                <c:pt idx="17517">
                  <c:v>2.0088560885608855</c:v>
                </c:pt>
                <c:pt idx="17518">
                  <c:v>2.0250922509225093</c:v>
                </c:pt>
                <c:pt idx="17519">
                  <c:v>2.0228782287822877</c:v>
                </c:pt>
                <c:pt idx="17520">
                  <c:v>2.0073800738007379</c:v>
                </c:pt>
                <c:pt idx="17521">
                  <c:v>1.9963099630996308</c:v>
                </c:pt>
                <c:pt idx="17522">
                  <c:v>1.9896678966789665</c:v>
                </c:pt>
                <c:pt idx="17523">
                  <c:v>1.962361623616236</c:v>
                </c:pt>
                <c:pt idx="17524">
                  <c:v>1.9594095940959408</c:v>
                </c:pt>
                <c:pt idx="17525">
                  <c:v>1.9490774907749078</c:v>
                </c:pt>
                <c:pt idx="17526">
                  <c:v>1.943911439114391</c:v>
                </c:pt>
                <c:pt idx="17527">
                  <c:v>1.9202952029520293</c:v>
                </c:pt>
                <c:pt idx="17528">
                  <c:v>1.923985239852398</c:v>
                </c:pt>
                <c:pt idx="17529">
                  <c:v>1.896678966789668</c:v>
                </c:pt>
                <c:pt idx="17530">
                  <c:v>1.8789667896678965</c:v>
                </c:pt>
                <c:pt idx="17531">
                  <c:v>1.8944649446494464</c:v>
                </c:pt>
                <c:pt idx="17532">
                  <c:v>1.8752767527675274</c:v>
                </c:pt>
                <c:pt idx="17533">
                  <c:v>1.8553505535055348</c:v>
                </c:pt>
                <c:pt idx="17534">
                  <c:v>1.831734317343173</c:v>
                </c:pt>
                <c:pt idx="17535">
                  <c:v>1.8110701107011069</c:v>
                </c:pt>
                <c:pt idx="17536">
                  <c:v>1.8014760147601474</c:v>
                </c:pt>
                <c:pt idx="17537">
                  <c:v>1.7977859778597782</c:v>
                </c:pt>
                <c:pt idx="17538">
                  <c:v>1.7977859778597782</c:v>
                </c:pt>
                <c:pt idx="17539">
                  <c:v>1.7992619926199258</c:v>
                </c:pt>
                <c:pt idx="17540">
                  <c:v>1.7933579335793359</c:v>
                </c:pt>
                <c:pt idx="17541">
                  <c:v>1.7749077490774909</c:v>
                </c:pt>
                <c:pt idx="17542">
                  <c:v>1.7645756457564574</c:v>
                </c:pt>
                <c:pt idx="17543">
                  <c:v>1.766051660516605</c:v>
                </c:pt>
                <c:pt idx="17544">
                  <c:v>1.785239852398524</c:v>
                </c:pt>
                <c:pt idx="17545">
                  <c:v>1.766789667896679</c:v>
                </c:pt>
                <c:pt idx="17546">
                  <c:v>1.7512915129151292</c:v>
                </c:pt>
                <c:pt idx="17547">
                  <c:v>1.728413284132841</c:v>
                </c:pt>
                <c:pt idx="17548">
                  <c:v>1.7321033210332106</c:v>
                </c:pt>
                <c:pt idx="17549">
                  <c:v>1.7630996309963098</c:v>
                </c:pt>
                <c:pt idx="17550">
                  <c:v>1.7453874538745389</c:v>
                </c:pt>
                <c:pt idx="17551">
                  <c:v>1.7616236162361623</c:v>
                </c:pt>
                <c:pt idx="17552">
                  <c:v>1.7933579335793359</c:v>
                </c:pt>
                <c:pt idx="17553">
                  <c:v>1.7992619926199258</c:v>
                </c:pt>
                <c:pt idx="17554">
                  <c:v>1.7963099630996311</c:v>
                </c:pt>
                <c:pt idx="17555">
                  <c:v>1.7911439114391143</c:v>
                </c:pt>
                <c:pt idx="17556">
                  <c:v>1.7778597785977857</c:v>
                </c:pt>
                <c:pt idx="17557">
                  <c:v>1.7822878228782288</c:v>
                </c:pt>
                <c:pt idx="17558">
                  <c:v>1.8073800738007377</c:v>
                </c:pt>
                <c:pt idx="17559">
                  <c:v>1.8014760147601474</c:v>
                </c:pt>
                <c:pt idx="17560">
                  <c:v>1.7808118081180808</c:v>
                </c:pt>
                <c:pt idx="17561">
                  <c:v>1.8125461254612545</c:v>
                </c:pt>
                <c:pt idx="17562">
                  <c:v>1.8273062730627307</c:v>
                </c:pt>
                <c:pt idx="17563">
                  <c:v>1.8125461254612545</c:v>
                </c:pt>
                <c:pt idx="17564">
                  <c:v>1.8051660516605161</c:v>
                </c:pt>
                <c:pt idx="17565">
                  <c:v>1.8280442804428043</c:v>
                </c:pt>
                <c:pt idx="17566">
                  <c:v>1.8250922509225092</c:v>
                </c:pt>
                <c:pt idx="17567">
                  <c:v>1.8206642066420664</c:v>
                </c:pt>
                <c:pt idx="17568">
                  <c:v>1.8243542435424356</c:v>
                </c:pt>
                <c:pt idx="17569">
                  <c:v>1.8014760147601474</c:v>
                </c:pt>
                <c:pt idx="17570">
                  <c:v>1.7889298892988927</c:v>
                </c:pt>
                <c:pt idx="17571">
                  <c:v>1.7830258302583024</c:v>
                </c:pt>
                <c:pt idx="17572">
                  <c:v>1.7793357933579332</c:v>
                </c:pt>
                <c:pt idx="17573">
                  <c:v>1.7630996309963098</c:v>
                </c:pt>
                <c:pt idx="17574">
                  <c:v>1.7630996309963098</c:v>
                </c:pt>
                <c:pt idx="17575">
                  <c:v>1.7557195571955719</c:v>
                </c:pt>
                <c:pt idx="17576">
                  <c:v>1.7431734317343173</c:v>
                </c:pt>
                <c:pt idx="17577">
                  <c:v>1.7365313653136529</c:v>
                </c:pt>
                <c:pt idx="17578">
                  <c:v>1.7180811808118079</c:v>
                </c:pt>
                <c:pt idx="17579">
                  <c:v>1.7269372693726939</c:v>
                </c:pt>
                <c:pt idx="17580">
                  <c:v>1.6996309963099629</c:v>
                </c:pt>
                <c:pt idx="17581">
                  <c:v>1.6952029520295202</c:v>
                </c:pt>
                <c:pt idx="17582">
                  <c:v>1.7195571955719555</c:v>
                </c:pt>
                <c:pt idx="17583">
                  <c:v>1.7180811808118079</c:v>
                </c:pt>
                <c:pt idx="17584">
                  <c:v>1.7276752767527674</c:v>
                </c:pt>
                <c:pt idx="17585">
                  <c:v>1.7254612546125458</c:v>
                </c:pt>
                <c:pt idx="17586">
                  <c:v>1.7040590405904057</c:v>
                </c:pt>
                <c:pt idx="17587">
                  <c:v>1.6693726937269373</c:v>
                </c:pt>
                <c:pt idx="17588">
                  <c:v>1.6531365313653139</c:v>
                </c:pt>
                <c:pt idx="17589">
                  <c:v>1.6701107011070109</c:v>
                </c:pt>
                <c:pt idx="17590">
                  <c:v>1.6656826568265681</c:v>
                </c:pt>
                <c:pt idx="17591">
                  <c:v>1.6553505535055346</c:v>
                </c:pt>
                <c:pt idx="17592">
                  <c:v>1.6354243542435425</c:v>
                </c:pt>
                <c:pt idx="17593">
                  <c:v>1.5800738007380075</c:v>
                </c:pt>
                <c:pt idx="17594">
                  <c:v>1.643542435424354</c:v>
                </c:pt>
                <c:pt idx="17595">
                  <c:v>1.6900369003690039</c:v>
                </c:pt>
                <c:pt idx="17596">
                  <c:v>1.673062730627306</c:v>
                </c:pt>
                <c:pt idx="17597">
                  <c:v>1.6996309963099629</c:v>
                </c:pt>
                <c:pt idx="17598">
                  <c:v>1.7512915129151292</c:v>
                </c:pt>
                <c:pt idx="17599">
                  <c:v>1.7690036900369006</c:v>
                </c:pt>
                <c:pt idx="17600">
                  <c:v>1.7520295202952028</c:v>
                </c:pt>
                <c:pt idx="17601">
                  <c:v>1.7416974169741697</c:v>
                </c:pt>
                <c:pt idx="17602">
                  <c:v>1.7180811808118079</c:v>
                </c:pt>
                <c:pt idx="17603">
                  <c:v>1.7129151291512912</c:v>
                </c:pt>
                <c:pt idx="17604">
                  <c:v>1.6988929889298894</c:v>
                </c:pt>
                <c:pt idx="17605">
                  <c:v>1.7025830258302581</c:v>
                </c:pt>
                <c:pt idx="17606">
                  <c:v>1.7173431734317344</c:v>
                </c:pt>
                <c:pt idx="17607">
                  <c:v>1.7173431734317344</c:v>
                </c:pt>
                <c:pt idx="17608">
                  <c:v>1.7195571955719555</c:v>
                </c:pt>
                <c:pt idx="17609">
                  <c:v>1.7225092250922507</c:v>
                </c:pt>
                <c:pt idx="17610">
                  <c:v>1.718819188191882</c:v>
                </c:pt>
                <c:pt idx="17611">
                  <c:v>1.7136531365313652</c:v>
                </c:pt>
                <c:pt idx="17612">
                  <c:v>1.7225092250922507</c:v>
                </c:pt>
                <c:pt idx="17613">
                  <c:v>1.7225092250922507</c:v>
                </c:pt>
                <c:pt idx="17614">
                  <c:v>1.7416974169741697</c:v>
                </c:pt>
                <c:pt idx="17615">
                  <c:v>1.7365313653136529</c:v>
                </c:pt>
                <c:pt idx="17616">
                  <c:v>1.7121771217712176</c:v>
                </c:pt>
                <c:pt idx="17617">
                  <c:v>1.6907749077490775</c:v>
                </c:pt>
                <c:pt idx="17618">
                  <c:v>1.7276752767527674</c:v>
                </c:pt>
                <c:pt idx="17619">
                  <c:v>1.7276752767527674</c:v>
                </c:pt>
                <c:pt idx="17620">
                  <c:v>1.6892988929889294</c:v>
                </c:pt>
                <c:pt idx="17621">
                  <c:v>1.7018450184501841</c:v>
                </c:pt>
                <c:pt idx="17622">
                  <c:v>1.709963099630996</c:v>
                </c:pt>
                <c:pt idx="17623">
                  <c:v>1.7033210332103321</c:v>
                </c:pt>
                <c:pt idx="17624">
                  <c:v>1.6708487084870844</c:v>
                </c:pt>
                <c:pt idx="17625">
                  <c:v>1.6560885608856091</c:v>
                </c:pt>
                <c:pt idx="17626">
                  <c:v>1.6531365313653139</c:v>
                </c:pt>
                <c:pt idx="17627">
                  <c:v>1.6206642066420662</c:v>
                </c:pt>
                <c:pt idx="17628">
                  <c:v>1.6214022140221402</c:v>
                </c:pt>
                <c:pt idx="17629">
                  <c:v>1.6154981549815495</c:v>
                </c:pt>
                <c:pt idx="17630">
                  <c:v>1.5926199261992622</c:v>
                </c:pt>
                <c:pt idx="17631">
                  <c:v>1.5800738007380075</c:v>
                </c:pt>
                <c:pt idx="17632">
                  <c:v>1.5682656826568264</c:v>
                </c:pt>
                <c:pt idx="17633">
                  <c:v>1.5520295202952026</c:v>
                </c:pt>
                <c:pt idx="17634">
                  <c:v>1.6036900369003688</c:v>
                </c:pt>
                <c:pt idx="17635">
                  <c:v>1.6147601476014759</c:v>
                </c:pt>
                <c:pt idx="17636">
                  <c:v>1.6258302583025825</c:v>
                </c:pt>
                <c:pt idx="17637">
                  <c:v>1.6332103321033209</c:v>
                </c:pt>
                <c:pt idx="17638">
                  <c:v>1.6413284132841328</c:v>
                </c:pt>
                <c:pt idx="17639">
                  <c:v>1.6073800738007376</c:v>
                </c:pt>
                <c:pt idx="17640">
                  <c:v>1.5859778597785974</c:v>
                </c:pt>
                <c:pt idx="17641">
                  <c:v>1.6214022140221402</c:v>
                </c:pt>
                <c:pt idx="17642">
                  <c:v>1.6878228782287823</c:v>
                </c:pt>
                <c:pt idx="17643">
                  <c:v>1.7121771217712176</c:v>
                </c:pt>
                <c:pt idx="17644">
                  <c:v>1.6553505535055346</c:v>
                </c:pt>
                <c:pt idx="17645">
                  <c:v>1.6376383763837636</c:v>
                </c:pt>
                <c:pt idx="17646">
                  <c:v>1.6376383763837636</c:v>
                </c:pt>
                <c:pt idx="17647">
                  <c:v>1.6147601476014759</c:v>
                </c:pt>
                <c:pt idx="17648">
                  <c:v>1.588191881918819</c:v>
                </c:pt>
                <c:pt idx="17649">
                  <c:v>1.588191881918819</c:v>
                </c:pt>
                <c:pt idx="17650">
                  <c:v>1.6103321033210327</c:v>
                </c:pt>
                <c:pt idx="17651">
                  <c:v>1.608118081180812</c:v>
                </c:pt>
                <c:pt idx="17652">
                  <c:v>1.6110701107011072</c:v>
                </c:pt>
                <c:pt idx="17653">
                  <c:v>1.6073800738007376</c:v>
                </c:pt>
                <c:pt idx="17654">
                  <c:v>1.5845018450184503</c:v>
                </c:pt>
                <c:pt idx="17655">
                  <c:v>1.5778597785977859</c:v>
                </c:pt>
                <c:pt idx="17656">
                  <c:v>1.5505535055350554</c:v>
                </c:pt>
                <c:pt idx="17657">
                  <c:v>1.5350553505535056</c:v>
                </c:pt>
                <c:pt idx="17658">
                  <c:v>1.552767527675277</c:v>
                </c:pt>
                <c:pt idx="17659">
                  <c:v>1.5505535055350554</c:v>
                </c:pt>
                <c:pt idx="17660">
                  <c:v>1.5601476014760145</c:v>
                </c:pt>
                <c:pt idx="17661">
                  <c:v>1.5726937269372692</c:v>
                </c:pt>
                <c:pt idx="17662">
                  <c:v>1.5771217712177124</c:v>
                </c:pt>
                <c:pt idx="17663">
                  <c:v>1.5653136531365313</c:v>
                </c:pt>
                <c:pt idx="17664">
                  <c:v>1.5453874538745387</c:v>
                </c:pt>
                <c:pt idx="17665">
                  <c:v>1.522509225092251</c:v>
                </c:pt>
                <c:pt idx="17666">
                  <c:v>1.5084870848708487</c:v>
                </c:pt>
                <c:pt idx="17667">
                  <c:v>1.5269372693726937</c:v>
                </c:pt>
                <c:pt idx="17668">
                  <c:v>1.5490774907749074</c:v>
                </c:pt>
                <c:pt idx="17669">
                  <c:v>1.549815498154981</c:v>
                </c:pt>
                <c:pt idx="17670">
                  <c:v>1.549815498154981</c:v>
                </c:pt>
                <c:pt idx="17671">
                  <c:v>1.5254612546125461</c:v>
                </c:pt>
                <c:pt idx="17672">
                  <c:v>1.5114391143911439</c:v>
                </c:pt>
                <c:pt idx="17673">
                  <c:v>1.4782287822878226</c:v>
                </c:pt>
                <c:pt idx="17674">
                  <c:v>1.4686346863468636</c:v>
                </c:pt>
                <c:pt idx="17675">
                  <c:v>1.4678966789667895</c:v>
                </c:pt>
                <c:pt idx="17676">
                  <c:v>1.4819188191881918</c:v>
                </c:pt>
                <c:pt idx="17677">
                  <c:v>1.477490774907749</c:v>
                </c:pt>
                <c:pt idx="17678">
                  <c:v>1.4701107011070107</c:v>
                </c:pt>
                <c:pt idx="17679">
                  <c:v>1.4752767527675275</c:v>
                </c:pt>
                <c:pt idx="17680">
                  <c:v>1.4701107011070107</c:v>
                </c:pt>
                <c:pt idx="17681">
                  <c:v>1.4487084870848705</c:v>
                </c:pt>
                <c:pt idx="17682">
                  <c:v>1.4464944649446494</c:v>
                </c:pt>
                <c:pt idx="17683">
                  <c:v>1.4369003690036903</c:v>
                </c:pt>
                <c:pt idx="17684">
                  <c:v>1.4140221402214022</c:v>
                </c:pt>
                <c:pt idx="17685">
                  <c:v>1.4221402214022141</c:v>
                </c:pt>
                <c:pt idx="17686">
                  <c:v>1.3940959409594091</c:v>
                </c:pt>
                <c:pt idx="17687">
                  <c:v>1.3940959409594091</c:v>
                </c:pt>
                <c:pt idx="17688">
                  <c:v>1.3461254612546125</c:v>
                </c:pt>
                <c:pt idx="17689">
                  <c:v>1.3380073800738006</c:v>
                </c:pt>
                <c:pt idx="17690">
                  <c:v>1.3527675276752764</c:v>
                </c:pt>
                <c:pt idx="17691">
                  <c:v>1.3630996309963099</c:v>
                </c:pt>
                <c:pt idx="17692">
                  <c:v>1.3571955719557196</c:v>
                </c:pt>
                <c:pt idx="17693">
                  <c:v>1.3586715867158672</c:v>
                </c:pt>
                <c:pt idx="17694">
                  <c:v>1.3712177121771219</c:v>
                </c:pt>
                <c:pt idx="17695">
                  <c:v>1.3712177121771219</c:v>
                </c:pt>
                <c:pt idx="17696">
                  <c:v>1.374169741697417</c:v>
                </c:pt>
                <c:pt idx="17697">
                  <c:v>1.354981549815498</c:v>
                </c:pt>
                <c:pt idx="17698">
                  <c:v>1.3490774907749077</c:v>
                </c:pt>
                <c:pt idx="17699">
                  <c:v>1.3402214022140222</c:v>
                </c:pt>
                <c:pt idx="17700">
                  <c:v>1.3527675276752764</c:v>
                </c:pt>
                <c:pt idx="17701">
                  <c:v>1.3815498154981549</c:v>
                </c:pt>
                <c:pt idx="17702">
                  <c:v>1.3822878228782289</c:v>
                </c:pt>
                <c:pt idx="17703">
                  <c:v>1.391881918819188</c:v>
                </c:pt>
                <c:pt idx="17704">
                  <c:v>1.411070110701107</c:v>
                </c:pt>
                <c:pt idx="17705">
                  <c:v>1.4125461254612541</c:v>
                </c:pt>
                <c:pt idx="17706">
                  <c:v>1.4177121771217709</c:v>
                </c:pt>
                <c:pt idx="17707">
                  <c:v>1.4081180811808118</c:v>
                </c:pt>
                <c:pt idx="17708">
                  <c:v>1.3963099630996307</c:v>
                </c:pt>
                <c:pt idx="17709">
                  <c:v>1.3830258302583025</c:v>
                </c:pt>
                <c:pt idx="17710">
                  <c:v>1.3845018450184501</c:v>
                </c:pt>
                <c:pt idx="17711">
                  <c:v>1.3985239852398523</c:v>
                </c:pt>
                <c:pt idx="17712">
                  <c:v>1.4125461254612541</c:v>
                </c:pt>
                <c:pt idx="17713">
                  <c:v>1.4007380073800739</c:v>
                </c:pt>
                <c:pt idx="17714">
                  <c:v>1.391143911439114</c:v>
                </c:pt>
                <c:pt idx="17715">
                  <c:v>1.3749077490774906</c:v>
                </c:pt>
                <c:pt idx="17716">
                  <c:v>1.3616236162361623</c:v>
                </c:pt>
                <c:pt idx="17717">
                  <c:v>1.3461254612546125</c:v>
                </c:pt>
                <c:pt idx="17718">
                  <c:v>1.3298892988929887</c:v>
                </c:pt>
                <c:pt idx="17719">
                  <c:v>1.3402214022140222</c:v>
                </c:pt>
                <c:pt idx="17720">
                  <c:v>1.3217712177121772</c:v>
                </c:pt>
                <c:pt idx="17721">
                  <c:v>1.3092250922509225</c:v>
                </c:pt>
                <c:pt idx="17722">
                  <c:v>1.3084870848708485</c:v>
                </c:pt>
                <c:pt idx="17723">
                  <c:v>1.2966789667896679</c:v>
                </c:pt>
                <c:pt idx="17724">
                  <c:v>1.2760147601476013</c:v>
                </c:pt>
                <c:pt idx="17725">
                  <c:v>1.2678966789667894</c:v>
                </c:pt>
                <c:pt idx="17726">
                  <c:v>1.2642066420664206</c:v>
                </c:pt>
                <c:pt idx="17727">
                  <c:v>1.2627306273062731</c:v>
                </c:pt>
                <c:pt idx="17728">
                  <c:v>1.2627306273062731</c:v>
                </c:pt>
                <c:pt idx="17729">
                  <c:v>1.250922509225092</c:v>
                </c:pt>
                <c:pt idx="17730">
                  <c:v>1.2339483394833946</c:v>
                </c:pt>
                <c:pt idx="17731">
                  <c:v>1.2169741697416971</c:v>
                </c:pt>
                <c:pt idx="17732">
                  <c:v>1.2014760147601473</c:v>
                </c:pt>
                <c:pt idx="17733">
                  <c:v>1.2398523985239853</c:v>
                </c:pt>
                <c:pt idx="17734">
                  <c:v>1.2627306273062731</c:v>
                </c:pt>
                <c:pt idx="17735">
                  <c:v>1.2560885608856087</c:v>
                </c:pt>
                <c:pt idx="17736">
                  <c:v>1.261992619926199</c:v>
                </c:pt>
                <c:pt idx="17737">
                  <c:v>1.2782287822878229</c:v>
                </c:pt>
                <c:pt idx="17738">
                  <c:v>1.2878228782287824</c:v>
                </c:pt>
                <c:pt idx="17739">
                  <c:v>1.3033210332103322</c:v>
                </c:pt>
                <c:pt idx="17740">
                  <c:v>1.299630996309963</c:v>
                </c:pt>
                <c:pt idx="17741">
                  <c:v>1.2944649446494463</c:v>
                </c:pt>
                <c:pt idx="17742">
                  <c:v>1.2966789667896679</c:v>
                </c:pt>
                <c:pt idx="17743">
                  <c:v>1.2915129151291511</c:v>
                </c:pt>
                <c:pt idx="17744">
                  <c:v>1.2671586715867158</c:v>
                </c:pt>
                <c:pt idx="17745">
                  <c:v>1.2575645756457563</c:v>
                </c:pt>
                <c:pt idx="17746">
                  <c:v>1.2671586715867158</c:v>
                </c:pt>
                <c:pt idx="17747">
                  <c:v>1.2413284132841329</c:v>
                </c:pt>
                <c:pt idx="17748">
                  <c:v>1.2228782287822879</c:v>
                </c:pt>
                <c:pt idx="17749">
                  <c:v>1.2420664206642065</c:v>
                </c:pt>
                <c:pt idx="17750">
                  <c:v>1.2708487084870845</c:v>
                </c:pt>
                <c:pt idx="17751">
                  <c:v>1.280442804428044</c:v>
                </c:pt>
                <c:pt idx="17752">
                  <c:v>1.2826568265682656</c:v>
                </c:pt>
                <c:pt idx="17753">
                  <c:v>1.2870848708487084</c:v>
                </c:pt>
                <c:pt idx="17754">
                  <c:v>1.2789667896678965</c:v>
                </c:pt>
                <c:pt idx="17755">
                  <c:v>1.2649446494464947</c:v>
                </c:pt>
                <c:pt idx="17756">
                  <c:v>1.2568265682656823</c:v>
                </c:pt>
                <c:pt idx="17757">
                  <c:v>1.2523985239852395</c:v>
                </c:pt>
                <c:pt idx="17758">
                  <c:v>1.2391143911439113</c:v>
                </c:pt>
                <c:pt idx="17759">
                  <c:v>1.2369003690036897</c:v>
                </c:pt>
                <c:pt idx="17760">
                  <c:v>1.2339483394833946</c:v>
                </c:pt>
                <c:pt idx="17761">
                  <c:v>1.2162361623616236</c:v>
                </c:pt>
                <c:pt idx="17762">
                  <c:v>1.2022140221402213</c:v>
                </c:pt>
                <c:pt idx="17763">
                  <c:v>1.2125461254612544</c:v>
                </c:pt>
                <c:pt idx="17764">
                  <c:v>1.2184501845018447</c:v>
                </c:pt>
                <c:pt idx="17765">
                  <c:v>1.2280442804428042</c:v>
                </c:pt>
                <c:pt idx="17766">
                  <c:v>1.2206642066420663</c:v>
                </c:pt>
                <c:pt idx="17767">
                  <c:v>1.2154981549815496</c:v>
                </c:pt>
                <c:pt idx="17768">
                  <c:v>1.2228782287822879</c:v>
                </c:pt>
                <c:pt idx="17769">
                  <c:v>1.2243542435424355</c:v>
                </c:pt>
                <c:pt idx="17770">
                  <c:v>1.2095940959409592</c:v>
                </c:pt>
                <c:pt idx="17771">
                  <c:v>1.2095940959409592</c:v>
                </c:pt>
                <c:pt idx="17772">
                  <c:v>1.2081180811808117</c:v>
                </c:pt>
                <c:pt idx="17773">
                  <c:v>1.2081180811808117</c:v>
                </c:pt>
                <c:pt idx="17774">
                  <c:v>1.1837638376383763</c:v>
                </c:pt>
                <c:pt idx="17775">
                  <c:v>1.1557195571955718</c:v>
                </c:pt>
                <c:pt idx="17776">
                  <c:v>1.1557195571955718</c:v>
                </c:pt>
                <c:pt idx="17777">
                  <c:v>1.1719557195571952</c:v>
                </c:pt>
                <c:pt idx="17778">
                  <c:v>1.1608856088560886</c:v>
                </c:pt>
                <c:pt idx="17779">
                  <c:v>1.1549815498154978</c:v>
                </c:pt>
                <c:pt idx="17780">
                  <c:v>1.159409594095941</c:v>
                </c:pt>
                <c:pt idx="17781">
                  <c:v>1.1498154981549815</c:v>
                </c:pt>
                <c:pt idx="17782">
                  <c:v>1.1461254612546123</c:v>
                </c:pt>
                <c:pt idx="17783">
                  <c:v>1.1446494464944648</c:v>
                </c:pt>
                <c:pt idx="17784">
                  <c:v>1.1431734317343172</c:v>
                </c:pt>
                <c:pt idx="17785">
                  <c:v>1.1372693726937269</c:v>
                </c:pt>
                <c:pt idx="17786">
                  <c:v>1.1431734317343172</c:v>
                </c:pt>
                <c:pt idx="17787">
                  <c:v>1.1276752767527674</c:v>
                </c:pt>
                <c:pt idx="17788">
                  <c:v>1.1121771217712175</c:v>
                </c:pt>
                <c:pt idx="17789">
                  <c:v>1.1092250922509224</c:v>
                </c:pt>
                <c:pt idx="17790">
                  <c:v>1.0915129151291514</c:v>
                </c:pt>
                <c:pt idx="17791">
                  <c:v>1.0774907749077487</c:v>
                </c:pt>
                <c:pt idx="17792">
                  <c:v>1.0915129151291514</c:v>
                </c:pt>
                <c:pt idx="17793">
                  <c:v>1.139483394833948</c:v>
                </c:pt>
                <c:pt idx="17794">
                  <c:v>1.1476014760147599</c:v>
                </c:pt>
                <c:pt idx="17795">
                  <c:v>1.1512915129151291</c:v>
                </c:pt>
                <c:pt idx="17796">
                  <c:v>1.1520295202952027</c:v>
                </c:pt>
                <c:pt idx="17797">
                  <c:v>1.1542435424354243</c:v>
                </c:pt>
                <c:pt idx="17798">
                  <c:v>1.1542435424354243</c:v>
                </c:pt>
                <c:pt idx="17799">
                  <c:v>1.1542435424354243</c:v>
                </c:pt>
                <c:pt idx="17800">
                  <c:v>1.1439114391143912</c:v>
                </c:pt>
                <c:pt idx="17801">
                  <c:v>1.1527675276752767</c:v>
                </c:pt>
                <c:pt idx="17802">
                  <c:v>1.1350553505535053</c:v>
                </c:pt>
                <c:pt idx="17803">
                  <c:v>1.140221402214022</c:v>
                </c:pt>
                <c:pt idx="17804">
                  <c:v>1.139483394833948</c:v>
                </c:pt>
                <c:pt idx="17805">
                  <c:v>1.1269372693726938</c:v>
                </c:pt>
                <c:pt idx="17806">
                  <c:v>1.1195571955719554</c:v>
                </c:pt>
                <c:pt idx="17807">
                  <c:v>1.1291512915129149</c:v>
                </c:pt>
                <c:pt idx="17808">
                  <c:v>1.1284132841328414</c:v>
                </c:pt>
                <c:pt idx="17809">
                  <c:v>1.1254612546125462</c:v>
                </c:pt>
                <c:pt idx="17810">
                  <c:v>1.1077490774907748</c:v>
                </c:pt>
                <c:pt idx="17811">
                  <c:v>1.1195571955719554</c:v>
                </c:pt>
                <c:pt idx="17812">
                  <c:v>1.102583025830258</c:v>
                </c:pt>
                <c:pt idx="17813">
                  <c:v>1.1121771217712175</c:v>
                </c:pt>
                <c:pt idx="17814">
                  <c:v>1.1143911439114391</c:v>
                </c:pt>
                <c:pt idx="17815">
                  <c:v>1.104059040590406</c:v>
                </c:pt>
                <c:pt idx="17816">
                  <c:v>1.0878228782287822</c:v>
                </c:pt>
                <c:pt idx="17817">
                  <c:v>1.0870848708487086</c:v>
                </c:pt>
                <c:pt idx="17818">
                  <c:v>1.0819188191881919</c:v>
                </c:pt>
                <c:pt idx="17819">
                  <c:v>1.0856088560885611</c:v>
                </c:pt>
                <c:pt idx="17820">
                  <c:v>1.0797047970479703</c:v>
                </c:pt>
                <c:pt idx="17821">
                  <c:v>1.0487084870848711</c:v>
                </c:pt>
                <c:pt idx="17822">
                  <c:v>1.0487084870848711</c:v>
                </c:pt>
                <c:pt idx="17823">
                  <c:v>1.0575645756457561</c:v>
                </c:pt>
                <c:pt idx="17824">
                  <c:v>1.0501845018450182</c:v>
                </c:pt>
                <c:pt idx="17825">
                  <c:v>1.0428044280442803</c:v>
                </c:pt>
                <c:pt idx="17826">
                  <c:v>1.0398523985239851</c:v>
                </c:pt>
                <c:pt idx="17827">
                  <c:v>1.0479704797047971</c:v>
                </c:pt>
                <c:pt idx="17828">
                  <c:v>1.0487084870848711</c:v>
                </c:pt>
                <c:pt idx="17829">
                  <c:v>1.0487084870848711</c:v>
                </c:pt>
                <c:pt idx="17830">
                  <c:v>1.0619926199261993</c:v>
                </c:pt>
                <c:pt idx="17831">
                  <c:v>1.055350553505535</c:v>
                </c:pt>
                <c:pt idx="17832">
                  <c:v>1.0398523985239851</c:v>
                </c:pt>
                <c:pt idx="17833">
                  <c:v>1.0346863468634684</c:v>
                </c:pt>
                <c:pt idx="17834">
                  <c:v>1.0354243542435424</c:v>
                </c:pt>
                <c:pt idx="17835">
                  <c:v>1.0206642066420661</c:v>
                </c:pt>
                <c:pt idx="17836">
                  <c:v>1.0007380073800736</c:v>
                </c:pt>
                <c:pt idx="17837">
                  <c:v>0.99335793357933588</c:v>
                </c:pt>
                <c:pt idx="17838">
                  <c:v>1.0118081180811807</c:v>
                </c:pt>
                <c:pt idx="17839">
                  <c:v>1.0081180811808119</c:v>
                </c:pt>
                <c:pt idx="17840">
                  <c:v>1.0051660516605168</c:v>
                </c:pt>
                <c:pt idx="17841">
                  <c:v>0.98819188191881913</c:v>
                </c:pt>
                <c:pt idx="17842">
                  <c:v>0.96974169741697414</c:v>
                </c:pt>
                <c:pt idx="17843">
                  <c:v>0.96752767527675276</c:v>
                </c:pt>
                <c:pt idx="17844">
                  <c:v>0.96014760147601463</c:v>
                </c:pt>
                <c:pt idx="17845">
                  <c:v>0.94981549815498156</c:v>
                </c:pt>
                <c:pt idx="17846">
                  <c:v>0.9535055350553503</c:v>
                </c:pt>
                <c:pt idx="17847">
                  <c:v>0.96309963099631002</c:v>
                </c:pt>
                <c:pt idx="17848">
                  <c:v>0.97712177121771204</c:v>
                </c:pt>
                <c:pt idx="17849">
                  <c:v>0.97859778597785962</c:v>
                </c:pt>
                <c:pt idx="17850">
                  <c:v>0.9726937269372693</c:v>
                </c:pt>
                <c:pt idx="17851">
                  <c:v>0.9645756457564576</c:v>
                </c:pt>
                <c:pt idx="17852">
                  <c:v>0.96014760147601463</c:v>
                </c:pt>
                <c:pt idx="17853">
                  <c:v>0.96088560885608842</c:v>
                </c:pt>
                <c:pt idx="17854">
                  <c:v>0.96974169741697414</c:v>
                </c:pt>
                <c:pt idx="17855">
                  <c:v>0.96974169741697414</c:v>
                </c:pt>
                <c:pt idx="17856">
                  <c:v>0.96088560885608842</c:v>
                </c:pt>
                <c:pt idx="17857">
                  <c:v>0.95645756457564568</c:v>
                </c:pt>
                <c:pt idx="17858">
                  <c:v>0.95202952029520271</c:v>
                </c:pt>
                <c:pt idx="17859">
                  <c:v>0.95719557195571947</c:v>
                </c:pt>
                <c:pt idx="17860">
                  <c:v>0.94907749077490755</c:v>
                </c:pt>
                <c:pt idx="17861">
                  <c:v>0.94243542435424343</c:v>
                </c:pt>
                <c:pt idx="17862">
                  <c:v>0.94243542435424343</c:v>
                </c:pt>
                <c:pt idx="17863">
                  <c:v>0.9372693726937269</c:v>
                </c:pt>
                <c:pt idx="17864">
                  <c:v>0.92988929889298877</c:v>
                </c:pt>
                <c:pt idx="17865">
                  <c:v>0.91217712177121757</c:v>
                </c:pt>
                <c:pt idx="17866">
                  <c:v>0.90627306273062702</c:v>
                </c:pt>
                <c:pt idx="17867">
                  <c:v>0.90627306273062702</c:v>
                </c:pt>
                <c:pt idx="17868">
                  <c:v>0.90627306273062702</c:v>
                </c:pt>
                <c:pt idx="17869">
                  <c:v>0.91291512915129158</c:v>
                </c:pt>
                <c:pt idx="17870">
                  <c:v>0.91586715867158675</c:v>
                </c:pt>
                <c:pt idx="17871">
                  <c:v>0.90848708487084862</c:v>
                </c:pt>
                <c:pt idx="17872">
                  <c:v>0.90479704797047944</c:v>
                </c:pt>
                <c:pt idx="17873">
                  <c:v>0.92177121771217685</c:v>
                </c:pt>
                <c:pt idx="17874">
                  <c:v>0.9276752767527674</c:v>
                </c:pt>
                <c:pt idx="17875">
                  <c:v>0.92324723247232443</c:v>
                </c:pt>
                <c:pt idx="17876">
                  <c:v>0.92915129151291498</c:v>
                </c:pt>
                <c:pt idx="17877">
                  <c:v>0.93136531365313657</c:v>
                </c:pt>
                <c:pt idx="17878">
                  <c:v>0.93579335793357932</c:v>
                </c:pt>
                <c:pt idx="17879">
                  <c:v>0.94095940959409585</c:v>
                </c:pt>
                <c:pt idx="17880">
                  <c:v>0.93357933579335772</c:v>
                </c:pt>
                <c:pt idx="17881">
                  <c:v>0.9195571955719557</c:v>
                </c:pt>
                <c:pt idx="17882">
                  <c:v>0.91291512915129158</c:v>
                </c:pt>
                <c:pt idx="17883">
                  <c:v>0.9180811808118079</c:v>
                </c:pt>
                <c:pt idx="17884">
                  <c:v>0.92472324723247201</c:v>
                </c:pt>
                <c:pt idx="17885">
                  <c:v>0.92029520295202949</c:v>
                </c:pt>
                <c:pt idx="17886">
                  <c:v>0.9195571955719557</c:v>
                </c:pt>
                <c:pt idx="17887">
                  <c:v>0.92546125461254602</c:v>
                </c:pt>
                <c:pt idx="17888">
                  <c:v>0.91365313653136515</c:v>
                </c:pt>
                <c:pt idx="17889">
                  <c:v>0.90774907749077482</c:v>
                </c:pt>
                <c:pt idx="17890">
                  <c:v>0.90332103321033186</c:v>
                </c:pt>
                <c:pt idx="17891">
                  <c:v>0.9003690036900367</c:v>
                </c:pt>
                <c:pt idx="17892">
                  <c:v>0.89520295202952016</c:v>
                </c:pt>
                <c:pt idx="17893">
                  <c:v>0.87675276752767517</c:v>
                </c:pt>
                <c:pt idx="17894">
                  <c:v>0.87675276752767517</c:v>
                </c:pt>
                <c:pt idx="17895">
                  <c:v>0.85904059040590397</c:v>
                </c:pt>
                <c:pt idx="17896">
                  <c:v>0.85018450184501848</c:v>
                </c:pt>
                <c:pt idx="17897">
                  <c:v>0.83985239852398519</c:v>
                </c:pt>
                <c:pt idx="17898">
                  <c:v>0.83025830258302569</c:v>
                </c:pt>
                <c:pt idx="17899">
                  <c:v>0.83985239852398519</c:v>
                </c:pt>
                <c:pt idx="17900">
                  <c:v>0.84944649446494447</c:v>
                </c:pt>
                <c:pt idx="17901">
                  <c:v>0.85535055350553502</c:v>
                </c:pt>
                <c:pt idx="17902">
                  <c:v>0.85239852398523985</c:v>
                </c:pt>
                <c:pt idx="17903">
                  <c:v>0.84132841328413277</c:v>
                </c:pt>
                <c:pt idx="17904">
                  <c:v>0.84132841328413277</c:v>
                </c:pt>
                <c:pt idx="17905">
                  <c:v>0.83099630996309948</c:v>
                </c:pt>
                <c:pt idx="17906">
                  <c:v>0.82730627306273075</c:v>
                </c:pt>
                <c:pt idx="17907">
                  <c:v>0.8118081180811807</c:v>
                </c:pt>
                <c:pt idx="17908">
                  <c:v>0.82361623616236157</c:v>
                </c:pt>
                <c:pt idx="17909">
                  <c:v>0.82361623616236157</c:v>
                </c:pt>
                <c:pt idx="17910">
                  <c:v>0.83025830258302569</c:v>
                </c:pt>
                <c:pt idx="17911">
                  <c:v>0.82214022140221399</c:v>
                </c:pt>
                <c:pt idx="17912">
                  <c:v>0.82730627306273075</c:v>
                </c:pt>
                <c:pt idx="17913">
                  <c:v>0.84132841328413277</c:v>
                </c:pt>
                <c:pt idx="17914">
                  <c:v>0.84428044280442793</c:v>
                </c:pt>
                <c:pt idx="17915">
                  <c:v>0.84059040590405898</c:v>
                </c:pt>
                <c:pt idx="17916">
                  <c:v>0.84206642066420656</c:v>
                </c:pt>
                <c:pt idx="17917">
                  <c:v>0.82361623616236157</c:v>
                </c:pt>
                <c:pt idx="17918">
                  <c:v>0.82214022140221399</c:v>
                </c:pt>
                <c:pt idx="17919">
                  <c:v>0.82730627306273075</c:v>
                </c:pt>
                <c:pt idx="17920">
                  <c:v>0.82878228782287833</c:v>
                </c:pt>
                <c:pt idx="17921">
                  <c:v>0.83321033210332085</c:v>
                </c:pt>
                <c:pt idx="17922">
                  <c:v>0.83542435424354244</c:v>
                </c:pt>
                <c:pt idx="17923">
                  <c:v>0.84132841328413277</c:v>
                </c:pt>
                <c:pt idx="17924">
                  <c:v>0.84354243542435414</c:v>
                </c:pt>
                <c:pt idx="17925">
                  <c:v>0.84280442804428035</c:v>
                </c:pt>
                <c:pt idx="17926">
                  <c:v>0.84132841328413277</c:v>
                </c:pt>
                <c:pt idx="17927">
                  <c:v>0.82878228782287833</c:v>
                </c:pt>
                <c:pt idx="17928">
                  <c:v>0.82730627306273075</c:v>
                </c:pt>
                <c:pt idx="17929">
                  <c:v>0.81992619926199262</c:v>
                </c:pt>
                <c:pt idx="17930">
                  <c:v>0.81992619926199262</c:v>
                </c:pt>
                <c:pt idx="17931">
                  <c:v>0.80959409594095932</c:v>
                </c:pt>
                <c:pt idx="17932">
                  <c:v>0.80811808118081174</c:v>
                </c:pt>
                <c:pt idx="17933">
                  <c:v>0.79778597785977845</c:v>
                </c:pt>
                <c:pt idx="17934">
                  <c:v>0.803690036900369</c:v>
                </c:pt>
                <c:pt idx="17935">
                  <c:v>0.80073800738007361</c:v>
                </c:pt>
                <c:pt idx="17936">
                  <c:v>0.79261992619926191</c:v>
                </c:pt>
                <c:pt idx="17937">
                  <c:v>0.78966789667896675</c:v>
                </c:pt>
                <c:pt idx="17938">
                  <c:v>0.79926199261992603</c:v>
                </c:pt>
                <c:pt idx="17939">
                  <c:v>0.81107011070110691</c:v>
                </c:pt>
                <c:pt idx="17940">
                  <c:v>0.80516605166051658</c:v>
                </c:pt>
                <c:pt idx="17941">
                  <c:v>0.80516605166051658</c:v>
                </c:pt>
                <c:pt idx="17942">
                  <c:v>0.79852398523985246</c:v>
                </c:pt>
                <c:pt idx="17943">
                  <c:v>0.81992619926199262</c:v>
                </c:pt>
                <c:pt idx="17944">
                  <c:v>0.81623616236162344</c:v>
                </c:pt>
                <c:pt idx="17945">
                  <c:v>0.81845018450184504</c:v>
                </c:pt>
                <c:pt idx="17946">
                  <c:v>0.80885608856088553</c:v>
                </c:pt>
                <c:pt idx="17947">
                  <c:v>0.80885608856088553</c:v>
                </c:pt>
                <c:pt idx="17948">
                  <c:v>0.81992619926199262</c:v>
                </c:pt>
                <c:pt idx="17949">
                  <c:v>0.81107011070110691</c:v>
                </c:pt>
                <c:pt idx="17950">
                  <c:v>0.81402214022140207</c:v>
                </c:pt>
                <c:pt idx="17951">
                  <c:v>0.79261992619926191</c:v>
                </c:pt>
                <c:pt idx="17952">
                  <c:v>0.79040590405904054</c:v>
                </c:pt>
                <c:pt idx="17953">
                  <c:v>0.7940959409594095</c:v>
                </c:pt>
                <c:pt idx="17954">
                  <c:v>0.79704797047970488</c:v>
                </c:pt>
                <c:pt idx="17955">
                  <c:v>0.79335793357933571</c:v>
                </c:pt>
                <c:pt idx="17956">
                  <c:v>0.78523985239852401</c:v>
                </c:pt>
                <c:pt idx="17957">
                  <c:v>0.78376383763837643</c:v>
                </c:pt>
                <c:pt idx="17958">
                  <c:v>0.78302583025830241</c:v>
                </c:pt>
                <c:pt idx="17959">
                  <c:v>0.78154981549815483</c:v>
                </c:pt>
                <c:pt idx="17960">
                  <c:v>0.76752767527675259</c:v>
                </c:pt>
                <c:pt idx="17961">
                  <c:v>0.74760147601476001</c:v>
                </c:pt>
                <c:pt idx="17962">
                  <c:v>0.73948339483394832</c:v>
                </c:pt>
                <c:pt idx="17963">
                  <c:v>0.73948339483394832</c:v>
                </c:pt>
                <c:pt idx="17964">
                  <c:v>0.74612546125461243</c:v>
                </c:pt>
                <c:pt idx="17965">
                  <c:v>0.74317343173431727</c:v>
                </c:pt>
                <c:pt idx="17966">
                  <c:v>0.74022140221402188</c:v>
                </c:pt>
                <c:pt idx="17967">
                  <c:v>0.72619926199261986</c:v>
                </c:pt>
                <c:pt idx="17968">
                  <c:v>0.73284132841328398</c:v>
                </c:pt>
                <c:pt idx="17969">
                  <c:v>0.7409594095940959</c:v>
                </c:pt>
                <c:pt idx="17970">
                  <c:v>0.73357933579335777</c:v>
                </c:pt>
                <c:pt idx="17971">
                  <c:v>0.7232472324723247</c:v>
                </c:pt>
                <c:pt idx="17972">
                  <c:v>0.73357933579335777</c:v>
                </c:pt>
                <c:pt idx="17973">
                  <c:v>0.7306273062730626</c:v>
                </c:pt>
                <c:pt idx="17974">
                  <c:v>0.71955719557195574</c:v>
                </c:pt>
                <c:pt idx="17975">
                  <c:v>0.71512915129151278</c:v>
                </c:pt>
                <c:pt idx="17976">
                  <c:v>0.71439114391143899</c:v>
                </c:pt>
                <c:pt idx="17977">
                  <c:v>0.71217712177121761</c:v>
                </c:pt>
                <c:pt idx="17978">
                  <c:v>0.68856088560885587</c:v>
                </c:pt>
                <c:pt idx="17979">
                  <c:v>0.76752767527675259</c:v>
                </c:pt>
                <c:pt idx="17980">
                  <c:v>0.70258302583025833</c:v>
                </c:pt>
                <c:pt idx="17981">
                  <c:v>0.69815498154981559</c:v>
                </c:pt>
                <c:pt idx="17982">
                  <c:v>0.69003690036900345</c:v>
                </c:pt>
                <c:pt idx="17983">
                  <c:v>0.67601476014760142</c:v>
                </c:pt>
                <c:pt idx="17984">
                  <c:v>0.70774907749077487</c:v>
                </c:pt>
                <c:pt idx="17985">
                  <c:v>0.72767527675276744</c:v>
                </c:pt>
                <c:pt idx="17986">
                  <c:v>0.74538745387453864</c:v>
                </c:pt>
                <c:pt idx="17987">
                  <c:v>0.74243542435424348</c:v>
                </c:pt>
                <c:pt idx="17988">
                  <c:v>0.74243542435424348</c:v>
                </c:pt>
                <c:pt idx="17989">
                  <c:v>0.73948339483394832</c:v>
                </c:pt>
                <c:pt idx="17990">
                  <c:v>0.73505535055350557</c:v>
                </c:pt>
                <c:pt idx="17991">
                  <c:v>0.7387453874538743</c:v>
                </c:pt>
                <c:pt idx="17992">
                  <c:v>0.72841328413284145</c:v>
                </c:pt>
                <c:pt idx="17993">
                  <c:v>0.72103321033210332</c:v>
                </c:pt>
                <c:pt idx="17994">
                  <c:v>0.75202952029520276</c:v>
                </c:pt>
                <c:pt idx="17995">
                  <c:v>0.75571955719557171</c:v>
                </c:pt>
                <c:pt idx="17996">
                  <c:v>0.76088560885608847</c:v>
                </c:pt>
                <c:pt idx="17997">
                  <c:v>0.766051660516605</c:v>
                </c:pt>
                <c:pt idx="17998">
                  <c:v>0.77785977859778588</c:v>
                </c:pt>
                <c:pt idx="17999">
                  <c:v>0.79704797047970488</c:v>
                </c:pt>
                <c:pt idx="18000">
                  <c:v>0.79261992619926191</c:v>
                </c:pt>
                <c:pt idx="18001">
                  <c:v>0.7940959409594095</c:v>
                </c:pt>
                <c:pt idx="18002">
                  <c:v>0.80516605166051658</c:v>
                </c:pt>
                <c:pt idx="18003">
                  <c:v>0.81254612546125449</c:v>
                </c:pt>
                <c:pt idx="18004">
                  <c:v>0.81697416974169745</c:v>
                </c:pt>
                <c:pt idx="18005">
                  <c:v>0.82509225092250915</c:v>
                </c:pt>
                <c:pt idx="18006">
                  <c:v>0.82878228782287833</c:v>
                </c:pt>
                <c:pt idx="18007">
                  <c:v>0.82435424354243514</c:v>
                </c:pt>
                <c:pt idx="18008">
                  <c:v>0.82656826568265673</c:v>
                </c:pt>
                <c:pt idx="18009">
                  <c:v>0.82878228782287833</c:v>
                </c:pt>
                <c:pt idx="18010">
                  <c:v>0.83025830258302569</c:v>
                </c:pt>
                <c:pt idx="18011">
                  <c:v>0.8214022140221402</c:v>
                </c:pt>
                <c:pt idx="18012">
                  <c:v>0.82878228782287833</c:v>
                </c:pt>
                <c:pt idx="18013">
                  <c:v>0.83321033210332085</c:v>
                </c:pt>
                <c:pt idx="18014">
                  <c:v>0.82656826568265673</c:v>
                </c:pt>
                <c:pt idx="18015">
                  <c:v>0.80738007380073773</c:v>
                </c:pt>
                <c:pt idx="18016">
                  <c:v>0.79040590405904054</c:v>
                </c:pt>
                <c:pt idx="18017">
                  <c:v>0.77933579335793346</c:v>
                </c:pt>
                <c:pt idx="18018">
                  <c:v>0.7763837638376383</c:v>
                </c:pt>
                <c:pt idx="18019">
                  <c:v>0.78819188191881917</c:v>
                </c:pt>
                <c:pt idx="18020">
                  <c:v>0.78819188191881917</c:v>
                </c:pt>
                <c:pt idx="18021">
                  <c:v>0.78523985239852401</c:v>
                </c:pt>
                <c:pt idx="18022">
                  <c:v>0.78302583025830241</c:v>
                </c:pt>
                <c:pt idx="18023">
                  <c:v>0.78745387453874516</c:v>
                </c:pt>
                <c:pt idx="18024">
                  <c:v>0.79704797047970488</c:v>
                </c:pt>
                <c:pt idx="18025">
                  <c:v>0.78450184501844999</c:v>
                </c:pt>
                <c:pt idx="18026">
                  <c:v>0.78228782287822862</c:v>
                </c:pt>
                <c:pt idx="18027">
                  <c:v>0.77712177121771187</c:v>
                </c:pt>
                <c:pt idx="18028">
                  <c:v>0.78376383763837643</c:v>
                </c:pt>
                <c:pt idx="18029">
                  <c:v>0.80147601476014763</c:v>
                </c:pt>
                <c:pt idx="18030">
                  <c:v>0.80295202952029499</c:v>
                </c:pt>
                <c:pt idx="18031">
                  <c:v>0.80811808118081174</c:v>
                </c:pt>
                <c:pt idx="18032">
                  <c:v>0.80885608856088553</c:v>
                </c:pt>
                <c:pt idx="18033">
                  <c:v>0.79926199261992603</c:v>
                </c:pt>
                <c:pt idx="18034">
                  <c:v>0.79778597785977845</c:v>
                </c:pt>
                <c:pt idx="18035">
                  <c:v>0.7940959409594095</c:v>
                </c:pt>
                <c:pt idx="18036">
                  <c:v>0.78892988929889274</c:v>
                </c:pt>
                <c:pt idx="18037">
                  <c:v>0.78154981549815483</c:v>
                </c:pt>
                <c:pt idx="18038">
                  <c:v>0.78154981549815483</c:v>
                </c:pt>
                <c:pt idx="18039">
                  <c:v>0.78671586715867159</c:v>
                </c:pt>
                <c:pt idx="18040">
                  <c:v>0.78523985239852401</c:v>
                </c:pt>
                <c:pt idx="18041">
                  <c:v>0.77785977859778588</c:v>
                </c:pt>
                <c:pt idx="18042">
                  <c:v>0.78007380073800725</c:v>
                </c:pt>
                <c:pt idx="18043">
                  <c:v>0.7682656826568266</c:v>
                </c:pt>
                <c:pt idx="18044">
                  <c:v>0.75940959409594089</c:v>
                </c:pt>
                <c:pt idx="18045">
                  <c:v>0.75940959409594089</c:v>
                </c:pt>
                <c:pt idx="18046">
                  <c:v>0.76014760147601468</c:v>
                </c:pt>
                <c:pt idx="18047">
                  <c:v>0.73800738007380073</c:v>
                </c:pt>
                <c:pt idx="18048">
                  <c:v>0.74317343173431727</c:v>
                </c:pt>
                <c:pt idx="18049">
                  <c:v>0.75793357933579331</c:v>
                </c:pt>
                <c:pt idx="18050">
                  <c:v>0.75276752767527677</c:v>
                </c:pt>
                <c:pt idx="18051">
                  <c:v>0.73726937269372672</c:v>
                </c:pt>
                <c:pt idx="18052">
                  <c:v>0.74169741697416969</c:v>
                </c:pt>
                <c:pt idx="18053">
                  <c:v>0.77195571955719555</c:v>
                </c:pt>
                <c:pt idx="18054">
                  <c:v>0.77785977859778588</c:v>
                </c:pt>
                <c:pt idx="18055">
                  <c:v>0.77343173431734313</c:v>
                </c:pt>
                <c:pt idx="18056">
                  <c:v>0.78450184501844999</c:v>
                </c:pt>
                <c:pt idx="18057">
                  <c:v>0.78745387453874516</c:v>
                </c:pt>
                <c:pt idx="18058">
                  <c:v>0.78228782287822862</c:v>
                </c:pt>
                <c:pt idx="18059">
                  <c:v>0.81107011070110691</c:v>
                </c:pt>
                <c:pt idx="18060">
                  <c:v>0.80516605166051658</c:v>
                </c:pt>
                <c:pt idx="18061">
                  <c:v>0.81845018450184504</c:v>
                </c:pt>
                <c:pt idx="18062">
                  <c:v>0.83542435424354244</c:v>
                </c:pt>
                <c:pt idx="18063">
                  <c:v>0.84428044280442793</c:v>
                </c:pt>
                <c:pt idx="18064">
                  <c:v>0.84723247232472332</c:v>
                </c:pt>
                <c:pt idx="18065">
                  <c:v>0.84944649446494447</c:v>
                </c:pt>
                <c:pt idx="18066">
                  <c:v>0.83985239852398519</c:v>
                </c:pt>
                <c:pt idx="18067">
                  <c:v>0.82287822878228778</c:v>
                </c:pt>
                <c:pt idx="18068">
                  <c:v>0.82656826568265673</c:v>
                </c:pt>
                <c:pt idx="18069">
                  <c:v>0.83321033210332085</c:v>
                </c:pt>
                <c:pt idx="18070">
                  <c:v>0.83394833948339486</c:v>
                </c:pt>
                <c:pt idx="18071">
                  <c:v>0.82509225092250915</c:v>
                </c:pt>
                <c:pt idx="18072">
                  <c:v>0.82583025830258272</c:v>
                </c:pt>
                <c:pt idx="18073">
                  <c:v>0.83837638376383761</c:v>
                </c:pt>
                <c:pt idx="18074">
                  <c:v>0.84206642066420656</c:v>
                </c:pt>
                <c:pt idx="18075">
                  <c:v>0.83763837638376359</c:v>
                </c:pt>
                <c:pt idx="18076">
                  <c:v>0.84501845018450172</c:v>
                </c:pt>
                <c:pt idx="18077">
                  <c:v>0.84723247232472332</c:v>
                </c:pt>
                <c:pt idx="18078">
                  <c:v>0.84501845018450172</c:v>
                </c:pt>
                <c:pt idx="18079">
                  <c:v>0.82509225092250915</c:v>
                </c:pt>
                <c:pt idx="18080">
                  <c:v>0.81697416974169745</c:v>
                </c:pt>
                <c:pt idx="18081">
                  <c:v>0.8214022140221402</c:v>
                </c:pt>
                <c:pt idx="18082">
                  <c:v>0.80959409594095932</c:v>
                </c:pt>
                <c:pt idx="18083">
                  <c:v>0.79630996309963087</c:v>
                </c:pt>
                <c:pt idx="18084">
                  <c:v>0.78597785977859758</c:v>
                </c:pt>
                <c:pt idx="18085">
                  <c:v>0.78523985239852401</c:v>
                </c:pt>
                <c:pt idx="18086">
                  <c:v>0.80516605166051658</c:v>
                </c:pt>
                <c:pt idx="18087">
                  <c:v>0.82066420664206641</c:v>
                </c:pt>
                <c:pt idx="18088">
                  <c:v>0.82509225092250915</c:v>
                </c:pt>
                <c:pt idx="18089">
                  <c:v>0.81697416974169745</c:v>
                </c:pt>
                <c:pt idx="18090">
                  <c:v>0.83837638376383761</c:v>
                </c:pt>
                <c:pt idx="18091">
                  <c:v>0.84206642066420656</c:v>
                </c:pt>
                <c:pt idx="18092">
                  <c:v>0.83468634686346843</c:v>
                </c:pt>
                <c:pt idx="18093">
                  <c:v>0.82804428044280431</c:v>
                </c:pt>
                <c:pt idx="18094">
                  <c:v>0.83173431734317327</c:v>
                </c:pt>
                <c:pt idx="18095">
                  <c:v>0.83616236162361601</c:v>
                </c:pt>
                <c:pt idx="18096">
                  <c:v>0.83985239852398519</c:v>
                </c:pt>
                <c:pt idx="18097">
                  <c:v>0.82361623616236157</c:v>
                </c:pt>
                <c:pt idx="18098">
                  <c:v>0.81623616236162344</c:v>
                </c:pt>
                <c:pt idx="18099">
                  <c:v>0.81623616236162344</c:v>
                </c:pt>
                <c:pt idx="18100">
                  <c:v>0.86199261992619913</c:v>
                </c:pt>
                <c:pt idx="18101">
                  <c:v>0.86346863468634671</c:v>
                </c:pt>
                <c:pt idx="18102">
                  <c:v>0.86642066420664188</c:v>
                </c:pt>
                <c:pt idx="18103">
                  <c:v>0.89003690036900363</c:v>
                </c:pt>
                <c:pt idx="18104">
                  <c:v>0.9180811808118079</c:v>
                </c:pt>
                <c:pt idx="18105">
                  <c:v>0.91512915129151273</c:v>
                </c:pt>
                <c:pt idx="18106">
                  <c:v>0.92619926199262004</c:v>
                </c:pt>
                <c:pt idx="18107">
                  <c:v>0.93136531365313657</c:v>
                </c:pt>
                <c:pt idx="18108">
                  <c:v>0.92029520295202949</c:v>
                </c:pt>
                <c:pt idx="18109">
                  <c:v>0.93210332103321014</c:v>
                </c:pt>
                <c:pt idx="18110">
                  <c:v>0.9350553505535053</c:v>
                </c:pt>
                <c:pt idx="18111">
                  <c:v>0.93653136531365289</c:v>
                </c:pt>
                <c:pt idx="18112">
                  <c:v>0.94317343173431722</c:v>
                </c:pt>
                <c:pt idx="18113">
                  <c:v>0.9350553505535053</c:v>
                </c:pt>
                <c:pt idx="18114">
                  <c:v>0.93210332103321014</c:v>
                </c:pt>
                <c:pt idx="18115">
                  <c:v>0.92841328413284119</c:v>
                </c:pt>
                <c:pt idx="18116">
                  <c:v>0.9276752767527674</c:v>
                </c:pt>
                <c:pt idx="18117">
                  <c:v>0.91217712177121757</c:v>
                </c:pt>
                <c:pt idx="18118">
                  <c:v>0.90627306273062702</c:v>
                </c:pt>
                <c:pt idx="18119">
                  <c:v>0.90701107011070103</c:v>
                </c:pt>
                <c:pt idx="18120">
                  <c:v>0.90332103321033186</c:v>
                </c:pt>
                <c:pt idx="18121">
                  <c:v>0.90258302583025829</c:v>
                </c:pt>
                <c:pt idx="18122">
                  <c:v>0.91881918819188191</c:v>
                </c:pt>
                <c:pt idx="18123">
                  <c:v>0.91365313653136515</c:v>
                </c:pt>
                <c:pt idx="18124">
                  <c:v>0.91143911439114378</c:v>
                </c:pt>
                <c:pt idx="18125">
                  <c:v>0.91512915129151273</c:v>
                </c:pt>
                <c:pt idx="18126">
                  <c:v>0.91217712177121757</c:v>
                </c:pt>
                <c:pt idx="18127">
                  <c:v>0.9003690036900367</c:v>
                </c:pt>
                <c:pt idx="18128">
                  <c:v>0.9003690036900367</c:v>
                </c:pt>
                <c:pt idx="18129">
                  <c:v>0.89151291512915121</c:v>
                </c:pt>
                <c:pt idx="18130">
                  <c:v>0.88708487084870846</c:v>
                </c:pt>
                <c:pt idx="18131">
                  <c:v>0.88044280442804412</c:v>
                </c:pt>
                <c:pt idx="18132">
                  <c:v>0.8819188191881917</c:v>
                </c:pt>
                <c:pt idx="18133">
                  <c:v>0.89298892988929879</c:v>
                </c:pt>
                <c:pt idx="18134">
                  <c:v>0.8996309963099629</c:v>
                </c:pt>
                <c:pt idx="18135">
                  <c:v>0.8996309963099629</c:v>
                </c:pt>
                <c:pt idx="18136">
                  <c:v>0.892250922509225</c:v>
                </c:pt>
                <c:pt idx="18137">
                  <c:v>0.89077490774907742</c:v>
                </c:pt>
                <c:pt idx="18138">
                  <c:v>0.89594095940959417</c:v>
                </c:pt>
                <c:pt idx="18139">
                  <c:v>0.90479704797047944</c:v>
                </c:pt>
                <c:pt idx="18140">
                  <c:v>0.92988929889298877</c:v>
                </c:pt>
                <c:pt idx="18141">
                  <c:v>0.94981549815498156</c:v>
                </c:pt>
                <c:pt idx="18142">
                  <c:v>0.95867158671586705</c:v>
                </c:pt>
                <c:pt idx="18143">
                  <c:v>0.95645756457564568</c:v>
                </c:pt>
                <c:pt idx="18144">
                  <c:v>0.94686346863468618</c:v>
                </c:pt>
                <c:pt idx="18145">
                  <c:v>0.93357933579335772</c:v>
                </c:pt>
                <c:pt idx="18146">
                  <c:v>0.92841328413284119</c:v>
                </c:pt>
                <c:pt idx="18147">
                  <c:v>0.92250922509225086</c:v>
                </c:pt>
                <c:pt idx="18148">
                  <c:v>0.92029520295202949</c:v>
                </c:pt>
                <c:pt idx="18149">
                  <c:v>0.92398523985239844</c:v>
                </c:pt>
                <c:pt idx="18150">
                  <c:v>0.9276752767527674</c:v>
                </c:pt>
                <c:pt idx="18151">
                  <c:v>0.92546125461254602</c:v>
                </c:pt>
                <c:pt idx="18152">
                  <c:v>0.92915129151291498</c:v>
                </c:pt>
                <c:pt idx="18153">
                  <c:v>0.9195571955719557</c:v>
                </c:pt>
                <c:pt idx="18154">
                  <c:v>0.92029520295202949</c:v>
                </c:pt>
                <c:pt idx="18155">
                  <c:v>0.92841328413284119</c:v>
                </c:pt>
                <c:pt idx="18156">
                  <c:v>0.92472324723247201</c:v>
                </c:pt>
                <c:pt idx="18157">
                  <c:v>0.92029520295202949</c:v>
                </c:pt>
                <c:pt idx="18158">
                  <c:v>0.90848708487084862</c:v>
                </c:pt>
                <c:pt idx="18159">
                  <c:v>0.92472324723247201</c:v>
                </c:pt>
                <c:pt idx="18160">
                  <c:v>0.94317343173431722</c:v>
                </c:pt>
                <c:pt idx="18161">
                  <c:v>0.94612546125461261</c:v>
                </c:pt>
                <c:pt idx="18162">
                  <c:v>0.95424354243542431</c:v>
                </c:pt>
                <c:pt idx="18163">
                  <c:v>0.96752767527675276</c:v>
                </c:pt>
                <c:pt idx="18164">
                  <c:v>0.95867158671586705</c:v>
                </c:pt>
                <c:pt idx="18165">
                  <c:v>0.95867158671586705</c:v>
                </c:pt>
                <c:pt idx="18166">
                  <c:v>0.96088560885608842</c:v>
                </c:pt>
                <c:pt idx="18167">
                  <c:v>0.96236162361623601</c:v>
                </c:pt>
                <c:pt idx="18168">
                  <c:v>0.94833948339483376</c:v>
                </c:pt>
                <c:pt idx="18169">
                  <c:v>0.9372693726937269</c:v>
                </c:pt>
                <c:pt idx="18170">
                  <c:v>0.9372693726937269</c:v>
                </c:pt>
                <c:pt idx="18171">
                  <c:v>0.93431734317343174</c:v>
                </c:pt>
                <c:pt idx="18172">
                  <c:v>0.93284132841328415</c:v>
                </c:pt>
                <c:pt idx="18173">
                  <c:v>0.94095940959409585</c:v>
                </c:pt>
                <c:pt idx="18174">
                  <c:v>0.92988929889298877</c:v>
                </c:pt>
                <c:pt idx="18175">
                  <c:v>0.92103321033210328</c:v>
                </c:pt>
                <c:pt idx="18176">
                  <c:v>0.92177121771217685</c:v>
                </c:pt>
                <c:pt idx="18177">
                  <c:v>0.92398523985239844</c:v>
                </c:pt>
                <c:pt idx="18178">
                  <c:v>0.92177121771217685</c:v>
                </c:pt>
                <c:pt idx="18179">
                  <c:v>0.92177121771217685</c:v>
                </c:pt>
                <c:pt idx="18180">
                  <c:v>0.91586715867158675</c:v>
                </c:pt>
                <c:pt idx="18181">
                  <c:v>0.91734317343173433</c:v>
                </c:pt>
                <c:pt idx="18182">
                  <c:v>0.91365313653136515</c:v>
                </c:pt>
                <c:pt idx="18183">
                  <c:v>0.90110701107011071</c:v>
                </c:pt>
                <c:pt idx="18184">
                  <c:v>0.89077490774907742</c:v>
                </c:pt>
                <c:pt idx="18185">
                  <c:v>0.89003690036900363</c:v>
                </c:pt>
                <c:pt idx="18186">
                  <c:v>0.89741697416974175</c:v>
                </c:pt>
                <c:pt idx="18187">
                  <c:v>0.8996309963099629</c:v>
                </c:pt>
                <c:pt idx="18188">
                  <c:v>0.89520295202952016</c:v>
                </c:pt>
                <c:pt idx="18189">
                  <c:v>0.89372693726937258</c:v>
                </c:pt>
                <c:pt idx="18190">
                  <c:v>0.89372693726937258</c:v>
                </c:pt>
                <c:pt idx="18191">
                  <c:v>0.88339483394833929</c:v>
                </c:pt>
                <c:pt idx="18192">
                  <c:v>0.87158671586715863</c:v>
                </c:pt>
                <c:pt idx="18193">
                  <c:v>0.8760147601476016</c:v>
                </c:pt>
                <c:pt idx="18194">
                  <c:v>0.8649446494464943</c:v>
                </c:pt>
                <c:pt idx="18195">
                  <c:v>0.86568265682656831</c:v>
                </c:pt>
                <c:pt idx="18196">
                  <c:v>0.86937269372693704</c:v>
                </c:pt>
                <c:pt idx="18197">
                  <c:v>0.8568265682656826</c:v>
                </c:pt>
                <c:pt idx="18198">
                  <c:v>0.83025830258302569</c:v>
                </c:pt>
                <c:pt idx="18199">
                  <c:v>0.82656826568265673</c:v>
                </c:pt>
                <c:pt idx="18200">
                  <c:v>0.82361623616236157</c:v>
                </c:pt>
                <c:pt idx="18201">
                  <c:v>0.8191881918819186</c:v>
                </c:pt>
                <c:pt idx="18202">
                  <c:v>0.8191881918819186</c:v>
                </c:pt>
                <c:pt idx="18203">
                  <c:v>0.82804428044280431</c:v>
                </c:pt>
                <c:pt idx="18204">
                  <c:v>0.82878228782287833</c:v>
                </c:pt>
                <c:pt idx="18205">
                  <c:v>0.82804428044280431</c:v>
                </c:pt>
                <c:pt idx="18206">
                  <c:v>0.82066420664206641</c:v>
                </c:pt>
                <c:pt idx="18207">
                  <c:v>0.82066420664206641</c:v>
                </c:pt>
                <c:pt idx="18208">
                  <c:v>0.81549815498154987</c:v>
                </c:pt>
                <c:pt idx="18209">
                  <c:v>0.80959409594095932</c:v>
                </c:pt>
                <c:pt idx="18210">
                  <c:v>0.78228782287822862</c:v>
                </c:pt>
                <c:pt idx="18211">
                  <c:v>0.78228782287822862</c:v>
                </c:pt>
                <c:pt idx="18212">
                  <c:v>0.78081180811808104</c:v>
                </c:pt>
                <c:pt idx="18213">
                  <c:v>0.77785977859778588</c:v>
                </c:pt>
                <c:pt idx="18214">
                  <c:v>0.77343173431734313</c:v>
                </c:pt>
                <c:pt idx="18215">
                  <c:v>0.76162361623616226</c:v>
                </c:pt>
                <c:pt idx="18216">
                  <c:v>0.75645756457564572</c:v>
                </c:pt>
                <c:pt idx="18217">
                  <c:v>0.7763837638376383</c:v>
                </c:pt>
                <c:pt idx="18218">
                  <c:v>0.78081180811808104</c:v>
                </c:pt>
                <c:pt idx="18219">
                  <c:v>0.78597785977859758</c:v>
                </c:pt>
                <c:pt idx="18220">
                  <c:v>0.76457564575645742</c:v>
                </c:pt>
                <c:pt idx="18221">
                  <c:v>0.77564575645756428</c:v>
                </c:pt>
                <c:pt idx="18222">
                  <c:v>0.80664206642066416</c:v>
                </c:pt>
                <c:pt idx="18223">
                  <c:v>0.80664206642066416</c:v>
                </c:pt>
                <c:pt idx="18224">
                  <c:v>0.8118081180811807</c:v>
                </c:pt>
                <c:pt idx="18225">
                  <c:v>0.81328413284132828</c:v>
                </c:pt>
                <c:pt idx="18226">
                  <c:v>0.81402214022140207</c:v>
                </c:pt>
                <c:pt idx="18227">
                  <c:v>0.80073800738007361</c:v>
                </c:pt>
                <c:pt idx="18228">
                  <c:v>0.803690036900369</c:v>
                </c:pt>
                <c:pt idx="18229">
                  <c:v>0.80811808118081174</c:v>
                </c:pt>
                <c:pt idx="18230">
                  <c:v>0.80959409594095932</c:v>
                </c:pt>
                <c:pt idx="18231">
                  <c:v>0.80664206642066416</c:v>
                </c:pt>
                <c:pt idx="18232">
                  <c:v>0.81107011070110691</c:v>
                </c:pt>
                <c:pt idx="18233">
                  <c:v>0.8214022140221402</c:v>
                </c:pt>
                <c:pt idx="18234">
                  <c:v>0.82509225092250915</c:v>
                </c:pt>
                <c:pt idx="18235">
                  <c:v>0.83099630996309948</c:v>
                </c:pt>
                <c:pt idx="18236">
                  <c:v>0.8295202952029519</c:v>
                </c:pt>
                <c:pt idx="18237">
                  <c:v>0.82287822878228778</c:v>
                </c:pt>
                <c:pt idx="18238">
                  <c:v>0.81476014760147586</c:v>
                </c:pt>
                <c:pt idx="18239">
                  <c:v>0.81328413284132828</c:v>
                </c:pt>
                <c:pt idx="18240">
                  <c:v>0.80885608856088553</c:v>
                </c:pt>
                <c:pt idx="18241">
                  <c:v>0.81402214022140207</c:v>
                </c:pt>
                <c:pt idx="18242">
                  <c:v>0.81033210332103311</c:v>
                </c:pt>
                <c:pt idx="18243">
                  <c:v>0.80442804428044257</c:v>
                </c:pt>
                <c:pt idx="18244">
                  <c:v>0.82361623616236157</c:v>
                </c:pt>
                <c:pt idx="18245">
                  <c:v>0.82435424354243514</c:v>
                </c:pt>
                <c:pt idx="18246">
                  <c:v>0.82214022140221399</c:v>
                </c:pt>
                <c:pt idx="18247">
                  <c:v>0.83468634686346843</c:v>
                </c:pt>
                <c:pt idx="18248">
                  <c:v>0.85313653136531342</c:v>
                </c:pt>
                <c:pt idx="18249">
                  <c:v>0.86051660516605155</c:v>
                </c:pt>
                <c:pt idx="18250">
                  <c:v>0.86273062730627292</c:v>
                </c:pt>
                <c:pt idx="18251">
                  <c:v>0.86346863468634671</c:v>
                </c:pt>
                <c:pt idx="18252">
                  <c:v>0.85608856088560858</c:v>
                </c:pt>
                <c:pt idx="18253">
                  <c:v>0.85608856088560858</c:v>
                </c:pt>
                <c:pt idx="18254">
                  <c:v>0.84723247232472332</c:v>
                </c:pt>
                <c:pt idx="18255">
                  <c:v>0.84280442804428035</c:v>
                </c:pt>
                <c:pt idx="18256">
                  <c:v>0.84059040590405898</c:v>
                </c:pt>
                <c:pt idx="18257">
                  <c:v>0.83247232472324706</c:v>
                </c:pt>
                <c:pt idx="18258">
                  <c:v>0.83542435424354244</c:v>
                </c:pt>
                <c:pt idx="18259">
                  <c:v>0.84428044280442793</c:v>
                </c:pt>
                <c:pt idx="18260">
                  <c:v>0.84354243542435414</c:v>
                </c:pt>
                <c:pt idx="18261">
                  <c:v>0.84132841328413277</c:v>
                </c:pt>
                <c:pt idx="18262">
                  <c:v>0.83690036900369003</c:v>
                </c:pt>
                <c:pt idx="18263">
                  <c:v>0.84059040590405898</c:v>
                </c:pt>
                <c:pt idx="18264">
                  <c:v>0.85977859778597776</c:v>
                </c:pt>
                <c:pt idx="18265">
                  <c:v>0.86568265682656831</c:v>
                </c:pt>
                <c:pt idx="18266">
                  <c:v>0.86568265682656831</c:v>
                </c:pt>
                <c:pt idx="18267">
                  <c:v>0.86789667896678946</c:v>
                </c:pt>
                <c:pt idx="18268">
                  <c:v>0.88339483394833929</c:v>
                </c:pt>
                <c:pt idx="18269">
                  <c:v>0.88560885608856088</c:v>
                </c:pt>
                <c:pt idx="18270">
                  <c:v>0.88339483394833929</c:v>
                </c:pt>
                <c:pt idx="18271">
                  <c:v>0.87749077490774918</c:v>
                </c:pt>
                <c:pt idx="18272">
                  <c:v>0.87896678966789654</c:v>
                </c:pt>
                <c:pt idx="18273">
                  <c:v>0.87675276752767517</c:v>
                </c:pt>
                <c:pt idx="18274">
                  <c:v>0.87822878228782275</c:v>
                </c:pt>
                <c:pt idx="18275">
                  <c:v>0.87453874538745358</c:v>
                </c:pt>
                <c:pt idx="18276">
                  <c:v>0.87232472324723243</c:v>
                </c:pt>
                <c:pt idx="18277">
                  <c:v>0.86420664206642073</c:v>
                </c:pt>
                <c:pt idx="18278">
                  <c:v>0.85977859778597776</c:v>
                </c:pt>
                <c:pt idx="18279">
                  <c:v>0.8568265682656826</c:v>
                </c:pt>
                <c:pt idx="18280">
                  <c:v>0.86273062730627292</c:v>
                </c:pt>
                <c:pt idx="18281">
                  <c:v>0.85313653136531342</c:v>
                </c:pt>
                <c:pt idx="18282">
                  <c:v>0.84501845018450172</c:v>
                </c:pt>
                <c:pt idx="18283">
                  <c:v>0.84132841328413277</c:v>
                </c:pt>
                <c:pt idx="18284">
                  <c:v>0.83394833948339486</c:v>
                </c:pt>
                <c:pt idx="18285">
                  <c:v>0.8487084870848709</c:v>
                </c:pt>
                <c:pt idx="18286">
                  <c:v>0.8568265682656826</c:v>
                </c:pt>
                <c:pt idx="18287">
                  <c:v>0.8568265682656826</c:v>
                </c:pt>
                <c:pt idx="18288">
                  <c:v>0.84723247232472332</c:v>
                </c:pt>
                <c:pt idx="18289">
                  <c:v>0.84354243542435414</c:v>
                </c:pt>
                <c:pt idx="18290">
                  <c:v>0.83099630996309948</c:v>
                </c:pt>
                <c:pt idx="18291">
                  <c:v>0.83468634686346843</c:v>
                </c:pt>
                <c:pt idx="18292">
                  <c:v>0.84206642066420656</c:v>
                </c:pt>
                <c:pt idx="18293">
                  <c:v>0.84280442804428035</c:v>
                </c:pt>
                <c:pt idx="18294">
                  <c:v>0.84280442804428035</c:v>
                </c:pt>
                <c:pt idx="18295">
                  <c:v>0.8487084870848709</c:v>
                </c:pt>
                <c:pt idx="18296">
                  <c:v>0.84944649446494447</c:v>
                </c:pt>
                <c:pt idx="18297">
                  <c:v>0.85387453874538743</c:v>
                </c:pt>
                <c:pt idx="18298">
                  <c:v>0.84206642066420656</c:v>
                </c:pt>
                <c:pt idx="18299">
                  <c:v>0.83247232472324706</c:v>
                </c:pt>
                <c:pt idx="18300">
                  <c:v>0.82656826568265673</c:v>
                </c:pt>
                <c:pt idx="18301">
                  <c:v>0.81992619926199262</c:v>
                </c:pt>
                <c:pt idx="18302">
                  <c:v>0.81549815498154987</c:v>
                </c:pt>
                <c:pt idx="18303">
                  <c:v>0.81254612546125449</c:v>
                </c:pt>
                <c:pt idx="18304">
                  <c:v>0.81476014760147586</c:v>
                </c:pt>
                <c:pt idx="18305">
                  <c:v>0.80885608856088553</c:v>
                </c:pt>
                <c:pt idx="18306">
                  <c:v>0.80295202952029499</c:v>
                </c:pt>
                <c:pt idx="18307">
                  <c:v>0.79557195571955708</c:v>
                </c:pt>
                <c:pt idx="18308">
                  <c:v>0.79335793357933571</c:v>
                </c:pt>
                <c:pt idx="18309">
                  <c:v>0.79852398523985246</c:v>
                </c:pt>
                <c:pt idx="18310">
                  <c:v>0.7940959409594095</c:v>
                </c:pt>
                <c:pt idx="18311">
                  <c:v>0.7940959409594095</c:v>
                </c:pt>
                <c:pt idx="18312">
                  <c:v>0.78819188191881917</c:v>
                </c:pt>
                <c:pt idx="18313">
                  <c:v>0.79852398523985246</c:v>
                </c:pt>
                <c:pt idx="18314">
                  <c:v>0.79040590405904054</c:v>
                </c:pt>
                <c:pt idx="18315">
                  <c:v>0.77859778597785989</c:v>
                </c:pt>
                <c:pt idx="18316">
                  <c:v>0.76752767527675259</c:v>
                </c:pt>
                <c:pt idx="18317">
                  <c:v>0.75498154981549814</c:v>
                </c:pt>
                <c:pt idx="18318">
                  <c:v>0.75645756457564572</c:v>
                </c:pt>
                <c:pt idx="18319">
                  <c:v>0.75645756457564572</c:v>
                </c:pt>
                <c:pt idx="18320">
                  <c:v>0.76088560885608847</c:v>
                </c:pt>
                <c:pt idx="18321">
                  <c:v>0.75940959409594089</c:v>
                </c:pt>
                <c:pt idx="18322">
                  <c:v>0.76236162361623605</c:v>
                </c:pt>
                <c:pt idx="18323">
                  <c:v>0.76678966789667902</c:v>
                </c:pt>
                <c:pt idx="18324">
                  <c:v>0.76309963099630984</c:v>
                </c:pt>
                <c:pt idx="18325">
                  <c:v>0.76457564575645742</c:v>
                </c:pt>
                <c:pt idx="18326">
                  <c:v>0.75498154981549814</c:v>
                </c:pt>
                <c:pt idx="18327">
                  <c:v>0.75202952029520276</c:v>
                </c:pt>
                <c:pt idx="18328">
                  <c:v>0.74243542435424348</c:v>
                </c:pt>
                <c:pt idx="18329">
                  <c:v>0.7387453874538743</c:v>
                </c:pt>
                <c:pt idx="18330">
                  <c:v>0.74169741697416969</c:v>
                </c:pt>
                <c:pt idx="18331">
                  <c:v>0.74760147601476001</c:v>
                </c:pt>
                <c:pt idx="18332">
                  <c:v>0.75498154981549814</c:v>
                </c:pt>
                <c:pt idx="18333">
                  <c:v>0.75276752767527677</c:v>
                </c:pt>
                <c:pt idx="18334">
                  <c:v>0.75940959409594089</c:v>
                </c:pt>
                <c:pt idx="18335">
                  <c:v>0.76088560885608847</c:v>
                </c:pt>
                <c:pt idx="18336">
                  <c:v>0.75719557195571929</c:v>
                </c:pt>
                <c:pt idx="18337">
                  <c:v>0.74686346863468644</c:v>
                </c:pt>
                <c:pt idx="18338">
                  <c:v>0.74612546125461243</c:v>
                </c:pt>
                <c:pt idx="18339">
                  <c:v>0.7387453874538743</c:v>
                </c:pt>
                <c:pt idx="18340">
                  <c:v>0.70996309963099624</c:v>
                </c:pt>
                <c:pt idx="18341">
                  <c:v>0.72103321033210332</c:v>
                </c:pt>
                <c:pt idx="18342">
                  <c:v>0.73357933579335777</c:v>
                </c:pt>
                <c:pt idx="18343">
                  <c:v>0.73800738007380073</c:v>
                </c:pt>
                <c:pt idx="18344">
                  <c:v>0.73726937269372672</c:v>
                </c:pt>
                <c:pt idx="18345">
                  <c:v>0.72915129151291502</c:v>
                </c:pt>
                <c:pt idx="18346">
                  <c:v>0.73284132841328398</c:v>
                </c:pt>
                <c:pt idx="18347">
                  <c:v>0.74022140221402188</c:v>
                </c:pt>
                <c:pt idx="18348">
                  <c:v>0.74833948339483403</c:v>
                </c:pt>
                <c:pt idx="18349">
                  <c:v>0.73431734317343156</c:v>
                </c:pt>
                <c:pt idx="18350">
                  <c:v>0.72767527675276744</c:v>
                </c:pt>
                <c:pt idx="18351">
                  <c:v>0.74022140221402188</c:v>
                </c:pt>
                <c:pt idx="18352">
                  <c:v>0.74538745387453864</c:v>
                </c:pt>
                <c:pt idx="18353">
                  <c:v>0.76752767527675259</c:v>
                </c:pt>
                <c:pt idx="18354">
                  <c:v>0.76752767527675259</c:v>
                </c:pt>
                <c:pt idx="18355">
                  <c:v>0.77933579335793346</c:v>
                </c:pt>
                <c:pt idx="18356">
                  <c:v>0.76678966789667902</c:v>
                </c:pt>
                <c:pt idx="18357">
                  <c:v>0.76457564575645742</c:v>
                </c:pt>
                <c:pt idx="18358">
                  <c:v>0.75645756457564572</c:v>
                </c:pt>
                <c:pt idx="18359">
                  <c:v>0.77269372693726934</c:v>
                </c:pt>
                <c:pt idx="18360">
                  <c:v>0.78007380073800725</c:v>
                </c:pt>
                <c:pt idx="18361">
                  <c:v>0.78007380073800725</c:v>
                </c:pt>
                <c:pt idx="18362">
                  <c:v>0.78450184501844999</c:v>
                </c:pt>
                <c:pt idx="18363">
                  <c:v>0.79852398523985246</c:v>
                </c:pt>
                <c:pt idx="18364">
                  <c:v>0.78450184501844999</c:v>
                </c:pt>
                <c:pt idx="18365">
                  <c:v>0.77047970479704775</c:v>
                </c:pt>
                <c:pt idx="18366">
                  <c:v>0.75498154981549814</c:v>
                </c:pt>
                <c:pt idx="18367">
                  <c:v>0.75571955719557171</c:v>
                </c:pt>
                <c:pt idx="18368">
                  <c:v>0.766051660516605</c:v>
                </c:pt>
                <c:pt idx="18369">
                  <c:v>0.766051660516605</c:v>
                </c:pt>
                <c:pt idx="18370">
                  <c:v>0.76309963099630984</c:v>
                </c:pt>
                <c:pt idx="18371">
                  <c:v>0.75793357933579331</c:v>
                </c:pt>
                <c:pt idx="18372">
                  <c:v>0.76162361623616226</c:v>
                </c:pt>
                <c:pt idx="18373">
                  <c:v>0.76531365313653144</c:v>
                </c:pt>
                <c:pt idx="18374">
                  <c:v>0.75276752767527677</c:v>
                </c:pt>
                <c:pt idx="18375">
                  <c:v>0.75276752767527677</c:v>
                </c:pt>
                <c:pt idx="18376">
                  <c:v>0.75129151291512919</c:v>
                </c:pt>
                <c:pt idx="18377">
                  <c:v>0.74317343173431727</c:v>
                </c:pt>
                <c:pt idx="18378">
                  <c:v>0.74169741697416969</c:v>
                </c:pt>
                <c:pt idx="18379">
                  <c:v>0.75055350553505518</c:v>
                </c:pt>
                <c:pt idx="18380">
                  <c:v>0.74833948339483403</c:v>
                </c:pt>
                <c:pt idx="18381">
                  <c:v>0.74981549815498161</c:v>
                </c:pt>
                <c:pt idx="18382">
                  <c:v>0.74760147601476001</c:v>
                </c:pt>
                <c:pt idx="18383">
                  <c:v>0.71881918819188173</c:v>
                </c:pt>
                <c:pt idx="18384">
                  <c:v>0.71660516605166058</c:v>
                </c:pt>
                <c:pt idx="18385">
                  <c:v>0.71881918819188173</c:v>
                </c:pt>
                <c:pt idx="18386">
                  <c:v>0.71070110701107003</c:v>
                </c:pt>
                <c:pt idx="18387">
                  <c:v>0.70848708487084844</c:v>
                </c:pt>
                <c:pt idx="18388">
                  <c:v>0.71439114391143899</c:v>
                </c:pt>
                <c:pt idx="18389">
                  <c:v>0.71439114391143899</c:v>
                </c:pt>
                <c:pt idx="18390">
                  <c:v>0.70922509225092245</c:v>
                </c:pt>
                <c:pt idx="18391">
                  <c:v>0.70405904059040569</c:v>
                </c:pt>
                <c:pt idx="18392">
                  <c:v>0.72398523985239849</c:v>
                </c:pt>
                <c:pt idx="18393">
                  <c:v>0.75202952029520276</c:v>
                </c:pt>
                <c:pt idx="18394">
                  <c:v>0.76088560885608847</c:v>
                </c:pt>
                <c:pt idx="18395">
                  <c:v>0.76162361623616226</c:v>
                </c:pt>
                <c:pt idx="18396">
                  <c:v>0.76531365313653144</c:v>
                </c:pt>
                <c:pt idx="18397">
                  <c:v>0.76531365313653144</c:v>
                </c:pt>
                <c:pt idx="18398">
                  <c:v>0.77933579335793346</c:v>
                </c:pt>
                <c:pt idx="18399">
                  <c:v>0.78892988929889274</c:v>
                </c:pt>
                <c:pt idx="18400">
                  <c:v>0.77933579335793346</c:v>
                </c:pt>
                <c:pt idx="18401">
                  <c:v>0.78450184501844999</c:v>
                </c:pt>
                <c:pt idx="18402">
                  <c:v>0.77933579335793346</c:v>
                </c:pt>
                <c:pt idx="18403">
                  <c:v>0.78007380073800725</c:v>
                </c:pt>
                <c:pt idx="18404">
                  <c:v>0.79335793357933571</c:v>
                </c:pt>
                <c:pt idx="18405">
                  <c:v>0.78154981549815483</c:v>
                </c:pt>
                <c:pt idx="18406">
                  <c:v>0.78819188191881917</c:v>
                </c:pt>
                <c:pt idx="18407">
                  <c:v>0.81328413284132828</c:v>
                </c:pt>
                <c:pt idx="18408">
                  <c:v>0.81623616236162344</c:v>
                </c:pt>
                <c:pt idx="18409">
                  <c:v>0.8118081180811807</c:v>
                </c:pt>
                <c:pt idx="18410">
                  <c:v>0.81254612546125449</c:v>
                </c:pt>
                <c:pt idx="18411">
                  <c:v>0.81107011070110691</c:v>
                </c:pt>
                <c:pt idx="18412">
                  <c:v>0.81992619926199262</c:v>
                </c:pt>
                <c:pt idx="18413">
                  <c:v>0.80516605166051658</c:v>
                </c:pt>
                <c:pt idx="18414">
                  <c:v>0.78966789667896675</c:v>
                </c:pt>
                <c:pt idx="18415">
                  <c:v>0.78597785977859758</c:v>
                </c:pt>
                <c:pt idx="18416">
                  <c:v>0.77785977859778588</c:v>
                </c:pt>
                <c:pt idx="18417">
                  <c:v>0.77564575645756428</c:v>
                </c:pt>
                <c:pt idx="18418">
                  <c:v>0.78302583025830241</c:v>
                </c:pt>
                <c:pt idx="18419">
                  <c:v>0.76974169741697418</c:v>
                </c:pt>
                <c:pt idx="18420">
                  <c:v>0.76088560885608847</c:v>
                </c:pt>
                <c:pt idx="18421">
                  <c:v>0.75202952029520276</c:v>
                </c:pt>
                <c:pt idx="18422">
                  <c:v>0.75793357933579331</c:v>
                </c:pt>
                <c:pt idx="18423">
                  <c:v>0.76457564575645742</c:v>
                </c:pt>
                <c:pt idx="18424">
                  <c:v>0.76531365313653144</c:v>
                </c:pt>
                <c:pt idx="18425">
                  <c:v>0.76236162361623605</c:v>
                </c:pt>
                <c:pt idx="18426">
                  <c:v>0.75645756457564572</c:v>
                </c:pt>
                <c:pt idx="18427">
                  <c:v>0.75645756457564572</c:v>
                </c:pt>
                <c:pt idx="18428">
                  <c:v>0.75424354243542413</c:v>
                </c:pt>
                <c:pt idx="18429">
                  <c:v>0.74833948339483403</c:v>
                </c:pt>
                <c:pt idx="18430">
                  <c:v>0.74538745387453864</c:v>
                </c:pt>
                <c:pt idx="18431">
                  <c:v>0.72988929889298904</c:v>
                </c:pt>
                <c:pt idx="18432">
                  <c:v>0.72988929889298904</c:v>
                </c:pt>
                <c:pt idx="18433">
                  <c:v>0.73726937269372672</c:v>
                </c:pt>
                <c:pt idx="18434">
                  <c:v>0.73505535055350557</c:v>
                </c:pt>
                <c:pt idx="18435">
                  <c:v>0.73948339483394832</c:v>
                </c:pt>
                <c:pt idx="18436">
                  <c:v>0.73948339483394832</c:v>
                </c:pt>
                <c:pt idx="18437">
                  <c:v>0.73357933579335777</c:v>
                </c:pt>
                <c:pt idx="18438">
                  <c:v>0.72767527675276744</c:v>
                </c:pt>
                <c:pt idx="18439">
                  <c:v>0.72472324723247228</c:v>
                </c:pt>
                <c:pt idx="18440">
                  <c:v>0.72619926199261986</c:v>
                </c:pt>
                <c:pt idx="18441">
                  <c:v>0.72472324723247228</c:v>
                </c:pt>
                <c:pt idx="18442">
                  <c:v>0.71955719557195574</c:v>
                </c:pt>
                <c:pt idx="18443">
                  <c:v>0.72841328413284145</c:v>
                </c:pt>
                <c:pt idx="18444">
                  <c:v>0.72546125461254607</c:v>
                </c:pt>
                <c:pt idx="18445">
                  <c:v>0.72250922509225091</c:v>
                </c:pt>
                <c:pt idx="18446">
                  <c:v>0.70258302583025833</c:v>
                </c:pt>
                <c:pt idx="18447">
                  <c:v>0.70774907749077487</c:v>
                </c:pt>
                <c:pt idx="18448">
                  <c:v>0.69815498154981559</c:v>
                </c:pt>
                <c:pt idx="18449">
                  <c:v>0.68856088560885587</c:v>
                </c:pt>
                <c:pt idx="18450">
                  <c:v>0.67306273062730626</c:v>
                </c:pt>
                <c:pt idx="18451">
                  <c:v>0.66863468634686329</c:v>
                </c:pt>
                <c:pt idx="18452">
                  <c:v>0.67232472324723247</c:v>
                </c:pt>
                <c:pt idx="18453">
                  <c:v>0.65535055350553484</c:v>
                </c:pt>
                <c:pt idx="18454">
                  <c:v>0.65313653136531347</c:v>
                </c:pt>
                <c:pt idx="18455">
                  <c:v>0.65313653136531347</c:v>
                </c:pt>
                <c:pt idx="18456">
                  <c:v>0.67084870848708489</c:v>
                </c:pt>
                <c:pt idx="18457">
                  <c:v>0.67380073800738005</c:v>
                </c:pt>
                <c:pt idx="18458">
                  <c:v>0.677490774907749</c:v>
                </c:pt>
                <c:pt idx="18459">
                  <c:v>0.68413284132841312</c:v>
                </c:pt>
                <c:pt idx="18460">
                  <c:v>0.6856088560885607</c:v>
                </c:pt>
                <c:pt idx="18461">
                  <c:v>0.68634686346863472</c:v>
                </c:pt>
                <c:pt idx="18462">
                  <c:v>0.68191881918819175</c:v>
                </c:pt>
                <c:pt idx="18463">
                  <c:v>0.68191881918819175</c:v>
                </c:pt>
                <c:pt idx="18464">
                  <c:v>0.67896678966789659</c:v>
                </c:pt>
                <c:pt idx="18465">
                  <c:v>0.65830258302583</c:v>
                </c:pt>
                <c:pt idx="18466">
                  <c:v>0.65977859778597758</c:v>
                </c:pt>
                <c:pt idx="18467">
                  <c:v>0.65977859778597758</c:v>
                </c:pt>
                <c:pt idx="18468">
                  <c:v>0.68413284132841312</c:v>
                </c:pt>
                <c:pt idx="18469">
                  <c:v>0.69225092250922504</c:v>
                </c:pt>
                <c:pt idx="18470">
                  <c:v>0.70479704797047971</c:v>
                </c:pt>
                <c:pt idx="18471">
                  <c:v>0.69298892988929883</c:v>
                </c:pt>
                <c:pt idx="18472">
                  <c:v>0.67232472324723247</c:v>
                </c:pt>
                <c:pt idx="18473">
                  <c:v>0.67453874538745384</c:v>
                </c:pt>
                <c:pt idx="18474">
                  <c:v>0.68339483394833933</c:v>
                </c:pt>
                <c:pt idx="18475">
                  <c:v>0.69446494464944641</c:v>
                </c:pt>
                <c:pt idx="18476">
                  <c:v>0.69963099630996317</c:v>
                </c:pt>
                <c:pt idx="18477">
                  <c:v>0.6856088560885607</c:v>
                </c:pt>
                <c:pt idx="18478">
                  <c:v>0.67896678966789659</c:v>
                </c:pt>
                <c:pt idx="18479">
                  <c:v>0.72103321033210332</c:v>
                </c:pt>
                <c:pt idx="18480">
                  <c:v>0.74686346863468644</c:v>
                </c:pt>
                <c:pt idx="18481">
                  <c:v>0.74833948339483403</c:v>
                </c:pt>
                <c:pt idx="18482">
                  <c:v>0.75424354243542413</c:v>
                </c:pt>
                <c:pt idx="18483">
                  <c:v>0.76014760147601468</c:v>
                </c:pt>
                <c:pt idx="18484">
                  <c:v>0.76014760147601468</c:v>
                </c:pt>
                <c:pt idx="18485">
                  <c:v>0.7490774907749076</c:v>
                </c:pt>
                <c:pt idx="18486">
                  <c:v>0.74243542435424348</c:v>
                </c:pt>
                <c:pt idx="18487">
                  <c:v>0.74538745387453864</c:v>
                </c:pt>
                <c:pt idx="18488">
                  <c:v>0.75276752767527677</c:v>
                </c:pt>
                <c:pt idx="18489">
                  <c:v>0.75498154981549814</c:v>
                </c:pt>
                <c:pt idx="18490">
                  <c:v>0.75055350553505518</c:v>
                </c:pt>
                <c:pt idx="18491">
                  <c:v>0.75571955719557171</c:v>
                </c:pt>
                <c:pt idx="18492">
                  <c:v>0.74464944649446485</c:v>
                </c:pt>
                <c:pt idx="18493">
                  <c:v>0.73210332103321019</c:v>
                </c:pt>
                <c:pt idx="18494">
                  <c:v>0.71660516605166058</c:v>
                </c:pt>
                <c:pt idx="18495">
                  <c:v>0.71734317343173415</c:v>
                </c:pt>
                <c:pt idx="18496">
                  <c:v>0.72693726937269343</c:v>
                </c:pt>
                <c:pt idx="18497">
                  <c:v>0.72546125461254607</c:v>
                </c:pt>
                <c:pt idx="18498">
                  <c:v>0.71955719557195574</c:v>
                </c:pt>
                <c:pt idx="18499">
                  <c:v>0.72693726937269343</c:v>
                </c:pt>
                <c:pt idx="18500">
                  <c:v>0.73948339483394832</c:v>
                </c:pt>
                <c:pt idx="18501">
                  <c:v>0.7409594095940959</c:v>
                </c:pt>
                <c:pt idx="18502">
                  <c:v>0.7409594095940959</c:v>
                </c:pt>
                <c:pt idx="18503">
                  <c:v>0.74317343173431727</c:v>
                </c:pt>
                <c:pt idx="18504">
                  <c:v>0.74833948339483403</c:v>
                </c:pt>
                <c:pt idx="18505">
                  <c:v>0.74981549815498161</c:v>
                </c:pt>
                <c:pt idx="18506">
                  <c:v>0.74169741697416969</c:v>
                </c:pt>
                <c:pt idx="18507">
                  <c:v>0.73431734317343156</c:v>
                </c:pt>
                <c:pt idx="18508">
                  <c:v>0.74317343173431727</c:v>
                </c:pt>
                <c:pt idx="18509">
                  <c:v>0.73653136531365315</c:v>
                </c:pt>
                <c:pt idx="18510">
                  <c:v>0.73210332103321019</c:v>
                </c:pt>
                <c:pt idx="18511">
                  <c:v>0.72841328413284145</c:v>
                </c:pt>
                <c:pt idx="18512">
                  <c:v>0.71808118081180816</c:v>
                </c:pt>
                <c:pt idx="18513">
                  <c:v>0.71808118081180816</c:v>
                </c:pt>
                <c:pt idx="18514">
                  <c:v>0.71808118081180816</c:v>
                </c:pt>
                <c:pt idx="18515">
                  <c:v>0.71512915129151278</c:v>
                </c:pt>
                <c:pt idx="18516">
                  <c:v>0.7033210332103319</c:v>
                </c:pt>
                <c:pt idx="18517">
                  <c:v>0.69003690036900345</c:v>
                </c:pt>
                <c:pt idx="18518">
                  <c:v>0.68634686346863472</c:v>
                </c:pt>
                <c:pt idx="18519">
                  <c:v>0.68856088560885587</c:v>
                </c:pt>
                <c:pt idx="18520">
                  <c:v>0.69003690036900345</c:v>
                </c:pt>
                <c:pt idx="18521">
                  <c:v>0.67896678966789659</c:v>
                </c:pt>
                <c:pt idx="18522">
                  <c:v>0.68487084870848691</c:v>
                </c:pt>
                <c:pt idx="18523">
                  <c:v>0.69225092250922504</c:v>
                </c:pt>
                <c:pt idx="18524">
                  <c:v>0.69298892988929883</c:v>
                </c:pt>
                <c:pt idx="18525">
                  <c:v>0.6878228782287823</c:v>
                </c:pt>
                <c:pt idx="18526">
                  <c:v>0.68191881918819175</c:v>
                </c:pt>
                <c:pt idx="18527">
                  <c:v>0.67527675276752763</c:v>
                </c:pt>
                <c:pt idx="18528">
                  <c:v>0.68265682656826554</c:v>
                </c:pt>
                <c:pt idx="18529">
                  <c:v>0.68191881918819175</c:v>
                </c:pt>
                <c:pt idx="18530">
                  <c:v>0.6856088560885607</c:v>
                </c:pt>
                <c:pt idx="18531">
                  <c:v>0.69225092250922504</c:v>
                </c:pt>
                <c:pt idx="18532">
                  <c:v>0.69963099630996317</c:v>
                </c:pt>
                <c:pt idx="18533">
                  <c:v>0.69815498154981559</c:v>
                </c:pt>
                <c:pt idx="18534">
                  <c:v>0.68634686346863472</c:v>
                </c:pt>
                <c:pt idx="18535">
                  <c:v>0.68413284132841312</c:v>
                </c:pt>
                <c:pt idx="18536">
                  <c:v>0.66125461254612539</c:v>
                </c:pt>
                <c:pt idx="18537">
                  <c:v>0.65313653136531347</c:v>
                </c:pt>
                <c:pt idx="18538">
                  <c:v>0.67011070110701088</c:v>
                </c:pt>
                <c:pt idx="18539">
                  <c:v>0.66273062730627297</c:v>
                </c:pt>
                <c:pt idx="18540">
                  <c:v>0.65830258302583</c:v>
                </c:pt>
                <c:pt idx="18541">
                  <c:v>0.64723247232472314</c:v>
                </c:pt>
                <c:pt idx="18542">
                  <c:v>0.65608856088560885</c:v>
                </c:pt>
                <c:pt idx="18543">
                  <c:v>0.63099630996309974</c:v>
                </c:pt>
                <c:pt idx="18544">
                  <c:v>0.6147601476014759</c:v>
                </c:pt>
                <c:pt idx="18545">
                  <c:v>0.61180811808118074</c:v>
                </c:pt>
                <c:pt idx="18546">
                  <c:v>0.6147601476014759</c:v>
                </c:pt>
                <c:pt idx="18547">
                  <c:v>0.61771217712177129</c:v>
                </c:pt>
                <c:pt idx="18548">
                  <c:v>0.60369003690036904</c:v>
                </c:pt>
                <c:pt idx="18549">
                  <c:v>0.62214022140221403</c:v>
                </c:pt>
                <c:pt idx="18550">
                  <c:v>0.60885608856088558</c:v>
                </c:pt>
                <c:pt idx="18551">
                  <c:v>0.59999999999999987</c:v>
                </c:pt>
                <c:pt idx="18552">
                  <c:v>0.59630996309963091</c:v>
                </c:pt>
                <c:pt idx="18553">
                  <c:v>0.60369003690036904</c:v>
                </c:pt>
                <c:pt idx="18554">
                  <c:v>0.5970479704797047</c:v>
                </c:pt>
                <c:pt idx="18555">
                  <c:v>0.5970479704797047</c:v>
                </c:pt>
                <c:pt idx="18556">
                  <c:v>0.5970479704797047</c:v>
                </c:pt>
                <c:pt idx="18557">
                  <c:v>0.56678966789667884</c:v>
                </c:pt>
                <c:pt idx="18558">
                  <c:v>0.55719557195571956</c:v>
                </c:pt>
                <c:pt idx="18559">
                  <c:v>0.54686346863468627</c:v>
                </c:pt>
                <c:pt idx="18560">
                  <c:v>0.55719557195571956</c:v>
                </c:pt>
                <c:pt idx="18561">
                  <c:v>0.57712177121771213</c:v>
                </c:pt>
                <c:pt idx="18562">
                  <c:v>0.5719557195571956</c:v>
                </c:pt>
                <c:pt idx="18563">
                  <c:v>0.57121771217712158</c:v>
                </c:pt>
                <c:pt idx="18564">
                  <c:v>0.59040590405904059</c:v>
                </c:pt>
                <c:pt idx="18565">
                  <c:v>0.607380073800738</c:v>
                </c:pt>
                <c:pt idx="18566">
                  <c:v>0.61697416974169728</c:v>
                </c:pt>
                <c:pt idx="18567">
                  <c:v>0.6250922509225092</c:v>
                </c:pt>
                <c:pt idx="18568">
                  <c:v>0.62730627306273057</c:v>
                </c:pt>
                <c:pt idx="18569">
                  <c:v>0.62656826568265678</c:v>
                </c:pt>
                <c:pt idx="18570">
                  <c:v>0.61180811808118074</c:v>
                </c:pt>
                <c:pt idx="18571">
                  <c:v>0.59040590405904059</c:v>
                </c:pt>
                <c:pt idx="18572">
                  <c:v>0.58819188191881899</c:v>
                </c:pt>
                <c:pt idx="18573">
                  <c:v>0.59483394833948333</c:v>
                </c:pt>
                <c:pt idx="18574">
                  <c:v>0.58597785977859762</c:v>
                </c:pt>
                <c:pt idx="18575">
                  <c:v>0.59114391143911416</c:v>
                </c:pt>
                <c:pt idx="18576">
                  <c:v>0.58523985239852383</c:v>
                </c:pt>
                <c:pt idx="18577">
                  <c:v>0.57416974169741675</c:v>
                </c:pt>
                <c:pt idx="18578">
                  <c:v>0.56752767527675263</c:v>
                </c:pt>
                <c:pt idx="18579">
                  <c:v>0.58523985239852383</c:v>
                </c:pt>
                <c:pt idx="18580">
                  <c:v>0.58819188191881899</c:v>
                </c:pt>
                <c:pt idx="18581">
                  <c:v>0.58819188191881899</c:v>
                </c:pt>
                <c:pt idx="18582">
                  <c:v>0.57564575645756455</c:v>
                </c:pt>
                <c:pt idx="18583">
                  <c:v>0.56531365313653126</c:v>
                </c:pt>
                <c:pt idx="18584">
                  <c:v>0.55202952029520302</c:v>
                </c:pt>
                <c:pt idx="18585">
                  <c:v>0.55350553505535061</c:v>
                </c:pt>
                <c:pt idx="18586">
                  <c:v>0.5616236162361623</c:v>
                </c:pt>
                <c:pt idx="18587">
                  <c:v>0.57638376383763834</c:v>
                </c:pt>
                <c:pt idx="18588">
                  <c:v>0.58376383763837647</c:v>
                </c:pt>
                <c:pt idx="18589">
                  <c:v>0.58745387453874542</c:v>
                </c:pt>
                <c:pt idx="18590">
                  <c:v>0.61697416974169728</c:v>
                </c:pt>
                <c:pt idx="18591">
                  <c:v>0.60073800738007388</c:v>
                </c:pt>
                <c:pt idx="18592">
                  <c:v>0.60590405904059041</c:v>
                </c:pt>
                <c:pt idx="18593">
                  <c:v>0.63690036900368985</c:v>
                </c:pt>
                <c:pt idx="18594">
                  <c:v>0.64797047970479693</c:v>
                </c:pt>
                <c:pt idx="18595">
                  <c:v>0.66125461254612539</c:v>
                </c:pt>
                <c:pt idx="18596">
                  <c:v>0.67084870848708489</c:v>
                </c:pt>
                <c:pt idx="18597">
                  <c:v>0.66863468634686329</c:v>
                </c:pt>
                <c:pt idx="18598">
                  <c:v>0.67011070110701088</c:v>
                </c:pt>
                <c:pt idx="18599">
                  <c:v>0.68044280442804417</c:v>
                </c:pt>
                <c:pt idx="18600">
                  <c:v>0.68339483394833933</c:v>
                </c:pt>
                <c:pt idx="18601">
                  <c:v>0.66937269372693731</c:v>
                </c:pt>
                <c:pt idx="18602">
                  <c:v>0.66273062730627297</c:v>
                </c:pt>
                <c:pt idx="18603">
                  <c:v>0.65535055350553484</c:v>
                </c:pt>
                <c:pt idx="18604">
                  <c:v>0.6523985239852399</c:v>
                </c:pt>
                <c:pt idx="18605">
                  <c:v>0.63542435424354227</c:v>
                </c:pt>
                <c:pt idx="18606">
                  <c:v>0.62140221402214002</c:v>
                </c:pt>
                <c:pt idx="18607">
                  <c:v>0.62066420664206645</c:v>
                </c:pt>
                <c:pt idx="18608">
                  <c:v>0.62730627306273057</c:v>
                </c:pt>
                <c:pt idx="18609">
                  <c:v>0.62656826568265678</c:v>
                </c:pt>
                <c:pt idx="18610">
                  <c:v>0.62656826568265678</c:v>
                </c:pt>
                <c:pt idx="18611">
                  <c:v>0.63321033210332089</c:v>
                </c:pt>
                <c:pt idx="18612">
                  <c:v>0.63025830258302573</c:v>
                </c:pt>
                <c:pt idx="18613">
                  <c:v>0.62656826568265678</c:v>
                </c:pt>
                <c:pt idx="18614">
                  <c:v>0.63025830258302573</c:v>
                </c:pt>
                <c:pt idx="18615">
                  <c:v>0.61107011070110673</c:v>
                </c:pt>
                <c:pt idx="18616">
                  <c:v>0.5970479704797047</c:v>
                </c:pt>
                <c:pt idx="18617">
                  <c:v>0.59778597785977849</c:v>
                </c:pt>
                <c:pt idx="18618">
                  <c:v>0.59999999999999987</c:v>
                </c:pt>
                <c:pt idx="18619">
                  <c:v>0.60295202952029503</c:v>
                </c:pt>
                <c:pt idx="18620">
                  <c:v>0.60073800738007388</c:v>
                </c:pt>
                <c:pt idx="18621">
                  <c:v>0.57933579335793328</c:v>
                </c:pt>
                <c:pt idx="18622">
                  <c:v>0.56900369003690043</c:v>
                </c:pt>
                <c:pt idx="18623">
                  <c:v>0.57343173431734318</c:v>
                </c:pt>
                <c:pt idx="18624">
                  <c:v>0.58523985239852383</c:v>
                </c:pt>
                <c:pt idx="18625">
                  <c:v>0.57416974169741675</c:v>
                </c:pt>
                <c:pt idx="18626">
                  <c:v>0.56900369003690043</c:v>
                </c:pt>
                <c:pt idx="18627">
                  <c:v>0.58745387453874542</c:v>
                </c:pt>
                <c:pt idx="18628">
                  <c:v>0.58892988929889301</c:v>
                </c:pt>
                <c:pt idx="18629">
                  <c:v>0.58892988929889301</c:v>
                </c:pt>
                <c:pt idx="18630">
                  <c:v>0.60369003690036904</c:v>
                </c:pt>
                <c:pt idx="18631">
                  <c:v>0.5970479704797047</c:v>
                </c:pt>
                <c:pt idx="18632">
                  <c:v>0.58819188191881899</c:v>
                </c:pt>
                <c:pt idx="18633">
                  <c:v>0.59114391143911416</c:v>
                </c:pt>
                <c:pt idx="18634">
                  <c:v>0.5970479704797047</c:v>
                </c:pt>
                <c:pt idx="18635">
                  <c:v>0.57121771217712158</c:v>
                </c:pt>
                <c:pt idx="18636">
                  <c:v>0.56826568265682642</c:v>
                </c:pt>
                <c:pt idx="18637">
                  <c:v>0.58007380073800729</c:v>
                </c:pt>
                <c:pt idx="18638">
                  <c:v>0.60147601476014745</c:v>
                </c:pt>
                <c:pt idx="18639">
                  <c:v>0.61992619926199244</c:v>
                </c:pt>
                <c:pt idx="18640">
                  <c:v>0.61992619926199244</c:v>
                </c:pt>
                <c:pt idx="18641">
                  <c:v>0.61328413284132832</c:v>
                </c:pt>
                <c:pt idx="18642">
                  <c:v>0.60811808118081156</c:v>
                </c:pt>
                <c:pt idx="18643">
                  <c:v>0.60811808118081156</c:v>
                </c:pt>
                <c:pt idx="18644">
                  <c:v>0.61845018450184486</c:v>
                </c:pt>
                <c:pt idx="18645">
                  <c:v>0.61254612546125453</c:v>
                </c:pt>
                <c:pt idx="18646">
                  <c:v>0.60885608856088558</c:v>
                </c:pt>
                <c:pt idx="18647">
                  <c:v>0.60590405904059041</c:v>
                </c:pt>
                <c:pt idx="18648">
                  <c:v>0.61845018450184486</c:v>
                </c:pt>
                <c:pt idx="18649">
                  <c:v>0.61771217712177129</c:v>
                </c:pt>
                <c:pt idx="18650">
                  <c:v>0.61771217712177129</c:v>
                </c:pt>
                <c:pt idx="18651">
                  <c:v>0.61328413284132832</c:v>
                </c:pt>
                <c:pt idx="18652">
                  <c:v>0.60811808118081156</c:v>
                </c:pt>
                <c:pt idx="18653">
                  <c:v>0.61107011070110673</c:v>
                </c:pt>
                <c:pt idx="18654">
                  <c:v>0.63321033210332089</c:v>
                </c:pt>
                <c:pt idx="18655">
                  <c:v>0.62361623616236161</c:v>
                </c:pt>
                <c:pt idx="18656">
                  <c:v>0.63247232472324733</c:v>
                </c:pt>
                <c:pt idx="18657">
                  <c:v>0.63690036900368985</c:v>
                </c:pt>
                <c:pt idx="18658">
                  <c:v>0.63690036900368985</c:v>
                </c:pt>
                <c:pt idx="18659">
                  <c:v>0.63616236162361628</c:v>
                </c:pt>
                <c:pt idx="18660">
                  <c:v>0.63025830258302573</c:v>
                </c:pt>
                <c:pt idx="18661">
                  <c:v>0.6228782287822876</c:v>
                </c:pt>
                <c:pt idx="18662">
                  <c:v>0.63247232472324733</c:v>
                </c:pt>
                <c:pt idx="18663">
                  <c:v>0.63837638376383743</c:v>
                </c:pt>
                <c:pt idx="18664">
                  <c:v>0.62066420664206645</c:v>
                </c:pt>
                <c:pt idx="18665">
                  <c:v>0.60664206642066398</c:v>
                </c:pt>
                <c:pt idx="18666">
                  <c:v>0.59852398523985229</c:v>
                </c:pt>
                <c:pt idx="18667">
                  <c:v>0.60442804428044261</c:v>
                </c:pt>
                <c:pt idx="18668">
                  <c:v>0.5992619926199263</c:v>
                </c:pt>
                <c:pt idx="18669">
                  <c:v>0.56900369003690043</c:v>
                </c:pt>
                <c:pt idx="18670">
                  <c:v>0.55202952029520302</c:v>
                </c:pt>
                <c:pt idx="18671">
                  <c:v>0.5616236162361623</c:v>
                </c:pt>
                <c:pt idx="18672">
                  <c:v>0.56900369003690043</c:v>
                </c:pt>
                <c:pt idx="18673">
                  <c:v>0.56309963099630989</c:v>
                </c:pt>
                <c:pt idx="18674">
                  <c:v>0.57638376383763834</c:v>
                </c:pt>
                <c:pt idx="18675">
                  <c:v>0.57933579335793328</c:v>
                </c:pt>
                <c:pt idx="18676">
                  <c:v>0.59040590405904059</c:v>
                </c:pt>
                <c:pt idx="18677">
                  <c:v>0.58376383763837647</c:v>
                </c:pt>
                <c:pt idx="18678">
                  <c:v>0.5719557195571956</c:v>
                </c:pt>
                <c:pt idx="18679">
                  <c:v>0.55793357933579313</c:v>
                </c:pt>
                <c:pt idx="18680">
                  <c:v>0.56383763837638368</c:v>
                </c:pt>
                <c:pt idx="18681">
                  <c:v>0.53874538745387457</c:v>
                </c:pt>
                <c:pt idx="18682">
                  <c:v>0.55867158671586714</c:v>
                </c:pt>
                <c:pt idx="18683">
                  <c:v>0.54981549815498143</c:v>
                </c:pt>
                <c:pt idx="18684">
                  <c:v>0.54022140221402215</c:v>
                </c:pt>
                <c:pt idx="18685">
                  <c:v>0.54022140221402215</c:v>
                </c:pt>
                <c:pt idx="18686">
                  <c:v>0.5269372693726937</c:v>
                </c:pt>
                <c:pt idx="18687">
                  <c:v>0.53284132841328402</c:v>
                </c:pt>
                <c:pt idx="18688">
                  <c:v>0.53284132841328402</c:v>
                </c:pt>
                <c:pt idx="18689">
                  <c:v>0.50774907749077491</c:v>
                </c:pt>
                <c:pt idx="18690">
                  <c:v>0.50405904059040574</c:v>
                </c:pt>
                <c:pt idx="18691">
                  <c:v>0.49815498154981541</c:v>
                </c:pt>
                <c:pt idx="18692">
                  <c:v>0.47011070110701114</c:v>
                </c:pt>
                <c:pt idx="18693">
                  <c:v>0.47011070110701114</c:v>
                </c:pt>
                <c:pt idx="18694">
                  <c:v>0.481180811808118</c:v>
                </c:pt>
                <c:pt idx="18695">
                  <c:v>0.47453874538745389</c:v>
                </c:pt>
                <c:pt idx="18696">
                  <c:v>0.47380073800737987</c:v>
                </c:pt>
                <c:pt idx="18697">
                  <c:v>0.4730627306273063</c:v>
                </c:pt>
                <c:pt idx="18698">
                  <c:v>0.46494464944649438</c:v>
                </c:pt>
                <c:pt idx="18699">
                  <c:v>0.4265682656826566</c:v>
                </c:pt>
                <c:pt idx="18700">
                  <c:v>0.43394833948339473</c:v>
                </c:pt>
                <c:pt idx="18701">
                  <c:v>0.45166051660516615</c:v>
                </c:pt>
                <c:pt idx="18702">
                  <c:v>0.45239852398523972</c:v>
                </c:pt>
                <c:pt idx="18703">
                  <c:v>0.45535055350553488</c:v>
                </c:pt>
                <c:pt idx="18704">
                  <c:v>0.43173431734317336</c:v>
                </c:pt>
                <c:pt idx="18705">
                  <c:v>0.43173431734317336</c:v>
                </c:pt>
                <c:pt idx="18706">
                  <c:v>0.43542435424354231</c:v>
                </c:pt>
                <c:pt idx="18707">
                  <c:v>0.42509225092250902</c:v>
                </c:pt>
                <c:pt idx="18708">
                  <c:v>0.40221402214022128</c:v>
                </c:pt>
                <c:pt idx="18709">
                  <c:v>0.45092250922509214</c:v>
                </c:pt>
                <c:pt idx="18710">
                  <c:v>0.43985239852398528</c:v>
                </c:pt>
                <c:pt idx="18711">
                  <c:v>0.42952029520295198</c:v>
                </c:pt>
                <c:pt idx="18712">
                  <c:v>0.44354243542435401</c:v>
                </c:pt>
                <c:pt idx="18713">
                  <c:v>0.4892988929889297</c:v>
                </c:pt>
                <c:pt idx="18714">
                  <c:v>0.49963099630996299</c:v>
                </c:pt>
                <c:pt idx="18715">
                  <c:v>0.49963099630996299</c:v>
                </c:pt>
                <c:pt idx="18716">
                  <c:v>0.48782287822878212</c:v>
                </c:pt>
                <c:pt idx="18717">
                  <c:v>0.46715867158671576</c:v>
                </c:pt>
                <c:pt idx="18718">
                  <c:v>0.47084870848708471</c:v>
                </c:pt>
                <c:pt idx="18719">
                  <c:v>0.46568265682656818</c:v>
                </c:pt>
                <c:pt idx="18720">
                  <c:v>0.45535055350553488</c:v>
                </c:pt>
                <c:pt idx="18721">
                  <c:v>0.46273062730627301</c:v>
                </c:pt>
                <c:pt idx="18722">
                  <c:v>0.46568265682656818</c:v>
                </c:pt>
                <c:pt idx="18723">
                  <c:v>0.47675276752767526</c:v>
                </c:pt>
                <c:pt idx="18724">
                  <c:v>0.47158671586715872</c:v>
                </c:pt>
                <c:pt idx="18725">
                  <c:v>0.46051660516605142</c:v>
                </c:pt>
                <c:pt idx="18726">
                  <c:v>0.44354243542435401</c:v>
                </c:pt>
                <c:pt idx="18727">
                  <c:v>0.44354243542435401</c:v>
                </c:pt>
                <c:pt idx="18728">
                  <c:v>0.42878228782287819</c:v>
                </c:pt>
                <c:pt idx="18729">
                  <c:v>0.46494464944649438</c:v>
                </c:pt>
                <c:pt idx="18730">
                  <c:v>0.4560885608856089</c:v>
                </c:pt>
                <c:pt idx="18731">
                  <c:v>0.44354243542435401</c:v>
                </c:pt>
                <c:pt idx="18732">
                  <c:v>0.44132841328413286</c:v>
                </c:pt>
                <c:pt idx="18733">
                  <c:v>0.44723247232472318</c:v>
                </c:pt>
                <c:pt idx="18734">
                  <c:v>0.45904059040590406</c:v>
                </c:pt>
                <c:pt idx="18735">
                  <c:v>0.44723247232472318</c:v>
                </c:pt>
                <c:pt idx="18736">
                  <c:v>0.47970479704797042</c:v>
                </c:pt>
                <c:pt idx="18737">
                  <c:v>0.48191881918819157</c:v>
                </c:pt>
                <c:pt idx="18738">
                  <c:v>0.4730627306273063</c:v>
                </c:pt>
                <c:pt idx="18739">
                  <c:v>0.4730627306273063</c:v>
                </c:pt>
                <c:pt idx="18740">
                  <c:v>0.47749077490774905</c:v>
                </c:pt>
                <c:pt idx="18741">
                  <c:v>0.47675276752767526</c:v>
                </c:pt>
                <c:pt idx="18742">
                  <c:v>0.46789667896678955</c:v>
                </c:pt>
                <c:pt idx="18743">
                  <c:v>0.45461254612546131</c:v>
                </c:pt>
                <c:pt idx="18744">
                  <c:v>0.46494464944649438</c:v>
                </c:pt>
                <c:pt idx="18745">
                  <c:v>0.46494464944649438</c:v>
                </c:pt>
                <c:pt idx="18746">
                  <c:v>0.46568265682656818</c:v>
                </c:pt>
                <c:pt idx="18747">
                  <c:v>0.45977859778597785</c:v>
                </c:pt>
                <c:pt idx="18748">
                  <c:v>0.47601476014760147</c:v>
                </c:pt>
                <c:pt idx="18749">
                  <c:v>0.48487084870848718</c:v>
                </c:pt>
                <c:pt idx="18750">
                  <c:v>0.46789667896678955</c:v>
                </c:pt>
                <c:pt idx="18751">
                  <c:v>0.47601476014760147</c:v>
                </c:pt>
                <c:pt idx="18752">
                  <c:v>0.45092250922509214</c:v>
                </c:pt>
                <c:pt idx="18753">
                  <c:v>0.45313653136531373</c:v>
                </c:pt>
                <c:pt idx="18754">
                  <c:v>0.43542435424354231</c:v>
                </c:pt>
                <c:pt idx="18755">
                  <c:v>0.43321033210332116</c:v>
                </c:pt>
                <c:pt idx="18756">
                  <c:v>0.43247232472324715</c:v>
                </c:pt>
                <c:pt idx="18757">
                  <c:v>0.41254612546125458</c:v>
                </c:pt>
                <c:pt idx="18758">
                  <c:v>0.43321033210332116</c:v>
                </c:pt>
                <c:pt idx="18759">
                  <c:v>0.43468634686346874</c:v>
                </c:pt>
                <c:pt idx="18760">
                  <c:v>0.42952029520295198</c:v>
                </c:pt>
                <c:pt idx="18761">
                  <c:v>0.41771217712177111</c:v>
                </c:pt>
                <c:pt idx="18762">
                  <c:v>0.42509225092250902</c:v>
                </c:pt>
                <c:pt idx="18763">
                  <c:v>0.42952029520295198</c:v>
                </c:pt>
                <c:pt idx="18764">
                  <c:v>0.42361623616236144</c:v>
                </c:pt>
                <c:pt idx="18765">
                  <c:v>0.41549815498154974</c:v>
                </c:pt>
                <c:pt idx="18766">
                  <c:v>0.40885608856088562</c:v>
                </c:pt>
                <c:pt idx="18767">
                  <c:v>0.392619926199262</c:v>
                </c:pt>
                <c:pt idx="18768">
                  <c:v>0.373431734317343</c:v>
                </c:pt>
                <c:pt idx="18769">
                  <c:v>0.38376383763837629</c:v>
                </c:pt>
                <c:pt idx="18770">
                  <c:v>0.37195571955719542</c:v>
                </c:pt>
                <c:pt idx="18771">
                  <c:v>0.36826568265682647</c:v>
                </c:pt>
                <c:pt idx="18772">
                  <c:v>0.37859778597785976</c:v>
                </c:pt>
                <c:pt idx="18773">
                  <c:v>0.37859778597785976</c:v>
                </c:pt>
                <c:pt idx="18774">
                  <c:v>0.36900369003690026</c:v>
                </c:pt>
                <c:pt idx="18775">
                  <c:v>0.35940959409594098</c:v>
                </c:pt>
                <c:pt idx="18776">
                  <c:v>0.36014760147601477</c:v>
                </c:pt>
                <c:pt idx="18777">
                  <c:v>0.36826568265682647</c:v>
                </c:pt>
                <c:pt idx="18778">
                  <c:v>0.36752767527675267</c:v>
                </c:pt>
                <c:pt idx="18779">
                  <c:v>0.36826568265682647</c:v>
                </c:pt>
                <c:pt idx="18780">
                  <c:v>0.38671586715867146</c:v>
                </c:pt>
                <c:pt idx="18781">
                  <c:v>0.38892988929889283</c:v>
                </c:pt>
                <c:pt idx="18782">
                  <c:v>0.37859778597785976</c:v>
                </c:pt>
                <c:pt idx="18783">
                  <c:v>0.38007380073800734</c:v>
                </c:pt>
                <c:pt idx="18784">
                  <c:v>0.37859778597785976</c:v>
                </c:pt>
                <c:pt idx="18785">
                  <c:v>0.36826568265682647</c:v>
                </c:pt>
                <c:pt idx="18786">
                  <c:v>0.35350553505535043</c:v>
                </c:pt>
                <c:pt idx="18787">
                  <c:v>0.35202952029520285</c:v>
                </c:pt>
                <c:pt idx="18788">
                  <c:v>0.34981549815498147</c:v>
                </c:pt>
                <c:pt idx="18789">
                  <c:v>0.34907749077490768</c:v>
                </c:pt>
                <c:pt idx="18790">
                  <c:v>0.36383763837638372</c:v>
                </c:pt>
                <c:pt idx="18791">
                  <c:v>0.373431734317343</c:v>
                </c:pt>
                <c:pt idx="18792">
                  <c:v>0.36236162361623614</c:v>
                </c:pt>
                <c:pt idx="18793">
                  <c:v>0.35867158671586719</c:v>
                </c:pt>
                <c:pt idx="18794">
                  <c:v>0.33874538745387461</c:v>
                </c:pt>
                <c:pt idx="18795">
                  <c:v>0.32767527675276731</c:v>
                </c:pt>
                <c:pt idx="18796">
                  <c:v>0.32472324723247215</c:v>
                </c:pt>
                <c:pt idx="18797">
                  <c:v>0.3298892988929889</c:v>
                </c:pt>
                <c:pt idx="18798">
                  <c:v>0.31660516605166045</c:v>
                </c:pt>
                <c:pt idx="18799">
                  <c:v>0.30553505535055359</c:v>
                </c:pt>
                <c:pt idx="18800">
                  <c:v>0.29151291512915112</c:v>
                </c:pt>
                <c:pt idx="18801">
                  <c:v>0.27453874538745371</c:v>
                </c:pt>
                <c:pt idx="18802">
                  <c:v>0.27158671586715855</c:v>
                </c:pt>
                <c:pt idx="18803">
                  <c:v>0.29003690036900376</c:v>
                </c:pt>
                <c:pt idx="18804">
                  <c:v>0.29815498154981546</c:v>
                </c:pt>
                <c:pt idx="18805">
                  <c:v>0.29963099630996304</c:v>
                </c:pt>
                <c:pt idx="18806">
                  <c:v>0.28118081180811805</c:v>
                </c:pt>
                <c:pt idx="18807">
                  <c:v>0.25904059040590388</c:v>
                </c:pt>
                <c:pt idx="18808">
                  <c:v>0.23099630996309961</c:v>
                </c:pt>
                <c:pt idx="18809">
                  <c:v>0.24501845018450186</c:v>
                </c:pt>
                <c:pt idx="18810">
                  <c:v>0.2317343173431734</c:v>
                </c:pt>
                <c:pt idx="18811">
                  <c:v>0.24501845018450186</c:v>
                </c:pt>
                <c:pt idx="18812">
                  <c:v>0.27822878228782288</c:v>
                </c:pt>
                <c:pt idx="18813">
                  <c:v>0.29815498154981546</c:v>
                </c:pt>
                <c:pt idx="18814">
                  <c:v>0.304059040590406</c:v>
                </c:pt>
                <c:pt idx="18815">
                  <c:v>0.32177121771217698</c:v>
                </c:pt>
                <c:pt idx="18816">
                  <c:v>0.31439114391143885</c:v>
                </c:pt>
                <c:pt idx="18817">
                  <c:v>0.31439114391143885</c:v>
                </c:pt>
                <c:pt idx="18818">
                  <c:v>0.30184501845018441</c:v>
                </c:pt>
                <c:pt idx="18819">
                  <c:v>0.30553505535055359</c:v>
                </c:pt>
                <c:pt idx="18820">
                  <c:v>0.2870848708487086</c:v>
                </c:pt>
                <c:pt idx="18821">
                  <c:v>0.33653136531365302</c:v>
                </c:pt>
                <c:pt idx="18822">
                  <c:v>0.32177121771217698</c:v>
                </c:pt>
                <c:pt idx="18823">
                  <c:v>0.33653136531365302</c:v>
                </c:pt>
                <c:pt idx="18824">
                  <c:v>0.41254612546125458</c:v>
                </c:pt>
                <c:pt idx="18825">
                  <c:v>0.41402214022140216</c:v>
                </c:pt>
                <c:pt idx="18826">
                  <c:v>0.40221402214022128</c:v>
                </c:pt>
                <c:pt idx="18827">
                  <c:v>0.38966789667896662</c:v>
                </c:pt>
                <c:pt idx="18828">
                  <c:v>0.39630996309963096</c:v>
                </c:pt>
                <c:pt idx="18829">
                  <c:v>0.39999999999999991</c:v>
                </c:pt>
                <c:pt idx="18830">
                  <c:v>0.39704797047970475</c:v>
                </c:pt>
                <c:pt idx="18831">
                  <c:v>0.4007380073800737</c:v>
                </c:pt>
                <c:pt idx="18832">
                  <c:v>0.42066420664206627</c:v>
                </c:pt>
                <c:pt idx="18833">
                  <c:v>0.43173431734317336</c:v>
                </c:pt>
                <c:pt idx="18834">
                  <c:v>0.42140221402214029</c:v>
                </c:pt>
                <c:pt idx="18835">
                  <c:v>0.41254612546125458</c:v>
                </c:pt>
                <c:pt idx="18836">
                  <c:v>0.39704797047970475</c:v>
                </c:pt>
                <c:pt idx="18837">
                  <c:v>0.39335793357933557</c:v>
                </c:pt>
                <c:pt idx="18838">
                  <c:v>0.37269372693726943</c:v>
                </c:pt>
                <c:pt idx="18839">
                  <c:v>0.38671586715867146</c:v>
                </c:pt>
                <c:pt idx="18840">
                  <c:v>0.38523985239852387</c:v>
                </c:pt>
                <c:pt idx="18841">
                  <c:v>0.38597785977859789</c:v>
                </c:pt>
                <c:pt idx="18842">
                  <c:v>0.38597785977859789</c:v>
                </c:pt>
                <c:pt idx="18843">
                  <c:v>0.38154981549815492</c:v>
                </c:pt>
                <c:pt idx="18844">
                  <c:v>0.37785977859778597</c:v>
                </c:pt>
                <c:pt idx="18845">
                  <c:v>0.37933579335793355</c:v>
                </c:pt>
                <c:pt idx="18846">
                  <c:v>0.37933579335793355</c:v>
                </c:pt>
                <c:pt idx="18847">
                  <c:v>0.38081180811808113</c:v>
                </c:pt>
                <c:pt idx="18848">
                  <c:v>0.37269372693726943</c:v>
                </c:pt>
                <c:pt idx="18849">
                  <c:v>0.37859778597785976</c:v>
                </c:pt>
                <c:pt idx="18850">
                  <c:v>0.36974169741697405</c:v>
                </c:pt>
                <c:pt idx="18851">
                  <c:v>0.36678966789667888</c:v>
                </c:pt>
                <c:pt idx="18852">
                  <c:v>0.36088560885608856</c:v>
                </c:pt>
                <c:pt idx="18853">
                  <c:v>0.3476014760147601</c:v>
                </c:pt>
                <c:pt idx="18854">
                  <c:v>0.34169741697416955</c:v>
                </c:pt>
                <c:pt idx="18855">
                  <c:v>0.34981549815498147</c:v>
                </c:pt>
                <c:pt idx="18856">
                  <c:v>0.34981549815498147</c:v>
                </c:pt>
                <c:pt idx="18857">
                  <c:v>0.34833948339483389</c:v>
                </c:pt>
                <c:pt idx="18858">
                  <c:v>0.34833948339483389</c:v>
                </c:pt>
                <c:pt idx="18859">
                  <c:v>0.34464944649446472</c:v>
                </c:pt>
                <c:pt idx="18860">
                  <c:v>0.33726937269372703</c:v>
                </c:pt>
                <c:pt idx="18861">
                  <c:v>0.34833948339483389</c:v>
                </c:pt>
                <c:pt idx="18862">
                  <c:v>0.33653136531365302</c:v>
                </c:pt>
                <c:pt idx="18863">
                  <c:v>0.34464944649446472</c:v>
                </c:pt>
                <c:pt idx="18864">
                  <c:v>0.32546125461254616</c:v>
                </c:pt>
                <c:pt idx="18865">
                  <c:v>0.31808118081180803</c:v>
                </c:pt>
                <c:pt idx="18866">
                  <c:v>0.31070110701107012</c:v>
                </c:pt>
                <c:pt idx="18867">
                  <c:v>0.31586715867158643</c:v>
                </c:pt>
                <c:pt idx="18868">
                  <c:v>0.31586715867158643</c:v>
                </c:pt>
                <c:pt idx="18869">
                  <c:v>0.32546125461254616</c:v>
                </c:pt>
                <c:pt idx="18870">
                  <c:v>0.32324723247232456</c:v>
                </c:pt>
                <c:pt idx="18871">
                  <c:v>0.33210332103321027</c:v>
                </c:pt>
                <c:pt idx="18872">
                  <c:v>0.33062730627306269</c:v>
                </c:pt>
                <c:pt idx="18873">
                  <c:v>0.31955719557195561</c:v>
                </c:pt>
                <c:pt idx="18874">
                  <c:v>0.32546125461254616</c:v>
                </c:pt>
                <c:pt idx="18875">
                  <c:v>0.32693726937269374</c:v>
                </c:pt>
                <c:pt idx="18876">
                  <c:v>0.32398523985239858</c:v>
                </c:pt>
                <c:pt idx="18877">
                  <c:v>0.30996309963099633</c:v>
                </c:pt>
                <c:pt idx="18878">
                  <c:v>0.31734317343173446</c:v>
                </c:pt>
                <c:pt idx="18879">
                  <c:v>0.31734317343173446</c:v>
                </c:pt>
                <c:pt idx="18880">
                  <c:v>0.3121771217712177</c:v>
                </c:pt>
                <c:pt idx="18881">
                  <c:v>0.30110701107011062</c:v>
                </c:pt>
                <c:pt idx="18882">
                  <c:v>0.29520295202952029</c:v>
                </c:pt>
                <c:pt idx="18883">
                  <c:v>0.29372693726937271</c:v>
                </c:pt>
                <c:pt idx="18884">
                  <c:v>0.27601476014760129</c:v>
                </c:pt>
                <c:pt idx="18885">
                  <c:v>0.2767527675276753</c:v>
                </c:pt>
                <c:pt idx="18886">
                  <c:v>0.2870848708487086</c:v>
                </c:pt>
                <c:pt idx="18887">
                  <c:v>0.29372693726937271</c:v>
                </c:pt>
                <c:pt idx="18888">
                  <c:v>0.28856088560885618</c:v>
                </c:pt>
                <c:pt idx="18889">
                  <c:v>0.29594095940959386</c:v>
                </c:pt>
                <c:pt idx="18890">
                  <c:v>0.29594095940959386</c:v>
                </c:pt>
                <c:pt idx="18891">
                  <c:v>0.29520295202952029</c:v>
                </c:pt>
                <c:pt idx="18892">
                  <c:v>0.28782287822878216</c:v>
                </c:pt>
                <c:pt idx="18893">
                  <c:v>0.2870848708487086</c:v>
                </c:pt>
                <c:pt idx="18894">
                  <c:v>0.28782287822878216</c:v>
                </c:pt>
                <c:pt idx="18895">
                  <c:v>0.29077490774907733</c:v>
                </c:pt>
                <c:pt idx="18896">
                  <c:v>0.28782287822878216</c:v>
                </c:pt>
                <c:pt idx="18897">
                  <c:v>0.27306273062730613</c:v>
                </c:pt>
                <c:pt idx="18898">
                  <c:v>0.26346863468634685</c:v>
                </c:pt>
                <c:pt idx="18899">
                  <c:v>0.26125461254612548</c:v>
                </c:pt>
                <c:pt idx="18900">
                  <c:v>0.25977859778597789</c:v>
                </c:pt>
                <c:pt idx="18901">
                  <c:v>0.2686346863468636</c:v>
                </c:pt>
                <c:pt idx="18902">
                  <c:v>0.26937269372693717</c:v>
                </c:pt>
                <c:pt idx="18903">
                  <c:v>0.27822878228782288</c:v>
                </c:pt>
                <c:pt idx="18904">
                  <c:v>0.27601476014760129</c:v>
                </c:pt>
                <c:pt idx="18905">
                  <c:v>0.27158671586715855</c:v>
                </c:pt>
                <c:pt idx="18906">
                  <c:v>0.27232472324723234</c:v>
                </c:pt>
                <c:pt idx="18907">
                  <c:v>0.27084870848708475</c:v>
                </c:pt>
                <c:pt idx="18908">
                  <c:v>0.27527675276752772</c:v>
                </c:pt>
                <c:pt idx="18909">
                  <c:v>0.27527675276752772</c:v>
                </c:pt>
                <c:pt idx="18910">
                  <c:v>0.27011070110701096</c:v>
                </c:pt>
                <c:pt idx="18911">
                  <c:v>0.27011070110701096</c:v>
                </c:pt>
                <c:pt idx="18912">
                  <c:v>0.26715867158671602</c:v>
                </c:pt>
                <c:pt idx="18913">
                  <c:v>0.26937269372693717</c:v>
                </c:pt>
                <c:pt idx="18914">
                  <c:v>0.265682656826568</c:v>
                </c:pt>
                <c:pt idx="18915">
                  <c:v>0.25387453874538735</c:v>
                </c:pt>
                <c:pt idx="18916">
                  <c:v>0.25904059040590388</c:v>
                </c:pt>
                <c:pt idx="18917">
                  <c:v>0.25904059040590388</c:v>
                </c:pt>
                <c:pt idx="18918">
                  <c:v>0.25904059040590388</c:v>
                </c:pt>
                <c:pt idx="18919">
                  <c:v>0.27232472324723234</c:v>
                </c:pt>
                <c:pt idx="18920">
                  <c:v>0.27527675276752772</c:v>
                </c:pt>
                <c:pt idx="18921">
                  <c:v>0.27011070110701096</c:v>
                </c:pt>
                <c:pt idx="18922">
                  <c:v>0.27158671586715855</c:v>
                </c:pt>
                <c:pt idx="18923">
                  <c:v>0.27822878228782288</c:v>
                </c:pt>
                <c:pt idx="18924">
                  <c:v>0.27601476014760129</c:v>
                </c:pt>
                <c:pt idx="18925">
                  <c:v>0.27158671586715855</c:v>
                </c:pt>
                <c:pt idx="18926">
                  <c:v>0.25830258302583031</c:v>
                </c:pt>
                <c:pt idx="18927">
                  <c:v>0.25830258302583031</c:v>
                </c:pt>
                <c:pt idx="18928">
                  <c:v>0.25608856088560872</c:v>
                </c:pt>
                <c:pt idx="18929">
                  <c:v>0.2413284132841329</c:v>
                </c:pt>
                <c:pt idx="18930">
                  <c:v>0.23468634686346856</c:v>
                </c:pt>
                <c:pt idx="18931">
                  <c:v>0.23542435424354236</c:v>
                </c:pt>
                <c:pt idx="18932">
                  <c:v>0.24428044280442784</c:v>
                </c:pt>
                <c:pt idx="18933">
                  <c:v>0.24870848708487081</c:v>
                </c:pt>
                <c:pt idx="18934">
                  <c:v>0.24723247232472301</c:v>
                </c:pt>
                <c:pt idx="18935">
                  <c:v>0.24501845018450186</c:v>
                </c:pt>
                <c:pt idx="18936">
                  <c:v>0.24354243542435428</c:v>
                </c:pt>
                <c:pt idx="18937">
                  <c:v>0.24428044280442784</c:v>
                </c:pt>
                <c:pt idx="18938">
                  <c:v>0.23394833948339477</c:v>
                </c:pt>
                <c:pt idx="18939">
                  <c:v>0.23025830258302582</c:v>
                </c:pt>
                <c:pt idx="18940">
                  <c:v>0.23690036900369016</c:v>
                </c:pt>
                <c:pt idx="18941">
                  <c:v>0.26125461254612548</c:v>
                </c:pt>
                <c:pt idx="18942">
                  <c:v>0.25682656826568273</c:v>
                </c:pt>
                <c:pt idx="18943">
                  <c:v>0.26051660516605146</c:v>
                </c:pt>
                <c:pt idx="18944">
                  <c:v>0.25313653136531356</c:v>
                </c:pt>
                <c:pt idx="18945">
                  <c:v>0.2494464944649446</c:v>
                </c:pt>
                <c:pt idx="18946">
                  <c:v>0.24354243542435428</c:v>
                </c:pt>
                <c:pt idx="18947">
                  <c:v>0.22952029520295203</c:v>
                </c:pt>
                <c:pt idx="18948">
                  <c:v>0.22952029520295203</c:v>
                </c:pt>
                <c:pt idx="18949">
                  <c:v>0.23911439114391131</c:v>
                </c:pt>
                <c:pt idx="18950">
                  <c:v>0.23099630996309961</c:v>
                </c:pt>
                <c:pt idx="18951">
                  <c:v>0.22952029520295203</c:v>
                </c:pt>
                <c:pt idx="18952">
                  <c:v>0.22361623616236148</c:v>
                </c:pt>
                <c:pt idx="18953">
                  <c:v>0.22361623616236148</c:v>
                </c:pt>
                <c:pt idx="18954">
                  <c:v>0.22804428044280445</c:v>
                </c:pt>
                <c:pt idx="18955">
                  <c:v>0.22804428044280445</c:v>
                </c:pt>
                <c:pt idx="18956">
                  <c:v>0.21697416974169714</c:v>
                </c:pt>
                <c:pt idx="18957">
                  <c:v>0.21992619926199275</c:v>
                </c:pt>
                <c:pt idx="18958">
                  <c:v>0.22435424354243527</c:v>
                </c:pt>
                <c:pt idx="18959">
                  <c:v>0.22952029520295203</c:v>
                </c:pt>
                <c:pt idx="18960">
                  <c:v>0.23099630996309961</c:v>
                </c:pt>
                <c:pt idx="18961">
                  <c:v>0.23025830258302582</c:v>
                </c:pt>
                <c:pt idx="18962">
                  <c:v>0.22804428044280445</c:v>
                </c:pt>
                <c:pt idx="18963">
                  <c:v>0.22287822878228769</c:v>
                </c:pt>
                <c:pt idx="18964">
                  <c:v>0.21180811808118083</c:v>
                </c:pt>
                <c:pt idx="18965">
                  <c:v>0.21254612546125462</c:v>
                </c:pt>
                <c:pt idx="18966">
                  <c:v>0.21254612546125462</c:v>
                </c:pt>
                <c:pt idx="18967">
                  <c:v>0.20959409594095946</c:v>
                </c:pt>
                <c:pt idx="18968">
                  <c:v>0.21107011070110704</c:v>
                </c:pt>
                <c:pt idx="18969">
                  <c:v>0.20147601476014754</c:v>
                </c:pt>
                <c:pt idx="18970">
                  <c:v>0.19188191881918804</c:v>
                </c:pt>
                <c:pt idx="18971">
                  <c:v>0.18523985239852392</c:v>
                </c:pt>
                <c:pt idx="18972">
                  <c:v>0.18228782287822876</c:v>
                </c:pt>
                <c:pt idx="18973">
                  <c:v>0.18450184501845013</c:v>
                </c:pt>
                <c:pt idx="18974">
                  <c:v>0.1881918819188193</c:v>
                </c:pt>
                <c:pt idx="18975">
                  <c:v>0.1881918819188193</c:v>
                </c:pt>
                <c:pt idx="18976">
                  <c:v>0.19483394833948342</c:v>
                </c:pt>
                <c:pt idx="18977">
                  <c:v>0.19188191881918804</c:v>
                </c:pt>
                <c:pt idx="18978">
                  <c:v>0.18597785977859771</c:v>
                </c:pt>
                <c:pt idx="18979">
                  <c:v>0.19114391143911447</c:v>
                </c:pt>
                <c:pt idx="18980">
                  <c:v>0.17785977859778601</c:v>
                </c:pt>
                <c:pt idx="18981">
                  <c:v>0.1690036900369003</c:v>
                </c:pt>
                <c:pt idx="18982">
                  <c:v>0.16236162361623618</c:v>
                </c:pt>
                <c:pt idx="18983">
                  <c:v>0.18302583025830255</c:v>
                </c:pt>
                <c:pt idx="18984">
                  <c:v>0.18302583025830255</c:v>
                </c:pt>
                <c:pt idx="18985">
                  <c:v>0.19114391143911447</c:v>
                </c:pt>
                <c:pt idx="18986">
                  <c:v>0.19409594095940941</c:v>
                </c:pt>
                <c:pt idx="18987">
                  <c:v>0.19409594095940941</c:v>
                </c:pt>
                <c:pt idx="18988">
                  <c:v>0.19261992619926205</c:v>
                </c:pt>
                <c:pt idx="18989">
                  <c:v>0.196309963099631</c:v>
                </c:pt>
                <c:pt idx="18990">
                  <c:v>0.20221402214022133</c:v>
                </c:pt>
                <c:pt idx="18991">
                  <c:v>0.20516605166051649</c:v>
                </c:pt>
                <c:pt idx="18992">
                  <c:v>0.19557195571955699</c:v>
                </c:pt>
                <c:pt idx="18993">
                  <c:v>0.18376383763837634</c:v>
                </c:pt>
                <c:pt idx="18994">
                  <c:v>0.1867158671586715</c:v>
                </c:pt>
                <c:pt idx="18995">
                  <c:v>0.19188191881918804</c:v>
                </c:pt>
                <c:pt idx="18996">
                  <c:v>0.18523985239852392</c:v>
                </c:pt>
                <c:pt idx="18997">
                  <c:v>0.177121771217712</c:v>
                </c:pt>
                <c:pt idx="18998">
                  <c:v>0.17121771217712167</c:v>
                </c:pt>
                <c:pt idx="18999">
                  <c:v>0.16974169741697409</c:v>
                </c:pt>
                <c:pt idx="19000">
                  <c:v>0.17343173431734304</c:v>
                </c:pt>
                <c:pt idx="19001">
                  <c:v>0.17564575645756442</c:v>
                </c:pt>
                <c:pt idx="19002">
                  <c:v>0.1690036900369003</c:v>
                </c:pt>
                <c:pt idx="19003">
                  <c:v>0.1608856088560886</c:v>
                </c:pt>
                <c:pt idx="19004">
                  <c:v>0.17416974169741684</c:v>
                </c:pt>
                <c:pt idx="19005">
                  <c:v>0.1785977859778598</c:v>
                </c:pt>
                <c:pt idx="19006">
                  <c:v>0.1785977859778598</c:v>
                </c:pt>
                <c:pt idx="19007">
                  <c:v>0.1785977859778598</c:v>
                </c:pt>
                <c:pt idx="19008">
                  <c:v>0.16826568265682651</c:v>
                </c:pt>
                <c:pt idx="19009">
                  <c:v>0.16974169741697409</c:v>
                </c:pt>
                <c:pt idx="19010">
                  <c:v>0.1690036900369003</c:v>
                </c:pt>
                <c:pt idx="19011">
                  <c:v>0.16457564575645756</c:v>
                </c:pt>
                <c:pt idx="19012">
                  <c:v>0.16236162361623618</c:v>
                </c:pt>
                <c:pt idx="19013">
                  <c:v>0.1512915129151291</c:v>
                </c:pt>
                <c:pt idx="19014">
                  <c:v>0.14981549815498152</c:v>
                </c:pt>
                <c:pt idx="19015">
                  <c:v>0.15276752767527668</c:v>
                </c:pt>
                <c:pt idx="19016">
                  <c:v>0.14612546125461234</c:v>
                </c:pt>
                <c:pt idx="19017">
                  <c:v>0.13726937269372685</c:v>
                </c:pt>
                <c:pt idx="19018">
                  <c:v>0.14612546125461234</c:v>
                </c:pt>
                <c:pt idx="19019">
                  <c:v>0.14907749077490773</c:v>
                </c:pt>
                <c:pt idx="19020">
                  <c:v>0.14391143911439119</c:v>
                </c:pt>
                <c:pt idx="19021">
                  <c:v>0.13726937269372685</c:v>
                </c:pt>
                <c:pt idx="19022">
                  <c:v>0.12103321033210324</c:v>
                </c:pt>
                <c:pt idx="19023">
                  <c:v>0.14760147601476015</c:v>
                </c:pt>
                <c:pt idx="19024">
                  <c:v>0.15571955719557184</c:v>
                </c:pt>
                <c:pt idx="19025">
                  <c:v>0.15202952029520289</c:v>
                </c:pt>
                <c:pt idx="19026">
                  <c:v>0.1608856088560886</c:v>
                </c:pt>
                <c:pt idx="19027">
                  <c:v>0.16162361623616239</c:v>
                </c:pt>
                <c:pt idx="19028">
                  <c:v>0.14538745387453855</c:v>
                </c:pt>
                <c:pt idx="19029">
                  <c:v>0.13653136531365306</c:v>
                </c:pt>
                <c:pt idx="19030">
                  <c:v>0.13726937269372685</c:v>
                </c:pt>
                <c:pt idx="19031">
                  <c:v>0.13505535055350548</c:v>
                </c:pt>
                <c:pt idx="19032">
                  <c:v>0.12767527675276735</c:v>
                </c:pt>
                <c:pt idx="19033">
                  <c:v>0.12767527675276735</c:v>
                </c:pt>
                <c:pt idx="19034">
                  <c:v>0.12841328413284114</c:v>
                </c:pt>
                <c:pt idx="19035">
                  <c:v>0.12988929889298895</c:v>
                </c:pt>
                <c:pt idx="19036">
                  <c:v>0.12324723247232461</c:v>
                </c:pt>
                <c:pt idx="19037">
                  <c:v>0.12250922509225082</c:v>
                </c:pt>
                <c:pt idx="19038">
                  <c:v>0.1158671586715867</c:v>
                </c:pt>
                <c:pt idx="19039">
                  <c:v>0.12767527675276735</c:v>
                </c:pt>
                <c:pt idx="19040">
                  <c:v>0.12324723247232461</c:v>
                </c:pt>
                <c:pt idx="19041">
                  <c:v>0.12029520295202945</c:v>
                </c:pt>
                <c:pt idx="19042">
                  <c:v>0.11955719557195565</c:v>
                </c:pt>
                <c:pt idx="19043">
                  <c:v>0.13431734317343169</c:v>
                </c:pt>
                <c:pt idx="19044">
                  <c:v>0.13726937269372685</c:v>
                </c:pt>
                <c:pt idx="19045">
                  <c:v>0.14391143911439119</c:v>
                </c:pt>
                <c:pt idx="19046">
                  <c:v>0.14095940959409603</c:v>
                </c:pt>
                <c:pt idx="19047">
                  <c:v>0.12841328413284114</c:v>
                </c:pt>
                <c:pt idx="19048">
                  <c:v>0.12546125461254598</c:v>
                </c:pt>
                <c:pt idx="19049">
                  <c:v>0.13062730627306274</c:v>
                </c:pt>
                <c:pt idx="19050">
                  <c:v>0.13579335793357927</c:v>
                </c:pt>
                <c:pt idx="19051">
                  <c:v>0.13948339483394823</c:v>
                </c:pt>
                <c:pt idx="19052">
                  <c:v>0.13431734317343169</c:v>
                </c:pt>
                <c:pt idx="19053">
                  <c:v>0.14464944649446476</c:v>
                </c:pt>
                <c:pt idx="19054">
                  <c:v>0.13284132841328411</c:v>
                </c:pt>
                <c:pt idx="19055">
                  <c:v>0.11660516605166049</c:v>
                </c:pt>
                <c:pt idx="19056">
                  <c:v>0.11808118081180807</c:v>
                </c:pt>
                <c:pt idx="19057">
                  <c:v>0.11881918819188186</c:v>
                </c:pt>
                <c:pt idx="19058">
                  <c:v>0.1158671586715867</c:v>
                </c:pt>
                <c:pt idx="19059">
                  <c:v>0.10996309963099615</c:v>
                </c:pt>
                <c:pt idx="19060">
                  <c:v>0.10996309963099615</c:v>
                </c:pt>
                <c:pt idx="19061">
                  <c:v>0.11143911439114396</c:v>
                </c:pt>
                <c:pt idx="19062">
                  <c:v>0.11143911439114396</c:v>
                </c:pt>
                <c:pt idx="19063">
                  <c:v>0.10258302583025825</c:v>
                </c:pt>
                <c:pt idx="19064">
                  <c:v>9.8892988929889292E-2</c:v>
                </c:pt>
                <c:pt idx="19065">
                  <c:v>9.9630996309963082E-2</c:v>
                </c:pt>
                <c:pt idx="19066">
                  <c:v>0.10479704797047962</c:v>
                </c:pt>
                <c:pt idx="19067">
                  <c:v>0.10258302583025825</c:v>
                </c:pt>
                <c:pt idx="19068">
                  <c:v>9.2250922509225175E-2</c:v>
                </c:pt>
                <c:pt idx="19069">
                  <c:v>8.929889298892979E-2</c:v>
                </c:pt>
                <c:pt idx="19070">
                  <c:v>9.1512915129151162E-2</c:v>
                </c:pt>
                <c:pt idx="19071">
                  <c:v>9.0774907749077371E-2</c:v>
                </c:pt>
                <c:pt idx="19072">
                  <c:v>7.8228782287822707E-2</c:v>
                </c:pt>
                <c:pt idx="19073">
                  <c:v>7.0848708487084799E-2</c:v>
                </c:pt>
                <c:pt idx="19074">
                  <c:v>7.0848708487084799E-2</c:v>
                </c:pt>
                <c:pt idx="19075">
                  <c:v>7.158671586715859E-2</c:v>
                </c:pt>
                <c:pt idx="19076">
                  <c:v>7.158671586715859E-2</c:v>
                </c:pt>
                <c:pt idx="19077">
                  <c:v>5.8302583025830135E-2</c:v>
                </c:pt>
                <c:pt idx="19078">
                  <c:v>5.8302583025830135E-2</c:v>
                </c:pt>
                <c:pt idx="19079">
                  <c:v>5.2398523985239809E-2</c:v>
                </c:pt>
                <c:pt idx="19080">
                  <c:v>4.5018450184501901E-2</c:v>
                </c:pt>
                <c:pt idx="19081">
                  <c:v>3.9852398523985144E-2</c:v>
                </c:pt>
                <c:pt idx="19082">
                  <c:v>3.3210332103321027E-2</c:v>
                </c:pt>
                <c:pt idx="19083">
                  <c:v>4.2066420664206516E-2</c:v>
                </c:pt>
                <c:pt idx="19084">
                  <c:v>4.2804428044280529E-2</c:v>
                </c:pt>
                <c:pt idx="19085">
                  <c:v>4.1328413284132726E-2</c:v>
                </c:pt>
                <c:pt idx="19086">
                  <c:v>3.616236162361619E-2</c:v>
                </c:pt>
                <c:pt idx="19087">
                  <c:v>3.9114391143911353E-2</c:v>
                </c:pt>
                <c:pt idx="19088">
                  <c:v>3.8376383763837563E-2</c:v>
                </c:pt>
                <c:pt idx="19089">
                  <c:v>2.3616236162361526E-2</c:v>
                </c:pt>
                <c:pt idx="19090">
                  <c:v>2.2140221402213944E-2</c:v>
                </c:pt>
                <c:pt idx="19091">
                  <c:v>2.5830258302582898E-2</c:v>
                </c:pt>
                <c:pt idx="19092">
                  <c:v>6.6420664206641167E-3</c:v>
                </c:pt>
                <c:pt idx="19093">
                  <c:v>0</c:v>
                </c:pt>
                <c:pt idx="19094">
                  <c:v>0</c:v>
                </c:pt>
                <c:pt idx="19095">
                  <c:v>0</c:v>
                </c:pt>
                <c:pt idx="19096">
                  <c:v>0</c:v>
                </c:pt>
                <c:pt idx="19097">
                  <c:v>0</c:v>
                </c:pt>
                <c:pt idx="19098">
                  <c:v>0</c:v>
                </c:pt>
                <c:pt idx="19099">
                  <c:v>0</c:v>
                </c:pt>
                <c:pt idx="19100">
                  <c:v>0</c:v>
                </c:pt>
                <c:pt idx="19101">
                  <c:v>0</c:v>
                </c:pt>
                <c:pt idx="19102">
                  <c:v>0</c:v>
                </c:pt>
                <c:pt idx="19103">
                  <c:v>0</c:v>
                </c:pt>
                <c:pt idx="19104">
                  <c:v>0</c:v>
                </c:pt>
                <c:pt idx="19105">
                  <c:v>0</c:v>
                </c:pt>
                <c:pt idx="19106">
                  <c:v>0</c:v>
                </c:pt>
                <c:pt idx="19107">
                  <c:v>0</c:v>
                </c:pt>
                <c:pt idx="19108">
                  <c:v>0</c:v>
                </c:pt>
                <c:pt idx="19109">
                  <c:v>0</c:v>
                </c:pt>
                <c:pt idx="19110">
                  <c:v>0</c:v>
                </c:pt>
                <c:pt idx="19111">
                  <c:v>0</c:v>
                </c:pt>
                <c:pt idx="19112">
                  <c:v>0</c:v>
                </c:pt>
                <c:pt idx="19113">
                  <c:v>0</c:v>
                </c:pt>
                <c:pt idx="19114">
                  <c:v>0</c:v>
                </c:pt>
                <c:pt idx="19115">
                  <c:v>0</c:v>
                </c:pt>
                <c:pt idx="19116">
                  <c:v>0</c:v>
                </c:pt>
                <c:pt idx="19117">
                  <c:v>0</c:v>
                </c:pt>
                <c:pt idx="19118">
                  <c:v>0</c:v>
                </c:pt>
                <c:pt idx="19119">
                  <c:v>0</c:v>
                </c:pt>
                <c:pt idx="19120">
                  <c:v>0</c:v>
                </c:pt>
                <c:pt idx="19121">
                  <c:v>0</c:v>
                </c:pt>
                <c:pt idx="19122">
                  <c:v>0</c:v>
                </c:pt>
                <c:pt idx="19123">
                  <c:v>0</c:v>
                </c:pt>
                <c:pt idx="19124">
                  <c:v>0</c:v>
                </c:pt>
                <c:pt idx="19125">
                  <c:v>0</c:v>
                </c:pt>
                <c:pt idx="19126">
                  <c:v>0</c:v>
                </c:pt>
                <c:pt idx="19127">
                  <c:v>0</c:v>
                </c:pt>
                <c:pt idx="19128">
                  <c:v>0</c:v>
                </c:pt>
                <c:pt idx="19129">
                  <c:v>0</c:v>
                </c:pt>
                <c:pt idx="19130">
                  <c:v>0</c:v>
                </c:pt>
                <c:pt idx="19131">
                  <c:v>0</c:v>
                </c:pt>
                <c:pt idx="19132">
                  <c:v>0</c:v>
                </c:pt>
                <c:pt idx="19133">
                  <c:v>0</c:v>
                </c:pt>
                <c:pt idx="19134">
                  <c:v>0</c:v>
                </c:pt>
                <c:pt idx="19135">
                  <c:v>0</c:v>
                </c:pt>
                <c:pt idx="19136">
                  <c:v>0</c:v>
                </c:pt>
                <c:pt idx="19137">
                  <c:v>0</c:v>
                </c:pt>
                <c:pt idx="19138">
                  <c:v>0</c:v>
                </c:pt>
                <c:pt idx="19139">
                  <c:v>0</c:v>
                </c:pt>
                <c:pt idx="19140">
                  <c:v>0</c:v>
                </c:pt>
                <c:pt idx="19141">
                  <c:v>0</c:v>
                </c:pt>
                <c:pt idx="19142">
                  <c:v>0</c:v>
                </c:pt>
                <c:pt idx="19143">
                  <c:v>0</c:v>
                </c:pt>
                <c:pt idx="19144">
                  <c:v>0</c:v>
                </c:pt>
                <c:pt idx="19145">
                  <c:v>0</c:v>
                </c:pt>
                <c:pt idx="19146">
                  <c:v>0</c:v>
                </c:pt>
                <c:pt idx="19147">
                  <c:v>0</c:v>
                </c:pt>
                <c:pt idx="19148">
                  <c:v>0</c:v>
                </c:pt>
                <c:pt idx="19149">
                  <c:v>0</c:v>
                </c:pt>
                <c:pt idx="19150">
                  <c:v>0</c:v>
                </c:pt>
                <c:pt idx="19151">
                  <c:v>0</c:v>
                </c:pt>
                <c:pt idx="19152">
                  <c:v>0</c:v>
                </c:pt>
                <c:pt idx="19153">
                  <c:v>0</c:v>
                </c:pt>
                <c:pt idx="19154">
                  <c:v>0</c:v>
                </c:pt>
                <c:pt idx="19155">
                  <c:v>0</c:v>
                </c:pt>
                <c:pt idx="19156">
                  <c:v>0</c:v>
                </c:pt>
                <c:pt idx="19157">
                  <c:v>0</c:v>
                </c:pt>
                <c:pt idx="19158">
                  <c:v>0</c:v>
                </c:pt>
                <c:pt idx="19159">
                  <c:v>0</c:v>
                </c:pt>
                <c:pt idx="19160">
                  <c:v>0</c:v>
                </c:pt>
                <c:pt idx="19161">
                  <c:v>0</c:v>
                </c:pt>
                <c:pt idx="19162">
                  <c:v>0</c:v>
                </c:pt>
                <c:pt idx="19163">
                  <c:v>0</c:v>
                </c:pt>
                <c:pt idx="19164">
                  <c:v>0</c:v>
                </c:pt>
                <c:pt idx="19165">
                  <c:v>0</c:v>
                </c:pt>
                <c:pt idx="19166">
                  <c:v>0</c:v>
                </c:pt>
                <c:pt idx="19167">
                  <c:v>0</c:v>
                </c:pt>
                <c:pt idx="19168">
                  <c:v>0</c:v>
                </c:pt>
                <c:pt idx="19169">
                  <c:v>0</c:v>
                </c:pt>
                <c:pt idx="19170">
                  <c:v>0</c:v>
                </c:pt>
                <c:pt idx="19171">
                  <c:v>0</c:v>
                </c:pt>
                <c:pt idx="19172">
                  <c:v>0</c:v>
                </c:pt>
                <c:pt idx="19173">
                  <c:v>0</c:v>
                </c:pt>
                <c:pt idx="19174">
                  <c:v>0</c:v>
                </c:pt>
                <c:pt idx="19175">
                  <c:v>0</c:v>
                </c:pt>
                <c:pt idx="19176">
                  <c:v>0</c:v>
                </c:pt>
                <c:pt idx="19177">
                  <c:v>0</c:v>
                </c:pt>
                <c:pt idx="19178">
                  <c:v>0</c:v>
                </c:pt>
                <c:pt idx="19179">
                  <c:v>0</c:v>
                </c:pt>
                <c:pt idx="19180">
                  <c:v>0</c:v>
                </c:pt>
                <c:pt idx="19181">
                  <c:v>0</c:v>
                </c:pt>
                <c:pt idx="19182">
                  <c:v>0</c:v>
                </c:pt>
                <c:pt idx="19183">
                  <c:v>0</c:v>
                </c:pt>
                <c:pt idx="19184">
                  <c:v>0</c:v>
                </c:pt>
                <c:pt idx="19185">
                  <c:v>0</c:v>
                </c:pt>
                <c:pt idx="19186">
                  <c:v>0</c:v>
                </c:pt>
                <c:pt idx="19187">
                  <c:v>0</c:v>
                </c:pt>
                <c:pt idx="19188">
                  <c:v>0</c:v>
                </c:pt>
                <c:pt idx="19189">
                  <c:v>0</c:v>
                </c:pt>
                <c:pt idx="19190">
                  <c:v>0</c:v>
                </c:pt>
                <c:pt idx="19191">
                  <c:v>0</c:v>
                </c:pt>
                <c:pt idx="19192">
                  <c:v>0</c:v>
                </c:pt>
                <c:pt idx="19193">
                  <c:v>0</c:v>
                </c:pt>
                <c:pt idx="19194">
                  <c:v>0</c:v>
                </c:pt>
                <c:pt idx="19195">
                  <c:v>0</c:v>
                </c:pt>
                <c:pt idx="19196">
                  <c:v>0</c:v>
                </c:pt>
                <c:pt idx="19197">
                  <c:v>0</c:v>
                </c:pt>
                <c:pt idx="19198">
                  <c:v>0</c:v>
                </c:pt>
                <c:pt idx="19199">
                  <c:v>0</c:v>
                </c:pt>
                <c:pt idx="19200">
                  <c:v>0</c:v>
                </c:pt>
                <c:pt idx="19201">
                  <c:v>0</c:v>
                </c:pt>
                <c:pt idx="19202">
                  <c:v>0</c:v>
                </c:pt>
                <c:pt idx="19203">
                  <c:v>0</c:v>
                </c:pt>
                <c:pt idx="19204">
                  <c:v>0</c:v>
                </c:pt>
                <c:pt idx="19205">
                  <c:v>0</c:v>
                </c:pt>
                <c:pt idx="19206">
                  <c:v>0</c:v>
                </c:pt>
                <c:pt idx="19207">
                  <c:v>0</c:v>
                </c:pt>
                <c:pt idx="19208">
                  <c:v>0</c:v>
                </c:pt>
                <c:pt idx="19209">
                  <c:v>0</c:v>
                </c:pt>
                <c:pt idx="19210">
                  <c:v>0</c:v>
                </c:pt>
                <c:pt idx="19211">
                  <c:v>0</c:v>
                </c:pt>
                <c:pt idx="19212">
                  <c:v>0</c:v>
                </c:pt>
                <c:pt idx="19213">
                  <c:v>0</c:v>
                </c:pt>
                <c:pt idx="19214">
                  <c:v>0</c:v>
                </c:pt>
                <c:pt idx="19215">
                  <c:v>0</c:v>
                </c:pt>
                <c:pt idx="19216">
                  <c:v>0</c:v>
                </c:pt>
                <c:pt idx="19217">
                  <c:v>0</c:v>
                </c:pt>
                <c:pt idx="19218">
                  <c:v>0</c:v>
                </c:pt>
                <c:pt idx="19219">
                  <c:v>0</c:v>
                </c:pt>
                <c:pt idx="19220">
                  <c:v>0</c:v>
                </c:pt>
                <c:pt idx="19221">
                  <c:v>0</c:v>
                </c:pt>
                <c:pt idx="19222">
                  <c:v>0</c:v>
                </c:pt>
                <c:pt idx="19223">
                  <c:v>0</c:v>
                </c:pt>
                <c:pt idx="19224">
                  <c:v>0</c:v>
                </c:pt>
                <c:pt idx="19225">
                  <c:v>0</c:v>
                </c:pt>
                <c:pt idx="19226">
                  <c:v>0</c:v>
                </c:pt>
                <c:pt idx="19227">
                  <c:v>0</c:v>
                </c:pt>
                <c:pt idx="19228">
                  <c:v>0</c:v>
                </c:pt>
                <c:pt idx="19229">
                  <c:v>0</c:v>
                </c:pt>
                <c:pt idx="19230">
                  <c:v>0</c:v>
                </c:pt>
                <c:pt idx="19231">
                  <c:v>0</c:v>
                </c:pt>
                <c:pt idx="19232">
                  <c:v>0</c:v>
                </c:pt>
                <c:pt idx="19233">
                  <c:v>0</c:v>
                </c:pt>
                <c:pt idx="19234">
                  <c:v>0</c:v>
                </c:pt>
                <c:pt idx="19235">
                  <c:v>0</c:v>
                </c:pt>
                <c:pt idx="19236">
                  <c:v>0</c:v>
                </c:pt>
                <c:pt idx="19237">
                  <c:v>0</c:v>
                </c:pt>
                <c:pt idx="19238">
                  <c:v>0</c:v>
                </c:pt>
                <c:pt idx="19239">
                  <c:v>0</c:v>
                </c:pt>
                <c:pt idx="19240">
                  <c:v>0</c:v>
                </c:pt>
                <c:pt idx="19241">
                  <c:v>0</c:v>
                </c:pt>
                <c:pt idx="19242">
                  <c:v>0</c:v>
                </c:pt>
                <c:pt idx="19243">
                  <c:v>0</c:v>
                </c:pt>
                <c:pt idx="19244">
                  <c:v>0</c:v>
                </c:pt>
                <c:pt idx="19245">
                  <c:v>0</c:v>
                </c:pt>
                <c:pt idx="19246">
                  <c:v>0</c:v>
                </c:pt>
                <c:pt idx="19247">
                  <c:v>0</c:v>
                </c:pt>
                <c:pt idx="19248">
                  <c:v>0</c:v>
                </c:pt>
                <c:pt idx="19249">
                  <c:v>0</c:v>
                </c:pt>
                <c:pt idx="19250">
                  <c:v>0</c:v>
                </c:pt>
                <c:pt idx="19251">
                  <c:v>0</c:v>
                </c:pt>
                <c:pt idx="19252">
                  <c:v>0</c:v>
                </c:pt>
                <c:pt idx="19253">
                  <c:v>0</c:v>
                </c:pt>
                <c:pt idx="19254">
                  <c:v>0</c:v>
                </c:pt>
                <c:pt idx="19255">
                  <c:v>0</c:v>
                </c:pt>
                <c:pt idx="19256">
                  <c:v>0</c:v>
                </c:pt>
                <c:pt idx="19257">
                  <c:v>0</c:v>
                </c:pt>
                <c:pt idx="19258">
                  <c:v>0</c:v>
                </c:pt>
                <c:pt idx="19259">
                  <c:v>0</c:v>
                </c:pt>
                <c:pt idx="19260">
                  <c:v>0</c:v>
                </c:pt>
                <c:pt idx="19261">
                  <c:v>0</c:v>
                </c:pt>
                <c:pt idx="19262">
                  <c:v>0</c:v>
                </c:pt>
                <c:pt idx="19263">
                  <c:v>0</c:v>
                </c:pt>
                <c:pt idx="19264">
                  <c:v>0</c:v>
                </c:pt>
                <c:pt idx="19265">
                  <c:v>0</c:v>
                </c:pt>
                <c:pt idx="19266">
                  <c:v>0</c:v>
                </c:pt>
                <c:pt idx="19267">
                  <c:v>0</c:v>
                </c:pt>
                <c:pt idx="19268">
                  <c:v>0</c:v>
                </c:pt>
                <c:pt idx="19269">
                  <c:v>0</c:v>
                </c:pt>
                <c:pt idx="19270">
                  <c:v>0</c:v>
                </c:pt>
                <c:pt idx="19271">
                  <c:v>0</c:v>
                </c:pt>
                <c:pt idx="19272">
                  <c:v>0</c:v>
                </c:pt>
                <c:pt idx="19273">
                  <c:v>0</c:v>
                </c:pt>
                <c:pt idx="19274">
                  <c:v>0</c:v>
                </c:pt>
                <c:pt idx="19275">
                  <c:v>0</c:v>
                </c:pt>
                <c:pt idx="19276">
                  <c:v>0</c:v>
                </c:pt>
                <c:pt idx="19277">
                  <c:v>0</c:v>
                </c:pt>
                <c:pt idx="19278">
                  <c:v>0</c:v>
                </c:pt>
                <c:pt idx="19279">
                  <c:v>0</c:v>
                </c:pt>
                <c:pt idx="19280">
                  <c:v>0</c:v>
                </c:pt>
                <c:pt idx="19281">
                  <c:v>0</c:v>
                </c:pt>
                <c:pt idx="19282">
                  <c:v>0</c:v>
                </c:pt>
                <c:pt idx="19283">
                  <c:v>0</c:v>
                </c:pt>
                <c:pt idx="19284">
                  <c:v>0</c:v>
                </c:pt>
                <c:pt idx="19285">
                  <c:v>0</c:v>
                </c:pt>
                <c:pt idx="19286">
                  <c:v>0</c:v>
                </c:pt>
                <c:pt idx="19287">
                  <c:v>0</c:v>
                </c:pt>
                <c:pt idx="19288">
                  <c:v>0</c:v>
                </c:pt>
                <c:pt idx="19289">
                  <c:v>0</c:v>
                </c:pt>
                <c:pt idx="19290">
                  <c:v>0</c:v>
                </c:pt>
                <c:pt idx="19291">
                  <c:v>0</c:v>
                </c:pt>
                <c:pt idx="19292">
                  <c:v>0</c:v>
                </c:pt>
                <c:pt idx="19293">
                  <c:v>0</c:v>
                </c:pt>
                <c:pt idx="19294">
                  <c:v>0</c:v>
                </c:pt>
                <c:pt idx="19295">
                  <c:v>0</c:v>
                </c:pt>
                <c:pt idx="19296">
                  <c:v>0</c:v>
                </c:pt>
                <c:pt idx="19297">
                  <c:v>0</c:v>
                </c:pt>
                <c:pt idx="19298">
                  <c:v>0</c:v>
                </c:pt>
                <c:pt idx="19299">
                  <c:v>0</c:v>
                </c:pt>
                <c:pt idx="19300">
                  <c:v>0</c:v>
                </c:pt>
                <c:pt idx="19301">
                  <c:v>0</c:v>
                </c:pt>
                <c:pt idx="19302">
                  <c:v>0</c:v>
                </c:pt>
                <c:pt idx="19303">
                  <c:v>0</c:v>
                </c:pt>
                <c:pt idx="19304">
                  <c:v>0</c:v>
                </c:pt>
                <c:pt idx="19305">
                  <c:v>0</c:v>
                </c:pt>
                <c:pt idx="19306">
                  <c:v>0</c:v>
                </c:pt>
                <c:pt idx="19307">
                  <c:v>0</c:v>
                </c:pt>
                <c:pt idx="19308">
                  <c:v>0</c:v>
                </c:pt>
                <c:pt idx="19309">
                  <c:v>0</c:v>
                </c:pt>
                <c:pt idx="19310">
                  <c:v>0</c:v>
                </c:pt>
                <c:pt idx="19311">
                  <c:v>0</c:v>
                </c:pt>
                <c:pt idx="19312">
                  <c:v>0</c:v>
                </c:pt>
                <c:pt idx="19313">
                  <c:v>0</c:v>
                </c:pt>
                <c:pt idx="19314">
                  <c:v>0</c:v>
                </c:pt>
                <c:pt idx="19315">
                  <c:v>0</c:v>
                </c:pt>
                <c:pt idx="19316">
                  <c:v>0</c:v>
                </c:pt>
                <c:pt idx="19317">
                  <c:v>0</c:v>
                </c:pt>
                <c:pt idx="19318">
                  <c:v>0</c:v>
                </c:pt>
                <c:pt idx="19319">
                  <c:v>0</c:v>
                </c:pt>
                <c:pt idx="19320">
                  <c:v>0</c:v>
                </c:pt>
                <c:pt idx="19321">
                  <c:v>0</c:v>
                </c:pt>
                <c:pt idx="19322">
                  <c:v>0</c:v>
                </c:pt>
                <c:pt idx="19323">
                  <c:v>0</c:v>
                </c:pt>
                <c:pt idx="19324">
                  <c:v>0</c:v>
                </c:pt>
                <c:pt idx="19325">
                  <c:v>0</c:v>
                </c:pt>
                <c:pt idx="19326">
                  <c:v>0</c:v>
                </c:pt>
                <c:pt idx="19327">
                  <c:v>0</c:v>
                </c:pt>
                <c:pt idx="19328">
                  <c:v>0</c:v>
                </c:pt>
                <c:pt idx="19329">
                  <c:v>0</c:v>
                </c:pt>
                <c:pt idx="19330">
                  <c:v>0</c:v>
                </c:pt>
                <c:pt idx="19331">
                  <c:v>0</c:v>
                </c:pt>
                <c:pt idx="19332">
                  <c:v>0</c:v>
                </c:pt>
                <c:pt idx="19333">
                  <c:v>0</c:v>
                </c:pt>
                <c:pt idx="19334">
                  <c:v>0</c:v>
                </c:pt>
                <c:pt idx="19335">
                  <c:v>0</c:v>
                </c:pt>
                <c:pt idx="19336">
                  <c:v>0</c:v>
                </c:pt>
                <c:pt idx="19337">
                  <c:v>0</c:v>
                </c:pt>
                <c:pt idx="19338">
                  <c:v>0</c:v>
                </c:pt>
                <c:pt idx="19339">
                  <c:v>0</c:v>
                </c:pt>
                <c:pt idx="19340">
                  <c:v>0</c:v>
                </c:pt>
                <c:pt idx="19341">
                  <c:v>0</c:v>
                </c:pt>
                <c:pt idx="19342">
                  <c:v>0</c:v>
                </c:pt>
                <c:pt idx="19343">
                  <c:v>0</c:v>
                </c:pt>
                <c:pt idx="19344">
                  <c:v>0</c:v>
                </c:pt>
                <c:pt idx="19345">
                  <c:v>0</c:v>
                </c:pt>
                <c:pt idx="19346">
                  <c:v>0</c:v>
                </c:pt>
                <c:pt idx="19347">
                  <c:v>0</c:v>
                </c:pt>
                <c:pt idx="19348">
                  <c:v>0</c:v>
                </c:pt>
                <c:pt idx="19349">
                  <c:v>0</c:v>
                </c:pt>
                <c:pt idx="19350">
                  <c:v>0</c:v>
                </c:pt>
                <c:pt idx="19351">
                  <c:v>0</c:v>
                </c:pt>
                <c:pt idx="19352">
                  <c:v>0</c:v>
                </c:pt>
                <c:pt idx="19353">
                  <c:v>0</c:v>
                </c:pt>
                <c:pt idx="19354">
                  <c:v>0</c:v>
                </c:pt>
                <c:pt idx="19355">
                  <c:v>0</c:v>
                </c:pt>
                <c:pt idx="19356">
                  <c:v>0</c:v>
                </c:pt>
                <c:pt idx="19357">
                  <c:v>0</c:v>
                </c:pt>
                <c:pt idx="19358">
                  <c:v>0</c:v>
                </c:pt>
                <c:pt idx="19359">
                  <c:v>0</c:v>
                </c:pt>
                <c:pt idx="19360">
                  <c:v>0</c:v>
                </c:pt>
                <c:pt idx="19361">
                  <c:v>0</c:v>
                </c:pt>
                <c:pt idx="19362">
                  <c:v>0</c:v>
                </c:pt>
                <c:pt idx="19363">
                  <c:v>0</c:v>
                </c:pt>
                <c:pt idx="19364">
                  <c:v>0</c:v>
                </c:pt>
                <c:pt idx="19365">
                  <c:v>0</c:v>
                </c:pt>
                <c:pt idx="19366">
                  <c:v>0</c:v>
                </c:pt>
                <c:pt idx="19367">
                  <c:v>0</c:v>
                </c:pt>
                <c:pt idx="19368">
                  <c:v>0</c:v>
                </c:pt>
                <c:pt idx="19369">
                  <c:v>0</c:v>
                </c:pt>
                <c:pt idx="19370">
                  <c:v>0</c:v>
                </c:pt>
                <c:pt idx="19371">
                  <c:v>0</c:v>
                </c:pt>
                <c:pt idx="19372">
                  <c:v>0</c:v>
                </c:pt>
                <c:pt idx="19373">
                  <c:v>0</c:v>
                </c:pt>
                <c:pt idx="19374">
                  <c:v>0</c:v>
                </c:pt>
                <c:pt idx="19375">
                  <c:v>0</c:v>
                </c:pt>
                <c:pt idx="19376">
                  <c:v>0</c:v>
                </c:pt>
                <c:pt idx="19377">
                  <c:v>0</c:v>
                </c:pt>
                <c:pt idx="19378">
                  <c:v>0</c:v>
                </c:pt>
                <c:pt idx="19379">
                  <c:v>0</c:v>
                </c:pt>
                <c:pt idx="19380">
                  <c:v>0</c:v>
                </c:pt>
                <c:pt idx="19381">
                  <c:v>0</c:v>
                </c:pt>
                <c:pt idx="19382">
                  <c:v>0</c:v>
                </c:pt>
                <c:pt idx="19383">
                  <c:v>0</c:v>
                </c:pt>
                <c:pt idx="19384">
                  <c:v>0</c:v>
                </c:pt>
                <c:pt idx="19385">
                  <c:v>0</c:v>
                </c:pt>
                <c:pt idx="19386">
                  <c:v>0</c:v>
                </c:pt>
                <c:pt idx="19387">
                  <c:v>0</c:v>
                </c:pt>
                <c:pt idx="19388">
                  <c:v>0</c:v>
                </c:pt>
                <c:pt idx="19389">
                  <c:v>0</c:v>
                </c:pt>
                <c:pt idx="19390">
                  <c:v>0</c:v>
                </c:pt>
                <c:pt idx="19391">
                  <c:v>0</c:v>
                </c:pt>
                <c:pt idx="19392">
                  <c:v>0</c:v>
                </c:pt>
                <c:pt idx="19393">
                  <c:v>0</c:v>
                </c:pt>
                <c:pt idx="19394">
                  <c:v>0</c:v>
                </c:pt>
                <c:pt idx="19395">
                  <c:v>0</c:v>
                </c:pt>
                <c:pt idx="19396">
                  <c:v>0</c:v>
                </c:pt>
                <c:pt idx="19397">
                  <c:v>0</c:v>
                </c:pt>
                <c:pt idx="19398">
                  <c:v>0</c:v>
                </c:pt>
                <c:pt idx="19399">
                  <c:v>0</c:v>
                </c:pt>
                <c:pt idx="19400">
                  <c:v>0</c:v>
                </c:pt>
                <c:pt idx="19401">
                  <c:v>0</c:v>
                </c:pt>
                <c:pt idx="19402">
                  <c:v>0</c:v>
                </c:pt>
                <c:pt idx="19403">
                  <c:v>0</c:v>
                </c:pt>
                <c:pt idx="19404">
                  <c:v>0</c:v>
                </c:pt>
                <c:pt idx="19405">
                  <c:v>0</c:v>
                </c:pt>
                <c:pt idx="19406">
                  <c:v>0</c:v>
                </c:pt>
                <c:pt idx="19407">
                  <c:v>0</c:v>
                </c:pt>
                <c:pt idx="19408">
                  <c:v>0</c:v>
                </c:pt>
                <c:pt idx="19409">
                  <c:v>0</c:v>
                </c:pt>
                <c:pt idx="19410">
                  <c:v>0</c:v>
                </c:pt>
                <c:pt idx="19411">
                  <c:v>0</c:v>
                </c:pt>
                <c:pt idx="19412">
                  <c:v>0</c:v>
                </c:pt>
                <c:pt idx="19413">
                  <c:v>0</c:v>
                </c:pt>
                <c:pt idx="19414">
                  <c:v>0</c:v>
                </c:pt>
                <c:pt idx="19415">
                  <c:v>0</c:v>
                </c:pt>
                <c:pt idx="19416">
                  <c:v>0</c:v>
                </c:pt>
                <c:pt idx="19417">
                  <c:v>0</c:v>
                </c:pt>
                <c:pt idx="19418">
                  <c:v>0</c:v>
                </c:pt>
                <c:pt idx="19419">
                  <c:v>0</c:v>
                </c:pt>
                <c:pt idx="19420">
                  <c:v>0</c:v>
                </c:pt>
                <c:pt idx="19421">
                  <c:v>0</c:v>
                </c:pt>
                <c:pt idx="19422">
                  <c:v>0</c:v>
                </c:pt>
                <c:pt idx="19423">
                  <c:v>0</c:v>
                </c:pt>
                <c:pt idx="19424">
                  <c:v>0</c:v>
                </c:pt>
                <c:pt idx="19425">
                  <c:v>0</c:v>
                </c:pt>
                <c:pt idx="19426">
                  <c:v>0</c:v>
                </c:pt>
                <c:pt idx="19427">
                  <c:v>0</c:v>
                </c:pt>
                <c:pt idx="19428">
                  <c:v>0</c:v>
                </c:pt>
                <c:pt idx="19429">
                  <c:v>0</c:v>
                </c:pt>
                <c:pt idx="19430">
                  <c:v>0</c:v>
                </c:pt>
                <c:pt idx="19431">
                  <c:v>0</c:v>
                </c:pt>
                <c:pt idx="19432">
                  <c:v>0</c:v>
                </c:pt>
                <c:pt idx="19433">
                  <c:v>0</c:v>
                </c:pt>
                <c:pt idx="19434">
                  <c:v>0</c:v>
                </c:pt>
                <c:pt idx="19435">
                  <c:v>0</c:v>
                </c:pt>
                <c:pt idx="19436">
                  <c:v>0</c:v>
                </c:pt>
                <c:pt idx="19437">
                  <c:v>0</c:v>
                </c:pt>
                <c:pt idx="19438">
                  <c:v>0</c:v>
                </c:pt>
                <c:pt idx="19439">
                  <c:v>0</c:v>
                </c:pt>
                <c:pt idx="19440">
                  <c:v>0</c:v>
                </c:pt>
                <c:pt idx="19441">
                  <c:v>0</c:v>
                </c:pt>
                <c:pt idx="19442">
                  <c:v>0</c:v>
                </c:pt>
                <c:pt idx="19443">
                  <c:v>0</c:v>
                </c:pt>
                <c:pt idx="19444">
                  <c:v>0</c:v>
                </c:pt>
                <c:pt idx="19445">
                  <c:v>0</c:v>
                </c:pt>
                <c:pt idx="19446">
                  <c:v>0</c:v>
                </c:pt>
                <c:pt idx="19447">
                  <c:v>0</c:v>
                </c:pt>
                <c:pt idx="19448">
                  <c:v>0</c:v>
                </c:pt>
                <c:pt idx="19449">
                  <c:v>0</c:v>
                </c:pt>
                <c:pt idx="19450">
                  <c:v>0</c:v>
                </c:pt>
                <c:pt idx="19451">
                  <c:v>0</c:v>
                </c:pt>
                <c:pt idx="19452">
                  <c:v>0</c:v>
                </c:pt>
                <c:pt idx="19453">
                  <c:v>0</c:v>
                </c:pt>
                <c:pt idx="19454">
                  <c:v>0</c:v>
                </c:pt>
                <c:pt idx="19455">
                  <c:v>0</c:v>
                </c:pt>
                <c:pt idx="19456">
                  <c:v>0</c:v>
                </c:pt>
                <c:pt idx="19457">
                  <c:v>0</c:v>
                </c:pt>
                <c:pt idx="19458">
                  <c:v>0</c:v>
                </c:pt>
                <c:pt idx="19459">
                  <c:v>0</c:v>
                </c:pt>
                <c:pt idx="19460">
                  <c:v>0</c:v>
                </c:pt>
                <c:pt idx="19461">
                  <c:v>0</c:v>
                </c:pt>
                <c:pt idx="19462">
                  <c:v>0</c:v>
                </c:pt>
                <c:pt idx="19463">
                  <c:v>0</c:v>
                </c:pt>
                <c:pt idx="19464">
                  <c:v>0</c:v>
                </c:pt>
                <c:pt idx="19465">
                  <c:v>0</c:v>
                </c:pt>
                <c:pt idx="19466">
                  <c:v>0</c:v>
                </c:pt>
                <c:pt idx="19467">
                  <c:v>0</c:v>
                </c:pt>
                <c:pt idx="19468">
                  <c:v>0</c:v>
                </c:pt>
                <c:pt idx="19469">
                  <c:v>0</c:v>
                </c:pt>
                <c:pt idx="19470">
                  <c:v>0</c:v>
                </c:pt>
                <c:pt idx="19471">
                  <c:v>0</c:v>
                </c:pt>
                <c:pt idx="19472">
                  <c:v>0</c:v>
                </c:pt>
                <c:pt idx="19473">
                  <c:v>0</c:v>
                </c:pt>
                <c:pt idx="19474">
                  <c:v>0</c:v>
                </c:pt>
                <c:pt idx="19475">
                  <c:v>0</c:v>
                </c:pt>
                <c:pt idx="19476">
                  <c:v>0</c:v>
                </c:pt>
                <c:pt idx="19477">
                  <c:v>0</c:v>
                </c:pt>
                <c:pt idx="19478">
                  <c:v>0</c:v>
                </c:pt>
                <c:pt idx="19479">
                  <c:v>0</c:v>
                </c:pt>
                <c:pt idx="19480">
                  <c:v>0</c:v>
                </c:pt>
                <c:pt idx="19481">
                  <c:v>0</c:v>
                </c:pt>
                <c:pt idx="19482">
                  <c:v>0</c:v>
                </c:pt>
                <c:pt idx="19483">
                  <c:v>0</c:v>
                </c:pt>
                <c:pt idx="19484">
                  <c:v>0</c:v>
                </c:pt>
                <c:pt idx="19485">
                  <c:v>0</c:v>
                </c:pt>
                <c:pt idx="19486">
                  <c:v>0</c:v>
                </c:pt>
                <c:pt idx="19487">
                  <c:v>0</c:v>
                </c:pt>
                <c:pt idx="19488">
                  <c:v>0</c:v>
                </c:pt>
                <c:pt idx="19489">
                  <c:v>0</c:v>
                </c:pt>
                <c:pt idx="19490">
                  <c:v>0</c:v>
                </c:pt>
                <c:pt idx="19491">
                  <c:v>0</c:v>
                </c:pt>
                <c:pt idx="19492">
                  <c:v>0</c:v>
                </c:pt>
                <c:pt idx="19493">
                  <c:v>0</c:v>
                </c:pt>
                <c:pt idx="19494">
                  <c:v>0</c:v>
                </c:pt>
                <c:pt idx="19495">
                  <c:v>0</c:v>
                </c:pt>
                <c:pt idx="19496">
                  <c:v>0</c:v>
                </c:pt>
                <c:pt idx="19497">
                  <c:v>0</c:v>
                </c:pt>
                <c:pt idx="19498">
                  <c:v>0</c:v>
                </c:pt>
                <c:pt idx="19499">
                  <c:v>0</c:v>
                </c:pt>
                <c:pt idx="19500">
                  <c:v>0</c:v>
                </c:pt>
                <c:pt idx="19501">
                  <c:v>0</c:v>
                </c:pt>
                <c:pt idx="19502">
                  <c:v>0</c:v>
                </c:pt>
                <c:pt idx="19503">
                  <c:v>0</c:v>
                </c:pt>
                <c:pt idx="19504">
                  <c:v>0</c:v>
                </c:pt>
                <c:pt idx="19505">
                  <c:v>0</c:v>
                </c:pt>
                <c:pt idx="19506">
                  <c:v>0</c:v>
                </c:pt>
                <c:pt idx="19507">
                  <c:v>0</c:v>
                </c:pt>
                <c:pt idx="19508">
                  <c:v>0</c:v>
                </c:pt>
                <c:pt idx="19509">
                  <c:v>0</c:v>
                </c:pt>
                <c:pt idx="19510">
                  <c:v>0</c:v>
                </c:pt>
                <c:pt idx="19511">
                  <c:v>0</c:v>
                </c:pt>
                <c:pt idx="19512">
                  <c:v>0</c:v>
                </c:pt>
                <c:pt idx="19513">
                  <c:v>0</c:v>
                </c:pt>
                <c:pt idx="19514">
                  <c:v>0</c:v>
                </c:pt>
                <c:pt idx="19515">
                  <c:v>0</c:v>
                </c:pt>
                <c:pt idx="19516">
                  <c:v>0</c:v>
                </c:pt>
                <c:pt idx="19517">
                  <c:v>0</c:v>
                </c:pt>
                <c:pt idx="19518">
                  <c:v>0</c:v>
                </c:pt>
                <c:pt idx="19519">
                  <c:v>0</c:v>
                </c:pt>
                <c:pt idx="19520">
                  <c:v>0</c:v>
                </c:pt>
                <c:pt idx="19521">
                  <c:v>0</c:v>
                </c:pt>
                <c:pt idx="19522">
                  <c:v>0</c:v>
                </c:pt>
                <c:pt idx="19523">
                  <c:v>0</c:v>
                </c:pt>
                <c:pt idx="19524">
                  <c:v>0</c:v>
                </c:pt>
                <c:pt idx="19525">
                  <c:v>0</c:v>
                </c:pt>
                <c:pt idx="19526">
                  <c:v>0</c:v>
                </c:pt>
                <c:pt idx="19527">
                  <c:v>0</c:v>
                </c:pt>
                <c:pt idx="19528">
                  <c:v>0</c:v>
                </c:pt>
                <c:pt idx="19529">
                  <c:v>0</c:v>
                </c:pt>
                <c:pt idx="19530">
                  <c:v>0</c:v>
                </c:pt>
                <c:pt idx="19531">
                  <c:v>0</c:v>
                </c:pt>
                <c:pt idx="19532">
                  <c:v>0</c:v>
                </c:pt>
                <c:pt idx="19533">
                  <c:v>0</c:v>
                </c:pt>
                <c:pt idx="19534">
                  <c:v>0</c:v>
                </c:pt>
                <c:pt idx="19535">
                  <c:v>0</c:v>
                </c:pt>
                <c:pt idx="19536">
                  <c:v>0</c:v>
                </c:pt>
                <c:pt idx="19537">
                  <c:v>0</c:v>
                </c:pt>
                <c:pt idx="19538">
                  <c:v>0</c:v>
                </c:pt>
                <c:pt idx="19539">
                  <c:v>0</c:v>
                </c:pt>
                <c:pt idx="19540">
                  <c:v>0</c:v>
                </c:pt>
                <c:pt idx="19541">
                  <c:v>0</c:v>
                </c:pt>
                <c:pt idx="19542">
                  <c:v>0</c:v>
                </c:pt>
                <c:pt idx="19543">
                  <c:v>0</c:v>
                </c:pt>
                <c:pt idx="19544">
                  <c:v>0</c:v>
                </c:pt>
                <c:pt idx="19545">
                  <c:v>0</c:v>
                </c:pt>
                <c:pt idx="19546">
                  <c:v>0</c:v>
                </c:pt>
                <c:pt idx="19547">
                  <c:v>0</c:v>
                </c:pt>
                <c:pt idx="19548">
                  <c:v>0</c:v>
                </c:pt>
                <c:pt idx="19549">
                  <c:v>0</c:v>
                </c:pt>
                <c:pt idx="19550">
                  <c:v>0</c:v>
                </c:pt>
                <c:pt idx="19551">
                  <c:v>0</c:v>
                </c:pt>
                <c:pt idx="19552">
                  <c:v>0</c:v>
                </c:pt>
                <c:pt idx="19553">
                  <c:v>0</c:v>
                </c:pt>
                <c:pt idx="19554">
                  <c:v>0</c:v>
                </c:pt>
                <c:pt idx="19555">
                  <c:v>0</c:v>
                </c:pt>
                <c:pt idx="19556">
                  <c:v>0</c:v>
                </c:pt>
                <c:pt idx="19557">
                  <c:v>0</c:v>
                </c:pt>
                <c:pt idx="19558">
                  <c:v>0</c:v>
                </c:pt>
                <c:pt idx="19559">
                  <c:v>0</c:v>
                </c:pt>
                <c:pt idx="19560">
                  <c:v>0</c:v>
                </c:pt>
                <c:pt idx="19561">
                  <c:v>0</c:v>
                </c:pt>
                <c:pt idx="19562">
                  <c:v>0</c:v>
                </c:pt>
                <c:pt idx="19563">
                  <c:v>0</c:v>
                </c:pt>
                <c:pt idx="19564">
                  <c:v>0</c:v>
                </c:pt>
                <c:pt idx="19565">
                  <c:v>0</c:v>
                </c:pt>
                <c:pt idx="19566">
                  <c:v>0</c:v>
                </c:pt>
                <c:pt idx="19567">
                  <c:v>0</c:v>
                </c:pt>
                <c:pt idx="19568">
                  <c:v>0</c:v>
                </c:pt>
                <c:pt idx="19569">
                  <c:v>0</c:v>
                </c:pt>
                <c:pt idx="19570">
                  <c:v>0</c:v>
                </c:pt>
                <c:pt idx="19571">
                  <c:v>0</c:v>
                </c:pt>
                <c:pt idx="19572">
                  <c:v>0</c:v>
                </c:pt>
                <c:pt idx="19573">
                  <c:v>0</c:v>
                </c:pt>
                <c:pt idx="19574">
                  <c:v>0</c:v>
                </c:pt>
                <c:pt idx="19575">
                  <c:v>0</c:v>
                </c:pt>
                <c:pt idx="19576">
                  <c:v>0</c:v>
                </c:pt>
                <c:pt idx="19577">
                  <c:v>0</c:v>
                </c:pt>
                <c:pt idx="19578">
                  <c:v>0</c:v>
                </c:pt>
                <c:pt idx="19579">
                  <c:v>0</c:v>
                </c:pt>
                <c:pt idx="19580">
                  <c:v>0</c:v>
                </c:pt>
                <c:pt idx="19581">
                  <c:v>0</c:v>
                </c:pt>
                <c:pt idx="19582">
                  <c:v>0</c:v>
                </c:pt>
                <c:pt idx="19583">
                  <c:v>0</c:v>
                </c:pt>
                <c:pt idx="19584">
                  <c:v>0</c:v>
                </c:pt>
                <c:pt idx="19585">
                  <c:v>0</c:v>
                </c:pt>
                <c:pt idx="19586">
                  <c:v>0</c:v>
                </c:pt>
                <c:pt idx="19587">
                  <c:v>0</c:v>
                </c:pt>
                <c:pt idx="19588">
                  <c:v>0</c:v>
                </c:pt>
                <c:pt idx="19589">
                  <c:v>0</c:v>
                </c:pt>
                <c:pt idx="19590">
                  <c:v>0</c:v>
                </c:pt>
                <c:pt idx="19591">
                  <c:v>0</c:v>
                </c:pt>
                <c:pt idx="19592">
                  <c:v>0</c:v>
                </c:pt>
                <c:pt idx="19593">
                  <c:v>0</c:v>
                </c:pt>
                <c:pt idx="19594">
                  <c:v>0</c:v>
                </c:pt>
                <c:pt idx="19595">
                  <c:v>0</c:v>
                </c:pt>
                <c:pt idx="19596">
                  <c:v>0</c:v>
                </c:pt>
                <c:pt idx="19597">
                  <c:v>0</c:v>
                </c:pt>
                <c:pt idx="19598">
                  <c:v>0</c:v>
                </c:pt>
                <c:pt idx="19599">
                  <c:v>0</c:v>
                </c:pt>
                <c:pt idx="19600">
                  <c:v>0</c:v>
                </c:pt>
                <c:pt idx="19601">
                  <c:v>0</c:v>
                </c:pt>
                <c:pt idx="19602">
                  <c:v>0</c:v>
                </c:pt>
                <c:pt idx="19603">
                  <c:v>0</c:v>
                </c:pt>
                <c:pt idx="19604">
                  <c:v>0</c:v>
                </c:pt>
                <c:pt idx="19605">
                  <c:v>0</c:v>
                </c:pt>
                <c:pt idx="19606">
                  <c:v>0</c:v>
                </c:pt>
                <c:pt idx="19607">
                  <c:v>0</c:v>
                </c:pt>
                <c:pt idx="19608">
                  <c:v>0</c:v>
                </c:pt>
                <c:pt idx="19609">
                  <c:v>0</c:v>
                </c:pt>
                <c:pt idx="19610">
                  <c:v>0</c:v>
                </c:pt>
                <c:pt idx="19611">
                  <c:v>0</c:v>
                </c:pt>
                <c:pt idx="19612">
                  <c:v>0</c:v>
                </c:pt>
                <c:pt idx="19613">
                  <c:v>0</c:v>
                </c:pt>
                <c:pt idx="19614">
                  <c:v>0</c:v>
                </c:pt>
                <c:pt idx="19615">
                  <c:v>0</c:v>
                </c:pt>
                <c:pt idx="19616">
                  <c:v>0</c:v>
                </c:pt>
                <c:pt idx="19617">
                  <c:v>0</c:v>
                </c:pt>
                <c:pt idx="19618">
                  <c:v>0</c:v>
                </c:pt>
                <c:pt idx="19619">
                  <c:v>0</c:v>
                </c:pt>
                <c:pt idx="19620">
                  <c:v>0</c:v>
                </c:pt>
                <c:pt idx="19621">
                  <c:v>0</c:v>
                </c:pt>
                <c:pt idx="19622">
                  <c:v>0</c:v>
                </c:pt>
                <c:pt idx="19623">
                  <c:v>0</c:v>
                </c:pt>
                <c:pt idx="19624">
                  <c:v>0</c:v>
                </c:pt>
                <c:pt idx="19625">
                  <c:v>0</c:v>
                </c:pt>
                <c:pt idx="19626">
                  <c:v>0</c:v>
                </c:pt>
                <c:pt idx="19627">
                  <c:v>0</c:v>
                </c:pt>
                <c:pt idx="19628">
                  <c:v>0</c:v>
                </c:pt>
                <c:pt idx="19629">
                  <c:v>0</c:v>
                </c:pt>
                <c:pt idx="19630">
                  <c:v>0</c:v>
                </c:pt>
                <c:pt idx="19631">
                  <c:v>0</c:v>
                </c:pt>
                <c:pt idx="19632">
                  <c:v>0</c:v>
                </c:pt>
                <c:pt idx="19633">
                  <c:v>0</c:v>
                </c:pt>
                <c:pt idx="19634">
                  <c:v>0</c:v>
                </c:pt>
                <c:pt idx="19635">
                  <c:v>0</c:v>
                </c:pt>
                <c:pt idx="19636">
                  <c:v>0</c:v>
                </c:pt>
                <c:pt idx="19637">
                  <c:v>0</c:v>
                </c:pt>
                <c:pt idx="19638">
                  <c:v>0</c:v>
                </c:pt>
                <c:pt idx="19639">
                  <c:v>0</c:v>
                </c:pt>
                <c:pt idx="19640">
                  <c:v>0</c:v>
                </c:pt>
                <c:pt idx="19641">
                  <c:v>0</c:v>
                </c:pt>
                <c:pt idx="19642">
                  <c:v>0</c:v>
                </c:pt>
                <c:pt idx="19643">
                  <c:v>0</c:v>
                </c:pt>
                <c:pt idx="19644">
                  <c:v>0</c:v>
                </c:pt>
                <c:pt idx="19645">
                  <c:v>0</c:v>
                </c:pt>
                <c:pt idx="19646">
                  <c:v>0</c:v>
                </c:pt>
                <c:pt idx="19647">
                  <c:v>0</c:v>
                </c:pt>
                <c:pt idx="19648">
                  <c:v>0</c:v>
                </c:pt>
                <c:pt idx="19649">
                  <c:v>0</c:v>
                </c:pt>
                <c:pt idx="19650">
                  <c:v>0</c:v>
                </c:pt>
                <c:pt idx="19651">
                  <c:v>0</c:v>
                </c:pt>
                <c:pt idx="19652">
                  <c:v>0</c:v>
                </c:pt>
                <c:pt idx="19653">
                  <c:v>0</c:v>
                </c:pt>
                <c:pt idx="19654">
                  <c:v>0</c:v>
                </c:pt>
                <c:pt idx="19655">
                  <c:v>0</c:v>
                </c:pt>
                <c:pt idx="19656">
                  <c:v>0</c:v>
                </c:pt>
                <c:pt idx="19657">
                  <c:v>0</c:v>
                </c:pt>
                <c:pt idx="19658">
                  <c:v>0</c:v>
                </c:pt>
                <c:pt idx="19659">
                  <c:v>0</c:v>
                </c:pt>
                <c:pt idx="19660">
                  <c:v>0</c:v>
                </c:pt>
                <c:pt idx="19661">
                  <c:v>0</c:v>
                </c:pt>
                <c:pt idx="19662">
                  <c:v>0</c:v>
                </c:pt>
                <c:pt idx="19663">
                  <c:v>0</c:v>
                </c:pt>
                <c:pt idx="19664">
                  <c:v>0</c:v>
                </c:pt>
                <c:pt idx="19665">
                  <c:v>0</c:v>
                </c:pt>
                <c:pt idx="19666">
                  <c:v>0</c:v>
                </c:pt>
                <c:pt idx="19667">
                  <c:v>0</c:v>
                </c:pt>
                <c:pt idx="19668">
                  <c:v>0</c:v>
                </c:pt>
                <c:pt idx="19669">
                  <c:v>0</c:v>
                </c:pt>
                <c:pt idx="19670">
                  <c:v>0</c:v>
                </c:pt>
                <c:pt idx="19671">
                  <c:v>0</c:v>
                </c:pt>
                <c:pt idx="19672">
                  <c:v>0</c:v>
                </c:pt>
                <c:pt idx="19673">
                  <c:v>0</c:v>
                </c:pt>
                <c:pt idx="19674">
                  <c:v>0</c:v>
                </c:pt>
                <c:pt idx="19675">
                  <c:v>0</c:v>
                </c:pt>
                <c:pt idx="19676">
                  <c:v>0</c:v>
                </c:pt>
                <c:pt idx="19677">
                  <c:v>0</c:v>
                </c:pt>
                <c:pt idx="19678">
                  <c:v>0</c:v>
                </c:pt>
                <c:pt idx="19679">
                  <c:v>0</c:v>
                </c:pt>
                <c:pt idx="19680">
                  <c:v>0</c:v>
                </c:pt>
                <c:pt idx="19681">
                  <c:v>0</c:v>
                </c:pt>
                <c:pt idx="19682">
                  <c:v>0</c:v>
                </c:pt>
                <c:pt idx="19683">
                  <c:v>0</c:v>
                </c:pt>
                <c:pt idx="19684">
                  <c:v>0</c:v>
                </c:pt>
                <c:pt idx="19685">
                  <c:v>0</c:v>
                </c:pt>
                <c:pt idx="19686">
                  <c:v>0</c:v>
                </c:pt>
                <c:pt idx="19687">
                  <c:v>0</c:v>
                </c:pt>
                <c:pt idx="19688">
                  <c:v>0</c:v>
                </c:pt>
                <c:pt idx="19689">
                  <c:v>0</c:v>
                </c:pt>
                <c:pt idx="19690">
                  <c:v>0</c:v>
                </c:pt>
                <c:pt idx="19691">
                  <c:v>0</c:v>
                </c:pt>
                <c:pt idx="19692">
                  <c:v>0</c:v>
                </c:pt>
                <c:pt idx="19693">
                  <c:v>0</c:v>
                </c:pt>
                <c:pt idx="19694">
                  <c:v>0</c:v>
                </c:pt>
                <c:pt idx="19695">
                  <c:v>0</c:v>
                </c:pt>
                <c:pt idx="19696">
                  <c:v>0</c:v>
                </c:pt>
                <c:pt idx="19697">
                  <c:v>0</c:v>
                </c:pt>
                <c:pt idx="19698">
                  <c:v>0</c:v>
                </c:pt>
                <c:pt idx="19699">
                  <c:v>0</c:v>
                </c:pt>
                <c:pt idx="19700">
                  <c:v>0</c:v>
                </c:pt>
                <c:pt idx="19701">
                  <c:v>0</c:v>
                </c:pt>
                <c:pt idx="19702">
                  <c:v>0</c:v>
                </c:pt>
                <c:pt idx="19703">
                  <c:v>0</c:v>
                </c:pt>
                <c:pt idx="19704">
                  <c:v>0</c:v>
                </c:pt>
                <c:pt idx="19705">
                  <c:v>0</c:v>
                </c:pt>
                <c:pt idx="19706">
                  <c:v>0</c:v>
                </c:pt>
                <c:pt idx="19707">
                  <c:v>0</c:v>
                </c:pt>
                <c:pt idx="19708">
                  <c:v>0</c:v>
                </c:pt>
                <c:pt idx="19709">
                  <c:v>0</c:v>
                </c:pt>
                <c:pt idx="19710">
                  <c:v>0</c:v>
                </c:pt>
                <c:pt idx="19711">
                  <c:v>0</c:v>
                </c:pt>
                <c:pt idx="19712">
                  <c:v>0</c:v>
                </c:pt>
                <c:pt idx="19713">
                  <c:v>0</c:v>
                </c:pt>
                <c:pt idx="19714">
                  <c:v>0</c:v>
                </c:pt>
                <c:pt idx="19715">
                  <c:v>0</c:v>
                </c:pt>
                <c:pt idx="19716">
                  <c:v>0</c:v>
                </c:pt>
                <c:pt idx="19717">
                  <c:v>0</c:v>
                </c:pt>
                <c:pt idx="19718">
                  <c:v>0</c:v>
                </c:pt>
                <c:pt idx="19719">
                  <c:v>0</c:v>
                </c:pt>
                <c:pt idx="19720">
                  <c:v>0</c:v>
                </c:pt>
                <c:pt idx="19721">
                  <c:v>0</c:v>
                </c:pt>
                <c:pt idx="19722">
                  <c:v>0</c:v>
                </c:pt>
                <c:pt idx="19723">
                  <c:v>0</c:v>
                </c:pt>
                <c:pt idx="19724">
                  <c:v>0</c:v>
                </c:pt>
                <c:pt idx="19725">
                  <c:v>0</c:v>
                </c:pt>
                <c:pt idx="19726">
                  <c:v>0</c:v>
                </c:pt>
                <c:pt idx="19727">
                  <c:v>0</c:v>
                </c:pt>
                <c:pt idx="19728">
                  <c:v>0</c:v>
                </c:pt>
                <c:pt idx="19729">
                  <c:v>0</c:v>
                </c:pt>
                <c:pt idx="19730">
                  <c:v>0</c:v>
                </c:pt>
                <c:pt idx="19731">
                  <c:v>0</c:v>
                </c:pt>
                <c:pt idx="19732">
                  <c:v>0</c:v>
                </c:pt>
                <c:pt idx="19733">
                  <c:v>0</c:v>
                </c:pt>
                <c:pt idx="19734">
                  <c:v>0</c:v>
                </c:pt>
                <c:pt idx="19735">
                  <c:v>0</c:v>
                </c:pt>
                <c:pt idx="19736">
                  <c:v>0</c:v>
                </c:pt>
                <c:pt idx="19737">
                  <c:v>0</c:v>
                </c:pt>
                <c:pt idx="19738">
                  <c:v>0</c:v>
                </c:pt>
                <c:pt idx="19739">
                  <c:v>0</c:v>
                </c:pt>
                <c:pt idx="19740">
                  <c:v>0</c:v>
                </c:pt>
                <c:pt idx="19741">
                  <c:v>0</c:v>
                </c:pt>
                <c:pt idx="19742">
                  <c:v>0</c:v>
                </c:pt>
                <c:pt idx="19743">
                  <c:v>0</c:v>
                </c:pt>
                <c:pt idx="19744">
                  <c:v>0</c:v>
                </c:pt>
                <c:pt idx="19745">
                  <c:v>0</c:v>
                </c:pt>
                <c:pt idx="19746">
                  <c:v>0</c:v>
                </c:pt>
                <c:pt idx="19747">
                  <c:v>0</c:v>
                </c:pt>
                <c:pt idx="19748">
                  <c:v>0</c:v>
                </c:pt>
                <c:pt idx="19749">
                  <c:v>0</c:v>
                </c:pt>
                <c:pt idx="19750">
                  <c:v>0</c:v>
                </c:pt>
                <c:pt idx="19751">
                  <c:v>0</c:v>
                </c:pt>
                <c:pt idx="19752">
                  <c:v>0</c:v>
                </c:pt>
                <c:pt idx="19753">
                  <c:v>0</c:v>
                </c:pt>
                <c:pt idx="19754">
                  <c:v>0</c:v>
                </c:pt>
                <c:pt idx="19755">
                  <c:v>0</c:v>
                </c:pt>
                <c:pt idx="19756">
                  <c:v>0</c:v>
                </c:pt>
                <c:pt idx="19757">
                  <c:v>0</c:v>
                </c:pt>
                <c:pt idx="19758">
                  <c:v>0</c:v>
                </c:pt>
                <c:pt idx="19759">
                  <c:v>0</c:v>
                </c:pt>
                <c:pt idx="19760">
                  <c:v>0</c:v>
                </c:pt>
                <c:pt idx="19761">
                  <c:v>0</c:v>
                </c:pt>
                <c:pt idx="19762">
                  <c:v>0</c:v>
                </c:pt>
                <c:pt idx="19763">
                  <c:v>0</c:v>
                </c:pt>
                <c:pt idx="19764">
                  <c:v>0</c:v>
                </c:pt>
                <c:pt idx="19765">
                  <c:v>0</c:v>
                </c:pt>
                <c:pt idx="19766">
                  <c:v>0</c:v>
                </c:pt>
                <c:pt idx="19767">
                  <c:v>0</c:v>
                </c:pt>
                <c:pt idx="19768">
                  <c:v>0</c:v>
                </c:pt>
                <c:pt idx="19769">
                  <c:v>0</c:v>
                </c:pt>
                <c:pt idx="19770">
                  <c:v>0</c:v>
                </c:pt>
                <c:pt idx="19771">
                  <c:v>0</c:v>
                </c:pt>
                <c:pt idx="19772">
                  <c:v>0</c:v>
                </c:pt>
                <c:pt idx="19773">
                  <c:v>0</c:v>
                </c:pt>
                <c:pt idx="19774">
                  <c:v>0</c:v>
                </c:pt>
                <c:pt idx="19775">
                  <c:v>0</c:v>
                </c:pt>
                <c:pt idx="19776">
                  <c:v>0</c:v>
                </c:pt>
                <c:pt idx="19777">
                  <c:v>0</c:v>
                </c:pt>
                <c:pt idx="19778">
                  <c:v>0</c:v>
                </c:pt>
                <c:pt idx="19779">
                  <c:v>0</c:v>
                </c:pt>
                <c:pt idx="19780">
                  <c:v>0</c:v>
                </c:pt>
                <c:pt idx="19781">
                  <c:v>0</c:v>
                </c:pt>
                <c:pt idx="19782">
                  <c:v>0</c:v>
                </c:pt>
                <c:pt idx="19783">
                  <c:v>0</c:v>
                </c:pt>
                <c:pt idx="19784">
                  <c:v>0</c:v>
                </c:pt>
                <c:pt idx="19785">
                  <c:v>0</c:v>
                </c:pt>
                <c:pt idx="19786">
                  <c:v>0</c:v>
                </c:pt>
                <c:pt idx="19787">
                  <c:v>0</c:v>
                </c:pt>
                <c:pt idx="19788">
                  <c:v>0</c:v>
                </c:pt>
                <c:pt idx="19789">
                  <c:v>0</c:v>
                </c:pt>
                <c:pt idx="19790">
                  <c:v>0</c:v>
                </c:pt>
                <c:pt idx="19791">
                  <c:v>0</c:v>
                </c:pt>
                <c:pt idx="19792">
                  <c:v>0</c:v>
                </c:pt>
                <c:pt idx="19793">
                  <c:v>0</c:v>
                </c:pt>
                <c:pt idx="19794">
                  <c:v>0</c:v>
                </c:pt>
                <c:pt idx="19795">
                  <c:v>0</c:v>
                </c:pt>
                <c:pt idx="19796">
                  <c:v>0</c:v>
                </c:pt>
                <c:pt idx="19797">
                  <c:v>0</c:v>
                </c:pt>
                <c:pt idx="19798">
                  <c:v>0</c:v>
                </c:pt>
                <c:pt idx="19799">
                  <c:v>0</c:v>
                </c:pt>
                <c:pt idx="19800">
                  <c:v>0</c:v>
                </c:pt>
                <c:pt idx="19801">
                  <c:v>0</c:v>
                </c:pt>
                <c:pt idx="19802">
                  <c:v>0</c:v>
                </c:pt>
                <c:pt idx="19803">
                  <c:v>0</c:v>
                </c:pt>
                <c:pt idx="19804">
                  <c:v>0</c:v>
                </c:pt>
                <c:pt idx="19805">
                  <c:v>0</c:v>
                </c:pt>
                <c:pt idx="19806">
                  <c:v>0</c:v>
                </c:pt>
                <c:pt idx="19807">
                  <c:v>0</c:v>
                </c:pt>
                <c:pt idx="19808">
                  <c:v>0</c:v>
                </c:pt>
                <c:pt idx="19809">
                  <c:v>0</c:v>
                </c:pt>
                <c:pt idx="19810">
                  <c:v>0</c:v>
                </c:pt>
                <c:pt idx="19811">
                  <c:v>0</c:v>
                </c:pt>
                <c:pt idx="19812">
                  <c:v>0</c:v>
                </c:pt>
                <c:pt idx="19813">
                  <c:v>0</c:v>
                </c:pt>
                <c:pt idx="19814">
                  <c:v>0</c:v>
                </c:pt>
                <c:pt idx="19815">
                  <c:v>0</c:v>
                </c:pt>
                <c:pt idx="19816">
                  <c:v>0</c:v>
                </c:pt>
                <c:pt idx="19817">
                  <c:v>0</c:v>
                </c:pt>
                <c:pt idx="19818">
                  <c:v>0</c:v>
                </c:pt>
                <c:pt idx="19819">
                  <c:v>0</c:v>
                </c:pt>
                <c:pt idx="19820">
                  <c:v>0</c:v>
                </c:pt>
                <c:pt idx="19821">
                  <c:v>0</c:v>
                </c:pt>
                <c:pt idx="19822">
                  <c:v>0</c:v>
                </c:pt>
                <c:pt idx="19823">
                  <c:v>0</c:v>
                </c:pt>
                <c:pt idx="19824">
                  <c:v>0</c:v>
                </c:pt>
                <c:pt idx="19825">
                  <c:v>0</c:v>
                </c:pt>
                <c:pt idx="19826">
                  <c:v>0</c:v>
                </c:pt>
                <c:pt idx="19827">
                  <c:v>0</c:v>
                </c:pt>
                <c:pt idx="19828">
                  <c:v>0</c:v>
                </c:pt>
                <c:pt idx="19829">
                  <c:v>0</c:v>
                </c:pt>
                <c:pt idx="19830">
                  <c:v>0</c:v>
                </c:pt>
                <c:pt idx="19831">
                  <c:v>0</c:v>
                </c:pt>
                <c:pt idx="19832">
                  <c:v>0</c:v>
                </c:pt>
                <c:pt idx="19833">
                  <c:v>0</c:v>
                </c:pt>
                <c:pt idx="19834">
                  <c:v>0</c:v>
                </c:pt>
                <c:pt idx="19835">
                  <c:v>0</c:v>
                </c:pt>
                <c:pt idx="19836">
                  <c:v>0</c:v>
                </c:pt>
                <c:pt idx="19837">
                  <c:v>0</c:v>
                </c:pt>
                <c:pt idx="19838">
                  <c:v>0</c:v>
                </c:pt>
                <c:pt idx="19839">
                  <c:v>0</c:v>
                </c:pt>
                <c:pt idx="19840">
                  <c:v>0</c:v>
                </c:pt>
                <c:pt idx="19841">
                  <c:v>0</c:v>
                </c:pt>
                <c:pt idx="19842">
                  <c:v>0</c:v>
                </c:pt>
                <c:pt idx="19843">
                  <c:v>0</c:v>
                </c:pt>
                <c:pt idx="19844">
                  <c:v>0</c:v>
                </c:pt>
                <c:pt idx="19845">
                  <c:v>0</c:v>
                </c:pt>
                <c:pt idx="19846">
                  <c:v>0</c:v>
                </c:pt>
                <c:pt idx="19847">
                  <c:v>0</c:v>
                </c:pt>
                <c:pt idx="19848">
                  <c:v>0</c:v>
                </c:pt>
                <c:pt idx="19849">
                  <c:v>0</c:v>
                </c:pt>
                <c:pt idx="19850">
                  <c:v>0</c:v>
                </c:pt>
                <c:pt idx="19851">
                  <c:v>0</c:v>
                </c:pt>
                <c:pt idx="19852">
                  <c:v>0</c:v>
                </c:pt>
                <c:pt idx="19853">
                  <c:v>0</c:v>
                </c:pt>
                <c:pt idx="19854">
                  <c:v>0</c:v>
                </c:pt>
                <c:pt idx="19855">
                  <c:v>0</c:v>
                </c:pt>
                <c:pt idx="19856">
                  <c:v>0</c:v>
                </c:pt>
                <c:pt idx="19857">
                  <c:v>0</c:v>
                </c:pt>
                <c:pt idx="19858">
                  <c:v>0</c:v>
                </c:pt>
                <c:pt idx="19859">
                  <c:v>0</c:v>
                </c:pt>
                <c:pt idx="19860">
                  <c:v>0</c:v>
                </c:pt>
                <c:pt idx="19861">
                  <c:v>0</c:v>
                </c:pt>
                <c:pt idx="19862">
                  <c:v>0</c:v>
                </c:pt>
                <c:pt idx="19863">
                  <c:v>0</c:v>
                </c:pt>
                <c:pt idx="19864">
                  <c:v>0</c:v>
                </c:pt>
                <c:pt idx="19865">
                  <c:v>0</c:v>
                </c:pt>
                <c:pt idx="19866">
                  <c:v>0</c:v>
                </c:pt>
                <c:pt idx="19867">
                  <c:v>0</c:v>
                </c:pt>
                <c:pt idx="19868">
                  <c:v>0</c:v>
                </c:pt>
                <c:pt idx="19869">
                  <c:v>0</c:v>
                </c:pt>
                <c:pt idx="19870">
                  <c:v>0</c:v>
                </c:pt>
                <c:pt idx="19871">
                  <c:v>0</c:v>
                </c:pt>
                <c:pt idx="19872">
                  <c:v>0</c:v>
                </c:pt>
                <c:pt idx="19873">
                  <c:v>0</c:v>
                </c:pt>
                <c:pt idx="19874">
                  <c:v>0</c:v>
                </c:pt>
                <c:pt idx="19875">
                  <c:v>0</c:v>
                </c:pt>
                <c:pt idx="19876">
                  <c:v>0</c:v>
                </c:pt>
                <c:pt idx="19877">
                  <c:v>0</c:v>
                </c:pt>
                <c:pt idx="19878">
                  <c:v>0</c:v>
                </c:pt>
                <c:pt idx="19879">
                  <c:v>0</c:v>
                </c:pt>
                <c:pt idx="19880">
                  <c:v>0</c:v>
                </c:pt>
                <c:pt idx="19881">
                  <c:v>0</c:v>
                </c:pt>
                <c:pt idx="19882">
                  <c:v>0</c:v>
                </c:pt>
                <c:pt idx="19883">
                  <c:v>0</c:v>
                </c:pt>
                <c:pt idx="19884">
                  <c:v>0</c:v>
                </c:pt>
                <c:pt idx="19885">
                  <c:v>0</c:v>
                </c:pt>
                <c:pt idx="19886">
                  <c:v>1.5769745649263722</c:v>
                </c:pt>
                <c:pt idx="19887">
                  <c:v>1.570281124497992</c:v>
                </c:pt>
                <c:pt idx="19888">
                  <c:v>1.5327978580990633</c:v>
                </c:pt>
                <c:pt idx="19889">
                  <c:v>1.5140562248995986</c:v>
                </c:pt>
                <c:pt idx="19890">
                  <c:v>1.5140562248995986</c:v>
                </c:pt>
                <c:pt idx="19891">
                  <c:v>1.5167336010709507</c:v>
                </c:pt>
                <c:pt idx="19892">
                  <c:v>1.500669344042838</c:v>
                </c:pt>
                <c:pt idx="19893">
                  <c:v>1.4953145917001338</c:v>
                </c:pt>
                <c:pt idx="19894">
                  <c:v>1.48995983935743</c:v>
                </c:pt>
                <c:pt idx="19895">
                  <c:v>1.4953145917001338</c:v>
                </c:pt>
                <c:pt idx="19896">
                  <c:v>1.4805890227576977</c:v>
                </c:pt>
                <c:pt idx="19897">
                  <c:v>1.4993306559571624</c:v>
                </c:pt>
                <c:pt idx="19898">
                  <c:v>1.5153949129852746</c:v>
                </c:pt>
                <c:pt idx="19899">
                  <c:v>1.5087014725568939</c:v>
                </c:pt>
                <c:pt idx="19900">
                  <c:v>1.4685408299866132</c:v>
                </c:pt>
                <c:pt idx="19901">
                  <c:v>1.4725568942436413</c:v>
                </c:pt>
                <c:pt idx="19902">
                  <c:v>1.4779116465863456</c:v>
                </c:pt>
                <c:pt idx="19903">
                  <c:v>1.4444444444444446</c:v>
                </c:pt>
                <c:pt idx="19904">
                  <c:v>1.4712182061579653</c:v>
                </c:pt>
                <c:pt idx="19905">
                  <c:v>1.4926372155287821</c:v>
                </c:pt>
                <c:pt idx="19906">
                  <c:v>1.5046854082998662</c:v>
                </c:pt>
                <c:pt idx="19907">
                  <c:v>1.5113788487282465</c:v>
                </c:pt>
                <c:pt idx="19908">
                  <c:v>1.5060240963855422</c:v>
                </c:pt>
                <c:pt idx="19909">
                  <c:v>1.4872824631860775</c:v>
                </c:pt>
                <c:pt idx="19910">
                  <c:v>1.4819277108433733</c:v>
                </c:pt>
                <c:pt idx="19911">
                  <c:v>1.4966532797858099</c:v>
                </c:pt>
                <c:pt idx="19912">
                  <c:v>1.5220883534136549</c:v>
                </c:pt>
                <c:pt idx="19913">
                  <c:v>1.5274431057563587</c:v>
                </c:pt>
                <c:pt idx="19914">
                  <c:v>1.5274431057563587</c:v>
                </c:pt>
                <c:pt idx="19915">
                  <c:v>1.5301204819277108</c:v>
                </c:pt>
                <c:pt idx="19916">
                  <c:v>1.5220883534136549</c:v>
                </c:pt>
                <c:pt idx="19917">
                  <c:v>1.5261044176706831</c:v>
                </c:pt>
                <c:pt idx="19918">
                  <c:v>1.4926372155287821</c:v>
                </c:pt>
                <c:pt idx="19919">
                  <c:v>1.5127175368139225</c:v>
                </c:pt>
                <c:pt idx="19920">
                  <c:v>1.5127175368139225</c:v>
                </c:pt>
                <c:pt idx="19921">
                  <c:v>1.5180722891566263</c:v>
                </c:pt>
                <c:pt idx="19922">
                  <c:v>1.5274431057563587</c:v>
                </c:pt>
                <c:pt idx="19923">
                  <c:v>1.4926372155287821</c:v>
                </c:pt>
                <c:pt idx="19924">
                  <c:v>1.4819277108433733</c:v>
                </c:pt>
                <c:pt idx="19925">
                  <c:v>1.4872824631860775</c:v>
                </c:pt>
                <c:pt idx="19926">
                  <c:v>1.4605087014725568</c:v>
                </c:pt>
                <c:pt idx="19927">
                  <c:v>1.4190093708166001</c:v>
                </c:pt>
                <c:pt idx="19928">
                  <c:v>1.4176706827309236</c:v>
                </c:pt>
                <c:pt idx="19929">
                  <c:v>1.4149933065595715</c:v>
                </c:pt>
                <c:pt idx="19930">
                  <c:v>1.4002677376171353</c:v>
                </c:pt>
                <c:pt idx="19931">
                  <c:v>1.4029451137884874</c:v>
                </c:pt>
                <c:pt idx="19932">
                  <c:v>1.4176706827309236</c:v>
                </c:pt>
                <c:pt idx="19933">
                  <c:v>1.4190093708166001</c:v>
                </c:pt>
                <c:pt idx="19934">
                  <c:v>1.3694779116465865</c:v>
                </c:pt>
                <c:pt idx="19935">
                  <c:v>1.3694779116465865</c:v>
                </c:pt>
                <c:pt idx="19936">
                  <c:v>1.3534136546184738</c:v>
                </c:pt>
                <c:pt idx="19937">
                  <c:v>1.3360107095046856</c:v>
                </c:pt>
                <c:pt idx="19938">
                  <c:v>1.3520749665327978</c:v>
                </c:pt>
                <c:pt idx="19939">
                  <c:v>1.3132530120481931</c:v>
                </c:pt>
                <c:pt idx="19940">
                  <c:v>1.2878179384203481</c:v>
                </c:pt>
                <c:pt idx="19941">
                  <c:v>1.295850066934404</c:v>
                </c:pt>
                <c:pt idx="19942">
                  <c:v>1.3319946452476574</c:v>
                </c:pt>
                <c:pt idx="19943">
                  <c:v>1.3266398929049532</c:v>
                </c:pt>
                <c:pt idx="19944">
                  <c:v>1.3413654618473894</c:v>
                </c:pt>
                <c:pt idx="19945">
                  <c:v>1.321285140562249</c:v>
                </c:pt>
                <c:pt idx="19946">
                  <c:v>1.3012048192771086</c:v>
                </c:pt>
                <c:pt idx="19947">
                  <c:v>1.3119143239625166</c:v>
                </c:pt>
                <c:pt idx="19948">
                  <c:v>1.2878179384203481</c:v>
                </c:pt>
                <c:pt idx="19949">
                  <c:v>1.3038821954484607</c:v>
                </c:pt>
                <c:pt idx="19950">
                  <c:v>1.3132530120481931</c:v>
                </c:pt>
                <c:pt idx="19951">
                  <c:v>1.295850066934404</c:v>
                </c:pt>
                <c:pt idx="19952">
                  <c:v>1.250334672021419</c:v>
                </c:pt>
                <c:pt idx="19953">
                  <c:v>1.2637215528781796</c:v>
                </c:pt>
                <c:pt idx="19954">
                  <c:v>1.2637215528781796</c:v>
                </c:pt>
                <c:pt idx="19955">
                  <c:v>1.3721552878179382</c:v>
                </c:pt>
                <c:pt idx="19956">
                  <c:v>1.3253012048192772</c:v>
                </c:pt>
                <c:pt idx="19957">
                  <c:v>1.3694779116465865</c:v>
                </c:pt>
                <c:pt idx="19958">
                  <c:v>1.4605087014725568</c:v>
                </c:pt>
                <c:pt idx="19959">
                  <c:v>1.4685408299866132</c:v>
                </c:pt>
                <c:pt idx="19960">
                  <c:v>1.4216867469879517</c:v>
                </c:pt>
                <c:pt idx="19961">
                  <c:v>1.4069611780455156</c:v>
                </c:pt>
                <c:pt idx="19962">
                  <c:v>1.4069611780455156</c:v>
                </c:pt>
                <c:pt idx="19963">
                  <c:v>1.4417670682730921</c:v>
                </c:pt>
                <c:pt idx="19964">
                  <c:v>1.4832663989290498</c:v>
                </c:pt>
                <c:pt idx="19965">
                  <c:v>1.4859437751004019</c:v>
                </c:pt>
                <c:pt idx="19966">
                  <c:v>1.4859437751004019</c:v>
                </c:pt>
                <c:pt idx="19967">
                  <c:v>1.5033467202141901</c:v>
                </c:pt>
                <c:pt idx="19968">
                  <c:v>1.4926372155287821</c:v>
                </c:pt>
                <c:pt idx="19969">
                  <c:v>1.4953145917001338</c:v>
                </c:pt>
                <c:pt idx="19970">
                  <c:v>1.4859437751004019</c:v>
                </c:pt>
                <c:pt idx="19971">
                  <c:v>1.4846050870147254</c:v>
                </c:pt>
                <c:pt idx="19972">
                  <c:v>1.4993306559571624</c:v>
                </c:pt>
                <c:pt idx="19973">
                  <c:v>1.4926372155287821</c:v>
                </c:pt>
                <c:pt idx="19974">
                  <c:v>1.4216867469879517</c:v>
                </c:pt>
                <c:pt idx="19975">
                  <c:v>1.4257028112449803</c:v>
                </c:pt>
                <c:pt idx="19976">
                  <c:v>1.4190093708166001</c:v>
                </c:pt>
                <c:pt idx="19977">
                  <c:v>1.3908969210174029</c:v>
                </c:pt>
                <c:pt idx="19978">
                  <c:v>1.3748326639892903</c:v>
                </c:pt>
                <c:pt idx="19979">
                  <c:v>1.4497991967871489</c:v>
                </c:pt>
                <c:pt idx="19980">
                  <c:v>1.4551539491298526</c:v>
                </c:pt>
                <c:pt idx="19981">
                  <c:v>1.4605087014725568</c:v>
                </c:pt>
                <c:pt idx="19982">
                  <c:v>1.4578313253012047</c:v>
                </c:pt>
                <c:pt idx="19983">
                  <c:v>1.4538152610441766</c:v>
                </c:pt>
                <c:pt idx="19984">
                  <c:v>1.4270414993306559</c:v>
                </c:pt>
                <c:pt idx="19985">
                  <c:v>1.4190093708166001</c:v>
                </c:pt>
                <c:pt idx="19986">
                  <c:v>1.4029451137884874</c:v>
                </c:pt>
                <c:pt idx="19987">
                  <c:v>1.3681392235609104</c:v>
                </c:pt>
                <c:pt idx="19988">
                  <c:v>1.3172690763052208</c:v>
                </c:pt>
                <c:pt idx="19989">
                  <c:v>1.3065595716198128</c:v>
                </c:pt>
                <c:pt idx="19990">
                  <c:v>1.3119143239625166</c:v>
                </c:pt>
                <c:pt idx="19991">
                  <c:v>1.309236947791165</c:v>
                </c:pt>
                <c:pt idx="19992">
                  <c:v>1.309236947791165</c:v>
                </c:pt>
                <c:pt idx="19993">
                  <c:v>1.3239625167336011</c:v>
                </c:pt>
                <c:pt idx="19994">
                  <c:v>1.3172690763052208</c:v>
                </c:pt>
                <c:pt idx="19995">
                  <c:v>1.3132530120481931</c:v>
                </c:pt>
                <c:pt idx="19996">
                  <c:v>1.3306559571619814</c:v>
                </c:pt>
                <c:pt idx="19997">
                  <c:v>1.3306559571619814</c:v>
                </c:pt>
                <c:pt idx="19998">
                  <c:v>1.3306559571619814</c:v>
                </c:pt>
                <c:pt idx="19999">
                  <c:v>1.2730923694779119</c:v>
                </c:pt>
                <c:pt idx="20000">
                  <c:v>1.2744310575635875</c:v>
                </c:pt>
                <c:pt idx="20001">
                  <c:v>1.2891566265060246</c:v>
                </c:pt>
                <c:pt idx="20002">
                  <c:v>1.2891566265060246</c:v>
                </c:pt>
                <c:pt idx="20003">
                  <c:v>1.2677376171352077</c:v>
                </c:pt>
                <c:pt idx="20004">
                  <c:v>1.3172690763052208</c:v>
                </c:pt>
                <c:pt idx="20005">
                  <c:v>1.3145917001338687</c:v>
                </c:pt>
                <c:pt idx="20006">
                  <c:v>1.3253012048192772</c:v>
                </c:pt>
                <c:pt idx="20007">
                  <c:v>1.3614457831325302</c:v>
                </c:pt>
                <c:pt idx="20008">
                  <c:v>1.3668005354752344</c:v>
                </c:pt>
                <c:pt idx="20009">
                  <c:v>1.3480589022757696</c:v>
                </c:pt>
                <c:pt idx="20010">
                  <c:v>1.3427041499330659</c:v>
                </c:pt>
                <c:pt idx="20011">
                  <c:v>1.3306559571619814</c:v>
                </c:pt>
                <c:pt idx="20012">
                  <c:v>1.3319946452476574</c:v>
                </c:pt>
                <c:pt idx="20013">
                  <c:v>1.3346720214190095</c:v>
                </c:pt>
                <c:pt idx="20014">
                  <c:v>1.3012048192771086</c:v>
                </c:pt>
                <c:pt idx="20015">
                  <c:v>1.2797858099062922</c:v>
                </c:pt>
                <c:pt idx="20016">
                  <c:v>1.2838018741633199</c:v>
                </c:pt>
                <c:pt idx="20017">
                  <c:v>1.295850066934404</c:v>
                </c:pt>
                <c:pt idx="20018">
                  <c:v>1.2677376171352077</c:v>
                </c:pt>
                <c:pt idx="20019">
                  <c:v>1.2556894243641232</c:v>
                </c:pt>
                <c:pt idx="20020">
                  <c:v>1.2556894243641232</c:v>
                </c:pt>
                <c:pt idx="20021">
                  <c:v>1.2784471218206157</c:v>
                </c:pt>
                <c:pt idx="20022">
                  <c:v>1.3119143239625166</c:v>
                </c:pt>
                <c:pt idx="20023">
                  <c:v>1.3012048192771086</c:v>
                </c:pt>
                <c:pt idx="20024">
                  <c:v>1.3038821954484607</c:v>
                </c:pt>
                <c:pt idx="20025">
                  <c:v>1.286479250334672</c:v>
                </c:pt>
                <c:pt idx="20026">
                  <c:v>1.2690763052208833</c:v>
                </c:pt>
                <c:pt idx="20027">
                  <c:v>1.2811244979919678</c:v>
                </c:pt>
                <c:pt idx="20028">
                  <c:v>1.2811244979919678</c:v>
                </c:pt>
                <c:pt idx="20029">
                  <c:v>1.2891566265060246</c:v>
                </c:pt>
                <c:pt idx="20030">
                  <c:v>1.286479250334672</c:v>
                </c:pt>
                <c:pt idx="20031">
                  <c:v>1.2945113788487284</c:v>
                </c:pt>
                <c:pt idx="20032">
                  <c:v>1.2945113788487284</c:v>
                </c:pt>
                <c:pt idx="20033">
                  <c:v>1.2677376171352077</c:v>
                </c:pt>
                <c:pt idx="20034">
                  <c:v>1.2570281124497993</c:v>
                </c:pt>
                <c:pt idx="20035">
                  <c:v>1.2583668005354753</c:v>
                </c:pt>
                <c:pt idx="20036">
                  <c:v>1.2289156626506021</c:v>
                </c:pt>
                <c:pt idx="20037">
                  <c:v>1.1927710843373491</c:v>
                </c:pt>
                <c:pt idx="20038">
                  <c:v>1.1900937081659975</c:v>
                </c:pt>
                <c:pt idx="20039">
                  <c:v>1.2074966532797857</c:v>
                </c:pt>
                <c:pt idx="20040">
                  <c:v>1.1967871485943777</c:v>
                </c:pt>
                <c:pt idx="20041">
                  <c:v>1.1860776439089689</c:v>
                </c:pt>
                <c:pt idx="20042">
                  <c:v>1.2195448460508702</c:v>
                </c:pt>
                <c:pt idx="20043">
                  <c:v>1.2369477911646589</c:v>
                </c:pt>
                <c:pt idx="20044">
                  <c:v>1.2208835341365463</c:v>
                </c:pt>
                <c:pt idx="20045">
                  <c:v>1.2382864792503345</c:v>
                </c:pt>
                <c:pt idx="20046">
                  <c:v>1.2302543507362786</c:v>
                </c:pt>
                <c:pt idx="20047">
                  <c:v>1.2208835341365463</c:v>
                </c:pt>
                <c:pt idx="20048">
                  <c:v>1.2208835341365463</c:v>
                </c:pt>
                <c:pt idx="20049">
                  <c:v>1.2208835341365463</c:v>
                </c:pt>
                <c:pt idx="20050">
                  <c:v>1.2195448460508702</c:v>
                </c:pt>
                <c:pt idx="20051">
                  <c:v>1.2222222222222223</c:v>
                </c:pt>
                <c:pt idx="20052">
                  <c:v>1.214190093708166</c:v>
                </c:pt>
                <c:pt idx="20053">
                  <c:v>1.2088353413654618</c:v>
                </c:pt>
                <c:pt idx="20054">
                  <c:v>1.1927710843373491</c:v>
                </c:pt>
                <c:pt idx="20055">
                  <c:v>1.1820615796519411</c:v>
                </c:pt>
                <c:pt idx="20056">
                  <c:v>1.1820615796519411</c:v>
                </c:pt>
                <c:pt idx="20057">
                  <c:v>1.1860776439089689</c:v>
                </c:pt>
                <c:pt idx="20058">
                  <c:v>1.1860776439089689</c:v>
                </c:pt>
                <c:pt idx="20059">
                  <c:v>1.1485943775100402</c:v>
                </c:pt>
                <c:pt idx="20060">
                  <c:v>1.1231593038821956</c:v>
                </c:pt>
                <c:pt idx="20061">
                  <c:v>1.1311914323962515</c:v>
                </c:pt>
                <c:pt idx="20062">
                  <c:v>1.1325301204819276</c:v>
                </c:pt>
                <c:pt idx="20063">
                  <c:v>1.1298527443105759</c:v>
                </c:pt>
                <c:pt idx="20064">
                  <c:v>1.1352074966532797</c:v>
                </c:pt>
                <c:pt idx="20065">
                  <c:v>1.1459170013386881</c:v>
                </c:pt>
                <c:pt idx="20066">
                  <c:v>1.1378848728246318</c:v>
                </c:pt>
                <c:pt idx="20067">
                  <c:v>1.1178045515394914</c:v>
                </c:pt>
                <c:pt idx="20068">
                  <c:v>1.0763052208835342</c:v>
                </c:pt>
                <c:pt idx="20069">
                  <c:v>1.1231593038821956</c:v>
                </c:pt>
                <c:pt idx="20070">
                  <c:v>1.1352074966532797</c:v>
                </c:pt>
                <c:pt idx="20071">
                  <c:v>1.1352074966532797</c:v>
                </c:pt>
                <c:pt idx="20072">
                  <c:v>1.1258366800535478</c:v>
                </c:pt>
                <c:pt idx="20073">
                  <c:v>1.1124497991967872</c:v>
                </c:pt>
                <c:pt idx="20074">
                  <c:v>1.1057563587684069</c:v>
                </c:pt>
                <c:pt idx="20075">
                  <c:v>1.107095046854083</c:v>
                </c:pt>
                <c:pt idx="20076">
                  <c:v>1.0789825970548863</c:v>
                </c:pt>
                <c:pt idx="20077">
                  <c:v>1.0763052208835342</c:v>
                </c:pt>
                <c:pt idx="20078">
                  <c:v>1.0763052208835342</c:v>
                </c:pt>
                <c:pt idx="20079">
                  <c:v>1.0763052208835342</c:v>
                </c:pt>
                <c:pt idx="20080">
                  <c:v>1.0548862115127178</c:v>
                </c:pt>
                <c:pt idx="20081">
                  <c:v>1.0481927710843375</c:v>
                </c:pt>
                <c:pt idx="20082">
                  <c:v>1.0508701472556896</c:v>
                </c:pt>
                <c:pt idx="20083">
                  <c:v>1.0441767068273093</c:v>
                </c:pt>
                <c:pt idx="20084">
                  <c:v>1.0147255689424366</c:v>
                </c:pt>
                <c:pt idx="20085">
                  <c:v>0.98795180722891573</c:v>
                </c:pt>
                <c:pt idx="20086">
                  <c:v>0.94912985274431061</c:v>
                </c:pt>
                <c:pt idx="20087">
                  <c:v>0.93574297188755029</c:v>
                </c:pt>
                <c:pt idx="20088">
                  <c:v>0.92771084337349419</c:v>
                </c:pt>
                <c:pt idx="20089">
                  <c:v>0.95716198125836671</c:v>
                </c:pt>
                <c:pt idx="20090">
                  <c:v>0.95716198125836671</c:v>
                </c:pt>
                <c:pt idx="20091">
                  <c:v>0.95716198125836671</c:v>
                </c:pt>
                <c:pt idx="20092">
                  <c:v>0.96787148594377514</c:v>
                </c:pt>
                <c:pt idx="20093">
                  <c:v>0.95582329317269066</c:v>
                </c:pt>
                <c:pt idx="20094">
                  <c:v>0.97858099062918336</c:v>
                </c:pt>
                <c:pt idx="20095">
                  <c:v>0.97991967871485941</c:v>
                </c:pt>
                <c:pt idx="20096">
                  <c:v>0.94779116465863478</c:v>
                </c:pt>
                <c:pt idx="20097">
                  <c:v>0.94377510040160639</c:v>
                </c:pt>
                <c:pt idx="20098">
                  <c:v>0.97054886211512725</c:v>
                </c:pt>
                <c:pt idx="20099">
                  <c:v>0.96519410977242304</c:v>
                </c:pt>
                <c:pt idx="20100">
                  <c:v>0.95716198125836671</c:v>
                </c:pt>
                <c:pt idx="20101">
                  <c:v>0.96519410977242304</c:v>
                </c:pt>
                <c:pt idx="20102">
                  <c:v>0.96251673360107093</c:v>
                </c:pt>
                <c:pt idx="20103">
                  <c:v>0.95448460508701483</c:v>
                </c:pt>
                <c:pt idx="20104">
                  <c:v>0.93440428380187424</c:v>
                </c:pt>
                <c:pt idx="20105">
                  <c:v>0.92503346720214208</c:v>
                </c:pt>
                <c:pt idx="20106">
                  <c:v>0.96519410977242304</c:v>
                </c:pt>
                <c:pt idx="20107">
                  <c:v>0.9464524765729585</c:v>
                </c:pt>
                <c:pt idx="20108">
                  <c:v>0.94243641231593034</c:v>
                </c:pt>
                <c:pt idx="20109">
                  <c:v>0.96251673360107093</c:v>
                </c:pt>
                <c:pt idx="20110">
                  <c:v>0.96251673360107093</c:v>
                </c:pt>
                <c:pt idx="20111">
                  <c:v>0.94912985274431061</c:v>
                </c:pt>
                <c:pt idx="20112">
                  <c:v>0.95582329317269066</c:v>
                </c:pt>
                <c:pt idx="20113">
                  <c:v>1</c:v>
                </c:pt>
                <c:pt idx="20114">
                  <c:v>1.0147255689424366</c:v>
                </c:pt>
                <c:pt idx="20115">
                  <c:v>1.0200803212851408</c:v>
                </c:pt>
                <c:pt idx="20116">
                  <c:v>1.0147255689424366</c:v>
                </c:pt>
                <c:pt idx="20117">
                  <c:v>1.0214190093708164</c:v>
                </c:pt>
                <c:pt idx="20118">
                  <c:v>1.0133868808567605</c:v>
                </c:pt>
                <c:pt idx="20119">
                  <c:v>0.99598393574297206</c:v>
                </c:pt>
                <c:pt idx="20120">
                  <c:v>0.98929049531459179</c:v>
                </c:pt>
                <c:pt idx="20121">
                  <c:v>0.98929049531459179</c:v>
                </c:pt>
                <c:pt idx="20122">
                  <c:v>1.0120481927710845</c:v>
                </c:pt>
                <c:pt idx="20123">
                  <c:v>1.0120481927710845</c:v>
                </c:pt>
                <c:pt idx="20124">
                  <c:v>0.99062918340026762</c:v>
                </c:pt>
                <c:pt idx="20125">
                  <c:v>1.0133868808567605</c:v>
                </c:pt>
                <c:pt idx="20126">
                  <c:v>1.0548862115127178</c:v>
                </c:pt>
                <c:pt idx="20127">
                  <c:v>1.0575635876840694</c:v>
                </c:pt>
                <c:pt idx="20128">
                  <c:v>1.0548862115127178</c:v>
                </c:pt>
                <c:pt idx="20129">
                  <c:v>1.0455153949129854</c:v>
                </c:pt>
                <c:pt idx="20130">
                  <c:v>1.0428380187416333</c:v>
                </c:pt>
                <c:pt idx="20131">
                  <c:v>1.0321285140562249</c:v>
                </c:pt>
                <c:pt idx="20132">
                  <c:v>1.0227576974564925</c:v>
                </c:pt>
                <c:pt idx="20133">
                  <c:v>1.0200803212851408</c:v>
                </c:pt>
                <c:pt idx="20134">
                  <c:v>1.0214190093708164</c:v>
                </c:pt>
                <c:pt idx="20135">
                  <c:v>1.0147255689424366</c:v>
                </c:pt>
                <c:pt idx="20136">
                  <c:v>1.0066934404283803</c:v>
                </c:pt>
                <c:pt idx="20137">
                  <c:v>0.99732262382864789</c:v>
                </c:pt>
                <c:pt idx="20138">
                  <c:v>0.99330655957161995</c:v>
                </c:pt>
                <c:pt idx="20139">
                  <c:v>0.99866131191432395</c:v>
                </c:pt>
                <c:pt idx="20140">
                  <c:v>1.0040160642570282</c:v>
                </c:pt>
                <c:pt idx="20141">
                  <c:v>1.0026773761713521</c:v>
                </c:pt>
                <c:pt idx="20142">
                  <c:v>1.0120481927710845</c:v>
                </c:pt>
                <c:pt idx="20143">
                  <c:v>1.0147255689424366</c:v>
                </c:pt>
                <c:pt idx="20144">
                  <c:v>1.0120481927710845</c:v>
                </c:pt>
                <c:pt idx="20145">
                  <c:v>1.0093708165997324</c:v>
                </c:pt>
                <c:pt idx="20146">
                  <c:v>1.0093708165997324</c:v>
                </c:pt>
                <c:pt idx="20147">
                  <c:v>1.0227576974564925</c:v>
                </c:pt>
                <c:pt idx="20148">
                  <c:v>1.0120481927710845</c:v>
                </c:pt>
                <c:pt idx="20149">
                  <c:v>0.97991967871485941</c:v>
                </c:pt>
                <c:pt idx="20150">
                  <c:v>0.96787148594377514</c:v>
                </c:pt>
                <c:pt idx="20151">
                  <c:v>0.96787148594377514</c:v>
                </c:pt>
                <c:pt idx="20152">
                  <c:v>0.98259705488621174</c:v>
                </c:pt>
                <c:pt idx="20153">
                  <c:v>0.98393574297188757</c:v>
                </c:pt>
                <c:pt idx="20154">
                  <c:v>0.99062918340026762</c:v>
                </c:pt>
                <c:pt idx="20155">
                  <c:v>0.9772423025435073</c:v>
                </c:pt>
                <c:pt idx="20156">
                  <c:v>0.96653279785809909</c:v>
                </c:pt>
                <c:pt idx="20157">
                  <c:v>0.96519410977242304</c:v>
                </c:pt>
                <c:pt idx="20158">
                  <c:v>0.95850066934404299</c:v>
                </c:pt>
                <c:pt idx="20159">
                  <c:v>0.95716198125836671</c:v>
                </c:pt>
                <c:pt idx="20160">
                  <c:v>0.95716198125836671</c:v>
                </c:pt>
                <c:pt idx="20161">
                  <c:v>0.98259705488621174</c:v>
                </c:pt>
                <c:pt idx="20162">
                  <c:v>1.0026773761713521</c:v>
                </c:pt>
                <c:pt idx="20163">
                  <c:v>0.99866131191432395</c:v>
                </c:pt>
                <c:pt idx="20164">
                  <c:v>0.99732262382864789</c:v>
                </c:pt>
                <c:pt idx="20165">
                  <c:v>0.99062918340026762</c:v>
                </c:pt>
                <c:pt idx="20166">
                  <c:v>0.9772423025435073</c:v>
                </c:pt>
                <c:pt idx="20167">
                  <c:v>0.97991967871485941</c:v>
                </c:pt>
                <c:pt idx="20168">
                  <c:v>0.98661311914323968</c:v>
                </c:pt>
                <c:pt idx="20169">
                  <c:v>0.96787148594377514</c:v>
                </c:pt>
                <c:pt idx="20170">
                  <c:v>0.95983935742971904</c:v>
                </c:pt>
                <c:pt idx="20171">
                  <c:v>0.96385542168674698</c:v>
                </c:pt>
                <c:pt idx="20172">
                  <c:v>0.96787148594377514</c:v>
                </c:pt>
                <c:pt idx="20173">
                  <c:v>0.95850066934404299</c:v>
                </c:pt>
                <c:pt idx="20174">
                  <c:v>0.93975903614457845</c:v>
                </c:pt>
                <c:pt idx="20175">
                  <c:v>0.94243641231593034</c:v>
                </c:pt>
                <c:pt idx="20176">
                  <c:v>0.9611780455153951</c:v>
                </c:pt>
                <c:pt idx="20177">
                  <c:v>0.94243641231593034</c:v>
                </c:pt>
                <c:pt idx="20178">
                  <c:v>0.93975903614457845</c:v>
                </c:pt>
                <c:pt idx="20179">
                  <c:v>0.9009370816599731</c:v>
                </c:pt>
                <c:pt idx="20180">
                  <c:v>0.88085676037483274</c:v>
                </c:pt>
                <c:pt idx="20181">
                  <c:v>0.88219544846050879</c:v>
                </c:pt>
                <c:pt idx="20182">
                  <c:v>0.85542168674698793</c:v>
                </c:pt>
                <c:pt idx="20183">
                  <c:v>0.84872824631860788</c:v>
                </c:pt>
                <c:pt idx="20184">
                  <c:v>0.84337349397590367</c:v>
                </c:pt>
                <c:pt idx="20185">
                  <c:v>0.82998661311914335</c:v>
                </c:pt>
                <c:pt idx="20186">
                  <c:v>0.84337349397590367</c:v>
                </c:pt>
                <c:pt idx="20187">
                  <c:v>0.84605087014725555</c:v>
                </c:pt>
                <c:pt idx="20188">
                  <c:v>0.84337349397590367</c:v>
                </c:pt>
                <c:pt idx="20189">
                  <c:v>0.84337349397590367</c:v>
                </c:pt>
                <c:pt idx="20190">
                  <c:v>0.82195448460508702</c:v>
                </c:pt>
                <c:pt idx="20191">
                  <c:v>0.81793842034805908</c:v>
                </c:pt>
                <c:pt idx="20192">
                  <c:v>0.80321285140562271</c:v>
                </c:pt>
                <c:pt idx="20193">
                  <c:v>0.79250334672021427</c:v>
                </c:pt>
                <c:pt idx="20194">
                  <c:v>0.8393574297188755</c:v>
                </c:pt>
                <c:pt idx="20195">
                  <c:v>0.8313253012048194</c:v>
                </c:pt>
                <c:pt idx="20196">
                  <c:v>0.83266398929049523</c:v>
                </c:pt>
                <c:pt idx="20197">
                  <c:v>0.85006693440428394</c:v>
                </c:pt>
                <c:pt idx="20198">
                  <c:v>0.87550200803212852</c:v>
                </c:pt>
                <c:pt idx="20199">
                  <c:v>0.88621151271753695</c:v>
                </c:pt>
                <c:pt idx="20200">
                  <c:v>0.88353413654618485</c:v>
                </c:pt>
                <c:pt idx="20201">
                  <c:v>0.87550200803212852</c:v>
                </c:pt>
                <c:pt idx="20202">
                  <c:v>0.87282463186077663</c:v>
                </c:pt>
                <c:pt idx="20203">
                  <c:v>0.87282463186077663</c:v>
                </c:pt>
                <c:pt idx="20204">
                  <c:v>0.85006693440428394</c:v>
                </c:pt>
                <c:pt idx="20205">
                  <c:v>0.89022757697456489</c:v>
                </c:pt>
                <c:pt idx="20206">
                  <c:v>0.92503346720214208</c:v>
                </c:pt>
                <c:pt idx="20207">
                  <c:v>0.9236947791164658</c:v>
                </c:pt>
                <c:pt idx="20208">
                  <c:v>0.91432396251673387</c:v>
                </c:pt>
                <c:pt idx="20209">
                  <c:v>0.90495314591700149</c:v>
                </c:pt>
                <c:pt idx="20210">
                  <c:v>0.91700133868808575</c:v>
                </c:pt>
                <c:pt idx="20211">
                  <c:v>0.91432396251673387</c:v>
                </c:pt>
                <c:pt idx="20212">
                  <c:v>0.9009370816599731</c:v>
                </c:pt>
                <c:pt idx="20213">
                  <c:v>0.88621151271753695</c:v>
                </c:pt>
                <c:pt idx="20214">
                  <c:v>0.89558232931726911</c:v>
                </c:pt>
                <c:pt idx="20215">
                  <c:v>0.89558232931726911</c:v>
                </c:pt>
                <c:pt idx="20216">
                  <c:v>0.89959839357429727</c:v>
                </c:pt>
                <c:pt idx="20217">
                  <c:v>0.90227576974564938</c:v>
                </c:pt>
                <c:pt idx="20218">
                  <c:v>0.89558232931726911</c:v>
                </c:pt>
                <c:pt idx="20219">
                  <c:v>0.88085676037483274</c:v>
                </c:pt>
                <c:pt idx="20220">
                  <c:v>0.88353413654618485</c:v>
                </c:pt>
                <c:pt idx="20221">
                  <c:v>0.87014725568942453</c:v>
                </c:pt>
                <c:pt idx="20222">
                  <c:v>0.86077643908969215</c:v>
                </c:pt>
                <c:pt idx="20223">
                  <c:v>0.86077643908969215</c:v>
                </c:pt>
                <c:pt idx="20224">
                  <c:v>0.8313253012048194</c:v>
                </c:pt>
                <c:pt idx="20225">
                  <c:v>0.84203480589022761</c:v>
                </c:pt>
                <c:pt idx="20226">
                  <c:v>0.84203480589022761</c:v>
                </c:pt>
                <c:pt idx="20227">
                  <c:v>0.83801874163319967</c:v>
                </c:pt>
                <c:pt idx="20228">
                  <c:v>0.83400267737617129</c:v>
                </c:pt>
                <c:pt idx="20229">
                  <c:v>0.82061579651941097</c:v>
                </c:pt>
                <c:pt idx="20230">
                  <c:v>0.80722891566265065</c:v>
                </c:pt>
                <c:pt idx="20231">
                  <c:v>0.80321285140562271</c:v>
                </c:pt>
                <c:pt idx="20232">
                  <c:v>0.80187416331994665</c:v>
                </c:pt>
                <c:pt idx="20233">
                  <c:v>0.81258366800535464</c:v>
                </c:pt>
                <c:pt idx="20234">
                  <c:v>0.80187416331994665</c:v>
                </c:pt>
                <c:pt idx="20235">
                  <c:v>0.78447121820615795</c:v>
                </c:pt>
                <c:pt idx="20236">
                  <c:v>0.77376171352074974</c:v>
                </c:pt>
                <c:pt idx="20237">
                  <c:v>0.76840696117804574</c:v>
                </c:pt>
                <c:pt idx="20238">
                  <c:v>0.78045515394913001</c:v>
                </c:pt>
                <c:pt idx="20239">
                  <c:v>0.79919678714859432</c:v>
                </c:pt>
                <c:pt idx="20240">
                  <c:v>0.81659973226238303</c:v>
                </c:pt>
                <c:pt idx="20241">
                  <c:v>0.82463186077643935</c:v>
                </c:pt>
                <c:pt idx="20242">
                  <c:v>0.81258366800535464</c:v>
                </c:pt>
                <c:pt idx="20243">
                  <c:v>0.81392235609103092</c:v>
                </c:pt>
                <c:pt idx="20244">
                  <c:v>0.82597054886211518</c:v>
                </c:pt>
                <c:pt idx="20245">
                  <c:v>0.8313253012048194</c:v>
                </c:pt>
                <c:pt idx="20246">
                  <c:v>0.83266398929049523</c:v>
                </c:pt>
                <c:pt idx="20247">
                  <c:v>0.81927710843373491</c:v>
                </c:pt>
                <c:pt idx="20248">
                  <c:v>0.81793842034805908</c:v>
                </c:pt>
                <c:pt idx="20249">
                  <c:v>0.80187416331994665</c:v>
                </c:pt>
                <c:pt idx="20250">
                  <c:v>0.80589022757697459</c:v>
                </c:pt>
                <c:pt idx="20251">
                  <c:v>0.80321285140562271</c:v>
                </c:pt>
                <c:pt idx="20252">
                  <c:v>0.78447121820615795</c:v>
                </c:pt>
                <c:pt idx="20253">
                  <c:v>0.78447121820615795</c:v>
                </c:pt>
                <c:pt idx="20254">
                  <c:v>0.77777777777777768</c:v>
                </c:pt>
                <c:pt idx="20255">
                  <c:v>0.75368139223560915</c:v>
                </c:pt>
                <c:pt idx="20256">
                  <c:v>0.73627844712182067</c:v>
                </c:pt>
                <c:pt idx="20257">
                  <c:v>0.74431057563587677</c:v>
                </c:pt>
                <c:pt idx="20258">
                  <c:v>0.74431057563587677</c:v>
                </c:pt>
                <c:pt idx="20259">
                  <c:v>0.75635876840696104</c:v>
                </c:pt>
                <c:pt idx="20260">
                  <c:v>0.7550200803212852</c:v>
                </c:pt>
                <c:pt idx="20261">
                  <c:v>0.75903614457831337</c:v>
                </c:pt>
                <c:pt idx="20262">
                  <c:v>0.77108433734939763</c:v>
                </c:pt>
                <c:pt idx="20263">
                  <c:v>0.76572958500669341</c:v>
                </c:pt>
                <c:pt idx="20264">
                  <c:v>0.77643908969210185</c:v>
                </c:pt>
                <c:pt idx="20265">
                  <c:v>0.75903614457831337</c:v>
                </c:pt>
                <c:pt idx="20266">
                  <c:v>0.75368139223560915</c:v>
                </c:pt>
                <c:pt idx="20267">
                  <c:v>0.75903614457831337</c:v>
                </c:pt>
                <c:pt idx="20268">
                  <c:v>0.76305220883534131</c:v>
                </c:pt>
                <c:pt idx="20269">
                  <c:v>0.75234270414993309</c:v>
                </c:pt>
                <c:pt idx="20270">
                  <c:v>0.73895582329317278</c:v>
                </c:pt>
                <c:pt idx="20271">
                  <c:v>0.73493975903614484</c:v>
                </c:pt>
                <c:pt idx="20272">
                  <c:v>0.73493975903614484</c:v>
                </c:pt>
                <c:pt idx="20273">
                  <c:v>0.72824631860776456</c:v>
                </c:pt>
                <c:pt idx="20274">
                  <c:v>0.71352074966532819</c:v>
                </c:pt>
                <c:pt idx="20275">
                  <c:v>0.71753681392235613</c:v>
                </c:pt>
                <c:pt idx="20276">
                  <c:v>0.72021419009370824</c:v>
                </c:pt>
                <c:pt idx="20277">
                  <c:v>0.71084337349397586</c:v>
                </c:pt>
                <c:pt idx="20278">
                  <c:v>0.71218206157965191</c:v>
                </c:pt>
                <c:pt idx="20279">
                  <c:v>0.70682730923694792</c:v>
                </c:pt>
                <c:pt idx="20280">
                  <c:v>0.70682730923694792</c:v>
                </c:pt>
                <c:pt idx="20281">
                  <c:v>0.71619812583668008</c:v>
                </c:pt>
                <c:pt idx="20282">
                  <c:v>0.71485943775100425</c:v>
                </c:pt>
                <c:pt idx="20283">
                  <c:v>0.70281124497991976</c:v>
                </c:pt>
                <c:pt idx="20284">
                  <c:v>0.69611780455153949</c:v>
                </c:pt>
                <c:pt idx="20285">
                  <c:v>0.6987951807228916</c:v>
                </c:pt>
                <c:pt idx="20286">
                  <c:v>0.69745649263721554</c:v>
                </c:pt>
                <c:pt idx="20287">
                  <c:v>0.7014725568942437</c:v>
                </c:pt>
                <c:pt idx="20288">
                  <c:v>0.72289156626506013</c:v>
                </c:pt>
                <c:pt idx="20289">
                  <c:v>0.73761713520749672</c:v>
                </c:pt>
                <c:pt idx="20290">
                  <c:v>0.73627844712182067</c:v>
                </c:pt>
                <c:pt idx="20291">
                  <c:v>0.7322623828647925</c:v>
                </c:pt>
                <c:pt idx="20292">
                  <c:v>0.7322623828647925</c:v>
                </c:pt>
                <c:pt idx="20293">
                  <c:v>0.73493975903614484</c:v>
                </c:pt>
                <c:pt idx="20294">
                  <c:v>0.72556894243641246</c:v>
                </c:pt>
                <c:pt idx="20295">
                  <c:v>0.72690763052208851</c:v>
                </c:pt>
                <c:pt idx="20296">
                  <c:v>0.71753681392235613</c:v>
                </c:pt>
                <c:pt idx="20297">
                  <c:v>0.71084337349397586</c:v>
                </c:pt>
                <c:pt idx="20298">
                  <c:v>0.70816599732262375</c:v>
                </c:pt>
                <c:pt idx="20299">
                  <c:v>0.70682730923694792</c:v>
                </c:pt>
                <c:pt idx="20300">
                  <c:v>0.70414993306559581</c:v>
                </c:pt>
                <c:pt idx="20301">
                  <c:v>0.71753681392235613</c:v>
                </c:pt>
                <c:pt idx="20302">
                  <c:v>0.71753681392235613</c:v>
                </c:pt>
                <c:pt idx="20303">
                  <c:v>0.71352074966532819</c:v>
                </c:pt>
                <c:pt idx="20304">
                  <c:v>0.74297188755020072</c:v>
                </c:pt>
                <c:pt idx="20305">
                  <c:v>0.74564926372155282</c:v>
                </c:pt>
                <c:pt idx="20306">
                  <c:v>0.74966532797858099</c:v>
                </c:pt>
                <c:pt idx="20307">
                  <c:v>0.74029451137884883</c:v>
                </c:pt>
                <c:pt idx="20308">
                  <c:v>0.73360107095046856</c:v>
                </c:pt>
                <c:pt idx="20309">
                  <c:v>0.74297188755020072</c:v>
                </c:pt>
                <c:pt idx="20310">
                  <c:v>0.74297188755020072</c:v>
                </c:pt>
                <c:pt idx="20311">
                  <c:v>0.74163319946452488</c:v>
                </c:pt>
                <c:pt idx="20312">
                  <c:v>0.73092369477911645</c:v>
                </c:pt>
                <c:pt idx="20313">
                  <c:v>0.72556894243641246</c:v>
                </c:pt>
                <c:pt idx="20314">
                  <c:v>0.73627844712182067</c:v>
                </c:pt>
                <c:pt idx="20315">
                  <c:v>0.73360107095046856</c:v>
                </c:pt>
                <c:pt idx="20316">
                  <c:v>0.72289156626506013</c:v>
                </c:pt>
                <c:pt idx="20317">
                  <c:v>0.71352074966532819</c:v>
                </c:pt>
                <c:pt idx="20318">
                  <c:v>0.71352074966532819</c:v>
                </c:pt>
                <c:pt idx="20319">
                  <c:v>0.70548862115127187</c:v>
                </c:pt>
                <c:pt idx="20320">
                  <c:v>0.6987951807228916</c:v>
                </c:pt>
                <c:pt idx="20321">
                  <c:v>0.70414993306559581</c:v>
                </c:pt>
                <c:pt idx="20322">
                  <c:v>0.70414993306559581</c:v>
                </c:pt>
                <c:pt idx="20323">
                  <c:v>0.70816599732262375</c:v>
                </c:pt>
                <c:pt idx="20324">
                  <c:v>0.6934404283801876</c:v>
                </c:pt>
                <c:pt idx="20325">
                  <c:v>0.68942436412315922</c:v>
                </c:pt>
                <c:pt idx="20326">
                  <c:v>0.69477911646586343</c:v>
                </c:pt>
                <c:pt idx="20327">
                  <c:v>0.69210174029451155</c:v>
                </c:pt>
                <c:pt idx="20328">
                  <c:v>0.67737617135207495</c:v>
                </c:pt>
                <c:pt idx="20329">
                  <c:v>0.66666666666666652</c:v>
                </c:pt>
                <c:pt idx="20330">
                  <c:v>0.6532797858099062</c:v>
                </c:pt>
                <c:pt idx="20331">
                  <c:v>0.66265060240963858</c:v>
                </c:pt>
                <c:pt idx="20332">
                  <c:v>0.67871485943775101</c:v>
                </c:pt>
                <c:pt idx="20333">
                  <c:v>0.6706827309236949</c:v>
                </c:pt>
                <c:pt idx="20334">
                  <c:v>0.66131191432396252</c:v>
                </c:pt>
                <c:pt idx="20335">
                  <c:v>0.66398929049531463</c:v>
                </c:pt>
                <c:pt idx="20336">
                  <c:v>0.66934404283801885</c:v>
                </c:pt>
                <c:pt idx="20337">
                  <c:v>0.71084337349397586</c:v>
                </c:pt>
                <c:pt idx="20338">
                  <c:v>0.71084337349397586</c:v>
                </c:pt>
                <c:pt idx="20339">
                  <c:v>0.72155287817938429</c:v>
                </c:pt>
                <c:pt idx="20340">
                  <c:v>0.71619812583668008</c:v>
                </c:pt>
                <c:pt idx="20341">
                  <c:v>0.72289156626506013</c:v>
                </c:pt>
                <c:pt idx="20342">
                  <c:v>0.71887550200803219</c:v>
                </c:pt>
                <c:pt idx="20343">
                  <c:v>0.71352074966532819</c:v>
                </c:pt>
                <c:pt idx="20344">
                  <c:v>0.71352074966532819</c:v>
                </c:pt>
                <c:pt idx="20345">
                  <c:v>0.71753681392235613</c:v>
                </c:pt>
                <c:pt idx="20346">
                  <c:v>0.72824631860776456</c:v>
                </c:pt>
                <c:pt idx="20347">
                  <c:v>0.72556894243641246</c:v>
                </c:pt>
                <c:pt idx="20348">
                  <c:v>0.73761713520749672</c:v>
                </c:pt>
                <c:pt idx="20349">
                  <c:v>0.74564926372155282</c:v>
                </c:pt>
                <c:pt idx="20350">
                  <c:v>0.73761713520749672</c:v>
                </c:pt>
                <c:pt idx="20351">
                  <c:v>0.72690763052208851</c:v>
                </c:pt>
                <c:pt idx="20352">
                  <c:v>0.71887550200803219</c:v>
                </c:pt>
                <c:pt idx="20353">
                  <c:v>0.72021419009370824</c:v>
                </c:pt>
                <c:pt idx="20354">
                  <c:v>0.71753681392235613</c:v>
                </c:pt>
                <c:pt idx="20355">
                  <c:v>0.71084337349397586</c:v>
                </c:pt>
                <c:pt idx="20356">
                  <c:v>0.69745649263721554</c:v>
                </c:pt>
                <c:pt idx="20357">
                  <c:v>0.68942436412315922</c:v>
                </c:pt>
                <c:pt idx="20358">
                  <c:v>0.69611780455153949</c:v>
                </c:pt>
                <c:pt idx="20359">
                  <c:v>0.68808567603748316</c:v>
                </c:pt>
                <c:pt idx="20360">
                  <c:v>0.70414993306559581</c:v>
                </c:pt>
                <c:pt idx="20361">
                  <c:v>0.71485943775100425</c:v>
                </c:pt>
                <c:pt idx="20362">
                  <c:v>0.71084337349397586</c:v>
                </c:pt>
                <c:pt idx="20363">
                  <c:v>0.7014725568942437</c:v>
                </c:pt>
                <c:pt idx="20364">
                  <c:v>0.70013386880856765</c:v>
                </c:pt>
                <c:pt idx="20365">
                  <c:v>0.70950468540829981</c:v>
                </c:pt>
                <c:pt idx="20366">
                  <c:v>0.70950468540829981</c:v>
                </c:pt>
                <c:pt idx="20367">
                  <c:v>0.71352074966532819</c:v>
                </c:pt>
                <c:pt idx="20368">
                  <c:v>0.70013386880856765</c:v>
                </c:pt>
                <c:pt idx="20369">
                  <c:v>0.71084337349397586</c:v>
                </c:pt>
                <c:pt idx="20370">
                  <c:v>0.73493975903614484</c:v>
                </c:pt>
                <c:pt idx="20371">
                  <c:v>0.74966532797858099</c:v>
                </c:pt>
                <c:pt idx="20372">
                  <c:v>0.73761713520749672</c:v>
                </c:pt>
                <c:pt idx="20373">
                  <c:v>0.75368139223560915</c:v>
                </c:pt>
                <c:pt idx="20374">
                  <c:v>0.77108433734939763</c:v>
                </c:pt>
                <c:pt idx="20375">
                  <c:v>0.7697456492637218</c:v>
                </c:pt>
                <c:pt idx="20376">
                  <c:v>0.77643908969210185</c:v>
                </c:pt>
                <c:pt idx="20377">
                  <c:v>0.77376171352074974</c:v>
                </c:pt>
                <c:pt idx="20378">
                  <c:v>0.77643908969210185</c:v>
                </c:pt>
                <c:pt idx="20379">
                  <c:v>0.76171352074966547</c:v>
                </c:pt>
                <c:pt idx="20380">
                  <c:v>0.75769745649263731</c:v>
                </c:pt>
                <c:pt idx="20381">
                  <c:v>0.76439089692101736</c:v>
                </c:pt>
                <c:pt idx="20382">
                  <c:v>0.76439089692101736</c:v>
                </c:pt>
                <c:pt idx="20383">
                  <c:v>0.7550200803212852</c:v>
                </c:pt>
                <c:pt idx="20384">
                  <c:v>0.73761713520749672</c:v>
                </c:pt>
                <c:pt idx="20385">
                  <c:v>0.7322623828647925</c:v>
                </c:pt>
                <c:pt idx="20386">
                  <c:v>0.73360107095046856</c:v>
                </c:pt>
                <c:pt idx="20387">
                  <c:v>0.74297188755020072</c:v>
                </c:pt>
                <c:pt idx="20388">
                  <c:v>0.73761713520749672</c:v>
                </c:pt>
                <c:pt idx="20389">
                  <c:v>0.72690763052208851</c:v>
                </c:pt>
                <c:pt idx="20390">
                  <c:v>0.7295850066934404</c:v>
                </c:pt>
                <c:pt idx="20391">
                  <c:v>0.7322623828647925</c:v>
                </c:pt>
                <c:pt idx="20392">
                  <c:v>0.73627844712182067</c:v>
                </c:pt>
                <c:pt idx="20393">
                  <c:v>0.73360107095046856</c:v>
                </c:pt>
                <c:pt idx="20394">
                  <c:v>0.71619812583668008</c:v>
                </c:pt>
                <c:pt idx="20395">
                  <c:v>0.70414993306559581</c:v>
                </c:pt>
                <c:pt idx="20396">
                  <c:v>0.69477911646586343</c:v>
                </c:pt>
                <c:pt idx="20397">
                  <c:v>0.69210174029451155</c:v>
                </c:pt>
                <c:pt idx="20398">
                  <c:v>0.68005354752342728</c:v>
                </c:pt>
                <c:pt idx="20399">
                  <c:v>0.64257028112449799</c:v>
                </c:pt>
                <c:pt idx="20400">
                  <c:v>0.63989290495314588</c:v>
                </c:pt>
                <c:pt idx="20401">
                  <c:v>0.64658634538152615</c:v>
                </c:pt>
                <c:pt idx="20402">
                  <c:v>0.6479250334672022</c:v>
                </c:pt>
                <c:pt idx="20403">
                  <c:v>0.63721552878179399</c:v>
                </c:pt>
                <c:pt idx="20404">
                  <c:v>0.64658634538152615</c:v>
                </c:pt>
                <c:pt idx="20405">
                  <c:v>0.6479250334672022</c:v>
                </c:pt>
                <c:pt idx="20406">
                  <c:v>0.6532797858099062</c:v>
                </c:pt>
                <c:pt idx="20407">
                  <c:v>0.6532797858099062</c:v>
                </c:pt>
                <c:pt idx="20408">
                  <c:v>0.64257028112449799</c:v>
                </c:pt>
                <c:pt idx="20409">
                  <c:v>0.63587684069611794</c:v>
                </c:pt>
                <c:pt idx="20410">
                  <c:v>0.63319946452476561</c:v>
                </c:pt>
                <c:pt idx="20411">
                  <c:v>0.63587684069611794</c:v>
                </c:pt>
                <c:pt idx="20412">
                  <c:v>0.62918340026773767</c:v>
                </c:pt>
                <c:pt idx="20413">
                  <c:v>0.62382864792503367</c:v>
                </c:pt>
                <c:pt idx="20414">
                  <c:v>0.6224899598393574</c:v>
                </c:pt>
                <c:pt idx="20415">
                  <c:v>0.61981258366800529</c:v>
                </c:pt>
                <c:pt idx="20416">
                  <c:v>0.6171352074966534</c:v>
                </c:pt>
                <c:pt idx="20417">
                  <c:v>0.60642570281124497</c:v>
                </c:pt>
                <c:pt idx="20418">
                  <c:v>0.60508701472556892</c:v>
                </c:pt>
                <c:pt idx="20419">
                  <c:v>0.60642570281124497</c:v>
                </c:pt>
                <c:pt idx="20420">
                  <c:v>0.61847389558232946</c:v>
                </c:pt>
                <c:pt idx="20421">
                  <c:v>0.6171352074966534</c:v>
                </c:pt>
                <c:pt idx="20422">
                  <c:v>0.6171352074966534</c:v>
                </c:pt>
                <c:pt idx="20423">
                  <c:v>0.61847389558232946</c:v>
                </c:pt>
                <c:pt idx="20424">
                  <c:v>0.6171352074966534</c:v>
                </c:pt>
                <c:pt idx="20425">
                  <c:v>0.60776439089692103</c:v>
                </c:pt>
                <c:pt idx="20426">
                  <c:v>0.61044176706827313</c:v>
                </c:pt>
                <c:pt idx="20427">
                  <c:v>0.5997322623828647</c:v>
                </c:pt>
                <c:pt idx="20428">
                  <c:v>0.60107095046854098</c:v>
                </c:pt>
                <c:pt idx="20429">
                  <c:v>0.58902275769745649</c:v>
                </c:pt>
                <c:pt idx="20430">
                  <c:v>0.58099062918340039</c:v>
                </c:pt>
                <c:pt idx="20431">
                  <c:v>0.57429718875502012</c:v>
                </c:pt>
                <c:pt idx="20432">
                  <c:v>0.56492637215528774</c:v>
                </c:pt>
                <c:pt idx="20433">
                  <c:v>0.56224899598393585</c:v>
                </c:pt>
                <c:pt idx="20434">
                  <c:v>0.57965194109772433</c:v>
                </c:pt>
                <c:pt idx="20435">
                  <c:v>0.57697456492637222</c:v>
                </c:pt>
                <c:pt idx="20436">
                  <c:v>0.56492637215528774</c:v>
                </c:pt>
                <c:pt idx="20437">
                  <c:v>0.57028112449799218</c:v>
                </c:pt>
                <c:pt idx="20438">
                  <c:v>0.59839357429718865</c:v>
                </c:pt>
                <c:pt idx="20439">
                  <c:v>0.5997322623828647</c:v>
                </c:pt>
                <c:pt idx="20440">
                  <c:v>0.5997322623828647</c:v>
                </c:pt>
                <c:pt idx="20441">
                  <c:v>0.60374832663989308</c:v>
                </c:pt>
                <c:pt idx="20442">
                  <c:v>0.6144578313253013</c:v>
                </c:pt>
                <c:pt idx="20443">
                  <c:v>0.6144578313253013</c:v>
                </c:pt>
                <c:pt idx="20444">
                  <c:v>0.6144578313253013</c:v>
                </c:pt>
                <c:pt idx="20445">
                  <c:v>0.61178045515394897</c:v>
                </c:pt>
                <c:pt idx="20446">
                  <c:v>0.60374832663989308</c:v>
                </c:pt>
                <c:pt idx="20447">
                  <c:v>0.60240963855421703</c:v>
                </c:pt>
                <c:pt idx="20448">
                  <c:v>0.60107095046854098</c:v>
                </c:pt>
                <c:pt idx="20449">
                  <c:v>0.60910307898259708</c:v>
                </c:pt>
                <c:pt idx="20450">
                  <c:v>0.61044176706827313</c:v>
                </c:pt>
                <c:pt idx="20451">
                  <c:v>0.5997322623828647</c:v>
                </c:pt>
                <c:pt idx="20452">
                  <c:v>0.60374832663989308</c:v>
                </c:pt>
                <c:pt idx="20453">
                  <c:v>0.61981258366800529</c:v>
                </c:pt>
                <c:pt idx="20454">
                  <c:v>0.62382864792503367</c:v>
                </c:pt>
                <c:pt idx="20455">
                  <c:v>0.61981258366800529</c:v>
                </c:pt>
                <c:pt idx="20456">
                  <c:v>0.63721552878179399</c:v>
                </c:pt>
                <c:pt idx="20457">
                  <c:v>0.63989290495314588</c:v>
                </c:pt>
                <c:pt idx="20458">
                  <c:v>0.63319946452476561</c:v>
                </c:pt>
                <c:pt idx="20459">
                  <c:v>0.6479250334672022</c:v>
                </c:pt>
                <c:pt idx="20460">
                  <c:v>0.6452476572958501</c:v>
                </c:pt>
                <c:pt idx="20461">
                  <c:v>0.64390896921017404</c:v>
                </c:pt>
                <c:pt idx="20462">
                  <c:v>0.63587684069611794</c:v>
                </c:pt>
                <c:pt idx="20463">
                  <c:v>0.63855421686747005</c:v>
                </c:pt>
                <c:pt idx="20464">
                  <c:v>0.61981258366800529</c:v>
                </c:pt>
                <c:pt idx="20465">
                  <c:v>0.6171352074966534</c:v>
                </c:pt>
                <c:pt idx="20466">
                  <c:v>0.62115127175368134</c:v>
                </c:pt>
                <c:pt idx="20467">
                  <c:v>0.60776439089692103</c:v>
                </c:pt>
                <c:pt idx="20468">
                  <c:v>0.59705488621151281</c:v>
                </c:pt>
                <c:pt idx="20469">
                  <c:v>0.59303882195448465</c:v>
                </c:pt>
                <c:pt idx="20470">
                  <c:v>0.59036144578313277</c:v>
                </c:pt>
                <c:pt idx="20471">
                  <c:v>0.58902275769745649</c:v>
                </c:pt>
                <c:pt idx="20472">
                  <c:v>0.58232931726907644</c:v>
                </c:pt>
                <c:pt idx="20473">
                  <c:v>0.5917001338688086</c:v>
                </c:pt>
                <c:pt idx="20474">
                  <c:v>0.59036144578313277</c:v>
                </c:pt>
                <c:pt idx="20475">
                  <c:v>0.59036144578313277</c:v>
                </c:pt>
                <c:pt idx="20476">
                  <c:v>0.58768406961178044</c:v>
                </c:pt>
                <c:pt idx="20477">
                  <c:v>0.58768406961178044</c:v>
                </c:pt>
                <c:pt idx="20478">
                  <c:v>0.57429718875502012</c:v>
                </c:pt>
                <c:pt idx="20479">
                  <c:v>0.57697456492637222</c:v>
                </c:pt>
                <c:pt idx="20480">
                  <c:v>0.58902275769745649</c:v>
                </c:pt>
                <c:pt idx="20481">
                  <c:v>0.57831325301204806</c:v>
                </c:pt>
                <c:pt idx="20482">
                  <c:v>0.58232931726907644</c:v>
                </c:pt>
                <c:pt idx="20483">
                  <c:v>0.57161981258366801</c:v>
                </c:pt>
                <c:pt idx="20484">
                  <c:v>0.57161981258366801</c:v>
                </c:pt>
                <c:pt idx="20485">
                  <c:v>0.57295850066934406</c:v>
                </c:pt>
                <c:pt idx="20486">
                  <c:v>0.56224899598393585</c:v>
                </c:pt>
                <c:pt idx="20487">
                  <c:v>0.56224899598393585</c:v>
                </c:pt>
                <c:pt idx="20488">
                  <c:v>0.54752342704149948</c:v>
                </c:pt>
                <c:pt idx="20489">
                  <c:v>0.55287817938420347</c:v>
                </c:pt>
                <c:pt idx="20490">
                  <c:v>0.56626506024096379</c:v>
                </c:pt>
                <c:pt idx="20491">
                  <c:v>0.57965194109772433</c:v>
                </c:pt>
                <c:pt idx="20492">
                  <c:v>0.58366800535475249</c:v>
                </c:pt>
                <c:pt idx="20493">
                  <c:v>0.58634538152610438</c:v>
                </c:pt>
                <c:pt idx="20494">
                  <c:v>0.58099062918340039</c:v>
                </c:pt>
                <c:pt idx="20495">
                  <c:v>0.57161981258366801</c:v>
                </c:pt>
                <c:pt idx="20496">
                  <c:v>0.57429718875502012</c:v>
                </c:pt>
                <c:pt idx="20497">
                  <c:v>0.59036144578313277</c:v>
                </c:pt>
                <c:pt idx="20498">
                  <c:v>0.5917001338688086</c:v>
                </c:pt>
                <c:pt idx="20499">
                  <c:v>0.59303882195448465</c:v>
                </c:pt>
                <c:pt idx="20500">
                  <c:v>0.59036144578313277</c:v>
                </c:pt>
                <c:pt idx="20501">
                  <c:v>0.59036144578313277</c:v>
                </c:pt>
                <c:pt idx="20502">
                  <c:v>0.58902275769745649</c:v>
                </c:pt>
                <c:pt idx="20503">
                  <c:v>0.59303882195448465</c:v>
                </c:pt>
                <c:pt idx="20504">
                  <c:v>0.58768406961178044</c:v>
                </c:pt>
                <c:pt idx="20505">
                  <c:v>0.58099062918340039</c:v>
                </c:pt>
                <c:pt idx="20506">
                  <c:v>0.58500669344042833</c:v>
                </c:pt>
                <c:pt idx="20507">
                  <c:v>0.59571619812583676</c:v>
                </c:pt>
                <c:pt idx="20508">
                  <c:v>0.58634538152610438</c:v>
                </c:pt>
                <c:pt idx="20509">
                  <c:v>0.58902275769745649</c:v>
                </c:pt>
                <c:pt idx="20510">
                  <c:v>0.5917001338688086</c:v>
                </c:pt>
                <c:pt idx="20511">
                  <c:v>0.59839357429718865</c:v>
                </c:pt>
                <c:pt idx="20512">
                  <c:v>0.58099062918340039</c:v>
                </c:pt>
                <c:pt idx="20513">
                  <c:v>0.5609103078982598</c:v>
                </c:pt>
                <c:pt idx="20514">
                  <c:v>0.56224899598393585</c:v>
                </c:pt>
                <c:pt idx="20515">
                  <c:v>0.56492637215528774</c:v>
                </c:pt>
                <c:pt idx="20516">
                  <c:v>0.53681392235609104</c:v>
                </c:pt>
                <c:pt idx="20517">
                  <c:v>0.53681392235609104</c:v>
                </c:pt>
                <c:pt idx="20518">
                  <c:v>0.55153949129852742</c:v>
                </c:pt>
                <c:pt idx="20519">
                  <c:v>0.55421686746987953</c:v>
                </c:pt>
                <c:pt idx="20520">
                  <c:v>0.55153949129852742</c:v>
                </c:pt>
                <c:pt idx="20521">
                  <c:v>0.55287817938420347</c:v>
                </c:pt>
                <c:pt idx="20522">
                  <c:v>0.55421686746987953</c:v>
                </c:pt>
                <c:pt idx="20523">
                  <c:v>0.55823293172690769</c:v>
                </c:pt>
                <c:pt idx="20524">
                  <c:v>0.54752342704149948</c:v>
                </c:pt>
                <c:pt idx="20525">
                  <c:v>0.53949129852744315</c:v>
                </c:pt>
                <c:pt idx="20526">
                  <c:v>0.53145917001338683</c:v>
                </c:pt>
                <c:pt idx="20527">
                  <c:v>0.53279785809906288</c:v>
                </c:pt>
                <c:pt idx="20528">
                  <c:v>0.53681392235609104</c:v>
                </c:pt>
                <c:pt idx="20529">
                  <c:v>0.5381526104417671</c:v>
                </c:pt>
                <c:pt idx="20530">
                  <c:v>0.53012048192771077</c:v>
                </c:pt>
                <c:pt idx="20531">
                  <c:v>0.53949129852744315</c:v>
                </c:pt>
                <c:pt idx="20532">
                  <c:v>0.52342704149933073</c:v>
                </c:pt>
                <c:pt idx="20533">
                  <c:v>0.51004016064257018</c:v>
                </c:pt>
                <c:pt idx="20534">
                  <c:v>0.50334672021419014</c:v>
                </c:pt>
                <c:pt idx="20535">
                  <c:v>0.50200803212851408</c:v>
                </c:pt>
                <c:pt idx="20536">
                  <c:v>0.48995983935742982</c:v>
                </c:pt>
                <c:pt idx="20537">
                  <c:v>0.47523427041499322</c:v>
                </c:pt>
                <c:pt idx="20538">
                  <c:v>0.47121820615796528</c:v>
                </c:pt>
                <c:pt idx="20539">
                  <c:v>0.49263721552878192</c:v>
                </c:pt>
                <c:pt idx="20540">
                  <c:v>0.49263721552878192</c:v>
                </c:pt>
                <c:pt idx="20541">
                  <c:v>0.50468540829986619</c:v>
                </c:pt>
                <c:pt idx="20542">
                  <c:v>0.51271753681392251</c:v>
                </c:pt>
                <c:pt idx="20543">
                  <c:v>0.51807228915662651</c:v>
                </c:pt>
                <c:pt idx="20544">
                  <c:v>0.51271753681392251</c:v>
                </c:pt>
                <c:pt idx="20545">
                  <c:v>0.49397590361445798</c:v>
                </c:pt>
                <c:pt idx="20546">
                  <c:v>0.48995983935742982</c:v>
                </c:pt>
                <c:pt idx="20547">
                  <c:v>0.49933065595716197</c:v>
                </c:pt>
                <c:pt idx="20548">
                  <c:v>0.50602409638554224</c:v>
                </c:pt>
                <c:pt idx="20549">
                  <c:v>0.51137884872824624</c:v>
                </c:pt>
                <c:pt idx="20550">
                  <c:v>0.51137884872824624</c:v>
                </c:pt>
                <c:pt idx="20551">
                  <c:v>0.52744310575635889</c:v>
                </c:pt>
                <c:pt idx="20552">
                  <c:v>0.51271753681392251</c:v>
                </c:pt>
                <c:pt idx="20553">
                  <c:v>0.5073627844712183</c:v>
                </c:pt>
                <c:pt idx="20554">
                  <c:v>0.55153949129852742</c:v>
                </c:pt>
                <c:pt idx="20555">
                  <c:v>0.56358768406961191</c:v>
                </c:pt>
                <c:pt idx="20556">
                  <c:v>0.57697456492637222</c:v>
                </c:pt>
                <c:pt idx="20557">
                  <c:v>0.57697456492637222</c:v>
                </c:pt>
                <c:pt idx="20558">
                  <c:v>0.59571619812583676</c:v>
                </c:pt>
                <c:pt idx="20559">
                  <c:v>0.59437751004016071</c:v>
                </c:pt>
                <c:pt idx="20560">
                  <c:v>0.60107095046854098</c:v>
                </c:pt>
                <c:pt idx="20561">
                  <c:v>0.60508701472556892</c:v>
                </c:pt>
                <c:pt idx="20562">
                  <c:v>0.59571619812583676</c:v>
                </c:pt>
                <c:pt idx="20563">
                  <c:v>0.59036144578313277</c:v>
                </c:pt>
                <c:pt idx="20564">
                  <c:v>0.5917001338688086</c:v>
                </c:pt>
                <c:pt idx="20565">
                  <c:v>0.58500669344042833</c:v>
                </c:pt>
                <c:pt idx="20566">
                  <c:v>0.5997322623828647</c:v>
                </c:pt>
                <c:pt idx="20567">
                  <c:v>0.59437751004016071</c:v>
                </c:pt>
                <c:pt idx="20568">
                  <c:v>0.58634538152610438</c:v>
                </c:pt>
                <c:pt idx="20569">
                  <c:v>0.58366800535475249</c:v>
                </c:pt>
                <c:pt idx="20570">
                  <c:v>0.57295850066934406</c:v>
                </c:pt>
                <c:pt idx="20571">
                  <c:v>0.56626506024096379</c:v>
                </c:pt>
                <c:pt idx="20572">
                  <c:v>0.56626506024096379</c:v>
                </c:pt>
                <c:pt idx="20573">
                  <c:v>0.56626506024096379</c:v>
                </c:pt>
                <c:pt idx="20574">
                  <c:v>0.56894243641231612</c:v>
                </c:pt>
                <c:pt idx="20575">
                  <c:v>0.56224899598393585</c:v>
                </c:pt>
                <c:pt idx="20576">
                  <c:v>0.58366800535475249</c:v>
                </c:pt>
                <c:pt idx="20577">
                  <c:v>0.60240963855421703</c:v>
                </c:pt>
                <c:pt idx="20578">
                  <c:v>0.60910307898259708</c:v>
                </c:pt>
                <c:pt idx="20579">
                  <c:v>0.61847389558232946</c:v>
                </c:pt>
                <c:pt idx="20580">
                  <c:v>0.6171352074966534</c:v>
                </c:pt>
                <c:pt idx="20581">
                  <c:v>0.60776439089692103</c:v>
                </c:pt>
                <c:pt idx="20582">
                  <c:v>0.60374832663989308</c:v>
                </c:pt>
                <c:pt idx="20583">
                  <c:v>0.60642570281124497</c:v>
                </c:pt>
                <c:pt idx="20584">
                  <c:v>0.61981258366800529</c:v>
                </c:pt>
                <c:pt idx="20585">
                  <c:v>0.61981258366800529</c:v>
                </c:pt>
                <c:pt idx="20586">
                  <c:v>0.63453815261044189</c:v>
                </c:pt>
                <c:pt idx="20587">
                  <c:v>0.63855421686747005</c:v>
                </c:pt>
                <c:pt idx="20588">
                  <c:v>0.63721552878179399</c:v>
                </c:pt>
                <c:pt idx="20589">
                  <c:v>0.61981258366800529</c:v>
                </c:pt>
                <c:pt idx="20590">
                  <c:v>0.60374832663989308</c:v>
                </c:pt>
                <c:pt idx="20591">
                  <c:v>0.59437751004016071</c:v>
                </c:pt>
                <c:pt idx="20592">
                  <c:v>0.5917001338688086</c:v>
                </c:pt>
                <c:pt idx="20593">
                  <c:v>0.59437751004016071</c:v>
                </c:pt>
                <c:pt idx="20594">
                  <c:v>0.59705488621151281</c:v>
                </c:pt>
                <c:pt idx="20595">
                  <c:v>0.59437751004016071</c:v>
                </c:pt>
                <c:pt idx="20596">
                  <c:v>0.57697456492637222</c:v>
                </c:pt>
                <c:pt idx="20597">
                  <c:v>0.58634538152610438</c:v>
                </c:pt>
                <c:pt idx="20598">
                  <c:v>0.58634538152610438</c:v>
                </c:pt>
                <c:pt idx="20599">
                  <c:v>0.58232931726907644</c:v>
                </c:pt>
                <c:pt idx="20600">
                  <c:v>0.58500669344042833</c:v>
                </c:pt>
                <c:pt idx="20601">
                  <c:v>0.58500669344042833</c:v>
                </c:pt>
                <c:pt idx="20602">
                  <c:v>0.57965194109772433</c:v>
                </c:pt>
                <c:pt idx="20603">
                  <c:v>0.56224899598393585</c:v>
                </c:pt>
                <c:pt idx="20604">
                  <c:v>0.56224899598393585</c:v>
                </c:pt>
                <c:pt idx="20605">
                  <c:v>0.57295850066934406</c:v>
                </c:pt>
                <c:pt idx="20606">
                  <c:v>0.56760374832664007</c:v>
                </c:pt>
                <c:pt idx="20607">
                  <c:v>0.56492637215528774</c:v>
                </c:pt>
                <c:pt idx="20608">
                  <c:v>0.55287817938420347</c:v>
                </c:pt>
                <c:pt idx="20609">
                  <c:v>0.58099062918340039</c:v>
                </c:pt>
                <c:pt idx="20610">
                  <c:v>0.59437751004016071</c:v>
                </c:pt>
                <c:pt idx="20611">
                  <c:v>0.59571619812583676</c:v>
                </c:pt>
                <c:pt idx="20612">
                  <c:v>0.59036144578313277</c:v>
                </c:pt>
                <c:pt idx="20613">
                  <c:v>0.58099062918340039</c:v>
                </c:pt>
                <c:pt idx="20614">
                  <c:v>0.58500669344042833</c:v>
                </c:pt>
                <c:pt idx="20615">
                  <c:v>0.57028112449799218</c:v>
                </c:pt>
                <c:pt idx="20616">
                  <c:v>0.57965194109772433</c:v>
                </c:pt>
                <c:pt idx="20617">
                  <c:v>0.56760374832664007</c:v>
                </c:pt>
                <c:pt idx="20618">
                  <c:v>0.55287817938420347</c:v>
                </c:pt>
                <c:pt idx="20619">
                  <c:v>0.55689424364123186</c:v>
                </c:pt>
                <c:pt idx="20620">
                  <c:v>0.57295850066934406</c:v>
                </c:pt>
                <c:pt idx="20621">
                  <c:v>0.57831325301204806</c:v>
                </c:pt>
                <c:pt idx="20622">
                  <c:v>0.56894243641231612</c:v>
                </c:pt>
                <c:pt idx="20623">
                  <c:v>0.53547523427041521</c:v>
                </c:pt>
                <c:pt idx="20624">
                  <c:v>0.58634538152610438</c:v>
                </c:pt>
                <c:pt idx="20625">
                  <c:v>0.6171352074966534</c:v>
                </c:pt>
                <c:pt idx="20626">
                  <c:v>0.59036144578313277</c:v>
                </c:pt>
                <c:pt idx="20627">
                  <c:v>0.59571619812583676</c:v>
                </c:pt>
                <c:pt idx="20628">
                  <c:v>0.6479250334672022</c:v>
                </c:pt>
                <c:pt idx="20629">
                  <c:v>0.67469879518072284</c:v>
                </c:pt>
                <c:pt idx="20630">
                  <c:v>0.67336010709504701</c:v>
                </c:pt>
                <c:pt idx="20631">
                  <c:v>0.67336010709504701</c:v>
                </c:pt>
                <c:pt idx="20632">
                  <c:v>0.66934404283801885</c:v>
                </c:pt>
                <c:pt idx="20633">
                  <c:v>0.68005354752342728</c:v>
                </c:pt>
                <c:pt idx="20634">
                  <c:v>0.67871485943775101</c:v>
                </c:pt>
                <c:pt idx="20635">
                  <c:v>0.68273092369477917</c:v>
                </c:pt>
                <c:pt idx="20636">
                  <c:v>0.69210174029451155</c:v>
                </c:pt>
                <c:pt idx="20637">
                  <c:v>0.68273092369477917</c:v>
                </c:pt>
                <c:pt idx="20638">
                  <c:v>0.66800535475234279</c:v>
                </c:pt>
                <c:pt idx="20639">
                  <c:v>0.66131191432396252</c:v>
                </c:pt>
                <c:pt idx="20640">
                  <c:v>0.65461847389558225</c:v>
                </c:pt>
                <c:pt idx="20641">
                  <c:v>0.6532797858099062</c:v>
                </c:pt>
                <c:pt idx="20642">
                  <c:v>0.65595716198125831</c:v>
                </c:pt>
                <c:pt idx="20643">
                  <c:v>0.65595716198125831</c:v>
                </c:pt>
                <c:pt idx="20644">
                  <c:v>0.6532797858099062</c:v>
                </c:pt>
                <c:pt idx="20645">
                  <c:v>0.65461847389558225</c:v>
                </c:pt>
                <c:pt idx="20646">
                  <c:v>0.6532797858099062</c:v>
                </c:pt>
                <c:pt idx="20647">
                  <c:v>0.64390896921017404</c:v>
                </c:pt>
                <c:pt idx="20648">
                  <c:v>0.64926372155287826</c:v>
                </c:pt>
                <c:pt idx="20649">
                  <c:v>0.63453815261044189</c:v>
                </c:pt>
                <c:pt idx="20650">
                  <c:v>0.5997322623828647</c:v>
                </c:pt>
                <c:pt idx="20651">
                  <c:v>0.5917001338688086</c:v>
                </c:pt>
                <c:pt idx="20652">
                  <c:v>0.59571619812583676</c:v>
                </c:pt>
                <c:pt idx="20653">
                  <c:v>0.59303882195448465</c:v>
                </c:pt>
                <c:pt idx="20654">
                  <c:v>0.60107095046854098</c:v>
                </c:pt>
                <c:pt idx="20655">
                  <c:v>0.60240963855421703</c:v>
                </c:pt>
                <c:pt idx="20656">
                  <c:v>0.5997322623828647</c:v>
                </c:pt>
                <c:pt idx="20657">
                  <c:v>0.59705488621151281</c:v>
                </c:pt>
                <c:pt idx="20658">
                  <c:v>0.59036144578313277</c:v>
                </c:pt>
                <c:pt idx="20659">
                  <c:v>0.6171352074966534</c:v>
                </c:pt>
                <c:pt idx="20660">
                  <c:v>0.62516733601070973</c:v>
                </c:pt>
                <c:pt idx="20661">
                  <c:v>0.6224899598393574</c:v>
                </c:pt>
                <c:pt idx="20662">
                  <c:v>0.6171352074966534</c:v>
                </c:pt>
                <c:pt idx="20663">
                  <c:v>0.62650602409638556</c:v>
                </c:pt>
                <c:pt idx="20664">
                  <c:v>0.63052208835341372</c:v>
                </c:pt>
                <c:pt idx="20665">
                  <c:v>0.63855421686747005</c:v>
                </c:pt>
                <c:pt idx="20666">
                  <c:v>0.63186077643908978</c:v>
                </c:pt>
                <c:pt idx="20667">
                  <c:v>0.63052208835341372</c:v>
                </c:pt>
                <c:pt idx="20668">
                  <c:v>0.63052208835341372</c:v>
                </c:pt>
                <c:pt idx="20669">
                  <c:v>0.61311914323962524</c:v>
                </c:pt>
                <c:pt idx="20670">
                  <c:v>0.60910307898259708</c:v>
                </c:pt>
                <c:pt idx="20671">
                  <c:v>0.60508701472556892</c:v>
                </c:pt>
                <c:pt idx="20672">
                  <c:v>0.59303882195448465</c:v>
                </c:pt>
                <c:pt idx="20673">
                  <c:v>0.58902275769745649</c:v>
                </c:pt>
                <c:pt idx="20674">
                  <c:v>0.59303882195448465</c:v>
                </c:pt>
                <c:pt idx="20675">
                  <c:v>0.59303882195448465</c:v>
                </c:pt>
                <c:pt idx="20676">
                  <c:v>0.59705488621151281</c:v>
                </c:pt>
                <c:pt idx="20677">
                  <c:v>0.58099062918340039</c:v>
                </c:pt>
                <c:pt idx="20678">
                  <c:v>0.56894243641231612</c:v>
                </c:pt>
                <c:pt idx="20679">
                  <c:v>0.56626506024096379</c:v>
                </c:pt>
                <c:pt idx="20680">
                  <c:v>0.59571619812583676</c:v>
                </c:pt>
                <c:pt idx="20681">
                  <c:v>0.59036144578313277</c:v>
                </c:pt>
                <c:pt idx="20682">
                  <c:v>0.59705488621151281</c:v>
                </c:pt>
                <c:pt idx="20683">
                  <c:v>0.60240963855421703</c:v>
                </c:pt>
                <c:pt idx="20684">
                  <c:v>0.58099062918340039</c:v>
                </c:pt>
                <c:pt idx="20685">
                  <c:v>0.60240963855421703</c:v>
                </c:pt>
                <c:pt idx="20686">
                  <c:v>0.59705488621151281</c:v>
                </c:pt>
                <c:pt idx="20687">
                  <c:v>0.58768406961178044</c:v>
                </c:pt>
                <c:pt idx="20688">
                  <c:v>0.58232931726907644</c:v>
                </c:pt>
                <c:pt idx="20689">
                  <c:v>0.55153949129852742</c:v>
                </c:pt>
                <c:pt idx="20690">
                  <c:v>0.55153949129852742</c:v>
                </c:pt>
                <c:pt idx="20691">
                  <c:v>0.53681392235609104</c:v>
                </c:pt>
                <c:pt idx="20692">
                  <c:v>0.53681392235609104</c:v>
                </c:pt>
                <c:pt idx="20693">
                  <c:v>0.53681392235609104</c:v>
                </c:pt>
                <c:pt idx="20694">
                  <c:v>0.53681392235609104</c:v>
                </c:pt>
                <c:pt idx="20695">
                  <c:v>0.53681392235609104</c:v>
                </c:pt>
                <c:pt idx="20696">
                  <c:v>0.53279785809906288</c:v>
                </c:pt>
                <c:pt idx="20697">
                  <c:v>0.51807228915662651</c:v>
                </c:pt>
                <c:pt idx="20698">
                  <c:v>0.52342704149933073</c:v>
                </c:pt>
                <c:pt idx="20699">
                  <c:v>0.51673360107095045</c:v>
                </c:pt>
                <c:pt idx="20700">
                  <c:v>0.52074966532797862</c:v>
                </c:pt>
                <c:pt idx="20701">
                  <c:v>0.51004016064257018</c:v>
                </c:pt>
                <c:pt idx="20702">
                  <c:v>0.49129852744310587</c:v>
                </c:pt>
                <c:pt idx="20703">
                  <c:v>0.49263721552878192</c:v>
                </c:pt>
                <c:pt idx="20704">
                  <c:v>0.49129852744310587</c:v>
                </c:pt>
                <c:pt idx="20705">
                  <c:v>0.55287817938420347</c:v>
                </c:pt>
                <c:pt idx="20706">
                  <c:v>0.56626506024096379</c:v>
                </c:pt>
                <c:pt idx="20707">
                  <c:v>0.57429718875502012</c:v>
                </c:pt>
                <c:pt idx="20708">
                  <c:v>0.55153949129852742</c:v>
                </c:pt>
                <c:pt idx="20709">
                  <c:v>0.54752342704149948</c:v>
                </c:pt>
                <c:pt idx="20710">
                  <c:v>0.55153949129852742</c:v>
                </c:pt>
                <c:pt idx="20711">
                  <c:v>0.55020080321285136</c:v>
                </c:pt>
                <c:pt idx="20712">
                  <c:v>0.55153949129852742</c:v>
                </c:pt>
                <c:pt idx="20713">
                  <c:v>0.5381526104417671</c:v>
                </c:pt>
                <c:pt idx="20714">
                  <c:v>0.51271753681392251</c:v>
                </c:pt>
                <c:pt idx="20715">
                  <c:v>0.50066934404283825</c:v>
                </c:pt>
                <c:pt idx="20716">
                  <c:v>0.46987951807228923</c:v>
                </c:pt>
                <c:pt idx="20717">
                  <c:v>0.46586345381526106</c:v>
                </c:pt>
                <c:pt idx="20718">
                  <c:v>0.4618473895582329</c:v>
                </c:pt>
                <c:pt idx="20719">
                  <c:v>0.45649263721552891</c:v>
                </c:pt>
                <c:pt idx="20720">
                  <c:v>0.46050870147255707</c:v>
                </c:pt>
                <c:pt idx="20721">
                  <c:v>0.46318607764390896</c:v>
                </c:pt>
                <c:pt idx="20722">
                  <c:v>0.47389558232931739</c:v>
                </c:pt>
                <c:pt idx="20723">
                  <c:v>0.47791164658634533</c:v>
                </c:pt>
                <c:pt idx="20724">
                  <c:v>0.47925033467202161</c:v>
                </c:pt>
                <c:pt idx="20725">
                  <c:v>0.47389558232931739</c:v>
                </c:pt>
                <c:pt idx="20726">
                  <c:v>0.45917001338688102</c:v>
                </c:pt>
                <c:pt idx="20727">
                  <c:v>0.46586345381526106</c:v>
                </c:pt>
                <c:pt idx="20728">
                  <c:v>0.47389558232931739</c:v>
                </c:pt>
                <c:pt idx="20729">
                  <c:v>0.47925033467202161</c:v>
                </c:pt>
                <c:pt idx="20730">
                  <c:v>0.47255689424364133</c:v>
                </c:pt>
                <c:pt idx="20731">
                  <c:v>0.46987951807228923</c:v>
                </c:pt>
                <c:pt idx="20732">
                  <c:v>0.45113788487282469</c:v>
                </c:pt>
                <c:pt idx="20733">
                  <c:v>0.4618473895582329</c:v>
                </c:pt>
                <c:pt idx="20734">
                  <c:v>0.46854082998661317</c:v>
                </c:pt>
                <c:pt idx="20735">
                  <c:v>0.46854082998661317</c:v>
                </c:pt>
                <c:pt idx="20736">
                  <c:v>0.45917001338688102</c:v>
                </c:pt>
                <c:pt idx="20737">
                  <c:v>0.45113788487282469</c:v>
                </c:pt>
                <c:pt idx="20738">
                  <c:v>0.45113788487282469</c:v>
                </c:pt>
                <c:pt idx="20739">
                  <c:v>0.42436412315930405</c:v>
                </c:pt>
                <c:pt idx="20740">
                  <c:v>0.42704149933065594</c:v>
                </c:pt>
                <c:pt idx="20741">
                  <c:v>0.44712182061579653</c:v>
                </c:pt>
                <c:pt idx="20742">
                  <c:v>0.44444444444444442</c:v>
                </c:pt>
                <c:pt idx="20743">
                  <c:v>0.44712182061579653</c:v>
                </c:pt>
                <c:pt idx="20744">
                  <c:v>0.44712182061579653</c:v>
                </c:pt>
                <c:pt idx="20745">
                  <c:v>0.42838018741633199</c:v>
                </c:pt>
                <c:pt idx="20746">
                  <c:v>0.42570281124498011</c:v>
                </c:pt>
                <c:pt idx="20747">
                  <c:v>0.41633199464524773</c:v>
                </c:pt>
                <c:pt idx="20748">
                  <c:v>0.40562248995983929</c:v>
                </c:pt>
                <c:pt idx="20749">
                  <c:v>0.40696117804551535</c:v>
                </c:pt>
                <c:pt idx="20750">
                  <c:v>0.39625167336010714</c:v>
                </c:pt>
                <c:pt idx="20751">
                  <c:v>0.39759036144578319</c:v>
                </c:pt>
                <c:pt idx="20752">
                  <c:v>0.4082998661311914</c:v>
                </c:pt>
                <c:pt idx="20753">
                  <c:v>0.4082998661311914</c:v>
                </c:pt>
                <c:pt idx="20754">
                  <c:v>0.39759036144578319</c:v>
                </c:pt>
                <c:pt idx="20755">
                  <c:v>0.3855421686746987</c:v>
                </c:pt>
                <c:pt idx="20756">
                  <c:v>0.38420348058902287</c:v>
                </c:pt>
                <c:pt idx="20757">
                  <c:v>0.3855421686746987</c:v>
                </c:pt>
                <c:pt idx="20758">
                  <c:v>0.37884872824631866</c:v>
                </c:pt>
                <c:pt idx="20759">
                  <c:v>0.36144578313253017</c:v>
                </c:pt>
                <c:pt idx="20760">
                  <c:v>0.36278447121820623</c:v>
                </c:pt>
                <c:pt idx="20761">
                  <c:v>0.34270414993306564</c:v>
                </c:pt>
                <c:pt idx="20762">
                  <c:v>0.34136546184738958</c:v>
                </c:pt>
                <c:pt idx="20763">
                  <c:v>0.3547523427041499</c:v>
                </c:pt>
                <c:pt idx="20764">
                  <c:v>0.35073627844712174</c:v>
                </c:pt>
                <c:pt idx="20765">
                  <c:v>0.34002677376171353</c:v>
                </c:pt>
                <c:pt idx="20766">
                  <c:v>0.33199464524765721</c:v>
                </c:pt>
                <c:pt idx="20767">
                  <c:v>0.32931726907630532</c:v>
                </c:pt>
                <c:pt idx="20768">
                  <c:v>0.33333333333333348</c:v>
                </c:pt>
                <c:pt idx="20769">
                  <c:v>0.32797858099062926</c:v>
                </c:pt>
                <c:pt idx="20770">
                  <c:v>0.32663989290495321</c:v>
                </c:pt>
                <c:pt idx="20771">
                  <c:v>0.3239625167336011</c:v>
                </c:pt>
                <c:pt idx="20772">
                  <c:v>0.32530120481927716</c:v>
                </c:pt>
                <c:pt idx="20773">
                  <c:v>0.32797858099062926</c:v>
                </c:pt>
                <c:pt idx="20774">
                  <c:v>0.32797858099062926</c:v>
                </c:pt>
                <c:pt idx="20775">
                  <c:v>0.30789825970548867</c:v>
                </c:pt>
                <c:pt idx="20776">
                  <c:v>0.30655957161981262</c:v>
                </c:pt>
                <c:pt idx="20777">
                  <c:v>0.29183400267737625</c:v>
                </c:pt>
                <c:pt idx="20778">
                  <c:v>0.29183400267737625</c:v>
                </c:pt>
                <c:pt idx="20779">
                  <c:v>0.29183400267737625</c:v>
                </c:pt>
                <c:pt idx="20780">
                  <c:v>0.30388219544846051</c:v>
                </c:pt>
                <c:pt idx="20781">
                  <c:v>0.2985274431057563</c:v>
                </c:pt>
                <c:pt idx="20782">
                  <c:v>0.29451137884872836</c:v>
                </c:pt>
                <c:pt idx="20783">
                  <c:v>0.29585006693440419</c:v>
                </c:pt>
                <c:pt idx="20784">
                  <c:v>0.29585006693440419</c:v>
                </c:pt>
                <c:pt idx="20785">
                  <c:v>0.29718875502008024</c:v>
                </c:pt>
                <c:pt idx="20786">
                  <c:v>0.27443105756358777</c:v>
                </c:pt>
                <c:pt idx="20787">
                  <c:v>0.26372155287817933</c:v>
                </c:pt>
                <c:pt idx="20788">
                  <c:v>0.26104417670682745</c:v>
                </c:pt>
                <c:pt idx="20789">
                  <c:v>0.25435073627844695</c:v>
                </c:pt>
                <c:pt idx="20790">
                  <c:v>0.25435073627844695</c:v>
                </c:pt>
                <c:pt idx="20791">
                  <c:v>0.25301204819277112</c:v>
                </c:pt>
                <c:pt idx="20792">
                  <c:v>0.25301204819277112</c:v>
                </c:pt>
                <c:pt idx="20793">
                  <c:v>0.24497991967871502</c:v>
                </c:pt>
                <c:pt idx="20794">
                  <c:v>0.25033467202141901</c:v>
                </c:pt>
                <c:pt idx="20795">
                  <c:v>0.25033467202141901</c:v>
                </c:pt>
                <c:pt idx="20796">
                  <c:v>0.24631860776439107</c:v>
                </c:pt>
                <c:pt idx="20797">
                  <c:v>0.24230254350736269</c:v>
                </c:pt>
                <c:pt idx="20798">
                  <c:v>0.24364123159303874</c:v>
                </c:pt>
                <c:pt idx="20799">
                  <c:v>0.25033467202141901</c:v>
                </c:pt>
                <c:pt idx="20800">
                  <c:v>0.25033467202141901</c:v>
                </c:pt>
                <c:pt idx="20801">
                  <c:v>0.24631860776439107</c:v>
                </c:pt>
                <c:pt idx="20802">
                  <c:v>0.25167336010709507</c:v>
                </c:pt>
                <c:pt idx="20803">
                  <c:v>0.25435073627844695</c:v>
                </c:pt>
                <c:pt idx="20804">
                  <c:v>0.26907630522088355</c:v>
                </c:pt>
                <c:pt idx="20805">
                  <c:v>0.25702811244979928</c:v>
                </c:pt>
                <c:pt idx="20806">
                  <c:v>0.25836680053547534</c:v>
                </c:pt>
                <c:pt idx="20807">
                  <c:v>0.25301204819277112</c:v>
                </c:pt>
                <c:pt idx="20808">
                  <c:v>0.26907630522088355</c:v>
                </c:pt>
                <c:pt idx="20809">
                  <c:v>0.28112449799196804</c:v>
                </c:pt>
                <c:pt idx="20810">
                  <c:v>0.28915662650602414</c:v>
                </c:pt>
                <c:pt idx="20811">
                  <c:v>0.28915662650602414</c:v>
                </c:pt>
                <c:pt idx="20812">
                  <c:v>0.28647925033467203</c:v>
                </c:pt>
                <c:pt idx="20813">
                  <c:v>0.29718875502008024</c:v>
                </c:pt>
                <c:pt idx="20814">
                  <c:v>0.28246318607764387</c:v>
                </c:pt>
                <c:pt idx="20815">
                  <c:v>0.26639892904953166</c:v>
                </c:pt>
                <c:pt idx="20816">
                  <c:v>0.26372155287817933</c:v>
                </c:pt>
                <c:pt idx="20817">
                  <c:v>0.26372155287817933</c:v>
                </c:pt>
                <c:pt idx="20818">
                  <c:v>0.26907630522088355</c:v>
                </c:pt>
                <c:pt idx="20819">
                  <c:v>0.25301204819277112</c:v>
                </c:pt>
                <c:pt idx="20820">
                  <c:v>0.24497991967871502</c:v>
                </c:pt>
                <c:pt idx="20821">
                  <c:v>0.24631860776439107</c:v>
                </c:pt>
                <c:pt idx="20822">
                  <c:v>0.25702811244979928</c:v>
                </c:pt>
                <c:pt idx="20823">
                  <c:v>0.26907630522088355</c:v>
                </c:pt>
                <c:pt idx="20824">
                  <c:v>0.26238286479250328</c:v>
                </c:pt>
                <c:pt idx="20825">
                  <c:v>0.26639892904953166</c:v>
                </c:pt>
                <c:pt idx="20826">
                  <c:v>0.26639892904953166</c:v>
                </c:pt>
                <c:pt idx="20827">
                  <c:v>0.26773761713520772</c:v>
                </c:pt>
                <c:pt idx="20828">
                  <c:v>0.25167336010709507</c:v>
                </c:pt>
                <c:pt idx="20829">
                  <c:v>0.25167336010709507</c:v>
                </c:pt>
                <c:pt idx="20830">
                  <c:v>0.24631860776439107</c:v>
                </c:pt>
                <c:pt idx="20831">
                  <c:v>0.26238286479250328</c:v>
                </c:pt>
                <c:pt idx="20832">
                  <c:v>0.26506024096385539</c:v>
                </c:pt>
                <c:pt idx="20833">
                  <c:v>0.26506024096385539</c:v>
                </c:pt>
                <c:pt idx="20834">
                  <c:v>0.25033467202141901</c:v>
                </c:pt>
                <c:pt idx="20835">
                  <c:v>0.24497991967871502</c:v>
                </c:pt>
                <c:pt idx="20836">
                  <c:v>0.22757697456492632</c:v>
                </c:pt>
                <c:pt idx="20837">
                  <c:v>0.22222222222222232</c:v>
                </c:pt>
                <c:pt idx="20838">
                  <c:v>0.22222222222222232</c:v>
                </c:pt>
                <c:pt idx="20839">
                  <c:v>0.21151271753681411</c:v>
                </c:pt>
                <c:pt idx="20840">
                  <c:v>0.19410977242302541</c:v>
                </c:pt>
                <c:pt idx="20841">
                  <c:v>0.18473895582329325</c:v>
                </c:pt>
                <c:pt idx="20842">
                  <c:v>0.18473895582329325</c:v>
                </c:pt>
                <c:pt idx="20843">
                  <c:v>0.19009370816599747</c:v>
                </c:pt>
                <c:pt idx="20844">
                  <c:v>0.19143239625167352</c:v>
                </c:pt>
                <c:pt idx="20845">
                  <c:v>0.18607764390896908</c:v>
                </c:pt>
                <c:pt idx="20846">
                  <c:v>0.17135207496653293</c:v>
                </c:pt>
                <c:pt idx="20847">
                  <c:v>0.16198125836680055</c:v>
                </c:pt>
                <c:pt idx="20848">
                  <c:v>0.15796519410977261</c:v>
                </c:pt>
                <c:pt idx="20849">
                  <c:v>0.15930388219544844</c:v>
                </c:pt>
                <c:pt idx="20850">
                  <c:v>0.14993306559571629</c:v>
                </c:pt>
                <c:pt idx="20851">
                  <c:v>0.15127175368139212</c:v>
                </c:pt>
                <c:pt idx="20852">
                  <c:v>0.14993306559571629</c:v>
                </c:pt>
                <c:pt idx="20853">
                  <c:v>0.14457831325301229</c:v>
                </c:pt>
                <c:pt idx="20854">
                  <c:v>0.14323962516733602</c:v>
                </c:pt>
                <c:pt idx="20855">
                  <c:v>0.14859437751004023</c:v>
                </c:pt>
                <c:pt idx="20856">
                  <c:v>0.15662650602409656</c:v>
                </c:pt>
                <c:pt idx="20857">
                  <c:v>0.16198125836680055</c:v>
                </c:pt>
                <c:pt idx="20858">
                  <c:v>0.16198125836680055</c:v>
                </c:pt>
                <c:pt idx="20859">
                  <c:v>0.15261044176706817</c:v>
                </c:pt>
                <c:pt idx="20860">
                  <c:v>0.15394912985274423</c:v>
                </c:pt>
                <c:pt idx="20861">
                  <c:v>0.1552878179384205</c:v>
                </c:pt>
                <c:pt idx="20862">
                  <c:v>0.15394912985274423</c:v>
                </c:pt>
                <c:pt idx="20863">
                  <c:v>0.15394912985274423</c:v>
                </c:pt>
                <c:pt idx="20864">
                  <c:v>0.15261044176706817</c:v>
                </c:pt>
                <c:pt idx="20865">
                  <c:v>0.14993306559571629</c:v>
                </c:pt>
                <c:pt idx="20866">
                  <c:v>0.14323962516733602</c:v>
                </c:pt>
                <c:pt idx="20867">
                  <c:v>0.15796519410977261</c:v>
                </c:pt>
                <c:pt idx="20868">
                  <c:v>0.16867469879518082</c:v>
                </c:pt>
                <c:pt idx="20869">
                  <c:v>0.16599732262382871</c:v>
                </c:pt>
                <c:pt idx="20870">
                  <c:v>0.16331994645247661</c:v>
                </c:pt>
                <c:pt idx="20871">
                  <c:v>0.16733601070950477</c:v>
                </c:pt>
                <c:pt idx="20872">
                  <c:v>0.16867469879518082</c:v>
                </c:pt>
                <c:pt idx="20873">
                  <c:v>0.15796519410977261</c:v>
                </c:pt>
                <c:pt idx="20874">
                  <c:v>0.14859437751004023</c:v>
                </c:pt>
                <c:pt idx="20875">
                  <c:v>0.14323962516733602</c:v>
                </c:pt>
                <c:pt idx="20876">
                  <c:v>0.13922356091030785</c:v>
                </c:pt>
                <c:pt idx="20877">
                  <c:v>0.13922356091030785</c:v>
                </c:pt>
                <c:pt idx="20878">
                  <c:v>0.13520749665327991</c:v>
                </c:pt>
                <c:pt idx="20879">
                  <c:v>0.13654618473895597</c:v>
                </c:pt>
                <c:pt idx="20880">
                  <c:v>0.1325301204819278</c:v>
                </c:pt>
                <c:pt idx="20881">
                  <c:v>0.13386880856760386</c:v>
                </c:pt>
                <c:pt idx="20882">
                  <c:v>0.14457831325301229</c:v>
                </c:pt>
                <c:pt idx="20883">
                  <c:v>0.14725568942436418</c:v>
                </c:pt>
                <c:pt idx="20884">
                  <c:v>0.14591700133868812</c:v>
                </c:pt>
                <c:pt idx="20885">
                  <c:v>0.1378848728246318</c:v>
                </c:pt>
                <c:pt idx="20886">
                  <c:v>0.13520749665327991</c:v>
                </c:pt>
                <c:pt idx="20887">
                  <c:v>0.15394912985274423</c:v>
                </c:pt>
                <c:pt idx="20888">
                  <c:v>0.1552878179384205</c:v>
                </c:pt>
                <c:pt idx="20889">
                  <c:v>0.1552878179384205</c:v>
                </c:pt>
                <c:pt idx="20890">
                  <c:v>0.15394912985274423</c:v>
                </c:pt>
                <c:pt idx="20891">
                  <c:v>0.17001338688085688</c:v>
                </c:pt>
                <c:pt idx="20892">
                  <c:v>0.17402945113788482</c:v>
                </c:pt>
                <c:pt idx="20893">
                  <c:v>0.17135207496653293</c:v>
                </c:pt>
                <c:pt idx="20894">
                  <c:v>0.16733601070950477</c:v>
                </c:pt>
                <c:pt idx="20895">
                  <c:v>0.18072289156626509</c:v>
                </c:pt>
                <c:pt idx="20896">
                  <c:v>0.18206157965194114</c:v>
                </c:pt>
                <c:pt idx="20897">
                  <c:v>0.18072289156626509</c:v>
                </c:pt>
                <c:pt idx="20898">
                  <c:v>0.16867469879518082</c:v>
                </c:pt>
                <c:pt idx="20899">
                  <c:v>0.1780455153949132</c:v>
                </c:pt>
                <c:pt idx="20900">
                  <c:v>0.17938420348058903</c:v>
                </c:pt>
                <c:pt idx="20901">
                  <c:v>0.16733601070950477</c:v>
                </c:pt>
                <c:pt idx="20902">
                  <c:v>0.13922356091030785</c:v>
                </c:pt>
                <c:pt idx="20903">
                  <c:v>0.14190093708165996</c:v>
                </c:pt>
                <c:pt idx="20904">
                  <c:v>0.1298527443105757</c:v>
                </c:pt>
                <c:pt idx="20905">
                  <c:v>0.11914323962516726</c:v>
                </c:pt>
                <c:pt idx="20906">
                  <c:v>0.101740294511379</c:v>
                </c:pt>
                <c:pt idx="20907">
                  <c:v>0.11111111111111116</c:v>
                </c:pt>
                <c:pt idx="20908">
                  <c:v>0.10843373493975905</c:v>
                </c:pt>
                <c:pt idx="20909">
                  <c:v>0.101740294511379</c:v>
                </c:pt>
                <c:pt idx="20910">
                  <c:v>0.10040160642570295</c:v>
                </c:pt>
                <c:pt idx="20911">
                  <c:v>9.9062918340026895E-2</c:v>
                </c:pt>
                <c:pt idx="20912">
                  <c:v>0.10441767068273089</c:v>
                </c:pt>
                <c:pt idx="20913">
                  <c:v>0.10441767068273089</c:v>
                </c:pt>
                <c:pt idx="20914">
                  <c:v>0.12449799196787148</c:v>
                </c:pt>
                <c:pt idx="20915">
                  <c:v>0.13654618473895597</c:v>
                </c:pt>
                <c:pt idx="20916">
                  <c:v>0.14190093708165996</c:v>
                </c:pt>
                <c:pt idx="20917">
                  <c:v>0.12315930388219565</c:v>
                </c:pt>
                <c:pt idx="20918">
                  <c:v>0.12182061579651959</c:v>
                </c:pt>
                <c:pt idx="20919">
                  <c:v>0.11378848728246327</c:v>
                </c:pt>
                <c:pt idx="20920">
                  <c:v>0.12048192771084332</c:v>
                </c:pt>
                <c:pt idx="20921">
                  <c:v>0.11646586345381538</c:v>
                </c:pt>
                <c:pt idx="20922">
                  <c:v>0.12315930388219565</c:v>
                </c:pt>
                <c:pt idx="20923">
                  <c:v>0.13386880856760386</c:v>
                </c:pt>
                <c:pt idx="20924">
                  <c:v>0.12048192771084332</c:v>
                </c:pt>
                <c:pt idx="20925">
                  <c:v>0.11780455153949121</c:v>
                </c:pt>
                <c:pt idx="20926">
                  <c:v>0.10307898259705506</c:v>
                </c:pt>
                <c:pt idx="20927">
                  <c:v>9.5046854082998733E-2</c:v>
                </c:pt>
                <c:pt idx="20928">
                  <c:v>9.6385542168674565E-2</c:v>
                </c:pt>
                <c:pt idx="20929">
                  <c:v>9.1030789825970571E-2</c:v>
                </c:pt>
                <c:pt idx="20930">
                  <c:v>9.5046854082998733E-2</c:v>
                </c:pt>
                <c:pt idx="20931">
                  <c:v>9.2369477911646625E-2</c:v>
                </c:pt>
                <c:pt idx="20932">
                  <c:v>7.0950468540829981E-2</c:v>
                </c:pt>
                <c:pt idx="20933">
                  <c:v>6.8273092369478094E-2</c:v>
                </c:pt>
                <c:pt idx="20934">
                  <c:v>7.2289156626506035E-2</c:v>
                </c:pt>
                <c:pt idx="20935">
                  <c:v>7.3627844712182089E-2</c:v>
                </c:pt>
                <c:pt idx="20936">
                  <c:v>5.6224899598393607E-2</c:v>
                </c:pt>
                <c:pt idx="20937">
                  <c:v>5.8902275769745716E-2</c:v>
                </c:pt>
                <c:pt idx="20938">
                  <c:v>6.2918340026773878E-2</c:v>
                </c:pt>
                <c:pt idx="20939">
                  <c:v>5.4886211512717553E-2</c:v>
                </c:pt>
                <c:pt idx="20940">
                  <c:v>4.2838018741633288E-2</c:v>
                </c:pt>
                <c:pt idx="20941">
                  <c:v>4.5515394912985174E-2</c:v>
                </c:pt>
                <c:pt idx="20942">
                  <c:v>6.2918340026773878E-2</c:v>
                </c:pt>
                <c:pt idx="20943">
                  <c:v>7.0950468540829981E-2</c:v>
                </c:pt>
                <c:pt idx="20944">
                  <c:v>5.6224899598393607E-2</c:v>
                </c:pt>
                <c:pt idx="20945">
                  <c:v>5.6224899598393607E-2</c:v>
                </c:pt>
                <c:pt idx="20946">
                  <c:v>4.2838018741633288E-2</c:v>
                </c:pt>
                <c:pt idx="20947">
                  <c:v>4.4176706827309342E-2</c:v>
                </c:pt>
                <c:pt idx="20948">
                  <c:v>4.016064257028118E-2</c:v>
                </c:pt>
                <c:pt idx="20949">
                  <c:v>3.2128514056224855E-2</c:v>
                </c:pt>
                <c:pt idx="20950">
                  <c:v>2.5435073627844806E-2</c:v>
                </c:pt>
                <c:pt idx="20951">
                  <c:v>1.8741633199464536E-2</c:v>
                </c:pt>
                <c:pt idx="20952">
                  <c:v>0</c:v>
                </c:pt>
                <c:pt idx="20953">
                  <c:v>0</c:v>
                </c:pt>
                <c:pt idx="20954">
                  <c:v>0</c:v>
                </c:pt>
                <c:pt idx="20955">
                  <c:v>0</c:v>
                </c:pt>
                <c:pt idx="20956">
                  <c:v>0</c:v>
                </c:pt>
                <c:pt idx="20957">
                  <c:v>0</c:v>
                </c:pt>
                <c:pt idx="20958">
                  <c:v>0</c:v>
                </c:pt>
                <c:pt idx="20959">
                  <c:v>0</c:v>
                </c:pt>
                <c:pt idx="20960">
                  <c:v>0</c:v>
                </c:pt>
                <c:pt idx="20961">
                  <c:v>0</c:v>
                </c:pt>
                <c:pt idx="20962">
                  <c:v>0</c:v>
                </c:pt>
                <c:pt idx="20963">
                  <c:v>0</c:v>
                </c:pt>
                <c:pt idx="20964">
                  <c:v>0</c:v>
                </c:pt>
                <c:pt idx="20965">
                  <c:v>0</c:v>
                </c:pt>
                <c:pt idx="20966">
                  <c:v>0</c:v>
                </c:pt>
                <c:pt idx="20967">
                  <c:v>0</c:v>
                </c:pt>
                <c:pt idx="20968">
                  <c:v>0</c:v>
                </c:pt>
                <c:pt idx="20969">
                  <c:v>0</c:v>
                </c:pt>
                <c:pt idx="20970">
                  <c:v>0</c:v>
                </c:pt>
                <c:pt idx="20971">
                  <c:v>0</c:v>
                </c:pt>
                <c:pt idx="20972">
                  <c:v>0</c:v>
                </c:pt>
                <c:pt idx="20973">
                  <c:v>0</c:v>
                </c:pt>
                <c:pt idx="20974">
                  <c:v>0</c:v>
                </c:pt>
                <c:pt idx="20975">
                  <c:v>0</c:v>
                </c:pt>
                <c:pt idx="20976">
                  <c:v>0</c:v>
                </c:pt>
                <c:pt idx="20977">
                  <c:v>0</c:v>
                </c:pt>
                <c:pt idx="20978">
                  <c:v>0</c:v>
                </c:pt>
                <c:pt idx="20979">
                  <c:v>0</c:v>
                </c:pt>
                <c:pt idx="20980">
                  <c:v>0</c:v>
                </c:pt>
                <c:pt idx="20981">
                  <c:v>0</c:v>
                </c:pt>
                <c:pt idx="20982">
                  <c:v>0</c:v>
                </c:pt>
                <c:pt idx="20983">
                  <c:v>0</c:v>
                </c:pt>
                <c:pt idx="20984">
                  <c:v>0</c:v>
                </c:pt>
                <c:pt idx="20985">
                  <c:v>0</c:v>
                </c:pt>
                <c:pt idx="20986">
                  <c:v>0</c:v>
                </c:pt>
                <c:pt idx="20987">
                  <c:v>0</c:v>
                </c:pt>
                <c:pt idx="20988">
                  <c:v>0</c:v>
                </c:pt>
                <c:pt idx="20989">
                  <c:v>0</c:v>
                </c:pt>
                <c:pt idx="20990">
                  <c:v>0</c:v>
                </c:pt>
                <c:pt idx="20991">
                  <c:v>0</c:v>
                </c:pt>
                <c:pt idx="20992">
                  <c:v>0</c:v>
                </c:pt>
                <c:pt idx="20993">
                  <c:v>0</c:v>
                </c:pt>
                <c:pt idx="20994">
                  <c:v>0</c:v>
                </c:pt>
                <c:pt idx="20995">
                  <c:v>0</c:v>
                </c:pt>
                <c:pt idx="20996">
                  <c:v>0</c:v>
                </c:pt>
                <c:pt idx="20997">
                  <c:v>0</c:v>
                </c:pt>
                <c:pt idx="20998">
                  <c:v>0</c:v>
                </c:pt>
                <c:pt idx="20999">
                  <c:v>0</c:v>
                </c:pt>
                <c:pt idx="21000">
                  <c:v>0</c:v>
                </c:pt>
                <c:pt idx="21001">
                  <c:v>0</c:v>
                </c:pt>
                <c:pt idx="21002">
                  <c:v>0</c:v>
                </c:pt>
                <c:pt idx="21003">
                  <c:v>0</c:v>
                </c:pt>
                <c:pt idx="21004">
                  <c:v>0</c:v>
                </c:pt>
                <c:pt idx="21005">
                  <c:v>0</c:v>
                </c:pt>
                <c:pt idx="21006">
                  <c:v>0</c:v>
                </c:pt>
                <c:pt idx="21007">
                  <c:v>0</c:v>
                </c:pt>
                <c:pt idx="21008">
                  <c:v>0</c:v>
                </c:pt>
                <c:pt idx="21009">
                  <c:v>0</c:v>
                </c:pt>
                <c:pt idx="21010">
                  <c:v>0</c:v>
                </c:pt>
                <c:pt idx="21011">
                  <c:v>0</c:v>
                </c:pt>
                <c:pt idx="21012">
                  <c:v>0</c:v>
                </c:pt>
                <c:pt idx="21013">
                  <c:v>0</c:v>
                </c:pt>
                <c:pt idx="21014">
                  <c:v>0</c:v>
                </c:pt>
                <c:pt idx="21015">
                  <c:v>0</c:v>
                </c:pt>
                <c:pt idx="21016">
                  <c:v>0</c:v>
                </c:pt>
                <c:pt idx="21017">
                  <c:v>0</c:v>
                </c:pt>
                <c:pt idx="21018">
                  <c:v>0</c:v>
                </c:pt>
                <c:pt idx="21019">
                  <c:v>0</c:v>
                </c:pt>
                <c:pt idx="21020">
                  <c:v>0</c:v>
                </c:pt>
                <c:pt idx="21021">
                  <c:v>0</c:v>
                </c:pt>
                <c:pt idx="21022">
                  <c:v>0</c:v>
                </c:pt>
                <c:pt idx="21023">
                  <c:v>0</c:v>
                </c:pt>
                <c:pt idx="21024">
                  <c:v>0</c:v>
                </c:pt>
                <c:pt idx="21025">
                  <c:v>0</c:v>
                </c:pt>
                <c:pt idx="21026">
                  <c:v>0</c:v>
                </c:pt>
                <c:pt idx="21027">
                  <c:v>0</c:v>
                </c:pt>
                <c:pt idx="21028">
                  <c:v>0</c:v>
                </c:pt>
                <c:pt idx="21029">
                  <c:v>0</c:v>
                </c:pt>
                <c:pt idx="21030">
                  <c:v>0</c:v>
                </c:pt>
                <c:pt idx="21031">
                  <c:v>0</c:v>
                </c:pt>
                <c:pt idx="21032">
                  <c:v>0</c:v>
                </c:pt>
                <c:pt idx="21033">
                  <c:v>0</c:v>
                </c:pt>
                <c:pt idx="21034">
                  <c:v>0</c:v>
                </c:pt>
                <c:pt idx="21035">
                  <c:v>0</c:v>
                </c:pt>
                <c:pt idx="21036">
                  <c:v>0</c:v>
                </c:pt>
                <c:pt idx="21037">
                  <c:v>0</c:v>
                </c:pt>
                <c:pt idx="21038">
                  <c:v>0</c:v>
                </c:pt>
                <c:pt idx="21039">
                  <c:v>0</c:v>
                </c:pt>
                <c:pt idx="21040">
                  <c:v>0</c:v>
                </c:pt>
                <c:pt idx="21041">
                  <c:v>0</c:v>
                </c:pt>
                <c:pt idx="21042">
                  <c:v>0</c:v>
                </c:pt>
                <c:pt idx="21043">
                  <c:v>0</c:v>
                </c:pt>
                <c:pt idx="21044">
                  <c:v>0</c:v>
                </c:pt>
                <c:pt idx="21045">
                  <c:v>0</c:v>
                </c:pt>
                <c:pt idx="21046">
                  <c:v>0</c:v>
                </c:pt>
                <c:pt idx="21047">
                  <c:v>0</c:v>
                </c:pt>
                <c:pt idx="21048">
                  <c:v>0</c:v>
                </c:pt>
                <c:pt idx="21049">
                  <c:v>0</c:v>
                </c:pt>
                <c:pt idx="21050">
                  <c:v>0</c:v>
                </c:pt>
                <c:pt idx="21051">
                  <c:v>0</c:v>
                </c:pt>
                <c:pt idx="21052">
                  <c:v>0</c:v>
                </c:pt>
                <c:pt idx="21053">
                  <c:v>0</c:v>
                </c:pt>
                <c:pt idx="21054">
                  <c:v>0</c:v>
                </c:pt>
                <c:pt idx="21055">
                  <c:v>0</c:v>
                </c:pt>
                <c:pt idx="21056">
                  <c:v>0</c:v>
                </c:pt>
                <c:pt idx="21057">
                  <c:v>0</c:v>
                </c:pt>
                <c:pt idx="21058">
                  <c:v>0</c:v>
                </c:pt>
                <c:pt idx="21059">
                  <c:v>0</c:v>
                </c:pt>
                <c:pt idx="21060">
                  <c:v>0</c:v>
                </c:pt>
                <c:pt idx="21061">
                  <c:v>0</c:v>
                </c:pt>
                <c:pt idx="21062">
                  <c:v>0</c:v>
                </c:pt>
                <c:pt idx="21063">
                  <c:v>0</c:v>
                </c:pt>
                <c:pt idx="21064">
                  <c:v>0</c:v>
                </c:pt>
                <c:pt idx="21065">
                  <c:v>0</c:v>
                </c:pt>
                <c:pt idx="21066">
                  <c:v>0</c:v>
                </c:pt>
                <c:pt idx="21067">
                  <c:v>0</c:v>
                </c:pt>
                <c:pt idx="21068">
                  <c:v>0</c:v>
                </c:pt>
                <c:pt idx="21069">
                  <c:v>0</c:v>
                </c:pt>
                <c:pt idx="21070">
                  <c:v>0</c:v>
                </c:pt>
                <c:pt idx="21071">
                  <c:v>0</c:v>
                </c:pt>
                <c:pt idx="21072">
                  <c:v>0</c:v>
                </c:pt>
                <c:pt idx="21073">
                  <c:v>0</c:v>
                </c:pt>
                <c:pt idx="21074">
                  <c:v>0</c:v>
                </c:pt>
                <c:pt idx="21075">
                  <c:v>0</c:v>
                </c:pt>
                <c:pt idx="21076">
                  <c:v>0</c:v>
                </c:pt>
                <c:pt idx="21077">
                  <c:v>0</c:v>
                </c:pt>
                <c:pt idx="21078">
                  <c:v>0</c:v>
                </c:pt>
                <c:pt idx="21079">
                  <c:v>0</c:v>
                </c:pt>
                <c:pt idx="21080">
                  <c:v>0</c:v>
                </c:pt>
                <c:pt idx="21081">
                  <c:v>0</c:v>
                </c:pt>
                <c:pt idx="21082">
                  <c:v>0</c:v>
                </c:pt>
                <c:pt idx="21083">
                  <c:v>0</c:v>
                </c:pt>
                <c:pt idx="21084">
                  <c:v>0</c:v>
                </c:pt>
                <c:pt idx="21085">
                  <c:v>0</c:v>
                </c:pt>
                <c:pt idx="21086">
                  <c:v>0</c:v>
                </c:pt>
                <c:pt idx="21087">
                  <c:v>0</c:v>
                </c:pt>
                <c:pt idx="21088">
                  <c:v>0</c:v>
                </c:pt>
                <c:pt idx="21089">
                  <c:v>0</c:v>
                </c:pt>
                <c:pt idx="21090">
                  <c:v>0</c:v>
                </c:pt>
                <c:pt idx="21091">
                  <c:v>0</c:v>
                </c:pt>
                <c:pt idx="21092">
                  <c:v>0</c:v>
                </c:pt>
                <c:pt idx="21093">
                  <c:v>0</c:v>
                </c:pt>
                <c:pt idx="21094">
                  <c:v>0</c:v>
                </c:pt>
                <c:pt idx="21095">
                  <c:v>0</c:v>
                </c:pt>
                <c:pt idx="21096">
                  <c:v>0</c:v>
                </c:pt>
                <c:pt idx="21097">
                  <c:v>0</c:v>
                </c:pt>
                <c:pt idx="21098">
                  <c:v>0</c:v>
                </c:pt>
                <c:pt idx="21099">
                  <c:v>0</c:v>
                </c:pt>
                <c:pt idx="21100">
                  <c:v>0</c:v>
                </c:pt>
                <c:pt idx="21101">
                  <c:v>0</c:v>
                </c:pt>
                <c:pt idx="21102">
                  <c:v>0</c:v>
                </c:pt>
                <c:pt idx="21103">
                  <c:v>0</c:v>
                </c:pt>
                <c:pt idx="21104">
                  <c:v>0</c:v>
                </c:pt>
                <c:pt idx="21105">
                  <c:v>0</c:v>
                </c:pt>
                <c:pt idx="21106">
                  <c:v>0</c:v>
                </c:pt>
                <c:pt idx="21107">
                  <c:v>0</c:v>
                </c:pt>
                <c:pt idx="21108">
                  <c:v>0</c:v>
                </c:pt>
                <c:pt idx="21109">
                  <c:v>0</c:v>
                </c:pt>
                <c:pt idx="21110">
                  <c:v>0</c:v>
                </c:pt>
                <c:pt idx="21111">
                  <c:v>0</c:v>
                </c:pt>
                <c:pt idx="21112">
                  <c:v>0</c:v>
                </c:pt>
                <c:pt idx="21113">
                  <c:v>0</c:v>
                </c:pt>
                <c:pt idx="21114">
                  <c:v>0</c:v>
                </c:pt>
                <c:pt idx="21115">
                  <c:v>0</c:v>
                </c:pt>
                <c:pt idx="21116">
                  <c:v>0</c:v>
                </c:pt>
                <c:pt idx="21117">
                  <c:v>0</c:v>
                </c:pt>
                <c:pt idx="21118">
                  <c:v>0</c:v>
                </c:pt>
                <c:pt idx="21119">
                  <c:v>0</c:v>
                </c:pt>
                <c:pt idx="21120">
                  <c:v>0</c:v>
                </c:pt>
                <c:pt idx="21121">
                  <c:v>0</c:v>
                </c:pt>
                <c:pt idx="21122">
                  <c:v>0</c:v>
                </c:pt>
                <c:pt idx="21123">
                  <c:v>0</c:v>
                </c:pt>
                <c:pt idx="21124">
                  <c:v>0</c:v>
                </c:pt>
                <c:pt idx="21125">
                  <c:v>0</c:v>
                </c:pt>
                <c:pt idx="21126">
                  <c:v>0</c:v>
                </c:pt>
                <c:pt idx="21127">
                  <c:v>0</c:v>
                </c:pt>
                <c:pt idx="21128">
                  <c:v>0</c:v>
                </c:pt>
                <c:pt idx="21129">
                  <c:v>0</c:v>
                </c:pt>
                <c:pt idx="21130">
                  <c:v>0</c:v>
                </c:pt>
                <c:pt idx="21131">
                  <c:v>0</c:v>
                </c:pt>
                <c:pt idx="21132">
                  <c:v>0</c:v>
                </c:pt>
                <c:pt idx="21133">
                  <c:v>0</c:v>
                </c:pt>
                <c:pt idx="21134">
                  <c:v>0</c:v>
                </c:pt>
                <c:pt idx="21135">
                  <c:v>0</c:v>
                </c:pt>
                <c:pt idx="21136">
                  <c:v>0</c:v>
                </c:pt>
                <c:pt idx="21137">
                  <c:v>0</c:v>
                </c:pt>
                <c:pt idx="21138">
                  <c:v>0</c:v>
                </c:pt>
                <c:pt idx="21139">
                  <c:v>0</c:v>
                </c:pt>
                <c:pt idx="21140">
                  <c:v>0</c:v>
                </c:pt>
                <c:pt idx="21141">
                  <c:v>0</c:v>
                </c:pt>
                <c:pt idx="21142">
                  <c:v>0</c:v>
                </c:pt>
                <c:pt idx="21143">
                  <c:v>0</c:v>
                </c:pt>
                <c:pt idx="21144">
                  <c:v>0</c:v>
                </c:pt>
                <c:pt idx="21145">
                  <c:v>0</c:v>
                </c:pt>
                <c:pt idx="21146">
                  <c:v>0</c:v>
                </c:pt>
                <c:pt idx="21147">
                  <c:v>0</c:v>
                </c:pt>
                <c:pt idx="21148">
                  <c:v>0</c:v>
                </c:pt>
                <c:pt idx="21149">
                  <c:v>0</c:v>
                </c:pt>
                <c:pt idx="21150">
                  <c:v>0</c:v>
                </c:pt>
                <c:pt idx="21151">
                  <c:v>0</c:v>
                </c:pt>
                <c:pt idx="21152">
                  <c:v>0</c:v>
                </c:pt>
                <c:pt idx="21153">
                  <c:v>0</c:v>
                </c:pt>
                <c:pt idx="21154">
                  <c:v>0</c:v>
                </c:pt>
                <c:pt idx="21155">
                  <c:v>0</c:v>
                </c:pt>
                <c:pt idx="21156">
                  <c:v>0</c:v>
                </c:pt>
                <c:pt idx="21157">
                  <c:v>0</c:v>
                </c:pt>
                <c:pt idx="21158">
                  <c:v>0</c:v>
                </c:pt>
                <c:pt idx="21159">
                  <c:v>0</c:v>
                </c:pt>
                <c:pt idx="21160">
                  <c:v>0</c:v>
                </c:pt>
                <c:pt idx="21161">
                  <c:v>0</c:v>
                </c:pt>
                <c:pt idx="21162">
                  <c:v>0</c:v>
                </c:pt>
                <c:pt idx="21163">
                  <c:v>0</c:v>
                </c:pt>
                <c:pt idx="21164">
                  <c:v>0</c:v>
                </c:pt>
                <c:pt idx="21165">
                  <c:v>0</c:v>
                </c:pt>
                <c:pt idx="21166">
                  <c:v>0</c:v>
                </c:pt>
                <c:pt idx="21167">
                  <c:v>0</c:v>
                </c:pt>
                <c:pt idx="21168">
                  <c:v>0</c:v>
                </c:pt>
                <c:pt idx="21169">
                  <c:v>0</c:v>
                </c:pt>
                <c:pt idx="21170">
                  <c:v>0</c:v>
                </c:pt>
                <c:pt idx="21171">
                  <c:v>0</c:v>
                </c:pt>
                <c:pt idx="21172">
                  <c:v>0</c:v>
                </c:pt>
                <c:pt idx="21173">
                  <c:v>0</c:v>
                </c:pt>
                <c:pt idx="21174">
                  <c:v>0</c:v>
                </c:pt>
                <c:pt idx="21175">
                  <c:v>0</c:v>
                </c:pt>
                <c:pt idx="21176">
                  <c:v>0</c:v>
                </c:pt>
                <c:pt idx="21177">
                  <c:v>0</c:v>
                </c:pt>
                <c:pt idx="21178">
                  <c:v>0</c:v>
                </c:pt>
                <c:pt idx="21179">
                  <c:v>0</c:v>
                </c:pt>
                <c:pt idx="21180">
                  <c:v>0</c:v>
                </c:pt>
                <c:pt idx="21181">
                  <c:v>0</c:v>
                </c:pt>
                <c:pt idx="21182">
                  <c:v>0</c:v>
                </c:pt>
                <c:pt idx="21183">
                  <c:v>0</c:v>
                </c:pt>
                <c:pt idx="21184">
                  <c:v>0</c:v>
                </c:pt>
                <c:pt idx="21185">
                  <c:v>0</c:v>
                </c:pt>
                <c:pt idx="21186">
                  <c:v>0</c:v>
                </c:pt>
                <c:pt idx="21187">
                  <c:v>0</c:v>
                </c:pt>
                <c:pt idx="21188">
                  <c:v>0</c:v>
                </c:pt>
                <c:pt idx="21189">
                  <c:v>0</c:v>
                </c:pt>
                <c:pt idx="21190">
                  <c:v>0</c:v>
                </c:pt>
                <c:pt idx="21191">
                  <c:v>0</c:v>
                </c:pt>
                <c:pt idx="21192">
                  <c:v>0</c:v>
                </c:pt>
                <c:pt idx="21193">
                  <c:v>0</c:v>
                </c:pt>
                <c:pt idx="21194">
                  <c:v>0</c:v>
                </c:pt>
                <c:pt idx="21195">
                  <c:v>0</c:v>
                </c:pt>
                <c:pt idx="21196">
                  <c:v>0</c:v>
                </c:pt>
                <c:pt idx="21197">
                  <c:v>0</c:v>
                </c:pt>
                <c:pt idx="21198">
                  <c:v>0</c:v>
                </c:pt>
                <c:pt idx="21199">
                  <c:v>0</c:v>
                </c:pt>
                <c:pt idx="21200">
                  <c:v>0</c:v>
                </c:pt>
                <c:pt idx="21201">
                  <c:v>0</c:v>
                </c:pt>
                <c:pt idx="21202">
                  <c:v>0</c:v>
                </c:pt>
                <c:pt idx="21203">
                  <c:v>0</c:v>
                </c:pt>
                <c:pt idx="21204">
                  <c:v>0</c:v>
                </c:pt>
                <c:pt idx="21205">
                  <c:v>0</c:v>
                </c:pt>
                <c:pt idx="21206">
                  <c:v>0</c:v>
                </c:pt>
                <c:pt idx="21207">
                  <c:v>0</c:v>
                </c:pt>
                <c:pt idx="21208">
                  <c:v>0</c:v>
                </c:pt>
                <c:pt idx="21209">
                  <c:v>0</c:v>
                </c:pt>
                <c:pt idx="21210">
                  <c:v>0</c:v>
                </c:pt>
                <c:pt idx="21211">
                  <c:v>0</c:v>
                </c:pt>
                <c:pt idx="21212">
                  <c:v>0</c:v>
                </c:pt>
                <c:pt idx="21213">
                  <c:v>0</c:v>
                </c:pt>
                <c:pt idx="21214">
                  <c:v>0</c:v>
                </c:pt>
                <c:pt idx="21215">
                  <c:v>0</c:v>
                </c:pt>
                <c:pt idx="21216">
                  <c:v>0</c:v>
                </c:pt>
                <c:pt idx="21217">
                  <c:v>0</c:v>
                </c:pt>
                <c:pt idx="21218">
                  <c:v>0</c:v>
                </c:pt>
                <c:pt idx="21219">
                  <c:v>0</c:v>
                </c:pt>
                <c:pt idx="21220">
                  <c:v>0</c:v>
                </c:pt>
                <c:pt idx="21221">
                  <c:v>0</c:v>
                </c:pt>
                <c:pt idx="21222">
                  <c:v>0</c:v>
                </c:pt>
                <c:pt idx="21223">
                  <c:v>0</c:v>
                </c:pt>
                <c:pt idx="21224">
                  <c:v>0</c:v>
                </c:pt>
                <c:pt idx="21225">
                  <c:v>0</c:v>
                </c:pt>
                <c:pt idx="21226">
                  <c:v>0</c:v>
                </c:pt>
                <c:pt idx="21227">
                  <c:v>0</c:v>
                </c:pt>
                <c:pt idx="21228">
                  <c:v>0</c:v>
                </c:pt>
                <c:pt idx="21229">
                  <c:v>0</c:v>
                </c:pt>
                <c:pt idx="21230">
                  <c:v>0</c:v>
                </c:pt>
                <c:pt idx="21231">
                  <c:v>0</c:v>
                </c:pt>
                <c:pt idx="21232">
                  <c:v>0</c:v>
                </c:pt>
                <c:pt idx="21233">
                  <c:v>0</c:v>
                </c:pt>
                <c:pt idx="21234">
                  <c:v>0</c:v>
                </c:pt>
                <c:pt idx="21235">
                  <c:v>0</c:v>
                </c:pt>
                <c:pt idx="21236">
                  <c:v>0</c:v>
                </c:pt>
                <c:pt idx="21237">
                  <c:v>0</c:v>
                </c:pt>
                <c:pt idx="21238">
                  <c:v>0</c:v>
                </c:pt>
                <c:pt idx="21239">
                  <c:v>0</c:v>
                </c:pt>
                <c:pt idx="21240">
                  <c:v>0</c:v>
                </c:pt>
                <c:pt idx="21241">
                  <c:v>0</c:v>
                </c:pt>
                <c:pt idx="21242">
                  <c:v>0</c:v>
                </c:pt>
                <c:pt idx="21243">
                  <c:v>0</c:v>
                </c:pt>
                <c:pt idx="21244">
                  <c:v>0</c:v>
                </c:pt>
                <c:pt idx="21245">
                  <c:v>0</c:v>
                </c:pt>
                <c:pt idx="21246">
                  <c:v>0</c:v>
                </c:pt>
                <c:pt idx="21247">
                  <c:v>0</c:v>
                </c:pt>
                <c:pt idx="21248">
                  <c:v>0</c:v>
                </c:pt>
                <c:pt idx="21249">
                  <c:v>0</c:v>
                </c:pt>
                <c:pt idx="21250">
                  <c:v>0</c:v>
                </c:pt>
                <c:pt idx="21251">
                  <c:v>0</c:v>
                </c:pt>
                <c:pt idx="21252">
                  <c:v>0</c:v>
                </c:pt>
                <c:pt idx="21253">
                  <c:v>0</c:v>
                </c:pt>
                <c:pt idx="21254">
                  <c:v>0</c:v>
                </c:pt>
                <c:pt idx="21255">
                  <c:v>0</c:v>
                </c:pt>
                <c:pt idx="21256">
                  <c:v>0</c:v>
                </c:pt>
                <c:pt idx="21257">
                  <c:v>0</c:v>
                </c:pt>
                <c:pt idx="21258">
                  <c:v>0</c:v>
                </c:pt>
                <c:pt idx="21259">
                  <c:v>0</c:v>
                </c:pt>
                <c:pt idx="21260">
                  <c:v>0</c:v>
                </c:pt>
                <c:pt idx="21261">
                  <c:v>0</c:v>
                </c:pt>
                <c:pt idx="21262">
                  <c:v>0</c:v>
                </c:pt>
                <c:pt idx="21263">
                  <c:v>0</c:v>
                </c:pt>
                <c:pt idx="21264">
                  <c:v>0</c:v>
                </c:pt>
                <c:pt idx="21265">
                  <c:v>0</c:v>
                </c:pt>
                <c:pt idx="21266">
                  <c:v>0</c:v>
                </c:pt>
                <c:pt idx="21267">
                  <c:v>0</c:v>
                </c:pt>
                <c:pt idx="21268">
                  <c:v>0</c:v>
                </c:pt>
                <c:pt idx="21269">
                  <c:v>0</c:v>
                </c:pt>
                <c:pt idx="21270">
                  <c:v>0</c:v>
                </c:pt>
                <c:pt idx="21271">
                  <c:v>0</c:v>
                </c:pt>
                <c:pt idx="21272">
                  <c:v>0</c:v>
                </c:pt>
                <c:pt idx="21273">
                  <c:v>0</c:v>
                </c:pt>
                <c:pt idx="21274">
                  <c:v>0</c:v>
                </c:pt>
                <c:pt idx="21275">
                  <c:v>0</c:v>
                </c:pt>
                <c:pt idx="21276">
                  <c:v>0</c:v>
                </c:pt>
                <c:pt idx="21277">
                  <c:v>0</c:v>
                </c:pt>
                <c:pt idx="21278">
                  <c:v>0</c:v>
                </c:pt>
                <c:pt idx="21279">
                  <c:v>0</c:v>
                </c:pt>
                <c:pt idx="21280">
                  <c:v>0</c:v>
                </c:pt>
                <c:pt idx="21281">
                  <c:v>0</c:v>
                </c:pt>
                <c:pt idx="21282">
                  <c:v>0</c:v>
                </c:pt>
                <c:pt idx="21283">
                  <c:v>0</c:v>
                </c:pt>
                <c:pt idx="21284">
                  <c:v>0</c:v>
                </c:pt>
                <c:pt idx="21285">
                  <c:v>0</c:v>
                </c:pt>
                <c:pt idx="21286">
                  <c:v>0</c:v>
                </c:pt>
                <c:pt idx="21287">
                  <c:v>0</c:v>
                </c:pt>
                <c:pt idx="21288">
                  <c:v>0</c:v>
                </c:pt>
                <c:pt idx="21289">
                  <c:v>0</c:v>
                </c:pt>
                <c:pt idx="21290">
                  <c:v>0</c:v>
                </c:pt>
                <c:pt idx="21291">
                  <c:v>0</c:v>
                </c:pt>
                <c:pt idx="21292">
                  <c:v>0</c:v>
                </c:pt>
                <c:pt idx="21293">
                  <c:v>0</c:v>
                </c:pt>
                <c:pt idx="21294">
                  <c:v>0</c:v>
                </c:pt>
                <c:pt idx="21295">
                  <c:v>0</c:v>
                </c:pt>
                <c:pt idx="21296">
                  <c:v>0</c:v>
                </c:pt>
                <c:pt idx="21297">
                  <c:v>0</c:v>
                </c:pt>
                <c:pt idx="21298">
                  <c:v>0</c:v>
                </c:pt>
                <c:pt idx="21299">
                  <c:v>0</c:v>
                </c:pt>
                <c:pt idx="21300">
                  <c:v>0</c:v>
                </c:pt>
                <c:pt idx="21301">
                  <c:v>0</c:v>
                </c:pt>
                <c:pt idx="21302">
                  <c:v>0</c:v>
                </c:pt>
                <c:pt idx="21303">
                  <c:v>0</c:v>
                </c:pt>
                <c:pt idx="21304">
                  <c:v>0</c:v>
                </c:pt>
                <c:pt idx="21305">
                  <c:v>0</c:v>
                </c:pt>
                <c:pt idx="21306">
                  <c:v>0</c:v>
                </c:pt>
                <c:pt idx="21307">
                  <c:v>0</c:v>
                </c:pt>
                <c:pt idx="21308">
                  <c:v>0</c:v>
                </c:pt>
                <c:pt idx="21309">
                  <c:v>0</c:v>
                </c:pt>
                <c:pt idx="21310">
                  <c:v>0</c:v>
                </c:pt>
                <c:pt idx="21311">
                  <c:v>0</c:v>
                </c:pt>
                <c:pt idx="21312">
                  <c:v>0</c:v>
                </c:pt>
                <c:pt idx="21313">
                  <c:v>0</c:v>
                </c:pt>
                <c:pt idx="21314">
                  <c:v>0</c:v>
                </c:pt>
                <c:pt idx="21315">
                  <c:v>0</c:v>
                </c:pt>
                <c:pt idx="21316">
                  <c:v>0</c:v>
                </c:pt>
                <c:pt idx="21317">
                  <c:v>0</c:v>
                </c:pt>
                <c:pt idx="21318">
                  <c:v>0</c:v>
                </c:pt>
                <c:pt idx="21319">
                  <c:v>0</c:v>
                </c:pt>
                <c:pt idx="21320">
                  <c:v>0</c:v>
                </c:pt>
                <c:pt idx="21321">
                  <c:v>0</c:v>
                </c:pt>
                <c:pt idx="21322">
                  <c:v>0</c:v>
                </c:pt>
                <c:pt idx="21323">
                  <c:v>0</c:v>
                </c:pt>
                <c:pt idx="21324">
                  <c:v>0</c:v>
                </c:pt>
                <c:pt idx="21325">
                  <c:v>0</c:v>
                </c:pt>
                <c:pt idx="21326">
                  <c:v>0</c:v>
                </c:pt>
                <c:pt idx="21327">
                  <c:v>0</c:v>
                </c:pt>
                <c:pt idx="21328">
                  <c:v>0</c:v>
                </c:pt>
                <c:pt idx="21329">
                  <c:v>0</c:v>
                </c:pt>
                <c:pt idx="21330">
                  <c:v>0</c:v>
                </c:pt>
                <c:pt idx="21331">
                  <c:v>0</c:v>
                </c:pt>
                <c:pt idx="21332">
                  <c:v>0</c:v>
                </c:pt>
                <c:pt idx="21333">
                  <c:v>0</c:v>
                </c:pt>
                <c:pt idx="21334">
                  <c:v>0</c:v>
                </c:pt>
                <c:pt idx="21335">
                  <c:v>0</c:v>
                </c:pt>
                <c:pt idx="21336">
                  <c:v>0</c:v>
                </c:pt>
                <c:pt idx="21337">
                  <c:v>0</c:v>
                </c:pt>
                <c:pt idx="21338">
                  <c:v>0</c:v>
                </c:pt>
                <c:pt idx="21339">
                  <c:v>0</c:v>
                </c:pt>
                <c:pt idx="21340">
                  <c:v>0</c:v>
                </c:pt>
                <c:pt idx="21341">
                  <c:v>0</c:v>
                </c:pt>
                <c:pt idx="21342">
                  <c:v>0</c:v>
                </c:pt>
                <c:pt idx="21343">
                  <c:v>0</c:v>
                </c:pt>
                <c:pt idx="21344">
                  <c:v>0</c:v>
                </c:pt>
                <c:pt idx="21345">
                  <c:v>0</c:v>
                </c:pt>
                <c:pt idx="21346">
                  <c:v>0</c:v>
                </c:pt>
                <c:pt idx="21347">
                  <c:v>0</c:v>
                </c:pt>
                <c:pt idx="21348">
                  <c:v>0</c:v>
                </c:pt>
                <c:pt idx="21349">
                  <c:v>0</c:v>
                </c:pt>
                <c:pt idx="21350">
                  <c:v>0</c:v>
                </c:pt>
                <c:pt idx="21351">
                  <c:v>0</c:v>
                </c:pt>
                <c:pt idx="21352">
                  <c:v>0</c:v>
                </c:pt>
                <c:pt idx="21353">
                  <c:v>0</c:v>
                </c:pt>
                <c:pt idx="21354">
                  <c:v>0</c:v>
                </c:pt>
                <c:pt idx="21355">
                  <c:v>0</c:v>
                </c:pt>
                <c:pt idx="21356">
                  <c:v>0</c:v>
                </c:pt>
                <c:pt idx="21357">
                  <c:v>0</c:v>
                </c:pt>
                <c:pt idx="21358">
                  <c:v>0</c:v>
                </c:pt>
                <c:pt idx="21359">
                  <c:v>0</c:v>
                </c:pt>
                <c:pt idx="21360">
                  <c:v>0</c:v>
                </c:pt>
                <c:pt idx="21361">
                  <c:v>0</c:v>
                </c:pt>
                <c:pt idx="21362">
                  <c:v>0</c:v>
                </c:pt>
                <c:pt idx="21363">
                  <c:v>0</c:v>
                </c:pt>
                <c:pt idx="21364">
                  <c:v>0</c:v>
                </c:pt>
                <c:pt idx="21365">
                  <c:v>0</c:v>
                </c:pt>
                <c:pt idx="21366">
                  <c:v>0</c:v>
                </c:pt>
                <c:pt idx="21367">
                  <c:v>0</c:v>
                </c:pt>
                <c:pt idx="21368">
                  <c:v>0</c:v>
                </c:pt>
                <c:pt idx="21369">
                  <c:v>0</c:v>
                </c:pt>
                <c:pt idx="21370">
                  <c:v>0</c:v>
                </c:pt>
                <c:pt idx="21371">
                  <c:v>0</c:v>
                </c:pt>
                <c:pt idx="21372">
                  <c:v>0</c:v>
                </c:pt>
                <c:pt idx="21373">
                  <c:v>0</c:v>
                </c:pt>
                <c:pt idx="21374">
                  <c:v>0</c:v>
                </c:pt>
                <c:pt idx="21375">
                  <c:v>0</c:v>
                </c:pt>
                <c:pt idx="21376">
                  <c:v>0</c:v>
                </c:pt>
                <c:pt idx="21377">
                  <c:v>0</c:v>
                </c:pt>
                <c:pt idx="21378">
                  <c:v>0</c:v>
                </c:pt>
                <c:pt idx="21379">
                  <c:v>0</c:v>
                </c:pt>
                <c:pt idx="21380">
                  <c:v>0</c:v>
                </c:pt>
                <c:pt idx="21381">
                  <c:v>0</c:v>
                </c:pt>
                <c:pt idx="21382">
                  <c:v>0</c:v>
                </c:pt>
                <c:pt idx="21383">
                  <c:v>0</c:v>
                </c:pt>
                <c:pt idx="21384">
                  <c:v>0</c:v>
                </c:pt>
                <c:pt idx="21385">
                  <c:v>0</c:v>
                </c:pt>
                <c:pt idx="21386">
                  <c:v>0</c:v>
                </c:pt>
                <c:pt idx="21387">
                  <c:v>0</c:v>
                </c:pt>
                <c:pt idx="21388">
                  <c:v>0</c:v>
                </c:pt>
                <c:pt idx="21389">
                  <c:v>0</c:v>
                </c:pt>
                <c:pt idx="21390">
                  <c:v>0</c:v>
                </c:pt>
                <c:pt idx="21391">
                  <c:v>0</c:v>
                </c:pt>
                <c:pt idx="21392">
                  <c:v>0</c:v>
                </c:pt>
                <c:pt idx="21393">
                  <c:v>0</c:v>
                </c:pt>
                <c:pt idx="21394">
                  <c:v>0</c:v>
                </c:pt>
                <c:pt idx="21395">
                  <c:v>0</c:v>
                </c:pt>
                <c:pt idx="21396">
                  <c:v>0</c:v>
                </c:pt>
                <c:pt idx="21397">
                  <c:v>0</c:v>
                </c:pt>
                <c:pt idx="21398">
                  <c:v>0</c:v>
                </c:pt>
                <c:pt idx="21399">
                  <c:v>0</c:v>
                </c:pt>
                <c:pt idx="21400">
                  <c:v>0</c:v>
                </c:pt>
                <c:pt idx="21401">
                  <c:v>0</c:v>
                </c:pt>
                <c:pt idx="21402">
                  <c:v>0</c:v>
                </c:pt>
                <c:pt idx="21403">
                  <c:v>0</c:v>
                </c:pt>
                <c:pt idx="21404">
                  <c:v>0</c:v>
                </c:pt>
                <c:pt idx="21405">
                  <c:v>0</c:v>
                </c:pt>
                <c:pt idx="21406">
                  <c:v>0</c:v>
                </c:pt>
                <c:pt idx="21407">
                  <c:v>0</c:v>
                </c:pt>
                <c:pt idx="21408">
                  <c:v>0</c:v>
                </c:pt>
                <c:pt idx="21409">
                  <c:v>0</c:v>
                </c:pt>
                <c:pt idx="21410">
                  <c:v>0</c:v>
                </c:pt>
                <c:pt idx="21411">
                  <c:v>0</c:v>
                </c:pt>
                <c:pt idx="21412">
                  <c:v>0</c:v>
                </c:pt>
                <c:pt idx="21413">
                  <c:v>0</c:v>
                </c:pt>
                <c:pt idx="21414">
                  <c:v>0</c:v>
                </c:pt>
                <c:pt idx="21415">
                  <c:v>0</c:v>
                </c:pt>
                <c:pt idx="21416">
                  <c:v>0</c:v>
                </c:pt>
                <c:pt idx="21417">
                  <c:v>0</c:v>
                </c:pt>
                <c:pt idx="21418">
                  <c:v>0</c:v>
                </c:pt>
                <c:pt idx="21419">
                  <c:v>0</c:v>
                </c:pt>
                <c:pt idx="21420">
                  <c:v>0</c:v>
                </c:pt>
                <c:pt idx="21421">
                  <c:v>0</c:v>
                </c:pt>
                <c:pt idx="21422">
                  <c:v>0</c:v>
                </c:pt>
                <c:pt idx="21423">
                  <c:v>0</c:v>
                </c:pt>
                <c:pt idx="21424">
                  <c:v>0</c:v>
                </c:pt>
                <c:pt idx="21425">
                  <c:v>0</c:v>
                </c:pt>
                <c:pt idx="21426">
                  <c:v>0</c:v>
                </c:pt>
                <c:pt idx="21427">
                  <c:v>0</c:v>
                </c:pt>
                <c:pt idx="21428">
                  <c:v>0</c:v>
                </c:pt>
                <c:pt idx="21429">
                  <c:v>0</c:v>
                </c:pt>
                <c:pt idx="21430">
                  <c:v>0</c:v>
                </c:pt>
                <c:pt idx="21431">
                  <c:v>0</c:v>
                </c:pt>
                <c:pt idx="21432">
                  <c:v>0</c:v>
                </c:pt>
                <c:pt idx="21433">
                  <c:v>0</c:v>
                </c:pt>
                <c:pt idx="21434">
                  <c:v>0</c:v>
                </c:pt>
                <c:pt idx="21435">
                  <c:v>0</c:v>
                </c:pt>
                <c:pt idx="21436">
                  <c:v>0</c:v>
                </c:pt>
                <c:pt idx="21437">
                  <c:v>0</c:v>
                </c:pt>
                <c:pt idx="21438">
                  <c:v>0</c:v>
                </c:pt>
                <c:pt idx="21439">
                  <c:v>0</c:v>
                </c:pt>
                <c:pt idx="21440">
                  <c:v>0</c:v>
                </c:pt>
                <c:pt idx="21441">
                  <c:v>0</c:v>
                </c:pt>
                <c:pt idx="21442">
                  <c:v>0</c:v>
                </c:pt>
                <c:pt idx="21443">
                  <c:v>0</c:v>
                </c:pt>
                <c:pt idx="21444">
                  <c:v>0</c:v>
                </c:pt>
                <c:pt idx="21445">
                  <c:v>0</c:v>
                </c:pt>
                <c:pt idx="21446">
                  <c:v>0</c:v>
                </c:pt>
                <c:pt idx="21447">
                  <c:v>0</c:v>
                </c:pt>
                <c:pt idx="21448">
                  <c:v>0</c:v>
                </c:pt>
                <c:pt idx="21449">
                  <c:v>0</c:v>
                </c:pt>
                <c:pt idx="21450">
                  <c:v>0</c:v>
                </c:pt>
                <c:pt idx="21451">
                  <c:v>0</c:v>
                </c:pt>
                <c:pt idx="21452">
                  <c:v>0</c:v>
                </c:pt>
                <c:pt idx="21453">
                  <c:v>0</c:v>
                </c:pt>
                <c:pt idx="21454">
                  <c:v>0</c:v>
                </c:pt>
                <c:pt idx="21455">
                  <c:v>0</c:v>
                </c:pt>
                <c:pt idx="21456">
                  <c:v>0</c:v>
                </c:pt>
                <c:pt idx="21457">
                  <c:v>0</c:v>
                </c:pt>
                <c:pt idx="21458">
                  <c:v>0</c:v>
                </c:pt>
                <c:pt idx="21459">
                  <c:v>0</c:v>
                </c:pt>
                <c:pt idx="21460">
                  <c:v>0</c:v>
                </c:pt>
                <c:pt idx="21461">
                  <c:v>0</c:v>
                </c:pt>
                <c:pt idx="21462">
                  <c:v>0</c:v>
                </c:pt>
                <c:pt idx="21463">
                  <c:v>0</c:v>
                </c:pt>
                <c:pt idx="21464">
                  <c:v>0</c:v>
                </c:pt>
                <c:pt idx="21465">
                  <c:v>0</c:v>
                </c:pt>
                <c:pt idx="21466">
                  <c:v>0</c:v>
                </c:pt>
                <c:pt idx="21467">
                  <c:v>0</c:v>
                </c:pt>
                <c:pt idx="21468">
                  <c:v>0</c:v>
                </c:pt>
                <c:pt idx="21469">
                  <c:v>0</c:v>
                </c:pt>
                <c:pt idx="21470">
                  <c:v>0</c:v>
                </c:pt>
                <c:pt idx="21471">
                  <c:v>0</c:v>
                </c:pt>
                <c:pt idx="21472">
                  <c:v>0</c:v>
                </c:pt>
                <c:pt idx="21473">
                  <c:v>0</c:v>
                </c:pt>
                <c:pt idx="21474">
                  <c:v>0</c:v>
                </c:pt>
                <c:pt idx="21475">
                  <c:v>0</c:v>
                </c:pt>
                <c:pt idx="21476">
                  <c:v>0</c:v>
                </c:pt>
                <c:pt idx="21477">
                  <c:v>0</c:v>
                </c:pt>
                <c:pt idx="21478">
                  <c:v>0</c:v>
                </c:pt>
                <c:pt idx="21479">
                  <c:v>0</c:v>
                </c:pt>
                <c:pt idx="21480">
                  <c:v>0</c:v>
                </c:pt>
                <c:pt idx="21481">
                  <c:v>0</c:v>
                </c:pt>
                <c:pt idx="21482">
                  <c:v>0</c:v>
                </c:pt>
                <c:pt idx="21483">
                  <c:v>0</c:v>
                </c:pt>
                <c:pt idx="21484">
                  <c:v>0</c:v>
                </c:pt>
                <c:pt idx="21485">
                  <c:v>0</c:v>
                </c:pt>
                <c:pt idx="21486">
                  <c:v>0</c:v>
                </c:pt>
                <c:pt idx="21487">
                  <c:v>0</c:v>
                </c:pt>
                <c:pt idx="21488">
                  <c:v>0</c:v>
                </c:pt>
                <c:pt idx="21489">
                  <c:v>0</c:v>
                </c:pt>
                <c:pt idx="21490">
                  <c:v>0</c:v>
                </c:pt>
                <c:pt idx="21491">
                  <c:v>0</c:v>
                </c:pt>
                <c:pt idx="21492">
                  <c:v>0</c:v>
                </c:pt>
                <c:pt idx="21493">
                  <c:v>0</c:v>
                </c:pt>
                <c:pt idx="21494">
                  <c:v>0</c:v>
                </c:pt>
                <c:pt idx="21495">
                  <c:v>0</c:v>
                </c:pt>
                <c:pt idx="21496">
                  <c:v>0</c:v>
                </c:pt>
                <c:pt idx="21497">
                  <c:v>0</c:v>
                </c:pt>
                <c:pt idx="21498">
                  <c:v>0</c:v>
                </c:pt>
                <c:pt idx="21499">
                  <c:v>0</c:v>
                </c:pt>
                <c:pt idx="21500">
                  <c:v>0</c:v>
                </c:pt>
                <c:pt idx="21501">
                  <c:v>0</c:v>
                </c:pt>
                <c:pt idx="21502">
                  <c:v>0</c:v>
                </c:pt>
                <c:pt idx="21503">
                  <c:v>0</c:v>
                </c:pt>
                <c:pt idx="21504">
                  <c:v>0</c:v>
                </c:pt>
                <c:pt idx="21505">
                  <c:v>0</c:v>
                </c:pt>
                <c:pt idx="21506">
                  <c:v>0</c:v>
                </c:pt>
                <c:pt idx="21507">
                  <c:v>0</c:v>
                </c:pt>
                <c:pt idx="21508">
                  <c:v>0</c:v>
                </c:pt>
                <c:pt idx="21509">
                  <c:v>0</c:v>
                </c:pt>
                <c:pt idx="21510">
                  <c:v>0</c:v>
                </c:pt>
                <c:pt idx="21511">
                  <c:v>0</c:v>
                </c:pt>
                <c:pt idx="21512">
                  <c:v>0</c:v>
                </c:pt>
                <c:pt idx="21513">
                  <c:v>0</c:v>
                </c:pt>
                <c:pt idx="21514">
                  <c:v>0</c:v>
                </c:pt>
                <c:pt idx="21515">
                  <c:v>0</c:v>
                </c:pt>
                <c:pt idx="21516">
                  <c:v>0</c:v>
                </c:pt>
                <c:pt idx="21517">
                  <c:v>0</c:v>
                </c:pt>
                <c:pt idx="21518">
                  <c:v>0</c:v>
                </c:pt>
                <c:pt idx="21519">
                  <c:v>0</c:v>
                </c:pt>
                <c:pt idx="21520">
                  <c:v>0</c:v>
                </c:pt>
                <c:pt idx="21521">
                  <c:v>0</c:v>
                </c:pt>
                <c:pt idx="21522">
                  <c:v>0</c:v>
                </c:pt>
                <c:pt idx="21523">
                  <c:v>0</c:v>
                </c:pt>
                <c:pt idx="21524">
                  <c:v>0</c:v>
                </c:pt>
                <c:pt idx="21525">
                  <c:v>0</c:v>
                </c:pt>
                <c:pt idx="21526">
                  <c:v>0</c:v>
                </c:pt>
                <c:pt idx="21527">
                  <c:v>0</c:v>
                </c:pt>
                <c:pt idx="21528">
                  <c:v>0</c:v>
                </c:pt>
                <c:pt idx="21529">
                  <c:v>0</c:v>
                </c:pt>
                <c:pt idx="21530">
                  <c:v>0</c:v>
                </c:pt>
                <c:pt idx="21531">
                  <c:v>0</c:v>
                </c:pt>
                <c:pt idx="21532">
                  <c:v>0</c:v>
                </c:pt>
                <c:pt idx="21533">
                  <c:v>0</c:v>
                </c:pt>
                <c:pt idx="21534">
                  <c:v>0</c:v>
                </c:pt>
                <c:pt idx="21535">
                  <c:v>0</c:v>
                </c:pt>
                <c:pt idx="21536">
                  <c:v>0</c:v>
                </c:pt>
                <c:pt idx="21537">
                  <c:v>0</c:v>
                </c:pt>
                <c:pt idx="21538">
                  <c:v>0</c:v>
                </c:pt>
                <c:pt idx="21539">
                  <c:v>0</c:v>
                </c:pt>
                <c:pt idx="21540">
                  <c:v>0</c:v>
                </c:pt>
                <c:pt idx="21541">
                  <c:v>0</c:v>
                </c:pt>
                <c:pt idx="21542">
                  <c:v>0</c:v>
                </c:pt>
                <c:pt idx="21543">
                  <c:v>0</c:v>
                </c:pt>
                <c:pt idx="21544">
                  <c:v>0</c:v>
                </c:pt>
                <c:pt idx="21545">
                  <c:v>0</c:v>
                </c:pt>
                <c:pt idx="21546">
                  <c:v>0</c:v>
                </c:pt>
                <c:pt idx="21547">
                  <c:v>0</c:v>
                </c:pt>
                <c:pt idx="21548">
                  <c:v>0</c:v>
                </c:pt>
                <c:pt idx="21549">
                  <c:v>0</c:v>
                </c:pt>
                <c:pt idx="21550">
                  <c:v>0</c:v>
                </c:pt>
                <c:pt idx="21551">
                  <c:v>0</c:v>
                </c:pt>
                <c:pt idx="21552">
                  <c:v>0</c:v>
                </c:pt>
                <c:pt idx="21553">
                  <c:v>0</c:v>
                </c:pt>
                <c:pt idx="21554">
                  <c:v>0</c:v>
                </c:pt>
                <c:pt idx="21555">
                  <c:v>0</c:v>
                </c:pt>
                <c:pt idx="21556">
                  <c:v>0</c:v>
                </c:pt>
                <c:pt idx="21557">
                  <c:v>0</c:v>
                </c:pt>
                <c:pt idx="21558">
                  <c:v>0</c:v>
                </c:pt>
                <c:pt idx="21559">
                  <c:v>0</c:v>
                </c:pt>
                <c:pt idx="21560">
                  <c:v>0</c:v>
                </c:pt>
                <c:pt idx="21561">
                  <c:v>0</c:v>
                </c:pt>
                <c:pt idx="21562">
                  <c:v>0</c:v>
                </c:pt>
                <c:pt idx="21563">
                  <c:v>0</c:v>
                </c:pt>
                <c:pt idx="21564">
                  <c:v>0</c:v>
                </c:pt>
                <c:pt idx="21565">
                  <c:v>0</c:v>
                </c:pt>
                <c:pt idx="21566">
                  <c:v>0</c:v>
                </c:pt>
                <c:pt idx="21567">
                  <c:v>0</c:v>
                </c:pt>
                <c:pt idx="21568">
                  <c:v>0</c:v>
                </c:pt>
                <c:pt idx="21569">
                  <c:v>0</c:v>
                </c:pt>
                <c:pt idx="21570">
                  <c:v>0</c:v>
                </c:pt>
                <c:pt idx="21571">
                  <c:v>0</c:v>
                </c:pt>
                <c:pt idx="21572">
                  <c:v>0</c:v>
                </c:pt>
                <c:pt idx="21573">
                  <c:v>0</c:v>
                </c:pt>
                <c:pt idx="21574">
                  <c:v>0</c:v>
                </c:pt>
                <c:pt idx="21575">
                  <c:v>0</c:v>
                </c:pt>
                <c:pt idx="21576">
                  <c:v>0</c:v>
                </c:pt>
                <c:pt idx="21577">
                  <c:v>0</c:v>
                </c:pt>
                <c:pt idx="21578">
                  <c:v>0</c:v>
                </c:pt>
                <c:pt idx="21579">
                  <c:v>0</c:v>
                </c:pt>
                <c:pt idx="21580">
                  <c:v>0</c:v>
                </c:pt>
                <c:pt idx="21581">
                  <c:v>0</c:v>
                </c:pt>
                <c:pt idx="21582">
                  <c:v>0</c:v>
                </c:pt>
                <c:pt idx="21583">
                  <c:v>0</c:v>
                </c:pt>
                <c:pt idx="21584">
                  <c:v>0</c:v>
                </c:pt>
                <c:pt idx="21585">
                  <c:v>0</c:v>
                </c:pt>
                <c:pt idx="21586">
                  <c:v>0</c:v>
                </c:pt>
                <c:pt idx="21587">
                  <c:v>0</c:v>
                </c:pt>
                <c:pt idx="21588">
                  <c:v>0</c:v>
                </c:pt>
                <c:pt idx="21589">
                  <c:v>0</c:v>
                </c:pt>
                <c:pt idx="21590">
                  <c:v>0</c:v>
                </c:pt>
                <c:pt idx="21591">
                  <c:v>0</c:v>
                </c:pt>
                <c:pt idx="21592">
                  <c:v>0</c:v>
                </c:pt>
                <c:pt idx="21593">
                  <c:v>0</c:v>
                </c:pt>
                <c:pt idx="21594">
                  <c:v>0</c:v>
                </c:pt>
                <c:pt idx="21595">
                  <c:v>0</c:v>
                </c:pt>
                <c:pt idx="21596">
                  <c:v>0</c:v>
                </c:pt>
                <c:pt idx="21597">
                  <c:v>0</c:v>
                </c:pt>
                <c:pt idx="21598">
                  <c:v>0</c:v>
                </c:pt>
                <c:pt idx="21599">
                  <c:v>0</c:v>
                </c:pt>
                <c:pt idx="21600">
                  <c:v>0</c:v>
                </c:pt>
                <c:pt idx="21601">
                  <c:v>0</c:v>
                </c:pt>
                <c:pt idx="21602">
                  <c:v>0</c:v>
                </c:pt>
                <c:pt idx="21603">
                  <c:v>0</c:v>
                </c:pt>
                <c:pt idx="21604">
                  <c:v>0</c:v>
                </c:pt>
                <c:pt idx="21605">
                  <c:v>0</c:v>
                </c:pt>
                <c:pt idx="21606">
                  <c:v>0.26775431861804222</c:v>
                </c:pt>
                <c:pt idx="21607">
                  <c:v>0.24952015355086377</c:v>
                </c:pt>
                <c:pt idx="21608">
                  <c:v>0.24664107485604614</c:v>
                </c:pt>
                <c:pt idx="21609">
                  <c:v>0.24184261036468335</c:v>
                </c:pt>
                <c:pt idx="21610">
                  <c:v>0.24568138195777367</c:v>
                </c:pt>
                <c:pt idx="21611">
                  <c:v>0.24760076775431861</c:v>
                </c:pt>
                <c:pt idx="21612">
                  <c:v>0.25623800383877149</c:v>
                </c:pt>
                <c:pt idx="21613">
                  <c:v>0.22264875239923221</c:v>
                </c:pt>
                <c:pt idx="21614">
                  <c:v>0.22264875239923221</c:v>
                </c:pt>
                <c:pt idx="21615">
                  <c:v>0.22264875239923221</c:v>
                </c:pt>
                <c:pt idx="21616">
                  <c:v>0.23224568138195778</c:v>
                </c:pt>
                <c:pt idx="21617">
                  <c:v>0.22456813819577737</c:v>
                </c:pt>
                <c:pt idx="21618">
                  <c:v>0.22168905950095974</c:v>
                </c:pt>
                <c:pt idx="21619">
                  <c:v>0.22840690978886768</c:v>
                </c:pt>
                <c:pt idx="21620">
                  <c:v>0.23032629558541262</c:v>
                </c:pt>
                <c:pt idx="21621">
                  <c:v>0.22744721689059499</c:v>
                </c:pt>
                <c:pt idx="21622">
                  <c:v>0.22552783109404984</c:v>
                </c:pt>
                <c:pt idx="21623">
                  <c:v>0.2360844529750481</c:v>
                </c:pt>
                <c:pt idx="21624">
                  <c:v>0.22744721689059499</c:v>
                </c:pt>
                <c:pt idx="21625">
                  <c:v>0.23416506717850294</c:v>
                </c:pt>
                <c:pt idx="21626">
                  <c:v>0.25815738963531665</c:v>
                </c:pt>
                <c:pt idx="21627">
                  <c:v>0.25815738963531665</c:v>
                </c:pt>
                <c:pt idx="21628">
                  <c:v>0.24280230326295582</c:v>
                </c:pt>
                <c:pt idx="21629">
                  <c:v>0.23992322456813819</c:v>
                </c:pt>
                <c:pt idx="21630">
                  <c:v>0.24952015355086377</c:v>
                </c:pt>
                <c:pt idx="21631">
                  <c:v>0.24184261036468335</c:v>
                </c:pt>
                <c:pt idx="21632">
                  <c:v>0.24280230326295582</c:v>
                </c:pt>
                <c:pt idx="21633">
                  <c:v>0.19673704414587334</c:v>
                </c:pt>
                <c:pt idx="21634">
                  <c:v>0.25431861804222655</c:v>
                </c:pt>
                <c:pt idx="21635">
                  <c:v>0.25527831094049902</c:v>
                </c:pt>
                <c:pt idx="21636">
                  <c:v>0.25047984644913623</c:v>
                </c:pt>
                <c:pt idx="21637">
                  <c:v>0.26391554702495212</c:v>
                </c:pt>
                <c:pt idx="21638">
                  <c:v>0.24952015355086377</c:v>
                </c:pt>
                <c:pt idx="21639">
                  <c:v>0.21785028790786942</c:v>
                </c:pt>
                <c:pt idx="21640">
                  <c:v>0.19961612284069097</c:v>
                </c:pt>
                <c:pt idx="21641">
                  <c:v>0.2024952015355086</c:v>
                </c:pt>
                <c:pt idx="21642">
                  <c:v>0.21305182341650686</c:v>
                </c:pt>
                <c:pt idx="21643">
                  <c:v>0.21305182341650686</c:v>
                </c:pt>
                <c:pt idx="21644">
                  <c:v>8.4452975047984769E-2</c:v>
                </c:pt>
                <c:pt idx="21645">
                  <c:v>7.2936660268714038E-2</c:v>
                </c:pt>
                <c:pt idx="21646">
                  <c:v>9.0211132437620023E-2</c:v>
                </c:pt>
                <c:pt idx="21647">
                  <c:v>0.10172744721689075</c:v>
                </c:pt>
                <c:pt idx="21648">
                  <c:v>7.1976967370441569E-2</c:v>
                </c:pt>
                <c:pt idx="21649">
                  <c:v>6.4299424184260934E-2</c:v>
                </c:pt>
                <c:pt idx="21650">
                  <c:v>4.2226487523992384E-2</c:v>
                </c:pt>
                <c:pt idx="21651">
                  <c:v>4.5105566218810011E-2</c:v>
                </c:pt>
                <c:pt idx="21652">
                  <c:v>7.8694817658349292E-2</c:v>
                </c:pt>
                <c:pt idx="21653">
                  <c:v>5.8541266794625679E-2</c:v>
                </c:pt>
                <c:pt idx="21654">
                  <c:v>8.7332053742802396E-2</c:v>
                </c:pt>
                <c:pt idx="21655">
                  <c:v>0.11036468330134364</c:v>
                </c:pt>
                <c:pt idx="21656">
                  <c:v>0.1113243761996161</c:v>
                </c:pt>
                <c:pt idx="21657">
                  <c:v>0.14107485604606529</c:v>
                </c:pt>
                <c:pt idx="21658">
                  <c:v>0.13051823416506703</c:v>
                </c:pt>
                <c:pt idx="21659">
                  <c:v>0.10940499040307117</c:v>
                </c:pt>
                <c:pt idx="21660">
                  <c:v>0.10748560460652579</c:v>
                </c:pt>
                <c:pt idx="21661">
                  <c:v>0.13051823416506703</c:v>
                </c:pt>
                <c:pt idx="21662">
                  <c:v>0.13915547024952013</c:v>
                </c:pt>
                <c:pt idx="21663">
                  <c:v>0.1362763915547025</c:v>
                </c:pt>
                <c:pt idx="21664">
                  <c:v>0.14203454894433776</c:v>
                </c:pt>
                <c:pt idx="21665">
                  <c:v>0.16314779270633384</c:v>
                </c:pt>
                <c:pt idx="21666">
                  <c:v>0.16698656429942416</c:v>
                </c:pt>
                <c:pt idx="21667">
                  <c:v>0.15547024952015343</c:v>
                </c:pt>
                <c:pt idx="21668">
                  <c:v>0.15547024952015343</c:v>
                </c:pt>
                <c:pt idx="21669">
                  <c:v>0.16506717850287922</c:v>
                </c:pt>
                <c:pt idx="21670">
                  <c:v>0.16890595009596931</c:v>
                </c:pt>
                <c:pt idx="21671">
                  <c:v>0.16794625719769685</c:v>
                </c:pt>
                <c:pt idx="21672">
                  <c:v>0.15642994241842612</c:v>
                </c:pt>
                <c:pt idx="21673">
                  <c:v>0.16410748560460653</c:v>
                </c:pt>
                <c:pt idx="21674">
                  <c:v>0.16026871401151621</c:v>
                </c:pt>
                <c:pt idx="21675">
                  <c:v>0.13723608445297497</c:v>
                </c:pt>
                <c:pt idx="21676">
                  <c:v>0.15163147792706333</c:v>
                </c:pt>
                <c:pt idx="21677">
                  <c:v>0.16698656429942416</c:v>
                </c:pt>
                <c:pt idx="21678">
                  <c:v>0.15834932821497127</c:v>
                </c:pt>
                <c:pt idx="21679">
                  <c:v>0.10844529750479848</c:v>
                </c:pt>
                <c:pt idx="21680">
                  <c:v>0.11708253358925158</c:v>
                </c:pt>
                <c:pt idx="21681">
                  <c:v>0.10844529750479848</c:v>
                </c:pt>
                <c:pt idx="21682">
                  <c:v>8.5412667946257237E-2</c:v>
                </c:pt>
                <c:pt idx="21683">
                  <c:v>7.1976967370441569E-2</c:v>
                </c:pt>
                <c:pt idx="21684">
                  <c:v>6.8138195777351251E-2</c:v>
                </c:pt>
                <c:pt idx="21685">
                  <c:v>7.3896353166986506E-2</c:v>
                </c:pt>
                <c:pt idx="21686">
                  <c:v>7.4856046065258974E-2</c:v>
                </c:pt>
                <c:pt idx="21687">
                  <c:v>7.4856046065258974E-2</c:v>
                </c:pt>
                <c:pt idx="21688">
                  <c:v>5.5662188099808052E-2</c:v>
                </c:pt>
                <c:pt idx="21689">
                  <c:v>4.2226487523992384E-2</c:v>
                </c:pt>
                <c:pt idx="21690">
                  <c:v>3.5508637236084439E-2</c:v>
                </c:pt>
                <c:pt idx="21691">
                  <c:v>6.1420345489443529E-2</c:v>
                </c:pt>
                <c:pt idx="21692">
                  <c:v>8.3493282149712078E-2</c:v>
                </c:pt>
                <c:pt idx="21693">
                  <c:v>7.8694817658349292E-2</c:v>
                </c:pt>
                <c:pt idx="21694">
                  <c:v>0.10364683301343569</c:v>
                </c:pt>
                <c:pt idx="21695">
                  <c:v>9.8848368522072905E-2</c:v>
                </c:pt>
                <c:pt idx="21696">
                  <c:v>0.10556621880998085</c:v>
                </c:pt>
                <c:pt idx="21697">
                  <c:v>0.10556621880998085</c:v>
                </c:pt>
                <c:pt idx="21698">
                  <c:v>9.5969289827255277E-2</c:v>
                </c:pt>
                <c:pt idx="21699">
                  <c:v>8.2533589251439388E-2</c:v>
                </c:pt>
                <c:pt idx="21700">
                  <c:v>7.9654510556621982E-2</c:v>
                </c:pt>
                <c:pt idx="21701">
                  <c:v>0.10652591170825332</c:v>
                </c:pt>
                <c:pt idx="21702">
                  <c:v>0.1113243761996161</c:v>
                </c:pt>
                <c:pt idx="21703">
                  <c:v>0.11900191938579652</c:v>
                </c:pt>
                <c:pt idx="21704">
                  <c:v>0.13243761996161241</c:v>
                </c:pt>
                <c:pt idx="21705">
                  <c:v>0.11708253358925158</c:v>
                </c:pt>
                <c:pt idx="21706">
                  <c:v>0.11996161228406921</c:v>
                </c:pt>
                <c:pt idx="21707">
                  <c:v>0.11900191938579652</c:v>
                </c:pt>
                <c:pt idx="21708">
                  <c:v>0.10460652591170816</c:v>
                </c:pt>
                <c:pt idx="21709">
                  <c:v>0.10172744721689075</c:v>
                </c:pt>
                <c:pt idx="21710">
                  <c:v>9.5969289827255277E-2</c:v>
                </c:pt>
                <c:pt idx="21711">
                  <c:v>0.11324376199616126</c:v>
                </c:pt>
                <c:pt idx="21712">
                  <c:v>0.11324376199616126</c:v>
                </c:pt>
                <c:pt idx="21713">
                  <c:v>0.11804222648752405</c:v>
                </c:pt>
                <c:pt idx="21714">
                  <c:v>0.10268714011516322</c:v>
                </c:pt>
                <c:pt idx="21715">
                  <c:v>9.8848368522072905E-2</c:v>
                </c:pt>
                <c:pt idx="21716">
                  <c:v>9.6928982725527746E-2</c:v>
                </c:pt>
                <c:pt idx="21717">
                  <c:v>6.6218809980806093E-2</c:v>
                </c:pt>
                <c:pt idx="21718">
                  <c:v>7.1976967370441569E-2</c:v>
                </c:pt>
                <c:pt idx="21719">
                  <c:v>5.4702495201535584E-2</c:v>
                </c:pt>
                <c:pt idx="21720">
                  <c:v>4.5105566218810011E-2</c:v>
                </c:pt>
                <c:pt idx="21721">
                  <c:v>4.3186180422264853E-2</c:v>
                </c:pt>
                <c:pt idx="21722">
                  <c:v>4.9904030710172798E-2</c:v>
                </c:pt>
                <c:pt idx="21723">
                  <c:v>7.9654510556621982E-2</c:v>
                </c:pt>
                <c:pt idx="21724">
                  <c:v>7.5815738963531665E-2</c:v>
                </c:pt>
                <c:pt idx="21725">
                  <c:v>8.3493282149712078E-2</c:v>
                </c:pt>
                <c:pt idx="21726">
                  <c:v>8.3493282149712078E-2</c:v>
                </c:pt>
                <c:pt idx="21727">
                  <c:v>9.6928982725527746E-2</c:v>
                </c:pt>
                <c:pt idx="21728">
                  <c:v>7.7735124760076824E-2</c:v>
                </c:pt>
                <c:pt idx="21729">
                  <c:v>7.5815738963531665E-2</c:v>
                </c:pt>
                <c:pt idx="21730">
                  <c:v>7.9654510556621982E-2</c:v>
                </c:pt>
                <c:pt idx="21731">
                  <c:v>8.3493282149712078E-2</c:v>
                </c:pt>
                <c:pt idx="21732">
                  <c:v>5.5662188099808052E-2</c:v>
                </c:pt>
                <c:pt idx="21733">
                  <c:v>4.2226487523992384E-2</c:v>
                </c:pt>
                <c:pt idx="21734">
                  <c:v>4.8944337811900107E-2</c:v>
                </c:pt>
                <c:pt idx="21735">
                  <c:v>5.8541266794625679E-2</c:v>
                </c:pt>
                <c:pt idx="21736">
                  <c:v>4.702495201535517E-2</c:v>
                </c:pt>
                <c:pt idx="21737">
                  <c:v>3.646833013435713E-2</c:v>
                </c:pt>
                <c:pt idx="21738">
                  <c:v>3.4548944337811749E-2</c:v>
                </c:pt>
                <c:pt idx="21739">
                  <c:v>5.1823416506717956E-2</c:v>
                </c:pt>
                <c:pt idx="21740">
                  <c:v>4.7984644913627639E-2</c:v>
                </c:pt>
                <c:pt idx="21741">
                  <c:v>3.5508637236084439E-2</c:v>
                </c:pt>
                <c:pt idx="21742">
                  <c:v>2.303262955854124E-2</c:v>
                </c:pt>
                <c:pt idx="21743">
                  <c:v>3.9347408829174757E-2</c:v>
                </c:pt>
                <c:pt idx="21744">
                  <c:v>2.0153550863723613E-2</c:v>
                </c:pt>
                <c:pt idx="21745">
                  <c:v>3.5508637236084439E-2</c:v>
                </c:pt>
                <c:pt idx="21746">
                  <c:v>2.6871401151631336E-2</c:v>
                </c:pt>
                <c:pt idx="21747">
                  <c:v>0</c:v>
                </c:pt>
                <c:pt idx="21748">
                  <c:v>0</c:v>
                </c:pt>
                <c:pt idx="21749">
                  <c:v>0</c:v>
                </c:pt>
                <c:pt idx="21750">
                  <c:v>0</c:v>
                </c:pt>
                <c:pt idx="21751">
                  <c:v>0</c:v>
                </c:pt>
                <c:pt idx="21752">
                  <c:v>0</c:v>
                </c:pt>
                <c:pt idx="21753">
                  <c:v>0</c:v>
                </c:pt>
                <c:pt idx="21754">
                  <c:v>0</c:v>
                </c:pt>
                <c:pt idx="21755">
                  <c:v>0</c:v>
                </c:pt>
                <c:pt idx="21756">
                  <c:v>0</c:v>
                </c:pt>
                <c:pt idx="21757">
                  <c:v>0</c:v>
                </c:pt>
                <c:pt idx="21758">
                  <c:v>0</c:v>
                </c:pt>
                <c:pt idx="21759">
                  <c:v>0</c:v>
                </c:pt>
                <c:pt idx="21760">
                  <c:v>0</c:v>
                </c:pt>
                <c:pt idx="21761">
                  <c:v>0</c:v>
                </c:pt>
                <c:pt idx="21762">
                  <c:v>0</c:v>
                </c:pt>
                <c:pt idx="21763">
                  <c:v>0</c:v>
                </c:pt>
                <c:pt idx="21764">
                  <c:v>0</c:v>
                </c:pt>
                <c:pt idx="21765">
                  <c:v>0</c:v>
                </c:pt>
                <c:pt idx="21766">
                  <c:v>0</c:v>
                </c:pt>
                <c:pt idx="21767">
                  <c:v>0</c:v>
                </c:pt>
                <c:pt idx="21768">
                  <c:v>0</c:v>
                </c:pt>
                <c:pt idx="21769">
                  <c:v>0</c:v>
                </c:pt>
                <c:pt idx="21770">
                  <c:v>0</c:v>
                </c:pt>
                <c:pt idx="21771">
                  <c:v>0</c:v>
                </c:pt>
                <c:pt idx="21772">
                  <c:v>0</c:v>
                </c:pt>
                <c:pt idx="21773">
                  <c:v>0</c:v>
                </c:pt>
                <c:pt idx="21774">
                  <c:v>0</c:v>
                </c:pt>
                <c:pt idx="21775">
                  <c:v>0</c:v>
                </c:pt>
                <c:pt idx="21776">
                  <c:v>0</c:v>
                </c:pt>
                <c:pt idx="21777">
                  <c:v>0</c:v>
                </c:pt>
                <c:pt idx="21778">
                  <c:v>0</c:v>
                </c:pt>
                <c:pt idx="21779">
                  <c:v>0</c:v>
                </c:pt>
                <c:pt idx="21780">
                  <c:v>0</c:v>
                </c:pt>
                <c:pt idx="21781">
                  <c:v>0</c:v>
                </c:pt>
                <c:pt idx="21782">
                  <c:v>0</c:v>
                </c:pt>
                <c:pt idx="21783">
                  <c:v>0</c:v>
                </c:pt>
                <c:pt idx="21784">
                  <c:v>0</c:v>
                </c:pt>
                <c:pt idx="21785">
                  <c:v>0</c:v>
                </c:pt>
                <c:pt idx="21786">
                  <c:v>0</c:v>
                </c:pt>
                <c:pt idx="21787">
                  <c:v>0</c:v>
                </c:pt>
                <c:pt idx="21788">
                  <c:v>0</c:v>
                </c:pt>
                <c:pt idx="21789">
                  <c:v>0</c:v>
                </c:pt>
                <c:pt idx="21790">
                  <c:v>0</c:v>
                </c:pt>
                <c:pt idx="21791">
                  <c:v>0</c:v>
                </c:pt>
                <c:pt idx="21792">
                  <c:v>0</c:v>
                </c:pt>
                <c:pt idx="21793">
                  <c:v>0</c:v>
                </c:pt>
                <c:pt idx="21794">
                  <c:v>0</c:v>
                </c:pt>
                <c:pt idx="21795">
                  <c:v>0</c:v>
                </c:pt>
                <c:pt idx="21796">
                  <c:v>0</c:v>
                </c:pt>
                <c:pt idx="21797">
                  <c:v>0</c:v>
                </c:pt>
                <c:pt idx="21798">
                  <c:v>0</c:v>
                </c:pt>
                <c:pt idx="21799">
                  <c:v>0</c:v>
                </c:pt>
                <c:pt idx="21800">
                  <c:v>0</c:v>
                </c:pt>
                <c:pt idx="21801">
                  <c:v>0</c:v>
                </c:pt>
                <c:pt idx="21802">
                  <c:v>0</c:v>
                </c:pt>
                <c:pt idx="21803">
                  <c:v>0</c:v>
                </c:pt>
                <c:pt idx="21804">
                  <c:v>0</c:v>
                </c:pt>
                <c:pt idx="21805">
                  <c:v>0</c:v>
                </c:pt>
                <c:pt idx="21806">
                  <c:v>0</c:v>
                </c:pt>
                <c:pt idx="21807">
                  <c:v>0</c:v>
                </c:pt>
                <c:pt idx="21808">
                  <c:v>0</c:v>
                </c:pt>
                <c:pt idx="21809">
                  <c:v>0</c:v>
                </c:pt>
                <c:pt idx="21810">
                  <c:v>0</c:v>
                </c:pt>
                <c:pt idx="21811">
                  <c:v>0</c:v>
                </c:pt>
                <c:pt idx="21812">
                  <c:v>0</c:v>
                </c:pt>
                <c:pt idx="21813">
                  <c:v>0</c:v>
                </c:pt>
                <c:pt idx="21814">
                  <c:v>0</c:v>
                </c:pt>
                <c:pt idx="21815">
                  <c:v>0</c:v>
                </c:pt>
                <c:pt idx="21816">
                  <c:v>0</c:v>
                </c:pt>
                <c:pt idx="21817">
                  <c:v>0</c:v>
                </c:pt>
                <c:pt idx="21818">
                  <c:v>0</c:v>
                </c:pt>
                <c:pt idx="21819">
                  <c:v>0</c:v>
                </c:pt>
                <c:pt idx="21820">
                  <c:v>0</c:v>
                </c:pt>
                <c:pt idx="21821">
                  <c:v>0</c:v>
                </c:pt>
                <c:pt idx="21822">
                  <c:v>0</c:v>
                </c:pt>
                <c:pt idx="21823">
                  <c:v>0</c:v>
                </c:pt>
                <c:pt idx="21824">
                  <c:v>0</c:v>
                </c:pt>
                <c:pt idx="21825">
                  <c:v>0</c:v>
                </c:pt>
                <c:pt idx="21826">
                  <c:v>0</c:v>
                </c:pt>
                <c:pt idx="21827">
                  <c:v>0</c:v>
                </c:pt>
                <c:pt idx="21828">
                  <c:v>0</c:v>
                </c:pt>
                <c:pt idx="21829">
                  <c:v>0</c:v>
                </c:pt>
                <c:pt idx="21830">
                  <c:v>0</c:v>
                </c:pt>
                <c:pt idx="21831">
                  <c:v>0</c:v>
                </c:pt>
                <c:pt idx="21832">
                  <c:v>0</c:v>
                </c:pt>
                <c:pt idx="21833">
                  <c:v>0</c:v>
                </c:pt>
                <c:pt idx="21834">
                  <c:v>0</c:v>
                </c:pt>
                <c:pt idx="21835">
                  <c:v>0</c:v>
                </c:pt>
                <c:pt idx="21836">
                  <c:v>0</c:v>
                </c:pt>
                <c:pt idx="21837">
                  <c:v>0</c:v>
                </c:pt>
                <c:pt idx="21838">
                  <c:v>0</c:v>
                </c:pt>
                <c:pt idx="21839">
                  <c:v>0</c:v>
                </c:pt>
                <c:pt idx="21840">
                  <c:v>0</c:v>
                </c:pt>
                <c:pt idx="21841">
                  <c:v>0</c:v>
                </c:pt>
                <c:pt idx="21842">
                  <c:v>0</c:v>
                </c:pt>
                <c:pt idx="21843">
                  <c:v>0</c:v>
                </c:pt>
                <c:pt idx="21844">
                  <c:v>0</c:v>
                </c:pt>
                <c:pt idx="21845">
                  <c:v>0</c:v>
                </c:pt>
                <c:pt idx="21846">
                  <c:v>0</c:v>
                </c:pt>
                <c:pt idx="21847">
                  <c:v>0</c:v>
                </c:pt>
                <c:pt idx="21848">
                  <c:v>0</c:v>
                </c:pt>
                <c:pt idx="21849">
                  <c:v>0</c:v>
                </c:pt>
                <c:pt idx="21850">
                  <c:v>0</c:v>
                </c:pt>
                <c:pt idx="21851">
                  <c:v>0</c:v>
                </c:pt>
                <c:pt idx="21852">
                  <c:v>0</c:v>
                </c:pt>
                <c:pt idx="21853">
                  <c:v>0</c:v>
                </c:pt>
                <c:pt idx="21854">
                  <c:v>0</c:v>
                </c:pt>
                <c:pt idx="21855">
                  <c:v>0</c:v>
                </c:pt>
                <c:pt idx="21856">
                  <c:v>0.62235294117647055</c:v>
                </c:pt>
                <c:pt idx="21857">
                  <c:v>#N/A</c:v>
                </c:pt>
                <c:pt idx="21858">
                  <c:v>0.58000000000000007</c:v>
                </c:pt>
                <c:pt idx="21859">
                  <c:v>0.54941176470588227</c:v>
                </c:pt>
                <c:pt idx="21860">
                  <c:v>0.55176470588235293</c:v>
                </c:pt>
                <c:pt idx="21861">
                  <c:v>0.54705882352941182</c:v>
                </c:pt>
                <c:pt idx="21862">
                  <c:v>0.54117647058823515</c:v>
                </c:pt>
                <c:pt idx="21863">
                  <c:v>0.54941176470588227</c:v>
                </c:pt>
                <c:pt idx="21864">
                  <c:v>0.54588235294117649</c:v>
                </c:pt>
                <c:pt idx="21865">
                  <c:v>0.56823529411764717</c:v>
                </c:pt>
                <c:pt idx="21866">
                  <c:v>0.56000000000000005</c:v>
                </c:pt>
                <c:pt idx="21867">
                  <c:v>0.58000000000000007</c:v>
                </c:pt>
                <c:pt idx="21868">
                  <c:v>0.57647058823529407</c:v>
                </c:pt>
                <c:pt idx="21869">
                  <c:v>0.55882352941176472</c:v>
                </c:pt>
                <c:pt idx="21870">
                  <c:v>0.5541176470588236</c:v>
                </c:pt>
                <c:pt idx="21871">
                  <c:v>0.53058823529411758</c:v>
                </c:pt>
                <c:pt idx="21872">
                  <c:v>0.55882352941176472</c:v>
                </c:pt>
                <c:pt idx="21873">
                  <c:v>0.53764705882352937</c:v>
                </c:pt>
                <c:pt idx="21874">
                  <c:v>0.54705882352941182</c:v>
                </c:pt>
                <c:pt idx="21875">
                  <c:v>0.55764705882352938</c:v>
                </c:pt>
                <c:pt idx="21876">
                  <c:v>#N/A</c:v>
                </c:pt>
                <c:pt idx="21877">
                  <c:v>0.51058823529411757</c:v>
                </c:pt>
                <c:pt idx="21878">
                  <c:v>0.51882352941176468</c:v>
                </c:pt>
                <c:pt idx="21879">
                  <c:v>0.5117647058823529</c:v>
                </c:pt>
                <c:pt idx="21880">
                  <c:v>0.50823529411764712</c:v>
                </c:pt>
                <c:pt idx="21881">
                  <c:v>0.51294117647058823</c:v>
                </c:pt>
                <c:pt idx="21882">
                  <c:v>0.46823529411764708</c:v>
                </c:pt>
                <c:pt idx="21883">
                  <c:v>0.4729411764705882</c:v>
                </c:pt>
                <c:pt idx="21884">
                  <c:v>0.43999999999999995</c:v>
                </c:pt>
                <c:pt idx="21885">
                  <c:v>0.40000000000000013</c:v>
                </c:pt>
                <c:pt idx="21886">
                  <c:v>0.35058823529411764</c:v>
                </c:pt>
                <c:pt idx="21887">
                  <c:v>0.29294117647058826</c:v>
                </c:pt>
                <c:pt idx="21888">
                  <c:v>0.29647058823529404</c:v>
                </c:pt>
                <c:pt idx="21889">
                  <c:v>0.33647058823529408</c:v>
                </c:pt>
                <c:pt idx="21890">
                  <c:v>0.38235294117647056</c:v>
                </c:pt>
                <c:pt idx="21891">
                  <c:v>0.40705882352941192</c:v>
                </c:pt>
                <c:pt idx="21892">
                  <c:v>0.3988235294117648</c:v>
                </c:pt>
                <c:pt idx="21893">
                  <c:v>0.35294117647058831</c:v>
                </c:pt>
                <c:pt idx="21894">
                  <c:v>0.3447058823529412</c:v>
                </c:pt>
                <c:pt idx="21895">
                  <c:v>0.37294117647058833</c:v>
                </c:pt>
                <c:pt idx="21896">
                  <c:v>0.32941176470588251</c:v>
                </c:pt>
                <c:pt idx="21897">
                  <c:v>0.33764705882352941</c:v>
                </c:pt>
                <c:pt idx="21898">
                  <c:v>0.41882352941176482</c:v>
                </c:pt>
                <c:pt idx="21899">
                  <c:v>0.41411764705882348</c:v>
                </c:pt>
                <c:pt idx="21900">
                  <c:v>0.4458823529411764</c:v>
                </c:pt>
                <c:pt idx="21901">
                  <c:v>0.45999999999999996</c:v>
                </c:pt>
                <c:pt idx="21902">
                  <c:v>0.4376470588235295</c:v>
                </c:pt>
                <c:pt idx="21903">
                  <c:v>#N/A</c:v>
                </c:pt>
                <c:pt idx="21904">
                  <c:v>0.44235294117647062</c:v>
                </c:pt>
                <c:pt idx="21905">
                  <c:v>0.40235294117647058</c:v>
                </c:pt>
                <c:pt idx="21906">
                  <c:v>0.41882352941176482</c:v>
                </c:pt>
                <c:pt idx="21907">
                  <c:v>0.41647058823529393</c:v>
                </c:pt>
                <c:pt idx="21908">
                  <c:v>0.39411764705882346</c:v>
                </c:pt>
                <c:pt idx="21909">
                  <c:v>0.47058823529411775</c:v>
                </c:pt>
                <c:pt idx="21910">
                  <c:v>0.4847058823529411</c:v>
                </c:pt>
                <c:pt idx="21911">
                  <c:v>0.4729411764705882</c:v>
                </c:pt>
                <c:pt idx="21912">
                  <c:v>0.4764705882352942</c:v>
                </c:pt>
                <c:pt idx="21913">
                  <c:v>0.44352941176470573</c:v>
                </c:pt>
                <c:pt idx="21914">
                  <c:v>0.44823529411764707</c:v>
                </c:pt>
                <c:pt idx="21915">
                  <c:v>0.4223529411764706</c:v>
                </c:pt>
                <c:pt idx="21916">
                  <c:v>0.42352941176470593</c:v>
                </c:pt>
                <c:pt idx="21917">
                  <c:v>0.42117647058823526</c:v>
                </c:pt>
                <c:pt idx="21918">
                  <c:v>0.40235294117647058</c:v>
                </c:pt>
                <c:pt idx="21919">
                  <c:v>0.40235294117647058</c:v>
                </c:pt>
                <c:pt idx="21920">
                  <c:v>0.43176470588235283</c:v>
                </c:pt>
                <c:pt idx="21921">
                  <c:v>0.46941176470588242</c:v>
                </c:pt>
                <c:pt idx="21922">
                  <c:v>0.4882352941176471</c:v>
                </c:pt>
                <c:pt idx="21923">
                  <c:v>0.49764705882352955</c:v>
                </c:pt>
                <c:pt idx="21924">
                  <c:v>0.48941176470588243</c:v>
                </c:pt>
                <c:pt idx="21925">
                  <c:v>0.45647058823529418</c:v>
                </c:pt>
                <c:pt idx="21926">
                  <c:v>0.44705882352941195</c:v>
                </c:pt>
                <c:pt idx="21927">
                  <c:v>0.45999999999999996</c:v>
                </c:pt>
                <c:pt idx="21928">
                  <c:v>0.44117647058823528</c:v>
                </c:pt>
                <c:pt idx="21929">
                  <c:v>0.45058823529411773</c:v>
                </c:pt>
                <c:pt idx="21930">
                  <c:v>0.46823529411764708</c:v>
                </c:pt>
                <c:pt idx="21931">
                  <c:v>0.44117647058823528</c:v>
                </c:pt>
                <c:pt idx="21932">
                  <c:v>0.4847058823529411</c:v>
                </c:pt>
                <c:pt idx="21933">
                  <c:v>0.50588235294117645</c:v>
                </c:pt>
                <c:pt idx="21934">
                  <c:v>0.4764705882352942</c:v>
                </c:pt>
                <c:pt idx="21935">
                  <c:v>0.47529411764705864</c:v>
                </c:pt>
                <c:pt idx="21936">
                  <c:v>0.47411764705882353</c:v>
                </c:pt>
                <c:pt idx="21937">
                  <c:v>0.49058823529411755</c:v>
                </c:pt>
                <c:pt idx="21938">
                  <c:v>0.45294117647058818</c:v>
                </c:pt>
                <c:pt idx="21939">
                  <c:v>0.41176470588235303</c:v>
                </c:pt>
                <c:pt idx="21940">
                  <c:v>0.39294117647058813</c:v>
                </c:pt>
                <c:pt idx="21941">
                  <c:v>0.40588235294117636</c:v>
                </c:pt>
                <c:pt idx="21942">
                  <c:v>0.41647058823529393</c:v>
                </c:pt>
                <c:pt idx="21943">
                  <c:v>0.38000000000000012</c:v>
                </c:pt>
                <c:pt idx="21944">
                  <c:v>0.3988235294117648</c:v>
                </c:pt>
                <c:pt idx="21945">
                  <c:v>0.4223529411764706</c:v>
                </c:pt>
                <c:pt idx="21946">
                  <c:v>0.42823529411764705</c:v>
                </c:pt>
                <c:pt idx="21947">
                  <c:v>0.40941176470588236</c:v>
                </c:pt>
                <c:pt idx="21948">
                  <c:v>#N/A</c:v>
                </c:pt>
                <c:pt idx="21949">
                  <c:v>0.40117647058823525</c:v>
                </c:pt>
                <c:pt idx="21950">
                  <c:v>0.3600000000000001</c:v>
                </c:pt>
                <c:pt idx="21951">
                  <c:v>0.37882352941176478</c:v>
                </c:pt>
                <c:pt idx="21952">
                  <c:v>0.32352941176470584</c:v>
                </c:pt>
                <c:pt idx="21953">
                  <c:v>0.32470588235294118</c:v>
                </c:pt>
                <c:pt idx="21954">
                  <c:v>0.31176470588235294</c:v>
                </c:pt>
                <c:pt idx="21955">
                  <c:v>0.29764705882352938</c:v>
                </c:pt>
                <c:pt idx="21956">
                  <c:v>0.26235294117647068</c:v>
                </c:pt>
                <c:pt idx="21957">
                  <c:v>0.23058823529411776</c:v>
                </c:pt>
                <c:pt idx="21958">
                  <c:v>0.19882352941176462</c:v>
                </c:pt>
                <c:pt idx="21959">
                  <c:v>0.13764705882352946</c:v>
                </c:pt>
                <c:pt idx="21960">
                  <c:v>0.14823529411764702</c:v>
                </c:pt>
                <c:pt idx="21961">
                  <c:v>0.13764705882352946</c:v>
                </c:pt>
                <c:pt idx="21962">
                  <c:v>0.13294117647058834</c:v>
                </c:pt>
                <c:pt idx="21963">
                  <c:v>0.11999999999999988</c:v>
                </c:pt>
                <c:pt idx="21964">
                  <c:v>0.15294117647058836</c:v>
                </c:pt>
                <c:pt idx="21965">
                  <c:v>0.16941176470588237</c:v>
                </c:pt>
                <c:pt idx="21966">
                  <c:v>0.14470588235294124</c:v>
                </c:pt>
                <c:pt idx="21967">
                  <c:v>0.14117647058823524</c:v>
                </c:pt>
                <c:pt idx="21968">
                  <c:v>0.14588235294117657</c:v>
                </c:pt>
                <c:pt idx="21969">
                  <c:v>0.10823529411764699</c:v>
                </c:pt>
                <c:pt idx="21970">
                  <c:v>0.12235294117647055</c:v>
                </c:pt>
                <c:pt idx="21971">
                  <c:v>0.12588235294117656</c:v>
                </c:pt>
                <c:pt idx="21972">
                  <c:v>9.0588235294117636E-2</c:v>
                </c:pt>
                <c:pt idx="21973">
                  <c:v>#N/A</c:v>
                </c:pt>
                <c:pt idx="21974">
                  <c:v>9.176470588235297E-2</c:v>
                </c:pt>
                <c:pt idx="21975">
                  <c:v>9.2941176470588083E-2</c:v>
                </c:pt>
                <c:pt idx="21976">
                  <c:v>0.12235294117647055</c:v>
                </c:pt>
                <c:pt idx="21977">
                  <c:v>0.14235294117647079</c:v>
                </c:pt>
                <c:pt idx="21978">
                  <c:v>0.16352941176470592</c:v>
                </c:pt>
                <c:pt idx="21979">
                  <c:v>0.17176470588235304</c:v>
                </c:pt>
                <c:pt idx="21980">
                  <c:v>0.18941176470588239</c:v>
                </c:pt>
                <c:pt idx="21981">
                  <c:v>0.20117647058823529</c:v>
                </c:pt>
                <c:pt idx="21982">
                  <c:v>0.19294117647058839</c:v>
                </c:pt>
                <c:pt idx="21983">
                  <c:v>0.18588235294117639</c:v>
                </c:pt>
                <c:pt idx="21984">
                  <c:v>0.20705882352941174</c:v>
                </c:pt>
                <c:pt idx="21985">
                  <c:v>0.22705882352941176</c:v>
                </c:pt>
                <c:pt idx="21986">
                  <c:v>0.23411764705882354</c:v>
                </c:pt>
                <c:pt idx="21987">
                  <c:v>0.22705882352941176</c:v>
                </c:pt>
                <c:pt idx="21988">
                  <c:v>0.25058823529411778</c:v>
                </c:pt>
                <c:pt idx="21989">
                  <c:v>0.22705882352941176</c:v>
                </c:pt>
                <c:pt idx="21990">
                  <c:v>0.17294117647058838</c:v>
                </c:pt>
                <c:pt idx="21991">
                  <c:v>0.17764705882352949</c:v>
                </c:pt>
                <c:pt idx="21992">
                  <c:v>0.15882352941176459</c:v>
                </c:pt>
                <c:pt idx="21993">
                  <c:v>0.128235294117647</c:v>
                </c:pt>
                <c:pt idx="21994">
                  <c:v>0.15058823529411747</c:v>
                </c:pt>
                <c:pt idx="21995">
                  <c:v>0.14941176470588236</c:v>
                </c:pt>
                <c:pt idx="21996">
                  <c:v>0.18588235294117639</c:v>
                </c:pt>
                <c:pt idx="21997">
                  <c:v>0.17176470588235304</c:v>
                </c:pt>
                <c:pt idx="21998">
                  <c:v>0.20117647058823529</c:v>
                </c:pt>
                <c:pt idx="21999">
                  <c:v>0.2294117647058822</c:v>
                </c:pt>
                <c:pt idx="22000">
                  <c:v>0.19529411764705884</c:v>
                </c:pt>
                <c:pt idx="22001">
                  <c:v>0.18352941176470594</c:v>
                </c:pt>
                <c:pt idx="22002">
                  <c:v>0.18941176470588239</c:v>
                </c:pt>
                <c:pt idx="22003">
                  <c:v>0.22470588235294109</c:v>
                </c:pt>
                <c:pt idx="22004">
                  <c:v>#N/A</c:v>
                </c:pt>
                <c:pt idx="22005">
                  <c:v>0.19999999999999996</c:v>
                </c:pt>
                <c:pt idx="22006">
                  <c:v>0.18823529411764706</c:v>
                </c:pt>
                <c:pt idx="22007">
                  <c:v>0.18235294117647061</c:v>
                </c:pt>
                <c:pt idx="22008">
                  <c:v>0.17058823529411749</c:v>
                </c:pt>
                <c:pt idx="22009">
                  <c:v>0.13176470588235278</c:v>
                </c:pt>
                <c:pt idx="22010">
                  <c:v>8.2352941176470518E-2</c:v>
                </c:pt>
                <c:pt idx="22011">
                  <c:v>9.0588235294117636E-2</c:v>
                </c:pt>
                <c:pt idx="22012">
                  <c:v>0.11529411764705877</c:v>
                </c:pt>
                <c:pt idx="22013">
                  <c:v>8.7058823529411855E-2</c:v>
                </c:pt>
                <c:pt idx="22014">
                  <c:v>4.8235294117647154E-2</c:v>
                </c:pt>
                <c:pt idx="22015">
                  <c:v>0</c:v>
                </c:pt>
                <c:pt idx="22016">
                  <c:v>0</c:v>
                </c:pt>
                <c:pt idx="22017">
                  <c:v>0</c:v>
                </c:pt>
                <c:pt idx="22018">
                  <c:v>0</c:v>
                </c:pt>
                <c:pt idx="22019">
                  <c:v>0</c:v>
                </c:pt>
                <c:pt idx="22020">
                  <c:v>0</c:v>
                </c:pt>
                <c:pt idx="22021">
                  <c:v>0</c:v>
                </c:pt>
                <c:pt idx="22022">
                  <c:v>0</c:v>
                </c:pt>
                <c:pt idx="22023">
                  <c:v>0</c:v>
                </c:pt>
                <c:pt idx="22024">
                  <c:v>0</c:v>
                </c:pt>
                <c:pt idx="22025">
                  <c:v>0</c:v>
                </c:pt>
                <c:pt idx="22026">
                  <c:v>0</c:v>
                </c:pt>
                <c:pt idx="22027">
                  <c:v>0</c:v>
                </c:pt>
                <c:pt idx="22028">
                  <c:v>0</c:v>
                </c:pt>
                <c:pt idx="22029">
                  <c:v>0</c:v>
                </c:pt>
                <c:pt idx="22030">
                  <c:v>0</c:v>
                </c:pt>
                <c:pt idx="22031">
                  <c:v>0</c:v>
                </c:pt>
                <c:pt idx="22032">
                  <c:v>0</c:v>
                </c:pt>
                <c:pt idx="22033">
                  <c:v>0</c:v>
                </c:pt>
                <c:pt idx="22034">
                  <c:v>0</c:v>
                </c:pt>
                <c:pt idx="22035">
                  <c:v>0</c:v>
                </c:pt>
                <c:pt idx="22036">
                  <c:v>0</c:v>
                </c:pt>
                <c:pt idx="22037">
                  <c:v>0</c:v>
                </c:pt>
                <c:pt idx="22038">
                  <c:v>0</c:v>
                </c:pt>
                <c:pt idx="22039">
                  <c:v>0</c:v>
                </c:pt>
                <c:pt idx="22040">
                  <c:v>0</c:v>
                </c:pt>
                <c:pt idx="22041">
                  <c:v>0</c:v>
                </c:pt>
                <c:pt idx="22042">
                  <c:v>0</c:v>
                </c:pt>
                <c:pt idx="22043">
                  <c:v>0</c:v>
                </c:pt>
                <c:pt idx="22044">
                  <c:v>0</c:v>
                </c:pt>
                <c:pt idx="22045">
                  <c:v>0</c:v>
                </c:pt>
                <c:pt idx="22046">
                  <c:v>0</c:v>
                </c:pt>
                <c:pt idx="22047">
                  <c:v>0</c:v>
                </c:pt>
                <c:pt idx="22048">
                  <c:v>0</c:v>
                </c:pt>
                <c:pt idx="22049">
                  <c:v>0</c:v>
                </c:pt>
                <c:pt idx="22050">
                  <c:v>0</c:v>
                </c:pt>
                <c:pt idx="22051">
                  <c:v>0</c:v>
                </c:pt>
                <c:pt idx="22052">
                  <c:v>0</c:v>
                </c:pt>
                <c:pt idx="22053">
                  <c:v>0</c:v>
                </c:pt>
                <c:pt idx="22054">
                  <c:v>0</c:v>
                </c:pt>
                <c:pt idx="22055">
                  <c:v>0</c:v>
                </c:pt>
                <c:pt idx="22056">
                  <c:v>0</c:v>
                </c:pt>
                <c:pt idx="22057">
                  <c:v>0</c:v>
                </c:pt>
                <c:pt idx="22058">
                  <c:v>0</c:v>
                </c:pt>
                <c:pt idx="22059">
                  <c:v>0</c:v>
                </c:pt>
                <c:pt idx="22060">
                  <c:v>0</c:v>
                </c:pt>
                <c:pt idx="22061">
                  <c:v>0</c:v>
                </c:pt>
                <c:pt idx="22062">
                  <c:v>0</c:v>
                </c:pt>
                <c:pt idx="22063">
                  <c:v>0</c:v>
                </c:pt>
                <c:pt idx="22064">
                  <c:v>0</c:v>
                </c:pt>
                <c:pt idx="22065">
                  <c:v>0</c:v>
                </c:pt>
                <c:pt idx="22066">
                  <c:v>0</c:v>
                </c:pt>
                <c:pt idx="22067">
                  <c:v>0</c:v>
                </c:pt>
                <c:pt idx="22068">
                  <c:v>0</c:v>
                </c:pt>
                <c:pt idx="22069">
                  <c:v>0</c:v>
                </c:pt>
                <c:pt idx="22070">
                  <c:v>0</c:v>
                </c:pt>
                <c:pt idx="22071">
                  <c:v>0</c:v>
                </c:pt>
                <c:pt idx="22072">
                  <c:v>0</c:v>
                </c:pt>
                <c:pt idx="22073">
                  <c:v>0</c:v>
                </c:pt>
                <c:pt idx="22074">
                  <c:v>0</c:v>
                </c:pt>
                <c:pt idx="22075">
                  <c:v>0</c:v>
                </c:pt>
                <c:pt idx="22076">
                  <c:v>0</c:v>
                </c:pt>
                <c:pt idx="22077">
                  <c:v>0</c:v>
                </c:pt>
                <c:pt idx="22078">
                  <c:v>0</c:v>
                </c:pt>
                <c:pt idx="22079">
                  <c:v>0</c:v>
                </c:pt>
                <c:pt idx="22080">
                  <c:v>0</c:v>
                </c:pt>
                <c:pt idx="22081">
                  <c:v>0</c:v>
                </c:pt>
                <c:pt idx="22082">
                  <c:v>0</c:v>
                </c:pt>
                <c:pt idx="22083">
                  <c:v>0</c:v>
                </c:pt>
                <c:pt idx="22084">
                  <c:v>0</c:v>
                </c:pt>
                <c:pt idx="22085">
                  <c:v>0</c:v>
                </c:pt>
                <c:pt idx="22086">
                  <c:v>0</c:v>
                </c:pt>
                <c:pt idx="22087">
                  <c:v>0</c:v>
                </c:pt>
                <c:pt idx="22088">
                  <c:v>0</c:v>
                </c:pt>
                <c:pt idx="22089">
                  <c:v>0</c:v>
                </c:pt>
                <c:pt idx="22090">
                  <c:v>0</c:v>
                </c:pt>
                <c:pt idx="22091">
                  <c:v>0</c:v>
                </c:pt>
                <c:pt idx="22092">
                  <c:v>0</c:v>
                </c:pt>
                <c:pt idx="22093">
                  <c:v>0</c:v>
                </c:pt>
                <c:pt idx="22094">
                  <c:v>0</c:v>
                </c:pt>
                <c:pt idx="22095">
                  <c:v>0</c:v>
                </c:pt>
                <c:pt idx="22096">
                  <c:v>0</c:v>
                </c:pt>
                <c:pt idx="22097">
                  <c:v>0</c:v>
                </c:pt>
                <c:pt idx="22098">
                  <c:v>0</c:v>
                </c:pt>
                <c:pt idx="22099">
                  <c:v>0</c:v>
                </c:pt>
                <c:pt idx="22100">
                  <c:v>0</c:v>
                </c:pt>
                <c:pt idx="22101">
                  <c:v>0</c:v>
                </c:pt>
                <c:pt idx="22102">
                  <c:v>0</c:v>
                </c:pt>
                <c:pt idx="22103">
                  <c:v>0</c:v>
                </c:pt>
                <c:pt idx="22104">
                  <c:v>0</c:v>
                </c:pt>
                <c:pt idx="22105">
                  <c:v>0</c:v>
                </c:pt>
                <c:pt idx="22106">
                  <c:v>0</c:v>
                </c:pt>
                <c:pt idx="22107">
                  <c:v>0</c:v>
                </c:pt>
                <c:pt idx="22108">
                  <c:v>0</c:v>
                </c:pt>
                <c:pt idx="22109">
                  <c:v>0</c:v>
                </c:pt>
                <c:pt idx="22110">
                  <c:v>0</c:v>
                </c:pt>
                <c:pt idx="22111">
                  <c:v>0</c:v>
                </c:pt>
                <c:pt idx="22112">
                  <c:v>0</c:v>
                </c:pt>
                <c:pt idx="22113">
                  <c:v>0</c:v>
                </c:pt>
                <c:pt idx="22114">
                  <c:v>0</c:v>
                </c:pt>
                <c:pt idx="22115">
                  <c:v>0</c:v>
                </c:pt>
                <c:pt idx="22116">
                  <c:v>0</c:v>
                </c:pt>
                <c:pt idx="22117">
                  <c:v>0</c:v>
                </c:pt>
                <c:pt idx="22118">
                  <c:v>0</c:v>
                </c:pt>
                <c:pt idx="22119">
                  <c:v>0</c:v>
                </c:pt>
                <c:pt idx="22120">
                  <c:v>0</c:v>
                </c:pt>
                <c:pt idx="22121">
                  <c:v>0</c:v>
                </c:pt>
                <c:pt idx="22122">
                  <c:v>0</c:v>
                </c:pt>
                <c:pt idx="22123">
                  <c:v>0</c:v>
                </c:pt>
                <c:pt idx="22124">
                  <c:v>0</c:v>
                </c:pt>
                <c:pt idx="22125">
                  <c:v>0</c:v>
                </c:pt>
                <c:pt idx="22126">
                  <c:v>0</c:v>
                </c:pt>
                <c:pt idx="22127">
                  <c:v>0</c:v>
                </c:pt>
                <c:pt idx="22128">
                  <c:v>0</c:v>
                </c:pt>
                <c:pt idx="22129">
                  <c:v>0</c:v>
                </c:pt>
                <c:pt idx="22130">
                  <c:v>0</c:v>
                </c:pt>
                <c:pt idx="22131">
                  <c:v>0</c:v>
                </c:pt>
                <c:pt idx="22132">
                  <c:v>0</c:v>
                </c:pt>
                <c:pt idx="22133">
                  <c:v>0</c:v>
                </c:pt>
                <c:pt idx="22134">
                  <c:v>0</c:v>
                </c:pt>
                <c:pt idx="22135">
                  <c:v>0</c:v>
                </c:pt>
                <c:pt idx="22136">
                  <c:v>0</c:v>
                </c:pt>
                <c:pt idx="22137">
                  <c:v>0</c:v>
                </c:pt>
                <c:pt idx="22138">
                  <c:v>0</c:v>
                </c:pt>
                <c:pt idx="22139">
                  <c:v>0</c:v>
                </c:pt>
                <c:pt idx="22140">
                  <c:v>0</c:v>
                </c:pt>
                <c:pt idx="22141">
                  <c:v>0</c:v>
                </c:pt>
                <c:pt idx="22142">
                  <c:v>0</c:v>
                </c:pt>
                <c:pt idx="22143">
                  <c:v>0</c:v>
                </c:pt>
                <c:pt idx="22144">
                  <c:v>0</c:v>
                </c:pt>
                <c:pt idx="22145">
                  <c:v>0</c:v>
                </c:pt>
                <c:pt idx="22146">
                  <c:v>0</c:v>
                </c:pt>
                <c:pt idx="22147">
                  <c:v>0</c:v>
                </c:pt>
                <c:pt idx="22148">
                  <c:v>0</c:v>
                </c:pt>
                <c:pt idx="22149">
                  <c:v>0</c:v>
                </c:pt>
                <c:pt idx="22150">
                  <c:v>0</c:v>
                </c:pt>
                <c:pt idx="22151">
                  <c:v>0</c:v>
                </c:pt>
                <c:pt idx="22152">
                  <c:v>0</c:v>
                </c:pt>
                <c:pt idx="22153">
                  <c:v>0</c:v>
                </c:pt>
                <c:pt idx="22154">
                  <c:v>0</c:v>
                </c:pt>
                <c:pt idx="22155">
                  <c:v>0</c:v>
                </c:pt>
                <c:pt idx="22156">
                  <c:v>0</c:v>
                </c:pt>
                <c:pt idx="22157">
                  <c:v>0</c:v>
                </c:pt>
                <c:pt idx="22158">
                  <c:v>0</c:v>
                </c:pt>
                <c:pt idx="22159">
                  <c:v>0</c:v>
                </c:pt>
                <c:pt idx="22160">
                  <c:v>0</c:v>
                </c:pt>
                <c:pt idx="22161">
                  <c:v>0</c:v>
                </c:pt>
                <c:pt idx="22162">
                  <c:v>0</c:v>
                </c:pt>
                <c:pt idx="22163">
                  <c:v>0</c:v>
                </c:pt>
                <c:pt idx="22164">
                  <c:v>0</c:v>
                </c:pt>
                <c:pt idx="22165">
                  <c:v>0</c:v>
                </c:pt>
                <c:pt idx="22166">
                  <c:v>0</c:v>
                </c:pt>
                <c:pt idx="22167">
                  <c:v>0</c:v>
                </c:pt>
                <c:pt idx="22168">
                  <c:v>0</c:v>
                </c:pt>
                <c:pt idx="22169">
                  <c:v>0</c:v>
                </c:pt>
                <c:pt idx="22170">
                  <c:v>0</c:v>
                </c:pt>
                <c:pt idx="22171">
                  <c:v>0</c:v>
                </c:pt>
                <c:pt idx="22172">
                  <c:v>0</c:v>
                </c:pt>
                <c:pt idx="22173">
                  <c:v>0</c:v>
                </c:pt>
                <c:pt idx="22174">
                  <c:v>0</c:v>
                </c:pt>
                <c:pt idx="22175">
                  <c:v>0</c:v>
                </c:pt>
                <c:pt idx="22176">
                  <c:v>0</c:v>
                </c:pt>
                <c:pt idx="22177">
                  <c:v>0</c:v>
                </c:pt>
                <c:pt idx="22178">
                  <c:v>0</c:v>
                </c:pt>
                <c:pt idx="22179">
                  <c:v>0</c:v>
                </c:pt>
                <c:pt idx="22180">
                  <c:v>0</c:v>
                </c:pt>
                <c:pt idx="22181">
                  <c:v>0</c:v>
                </c:pt>
                <c:pt idx="22182">
                  <c:v>0</c:v>
                </c:pt>
                <c:pt idx="22183">
                  <c:v>0</c:v>
                </c:pt>
                <c:pt idx="22184">
                  <c:v>0</c:v>
                </c:pt>
                <c:pt idx="22185">
                  <c:v>0</c:v>
                </c:pt>
                <c:pt idx="22186">
                  <c:v>0</c:v>
                </c:pt>
                <c:pt idx="22187">
                  <c:v>0</c:v>
                </c:pt>
                <c:pt idx="22188">
                  <c:v>0</c:v>
                </c:pt>
                <c:pt idx="22189">
                  <c:v>0</c:v>
                </c:pt>
                <c:pt idx="22190">
                  <c:v>0</c:v>
                </c:pt>
                <c:pt idx="22191">
                  <c:v>0</c:v>
                </c:pt>
                <c:pt idx="22192">
                  <c:v>0</c:v>
                </c:pt>
                <c:pt idx="22193">
                  <c:v>0</c:v>
                </c:pt>
                <c:pt idx="22194">
                  <c:v>0</c:v>
                </c:pt>
                <c:pt idx="22195">
                  <c:v>0</c:v>
                </c:pt>
                <c:pt idx="22196">
                  <c:v>0</c:v>
                </c:pt>
                <c:pt idx="22197">
                  <c:v>0</c:v>
                </c:pt>
                <c:pt idx="22198">
                  <c:v>0</c:v>
                </c:pt>
                <c:pt idx="22199">
                  <c:v>0</c:v>
                </c:pt>
                <c:pt idx="22200">
                  <c:v>0</c:v>
                </c:pt>
                <c:pt idx="22201">
                  <c:v>0</c:v>
                </c:pt>
                <c:pt idx="22202">
                  <c:v>0</c:v>
                </c:pt>
                <c:pt idx="22203">
                  <c:v>0</c:v>
                </c:pt>
                <c:pt idx="22204">
                  <c:v>0</c:v>
                </c:pt>
                <c:pt idx="22205">
                  <c:v>0</c:v>
                </c:pt>
                <c:pt idx="22206">
                  <c:v>0</c:v>
                </c:pt>
                <c:pt idx="22207">
                  <c:v>0</c:v>
                </c:pt>
                <c:pt idx="22208">
                  <c:v>0</c:v>
                </c:pt>
                <c:pt idx="22209">
                  <c:v>0</c:v>
                </c:pt>
                <c:pt idx="22210">
                  <c:v>0</c:v>
                </c:pt>
                <c:pt idx="22211">
                  <c:v>0</c:v>
                </c:pt>
                <c:pt idx="22212">
                  <c:v>0</c:v>
                </c:pt>
                <c:pt idx="22213">
                  <c:v>0</c:v>
                </c:pt>
                <c:pt idx="22214">
                  <c:v>0</c:v>
                </c:pt>
                <c:pt idx="22215">
                  <c:v>0</c:v>
                </c:pt>
                <c:pt idx="22216">
                  <c:v>0</c:v>
                </c:pt>
                <c:pt idx="22217">
                  <c:v>0</c:v>
                </c:pt>
                <c:pt idx="22218">
                  <c:v>0</c:v>
                </c:pt>
                <c:pt idx="22219">
                  <c:v>0</c:v>
                </c:pt>
                <c:pt idx="22220">
                  <c:v>0</c:v>
                </c:pt>
                <c:pt idx="22221">
                  <c:v>0</c:v>
                </c:pt>
                <c:pt idx="22222">
                  <c:v>0</c:v>
                </c:pt>
                <c:pt idx="22223">
                  <c:v>0</c:v>
                </c:pt>
                <c:pt idx="22224">
                  <c:v>0</c:v>
                </c:pt>
                <c:pt idx="22225">
                  <c:v>0</c:v>
                </c:pt>
                <c:pt idx="22226">
                  <c:v>0</c:v>
                </c:pt>
                <c:pt idx="22227">
                  <c:v>0</c:v>
                </c:pt>
                <c:pt idx="22228">
                  <c:v>0</c:v>
                </c:pt>
                <c:pt idx="22229">
                  <c:v>0</c:v>
                </c:pt>
                <c:pt idx="22230">
                  <c:v>0</c:v>
                </c:pt>
                <c:pt idx="22231">
                  <c:v>0</c:v>
                </c:pt>
                <c:pt idx="22232">
                  <c:v>0</c:v>
                </c:pt>
                <c:pt idx="22233">
                  <c:v>0</c:v>
                </c:pt>
                <c:pt idx="22234">
                  <c:v>0</c:v>
                </c:pt>
                <c:pt idx="22235">
                  <c:v>0</c:v>
                </c:pt>
                <c:pt idx="22236">
                  <c:v>0</c:v>
                </c:pt>
                <c:pt idx="22237">
                  <c:v>0</c:v>
                </c:pt>
                <c:pt idx="22238">
                  <c:v>0</c:v>
                </c:pt>
                <c:pt idx="22239">
                  <c:v>0</c:v>
                </c:pt>
                <c:pt idx="22240">
                  <c:v>0</c:v>
                </c:pt>
                <c:pt idx="22241">
                  <c:v>0</c:v>
                </c:pt>
                <c:pt idx="22242">
                  <c:v>0</c:v>
                </c:pt>
                <c:pt idx="22243">
                  <c:v>0</c:v>
                </c:pt>
                <c:pt idx="22244">
                  <c:v>0</c:v>
                </c:pt>
                <c:pt idx="22245">
                  <c:v>0</c:v>
                </c:pt>
                <c:pt idx="22246">
                  <c:v>0</c:v>
                </c:pt>
                <c:pt idx="22247">
                  <c:v>0</c:v>
                </c:pt>
                <c:pt idx="22248">
                  <c:v>0</c:v>
                </c:pt>
                <c:pt idx="22249">
                  <c:v>0</c:v>
                </c:pt>
                <c:pt idx="22250">
                  <c:v>0</c:v>
                </c:pt>
                <c:pt idx="22251">
                  <c:v>0</c:v>
                </c:pt>
                <c:pt idx="22252">
                  <c:v>0</c:v>
                </c:pt>
                <c:pt idx="22253">
                  <c:v>0</c:v>
                </c:pt>
                <c:pt idx="22254">
                  <c:v>0</c:v>
                </c:pt>
                <c:pt idx="22255">
                  <c:v>0</c:v>
                </c:pt>
                <c:pt idx="22256">
                  <c:v>0</c:v>
                </c:pt>
                <c:pt idx="22257">
                  <c:v>0</c:v>
                </c:pt>
                <c:pt idx="22258">
                  <c:v>0</c:v>
                </c:pt>
                <c:pt idx="22259">
                  <c:v>0</c:v>
                </c:pt>
                <c:pt idx="22260">
                  <c:v>0</c:v>
                </c:pt>
                <c:pt idx="22261">
                  <c:v>0</c:v>
                </c:pt>
                <c:pt idx="22262">
                  <c:v>0</c:v>
                </c:pt>
                <c:pt idx="22263">
                  <c:v>0</c:v>
                </c:pt>
                <c:pt idx="22264">
                  <c:v>0</c:v>
                </c:pt>
                <c:pt idx="22265">
                  <c:v>0</c:v>
                </c:pt>
                <c:pt idx="22266">
                  <c:v>0</c:v>
                </c:pt>
                <c:pt idx="22267">
                  <c:v>0</c:v>
                </c:pt>
                <c:pt idx="22268">
                  <c:v>0</c:v>
                </c:pt>
                <c:pt idx="22269">
                  <c:v>0</c:v>
                </c:pt>
                <c:pt idx="22270">
                  <c:v>0</c:v>
                </c:pt>
                <c:pt idx="22271">
                  <c:v>0</c:v>
                </c:pt>
                <c:pt idx="22272">
                  <c:v>0</c:v>
                </c:pt>
                <c:pt idx="22273">
                  <c:v>0</c:v>
                </c:pt>
                <c:pt idx="22274">
                  <c:v>0</c:v>
                </c:pt>
                <c:pt idx="22275">
                  <c:v>0</c:v>
                </c:pt>
                <c:pt idx="22276">
                  <c:v>0</c:v>
                </c:pt>
                <c:pt idx="22277">
                  <c:v>0</c:v>
                </c:pt>
                <c:pt idx="22278">
                  <c:v>0</c:v>
                </c:pt>
                <c:pt idx="22279">
                  <c:v>0</c:v>
                </c:pt>
                <c:pt idx="22280">
                  <c:v>0</c:v>
                </c:pt>
                <c:pt idx="22281">
                  <c:v>0</c:v>
                </c:pt>
                <c:pt idx="22282">
                  <c:v>0</c:v>
                </c:pt>
                <c:pt idx="22283">
                  <c:v>0</c:v>
                </c:pt>
                <c:pt idx="22284">
                  <c:v>0</c:v>
                </c:pt>
                <c:pt idx="22285">
                  <c:v>0</c:v>
                </c:pt>
                <c:pt idx="22286">
                  <c:v>0</c:v>
                </c:pt>
                <c:pt idx="22287">
                  <c:v>0</c:v>
                </c:pt>
                <c:pt idx="22288">
                  <c:v>0</c:v>
                </c:pt>
                <c:pt idx="22289">
                  <c:v>0</c:v>
                </c:pt>
                <c:pt idx="22290">
                  <c:v>0</c:v>
                </c:pt>
                <c:pt idx="22291">
                  <c:v>1.3163771712158812</c:v>
                </c:pt>
                <c:pt idx="22292">
                  <c:v>1.3002481389578162</c:v>
                </c:pt>
                <c:pt idx="22293">
                  <c:v>1.3027295285359797</c:v>
                </c:pt>
                <c:pt idx="22294">
                  <c:v>1.3101736972704714</c:v>
                </c:pt>
                <c:pt idx="22295">
                  <c:v>1.2803970223325059</c:v>
                </c:pt>
                <c:pt idx="22296">
                  <c:v>1.3014888337468982</c:v>
                </c:pt>
                <c:pt idx="22297">
                  <c:v>1.2754342431761785</c:v>
                </c:pt>
                <c:pt idx="22298">
                  <c:v>1.2444168734491314</c:v>
                </c:pt>
                <c:pt idx="22299">
                  <c:v>1.2406947890818856</c:v>
                </c:pt>
                <c:pt idx="22300">
                  <c:v>1.2332506203473943</c:v>
                </c:pt>
                <c:pt idx="22301">
                  <c:v>1.2419354838709675</c:v>
                </c:pt>
                <c:pt idx="22302">
                  <c:v>1.2295285359801484</c:v>
                </c:pt>
                <c:pt idx="22303">
                  <c:v>1.2791563275434243</c:v>
                </c:pt>
                <c:pt idx="22304">
                  <c:v>1.2791563275434243</c:v>
                </c:pt>
                <c:pt idx="22305">
                  <c:v>1.2605459057071959</c:v>
                </c:pt>
                <c:pt idx="22306">
                  <c:v>1.2481389578163773</c:v>
                </c:pt>
                <c:pt idx="22307">
                  <c:v>1.2518610421836227</c:v>
                </c:pt>
                <c:pt idx="22308">
                  <c:v>1.2456575682382134</c:v>
                </c:pt>
                <c:pt idx="22309">
                  <c:v>1.2729528535980146</c:v>
                </c:pt>
                <c:pt idx="22310">
                  <c:v>1.2729528535980146</c:v>
                </c:pt>
                <c:pt idx="22311">
                  <c:v>1.2543424317617866</c:v>
                </c:pt>
                <c:pt idx="22312">
                  <c:v>1.2320099255583123</c:v>
                </c:pt>
                <c:pt idx="22313">
                  <c:v>1.2419354838709675</c:v>
                </c:pt>
                <c:pt idx="22314">
                  <c:v>1.2158808933002478</c:v>
                </c:pt>
                <c:pt idx="22315">
                  <c:v>1.2518610421836227</c:v>
                </c:pt>
                <c:pt idx="22316">
                  <c:v>1.2493796526054588</c:v>
                </c:pt>
                <c:pt idx="22317">
                  <c:v>1.2332506203473943</c:v>
                </c:pt>
                <c:pt idx="22318">
                  <c:v>1.2183622828784118</c:v>
                </c:pt>
                <c:pt idx="22319">
                  <c:v>1.2047146401985112</c:v>
                </c:pt>
                <c:pt idx="22320">
                  <c:v>1.1873449131513647</c:v>
                </c:pt>
                <c:pt idx="22321">
                  <c:v>1.1898263027295282</c:v>
                </c:pt>
                <c:pt idx="22322">
                  <c:v>1.1724565756823822</c:v>
                </c:pt>
                <c:pt idx="22323">
                  <c:v>1.2047146401985112</c:v>
                </c:pt>
                <c:pt idx="22324">
                  <c:v>1.2171215880893298</c:v>
                </c:pt>
                <c:pt idx="22325">
                  <c:v>1.2282878411910669</c:v>
                </c:pt>
                <c:pt idx="22326">
                  <c:v>1.2133995037220844</c:v>
                </c:pt>
                <c:pt idx="22327">
                  <c:v>1.1861042183622827</c:v>
                </c:pt>
                <c:pt idx="22328">
                  <c:v>1.2009925558312653</c:v>
                </c:pt>
                <c:pt idx="22329">
                  <c:v>1.2009925558312653</c:v>
                </c:pt>
                <c:pt idx="22330">
                  <c:v>1.1910669975186101</c:v>
                </c:pt>
                <c:pt idx="22331">
                  <c:v>1.1848635235732008</c:v>
                </c:pt>
                <c:pt idx="22332">
                  <c:v>1.1811414392059549</c:v>
                </c:pt>
                <c:pt idx="22333">
                  <c:v>1.1799007444168734</c:v>
                </c:pt>
                <c:pt idx="22334">
                  <c:v>1.1687344913151363</c:v>
                </c:pt>
                <c:pt idx="22335">
                  <c:v>1.1687344913151363</c:v>
                </c:pt>
                <c:pt idx="22336">
                  <c:v>1.1203473945409428</c:v>
                </c:pt>
                <c:pt idx="22337">
                  <c:v>1.1191066997518608</c:v>
                </c:pt>
                <c:pt idx="22338">
                  <c:v>1.1004962779156324</c:v>
                </c:pt>
                <c:pt idx="22339">
                  <c:v>1.1315136476426799</c:v>
                </c:pt>
                <c:pt idx="22340">
                  <c:v>1.1315136476426799</c:v>
                </c:pt>
                <c:pt idx="22341">
                  <c:v>1.1426799007444166</c:v>
                </c:pt>
                <c:pt idx="22342">
                  <c:v>1.1104218362282881</c:v>
                </c:pt>
                <c:pt idx="22343">
                  <c:v>1.1017369727047148</c:v>
                </c:pt>
                <c:pt idx="22344">
                  <c:v>1.1166253101736969</c:v>
                </c:pt>
                <c:pt idx="22345">
                  <c:v>1.1166253101736969</c:v>
                </c:pt>
                <c:pt idx="22346">
                  <c:v>1.1129032258064515</c:v>
                </c:pt>
                <c:pt idx="22347">
                  <c:v>1.0918114143920592</c:v>
                </c:pt>
                <c:pt idx="22348">
                  <c:v>1.0657568238213395</c:v>
                </c:pt>
                <c:pt idx="22349">
                  <c:v>1.1091811414392057</c:v>
                </c:pt>
                <c:pt idx="22350">
                  <c:v>1.129032258064516</c:v>
                </c:pt>
                <c:pt idx="22351">
                  <c:v>1.1451612903225805</c:v>
                </c:pt>
                <c:pt idx="22352">
                  <c:v>1.1488833746898264</c:v>
                </c:pt>
                <c:pt idx="22353">
                  <c:v>1.1488833746898264</c:v>
                </c:pt>
                <c:pt idx="22354">
                  <c:v>1.1265508684863521</c:v>
                </c:pt>
                <c:pt idx="22355">
                  <c:v>1.1364764267990073</c:v>
                </c:pt>
                <c:pt idx="22356">
                  <c:v>1.1153846153846154</c:v>
                </c:pt>
                <c:pt idx="22357">
                  <c:v>1.1054590570719602</c:v>
                </c:pt>
                <c:pt idx="22358">
                  <c:v>1.098014888337469</c:v>
                </c:pt>
                <c:pt idx="22359">
                  <c:v>1.1104218362282881</c:v>
                </c:pt>
                <c:pt idx="22360">
                  <c:v>1.1141439205955335</c:v>
                </c:pt>
                <c:pt idx="22361">
                  <c:v>1.1029776674937963</c:v>
                </c:pt>
                <c:pt idx="22362">
                  <c:v>1.1265508684863521</c:v>
                </c:pt>
                <c:pt idx="22363">
                  <c:v>1.1439205955334986</c:v>
                </c:pt>
                <c:pt idx="22364">
                  <c:v>1.1513647642679898</c:v>
                </c:pt>
                <c:pt idx="22365">
                  <c:v>1.1203473945409428</c:v>
                </c:pt>
                <c:pt idx="22366">
                  <c:v>1.1203473945409428</c:v>
                </c:pt>
                <c:pt idx="22367">
                  <c:v>1.1315136476426799</c:v>
                </c:pt>
                <c:pt idx="22368">
                  <c:v>1.0955334987593051</c:v>
                </c:pt>
                <c:pt idx="22369">
                  <c:v>1.1253101736972702</c:v>
                </c:pt>
                <c:pt idx="22370">
                  <c:v>1.1464019851116625</c:v>
                </c:pt>
                <c:pt idx="22371">
                  <c:v>1.1724565756823822</c:v>
                </c:pt>
                <c:pt idx="22372">
                  <c:v>1.1885856079404467</c:v>
                </c:pt>
                <c:pt idx="22373">
                  <c:v>1.1588089330024811</c:v>
                </c:pt>
                <c:pt idx="22374">
                  <c:v>1.1389578163771708</c:v>
                </c:pt>
                <c:pt idx="22375">
                  <c:v>1.162531017369727</c:v>
                </c:pt>
                <c:pt idx="22376">
                  <c:v>1.1873449131513647</c:v>
                </c:pt>
                <c:pt idx="22377">
                  <c:v>1.1873449131513647</c:v>
                </c:pt>
                <c:pt idx="22378">
                  <c:v>1.194789081885856</c:v>
                </c:pt>
                <c:pt idx="22379">
                  <c:v>1.162531017369727</c:v>
                </c:pt>
                <c:pt idx="22380">
                  <c:v>1.1786600496277915</c:v>
                </c:pt>
                <c:pt idx="22381">
                  <c:v>1.162531017369727</c:v>
                </c:pt>
                <c:pt idx="22382">
                  <c:v>1.130272952853598</c:v>
                </c:pt>
                <c:pt idx="22383">
                  <c:v>1.130272952853598</c:v>
                </c:pt>
                <c:pt idx="22384">
                  <c:v>1.1377171215880892</c:v>
                </c:pt>
                <c:pt idx="22385">
                  <c:v>1.1339950372208434</c:v>
                </c:pt>
                <c:pt idx="22386">
                  <c:v>1.1017369727047148</c:v>
                </c:pt>
                <c:pt idx="22387">
                  <c:v>1.1004962779156324</c:v>
                </c:pt>
                <c:pt idx="22388">
                  <c:v>1.0657568238213395</c:v>
                </c:pt>
                <c:pt idx="22389">
                  <c:v>1.1203473945409428</c:v>
                </c:pt>
                <c:pt idx="22390">
                  <c:v>1.1141439205955335</c:v>
                </c:pt>
                <c:pt idx="22391">
                  <c:v>1.1315136476426799</c:v>
                </c:pt>
                <c:pt idx="22392">
                  <c:v>1.1228287841191067</c:v>
                </c:pt>
                <c:pt idx="22393">
                  <c:v>1.1253101736972702</c:v>
                </c:pt>
                <c:pt idx="22394">
                  <c:v>1.1141439205955335</c:v>
                </c:pt>
                <c:pt idx="22395">
                  <c:v>1.0905707196029777</c:v>
                </c:pt>
                <c:pt idx="22396">
                  <c:v>1.0942928039702231</c:v>
                </c:pt>
                <c:pt idx="22397">
                  <c:v>1.1042183622828783</c:v>
                </c:pt>
                <c:pt idx="22398">
                  <c:v>1.0930521091811416</c:v>
                </c:pt>
                <c:pt idx="22399">
                  <c:v>1.0930521091811416</c:v>
                </c:pt>
                <c:pt idx="22400">
                  <c:v>1.0856079404466499</c:v>
                </c:pt>
                <c:pt idx="22401">
                  <c:v>1.0744416873449127</c:v>
                </c:pt>
                <c:pt idx="22402">
                  <c:v>1.0694789081885854</c:v>
                </c:pt>
                <c:pt idx="22403">
                  <c:v>1.0508684863523574</c:v>
                </c:pt>
                <c:pt idx="22404">
                  <c:v>1.0285359801488836</c:v>
                </c:pt>
                <c:pt idx="22405">
                  <c:v>0.9900744416873446</c:v>
                </c:pt>
                <c:pt idx="22406">
                  <c:v>0.9863523573200994</c:v>
                </c:pt>
                <c:pt idx="22407">
                  <c:v>0.9925558312655085</c:v>
                </c:pt>
                <c:pt idx="22408">
                  <c:v>1.0012406947890815</c:v>
                </c:pt>
                <c:pt idx="22409">
                  <c:v>0.97022332506203468</c:v>
                </c:pt>
                <c:pt idx="22410">
                  <c:v>1.0062034739454093</c:v>
                </c:pt>
                <c:pt idx="22411">
                  <c:v>1.0024813895781639</c:v>
                </c:pt>
                <c:pt idx="22412">
                  <c:v>1.0124069478908186</c:v>
                </c:pt>
                <c:pt idx="22413">
                  <c:v>1.0049627791563274</c:v>
                </c:pt>
                <c:pt idx="22414">
                  <c:v>0.98883374689826309</c:v>
                </c:pt>
                <c:pt idx="22415">
                  <c:v>0.96898263027295273</c:v>
                </c:pt>
                <c:pt idx="22416">
                  <c:v>0.95409429280397018</c:v>
                </c:pt>
                <c:pt idx="22417">
                  <c:v>0.976426799007444</c:v>
                </c:pt>
                <c:pt idx="22418">
                  <c:v>0.98014888337468986</c:v>
                </c:pt>
                <c:pt idx="22419">
                  <c:v>0.99875930521091782</c:v>
                </c:pt>
                <c:pt idx="22420">
                  <c:v>1.0049627791563274</c:v>
                </c:pt>
                <c:pt idx="22421">
                  <c:v>1.0062034739454093</c:v>
                </c:pt>
                <c:pt idx="22422">
                  <c:v>1.0210918114143919</c:v>
                </c:pt>
                <c:pt idx="22423">
                  <c:v>0.98759305210918091</c:v>
                </c:pt>
                <c:pt idx="22424">
                  <c:v>0.98759305210918091</c:v>
                </c:pt>
                <c:pt idx="22425">
                  <c:v>0.97890818858560769</c:v>
                </c:pt>
                <c:pt idx="22426">
                  <c:v>0.9900744416873446</c:v>
                </c:pt>
                <c:pt idx="22427">
                  <c:v>0.97890818858560769</c:v>
                </c:pt>
                <c:pt idx="22428">
                  <c:v>0.9838709677419355</c:v>
                </c:pt>
                <c:pt idx="22429">
                  <c:v>0.97518610421836205</c:v>
                </c:pt>
                <c:pt idx="22430">
                  <c:v>0.97146401985111663</c:v>
                </c:pt>
                <c:pt idx="22431">
                  <c:v>0.92928039702233245</c:v>
                </c:pt>
                <c:pt idx="22432">
                  <c:v>0.944168734491315</c:v>
                </c:pt>
                <c:pt idx="22433">
                  <c:v>0.94168734491315131</c:v>
                </c:pt>
                <c:pt idx="22434">
                  <c:v>0.90074441687344908</c:v>
                </c:pt>
                <c:pt idx="22435">
                  <c:v>0.96153846153846145</c:v>
                </c:pt>
                <c:pt idx="22436">
                  <c:v>0.97270471464019836</c:v>
                </c:pt>
                <c:pt idx="22437">
                  <c:v>0.96153846153846145</c:v>
                </c:pt>
                <c:pt idx="22438">
                  <c:v>0.96029776674937972</c:v>
                </c:pt>
                <c:pt idx="22439">
                  <c:v>0.96898263027295273</c:v>
                </c:pt>
                <c:pt idx="22440">
                  <c:v>0.99503722084367219</c:v>
                </c:pt>
                <c:pt idx="22441">
                  <c:v>1.0049627791563274</c:v>
                </c:pt>
                <c:pt idx="22442">
                  <c:v>0.99503722084367219</c:v>
                </c:pt>
                <c:pt idx="22443">
                  <c:v>1.0099255583126547</c:v>
                </c:pt>
                <c:pt idx="22444">
                  <c:v>0.99503722084367219</c:v>
                </c:pt>
                <c:pt idx="22445">
                  <c:v>0.96898263027295273</c:v>
                </c:pt>
                <c:pt idx="22446">
                  <c:v>0.95657568238213386</c:v>
                </c:pt>
                <c:pt idx="22447">
                  <c:v>0.96898263027295273</c:v>
                </c:pt>
                <c:pt idx="22448">
                  <c:v>0.97394540942928032</c:v>
                </c:pt>
                <c:pt idx="22449">
                  <c:v>0.96650124069478882</c:v>
                </c:pt>
                <c:pt idx="22450">
                  <c:v>0.98759305210918091</c:v>
                </c:pt>
                <c:pt idx="22451">
                  <c:v>0.98014888337468986</c:v>
                </c:pt>
                <c:pt idx="22452">
                  <c:v>1</c:v>
                </c:pt>
                <c:pt idx="22453">
                  <c:v>1.0037220843672454</c:v>
                </c:pt>
                <c:pt idx="22454">
                  <c:v>0.96401985111662514</c:v>
                </c:pt>
                <c:pt idx="22455">
                  <c:v>0.97146401985111663</c:v>
                </c:pt>
                <c:pt idx="22456">
                  <c:v>0.96401985111662514</c:v>
                </c:pt>
                <c:pt idx="22457">
                  <c:v>0.976426799007444</c:v>
                </c:pt>
                <c:pt idx="22458">
                  <c:v>0.96401985111662514</c:v>
                </c:pt>
                <c:pt idx="22459">
                  <c:v>0.94292803970223305</c:v>
                </c:pt>
                <c:pt idx="22460">
                  <c:v>0.93920595533498763</c:v>
                </c:pt>
                <c:pt idx="22461">
                  <c:v>0.94044665012406936</c:v>
                </c:pt>
                <c:pt idx="22462">
                  <c:v>0.93920595533498763</c:v>
                </c:pt>
                <c:pt idx="22463">
                  <c:v>0.91687344913151336</c:v>
                </c:pt>
                <c:pt idx="22464">
                  <c:v>0.90446650124069472</c:v>
                </c:pt>
                <c:pt idx="22465">
                  <c:v>0.86972704714640181</c:v>
                </c:pt>
                <c:pt idx="22466">
                  <c:v>0.84739454094292799</c:v>
                </c:pt>
                <c:pt idx="22467">
                  <c:v>0.83746898263027281</c:v>
                </c:pt>
                <c:pt idx="22468">
                  <c:v>0.85359801488833731</c:v>
                </c:pt>
                <c:pt idx="22469">
                  <c:v>0.86352357320099249</c:v>
                </c:pt>
                <c:pt idx="22470">
                  <c:v>0.84615384615384603</c:v>
                </c:pt>
                <c:pt idx="22471">
                  <c:v>0.84863523573200994</c:v>
                </c:pt>
                <c:pt idx="22472">
                  <c:v>0.84119106699751844</c:v>
                </c:pt>
                <c:pt idx="22473">
                  <c:v>0.84739454094292799</c:v>
                </c:pt>
                <c:pt idx="22474">
                  <c:v>0.85483870967741926</c:v>
                </c:pt>
                <c:pt idx="22475">
                  <c:v>0.86104218362282858</c:v>
                </c:pt>
                <c:pt idx="22476">
                  <c:v>0.88089330024813894</c:v>
                </c:pt>
                <c:pt idx="22477">
                  <c:v>0.86104218362282858</c:v>
                </c:pt>
                <c:pt idx="22478">
                  <c:v>0.86972704714640181</c:v>
                </c:pt>
                <c:pt idx="22479">
                  <c:v>0.83995037220843671</c:v>
                </c:pt>
                <c:pt idx="22480">
                  <c:v>0.85111662531017362</c:v>
                </c:pt>
                <c:pt idx="22481">
                  <c:v>0.8424317617866004</c:v>
                </c:pt>
                <c:pt idx="22482">
                  <c:v>0.85111662531017362</c:v>
                </c:pt>
                <c:pt idx="22483">
                  <c:v>0.82878411910669958</c:v>
                </c:pt>
                <c:pt idx="22484">
                  <c:v>0.81017369727047139</c:v>
                </c:pt>
                <c:pt idx="22485">
                  <c:v>0.83126550868486349</c:v>
                </c:pt>
                <c:pt idx="22486">
                  <c:v>0.8052109181141438</c:v>
                </c:pt>
                <c:pt idx="22487">
                  <c:v>0.79652605459057058</c:v>
                </c:pt>
                <c:pt idx="22488">
                  <c:v>0.77915632754342412</c:v>
                </c:pt>
                <c:pt idx="22489">
                  <c:v>0.75186104218362271</c:v>
                </c:pt>
                <c:pt idx="22490">
                  <c:v>0.75310173697270466</c:v>
                </c:pt>
                <c:pt idx="22491">
                  <c:v>0.77915632754342412</c:v>
                </c:pt>
                <c:pt idx="22492">
                  <c:v>0.78535980148883366</c:v>
                </c:pt>
                <c:pt idx="22493">
                  <c:v>0.78535980148883366</c:v>
                </c:pt>
                <c:pt idx="22494">
                  <c:v>0.78660049627791562</c:v>
                </c:pt>
                <c:pt idx="22495">
                  <c:v>0.77419354838709675</c:v>
                </c:pt>
                <c:pt idx="22496">
                  <c:v>0.7890818858560793</c:v>
                </c:pt>
                <c:pt idx="22497">
                  <c:v>0.79280397022332494</c:v>
                </c:pt>
                <c:pt idx="22498">
                  <c:v>0.76799007444168721</c:v>
                </c:pt>
                <c:pt idx="22499">
                  <c:v>0.74813895781637707</c:v>
                </c:pt>
                <c:pt idx="22500">
                  <c:v>0.72952853598014866</c:v>
                </c:pt>
                <c:pt idx="22501">
                  <c:v>0.73573200992555821</c:v>
                </c:pt>
                <c:pt idx="22502">
                  <c:v>0.71836228287841175</c:v>
                </c:pt>
                <c:pt idx="22503">
                  <c:v>0.76054590570719594</c:v>
                </c:pt>
                <c:pt idx="22504">
                  <c:v>0.77295285359801458</c:v>
                </c:pt>
                <c:pt idx="22505">
                  <c:v>0.77295285359801458</c:v>
                </c:pt>
                <c:pt idx="22506">
                  <c:v>0.73325062034739452</c:v>
                </c:pt>
                <c:pt idx="22507">
                  <c:v>0.7196029776674937</c:v>
                </c:pt>
                <c:pt idx="22508">
                  <c:v>0.7196029776674937</c:v>
                </c:pt>
                <c:pt idx="22509">
                  <c:v>0.72456575682382129</c:v>
                </c:pt>
                <c:pt idx="22510">
                  <c:v>0.72704714640198498</c:v>
                </c:pt>
                <c:pt idx="22511">
                  <c:v>0.75930521091811398</c:v>
                </c:pt>
                <c:pt idx="22512">
                  <c:v>0.73945409429280384</c:v>
                </c:pt>
                <c:pt idx="22513">
                  <c:v>0.71464019851116611</c:v>
                </c:pt>
                <c:pt idx="22514">
                  <c:v>0.72084367245657543</c:v>
                </c:pt>
                <c:pt idx="22515">
                  <c:v>0.70843672456575657</c:v>
                </c:pt>
                <c:pt idx="22516">
                  <c:v>0.67866004962779147</c:v>
                </c:pt>
                <c:pt idx="22517">
                  <c:v>0.72952853598014866</c:v>
                </c:pt>
                <c:pt idx="22518">
                  <c:v>0.73200992555831257</c:v>
                </c:pt>
                <c:pt idx="22519">
                  <c:v>0.79156327543424299</c:v>
                </c:pt>
                <c:pt idx="22520">
                  <c:v>0.78660049627791562</c:v>
                </c:pt>
                <c:pt idx="22521">
                  <c:v>0.8424317617866004</c:v>
                </c:pt>
                <c:pt idx="22522">
                  <c:v>0.81141439205955312</c:v>
                </c:pt>
                <c:pt idx="22523">
                  <c:v>0.81389578163771681</c:v>
                </c:pt>
                <c:pt idx="22524">
                  <c:v>0.87344913151364745</c:v>
                </c:pt>
                <c:pt idx="22525">
                  <c:v>0.88461538461538436</c:v>
                </c:pt>
                <c:pt idx="22526">
                  <c:v>0.89330024813895759</c:v>
                </c:pt>
                <c:pt idx="22527">
                  <c:v>0.8746898263027294</c:v>
                </c:pt>
                <c:pt idx="22528">
                  <c:v>0.91315136476426795</c:v>
                </c:pt>
                <c:pt idx="22529">
                  <c:v>0.90942928039702231</c:v>
                </c:pt>
                <c:pt idx="22530">
                  <c:v>0.90942928039702231</c:v>
                </c:pt>
                <c:pt idx="22531">
                  <c:v>0.91563275434243163</c:v>
                </c:pt>
                <c:pt idx="22532">
                  <c:v>0.91439205955334968</c:v>
                </c:pt>
                <c:pt idx="22533">
                  <c:v>0.92431761786600486</c:v>
                </c:pt>
                <c:pt idx="22534">
                  <c:v>0.89454094292803954</c:v>
                </c:pt>
                <c:pt idx="22535">
                  <c:v>0.90322580645161277</c:v>
                </c:pt>
                <c:pt idx="22536">
                  <c:v>0.88461538461538436</c:v>
                </c:pt>
                <c:pt idx="22537">
                  <c:v>0.85111662531017362</c:v>
                </c:pt>
                <c:pt idx="22538">
                  <c:v>0.83746898263027281</c:v>
                </c:pt>
                <c:pt idx="22539">
                  <c:v>0.83870967741935476</c:v>
                </c:pt>
                <c:pt idx="22540">
                  <c:v>0.86724565756823813</c:v>
                </c:pt>
                <c:pt idx="22541">
                  <c:v>0.87344913151364745</c:v>
                </c:pt>
                <c:pt idx="22542">
                  <c:v>0.85732009925558317</c:v>
                </c:pt>
                <c:pt idx="22543">
                  <c:v>0.86724565756823813</c:v>
                </c:pt>
                <c:pt idx="22544">
                  <c:v>0.86600496277915617</c:v>
                </c:pt>
                <c:pt idx="22545">
                  <c:v>0.86848635235732008</c:v>
                </c:pt>
                <c:pt idx="22546">
                  <c:v>0.84367245657568213</c:v>
                </c:pt>
                <c:pt idx="22547">
                  <c:v>0.85111662531017362</c:v>
                </c:pt>
                <c:pt idx="22548">
                  <c:v>0.80769230769230771</c:v>
                </c:pt>
                <c:pt idx="22549">
                  <c:v>0.76674937965260548</c:v>
                </c:pt>
                <c:pt idx="22550">
                  <c:v>0.79404466501240689</c:v>
                </c:pt>
                <c:pt idx="22551">
                  <c:v>0.84615384615384603</c:v>
                </c:pt>
                <c:pt idx="22552">
                  <c:v>0.82754342431761785</c:v>
                </c:pt>
                <c:pt idx="22553">
                  <c:v>0.80024813895781621</c:v>
                </c:pt>
                <c:pt idx="22554">
                  <c:v>0.87344913151364745</c:v>
                </c:pt>
                <c:pt idx="22555">
                  <c:v>0.86600496277915617</c:v>
                </c:pt>
                <c:pt idx="22556">
                  <c:v>0.86352357320099249</c:v>
                </c:pt>
                <c:pt idx="22557">
                  <c:v>0.8585607940446649</c:v>
                </c:pt>
                <c:pt idx="22558">
                  <c:v>0.83250620347394522</c:v>
                </c:pt>
                <c:pt idx="22559">
                  <c:v>0.81141439205955312</c:v>
                </c:pt>
                <c:pt idx="22560">
                  <c:v>0.82258064516129026</c:v>
                </c:pt>
                <c:pt idx="22561">
                  <c:v>0.78039702233250607</c:v>
                </c:pt>
                <c:pt idx="22562">
                  <c:v>0.7890818858560793</c:v>
                </c:pt>
                <c:pt idx="22563">
                  <c:v>0.82258064516129026</c:v>
                </c:pt>
                <c:pt idx="22564">
                  <c:v>0.83995037220843671</c:v>
                </c:pt>
                <c:pt idx="22565">
                  <c:v>0.84491315136476408</c:v>
                </c:pt>
                <c:pt idx="22566">
                  <c:v>0.81637717121588094</c:v>
                </c:pt>
                <c:pt idx="22567">
                  <c:v>0.82878411910669958</c:v>
                </c:pt>
                <c:pt idx="22568">
                  <c:v>0.80893300248138944</c:v>
                </c:pt>
                <c:pt idx="22569">
                  <c:v>0.81885856079404462</c:v>
                </c:pt>
                <c:pt idx="22570">
                  <c:v>0.8263027295285359</c:v>
                </c:pt>
                <c:pt idx="22571">
                  <c:v>0.81513647642679898</c:v>
                </c:pt>
                <c:pt idx="22572">
                  <c:v>0.81513647642679898</c:v>
                </c:pt>
                <c:pt idx="22573">
                  <c:v>0.79032258064516125</c:v>
                </c:pt>
                <c:pt idx="22574">
                  <c:v>0.77667493796526044</c:v>
                </c:pt>
                <c:pt idx="22575">
                  <c:v>0.78535980148883366</c:v>
                </c:pt>
                <c:pt idx="22576">
                  <c:v>0.78287841191066976</c:v>
                </c:pt>
                <c:pt idx="22577">
                  <c:v>0.7890818858560793</c:v>
                </c:pt>
                <c:pt idx="22578">
                  <c:v>0.79156327543424299</c:v>
                </c:pt>
                <c:pt idx="22579">
                  <c:v>0.77543424317617871</c:v>
                </c:pt>
                <c:pt idx="22580">
                  <c:v>0.74689826302729512</c:v>
                </c:pt>
                <c:pt idx="22581">
                  <c:v>0.75558312655086834</c:v>
                </c:pt>
                <c:pt idx="22582">
                  <c:v>0.73821339950372189</c:v>
                </c:pt>
                <c:pt idx="22583">
                  <c:v>0.73573200992555821</c:v>
                </c:pt>
                <c:pt idx="22584">
                  <c:v>0.71836228287841175</c:v>
                </c:pt>
                <c:pt idx="22585">
                  <c:v>0.72580645161290325</c:v>
                </c:pt>
                <c:pt idx="22586">
                  <c:v>0.70719602977667484</c:v>
                </c:pt>
                <c:pt idx="22587">
                  <c:v>0.6712158808933002</c:v>
                </c:pt>
                <c:pt idx="22588">
                  <c:v>0.67741935483870952</c:v>
                </c:pt>
                <c:pt idx="22589">
                  <c:v>0.70595533498759289</c:v>
                </c:pt>
                <c:pt idx="22590">
                  <c:v>0.70843672456575657</c:v>
                </c:pt>
                <c:pt idx="22591">
                  <c:v>0.70099255583126552</c:v>
                </c:pt>
                <c:pt idx="22592">
                  <c:v>0.71215880893300243</c:v>
                </c:pt>
                <c:pt idx="22593">
                  <c:v>0.70223325062034747</c:v>
                </c:pt>
                <c:pt idx="22594">
                  <c:v>0.70967741935483852</c:v>
                </c:pt>
                <c:pt idx="22595">
                  <c:v>0.69602977667493793</c:v>
                </c:pt>
                <c:pt idx="22596">
                  <c:v>0.69975186104218334</c:v>
                </c:pt>
                <c:pt idx="22597">
                  <c:v>0.68982630272952838</c:v>
                </c:pt>
                <c:pt idx="22598">
                  <c:v>0.66377171215880892</c:v>
                </c:pt>
                <c:pt idx="22599">
                  <c:v>0.68114143920595538</c:v>
                </c:pt>
                <c:pt idx="22600">
                  <c:v>0.66253101736972697</c:v>
                </c:pt>
                <c:pt idx="22601">
                  <c:v>0.66625310173697261</c:v>
                </c:pt>
                <c:pt idx="22602">
                  <c:v>0.66625310173697261</c:v>
                </c:pt>
                <c:pt idx="22603">
                  <c:v>0.65012406947890811</c:v>
                </c:pt>
                <c:pt idx="22604">
                  <c:v>0.62655086848635211</c:v>
                </c:pt>
                <c:pt idx="22605">
                  <c:v>0.62779156327543406</c:v>
                </c:pt>
                <c:pt idx="22606">
                  <c:v>0.62406947890818842</c:v>
                </c:pt>
                <c:pt idx="22607">
                  <c:v>0.62406947890818842</c:v>
                </c:pt>
                <c:pt idx="22608">
                  <c:v>0.60794044665012414</c:v>
                </c:pt>
                <c:pt idx="22609">
                  <c:v>0.59801488833746896</c:v>
                </c:pt>
                <c:pt idx="22610">
                  <c:v>0.58808933002481378</c:v>
                </c:pt>
                <c:pt idx="22611">
                  <c:v>0.59553349875930506</c:v>
                </c:pt>
                <c:pt idx="22612">
                  <c:v>0.60049627791563265</c:v>
                </c:pt>
                <c:pt idx="22613">
                  <c:v>0.57940446650124056</c:v>
                </c:pt>
                <c:pt idx="22614">
                  <c:v>0.59305210918114137</c:v>
                </c:pt>
                <c:pt idx="22615">
                  <c:v>0.60794044665012414</c:v>
                </c:pt>
                <c:pt idx="22616">
                  <c:v>0.63027295285359797</c:v>
                </c:pt>
                <c:pt idx="22617">
                  <c:v>0.62406947890818842</c:v>
                </c:pt>
                <c:pt idx="22618">
                  <c:v>0.65260545905707179</c:v>
                </c:pt>
                <c:pt idx="22619">
                  <c:v>0.63151364764267992</c:v>
                </c:pt>
                <c:pt idx="22620">
                  <c:v>0.63523573200992534</c:v>
                </c:pt>
                <c:pt idx="22621">
                  <c:v>0.63895781637717119</c:v>
                </c:pt>
                <c:pt idx="22622">
                  <c:v>0.62531017369727038</c:v>
                </c:pt>
                <c:pt idx="22623">
                  <c:v>0.58188585607940446</c:v>
                </c:pt>
                <c:pt idx="22624">
                  <c:v>0.60545905707196024</c:v>
                </c:pt>
                <c:pt idx="22625">
                  <c:v>0.62406947890818842</c:v>
                </c:pt>
                <c:pt idx="22626">
                  <c:v>0.62406947890818842</c:v>
                </c:pt>
                <c:pt idx="22627">
                  <c:v>0.61166253101736956</c:v>
                </c:pt>
                <c:pt idx="22628">
                  <c:v>0.63523573200992534</c:v>
                </c:pt>
                <c:pt idx="22629">
                  <c:v>0.63027295285359797</c:v>
                </c:pt>
                <c:pt idx="22630">
                  <c:v>0.66501240694789066</c:v>
                </c:pt>
                <c:pt idx="22631">
                  <c:v>0.64888337468982615</c:v>
                </c:pt>
                <c:pt idx="22632">
                  <c:v>0.66997518610421847</c:v>
                </c:pt>
                <c:pt idx="22633">
                  <c:v>0.6476426799007442</c:v>
                </c:pt>
                <c:pt idx="22634">
                  <c:v>0.64392059553349856</c:v>
                </c:pt>
                <c:pt idx="22635">
                  <c:v>0.63771712158808924</c:v>
                </c:pt>
                <c:pt idx="22636">
                  <c:v>0.60794044665012414</c:v>
                </c:pt>
                <c:pt idx="22637">
                  <c:v>0.58933002481389574</c:v>
                </c:pt>
                <c:pt idx="22638">
                  <c:v>0.60297766749379633</c:v>
                </c:pt>
                <c:pt idx="22639">
                  <c:v>0.60297766749379633</c:v>
                </c:pt>
                <c:pt idx="22640">
                  <c:v>0.58933002481389574</c:v>
                </c:pt>
                <c:pt idx="22641">
                  <c:v>0.59553349875930506</c:v>
                </c:pt>
                <c:pt idx="22642">
                  <c:v>0.56575682382133974</c:v>
                </c:pt>
                <c:pt idx="22643">
                  <c:v>0.56575682382133974</c:v>
                </c:pt>
                <c:pt idx="22644">
                  <c:v>0.56451612903225801</c:v>
                </c:pt>
                <c:pt idx="22645">
                  <c:v>0.54590570719602982</c:v>
                </c:pt>
                <c:pt idx="22646">
                  <c:v>0.53349875930521073</c:v>
                </c:pt>
                <c:pt idx="22647">
                  <c:v>0.54466501240694765</c:v>
                </c:pt>
                <c:pt idx="22648">
                  <c:v>0.54590570719602982</c:v>
                </c:pt>
                <c:pt idx="22649">
                  <c:v>0.54218362282878396</c:v>
                </c:pt>
                <c:pt idx="22650">
                  <c:v>0.52729528535980141</c:v>
                </c:pt>
                <c:pt idx="22651">
                  <c:v>0.5297766749379651</c:v>
                </c:pt>
                <c:pt idx="22652">
                  <c:v>0.51985111662531014</c:v>
                </c:pt>
                <c:pt idx="22653">
                  <c:v>0.51240694789081864</c:v>
                </c:pt>
                <c:pt idx="22654">
                  <c:v>0.46526054590570709</c:v>
                </c:pt>
                <c:pt idx="22655">
                  <c:v>0.47022332506203468</c:v>
                </c:pt>
                <c:pt idx="22656">
                  <c:v>0.47766749379652595</c:v>
                </c:pt>
                <c:pt idx="22657">
                  <c:v>0.4838709677419355</c:v>
                </c:pt>
                <c:pt idx="22658">
                  <c:v>0.47394540942928032</c:v>
                </c:pt>
                <c:pt idx="22659">
                  <c:v>0.45781637717121582</c:v>
                </c:pt>
                <c:pt idx="22660">
                  <c:v>0.45657568238213386</c:v>
                </c:pt>
                <c:pt idx="22661">
                  <c:v>0.4280397022332505</c:v>
                </c:pt>
                <c:pt idx="22662">
                  <c:v>0.42059553349875922</c:v>
                </c:pt>
                <c:pt idx="22663">
                  <c:v>0.43052109181141418</c:v>
                </c:pt>
                <c:pt idx="22664">
                  <c:v>0.40942928039702209</c:v>
                </c:pt>
                <c:pt idx="22665">
                  <c:v>0.39702233250620345</c:v>
                </c:pt>
                <c:pt idx="22666">
                  <c:v>0.37717121588089308</c:v>
                </c:pt>
                <c:pt idx="22667">
                  <c:v>0.42431761786600486</c:v>
                </c:pt>
                <c:pt idx="22668">
                  <c:v>0.43796526054590568</c:v>
                </c:pt>
                <c:pt idx="22669">
                  <c:v>0.43424317617866004</c:v>
                </c:pt>
                <c:pt idx="22670">
                  <c:v>0.43796526054590568</c:v>
                </c:pt>
                <c:pt idx="22671">
                  <c:v>0.43796526054590568</c:v>
                </c:pt>
                <c:pt idx="22672">
                  <c:v>0.43176178660049613</c:v>
                </c:pt>
                <c:pt idx="22673">
                  <c:v>0.4143920595533499</c:v>
                </c:pt>
                <c:pt idx="22674">
                  <c:v>0.39702233250620345</c:v>
                </c:pt>
                <c:pt idx="22675">
                  <c:v>0.43672456575682372</c:v>
                </c:pt>
                <c:pt idx="22676">
                  <c:v>0.46650124069478904</c:v>
                </c:pt>
                <c:pt idx="22677">
                  <c:v>0.45409429280397018</c:v>
                </c:pt>
                <c:pt idx="22678">
                  <c:v>0.45409429280397018</c:v>
                </c:pt>
                <c:pt idx="22679">
                  <c:v>0.46401985111662536</c:v>
                </c:pt>
                <c:pt idx="22680">
                  <c:v>0.46153846153846145</c:v>
                </c:pt>
                <c:pt idx="22681">
                  <c:v>0.47890818858560791</c:v>
                </c:pt>
                <c:pt idx="22682">
                  <c:v>0.47146401985111641</c:v>
                </c:pt>
                <c:pt idx="22683">
                  <c:v>0.45905707196029755</c:v>
                </c:pt>
                <c:pt idx="22684">
                  <c:v>0.44540942928039695</c:v>
                </c:pt>
                <c:pt idx="22685">
                  <c:v>0.42307692307692313</c:v>
                </c:pt>
                <c:pt idx="22686">
                  <c:v>0.40942928039702209</c:v>
                </c:pt>
                <c:pt idx="22687">
                  <c:v>0.39081885856079412</c:v>
                </c:pt>
                <c:pt idx="22688">
                  <c:v>0.39454094292803954</c:v>
                </c:pt>
                <c:pt idx="22689">
                  <c:v>0.39454094292803954</c:v>
                </c:pt>
                <c:pt idx="22690">
                  <c:v>0.38585607940446631</c:v>
                </c:pt>
                <c:pt idx="22691">
                  <c:v>0.37717121588089308</c:v>
                </c:pt>
                <c:pt idx="22692">
                  <c:v>0.37965260545905699</c:v>
                </c:pt>
                <c:pt idx="22693">
                  <c:v>0.42183622828784118</c:v>
                </c:pt>
                <c:pt idx="22694">
                  <c:v>0.43424317617866004</c:v>
                </c:pt>
                <c:pt idx="22695">
                  <c:v>0.43796526054590568</c:v>
                </c:pt>
                <c:pt idx="22696">
                  <c:v>0.43300248138957809</c:v>
                </c:pt>
                <c:pt idx="22697">
                  <c:v>0.42059553349875922</c:v>
                </c:pt>
                <c:pt idx="22698">
                  <c:v>0.41687344913151358</c:v>
                </c:pt>
                <c:pt idx="22699">
                  <c:v>0.44416873449131522</c:v>
                </c:pt>
                <c:pt idx="22700">
                  <c:v>0.43176178660049613</c:v>
                </c:pt>
                <c:pt idx="22701">
                  <c:v>0.44789081885856064</c:v>
                </c:pt>
                <c:pt idx="22702">
                  <c:v>0.44789081885856064</c:v>
                </c:pt>
                <c:pt idx="22703">
                  <c:v>0.43920595533498741</c:v>
                </c:pt>
                <c:pt idx="22704">
                  <c:v>0.42555831265508681</c:v>
                </c:pt>
                <c:pt idx="22705">
                  <c:v>0.39205955334987586</c:v>
                </c:pt>
                <c:pt idx="22706">
                  <c:v>0.38709677419354827</c:v>
                </c:pt>
                <c:pt idx="22707">
                  <c:v>0.38833746898263022</c:v>
                </c:pt>
                <c:pt idx="22708">
                  <c:v>0.38957816377171195</c:v>
                </c:pt>
                <c:pt idx="22709">
                  <c:v>0.3585607940446649</c:v>
                </c:pt>
                <c:pt idx="22710">
                  <c:v>0.36972704714640181</c:v>
                </c:pt>
                <c:pt idx="22711">
                  <c:v>0.3746898263027294</c:v>
                </c:pt>
                <c:pt idx="22712">
                  <c:v>0.35732009925558295</c:v>
                </c:pt>
                <c:pt idx="22713">
                  <c:v>0.36972704714640181</c:v>
                </c:pt>
                <c:pt idx="22714">
                  <c:v>0.33870967741935476</c:v>
                </c:pt>
                <c:pt idx="22715">
                  <c:v>0.33126550868486349</c:v>
                </c:pt>
                <c:pt idx="22716">
                  <c:v>0.34491315136476408</c:v>
                </c:pt>
                <c:pt idx="22717">
                  <c:v>0.33498759305210912</c:v>
                </c:pt>
                <c:pt idx="22718">
                  <c:v>0.33622828784119085</c:v>
                </c:pt>
                <c:pt idx="22719">
                  <c:v>0.31265508684863508</c:v>
                </c:pt>
                <c:pt idx="22720">
                  <c:v>0.32258064516129026</c:v>
                </c:pt>
                <c:pt idx="22721">
                  <c:v>0.32382133995037221</c:v>
                </c:pt>
                <c:pt idx="22722">
                  <c:v>0.31761786600496267</c:v>
                </c:pt>
                <c:pt idx="22723">
                  <c:v>0.31513647642679898</c:v>
                </c:pt>
                <c:pt idx="22724">
                  <c:v>0.31761786600496267</c:v>
                </c:pt>
                <c:pt idx="22725">
                  <c:v>0.3052109181141438</c:v>
                </c:pt>
                <c:pt idx="22726">
                  <c:v>0.31885856079404462</c:v>
                </c:pt>
                <c:pt idx="22727">
                  <c:v>0.30893300248138966</c:v>
                </c:pt>
                <c:pt idx="22728">
                  <c:v>0.31513647642679898</c:v>
                </c:pt>
                <c:pt idx="22729">
                  <c:v>0.29900744416873448</c:v>
                </c:pt>
                <c:pt idx="22730">
                  <c:v>0.28411910669975171</c:v>
                </c:pt>
                <c:pt idx="22731">
                  <c:v>0.28411910669975171</c:v>
                </c:pt>
                <c:pt idx="22732">
                  <c:v>0.27667493796526044</c:v>
                </c:pt>
                <c:pt idx="22733">
                  <c:v>0.27543424317617848</c:v>
                </c:pt>
                <c:pt idx="22734">
                  <c:v>0.27047146401985112</c:v>
                </c:pt>
                <c:pt idx="22735">
                  <c:v>0.2593052109181142</c:v>
                </c:pt>
                <c:pt idx="22736">
                  <c:v>0.2655086848635233</c:v>
                </c:pt>
                <c:pt idx="22737">
                  <c:v>0.28039702233250607</c:v>
                </c:pt>
                <c:pt idx="22738">
                  <c:v>0.29900744416873448</c:v>
                </c:pt>
                <c:pt idx="22739">
                  <c:v>0.28784119106699757</c:v>
                </c:pt>
                <c:pt idx="22740">
                  <c:v>0.2593052109181142</c:v>
                </c:pt>
                <c:pt idx="22741">
                  <c:v>0.26923076923076916</c:v>
                </c:pt>
                <c:pt idx="22742">
                  <c:v>0.27543424317617848</c:v>
                </c:pt>
                <c:pt idx="22743">
                  <c:v>0.26799007444168743</c:v>
                </c:pt>
                <c:pt idx="22744">
                  <c:v>0.26799007444168743</c:v>
                </c:pt>
                <c:pt idx="22745">
                  <c:v>0.25558312655086834</c:v>
                </c:pt>
                <c:pt idx="22746">
                  <c:v>0.24813895781637707</c:v>
                </c:pt>
                <c:pt idx="22747">
                  <c:v>0.2568238213399503</c:v>
                </c:pt>
                <c:pt idx="22748">
                  <c:v>0.24441687344913143</c:v>
                </c:pt>
                <c:pt idx="22749">
                  <c:v>0.22828784119106693</c:v>
                </c:pt>
                <c:pt idx="22750">
                  <c:v>0.22084367245657566</c:v>
                </c:pt>
                <c:pt idx="22751">
                  <c:v>0.22952853598014888</c:v>
                </c:pt>
                <c:pt idx="22752">
                  <c:v>0.23076923076923062</c:v>
                </c:pt>
                <c:pt idx="22753">
                  <c:v>0.19975186104218356</c:v>
                </c:pt>
                <c:pt idx="22754">
                  <c:v>0.18858560794044665</c:v>
                </c:pt>
                <c:pt idx="22755">
                  <c:v>0.20223325062034725</c:v>
                </c:pt>
                <c:pt idx="22756">
                  <c:v>0.20223325062034725</c:v>
                </c:pt>
                <c:pt idx="22757">
                  <c:v>0.22208436724565739</c:v>
                </c:pt>
                <c:pt idx="22758">
                  <c:v>0.24441687344913143</c:v>
                </c:pt>
                <c:pt idx="22759">
                  <c:v>0.24317617866004948</c:v>
                </c:pt>
                <c:pt idx="22760">
                  <c:v>0.24937965260545902</c:v>
                </c:pt>
                <c:pt idx="22761">
                  <c:v>0.24813895781637707</c:v>
                </c:pt>
                <c:pt idx="22762">
                  <c:v>0.23821339950372211</c:v>
                </c:pt>
                <c:pt idx="22763">
                  <c:v>0.2270471464019852</c:v>
                </c:pt>
                <c:pt idx="22764">
                  <c:v>0.24193548387096775</c:v>
                </c:pt>
                <c:pt idx="22765">
                  <c:v>0.24565756823821316</c:v>
                </c:pt>
                <c:pt idx="22766">
                  <c:v>0.21836228287841197</c:v>
                </c:pt>
                <c:pt idx="22767">
                  <c:v>0.21712158808933002</c:v>
                </c:pt>
                <c:pt idx="22768">
                  <c:v>0.21588089330024807</c:v>
                </c:pt>
                <c:pt idx="22769">
                  <c:v>0.20967741935483875</c:v>
                </c:pt>
                <c:pt idx="22770">
                  <c:v>0.20223325062034725</c:v>
                </c:pt>
                <c:pt idx="22771">
                  <c:v>0.19727047146401988</c:v>
                </c:pt>
                <c:pt idx="22772">
                  <c:v>0.16377171215880892</c:v>
                </c:pt>
                <c:pt idx="22773">
                  <c:v>0.16873449131513629</c:v>
                </c:pt>
                <c:pt idx="22774">
                  <c:v>0.16873449131513629</c:v>
                </c:pt>
                <c:pt idx="22775">
                  <c:v>0.15012406947890811</c:v>
                </c:pt>
                <c:pt idx="22776">
                  <c:v>0.14516129032258074</c:v>
                </c:pt>
                <c:pt idx="22777">
                  <c:v>0.15136476426798984</c:v>
                </c:pt>
                <c:pt idx="22778">
                  <c:v>0.16501240694789088</c:v>
                </c:pt>
                <c:pt idx="22779">
                  <c:v>0.16625310173697261</c:v>
                </c:pt>
                <c:pt idx="22780">
                  <c:v>0.1712158808933002</c:v>
                </c:pt>
                <c:pt idx="22781">
                  <c:v>0.15632754342431765</c:v>
                </c:pt>
                <c:pt idx="22782">
                  <c:v>0.1712158808933002</c:v>
                </c:pt>
                <c:pt idx="22783">
                  <c:v>0.16749379652605456</c:v>
                </c:pt>
                <c:pt idx="22784">
                  <c:v>0.1339950372208436</c:v>
                </c:pt>
                <c:pt idx="22785">
                  <c:v>0.1339950372208436</c:v>
                </c:pt>
                <c:pt idx="22786">
                  <c:v>0.1178660049627791</c:v>
                </c:pt>
                <c:pt idx="22787">
                  <c:v>0.13523573200992556</c:v>
                </c:pt>
                <c:pt idx="22788">
                  <c:v>0.13275434243176187</c:v>
                </c:pt>
                <c:pt idx="22789">
                  <c:v>0.11042183622828761</c:v>
                </c:pt>
                <c:pt idx="22790">
                  <c:v>9.8014888337468964E-2</c:v>
                </c:pt>
                <c:pt idx="22791">
                  <c:v>0.10421836228287829</c:v>
                </c:pt>
                <c:pt idx="22792">
                  <c:v>0.10918114143920588</c:v>
                </c:pt>
                <c:pt idx="22793">
                  <c:v>8.9330024813895736E-2</c:v>
                </c:pt>
                <c:pt idx="22794">
                  <c:v>8.9330024813895736E-2</c:v>
                </c:pt>
                <c:pt idx="22795">
                  <c:v>6.3275434243176054E-2</c:v>
                </c:pt>
                <c:pt idx="22796">
                  <c:v>5.2109181141439143E-2</c:v>
                </c:pt>
                <c:pt idx="22797">
                  <c:v>5.4590570719602827E-2</c:v>
                </c:pt>
                <c:pt idx="22798">
                  <c:v>5.9553349875930417E-2</c:v>
                </c:pt>
                <c:pt idx="22799">
                  <c:v>4.8387096774193505E-2</c:v>
                </c:pt>
                <c:pt idx="22800">
                  <c:v>4.8387096774193505E-2</c:v>
                </c:pt>
                <c:pt idx="22801">
                  <c:v>4.7146401985111552E-2</c:v>
                </c:pt>
                <c:pt idx="22802">
                  <c:v>3.5980148883374641E-2</c:v>
                </c:pt>
                <c:pt idx="22803">
                  <c:v>4.4665012406947868E-2</c:v>
                </c:pt>
                <c:pt idx="22804">
                  <c:v>6.079404466501237E-2</c:v>
                </c:pt>
                <c:pt idx="22805">
                  <c:v>4.4665012406947868E-2</c:v>
                </c:pt>
                <c:pt idx="22806">
                  <c:v>2.3573200992555776E-2</c:v>
                </c:pt>
                <c:pt idx="22807">
                  <c:v>2.4813895781637729E-2</c:v>
                </c:pt>
                <c:pt idx="22808">
                  <c:v>9.9255583126551805E-3</c:v>
                </c:pt>
                <c:pt idx="22809">
                  <c:v>2.1091811414392092E-2</c:v>
                </c:pt>
                <c:pt idx="22810">
                  <c:v>0</c:v>
                </c:pt>
                <c:pt idx="22811">
                  <c:v>#N/A</c:v>
                </c:pt>
                <c:pt idx="22812">
                  <c:v>#N/A</c:v>
                </c:pt>
                <c:pt idx="22813">
                  <c:v>#N/A</c:v>
                </c:pt>
                <c:pt idx="22814">
                  <c:v>#N/A</c:v>
                </c:pt>
                <c:pt idx="22815">
                  <c:v>#N/A</c:v>
                </c:pt>
                <c:pt idx="22816">
                  <c:v>#N/A</c:v>
                </c:pt>
                <c:pt idx="22817">
                  <c:v>#N/A</c:v>
                </c:pt>
                <c:pt idx="22818">
                  <c:v>#N/A</c:v>
                </c:pt>
                <c:pt idx="22819">
                  <c:v>#N/A</c:v>
                </c:pt>
                <c:pt idx="22820">
                  <c:v>#N/A</c:v>
                </c:pt>
                <c:pt idx="22821">
                  <c:v>#N/A</c:v>
                </c:pt>
                <c:pt idx="22822">
                  <c:v>#N/A</c:v>
                </c:pt>
                <c:pt idx="22823">
                  <c:v>#N/A</c:v>
                </c:pt>
                <c:pt idx="22824">
                  <c:v>#N/A</c:v>
                </c:pt>
                <c:pt idx="22825">
                  <c:v>#N/A</c:v>
                </c:pt>
                <c:pt idx="22826">
                  <c:v>#N/A</c:v>
                </c:pt>
                <c:pt idx="22827">
                  <c:v>#N/A</c:v>
                </c:pt>
                <c:pt idx="22828">
                  <c:v>#N/A</c:v>
                </c:pt>
                <c:pt idx="22829">
                  <c:v>#N/A</c:v>
                </c:pt>
                <c:pt idx="22830">
                  <c:v>#N/A</c:v>
                </c:pt>
                <c:pt idx="22831">
                  <c:v>#N/A</c:v>
                </c:pt>
                <c:pt idx="22832">
                  <c:v>#N/A</c:v>
                </c:pt>
                <c:pt idx="22833">
                  <c:v>#N/A</c:v>
                </c:pt>
                <c:pt idx="22834">
                  <c:v>#N/A</c:v>
                </c:pt>
                <c:pt idx="22835">
                  <c:v>#N/A</c:v>
                </c:pt>
                <c:pt idx="22836">
                  <c:v>#N/A</c:v>
                </c:pt>
                <c:pt idx="22837">
                  <c:v>#N/A</c:v>
                </c:pt>
                <c:pt idx="22838">
                  <c:v>#N/A</c:v>
                </c:pt>
                <c:pt idx="22839">
                  <c:v>#N/A</c:v>
                </c:pt>
                <c:pt idx="22840">
                  <c:v>#N/A</c:v>
                </c:pt>
                <c:pt idx="22841">
                  <c:v>#N/A</c:v>
                </c:pt>
                <c:pt idx="22842">
                  <c:v>#N/A</c:v>
                </c:pt>
                <c:pt idx="22843">
                  <c:v>#N/A</c:v>
                </c:pt>
                <c:pt idx="22844">
                  <c:v>#N/A</c:v>
                </c:pt>
                <c:pt idx="22845">
                  <c:v>#N/A</c:v>
                </c:pt>
                <c:pt idx="22846">
                  <c:v>#N/A</c:v>
                </c:pt>
                <c:pt idx="22847">
                  <c:v>#N/A</c:v>
                </c:pt>
                <c:pt idx="22848">
                  <c:v>#N/A</c:v>
                </c:pt>
                <c:pt idx="22849">
                  <c:v>#N/A</c:v>
                </c:pt>
                <c:pt idx="22850">
                  <c:v>#N/A</c:v>
                </c:pt>
                <c:pt idx="22851">
                  <c:v>#N/A</c:v>
                </c:pt>
                <c:pt idx="22852">
                  <c:v>#N/A</c:v>
                </c:pt>
                <c:pt idx="22853">
                  <c:v>#N/A</c:v>
                </c:pt>
                <c:pt idx="22854">
                  <c:v>#N/A</c:v>
                </c:pt>
                <c:pt idx="22855">
                  <c:v>#N/A</c:v>
                </c:pt>
                <c:pt idx="22856">
                  <c:v>#N/A</c:v>
                </c:pt>
                <c:pt idx="22857">
                  <c:v>#N/A</c:v>
                </c:pt>
                <c:pt idx="22858">
                  <c:v>#N/A</c:v>
                </c:pt>
                <c:pt idx="22859">
                  <c:v>#N/A</c:v>
                </c:pt>
                <c:pt idx="22860">
                  <c:v>#N/A</c:v>
                </c:pt>
                <c:pt idx="22861">
                  <c:v>#N/A</c:v>
                </c:pt>
                <c:pt idx="22862">
                  <c:v>#N/A</c:v>
                </c:pt>
                <c:pt idx="22863">
                  <c:v>#N/A</c:v>
                </c:pt>
                <c:pt idx="22864">
                  <c:v>#N/A</c:v>
                </c:pt>
                <c:pt idx="22865">
                  <c:v>#N/A</c:v>
                </c:pt>
                <c:pt idx="22866">
                  <c:v>#N/A</c:v>
                </c:pt>
                <c:pt idx="22867">
                  <c:v>#N/A</c:v>
                </c:pt>
                <c:pt idx="22868">
                  <c:v>#N/A</c:v>
                </c:pt>
                <c:pt idx="22869">
                  <c:v>#N/A</c:v>
                </c:pt>
                <c:pt idx="22870">
                  <c:v>#N/A</c:v>
                </c:pt>
                <c:pt idx="22871">
                  <c:v>#N/A</c:v>
                </c:pt>
                <c:pt idx="22872">
                  <c:v>#N/A</c:v>
                </c:pt>
                <c:pt idx="22873">
                  <c:v>#N/A</c:v>
                </c:pt>
                <c:pt idx="22874">
                  <c:v>#N/A</c:v>
                </c:pt>
                <c:pt idx="22875">
                  <c:v>#N/A</c:v>
                </c:pt>
                <c:pt idx="22876">
                  <c:v>#N/A</c:v>
                </c:pt>
                <c:pt idx="22877">
                  <c:v>#N/A</c:v>
                </c:pt>
                <c:pt idx="22878">
                  <c:v>#N/A</c:v>
                </c:pt>
                <c:pt idx="22879">
                  <c:v>#N/A</c:v>
                </c:pt>
                <c:pt idx="22880">
                  <c:v>#N/A</c:v>
                </c:pt>
                <c:pt idx="22881">
                  <c:v>#N/A</c:v>
                </c:pt>
                <c:pt idx="22882">
                  <c:v>#N/A</c:v>
                </c:pt>
                <c:pt idx="22883">
                  <c:v>#N/A</c:v>
                </c:pt>
                <c:pt idx="22884">
                  <c:v>#N/A</c:v>
                </c:pt>
                <c:pt idx="22885">
                  <c:v>#N/A</c:v>
                </c:pt>
                <c:pt idx="22886">
                  <c:v>#N/A</c:v>
                </c:pt>
                <c:pt idx="22887">
                  <c:v>#N/A</c:v>
                </c:pt>
                <c:pt idx="22888">
                  <c:v>#N/A</c:v>
                </c:pt>
                <c:pt idx="22889">
                  <c:v>#N/A</c:v>
                </c:pt>
                <c:pt idx="22890">
                  <c:v>#N/A</c:v>
                </c:pt>
                <c:pt idx="22891">
                  <c:v>#N/A</c:v>
                </c:pt>
                <c:pt idx="22892">
                  <c:v>#N/A</c:v>
                </c:pt>
                <c:pt idx="22893">
                  <c:v>#N/A</c:v>
                </c:pt>
                <c:pt idx="22894">
                  <c:v>#N/A</c:v>
                </c:pt>
                <c:pt idx="22895">
                  <c:v>#N/A</c:v>
                </c:pt>
                <c:pt idx="22896">
                  <c:v>#N/A</c:v>
                </c:pt>
                <c:pt idx="22897">
                  <c:v>#N/A</c:v>
                </c:pt>
                <c:pt idx="22898">
                  <c:v>#N/A</c:v>
                </c:pt>
                <c:pt idx="22899">
                  <c:v>#N/A</c:v>
                </c:pt>
                <c:pt idx="22900">
                  <c:v>#N/A</c:v>
                </c:pt>
                <c:pt idx="22901">
                  <c:v>#N/A</c:v>
                </c:pt>
                <c:pt idx="22902">
                  <c:v>#N/A</c:v>
                </c:pt>
                <c:pt idx="22903">
                  <c:v>#N/A</c:v>
                </c:pt>
                <c:pt idx="22904">
                  <c:v>#N/A</c:v>
                </c:pt>
                <c:pt idx="22905">
                  <c:v>#N/A</c:v>
                </c:pt>
                <c:pt idx="22906">
                  <c:v>#N/A</c:v>
                </c:pt>
                <c:pt idx="22907">
                  <c:v>#N/A</c:v>
                </c:pt>
                <c:pt idx="22908">
                  <c:v>#N/A</c:v>
                </c:pt>
                <c:pt idx="22909">
                  <c:v>#N/A</c:v>
                </c:pt>
                <c:pt idx="22910">
                  <c:v>#N/A</c:v>
                </c:pt>
                <c:pt idx="22911">
                  <c:v>#N/A</c:v>
                </c:pt>
                <c:pt idx="22912">
                  <c:v>#N/A</c:v>
                </c:pt>
                <c:pt idx="22913">
                  <c:v>#N/A</c:v>
                </c:pt>
                <c:pt idx="22914">
                  <c:v>#N/A</c:v>
                </c:pt>
                <c:pt idx="22915">
                  <c:v>#N/A</c:v>
                </c:pt>
                <c:pt idx="22916">
                  <c:v>#N/A</c:v>
                </c:pt>
                <c:pt idx="22917">
                  <c:v>#N/A</c:v>
                </c:pt>
                <c:pt idx="22918">
                  <c:v>#N/A</c:v>
                </c:pt>
                <c:pt idx="22919">
                  <c:v>#N/A</c:v>
                </c:pt>
                <c:pt idx="22920">
                  <c:v>#N/A</c:v>
                </c:pt>
                <c:pt idx="22921">
                  <c:v>#N/A</c:v>
                </c:pt>
                <c:pt idx="22922">
                  <c:v>#N/A</c:v>
                </c:pt>
                <c:pt idx="22923">
                  <c:v>#N/A</c:v>
                </c:pt>
                <c:pt idx="22924">
                  <c:v>#N/A</c:v>
                </c:pt>
                <c:pt idx="22925">
                  <c:v>#N/A</c:v>
                </c:pt>
                <c:pt idx="22926">
                  <c:v>#N/A</c:v>
                </c:pt>
                <c:pt idx="22927">
                  <c:v>#N/A</c:v>
                </c:pt>
                <c:pt idx="22928">
                  <c:v>#N/A</c:v>
                </c:pt>
                <c:pt idx="22929">
                  <c:v>#N/A</c:v>
                </c:pt>
                <c:pt idx="22930">
                  <c:v>#N/A</c:v>
                </c:pt>
                <c:pt idx="22931">
                  <c:v>#N/A</c:v>
                </c:pt>
                <c:pt idx="22932">
                  <c:v>#N/A</c:v>
                </c:pt>
                <c:pt idx="22933">
                  <c:v>#N/A</c:v>
                </c:pt>
                <c:pt idx="22934">
                  <c:v>#N/A</c:v>
                </c:pt>
                <c:pt idx="22935">
                  <c:v>#N/A</c:v>
                </c:pt>
                <c:pt idx="22936">
                  <c:v>#N/A</c:v>
                </c:pt>
                <c:pt idx="22937">
                  <c:v>#N/A</c:v>
                </c:pt>
                <c:pt idx="22938">
                  <c:v>#N/A</c:v>
                </c:pt>
                <c:pt idx="22939">
                  <c:v>#N/A</c:v>
                </c:pt>
                <c:pt idx="22940">
                  <c:v>#N/A</c:v>
                </c:pt>
                <c:pt idx="22941">
                  <c:v>#N/A</c:v>
                </c:pt>
                <c:pt idx="22942">
                  <c:v>#N/A</c:v>
                </c:pt>
                <c:pt idx="22943">
                  <c:v>#N/A</c:v>
                </c:pt>
                <c:pt idx="22944">
                  <c:v>#N/A</c:v>
                </c:pt>
                <c:pt idx="22945">
                  <c:v>#N/A</c:v>
                </c:pt>
                <c:pt idx="22946">
                  <c:v>#N/A</c:v>
                </c:pt>
                <c:pt idx="22947">
                  <c:v>#N/A</c:v>
                </c:pt>
                <c:pt idx="22948">
                  <c:v>#N/A</c:v>
                </c:pt>
                <c:pt idx="22949">
                  <c:v>#N/A</c:v>
                </c:pt>
                <c:pt idx="22950">
                  <c:v>#N/A</c:v>
                </c:pt>
                <c:pt idx="22951">
                  <c:v>#N/A</c:v>
                </c:pt>
                <c:pt idx="22952">
                  <c:v>#N/A</c:v>
                </c:pt>
                <c:pt idx="22953">
                  <c:v>#N/A</c:v>
                </c:pt>
                <c:pt idx="22954">
                  <c:v>#N/A</c:v>
                </c:pt>
                <c:pt idx="22955">
                  <c:v>#N/A</c:v>
                </c:pt>
                <c:pt idx="22956">
                  <c:v>#N/A</c:v>
                </c:pt>
                <c:pt idx="22957">
                  <c:v>#N/A</c:v>
                </c:pt>
                <c:pt idx="22958">
                  <c:v>#N/A</c:v>
                </c:pt>
                <c:pt idx="22959">
                  <c:v>#N/A</c:v>
                </c:pt>
                <c:pt idx="22960">
                  <c:v>#N/A</c:v>
                </c:pt>
                <c:pt idx="22961">
                  <c:v>#N/A</c:v>
                </c:pt>
                <c:pt idx="22962">
                  <c:v>#N/A</c:v>
                </c:pt>
                <c:pt idx="22963">
                  <c:v>#N/A</c:v>
                </c:pt>
                <c:pt idx="22964">
                  <c:v>#N/A</c:v>
                </c:pt>
                <c:pt idx="22965">
                  <c:v>#N/A</c:v>
                </c:pt>
                <c:pt idx="22966">
                  <c:v>#N/A</c:v>
                </c:pt>
                <c:pt idx="22967">
                  <c:v>#N/A</c:v>
                </c:pt>
                <c:pt idx="22968">
                  <c:v>#N/A</c:v>
                </c:pt>
                <c:pt idx="22969">
                  <c:v>#N/A</c:v>
                </c:pt>
                <c:pt idx="22970">
                  <c:v>#N/A</c:v>
                </c:pt>
                <c:pt idx="22971">
                  <c:v>#N/A</c:v>
                </c:pt>
                <c:pt idx="22972">
                  <c:v>#N/A</c:v>
                </c:pt>
                <c:pt idx="22973">
                  <c:v>#N/A</c:v>
                </c:pt>
                <c:pt idx="22974">
                  <c:v>#N/A</c:v>
                </c:pt>
                <c:pt idx="22975">
                  <c:v>#N/A</c:v>
                </c:pt>
                <c:pt idx="22976">
                  <c:v>#N/A</c:v>
                </c:pt>
                <c:pt idx="22977">
                  <c:v>#N/A</c:v>
                </c:pt>
                <c:pt idx="22978">
                  <c:v>#N/A</c:v>
                </c:pt>
                <c:pt idx="22979">
                  <c:v>#N/A</c:v>
                </c:pt>
                <c:pt idx="22980">
                  <c:v>#N/A</c:v>
                </c:pt>
                <c:pt idx="22981">
                  <c:v>#N/A</c:v>
                </c:pt>
                <c:pt idx="22982">
                  <c:v>#N/A</c:v>
                </c:pt>
                <c:pt idx="22983">
                  <c:v>#N/A</c:v>
                </c:pt>
                <c:pt idx="22984">
                  <c:v>#N/A</c:v>
                </c:pt>
                <c:pt idx="22985">
                  <c:v>#N/A</c:v>
                </c:pt>
                <c:pt idx="22986">
                  <c:v>#N/A</c:v>
                </c:pt>
                <c:pt idx="22987">
                  <c:v>#N/A</c:v>
                </c:pt>
                <c:pt idx="22988">
                  <c:v>#N/A</c:v>
                </c:pt>
                <c:pt idx="22989">
                  <c:v>#N/A</c:v>
                </c:pt>
                <c:pt idx="22990">
                  <c:v>#N/A</c:v>
                </c:pt>
                <c:pt idx="22991">
                  <c:v>#N/A</c:v>
                </c:pt>
                <c:pt idx="22992">
                  <c:v>#N/A</c:v>
                </c:pt>
                <c:pt idx="22993">
                  <c:v>#N/A</c:v>
                </c:pt>
                <c:pt idx="22994">
                  <c:v>#N/A</c:v>
                </c:pt>
                <c:pt idx="22995">
                  <c:v>#N/A</c:v>
                </c:pt>
                <c:pt idx="22996">
                  <c:v>#N/A</c:v>
                </c:pt>
                <c:pt idx="22997">
                  <c:v>#N/A</c:v>
                </c:pt>
                <c:pt idx="22998">
                  <c:v>#N/A</c:v>
                </c:pt>
                <c:pt idx="22999">
                  <c:v>#N/A</c:v>
                </c:pt>
                <c:pt idx="23000">
                  <c:v>#N/A</c:v>
                </c:pt>
                <c:pt idx="23001">
                  <c:v>#N/A</c:v>
                </c:pt>
                <c:pt idx="23002">
                  <c:v>#N/A</c:v>
                </c:pt>
                <c:pt idx="23003">
                  <c:v>#N/A</c:v>
                </c:pt>
                <c:pt idx="23004">
                  <c:v>#N/A</c:v>
                </c:pt>
                <c:pt idx="23005">
                  <c:v>#N/A</c:v>
                </c:pt>
                <c:pt idx="23006">
                  <c:v>#N/A</c:v>
                </c:pt>
                <c:pt idx="23007">
                  <c:v>#N/A</c:v>
                </c:pt>
                <c:pt idx="23008">
                  <c:v>#N/A</c:v>
                </c:pt>
                <c:pt idx="23009">
                  <c:v>#N/A</c:v>
                </c:pt>
                <c:pt idx="23010">
                  <c:v>#N/A</c:v>
                </c:pt>
                <c:pt idx="23011">
                  <c:v>#N/A</c:v>
                </c:pt>
                <c:pt idx="23012">
                  <c:v>#N/A</c:v>
                </c:pt>
                <c:pt idx="23013">
                  <c:v>#N/A</c:v>
                </c:pt>
                <c:pt idx="23014">
                  <c:v>#N/A</c:v>
                </c:pt>
                <c:pt idx="23015">
                  <c:v>#N/A</c:v>
                </c:pt>
                <c:pt idx="23016">
                  <c:v>#N/A</c:v>
                </c:pt>
                <c:pt idx="23017">
                  <c:v>#N/A</c:v>
                </c:pt>
                <c:pt idx="23018">
                  <c:v>#N/A</c:v>
                </c:pt>
                <c:pt idx="23019">
                  <c:v>#N/A</c:v>
                </c:pt>
                <c:pt idx="23020">
                  <c:v>#N/A</c:v>
                </c:pt>
                <c:pt idx="23021">
                  <c:v>#N/A</c:v>
                </c:pt>
                <c:pt idx="23022">
                  <c:v>#N/A</c:v>
                </c:pt>
                <c:pt idx="23023">
                  <c:v>#N/A</c:v>
                </c:pt>
                <c:pt idx="23024">
                  <c:v>#N/A</c:v>
                </c:pt>
                <c:pt idx="23025">
                  <c:v>#N/A</c:v>
                </c:pt>
                <c:pt idx="23026">
                  <c:v>#N/A</c:v>
                </c:pt>
                <c:pt idx="23027">
                  <c:v>#N/A</c:v>
                </c:pt>
                <c:pt idx="23028">
                  <c:v>#N/A</c:v>
                </c:pt>
                <c:pt idx="23029">
                  <c:v>#N/A</c:v>
                </c:pt>
                <c:pt idx="23030">
                  <c:v>#N/A</c:v>
                </c:pt>
                <c:pt idx="23031">
                  <c:v>#N/A</c:v>
                </c:pt>
                <c:pt idx="23032">
                  <c:v>#N/A</c:v>
                </c:pt>
                <c:pt idx="23033">
                  <c:v>#N/A</c:v>
                </c:pt>
                <c:pt idx="23034">
                  <c:v>#N/A</c:v>
                </c:pt>
                <c:pt idx="23035">
                  <c:v>#N/A</c:v>
                </c:pt>
                <c:pt idx="23036">
                  <c:v>#N/A</c:v>
                </c:pt>
                <c:pt idx="23037">
                  <c:v>#N/A</c:v>
                </c:pt>
                <c:pt idx="23038">
                  <c:v>#N/A</c:v>
                </c:pt>
                <c:pt idx="23039">
                  <c:v>#N/A</c:v>
                </c:pt>
                <c:pt idx="23040">
                  <c:v>#N/A</c:v>
                </c:pt>
                <c:pt idx="23041">
                  <c:v>#N/A</c:v>
                </c:pt>
                <c:pt idx="23042">
                  <c:v>#N/A</c:v>
                </c:pt>
                <c:pt idx="23043">
                  <c:v>#N/A</c:v>
                </c:pt>
                <c:pt idx="23044">
                  <c:v>#N/A</c:v>
                </c:pt>
                <c:pt idx="23045">
                  <c:v>#N/A</c:v>
                </c:pt>
                <c:pt idx="23046">
                  <c:v>#N/A</c:v>
                </c:pt>
                <c:pt idx="23047">
                  <c:v>#N/A</c:v>
                </c:pt>
                <c:pt idx="23048">
                  <c:v>#N/A</c:v>
                </c:pt>
                <c:pt idx="23049">
                  <c:v>#N/A</c:v>
                </c:pt>
                <c:pt idx="23050">
                  <c:v>#N/A</c:v>
                </c:pt>
                <c:pt idx="23051">
                  <c:v>#N/A</c:v>
                </c:pt>
                <c:pt idx="23052">
                  <c:v>#N/A</c:v>
                </c:pt>
                <c:pt idx="23053">
                  <c:v>#N/A</c:v>
                </c:pt>
                <c:pt idx="23054">
                  <c:v>#N/A</c:v>
                </c:pt>
                <c:pt idx="23055">
                  <c:v>#N/A</c:v>
                </c:pt>
                <c:pt idx="23056">
                  <c:v>#N/A</c:v>
                </c:pt>
                <c:pt idx="23057">
                  <c:v>#N/A</c:v>
                </c:pt>
                <c:pt idx="23058">
                  <c:v>#N/A</c:v>
                </c:pt>
                <c:pt idx="23059">
                  <c:v>#N/A</c:v>
                </c:pt>
                <c:pt idx="23060">
                  <c:v>#N/A</c:v>
                </c:pt>
                <c:pt idx="23061">
                  <c:v>#N/A</c:v>
                </c:pt>
                <c:pt idx="23062">
                  <c:v>#N/A</c:v>
                </c:pt>
                <c:pt idx="23063">
                  <c:v>#N/A</c:v>
                </c:pt>
                <c:pt idx="23064">
                  <c:v>#N/A</c:v>
                </c:pt>
                <c:pt idx="23065">
                  <c:v>#N/A</c:v>
                </c:pt>
                <c:pt idx="23066">
                  <c:v>#N/A</c:v>
                </c:pt>
                <c:pt idx="23067">
                  <c:v>#N/A</c:v>
                </c:pt>
                <c:pt idx="23068">
                  <c:v>#N/A</c:v>
                </c:pt>
                <c:pt idx="23069">
                  <c:v>#N/A</c:v>
                </c:pt>
                <c:pt idx="23070">
                  <c:v>#N/A</c:v>
                </c:pt>
                <c:pt idx="23071">
                  <c:v>#N/A</c:v>
                </c:pt>
                <c:pt idx="23072">
                  <c:v>#N/A</c:v>
                </c:pt>
                <c:pt idx="23073">
                  <c:v>#N/A</c:v>
                </c:pt>
                <c:pt idx="23074">
                  <c:v>#N/A</c:v>
                </c:pt>
                <c:pt idx="23075">
                  <c:v>#N/A</c:v>
                </c:pt>
                <c:pt idx="23076">
                  <c:v>#N/A</c:v>
                </c:pt>
                <c:pt idx="23077">
                  <c:v>#N/A</c:v>
                </c:pt>
                <c:pt idx="23078">
                  <c:v>#N/A</c:v>
                </c:pt>
                <c:pt idx="23079">
                  <c:v>#N/A</c:v>
                </c:pt>
                <c:pt idx="23080">
                  <c:v>#N/A</c:v>
                </c:pt>
                <c:pt idx="23081">
                  <c:v>#N/A</c:v>
                </c:pt>
                <c:pt idx="23082">
                  <c:v>#N/A</c:v>
                </c:pt>
                <c:pt idx="23083">
                  <c:v>#N/A</c:v>
                </c:pt>
                <c:pt idx="23084">
                  <c:v>#N/A</c:v>
                </c:pt>
                <c:pt idx="23085">
                  <c:v>#N/A</c:v>
                </c:pt>
                <c:pt idx="23086">
                  <c:v>#N/A</c:v>
                </c:pt>
                <c:pt idx="23087">
                  <c:v>#N/A</c:v>
                </c:pt>
                <c:pt idx="23088">
                  <c:v>#N/A</c:v>
                </c:pt>
                <c:pt idx="23089">
                  <c:v>#N/A</c:v>
                </c:pt>
                <c:pt idx="23090">
                  <c:v>#N/A</c:v>
                </c:pt>
                <c:pt idx="23091">
                  <c:v>#N/A</c:v>
                </c:pt>
                <c:pt idx="23092">
                  <c:v>#N/A</c:v>
                </c:pt>
                <c:pt idx="23093">
                  <c:v>#N/A</c:v>
                </c:pt>
                <c:pt idx="23094">
                  <c:v>#N/A</c:v>
                </c:pt>
                <c:pt idx="23095">
                  <c:v>#N/A</c:v>
                </c:pt>
                <c:pt idx="23096">
                  <c:v>#N/A</c:v>
                </c:pt>
                <c:pt idx="23097">
                  <c:v>#N/A</c:v>
                </c:pt>
                <c:pt idx="23098">
                  <c:v>#N/A</c:v>
                </c:pt>
                <c:pt idx="23099">
                  <c:v>#N/A</c:v>
                </c:pt>
                <c:pt idx="23100">
                  <c:v>#N/A</c:v>
                </c:pt>
                <c:pt idx="23101">
                  <c:v>#N/A</c:v>
                </c:pt>
                <c:pt idx="23102">
                  <c:v>#N/A</c:v>
                </c:pt>
                <c:pt idx="23103">
                  <c:v>#N/A</c:v>
                </c:pt>
                <c:pt idx="23104">
                  <c:v>#N/A</c:v>
                </c:pt>
                <c:pt idx="23105">
                  <c:v>#N/A</c:v>
                </c:pt>
                <c:pt idx="23106">
                  <c:v>#N/A</c:v>
                </c:pt>
                <c:pt idx="23107">
                  <c:v>#N/A</c:v>
                </c:pt>
                <c:pt idx="23108">
                  <c:v>#N/A</c:v>
                </c:pt>
                <c:pt idx="23109">
                  <c:v>#N/A</c:v>
                </c:pt>
                <c:pt idx="23110">
                  <c:v>#N/A</c:v>
                </c:pt>
                <c:pt idx="23111">
                  <c:v>#N/A</c:v>
                </c:pt>
                <c:pt idx="23112">
                  <c:v>#N/A</c:v>
                </c:pt>
                <c:pt idx="23113">
                  <c:v>#N/A</c:v>
                </c:pt>
                <c:pt idx="23114">
                  <c:v>#N/A</c:v>
                </c:pt>
                <c:pt idx="23115">
                  <c:v>#N/A</c:v>
                </c:pt>
                <c:pt idx="23116">
                  <c:v>#N/A</c:v>
                </c:pt>
                <c:pt idx="23117">
                  <c:v>#N/A</c:v>
                </c:pt>
                <c:pt idx="23118">
                  <c:v>#N/A</c:v>
                </c:pt>
                <c:pt idx="23119">
                  <c:v>#N/A</c:v>
                </c:pt>
                <c:pt idx="23120">
                  <c:v>#N/A</c:v>
                </c:pt>
                <c:pt idx="23121">
                  <c:v>#N/A</c:v>
                </c:pt>
                <c:pt idx="23122">
                  <c:v>#N/A</c:v>
                </c:pt>
                <c:pt idx="23123">
                  <c:v>#N/A</c:v>
                </c:pt>
                <c:pt idx="23124">
                  <c:v>#N/A</c:v>
                </c:pt>
                <c:pt idx="23125">
                  <c:v>#N/A</c:v>
                </c:pt>
                <c:pt idx="23126">
                  <c:v>#N/A</c:v>
                </c:pt>
                <c:pt idx="23127">
                  <c:v>#N/A</c:v>
                </c:pt>
                <c:pt idx="23128">
                  <c:v>#N/A</c:v>
                </c:pt>
                <c:pt idx="23129">
                  <c:v>#N/A</c:v>
                </c:pt>
                <c:pt idx="23130">
                  <c:v>#N/A</c:v>
                </c:pt>
                <c:pt idx="23131">
                  <c:v>#N/A</c:v>
                </c:pt>
                <c:pt idx="23132">
                  <c:v>#N/A</c:v>
                </c:pt>
                <c:pt idx="23133">
                  <c:v>#N/A</c:v>
                </c:pt>
                <c:pt idx="23134">
                  <c:v>#N/A</c:v>
                </c:pt>
                <c:pt idx="23135">
                  <c:v>#N/A</c:v>
                </c:pt>
                <c:pt idx="23136">
                  <c:v>#N/A</c:v>
                </c:pt>
                <c:pt idx="23137">
                  <c:v>#N/A</c:v>
                </c:pt>
                <c:pt idx="23138">
                  <c:v>#N/A</c:v>
                </c:pt>
                <c:pt idx="23139">
                  <c:v>#N/A</c:v>
                </c:pt>
                <c:pt idx="23140">
                  <c:v>#N/A</c:v>
                </c:pt>
                <c:pt idx="23141">
                  <c:v>#N/A</c:v>
                </c:pt>
                <c:pt idx="23142">
                  <c:v>#N/A</c:v>
                </c:pt>
                <c:pt idx="23143">
                  <c:v>#N/A</c:v>
                </c:pt>
                <c:pt idx="23144">
                  <c:v>#N/A</c:v>
                </c:pt>
                <c:pt idx="23145">
                  <c:v>#N/A</c:v>
                </c:pt>
                <c:pt idx="23146">
                  <c:v>#N/A</c:v>
                </c:pt>
                <c:pt idx="23147">
                  <c:v>#N/A</c:v>
                </c:pt>
                <c:pt idx="23148">
                  <c:v>#N/A</c:v>
                </c:pt>
                <c:pt idx="23149">
                  <c:v>#N/A</c:v>
                </c:pt>
                <c:pt idx="23150">
                  <c:v>#N/A</c:v>
                </c:pt>
                <c:pt idx="23151">
                  <c:v>#N/A</c:v>
                </c:pt>
                <c:pt idx="23152">
                  <c:v>#N/A</c:v>
                </c:pt>
                <c:pt idx="23153">
                  <c:v>#N/A</c:v>
                </c:pt>
                <c:pt idx="23154">
                  <c:v>#N/A</c:v>
                </c:pt>
                <c:pt idx="23155">
                  <c:v>#N/A</c:v>
                </c:pt>
                <c:pt idx="23156">
                  <c:v>#N/A</c:v>
                </c:pt>
                <c:pt idx="23157">
                  <c:v>#N/A</c:v>
                </c:pt>
                <c:pt idx="23158">
                  <c:v>#N/A</c:v>
                </c:pt>
                <c:pt idx="23159">
                  <c:v>#N/A</c:v>
                </c:pt>
                <c:pt idx="23160">
                  <c:v>#N/A</c:v>
                </c:pt>
                <c:pt idx="23161">
                  <c:v>#N/A</c:v>
                </c:pt>
                <c:pt idx="23162">
                  <c:v>#N/A</c:v>
                </c:pt>
                <c:pt idx="23163">
                  <c:v>#N/A</c:v>
                </c:pt>
                <c:pt idx="23164">
                  <c:v>#N/A</c:v>
                </c:pt>
                <c:pt idx="23165">
                  <c:v>#N/A</c:v>
                </c:pt>
                <c:pt idx="23166">
                  <c:v>#N/A</c:v>
                </c:pt>
                <c:pt idx="23167">
                  <c:v>#N/A</c:v>
                </c:pt>
                <c:pt idx="23168">
                  <c:v>#N/A</c:v>
                </c:pt>
                <c:pt idx="23169">
                  <c:v>#N/A</c:v>
                </c:pt>
                <c:pt idx="23170">
                  <c:v>#N/A</c:v>
                </c:pt>
                <c:pt idx="23171">
                  <c:v>#N/A</c:v>
                </c:pt>
                <c:pt idx="23172">
                  <c:v>#N/A</c:v>
                </c:pt>
                <c:pt idx="23173">
                  <c:v>#N/A</c:v>
                </c:pt>
                <c:pt idx="23174">
                  <c:v>#N/A</c:v>
                </c:pt>
                <c:pt idx="23175">
                  <c:v>#N/A</c:v>
                </c:pt>
                <c:pt idx="23176">
                  <c:v>#N/A</c:v>
                </c:pt>
                <c:pt idx="23177">
                  <c:v>#N/A</c:v>
                </c:pt>
                <c:pt idx="23178">
                  <c:v>#N/A</c:v>
                </c:pt>
                <c:pt idx="23179">
                  <c:v>#N/A</c:v>
                </c:pt>
                <c:pt idx="23180">
                  <c:v>#N/A</c:v>
                </c:pt>
                <c:pt idx="23181">
                  <c:v>#N/A</c:v>
                </c:pt>
                <c:pt idx="23182">
                  <c:v>#N/A</c:v>
                </c:pt>
                <c:pt idx="23183">
                  <c:v>#N/A</c:v>
                </c:pt>
                <c:pt idx="23184">
                  <c:v>#N/A</c:v>
                </c:pt>
                <c:pt idx="23185">
                  <c:v>#N/A</c:v>
                </c:pt>
                <c:pt idx="23186">
                  <c:v>#N/A</c:v>
                </c:pt>
                <c:pt idx="23187">
                  <c:v>#N/A</c:v>
                </c:pt>
                <c:pt idx="23188">
                  <c:v>#N/A</c:v>
                </c:pt>
                <c:pt idx="23189">
                  <c:v>#N/A</c:v>
                </c:pt>
                <c:pt idx="23190">
                  <c:v>#N/A</c:v>
                </c:pt>
                <c:pt idx="23191">
                  <c:v>#N/A</c:v>
                </c:pt>
                <c:pt idx="23192">
                  <c:v>#N/A</c:v>
                </c:pt>
                <c:pt idx="23193">
                  <c:v>#N/A</c:v>
                </c:pt>
                <c:pt idx="23194">
                  <c:v>#N/A</c:v>
                </c:pt>
                <c:pt idx="23195">
                  <c:v>#N/A</c:v>
                </c:pt>
                <c:pt idx="23196">
                  <c:v>#N/A</c:v>
                </c:pt>
                <c:pt idx="23197">
                  <c:v>#N/A</c:v>
                </c:pt>
                <c:pt idx="23198">
                  <c:v>#N/A</c:v>
                </c:pt>
                <c:pt idx="23199">
                  <c:v>#N/A</c:v>
                </c:pt>
                <c:pt idx="23200">
                  <c:v>#N/A</c:v>
                </c:pt>
                <c:pt idx="23201">
                  <c:v>#N/A</c:v>
                </c:pt>
                <c:pt idx="23202">
                  <c:v>#N/A</c:v>
                </c:pt>
                <c:pt idx="23203">
                  <c:v>#N/A</c:v>
                </c:pt>
                <c:pt idx="23204">
                  <c:v>#N/A</c:v>
                </c:pt>
                <c:pt idx="23205">
                  <c:v>#N/A</c:v>
                </c:pt>
                <c:pt idx="23206">
                  <c:v>#N/A</c:v>
                </c:pt>
                <c:pt idx="23207">
                  <c:v>#N/A</c:v>
                </c:pt>
                <c:pt idx="23208">
                  <c:v>#N/A</c:v>
                </c:pt>
                <c:pt idx="23209">
                  <c:v>#N/A</c:v>
                </c:pt>
                <c:pt idx="23210">
                  <c:v>#N/A</c:v>
                </c:pt>
                <c:pt idx="23211">
                  <c:v>#N/A</c:v>
                </c:pt>
                <c:pt idx="23212">
                  <c:v>#N/A</c:v>
                </c:pt>
                <c:pt idx="23213">
                  <c:v>#N/A</c:v>
                </c:pt>
                <c:pt idx="23214">
                  <c:v>#N/A</c:v>
                </c:pt>
                <c:pt idx="23215">
                  <c:v>#N/A</c:v>
                </c:pt>
                <c:pt idx="23216">
                  <c:v>#N/A</c:v>
                </c:pt>
                <c:pt idx="23217">
                  <c:v>#N/A</c:v>
                </c:pt>
                <c:pt idx="23218">
                  <c:v>#N/A</c:v>
                </c:pt>
                <c:pt idx="23219">
                  <c:v>#N/A</c:v>
                </c:pt>
                <c:pt idx="23220">
                  <c:v>#N/A</c:v>
                </c:pt>
                <c:pt idx="23221">
                  <c:v>#N/A</c:v>
                </c:pt>
                <c:pt idx="23222">
                  <c:v>#N/A</c:v>
                </c:pt>
                <c:pt idx="23223">
                  <c:v>#N/A</c:v>
                </c:pt>
                <c:pt idx="23224">
                  <c:v>#N/A</c:v>
                </c:pt>
                <c:pt idx="23225">
                  <c:v>#N/A</c:v>
                </c:pt>
                <c:pt idx="23226">
                  <c:v>#N/A</c:v>
                </c:pt>
                <c:pt idx="23227">
                  <c:v>#N/A</c:v>
                </c:pt>
                <c:pt idx="23228">
                  <c:v>#N/A</c:v>
                </c:pt>
                <c:pt idx="23229">
                  <c:v>#N/A</c:v>
                </c:pt>
                <c:pt idx="23230">
                  <c:v>#N/A</c:v>
                </c:pt>
                <c:pt idx="23231">
                  <c:v>#N/A</c:v>
                </c:pt>
                <c:pt idx="23232">
                  <c:v>#N/A</c:v>
                </c:pt>
                <c:pt idx="23233">
                  <c:v>#N/A</c:v>
                </c:pt>
                <c:pt idx="23234">
                  <c:v>#N/A</c:v>
                </c:pt>
                <c:pt idx="23235">
                  <c:v>#N/A</c:v>
                </c:pt>
                <c:pt idx="23236">
                  <c:v>#N/A</c:v>
                </c:pt>
                <c:pt idx="23237">
                  <c:v>#N/A</c:v>
                </c:pt>
                <c:pt idx="23238">
                  <c:v>#N/A</c:v>
                </c:pt>
                <c:pt idx="23239">
                  <c:v>#N/A</c:v>
                </c:pt>
                <c:pt idx="23240">
                  <c:v>#N/A</c:v>
                </c:pt>
                <c:pt idx="23241">
                  <c:v>#N/A</c:v>
                </c:pt>
                <c:pt idx="23242">
                  <c:v>#N/A</c:v>
                </c:pt>
                <c:pt idx="23243">
                  <c:v>#N/A</c:v>
                </c:pt>
                <c:pt idx="23244">
                  <c:v>#N/A</c:v>
                </c:pt>
                <c:pt idx="23245">
                  <c:v>#N/A</c:v>
                </c:pt>
                <c:pt idx="23246">
                  <c:v>#N/A</c:v>
                </c:pt>
                <c:pt idx="23247">
                  <c:v>#N/A</c:v>
                </c:pt>
                <c:pt idx="23248">
                  <c:v>#N/A</c:v>
                </c:pt>
                <c:pt idx="23249">
                  <c:v>#N/A</c:v>
                </c:pt>
                <c:pt idx="23250">
                  <c:v>#N/A</c:v>
                </c:pt>
                <c:pt idx="23251">
                  <c:v>#N/A</c:v>
                </c:pt>
                <c:pt idx="23252">
                  <c:v>#N/A</c:v>
                </c:pt>
                <c:pt idx="23253">
                  <c:v>#N/A</c:v>
                </c:pt>
                <c:pt idx="23254">
                  <c:v>#N/A</c:v>
                </c:pt>
                <c:pt idx="23255">
                  <c:v>#N/A</c:v>
                </c:pt>
                <c:pt idx="23256">
                  <c:v>#N/A</c:v>
                </c:pt>
                <c:pt idx="23257">
                  <c:v>#N/A</c:v>
                </c:pt>
                <c:pt idx="23258">
                  <c:v>#N/A</c:v>
                </c:pt>
                <c:pt idx="23259">
                  <c:v>#N/A</c:v>
                </c:pt>
                <c:pt idx="23260">
                  <c:v>#N/A</c:v>
                </c:pt>
                <c:pt idx="23261">
                  <c:v>#N/A</c:v>
                </c:pt>
                <c:pt idx="23262">
                  <c:v>#N/A</c:v>
                </c:pt>
                <c:pt idx="23263">
                  <c:v>#N/A</c:v>
                </c:pt>
                <c:pt idx="23264">
                  <c:v>#N/A</c:v>
                </c:pt>
                <c:pt idx="23265">
                  <c:v>#N/A</c:v>
                </c:pt>
                <c:pt idx="23266">
                  <c:v>#N/A</c:v>
                </c:pt>
                <c:pt idx="23267">
                  <c:v>#N/A</c:v>
                </c:pt>
                <c:pt idx="23268">
                  <c:v>#N/A</c:v>
                </c:pt>
                <c:pt idx="23269">
                  <c:v>#N/A</c:v>
                </c:pt>
                <c:pt idx="23270">
                  <c:v>#N/A</c:v>
                </c:pt>
                <c:pt idx="23271">
                  <c:v>#N/A</c:v>
                </c:pt>
                <c:pt idx="23272">
                  <c:v>#N/A</c:v>
                </c:pt>
                <c:pt idx="23273">
                  <c:v>#N/A</c:v>
                </c:pt>
                <c:pt idx="23274">
                  <c:v>#N/A</c:v>
                </c:pt>
                <c:pt idx="23275">
                  <c:v>#N/A</c:v>
                </c:pt>
                <c:pt idx="23276">
                  <c:v>#N/A</c:v>
                </c:pt>
                <c:pt idx="23277">
                  <c:v>#N/A</c:v>
                </c:pt>
                <c:pt idx="23278">
                  <c:v>#N/A</c:v>
                </c:pt>
                <c:pt idx="23279">
                  <c:v>#N/A</c:v>
                </c:pt>
                <c:pt idx="23280">
                  <c:v>#N/A</c:v>
                </c:pt>
                <c:pt idx="23281">
                  <c:v>#N/A</c:v>
                </c:pt>
                <c:pt idx="23282">
                  <c:v>#N/A</c:v>
                </c:pt>
                <c:pt idx="23283">
                  <c:v>#N/A</c:v>
                </c:pt>
                <c:pt idx="23284">
                  <c:v>#N/A</c:v>
                </c:pt>
                <c:pt idx="23285">
                  <c:v>#N/A</c:v>
                </c:pt>
                <c:pt idx="23286">
                  <c:v>#N/A</c:v>
                </c:pt>
                <c:pt idx="23287">
                  <c:v>#N/A</c:v>
                </c:pt>
                <c:pt idx="23288">
                  <c:v>#N/A</c:v>
                </c:pt>
                <c:pt idx="23289">
                  <c:v>#N/A</c:v>
                </c:pt>
                <c:pt idx="23290">
                  <c:v>#N/A</c:v>
                </c:pt>
                <c:pt idx="23291">
                  <c:v>#N/A</c:v>
                </c:pt>
                <c:pt idx="23292">
                  <c:v>#N/A</c:v>
                </c:pt>
                <c:pt idx="23293">
                  <c:v>#N/A</c:v>
                </c:pt>
                <c:pt idx="23294">
                  <c:v>#N/A</c:v>
                </c:pt>
                <c:pt idx="23295">
                  <c:v>#N/A</c:v>
                </c:pt>
                <c:pt idx="23296">
                  <c:v>#N/A</c:v>
                </c:pt>
                <c:pt idx="23297">
                  <c:v>#N/A</c:v>
                </c:pt>
                <c:pt idx="23298">
                  <c:v>#N/A</c:v>
                </c:pt>
                <c:pt idx="23299">
                  <c:v>#N/A</c:v>
                </c:pt>
                <c:pt idx="23300">
                  <c:v>#N/A</c:v>
                </c:pt>
                <c:pt idx="23301">
                  <c:v>#N/A</c:v>
                </c:pt>
                <c:pt idx="23302">
                  <c:v>#N/A</c:v>
                </c:pt>
                <c:pt idx="23303">
                  <c:v>#N/A</c:v>
                </c:pt>
                <c:pt idx="23304">
                  <c:v>#N/A</c:v>
                </c:pt>
                <c:pt idx="23305">
                  <c:v>#N/A</c:v>
                </c:pt>
                <c:pt idx="23306">
                  <c:v>#N/A</c:v>
                </c:pt>
                <c:pt idx="23307">
                  <c:v>#N/A</c:v>
                </c:pt>
                <c:pt idx="23308">
                  <c:v>#N/A</c:v>
                </c:pt>
                <c:pt idx="23309">
                  <c:v>#N/A</c:v>
                </c:pt>
                <c:pt idx="23310">
                  <c:v>#N/A</c:v>
                </c:pt>
                <c:pt idx="23311">
                  <c:v>#N/A</c:v>
                </c:pt>
                <c:pt idx="23312">
                  <c:v>#N/A</c:v>
                </c:pt>
                <c:pt idx="23313">
                  <c:v>#N/A</c:v>
                </c:pt>
                <c:pt idx="23314">
                  <c:v>#N/A</c:v>
                </c:pt>
                <c:pt idx="23315">
                  <c:v>#N/A</c:v>
                </c:pt>
                <c:pt idx="23316">
                  <c:v>#N/A</c:v>
                </c:pt>
                <c:pt idx="23317">
                  <c:v>#N/A</c:v>
                </c:pt>
                <c:pt idx="23318">
                  <c:v>#N/A</c:v>
                </c:pt>
                <c:pt idx="23319">
                  <c:v>#N/A</c:v>
                </c:pt>
                <c:pt idx="23320">
                  <c:v>#N/A</c:v>
                </c:pt>
                <c:pt idx="23321">
                  <c:v>#N/A</c:v>
                </c:pt>
                <c:pt idx="23322">
                  <c:v>#N/A</c:v>
                </c:pt>
                <c:pt idx="23323">
                  <c:v>#N/A</c:v>
                </c:pt>
                <c:pt idx="23324">
                  <c:v>#N/A</c:v>
                </c:pt>
                <c:pt idx="23325">
                  <c:v>#N/A</c:v>
                </c:pt>
                <c:pt idx="23326">
                  <c:v>#N/A</c:v>
                </c:pt>
                <c:pt idx="23327">
                  <c:v>#N/A</c:v>
                </c:pt>
                <c:pt idx="23328">
                  <c:v>#N/A</c:v>
                </c:pt>
                <c:pt idx="23329">
                  <c:v>#N/A</c:v>
                </c:pt>
                <c:pt idx="23330">
                  <c:v>#N/A</c:v>
                </c:pt>
                <c:pt idx="23331">
                  <c:v>#N/A</c:v>
                </c:pt>
                <c:pt idx="23332">
                  <c:v>#N/A</c:v>
                </c:pt>
                <c:pt idx="23333">
                  <c:v>#N/A</c:v>
                </c:pt>
                <c:pt idx="23334">
                  <c:v>#N/A</c:v>
                </c:pt>
                <c:pt idx="23335">
                  <c:v>#N/A</c:v>
                </c:pt>
                <c:pt idx="23336">
                  <c:v>#N/A</c:v>
                </c:pt>
                <c:pt idx="23337">
                  <c:v>#N/A</c:v>
                </c:pt>
                <c:pt idx="23338">
                  <c:v>#N/A</c:v>
                </c:pt>
                <c:pt idx="23339">
                  <c:v>#N/A</c:v>
                </c:pt>
                <c:pt idx="23340">
                  <c:v>#N/A</c:v>
                </c:pt>
                <c:pt idx="23341">
                  <c:v>#N/A</c:v>
                </c:pt>
                <c:pt idx="23342">
                  <c:v>#N/A</c:v>
                </c:pt>
                <c:pt idx="23343">
                  <c:v>#N/A</c:v>
                </c:pt>
                <c:pt idx="23344">
                  <c:v>#N/A</c:v>
                </c:pt>
                <c:pt idx="23345">
                  <c:v>#N/A</c:v>
                </c:pt>
                <c:pt idx="23346">
                  <c:v>#N/A</c:v>
                </c:pt>
                <c:pt idx="23347">
                  <c:v>#N/A</c:v>
                </c:pt>
                <c:pt idx="23348">
                  <c:v>#N/A</c:v>
                </c:pt>
                <c:pt idx="23349">
                  <c:v>#N/A</c:v>
                </c:pt>
                <c:pt idx="23350">
                  <c:v>#N/A</c:v>
                </c:pt>
                <c:pt idx="23351">
                  <c:v>#N/A</c:v>
                </c:pt>
                <c:pt idx="23352">
                  <c:v>#N/A</c:v>
                </c:pt>
                <c:pt idx="23353">
                  <c:v>#N/A</c:v>
                </c:pt>
                <c:pt idx="23354">
                  <c:v>#N/A</c:v>
                </c:pt>
                <c:pt idx="23355">
                  <c:v>#N/A</c:v>
                </c:pt>
                <c:pt idx="23356">
                  <c:v>#N/A</c:v>
                </c:pt>
                <c:pt idx="23357">
                  <c:v>#N/A</c:v>
                </c:pt>
                <c:pt idx="23358">
                  <c:v>#N/A</c:v>
                </c:pt>
                <c:pt idx="23359">
                  <c:v>#N/A</c:v>
                </c:pt>
                <c:pt idx="23360">
                  <c:v>#N/A</c:v>
                </c:pt>
                <c:pt idx="23361">
                  <c:v>#N/A</c:v>
                </c:pt>
                <c:pt idx="23362">
                  <c:v>#N/A</c:v>
                </c:pt>
                <c:pt idx="23363">
                  <c:v>#N/A</c:v>
                </c:pt>
                <c:pt idx="23364">
                  <c:v>#N/A</c:v>
                </c:pt>
                <c:pt idx="23365">
                  <c:v>#N/A</c:v>
                </c:pt>
                <c:pt idx="23366">
                  <c:v>#N/A</c:v>
                </c:pt>
                <c:pt idx="23367">
                  <c:v>#N/A</c:v>
                </c:pt>
                <c:pt idx="23368">
                  <c:v>#N/A</c:v>
                </c:pt>
                <c:pt idx="23369">
                  <c:v>#N/A</c:v>
                </c:pt>
                <c:pt idx="23370">
                  <c:v>#N/A</c:v>
                </c:pt>
                <c:pt idx="23371">
                  <c:v>#N/A</c:v>
                </c:pt>
                <c:pt idx="23372">
                  <c:v>#N/A</c:v>
                </c:pt>
                <c:pt idx="23373">
                  <c:v>#N/A</c:v>
                </c:pt>
                <c:pt idx="23374">
                  <c:v>#N/A</c:v>
                </c:pt>
                <c:pt idx="23375">
                  <c:v>#N/A</c:v>
                </c:pt>
                <c:pt idx="23376">
                  <c:v>#N/A</c:v>
                </c:pt>
                <c:pt idx="23377">
                  <c:v>#N/A</c:v>
                </c:pt>
                <c:pt idx="23378">
                  <c:v>#N/A</c:v>
                </c:pt>
                <c:pt idx="23379">
                  <c:v>#N/A</c:v>
                </c:pt>
                <c:pt idx="23380">
                  <c:v>#N/A</c:v>
                </c:pt>
                <c:pt idx="23381">
                  <c:v>#N/A</c:v>
                </c:pt>
                <c:pt idx="23382">
                  <c:v>#N/A</c:v>
                </c:pt>
                <c:pt idx="23383">
                  <c:v>#N/A</c:v>
                </c:pt>
                <c:pt idx="23384">
                  <c:v>#N/A</c:v>
                </c:pt>
                <c:pt idx="23385">
                  <c:v>#N/A</c:v>
                </c:pt>
                <c:pt idx="23386">
                  <c:v>#N/A</c:v>
                </c:pt>
                <c:pt idx="23387">
                  <c:v>#N/A</c:v>
                </c:pt>
                <c:pt idx="23388">
                  <c:v>#N/A</c:v>
                </c:pt>
                <c:pt idx="23389">
                  <c:v>#N/A</c:v>
                </c:pt>
                <c:pt idx="23390">
                  <c:v>#N/A</c:v>
                </c:pt>
                <c:pt idx="23391">
                  <c:v>#N/A</c:v>
                </c:pt>
                <c:pt idx="23392">
                  <c:v>#N/A</c:v>
                </c:pt>
                <c:pt idx="23393">
                  <c:v>#N/A</c:v>
                </c:pt>
                <c:pt idx="23394">
                  <c:v>#N/A</c:v>
                </c:pt>
                <c:pt idx="23395">
                  <c:v>#N/A</c:v>
                </c:pt>
                <c:pt idx="23396">
                  <c:v>#N/A</c:v>
                </c:pt>
                <c:pt idx="23397">
                  <c:v>#N/A</c:v>
                </c:pt>
                <c:pt idx="23398">
                  <c:v>#N/A</c:v>
                </c:pt>
                <c:pt idx="23399">
                  <c:v>#N/A</c:v>
                </c:pt>
                <c:pt idx="23400">
                  <c:v>#N/A</c:v>
                </c:pt>
                <c:pt idx="23401">
                  <c:v>#N/A</c:v>
                </c:pt>
                <c:pt idx="23402">
                  <c:v>#N/A</c:v>
                </c:pt>
                <c:pt idx="23403">
                  <c:v>#N/A</c:v>
                </c:pt>
                <c:pt idx="23404">
                  <c:v>#N/A</c:v>
                </c:pt>
                <c:pt idx="23405">
                  <c:v>#N/A</c:v>
                </c:pt>
                <c:pt idx="23406">
                  <c:v>#N/A</c:v>
                </c:pt>
                <c:pt idx="23407">
                  <c:v>#N/A</c:v>
                </c:pt>
                <c:pt idx="23408">
                  <c:v>#N/A</c:v>
                </c:pt>
                <c:pt idx="23409">
                  <c:v>#N/A</c:v>
                </c:pt>
                <c:pt idx="23410">
                  <c:v>#N/A</c:v>
                </c:pt>
                <c:pt idx="23411">
                  <c:v>#N/A</c:v>
                </c:pt>
                <c:pt idx="23412">
                  <c:v>#N/A</c:v>
                </c:pt>
                <c:pt idx="23413">
                  <c:v>#N/A</c:v>
                </c:pt>
                <c:pt idx="23414">
                  <c:v>#N/A</c:v>
                </c:pt>
                <c:pt idx="23415">
                  <c:v>#N/A</c:v>
                </c:pt>
                <c:pt idx="23416">
                  <c:v>#N/A</c:v>
                </c:pt>
                <c:pt idx="23417">
                  <c:v>#N/A</c:v>
                </c:pt>
                <c:pt idx="23418">
                  <c:v>#N/A</c:v>
                </c:pt>
                <c:pt idx="23419">
                  <c:v>#N/A</c:v>
                </c:pt>
                <c:pt idx="23420">
                  <c:v>#N/A</c:v>
                </c:pt>
                <c:pt idx="23421">
                  <c:v>#N/A</c:v>
                </c:pt>
                <c:pt idx="23422">
                  <c:v>#N/A</c:v>
                </c:pt>
                <c:pt idx="23423">
                  <c:v>#N/A</c:v>
                </c:pt>
                <c:pt idx="23424">
                  <c:v>#N/A</c:v>
                </c:pt>
                <c:pt idx="23425">
                  <c:v>#N/A</c:v>
                </c:pt>
                <c:pt idx="23426">
                  <c:v>#N/A</c:v>
                </c:pt>
                <c:pt idx="23427">
                  <c:v>#N/A</c:v>
                </c:pt>
                <c:pt idx="23428">
                  <c:v>#N/A</c:v>
                </c:pt>
                <c:pt idx="23429">
                  <c:v>#N/A</c:v>
                </c:pt>
                <c:pt idx="23430">
                  <c:v>#N/A</c:v>
                </c:pt>
                <c:pt idx="23431">
                  <c:v>#N/A</c:v>
                </c:pt>
                <c:pt idx="23432">
                  <c:v>#N/A</c:v>
                </c:pt>
                <c:pt idx="23433">
                  <c:v>#N/A</c:v>
                </c:pt>
                <c:pt idx="23434">
                  <c:v>#N/A</c:v>
                </c:pt>
                <c:pt idx="23435">
                  <c:v>#N/A</c:v>
                </c:pt>
                <c:pt idx="23436">
                  <c:v>#N/A</c:v>
                </c:pt>
                <c:pt idx="23437">
                  <c:v>#N/A</c:v>
                </c:pt>
                <c:pt idx="23438">
                  <c:v>#N/A</c:v>
                </c:pt>
                <c:pt idx="23439">
                  <c:v>#N/A</c:v>
                </c:pt>
                <c:pt idx="23440">
                  <c:v>#N/A</c:v>
                </c:pt>
                <c:pt idx="23441">
                  <c:v>#N/A</c:v>
                </c:pt>
                <c:pt idx="23442">
                  <c:v>#N/A</c:v>
                </c:pt>
                <c:pt idx="23443">
                  <c:v>#N/A</c:v>
                </c:pt>
                <c:pt idx="23444">
                  <c:v>#N/A</c:v>
                </c:pt>
                <c:pt idx="23445">
                  <c:v>#N/A</c:v>
                </c:pt>
                <c:pt idx="23446">
                  <c:v>#N/A</c:v>
                </c:pt>
                <c:pt idx="23447">
                  <c:v>#N/A</c:v>
                </c:pt>
                <c:pt idx="23448">
                  <c:v>#N/A</c:v>
                </c:pt>
                <c:pt idx="23449">
                  <c:v>#N/A</c:v>
                </c:pt>
                <c:pt idx="23450">
                  <c:v>#N/A</c:v>
                </c:pt>
                <c:pt idx="23451">
                  <c:v>#N/A</c:v>
                </c:pt>
                <c:pt idx="23452">
                  <c:v>#N/A</c:v>
                </c:pt>
                <c:pt idx="23453">
                  <c:v>#N/A</c:v>
                </c:pt>
                <c:pt idx="23454">
                  <c:v>#N/A</c:v>
                </c:pt>
                <c:pt idx="23455">
                  <c:v>#N/A</c:v>
                </c:pt>
                <c:pt idx="23456">
                  <c:v>#N/A</c:v>
                </c:pt>
                <c:pt idx="23457">
                  <c:v>#N/A</c:v>
                </c:pt>
                <c:pt idx="23458">
                  <c:v>#N/A</c:v>
                </c:pt>
                <c:pt idx="23459">
                  <c:v>#N/A</c:v>
                </c:pt>
                <c:pt idx="23460">
                  <c:v>#N/A</c:v>
                </c:pt>
                <c:pt idx="23461">
                  <c:v>#N/A</c:v>
                </c:pt>
                <c:pt idx="23462">
                  <c:v>#N/A</c:v>
                </c:pt>
                <c:pt idx="23463">
                  <c:v>#N/A</c:v>
                </c:pt>
                <c:pt idx="23464">
                  <c:v>#N/A</c:v>
                </c:pt>
                <c:pt idx="23465">
                  <c:v>#N/A</c:v>
                </c:pt>
                <c:pt idx="23466">
                  <c:v>#N/A</c:v>
                </c:pt>
                <c:pt idx="23467">
                  <c:v>#N/A</c:v>
                </c:pt>
                <c:pt idx="23468">
                  <c:v>#N/A</c:v>
                </c:pt>
                <c:pt idx="23469">
                  <c:v>#N/A</c:v>
                </c:pt>
                <c:pt idx="23470">
                  <c:v>#N/A</c:v>
                </c:pt>
                <c:pt idx="23471">
                  <c:v>#N/A</c:v>
                </c:pt>
                <c:pt idx="23472">
                  <c:v>#N/A</c:v>
                </c:pt>
                <c:pt idx="23473">
                  <c:v>#N/A</c:v>
                </c:pt>
                <c:pt idx="23474">
                  <c:v>#N/A</c:v>
                </c:pt>
                <c:pt idx="23475">
                  <c:v>#N/A</c:v>
                </c:pt>
                <c:pt idx="23476">
                  <c:v>#N/A</c:v>
                </c:pt>
                <c:pt idx="23477">
                  <c:v>#N/A</c:v>
                </c:pt>
                <c:pt idx="23478">
                  <c:v>#N/A</c:v>
                </c:pt>
                <c:pt idx="23479">
                  <c:v>#N/A</c:v>
                </c:pt>
                <c:pt idx="23480">
                  <c:v>#N/A</c:v>
                </c:pt>
                <c:pt idx="23481">
                  <c:v>#N/A</c:v>
                </c:pt>
                <c:pt idx="23482">
                  <c:v>#N/A</c:v>
                </c:pt>
                <c:pt idx="23483">
                  <c:v>#N/A</c:v>
                </c:pt>
                <c:pt idx="23484">
                  <c:v>#N/A</c:v>
                </c:pt>
                <c:pt idx="23485">
                  <c:v>#N/A</c:v>
                </c:pt>
                <c:pt idx="23486">
                  <c:v>#N/A</c:v>
                </c:pt>
                <c:pt idx="23487">
                  <c:v>#N/A</c:v>
                </c:pt>
                <c:pt idx="23488">
                  <c:v>#N/A</c:v>
                </c:pt>
                <c:pt idx="23489">
                  <c:v>#N/A</c:v>
                </c:pt>
                <c:pt idx="23490">
                  <c:v>#N/A</c:v>
                </c:pt>
                <c:pt idx="23491">
                  <c:v>#N/A</c:v>
                </c:pt>
                <c:pt idx="23492">
                  <c:v>#N/A</c:v>
                </c:pt>
                <c:pt idx="23493">
                  <c:v>#N/A</c:v>
                </c:pt>
                <c:pt idx="23494">
                  <c:v>#N/A</c:v>
                </c:pt>
                <c:pt idx="23495">
                  <c:v>#N/A</c:v>
                </c:pt>
                <c:pt idx="23496">
                  <c:v>#N/A</c:v>
                </c:pt>
                <c:pt idx="23497">
                  <c:v>#N/A</c:v>
                </c:pt>
                <c:pt idx="23498">
                  <c:v>#N/A</c:v>
                </c:pt>
                <c:pt idx="23499">
                  <c:v>#N/A</c:v>
                </c:pt>
                <c:pt idx="23500">
                  <c:v>#N/A</c:v>
                </c:pt>
                <c:pt idx="23501">
                  <c:v>#N/A</c:v>
                </c:pt>
                <c:pt idx="23502">
                  <c:v>#N/A</c:v>
                </c:pt>
                <c:pt idx="23503">
                  <c:v>#N/A</c:v>
                </c:pt>
                <c:pt idx="23504">
                  <c:v>#N/A</c:v>
                </c:pt>
                <c:pt idx="23505">
                  <c:v>#N/A</c:v>
                </c:pt>
                <c:pt idx="23506">
                  <c:v>#N/A</c:v>
                </c:pt>
                <c:pt idx="23507">
                  <c:v>#N/A</c:v>
                </c:pt>
                <c:pt idx="23508">
                  <c:v>#N/A</c:v>
                </c:pt>
                <c:pt idx="23509">
                  <c:v>#N/A</c:v>
                </c:pt>
                <c:pt idx="23510">
                  <c:v>#N/A</c:v>
                </c:pt>
                <c:pt idx="23511">
                  <c:v>#N/A</c:v>
                </c:pt>
                <c:pt idx="23512">
                  <c:v>#N/A</c:v>
                </c:pt>
                <c:pt idx="23513">
                  <c:v>#N/A</c:v>
                </c:pt>
                <c:pt idx="23514">
                  <c:v>#N/A</c:v>
                </c:pt>
                <c:pt idx="23515">
                  <c:v>#N/A</c:v>
                </c:pt>
                <c:pt idx="23516">
                  <c:v>#N/A</c:v>
                </c:pt>
                <c:pt idx="23517">
                  <c:v>#N/A</c:v>
                </c:pt>
                <c:pt idx="23518">
                  <c:v>#N/A</c:v>
                </c:pt>
                <c:pt idx="23519">
                  <c:v>#N/A</c:v>
                </c:pt>
                <c:pt idx="23520">
                  <c:v>#N/A</c:v>
                </c:pt>
                <c:pt idx="23521">
                  <c:v>#N/A</c:v>
                </c:pt>
                <c:pt idx="23522">
                  <c:v>#N/A</c:v>
                </c:pt>
                <c:pt idx="23523">
                  <c:v>#N/A</c:v>
                </c:pt>
                <c:pt idx="23524">
                  <c:v>#N/A</c:v>
                </c:pt>
                <c:pt idx="23525">
                  <c:v>#N/A</c:v>
                </c:pt>
                <c:pt idx="23526">
                  <c:v>#N/A</c:v>
                </c:pt>
                <c:pt idx="23527">
                  <c:v>#N/A</c:v>
                </c:pt>
                <c:pt idx="23528">
                  <c:v>#N/A</c:v>
                </c:pt>
                <c:pt idx="23529">
                  <c:v>#N/A</c:v>
                </c:pt>
                <c:pt idx="23530">
                  <c:v>#N/A</c:v>
                </c:pt>
                <c:pt idx="23531">
                  <c:v>#N/A</c:v>
                </c:pt>
                <c:pt idx="23532">
                  <c:v>#N/A</c:v>
                </c:pt>
                <c:pt idx="23533">
                  <c:v>#N/A</c:v>
                </c:pt>
                <c:pt idx="23534">
                  <c:v>#N/A</c:v>
                </c:pt>
                <c:pt idx="23535">
                  <c:v>#N/A</c:v>
                </c:pt>
                <c:pt idx="23536">
                  <c:v>#N/A</c:v>
                </c:pt>
                <c:pt idx="23537">
                  <c:v>#N/A</c:v>
                </c:pt>
                <c:pt idx="23538">
                  <c:v>#N/A</c:v>
                </c:pt>
                <c:pt idx="23539">
                  <c:v>#N/A</c:v>
                </c:pt>
                <c:pt idx="23540">
                  <c:v>#N/A</c:v>
                </c:pt>
                <c:pt idx="23541">
                  <c:v>#N/A</c:v>
                </c:pt>
                <c:pt idx="23542">
                  <c:v>#N/A</c:v>
                </c:pt>
                <c:pt idx="23543">
                  <c:v>#N/A</c:v>
                </c:pt>
                <c:pt idx="23544">
                  <c:v>#N/A</c:v>
                </c:pt>
                <c:pt idx="23545">
                  <c:v>#N/A</c:v>
                </c:pt>
                <c:pt idx="23546">
                  <c:v>#N/A</c:v>
                </c:pt>
                <c:pt idx="23547">
                  <c:v>#N/A</c:v>
                </c:pt>
                <c:pt idx="23548">
                  <c:v>#N/A</c:v>
                </c:pt>
                <c:pt idx="23549">
                  <c:v>#N/A</c:v>
                </c:pt>
                <c:pt idx="23550">
                  <c:v>#N/A</c:v>
                </c:pt>
                <c:pt idx="23551">
                  <c:v>#N/A</c:v>
                </c:pt>
                <c:pt idx="23552">
                  <c:v>#N/A</c:v>
                </c:pt>
                <c:pt idx="23553">
                  <c:v>#N/A</c:v>
                </c:pt>
                <c:pt idx="23554">
                  <c:v>#N/A</c:v>
                </c:pt>
                <c:pt idx="23555">
                  <c:v>#N/A</c:v>
                </c:pt>
                <c:pt idx="23556">
                  <c:v>#N/A</c:v>
                </c:pt>
                <c:pt idx="23557">
                  <c:v>#N/A</c:v>
                </c:pt>
                <c:pt idx="23558">
                  <c:v>#N/A</c:v>
                </c:pt>
                <c:pt idx="23559">
                  <c:v>#N/A</c:v>
                </c:pt>
                <c:pt idx="23560">
                  <c:v>#N/A</c:v>
                </c:pt>
                <c:pt idx="23561">
                  <c:v>#N/A</c:v>
                </c:pt>
                <c:pt idx="23562">
                  <c:v>#N/A</c:v>
                </c:pt>
                <c:pt idx="23563">
                  <c:v>#N/A</c:v>
                </c:pt>
                <c:pt idx="23564">
                  <c:v>#N/A</c:v>
                </c:pt>
                <c:pt idx="23565">
                  <c:v>#N/A</c:v>
                </c:pt>
                <c:pt idx="23566">
                  <c:v>#N/A</c:v>
                </c:pt>
                <c:pt idx="23567">
                  <c:v>#N/A</c:v>
                </c:pt>
                <c:pt idx="23568">
                  <c:v>#N/A</c:v>
                </c:pt>
                <c:pt idx="23569">
                  <c:v>#N/A</c:v>
                </c:pt>
                <c:pt idx="23570">
                  <c:v>#N/A</c:v>
                </c:pt>
                <c:pt idx="23571">
                  <c:v>#N/A</c:v>
                </c:pt>
                <c:pt idx="23572">
                  <c:v>#N/A</c:v>
                </c:pt>
                <c:pt idx="23573">
                  <c:v>#N/A</c:v>
                </c:pt>
                <c:pt idx="23574">
                  <c:v>#N/A</c:v>
                </c:pt>
                <c:pt idx="23575">
                  <c:v>#N/A</c:v>
                </c:pt>
                <c:pt idx="23576">
                  <c:v>#N/A</c:v>
                </c:pt>
                <c:pt idx="23577">
                  <c:v>#N/A</c:v>
                </c:pt>
                <c:pt idx="23578">
                  <c:v>#N/A</c:v>
                </c:pt>
                <c:pt idx="23579">
                  <c:v>#N/A</c:v>
                </c:pt>
                <c:pt idx="23580">
                  <c:v>#N/A</c:v>
                </c:pt>
                <c:pt idx="23581">
                  <c:v>#N/A</c:v>
                </c:pt>
                <c:pt idx="23582">
                  <c:v>#N/A</c:v>
                </c:pt>
                <c:pt idx="23583">
                  <c:v>#N/A</c:v>
                </c:pt>
                <c:pt idx="23584">
                  <c:v>#N/A</c:v>
                </c:pt>
                <c:pt idx="23585">
                  <c:v>#N/A</c:v>
                </c:pt>
                <c:pt idx="23586">
                  <c:v>#N/A</c:v>
                </c:pt>
                <c:pt idx="23587">
                  <c:v>#N/A</c:v>
                </c:pt>
                <c:pt idx="23588">
                  <c:v>#N/A</c:v>
                </c:pt>
                <c:pt idx="23589">
                  <c:v>#N/A</c:v>
                </c:pt>
                <c:pt idx="23590">
                  <c:v>#N/A</c:v>
                </c:pt>
                <c:pt idx="23591">
                  <c:v>#N/A</c:v>
                </c:pt>
                <c:pt idx="23592">
                  <c:v>#N/A</c:v>
                </c:pt>
                <c:pt idx="23593">
                  <c:v>#N/A</c:v>
                </c:pt>
                <c:pt idx="23594">
                  <c:v>#N/A</c:v>
                </c:pt>
                <c:pt idx="23595">
                  <c:v>#N/A</c:v>
                </c:pt>
                <c:pt idx="23596">
                  <c:v>#N/A</c:v>
                </c:pt>
                <c:pt idx="23597">
                  <c:v>#N/A</c:v>
                </c:pt>
                <c:pt idx="23598">
                  <c:v>#N/A</c:v>
                </c:pt>
                <c:pt idx="23599">
                  <c:v>#N/A</c:v>
                </c:pt>
                <c:pt idx="23600">
                  <c:v>#N/A</c:v>
                </c:pt>
                <c:pt idx="23601">
                  <c:v>#N/A</c:v>
                </c:pt>
                <c:pt idx="23602">
                  <c:v>#N/A</c:v>
                </c:pt>
                <c:pt idx="23603">
                  <c:v>#N/A</c:v>
                </c:pt>
                <c:pt idx="23604">
                  <c:v>#N/A</c:v>
                </c:pt>
                <c:pt idx="23605">
                  <c:v>#N/A</c:v>
                </c:pt>
                <c:pt idx="23606">
                  <c:v>#N/A</c:v>
                </c:pt>
                <c:pt idx="23607">
                  <c:v>#N/A</c:v>
                </c:pt>
                <c:pt idx="23608">
                  <c:v>#N/A</c:v>
                </c:pt>
                <c:pt idx="23609">
                  <c:v>#N/A</c:v>
                </c:pt>
                <c:pt idx="23610">
                  <c:v>#N/A</c:v>
                </c:pt>
                <c:pt idx="23611">
                  <c:v>#N/A</c:v>
                </c:pt>
                <c:pt idx="23612">
                  <c:v>#N/A</c:v>
                </c:pt>
                <c:pt idx="23613">
                  <c:v>#N/A</c:v>
                </c:pt>
                <c:pt idx="23614">
                  <c:v>#N/A</c:v>
                </c:pt>
                <c:pt idx="23615">
                  <c:v>#N/A</c:v>
                </c:pt>
                <c:pt idx="23616">
                  <c:v>#N/A</c:v>
                </c:pt>
                <c:pt idx="23617">
                  <c:v>#N/A</c:v>
                </c:pt>
                <c:pt idx="23618">
                  <c:v>#N/A</c:v>
                </c:pt>
                <c:pt idx="23619">
                  <c:v>#N/A</c:v>
                </c:pt>
                <c:pt idx="23620">
                  <c:v>#N/A</c:v>
                </c:pt>
                <c:pt idx="23621">
                  <c:v>#N/A</c:v>
                </c:pt>
                <c:pt idx="23622">
                  <c:v>#N/A</c:v>
                </c:pt>
                <c:pt idx="23623">
                  <c:v>#N/A</c:v>
                </c:pt>
                <c:pt idx="23624">
                  <c:v>#N/A</c:v>
                </c:pt>
                <c:pt idx="23625">
                  <c:v>#N/A</c:v>
                </c:pt>
                <c:pt idx="23626">
                  <c:v>#N/A</c:v>
                </c:pt>
                <c:pt idx="23627">
                  <c:v>#N/A</c:v>
                </c:pt>
                <c:pt idx="23628">
                  <c:v>#N/A</c:v>
                </c:pt>
                <c:pt idx="23629">
                  <c:v>#N/A</c:v>
                </c:pt>
                <c:pt idx="23630">
                  <c:v>#N/A</c:v>
                </c:pt>
                <c:pt idx="23631">
                  <c:v>#N/A</c:v>
                </c:pt>
                <c:pt idx="23632">
                  <c:v>#N/A</c:v>
                </c:pt>
                <c:pt idx="23633">
                  <c:v>#N/A</c:v>
                </c:pt>
                <c:pt idx="23634">
                  <c:v>#N/A</c:v>
                </c:pt>
                <c:pt idx="23635">
                  <c:v>#N/A</c:v>
                </c:pt>
                <c:pt idx="23636">
                  <c:v>#N/A</c:v>
                </c:pt>
                <c:pt idx="23637">
                  <c:v>#N/A</c:v>
                </c:pt>
                <c:pt idx="23638">
                  <c:v>#N/A</c:v>
                </c:pt>
                <c:pt idx="23639">
                  <c:v>#N/A</c:v>
                </c:pt>
                <c:pt idx="23640">
                  <c:v>#N/A</c:v>
                </c:pt>
                <c:pt idx="23641">
                  <c:v>#N/A</c:v>
                </c:pt>
                <c:pt idx="23642">
                  <c:v>#N/A</c:v>
                </c:pt>
                <c:pt idx="23643">
                  <c:v>#N/A</c:v>
                </c:pt>
                <c:pt idx="23644">
                  <c:v>#N/A</c:v>
                </c:pt>
                <c:pt idx="23645">
                  <c:v>#N/A</c:v>
                </c:pt>
                <c:pt idx="23646">
                  <c:v>#N/A</c:v>
                </c:pt>
                <c:pt idx="23647">
                  <c:v>#N/A</c:v>
                </c:pt>
                <c:pt idx="23648">
                  <c:v>#N/A</c:v>
                </c:pt>
                <c:pt idx="23649">
                  <c:v>#N/A</c:v>
                </c:pt>
                <c:pt idx="23650">
                  <c:v>#N/A</c:v>
                </c:pt>
                <c:pt idx="23651">
                  <c:v>#N/A</c:v>
                </c:pt>
                <c:pt idx="23652">
                  <c:v>#N/A</c:v>
                </c:pt>
                <c:pt idx="23653">
                  <c:v>#N/A</c:v>
                </c:pt>
                <c:pt idx="23654">
                  <c:v>#N/A</c:v>
                </c:pt>
                <c:pt idx="23655">
                  <c:v>#N/A</c:v>
                </c:pt>
                <c:pt idx="23656">
                  <c:v>#N/A</c:v>
                </c:pt>
                <c:pt idx="23657">
                  <c:v>#N/A</c:v>
                </c:pt>
                <c:pt idx="23658">
                  <c:v>#N/A</c:v>
                </c:pt>
                <c:pt idx="23659">
                  <c:v>#N/A</c:v>
                </c:pt>
                <c:pt idx="23660">
                  <c:v>#N/A</c:v>
                </c:pt>
                <c:pt idx="23661">
                  <c:v>#N/A</c:v>
                </c:pt>
                <c:pt idx="23662">
                  <c:v>#N/A</c:v>
                </c:pt>
                <c:pt idx="23663">
                  <c:v>#N/A</c:v>
                </c:pt>
                <c:pt idx="23664">
                  <c:v>#N/A</c:v>
                </c:pt>
                <c:pt idx="23665">
                  <c:v>#N/A</c:v>
                </c:pt>
                <c:pt idx="23666">
                  <c:v>#N/A</c:v>
                </c:pt>
                <c:pt idx="23667">
                  <c:v>#N/A</c:v>
                </c:pt>
                <c:pt idx="23668">
                  <c:v>#N/A</c:v>
                </c:pt>
                <c:pt idx="23669">
                  <c:v>#N/A</c:v>
                </c:pt>
                <c:pt idx="23670">
                  <c:v>#N/A</c:v>
                </c:pt>
                <c:pt idx="23671">
                  <c:v>#N/A</c:v>
                </c:pt>
                <c:pt idx="23672">
                  <c:v>#N/A</c:v>
                </c:pt>
                <c:pt idx="23673">
                  <c:v>#N/A</c:v>
                </c:pt>
                <c:pt idx="23674">
                  <c:v>#N/A</c:v>
                </c:pt>
                <c:pt idx="23675">
                  <c:v>#N/A</c:v>
                </c:pt>
                <c:pt idx="23676">
                  <c:v>#N/A</c:v>
                </c:pt>
                <c:pt idx="23677">
                  <c:v>#N/A</c:v>
                </c:pt>
                <c:pt idx="23678">
                  <c:v>#N/A</c:v>
                </c:pt>
                <c:pt idx="23679">
                  <c:v>#N/A</c:v>
                </c:pt>
                <c:pt idx="23680">
                  <c:v>#N/A</c:v>
                </c:pt>
                <c:pt idx="23681">
                  <c:v>#N/A</c:v>
                </c:pt>
                <c:pt idx="23682">
                  <c:v>#N/A</c:v>
                </c:pt>
                <c:pt idx="23683">
                  <c:v>#N/A</c:v>
                </c:pt>
                <c:pt idx="23684">
                  <c:v>#N/A</c:v>
                </c:pt>
                <c:pt idx="23685">
                  <c:v>#N/A</c:v>
                </c:pt>
                <c:pt idx="23686">
                  <c:v>#N/A</c:v>
                </c:pt>
                <c:pt idx="23687">
                  <c:v>#N/A</c:v>
                </c:pt>
                <c:pt idx="23688">
                  <c:v>#N/A</c:v>
                </c:pt>
                <c:pt idx="23689">
                  <c:v>#N/A</c:v>
                </c:pt>
                <c:pt idx="23690">
                  <c:v>#N/A</c:v>
                </c:pt>
                <c:pt idx="23691">
                  <c:v>#N/A</c:v>
                </c:pt>
                <c:pt idx="23692">
                  <c:v>#N/A</c:v>
                </c:pt>
                <c:pt idx="23693">
                  <c:v>#N/A</c:v>
                </c:pt>
                <c:pt idx="23694">
                  <c:v>#N/A</c:v>
                </c:pt>
                <c:pt idx="23695">
                  <c:v>#N/A</c:v>
                </c:pt>
                <c:pt idx="23696">
                  <c:v>#N/A</c:v>
                </c:pt>
                <c:pt idx="23697">
                  <c:v>#N/A</c:v>
                </c:pt>
                <c:pt idx="23698">
                  <c:v>#N/A</c:v>
                </c:pt>
                <c:pt idx="23699">
                  <c:v>#N/A</c:v>
                </c:pt>
                <c:pt idx="23700">
                  <c:v>#N/A</c:v>
                </c:pt>
                <c:pt idx="23701">
                  <c:v>#N/A</c:v>
                </c:pt>
                <c:pt idx="23702">
                  <c:v>#N/A</c:v>
                </c:pt>
                <c:pt idx="23703">
                  <c:v>#N/A</c:v>
                </c:pt>
                <c:pt idx="23704">
                  <c:v>#N/A</c:v>
                </c:pt>
                <c:pt idx="23705">
                  <c:v>#N/A</c:v>
                </c:pt>
                <c:pt idx="23706">
                  <c:v>#N/A</c:v>
                </c:pt>
                <c:pt idx="23707">
                  <c:v>#N/A</c:v>
                </c:pt>
                <c:pt idx="23708">
                  <c:v>#N/A</c:v>
                </c:pt>
                <c:pt idx="23709">
                  <c:v>#N/A</c:v>
                </c:pt>
                <c:pt idx="23710">
                  <c:v>#N/A</c:v>
                </c:pt>
                <c:pt idx="23711">
                  <c:v>#N/A</c:v>
                </c:pt>
                <c:pt idx="23712">
                  <c:v>#N/A</c:v>
                </c:pt>
                <c:pt idx="23713">
                  <c:v>#N/A</c:v>
                </c:pt>
                <c:pt idx="23714">
                  <c:v>#N/A</c:v>
                </c:pt>
                <c:pt idx="23715">
                  <c:v>#N/A</c:v>
                </c:pt>
                <c:pt idx="23716">
                  <c:v>#N/A</c:v>
                </c:pt>
                <c:pt idx="23717">
                  <c:v>#N/A</c:v>
                </c:pt>
                <c:pt idx="23718">
                  <c:v>#N/A</c:v>
                </c:pt>
                <c:pt idx="23719">
                  <c:v>#N/A</c:v>
                </c:pt>
                <c:pt idx="23720">
                  <c:v>#N/A</c:v>
                </c:pt>
                <c:pt idx="23721">
                  <c:v>#N/A</c:v>
                </c:pt>
                <c:pt idx="23722">
                  <c:v>#N/A</c:v>
                </c:pt>
                <c:pt idx="23723">
                  <c:v>#N/A</c:v>
                </c:pt>
                <c:pt idx="23724">
                  <c:v>#N/A</c:v>
                </c:pt>
                <c:pt idx="23725">
                  <c:v>#N/A</c:v>
                </c:pt>
                <c:pt idx="23726">
                  <c:v>#N/A</c:v>
                </c:pt>
                <c:pt idx="23727">
                  <c:v>#N/A</c:v>
                </c:pt>
                <c:pt idx="23728">
                  <c:v>#N/A</c:v>
                </c:pt>
                <c:pt idx="23729">
                  <c:v>#N/A</c:v>
                </c:pt>
                <c:pt idx="23730">
                  <c:v>#N/A</c:v>
                </c:pt>
                <c:pt idx="23731">
                  <c:v>#N/A</c:v>
                </c:pt>
                <c:pt idx="23732">
                  <c:v>#N/A</c:v>
                </c:pt>
                <c:pt idx="23733">
                  <c:v>#N/A</c:v>
                </c:pt>
                <c:pt idx="23734">
                  <c:v>#N/A</c:v>
                </c:pt>
                <c:pt idx="23735">
                  <c:v>#N/A</c:v>
                </c:pt>
                <c:pt idx="23736">
                  <c:v>#N/A</c:v>
                </c:pt>
                <c:pt idx="23737">
                  <c:v>#N/A</c:v>
                </c:pt>
                <c:pt idx="23738">
                  <c:v>#N/A</c:v>
                </c:pt>
                <c:pt idx="23739">
                  <c:v>#N/A</c:v>
                </c:pt>
                <c:pt idx="23740">
                  <c:v>#N/A</c:v>
                </c:pt>
                <c:pt idx="23741">
                  <c:v>#N/A</c:v>
                </c:pt>
                <c:pt idx="23742">
                  <c:v>#N/A</c:v>
                </c:pt>
                <c:pt idx="23743">
                  <c:v>#N/A</c:v>
                </c:pt>
                <c:pt idx="23744">
                  <c:v>#N/A</c:v>
                </c:pt>
                <c:pt idx="23745">
                  <c:v>#N/A</c:v>
                </c:pt>
                <c:pt idx="23746">
                  <c:v>#N/A</c:v>
                </c:pt>
                <c:pt idx="23747">
                  <c:v>#N/A</c:v>
                </c:pt>
                <c:pt idx="23748">
                  <c:v>#N/A</c:v>
                </c:pt>
                <c:pt idx="23749">
                  <c:v>#N/A</c:v>
                </c:pt>
                <c:pt idx="23750">
                  <c:v>#N/A</c:v>
                </c:pt>
                <c:pt idx="23751">
                  <c:v>#N/A</c:v>
                </c:pt>
                <c:pt idx="23752">
                  <c:v>#N/A</c:v>
                </c:pt>
                <c:pt idx="23753">
                  <c:v>#N/A</c:v>
                </c:pt>
                <c:pt idx="23754">
                  <c:v>#N/A</c:v>
                </c:pt>
                <c:pt idx="23755">
                  <c:v>#N/A</c:v>
                </c:pt>
                <c:pt idx="23756">
                  <c:v>#N/A</c:v>
                </c:pt>
                <c:pt idx="23757">
                  <c:v>#N/A</c:v>
                </c:pt>
                <c:pt idx="23758">
                  <c:v>#N/A</c:v>
                </c:pt>
                <c:pt idx="23759">
                  <c:v>#N/A</c:v>
                </c:pt>
                <c:pt idx="23760">
                  <c:v>#N/A</c:v>
                </c:pt>
                <c:pt idx="23761">
                  <c:v>#N/A</c:v>
                </c:pt>
                <c:pt idx="23762">
                  <c:v>#N/A</c:v>
                </c:pt>
                <c:pt idx="23763">
                  <c:v>#N/A</c:v>
                </c:pt>
                <c:pt idx="23764">
                  <c:v>#N/A</c:v>
                </c:pt>
                <c:pt idx="23765">
                  <c:v>#N/A</c:v>
                </c:pt>
                <c:pt idx="23766">
                  <c:v>#N/A</c:v>
                </c:pt>
                <c:pt idx="23767">
                  <c:v>#N/A</c:v>
                </c:pt>
                <c:pt idx="23768">
                  <c:v>#N/A</c:v>
                </c:pt>
                <c:pt idx="23769">
                  <c:v>#N/A</c:v>
                </c:pt>
                <c:pt idx="23770">
                  <c:v>#N/A</c:v>
                </c:pt>
                <c:pt idx="23771">
                  <c:v>#N/A</c:v>
                </c:pt>
                <c:pt idx="23772">
                  <c:v>#N/A</c:v>
                </c:pt>
                <c:pt idx="23773">
                  <c:v>#N/A</c:v>
                </c:pt>
                <c:pt idx="23774">
                  <c:v>#N/A</c:v>
                </c:pt>
                <c:pt idx="23775">
                  <c:v>#N/A</c:v>
                </c:pt>
                <c:pt idx="23776">
                  <c:v>#N/A</c:v>
                </c:pt>
                <c:pt idx="23777">
                  <c:v>#N/A</c:v>
                </c:pt>
                <c:pt idx="23778">
                  <c:v>#N/A</c:v>
                </c:pt>
                <c:pt idx="23779">
                  <c:v>#N/A</c:v>
                </c:pt>
                <c:pt idx="23780">
                  <c:v>#N/A</c:v>
                </c:pt>
                <c:pt idx="23781">
                  <c:v>#N/A</c:v>
                </c:pt>
                <c:pt idx="23782">
                  <c:v>#N/A</c:v>
                </c:pt>
                <c:pt idx="23783">
                  <c:v>#N/A</c:v>
                </c:pt>
                <c:pt idx="23784">
                  <c:v>#N/A</c:v>
                </c:pt>
                <c:pt idx="23785">
                  <c:v>#N/A</c:v>
                </c:pt>
                <c:pt idx="23786">
                  <c:v>#N/A</c:v>
                </c:pt>
                <c:pt idx="23787">
                  <c:v>#N/A</c:v>
                </c:pt>
                <c:pt idx="23788">
                  <c:v>#N/A</c:v>
                </c:pt>
                <c:pt idx="23789">
                  <c:v>#N/A</c:v>
                </c:pt>
                <c:pt idx="23790">
                  <c:v>#N/A</c:v>
                </c:pt>
                <c:pt idx="23791">
                  <c:v>#N/A</c:v>
                </c:pt>
                <c:pt idx="23792">
                  <c:v>#N/A</c:v>
                </c:pt>
                <c:pt idx="23793">
                  <c:v>#N/A</c:v>
                </c:pt>
                <c:pt idx="23794">
                  <c:v>#N/A</c:v>
                </c:pt>
                <c:pt idx="23795">
                  <c:v>#N/A</c:v>
                </c:pt>
                <c:pt idx="23796">
                  <c:v>#N/A</c:v>
                </c:pt>
                <c:pt idx="23797">
                  <c:v>#N/A</c:v>
                </c:pt>
                <c:pt idx="23798">
                  <c:v>#N/A</c:v>
                </c:pt>
                <c:pt idx="23799">
                  <c:v>#N/A</c:v>
                </c:pt>
                <c:pt idx="23800">
                  <c:v>#N/A</c:v>
                </c:pt>
                <c:pt idx="23801">
                  <c:v>#N/A</c:v>
                </c:pt>
                <c:pt idx="23802">
                  <c:v>#N/A</c:v>
                </c:pt>
                <c:pt idx="23803">
                  <c:v>#N/A</c:v>
                </c:pt>
                <c:pt idx="23804">
                  <c:v>#N/A</c:v>
                </c:pt>
                <c:pt idx="23805">
                  <c:v>#N/A</c:v>
                </c:pt>
                <c:pt idx="23806">
                  <c:v>#N/A</c:v>
                </c:pt>
                <c:pt idx="23807">
                  <c:v>#N/A</c:v>
                </c:pt>
                <c:pt idx="23808">
                  <c:v>#N/A</c:v>
                </c:pt>
                <c:pt idx="23809">
                  <c:v>#N/A</c:v>
                </c:pt>
                <c:pt idx="23810">
                  <c:v>#N/A</c:v>
                </c:pt>
                <c:pt idx="23811">
                  <c:v>#N/A</c:v>
                </c:pt>
                <c:pt idx="23812">
                  <c:v>#N/A</c:v>
                </c:pt>
                <c:pt idx="23813">
                  <c:v>#N/A</c:v>
                </c:pt>
                <c:pt idx="23814">
                  <c:v>#N/A</c:v>
                </c:pt>
                <c:pt idx="23815">
                  <c:v>#N/A</c:v>
                </c:pt>
                <c:pt idx="23816">
                  <c:v>#N/A</c:v>
                </c:pt>
                <c:pt idx="23817">
                  <c:v>#N/A</c:v>
                </c:pt>
                <c:pt idx="23818">
                  <c:v>#N/A</c:v>
                </c:pt>
                <c:pt idx="23819">
                  <c:v>#N/A</c:v>
                </c:pt>
                <c:pt idx="23820">
                  <c:v>#N/A</c:v>
                </c:pt>
                <c:pt idx="23821">
                  <c:v>#N/A</c:v>
                </c:pt>
                <c:pt idx="23822">
                  <c:v>#N/A</c:v>
                </c:pt>
                <c:pt idx="23823">
                  <c:v>#N/A</c:v>
                </c:pt>
                <c:pt idx="23824">
                  <c:v>#N/A</c:v>
                </c:pt>
                <c:pt idx="23825">
                  <c:v>#N/A</c:v>
                </c:pt>
                <c:pt idx="23826">
                  <c:v>#N/A</c:v>
                </c:pt>
                <c:pt idx="23827">
                  <c:v>#N/A</c:v>
                </c:pt>
                <c:pt idx="23828">
                  <c:v>#N/A</c:v>
                </c:pt>
                <c:pt idx="23829">
                  <c:v>#N/A</c:v>
                </c:pt>
                <c:pt idx="23830">
                  <c:v>#N/A</c:v>
                </c:pt>
                <c:pt idx="23831">
                  <c:v>#N/A</c:v>
                </c:pt>
                <c:pt idx="23832">
                  <c:v>#N/A</c:v>
                </c:pt>
                <c:pt idx="23833">
                  <c:v>#N/A</c:v>
                </c:pt>
                <c:pt idx="23834">
                  <c:v>#N/A</c:v>
                </c:pt>
                <c:pt idx="23835">
                  <c:v>#N/A</c:v>
                </c:pt>
                <c:pt idx="23836">
                  <c:v>#N/A</c:v>
                </c:pt>
                <c:pt idx="23837">
                  <c:v>#N/A</c:v>
                </c:pt>
                <c:pt idx="23838">
                  <c:v>#N/A</c:v>
                </c:pt>
                <c:pt idx="23839">
                  <c:v>#N/A</c:v>
                </c:pt>
                <c:pt idx="23840">
                  <c:v>#N/A</c:v>
                </c:pt>
                <c:pt idx="23841">
                  <c:v>#N/A</c:v>
                </c:pt>
                <c:pt idx="23842">
                  <c:v>#N/A</c:v>
                </c:pt>
                <c:pt idx="23843">
                  <c:v>#N/A</c:v>
                </c:pt>
                <c:pt idx="23844">
                  <c:v>#N/A</c:v>
                </c:pt>
                <c:pt idx="23845">
                  <c:v>#N/A</c:v>
                </c:pt>
                <c:pt idx="23846">
                  <c:v>#N/A</c:v>
                </c:pt>
                <c:pt idx="23847">
                  <c:v>#N/A</c:v>
                </c:pt>
                <c:pt idx="23848">
                  <c:v>#N/A</c:v>
                </c:pt>
                <c:pt idx="23849">
                  <c:v>#N/A</c:v>
                </c:pt>
                <c:pt idx="23850">
                  <c:v>#N/A</c:v>
                </c:pt>
                <c:pt idx="23851">
                  <c:v>#N/A</c:v>
                </c:pt>
                <c:pt idx="23852">
                  <c:v>#N/A</c:v>
                </c:pt>
                <c:pt idx="23853">
                  <c:v>#N/A</c:v>
                </c:pt>
                <c:pt idx="23854">
                  <c:v>#N/A</c:v>
                </c:pt>
                <c:pt idx="23855">
                  <c:v>#N/A</c:v>
                </c:pt>
                <c:pt idx="23856">
                  <c:v>#N/A</c:v>
                </c:pt>
                <c:pt idx="23857">
                  <c:v>#N/A</c:v>
                </c:pt>
                <c:pt idx="23858">
                  <c:v>#N/A</c:v>
                </c:pt>
                <c:pt idx="23859">
                  <c:v>#N/A</c:v>
                </c:pt>
                <c:pt idx="23860">
                  <c:v>#N/A</c:v>
                </c:pt>
                <c:pt idx="23861">
                  <c:v>#N/A</c:v>
                </c:pt>
                <c:pt idx="23862">
                  <c:v>#N/A</c:v>
                </c:pt>
                <c:pt idx="23863">
                  <c:v>#N/A</c:v>
                </c:pt>
                <c:pt idx="23864">
                  <c:v>#N/A</c:v>
                </c:pt>
                <c:pt idx="23865">
                  <c:v>#N/A</c:v>
                </c:pt>
                <c:pt idx="23866">
                  <c:v>#N/A</c:v>
                </c:pt>
                <c:pt idx="23867">
                  <c:v>#N/A</c:v>
                </c:pt>
                <c:pt idx="23868">
                  <c:v>#N/A</c:v>
                </c:pt>
                <c:pt idx="23869">
                  <c:v>#N/A</c:v>
                </c:pt>
                <c:pt idx="23870">
                  <c:v>#N/A</c:v>
                </c:pt>
                <c:pt idx="23871">
                  <c:v>#N/A</c:v>
                </c:pt>
                <c:pt idx="23872">
                  <c:v>#N/A</c:v>
                </c:pt>
                <c:pt idx="23873">
                  <c:v>#N/A</c:v>
                </c:pt>
                <c:pt idx="23874">
                  <c:v>#N/A</c:v>
                </c:pt>
                <c:pt idx="23875">
                  <c:v>#N/A</c:v>
                </c:pt>
                <c:pt idx="23876">
                  <c:v>#N/A</c:v>
                </c:pt>
                <c:pt idx="23877">
                  <c:v>#N/A</c:v>
                </c:pt>
                <c:pt idx="23878">
                  <c:v>#N/A</c:v>
                </c:pt>
                <c:pt idx="23879">
                  <c:v>#N/A</c:v>
                </c:pt>
                <c:pt idx="23880">
                  <c:v>#N/A</c:v>
                </c:pt>
                <c:pt idx="23881">
                  <c:v>#N/A</c:v>
                </c:pt>
                <c:pt idx="23882">
                  <c:v>#N/A</c:v>
                </c:pt>
                <c:pt idx="23883">
                  <c:v>#N/A</c:v>
                </c:pt>
                <c:pt idx="23884">
                  <c:v>#N/A</c:v>
                </c:pt>
                <c:pt idx="23885">
                  <c:v>#N/A</c:v>
                </c:pt>
                <c:pt idx="23886">
                  <c:v>#N/A</c:v>
                </c:pt>
                <c:pt idx="23887">
                  <c:v>#N/A</c:v>
                </c:pt>
                <c:pt idx="23888">
                  <c:v>#N/A</c:v>
                </c:pt>
                <c:pt idx="23889">
                  <c:v>#N/A</c:v>
                </c:pt>
                <c:pt idx="23890">
                  <c:v>#N/A</c:v>
                </c:pt>
                <c:pt idx="23891">
                  <c:v>#N/A</c:v>
                </c:pt>
                <c:pt idx="23892">
                  <c:v>#N/A</c:v>
                </c:pt>
                <c:pt idx="23893">
                  <c:v>#N/A</c:v>
                </c:pt>
                <c:pt idx="23894">
                  <c:v>#N/A</c:v>
                </c:pt>
                <c:pt idx="23895">
                  <c:v>#N/A</c:v>
                </c:pt>
                <c:pt idx="23896">
                  <c:v>#N/A</c:v>
                </c:pt>
                <c:pt idx="23897">
                  <c:v>#N/A</c:v>
                </c:pt>
                <c:pt idx="23898">
                  <c:v>#N/A</c:v>
                </c:pt>
                <c:pt idx="23899">
                  <c:v>#N/A</c:v>
                </c:pt>
                <c:pt idx="23900">
                  <c:v>#N/A</c:v>
                </c:pt>
                <c:pt idx="23901">
                  <c:v>#N/A</c:v>
                </c:pt>
                <c:pt idx="23902">
                  <c:v>#N/A</c:v>
                </c:pt>
                <c:pt idx="23903">
                  <c:v>#N/A</c:v>
                </c:pt>
                <c:pt idx="23904">
                  <c:v>#N/A</c:v>
                </c:pt>
                <c:pt idx="23905">
                  <c:v>#N/A</c:v>
                </c:pt>
                <c:pt idx="23906">
                  <c:v>#N/A</c:v>
                </c:pt>
                <c:pt idx="23907">
                  <c:v>#N/A</c:v>
                </c:pt>
                <c:pt idx="23908">
                  <c:v>#N/A</c:v>
                </c:pt>
                <c:pt idx="23909">
                  <c:v>#N/A</c:v>
                </c:pt>
                <c:pt idx="23910">
                  <c:v>#N/A</c:v>
                </c:pt>
                <c:pt idx="23911">
                  <c:v>#N/A</c:v>
                </c:pt>
                <c:pt idx="23912">
                  <c:v>#N/A</c:v>
                </c:pt>
                <c:pt idx="23913">
                  <c:v>#N/A</c:v>
                </c:pt>
                <c:pt idx="23914">
                  <c:v>#N/A</c:v>
                </c:pt>
                <c:pt idx="23915">
                  <c:v>#N/A</c:v>
                </c:pt>
                <c:pt idx="23916">
                  <c:v>#N/A</c:v>
                </c:pt>
                <c:pt idx="23917">
                  <c:v>#N/A</c:v>
                </c:pt>
                <c:pt idx="23918">
                  <c:v>#N/A</c:v>
                </c:pt>
                <c:pt idx="23919">
                  <c:v>#N/A</c:v>
                </c:pt>
                <c:pt idx="23920">
                  <c:v>#N/A</c:v>
                </c:pt>
                <c:pt idx="23921">
                  <c:v>#N/A</c:v>
                </c:pt>
                <c:pt idx="23922">
                  <c:v>#N/A</c:v>
                </c:pt>
                <c:pt idx="23923">
                  <c:v>#N/A</c:v>
                </c:pt>
                <c:pt idx="23924">
                  <c:v>#N/A</c:v>
                </c:pt>
                <c:pt idx="23925">
                  <c:v>#N/A</c:v>
                </c:pt>
                <c:pt idx="23926">
                  <c:v>#N/A</c:v>
                </c:pt>
                <c:pt idx="23927">
                  <c:v>#N/A</c:v>
                </c:pt>
                <c:pt idx="23928">
                  <c:v>#N/A</c:v>
                </c:pt>
                <c:pt idx="23929">
                  <c:v>#N/A</c:v>
                </c:pt>
                <c:pt idx="23930">
                  <c:v>#N/A</c:v>
                </c:pt>
                <c:pt idx="23931">
                  <c:v>#N/A</c:v>
                </c:pt>
                <c:pt idx="23932">
                  <c:v>#N/A</c:v>
                </c:pt>
                <c:pt idx="23933">
                  <c:v>#N/A</c:v>
                </c:pt>
                <c:pt idx="23934">
                  <c:v>#N/A</c:v>
                </c:pt>
                <c:pt idx="23935">
                  <c:v>#N/A</c:v>
                </c:pt>
                <c:pt idx="23936">
                  <c:v>#N/A</c:v>
                </c:pt>
                <c:pt idx="23937">
                  <c:v>#N/A</c:v>
                </c:pt>
                <c:pt idx="23938">
                  <c:v>#N/A</c:v>
                </c:pt>
                <c:pt idx="23939">
                  <c:v>#N/A</c:v>
                </c:pt>
                <c:pt idx="23940">
                  <c:v>#N/A</c:v>
                </c:pt>
                <c:pt idx="23941">
                  <c:v>#N/A</c:v>
                </c:pt>
                <c:pt idx="23942">
                  <c:v>#N/A</c:v>
                </c:pt>
                <c:pt idx="23943">
                  <c:v>#N/A</c:v>
                </c:pt>
                <c:pt idx="23944">
                  <c:v>#N/A</c:v>
                </c:pt>
                <c:pt idx="23945">
                  <c:v>#N/A</c:v>
                </c:pt>
                <c:pt idx="23946">
                  <c:v>#N/A</c:v>
                </c:pt>
                <c:pt idx="23947">
                  <c:v>#N/A</c:v>
                </c:pt>
                <c:pt idx="23948">
                  <c:v>#N/A</c:v>
                </c:pt>
                <c:pt idx="23949">
                  <c:v>#N/A</c:v>
                </c:pt>
                <c:pt idx="23950">
                  <c:v>#N/A</c:v>
                </c:pt>
                <c:pt idx="23951">
                  <c:v>#N/A</c:v>
                </c:pt>
                <c:pt idx="23952">
                  <c:v>#N/A</c:v>
                </c:pt>
                <c:pt idx="23953">
                  <c:v>#N/A</c:v>
                </c:pt>
                <c:pt idx="23954">
                  <c:v>#N/A</c:v>
                </c:pt>
                <c:pt idx="23955">
                  <c:v>#N/A</c:v>
                </c:pt>
                <c:pt idx="23956">
                  <c:v>#N/A</c:v>
                </c:pt>
                <c:pt idx="23957">
                  <c:v>#N/A</c:v>
                </c:pt>
                <c:pt idx="23958">
                  <c:v>#N/A</c:v>
                </c:pt>
                <c:pt idx="23959">
                  <c:v>#N/A</c:v>
                </c:pt>
                <c:pt idx="23960">
                  <c:v>#N/A</c:v>
                </c:pt>
                <c:pt idx="23961">
                  <c:v>#N/A</c:v>
                </c:pt>
                <c:pt idx="23962">
                  <c:v>#N/A</c:v>
                </c:pt>
                <c:pt idx="23963">
                  <c:v>#N/A</c:v>
                </c:pt>
                <c:pt idx="23964">
                  <c:v>#N/A</c:v>
                </c:pt>
                <c:pt idx="23965">
                  <c:v>#N/A</c:v>
                </c:pt>
                <c:pt idx="23966">
                  <c:v>#N/A</c:v>
                </c:pt>
                <c:pt idx="23967">
                  <c:v>#N/A</c:v>
                </c:pt>
                <c:pt idx="23968">
                  <c:v>#N/A</c:v>
                </c:pt>
                <c:pt idx="23969">
                  <c:v>#N/A</c:v>
                </c:pt>
                <c:pt idx="23970">
                  <c:v>#N/A</c:v>
                </c:pt>
                <c:pt idx="23971">
                  <c:v>#N/A</c:v>
                </c:pt>
                <c:pt idx="23972">
                  <c:v>#N/A</c:v>
                </c:pt>
                <c:pt idx="23973">
                  <c:v>#N/A</c:v>
                </c:pt>
                <c:pt idx="23974">
                  <c:v>#N/A</c:v>
                </c:pt>
                <c:pt idx="23975">
                  <c:v>#N/A</c:v>
                </c:pt>
                <c:pt idx="23976">
                  <c:v>#N/A</c:v>
                </c:pt>
                <c:pt idx="23977">
                  <c:v>#N/A</c:v>
                </c:pt>
                <c:pt idx="23978">
                  <c:v>#N/A</c:v>
                </c:pt>
                <c:pt idx="23979">
                  <c:v>#N/A</c:v>
                </c:pt>
                <c:pt idx="23980">
                  <c:v>#N/A</c:v>
                </c:pt>
                <c:pt idx="23981">
                  <c:v>#N/A</c:v>
                </c:pt>
                <c:pt idx="23982">
                  <c:v>#N/A</c:v>
                </c:pt>
                <c:pt idx="23983">
                  <c:v>#N/A</c:v>
                </c:pt>
                <c:pt idx="23984">
                  <c:v>#N/A</c:v>
                </c:pt>
                <c:pt idx="23985">
                  <c:v>#N/A</c:v>
                </c:pt>
                <c:pt idx="23986">
                  <c:v>#N/A</c:v>
                </c:pt>
                <c:pt idx="23987">
                  <c:v>#N/A</c:v>
                </c:pt>
                <c:pt idx="23988">
                  <c:v>#N/A</c:v>
                </c:pt>
                <c:pt idx="23989">
                  <c:v>#N/A</c:v>
                </c:pt>
                <c:pt idx="23990">
                  <c:v>#N/A</c:v>
                </c:pt>
                <c:pt idx="23991">
                  <c:v>#N/A</c:v>
                </c:pt>
                <c:pt idx="23992">
                  <c:v>#N/A</c:v>
                </c:pt>
                <c:pt idx="23993">
                  <c:v>#N/A</c:v>
                </c:pt>
                <c:pt idx="23994">
                  <c:v>#N/A</c:v>
                </c:pt>
                <c:pt idx="23995">
                  <c:v>#N/A</c:v>
                </c:pt>
                <c:pt idx="23996">
                  <c:v>#N/A</c:v>
                </c:pt>
                <c:pt idx="23997">
                  <c:v>#N/A</c:v>
                </c:pt>
                <c:pt idx="23998">
                  <c:v>#N/A</c:v>
                </c:pt>
                <c:pt idx="23999">
                  <c:v>#N/A</c:v>
                </c:pt>
                <c:pt idx="24000">
                  <c:v>#N/A</c:v>
                </c:pt>
                <c:pt idx="24001">
                  <c:v>#N/A</c:v>
                </c:pt>
                <c:pt idx="24002">
                  <c:v>#N/A</c:v>
                </c:pt>
                <c:pt idx="24003">
                  <c:v>#N/A</c:v>
                </c:pt>
                <c:pt idx="24004">
                  <c:v>#N/A</c:v>
                </c:pt>
                <c:pt idx="24005">
                  <c:v>#N/A</c:v>
                </c:pt>
                <c:pt idx="24006">
                  <c:v>#N/A</c:v>
                </c:pt>
                <c:pt idx="24007">
                  <c:v>#N/A</c:v>
                </c:pt>
                <c:pt idx="24008">
                  <c:v>#N/A</c:v>
                </c:pt>
                <c:pt idx="24009">
                  <c:v>#N/A</c:v>
                </c:pt>
                <c:pt idx="24010">
                  <c:v>#N/A</c:v>
                </c:pt>
                <c:pt idx="24011">
                  <c:v>#N/A</c:v>
                </c:pt>
                <c:pt idx="24012">
                  <c:v>#N/A</c:v>
                </c:pt>
                <c:pt idx="24013">
                  <c:v>#N/A</c:v>
                </c:pt>
                <c:pt idx="24014">
                  <c:v>#N/A</c:v>
                </c:pt>
                <c:pt idx="24015">
                  <c:v>#N/A</c:v>
                </c:pt>
                <c:pt idx="24016">
                  <c:v>#N/A</c:v>
                </c:pt>
                <c:pt idx="24017">
                  <c:v>#N/A</c:v>
                </c:pt>
                <c:pt idx="24018">
                  <c:v>#N/A</c:v>
                </c:pt>
                <c:pt idx="24019">
                  <c:v>#N/A</c:v>
                </c:pt>
                <c:pt idx="24020">
                  <c:v>#N/A</c:v>
                </c:pt>
                <c:pt idx="24021">
                  <c:v>#N/A</c:v>
                </c:pt>
                <c:pt idx="24022">
                  <c:v>#N/A</c:v>
                </c:pt>
                <c:pt idx="24023">
                  <c:v>#N/A</c:v>
                </c:pt>
                <c:pt idx="24024">
                  <c:v>#N/A</c:v>
                </c:pt>
                <c:pt idx="24025">
                  <c:v>#N/A</c:v>
                </c:pt>
                <c:pt idx="24026">
                  <c:v>#N/A</c:v>
                </c:pt>
                <c:pt idx="24027">
                  <c:v>#N/A</c:v>
                </c:pt>
                <c:pt idx="24028">
                  <c:v>#N/A</c:v>
                </c:pt>
                <c:pt idx="24029">
                  <c:v>#N/A</c:v>
                </c:pt>
                <c:pt idx="24030">
                  <c:v>#N/A</c:v>
                </c:pt>
                <c:pt idx="24031">
                  <c:v>#N/A</c:v>
                </c:pt>
                <c:pt idx="24032">
                  <c:v>#N/A</c:v>
                </c:pt>
                <c:pt idx="24033">
                  <c:v>#N/A</c:v>
                </c:pt>
                <c:pt idx="24034">
                  <c:v>#N/A</c:v>
                </c:pt>
                <c:pt idx="24035">
                  <c:v>#N/A</c:v>
                </c:pt>
                <c:pt idx="24036">
                  <c:v>#N/A</c:v>
                </c:pt>
                <c:pt idx="24037">
                  <c:v>#N/A</c:v>
                </c:pt>
                <c:pt idx="24038">
                  <c:v>#N/A</c:v>
                </c:pt>
                <c:pt idx="24039">
                  <c:v>#N/A</c:v>
                </c:pt>
                <c:pt idx="24040">
                  <c:v>#N/A</c:v>
                </c:pt>
                <c:pt idx="24041">
                  <c:v>#N/A</c:v>
                </c:pt>
                <c:pt idx="24042">
                  <c:v>#N/A</c:v>
                </c:pt>
                <c:pt idx="24043">
                  <c:v>#N/A</c:v>
                </c:pt>
                <c:pt idx="24044">
                  <c:v>#N/A</c:v>
                </c:pt>
                <c:pt idx="24045">
                  <c:v>#N/A</c:v>
                </c:pt>
                <c:pt idx="24046">
                  <c:v>#N/A</c:v>
                </c:pt>
                <c:pt idx="24047">
                  <c:v>#N/A</c:v>
                </c:pt>
                <c:pt idx="24048">
                  <c:v>#N/A</c:v>
                </c:pt>
                <c:pt idx="24049">
                  <c:v>#N/A</c:v>
                </c:pt>
                <c:pt idx="24050">
                  <c:v>#N/A</c:v>
                </c:pt>
                <c:pt idx="24051">
                  <c:v>#N/A</c:v>
                </c:pt>
                <c:pt idx="24052">
                  <c:v>#N/A</c:v>
                </c:pt>
                <c:pt idx="24053">
                  <c:v>#N/A</c:v>
                </c:pt>
                <c:pt idx="24054">
                  <c:v>#N/A</c:v>
                </c:pt>
                <c:pt idx="24055">
                  <c:v>#N/A</c:v>
                </c:pt>
                <c:pt idx="24056">
                  <c:v>#N/A</c:v>
                </c:pt>
                <c:pt idx="24057">
                  <c:v>#N/A</c:v>
                </c:pt>
                <c:pt idx="24058">
                  <c:v>#N/A</c:v>
                </c:pt>
                <c:pt idx="24059">
                  <c:v>#N/A</c:v>
                </c:pt>
                <c:pt idx="24060">
                  <c:v>#N/A</c:v>
                </c:pt>
                <c:pt idx="24061">
                  <c:v>#N/A</c:v>
                </c:pt>
                <c:pt idx="24062">
                  <c:v>#N/A</c:v>
                </c:pt>
                <c:pt idx="24063">
                  <c:v>#N/A</c:v>
                </c:pt>
                <c:pt idx="24064">
                  <c:v>#N/A</c:v>
                </c:pt>
                <c:pt idx="24065">
                  <c:v>#N/A</c:v>
                </c:pt>
                <c:pt idx="24066">
                  <c:v>#N/A</c:v>
                </c:pt>
                <c:pt idx="24067">
                  <c:v>#N/A</c:v>
                </c:pt>
                <c:pt idx="24068">
                  <c:v>#N/A</c:v>
                </c:pt>
                <c:pt idx="24069">
                  <c:v>#N/A</c:v>
                </c:pt>
                <c:pt idx="24070">
                  <c:v>#N/A</c:v>
                </c:pt>
                <c:pt idx="24071">
                  <c:v>#N/A</c:v>
                </c:pt>
                <c:pt idx="24072">
                  <c:v>#N/A</c:v>
                </c:pt>
                <c:pt idx="24073">
                  <c:v>#N/A</c:v>
                </c:pt>
                <c:pt idx="24074">
                  <c:v>#N/A</c:v>
                </c:pt>
                <c:pt idx="24075">
                  <c:v>#N/A</c:v>
                </c:pt>
                <c:pt idx="24076">
                  <c:v>#N/A</c:v>
                </c:pt>
                <c:pt idx="24077">
                  <c:v>#N/A</c:v>
                </c:pt>
                <c:pt idx="24078">
                  <c:v>#N/A</c:v>
                </c:pt>
                <c:pt idx="24079">
                  <c:v>#N/A</c:v>
                </c:pt>
                <c:pt idx="24080">
                  <c:v>#N/A</c:v>
                </c:pt>
                <c:pt idx="24081">
                  <c:v>#N/A</c:v>
                </c:pt>
                <c:pt idx="24082">
                  <c:v>#N/A</c:v>
                </c:pt>
                <c:pt idx="24083">
                  <c:v>#N/A</c:v>
                </c:pt>
                <c:pt idx="24084">
                  <c:v>#N/A</c:v>
                </c:pt>
                <c:pt idx="24085">
                  <c:v>#N/A</c:v>
                </c:pt>
                <c:pt idx="24086">
                  <c:v>#N/A</c:v>
                </c:pt>
                <c:pt idx="24087">
                  <c:v>#N/A</c:v>
                </c:pt>
                <c:pt idx="24088">
                  <c:v>#N/A</c:v>
                </c:pt>
                <c:pt idx="24089">
                  <c:v>#N/A</c:v>
                </c:pt>
                <c:pt idx="24090">
                  <c:v>#N/A</c:v>
                </c:pt>
                <c:pt idx="24091">
                  <c:v>#N/A</c:v>
                </c:pt>
                <c:pt idx="24092">
                  <c:v>#N/A</c:v>
                </c:pt>
                <c:pt idx="24093">
                  <c:v>#N/A</c:v>
                </c:pt>
                <c:pt idx="24094">
                  <c:v>#N/A</c:v>
                </c:pt>
                <c:pt idx="24095">
                  <c:v>#N/A</c:v>
                </c:pt>
                <c:pt idx="24096">
                  <c:v>#N/A</c:v>
                </c:pt>
                <c:pt idx="24097">
                  <c:v>#N/A</c:v>
                </c:pt>
                <c:pt idx="24098">
                  <c:v>#N/A</c:v>
                </c:pt>
                <c:pt idx="24099">
                  <c:v>#N/A</c:v>
                </c:pt>
                <c:pt idx="24100">
                  <c:v>#N/A</c:v>
                </c:pt>
                <c:pt idx="24101">
                  <c:v>#N/A</c:v>
                </c:pt>
                <c:pt idx="24102">
                  <c:v>#N/A</c:v>
                </c:pt>
                <c:pt idx="24103">
                  <c:v>#N/A</c:v>
                </c:pt>
                <c:pt idx="24104">
                  <c:v>#N/A</c:v>
                </c:pt>
                <c:pt idx="24105">
                  <c:v>#N/A</c:v>
                </c:pt>
                <c:pt idx="24106">
                  <c:v>#N/A</c:v>
                </c:pt>
                <c:pt idx="24107">
                  <c:v>#N/A</c:v>
                </c:pt>
                <c:pt idx="24108">
                  <c:v>#N/A</c:v>
                </c:pt>
                <c:pt idx="24109">
                  <c:v>#N/A</c:v>
                </c:pt>
                <c:pt idx="24110">
                  <c:v>#N/A</c:v>
                </c:pt>
                <c:pt idx="24111">
                  <c:v>#N/A</c:v>
                </c:pt>
                <c:pt idx="24112">
                  <c:v>#N/A</c:v>
                </c:pt>
                <c:pt idx="24113">
                  <c:v>#N/A</c:v>
                </c:pt>
                <c:pt idx="24114">
                  <c:v>#N/A</c:v>
                </c:pt>
                <c:pt idx="24115">
                  <c:v>#N/A</c:v>
                </c:pt>
                <c:pt idx="24116">
                  <c:v>#N/A</c:v>
                </c:pt>
                <c:pt idx="24117">
                  <c:v>#N/A</c:v>
                </c:pt>
                <c:pt idx="24118">
                  <c:v>#N/A</c:v>
                </c:pt>
                <c:pt idx="24119">
                  <c:v>#N/A</c:v>
                </c:pt>
                <c:pt idx="24120">
                  <c:v>#N/A</c:v>
                </c:pt>
                <c:pt idx="24121">
                  <c:v>#N/A</c:v>
                </c:pt>
                <c:pt idx="24122">
                  <c:v>#N/A</c:v>
                </c:pt>
                <c:pt idx="24123">
                  <c:v>#N/A</c:v>
                </c:pt>
                <c:pt idx="24124">
                  <c:v>#N/A</c:v>
                </c:pt>
                <c:pt idx="24125">
                  <c:v>#N/A</c:v>
                </c:pt>
                <c:pt idx="24126">
                  <c:v>#N/A</c:v>
                </c:pt>
                <c:pt idx="24127">
                  <c:v>#N/A</c:v>
                </c:pt>
                <c:pt idx="24128">
                  <c:v>#N/A</c:v>
                </c:pt>
                <c:pt idx="24129">
                  <c:v>#N/A</c:v>
                </c:pt>
                <c:pt idx="24130">
                  <c:v>#N/A</c:v>
                </c:pt>
                <c:pt idx="24131">
                  <c:v>#N/A</c:v>
                </c:pt>
                <c:pt idx="24132">
                  <c:v>#N/A</c:v>
                </c:pt>
                <c:pt idx="24133">
                  <c:v>#N/A</c:v>
                </c:pt>
                <c:pt idx="24134">
                  <c:v>#N/A</c:v>
                </c:pt>
                <c:pt idx="24135">
                  <c:v>#N/A</c:v>
                </c:pt>
                <c:pt idx="24136">
                  <c:v>#N/A</c:v>
                </c:pt>
                <c:pt idx="24137">
                  <c:v>#N/A</c:v>
                </c:pt>
                <c:pt idx="24138">
                  <c:v>#N/A</c:v>
                </c:pt>
                <c:pt idx="24139">
                  <c:v>#N/A</c:v>
                </c:pt>
                <c:pt idx="24140">
                  <c:v>#N/A</c:v>
                </c:pt>
                <c:pt idx="24141">
                  <c:v>#N/A</c:v>
                </c:pt>
                <c:pt idx="24142">
                  <c:v>#N/A</c:v>
                </c:pt>
                <c:pt idx="24143">
                  <c:v>#N/A</c:v>
                </c:pt>
                <c:pt idx="24144">
                  <c:v>#N/A</c:v>
                </c:pt>
                <c:pt idx="24145">
                  <c:v>#N/A</c:v>
                </c:pt>
                <c:pt idx="24146">
                  <c:v>#N/A</c:v>
                </c:pt>
                <c:pt idx="24147">
                  <c:v>#N/A</c:v>
                </c:pt>
                <c:pt idx="24148">
                  <c:v>#N/A</c:v>
                </c:pt>
                <c:pt idx="24149">
                  <c:v>#N/A</c:v>
                </c:pt>
                <c:pt idx="24150">
                  <c:v>#N/A</c:v>
                </c:pt>
                <c:pt idx="24151">
                  <c:v>#N/A</c:v>
                </c:pt>
                <c:pt idx="24152">
                  <c:v>#N/A</c:v>
                </c:pt>
                <c:pt idx="24153">
                  <c:v>#N/A</c:v>
                </c:pt>
                <c:pt idx="24154">
                  <c:v>#N/A</c:v>
                </c:pt>
                <c:pt idx="24155">
                  <c:v>#N/A</c:v>
                </c:pt>
                <c:pt idx="24156">
                  <c:v>#N/A</c:v>
                </c:pt>
                <c:pt idx="24157">
                  <c:v>#N/A</c:v>
                </c:pt>
                <c:pt idx="24158">
                  <c:v>#N/A</c:v>
                </c:pt>
                <c:pt idx="24159">
                  <c:v>#N/A</c:v>
                </c:pt>
                <c:pt idx="24160">
                  <c:v>#N/A</c:v>
                </c:pt>
                <c:pt idx="24161">
                  <c:v>#N/A</c:v>
                </c:pt>
                <c:pt idx="24162">
                  <c:v>#N/A</c:v>
                </c:pt>
                <c:pt idx="24163">
                  <c:v>#N/A</c:v>
                </c:pt>
                <c:pt idx="24164">
                  <c:v>#N/A</c:v>
                </c:pt>
                <c:pt idx="24165">
                  <c:v>#N/A</c:v>
                </c:pt>
                <c:pt idx="24166">
                  <c:v>#N/A</c:v>
                </c:pt>
                <c:pt idx="24167">
                  <c:v>#N/A</c:v>
                </c:pt>
                <c:pt idx="24168">
                  <c:v>#N/A</c:v>
                </c:pt>
                <c:pt idx="24169">
                  <c:v>#N/A</c:v>
                </c:pt>
                <c:pt idx="24170">
                  <c:v>#N/A</c:v>
                </c:pt>
                <c:pt idx="24171">
                  <c:v>#N/A</c:v>
                </c:pt>
                <c:pt idx="24172">
                  <c:v>#N/A</c:v>
                </c:pt>
                <c:pt idx="24173">
                  <c:v>#N/A</c:v>
                </c:pt>
                <c:pt idx="24174">
                  <c:v>#N/A</c:v>
                </c:pt>
                <c:pt idx="24175">
                  <c:v>#N/A</c:v>
                </c:pt>
                <c:pt idx="24176">
                  <c:v>#N/A</c:v>
                </c:pt>
                <c:pt idx="24177">
                  <c:v>#N/A</c:v>
                </c:pt>
                <c:pt idx="24178">
                  <c:v>#N/A</c:v>
                </c:pt>
                <c:pt idx="24179">
                  <c:v>#N/A</c:v>
                </c:pt>
                <c:pt idx="24180">
                  <c:v>#N/A</c:v>
                </c:pt>
                <c:pt idx="24181">
                  <c:v>#N/A</c:v>
                </c:pt>
                <c:pt idx="24182">
                  <c:v>#N/A</c:v>
                </c:pt>
                <c:pt idx="24183">
                  <c:v>#N/A</c:v>
                </c:pt>
                <c:pt idx="24184">
                  <c:v>#N/A</c:v>
                </c:pt>
                <c:pt idx="24185">
                  <c:v>#N/A</c:v>
                </c:pt>
                <c:pt idx="24186">
                  <c:v>#N/A</c:v>
                </c:pt>
                <c:pt idx="24187">
                  <c:v>#N/A</c:v>
                </c:pt>
                <c:pt idx="24188">
                  <c:v>#N/A</c:v>
                </c:pt>
                <c:pt idx="24189">
                  <c:v>#N/A</c:v>
                </c:pt>
                <c:pt idx="24190">
                  <c:v>#N/A</c:v>
                </c:pt>
                <c:pt idx="24191">
                  <c:v>#N/A</c:v>
                </c:pt>
                <c:pt idx="24192">
                  <c:v>#N/A</c:v>
                </c:pt>
                <c:pt idx="24193">
                  <c:v>#N/A</c:v>
                </c:pt>
                <c:pt idx="24194">
                  <c:v>#N/A</c:v>
                </c:pt>
                <c:pt idx="24195">
                  <c:v>#N/A</c:v>
                </c:pt>
                <c:pt idx="24196">
                  <c:v>#N/A</c:v>
                </c:pt>
                <c:pt idx="24197">
                  <c:v>#N/A</c:v>
                </c:pt>
                <c:pt idx="24198">
                  <c:v>#N/A</c:v>
                </c:pt>
                <c:pt idx="24199">
                  <c:v>#N/A</c:v>
                </c:pt>
                <c:pt idx="24200">
                  <c:v>#N/A</c:v>
                </c:pt>
                <c:pt idx="24201">
                  <c:v>#N/A</c:v>
                </c:pt>
                <c:pt idx="24202">
                  <c:v>#N/A</c:v>
                </c:pt>
                <c:pt idx="24203">
                  <c:v>#N/A</c:v>
                </c:pt>
                <c:pt idx="24204">
                  <c:v>#N/A</c:v>
                </c:pt>
                <c:pt idx="24205">
                  <c:v>#N/A</c:v>
                </c:pt>
                <c:pt idx="24206">
                  <c:v>#N/A</c:v>
                </c:pt>
                <c:pt idx="24207">
                  <c:v>#N/A</c:v>
                </c:pt>
                <c:pt idx="24208">
                  <c:v>#N/A</c:v>
                </c:pt>
                <c:pt idx="24209">
                  <c:v>#N/A</c:v>
                </c:pt>
                <c:pt idx="24210">
                  <c:v>#N/A</c:v>
                </c:pt>
                <c:pt idx="24211">
                  <c:v>#N/A</c:v>
                </c:pt>
                <c:pt idx="24212">
                  <c:v>#N/A</c:v>
                </c:pt>
                <c:pt idx="24213">
                  <c:v>#N/A</c:v>
                </c:pt>
                <c:pt idx="24214">
                  <c:v>#N/A</c:v>
                </c:pt>
                <c:pt idx="24215">
                  <c:v>#N/A</c:v>
                </c:pt>
                <c:pt idx="24216">
                  <c:v>#N/A</c:v>
                </c:pt>
                <c:pt idx="24217">
                  <c:v>#N/A</c:v>
                </c:pt>
                <c:pt idx="24218">
                  <c:v>#N/A</c:v>
                </c:pt>
                <c:pt idx="24219">
                  <c:v>#N/A</c:v>
                </c:pt>
                <c:pt idx="24220">
                  <c:v>#N/A</c:v>
                </c:pt>
                <c:pt idx="24221">
                  <c:v>#N/A</c:v>
                </c:pt>
                <c:pt idx="24222">
                  <c:v>#N/A</c:v>
                </c:pt>
                <c:pt idx="24223">
                  <c:v>#N/A</c:v>
                </c:pt>
                <c:pt idx="24224">
                  <c:v>#N/A</c:v>
                </c:pt>
                <c:pt idx="24225">
                  <c:v>#N/A</c:v>
                </c:pt>
                <c:pt idx="24226">
                  <c:v>#N/A</c:v>
                </c:pt>
                <c:pt idx="24227">
                  <c:v>#N/A</c:v>
                </c:pt>
                <c:pt idx="24228">
                  <c:v>#N/A</c:v>
                </c:pt>
                <c:pt idx="24229">
                  <c:v>#N/A</c:v>
                </c:pt>
                <c:pt idx="24230">
                  <c:v>#N/A</c:v>
                </c:pt>
                <c:pt idx="24231">
                  <c:v>#N/A</c:v>
                </c:pt>
                <c:pt idx="24232">
                  <c:v>#N/A</c:v>
                </c:pt>
                <c:pt idx="24233">
                  <c:v>#N/A</c:v>
                </c:pt>
                <c:pt idx="24234">
                  <c:v>#N/A</c:v>
                </c:pt>
                <c:pt idx="24235">
                  <c:v>#N/A</c:v>
                </c:pt>
                <c:pt idx="24236">
                  <c:v>#N/A</c:v>
                </c:pt>
                <c:pt idx="24237">
                  <c:v>#N/A</c:v>
                </c:pt>
                <c:pt idx="24238">
                  <c:v>#N/A</c:v>
                </c:pt>
                <c:pt idx="24239">
                  <c:v>#N/A</c:v>
                </c:pt>
                <c:pt idx="24240">
                  <c:v>#N/A</c:v>
                </c:pt>
                <c:pt idx="24241">
                  <c:v>#N/A</c:v>
                </c:pt>
                <c:pt idx="24242">
                  <c:v>#N/A</c:v>
                </c:pt>
                <c:pt idx="24243">
                  <c:v>#N/A</c:v>
                </c:pt>
                <c:pt idx="24244">
                  <c:v>#N/A</c:v>
                </c:pt>
                <c:pt idx="24245">
                  <c:v>#N/A</c:v>
                </c:pt>
                <c:pt idx="24246">
                  <c:v>#N/A</c:v>
                </c:pt>
                <c:pt idx="24247">
                  <c:v>#N/A</c:v>
                </c:pt>
                <c:pt idx="24248">
                  <c:v>#N/A</c:v>
                </c:pt>
                <c:pt idx="24249">
                  <c:v>#N/A</c:v>
                </c:pt>
                <c:pt idx="24250">
                  <c:v>#N/A</c:v>
                </c:pt>
                <c:pt idx="24251">
                  <c:v>#N/A</c:v>
                </c:pt>
                <c:pt idx="24252">
                  <c:v>#N/A</c:v>
                </c:pt>
                <c:pt idx="24253">
                  <c:v>#N/A</c:v>
                </c:pt>
                <c:pt idx="24254">
                  <c:v>#N/A</c:v>
                </c:pt>
                <c:pt idx="24255">
                  <c:v>#N/A</c:v>
                </c:pt>
                <c:pt idx="24256">
                  <c:v>#N/A</c:v>
                </c:pt>
                <c:pt idx="24257">
                  <c:v>#N/A</c:v>
                </c:pt>
                <c:pt idx="24258">
                  <c:v>#N/A</c:v>
                </c:pt>
                <c:pt idx="24259">
                  <c:v>#N/A</c:v>
                </c:pt>
                <c:pt idx="24260">
                  <c:v>#N/A</c:v>
                </c:pt>
                <c:pt idx="24261">
                  <c:v>#N/A</c:v>
                </c:pt>
                <c:pt idx="24262">
                  <c:v>#N/A</c:v>
                </c:pt>
                <c:pt idx="24263">
                  <c:v>#N/A</c:v>
                </c:pt>
                <c:pt idx="24264">
                  <c:v>#N/A</c:v>
                </c:pt>
                <c:pt idx="24265">
                  <c:v>#N/A</c:v>
                </c:pt>
                <c:pt idx="24266">
                  <c:v>#N/A</c:v>
                </c:pt>
                <c:pt idx="24267">
                  <c:v>#N/A</c:v>
                </c:pt>
                <c:pt idx="24268">
                  <c:v>#N/A</c:v>
                </c:pt>
                <c:pt idx="24269">
                  <c:v>#N/A</c:v>
                </c:pt>
                <c:pt idx="24270">
                  <c:v>#N/A</c:v>
                </c:pt>
                <c:pt idx="24271">
                  <c:v>#N/A</c:v>
                </c:pt>
                <c:pt idx="24272">
                  <c:v>#N/A</c:v>
                </c:pt>
                <c:pt idx="24273">
                  <c:v>#N/A</c:v>
                </c:pt>
                <c:pt idx="24274">
                  <c:v>#N/A</c:v>
                </c:pt>
                <c:pt idx="24275">
                  <c:v>#N/A</c:v>
                </c:pt>
                <c:pt idx="24276">
                  <c:v>#N/A</c:v>
                </c:pt>
                <c:pt idx="24277">
                  <c:v>#N/A</c:v>
                </c:pt>
                <c:pt idx="24278">
                  <c:v>#N/A</c:v>
                </c:pt>
                <c:pt idx="24279">
                  <c:v>#N/A</c:v>
                </c:pt>
                <c:pt idx="24280">
                  <c:v>#N/A</c:v>
                </c:pt>
                <c:pt idx="24281">
                  <c:v>#N/A</c:v>
                </c:pt>
                <c:pt idx="24282">
                  <c:v>#N/A</c:v>
                </c:pt>
                <c:pt idx="24283">
                  <c:v>#N/A</c:v>
                </c:pt>
                <c:pt idx="24284">
                  <c:v>#N/A</c:v>
                </c:pt>
                <c:pt idx="24285">
                  <c:v>#N/A</c:v>
                </c:pt>
                <c:pt idx="24286">
                  <c:v>#N/A</c:v>
                </c:pt>
                <c:pt idx="24287">
                  <c:v>#N/A</c:v>
                </c:pt>
                <c:pt idx="24288">
                  <c:v>#N/A</c:v>
                </c:pt>
                <c:pt idx="24289">
                  <c:v>#N/A</c:v>
                </c:pt>
                <c:pt idx="24290">
                  <c:v>#N/A</c:v>
                </c:pt>
                <c:pt idx="24291">
                  <c:v>#N/A</c:v>
                </c:pt>
                <c:pt idx="24292">
                  <c:v>#N/A</c:v>
                </c:pt>
                <c:pt idx="24293">
                  <c:v>#N/A</c:v>
                </c:pt>
                <c:pt idx="24294">
                  <c:v>#N/A</c:v>
                </c:pt>
                <c:pt idx="24295">
                  <c:v>#N/A</c:v>
                </c:pt>
                <c:pt idx="24296">
                  <c:v>#N/A</c:v>
                </c:pt>
                <c:pt idx="24297">
                  <c:v>#N/A</c:v>
                </c:pt>
                <c:pt idx="24298">
                  <c:v>#N/A</c:v>
                </c:pt>
                <c:pt idx="24299">
                  <c:v>#N/A</c:v>
                </c:pt>
                <c:pt idx="24300">
                  <c:v>#N/A</c:v>
                </c:pt>
                <c:pt idx="24301">
                  <c:v>#N/A</c:v>
                </c:pt>
                <c:pt idx="24302">
                  <c:v>#N/A</c:v>
                </c:pt>
                <c:pt idx="24303">
                  <c:v>#N/A</c:v>
                </c:pt>
                <c:pt idx="24304">
                  <c:v>#N/A</c:v>
                </c:pt>
                <c:pt idx="24305">
                  <c:v>#N/A</c:v>
                </c:pt>
                <c:pt idx="24306">
                  <c:v>#N/A</c:v>
                </c:pt>
                <c:pt idx="24307">
                  <c:v>#N/A</c:v>
                </c:pt>
                <c:pt idx="24308">
                  <c:v>#N/A</c:v>
                </c:pt>
                <c:pt idx="24309">
                  <c:v>#N/A</c:v>
                </c:pt>
                <c:pt idx="24310">
                  <c:v>#N/A</c:v>
                </c:pt>
                <c:pt idx="24311">
                  <c:v>#N/A</c:v>
                </c:pt>
                <c:pt idx="24312">
                  <c:v>#N/A</c:v>
                </c:pt>
                <c:pt idx="24313">
                  <c:v>#N/A</c:v>
                </c:pt>
                <c:pt idx="24314">
                  <c:v>#N/A</c:v>
                </c:pt>
                <c:pt idx="24315">
                  <c:v>#N/A</c:v>
                </c:pt>
                <c:pt idx="24316">
                  <c:v>#N/A</c:v>
                </c:pt>
                <c:pt idx="24317">
                  <c:v>#N/A</c:v>
                </c:pt>
                <c:pt idx="24318">
                  <c:v>#N/A</c:v>
                </c:pt>
                <c:pt idx="24319">
                  <c:v>#N/A</c:v>
                </c:pt>
                <c:pt idx="24320">
                  <c:v>#N/A</c:v>
                </c:pt>
                <c:pt idx="24321">
                  <c:v>#N/A</c:v>
                </c:pt>
                <c:pt idx="24322">
                  <c:v>#N/A</c:v>
                </c:pt>
                <c:pt idx="24323">
                  <c:v>#N/A</c:v>
                </c:pt>
                <c:pt idx="24324">
                  <c:v>#N/A</c:v>
                </c:pt>
                <c:pt idx="24325">
                  <c:v>#N/A</c:v>
                </c:pt>
                <c:pt idx="24326">
                  <c:v>#N/A</c:v>
                </c:pt>
                <c:pt idx="24327">
                  <c:v>#N/A</c:v>
                </c:pt>
                <c:pt idx="24328">
                  <c:v>#N/A</c:v>
                </c:pt>
                <c:pt idx="24329">
                  <c:v>#N/A</c:v>
                </c:pt>
                <c:pt idx="24330">
                  <c:v>#N/A</c:v>
                </c:pt>
                <c:pt idx="24331">
                  <c:v>#N/A</c:v>
                </c:pt>
                <c:pt idx="24332">
                  <c:v>#N/A</c:v>
                </c:pt>
                <c:pt idx="24333">
                  <c:v>#N/A</c:v>
                </c:pt>
                <c:pt idx="24334">
                  <c:v>#N/A</c:v>
                </c:pt>
                <c:pt idx="24335">
                  <c:v>#N/A</c:v>
                </c:pt>
                <c:pt idx="24336">
                  <c:v>#N/A</c:v>
                </c:pt>
                <c:pt idx="24337">
                  <c:v>#N/A</c:v>
                </c:pt>
                <c:pt idx="24338">
                  <c:v>#N/A</c:v>
                </c:pt>
                <c:pt idx="24339">
                  <c:v>#N/A</c:v>
                </c:pt>
                <c:pt idx="24340">
                  <c:v>#N/A</c:v>
                </c:pt>
                <c:pt idx="24341">
                  <c:v>#N/A</c:v>
                </c:pt>
                <c:pt idx="24342">
                  <c:v>#N/A</c:v>
                </c:pt>
                <c:pt idx="24343">
                  <c:v>#N/A</c:v>
                </c:pt>
                <c:pt idx="24344">
                  <c:v>#N/A</c:v>
                </c:pt>
                <c:pt idx="24345">
                  <c:v>#N/A</c:v>
                </c:pt>
                <c:pt idx="24346">
                  <c:v>#N/A</c:v>
                </c:pt>
                <c:pt idx="24347">
                  <c:v>#N/A</c:v>
                </c:pt>
                <c:pt idx="24348">
                  <c:v>#N/A</c:v>
                </c:pt>
                <c:pt idx="24349">
                  <c:v>#N/A</c:v>
                </c:pt>
                <c:pt idx="24350">
                  <c:v>#N/A</c:v>
                </c:pt>
                <c:pt idx="24351">
                  <c:v>#N/A</c:v>
                </c:pt>
                <c:pt idx="24352">
                  <c:v>#N/A</c:v>
                </c:pt>
                <c:pt idx="24353">
                  <c:v>#N/A</c:v>
                </c:pt>
                <c:pt idx="24354">
                  <c:v>#N/A</c:v>
                </c:pt>
                <c:pt idx="24355">
                  <c:v>#N/A</c:v>
                </c:pt>
                <c:pt idx="24356">
                  <c:v>#N/A</c:v>
                </c:pt>
                <c:pt idx="24357">
                  <c:v>#N/A</c:v>
                </c:pt>
                <c:pt idx="24358">
                  <c:v>#N/A</c:v>
                </c:pt>
                <c:pt idx="24359">
                  <c:v>#N/A</c:v>
                </c:pt>
                <c:pt idx="24360">
                  <c:v>#N/A</c:v>
                </c:pt>
                <c:pt idx="24361">
                  <c:v>#N/A</c:v>
                </c:pt>
                <c:pt idx="24362">
                  <c:v>#N/A</c:v>
                </c:pt>
                <c:pt idx="24363">
                  <c:v>#N/A</c:v>
                </c:pt>
                <c:pt idx="24364">
                  <c:v>#N/A</c:v>
                </c:pt>
                <c:pt idx="24365">
                  <c:v>#N/A</c:v>
                </c:pt>
                <c:pt idx="24366">
                  <c:v>#N/A</c:v>
                </c:pt>
                <c:pt idx="24367">
                  <c:v>#N/A</c:v>
                </c:pt>
                <c:pt idx="24368">
                  <c:v>#N/A</c:v>
                </c:pt>
                <c:pt idx="24369">
                  <c:v>#N/A</c:v>
                </c:pt>
                <c:pt idx="24370">
                  <c:v>#N/A</c:v>
                </c:pt>
                <c:pt idx="24371">
                  <c:v>#N/A</c:v>
                </c:pt>
                <c:pt idx="24372">
                  <c:v>#N/A</c:v>
                </c:pt>
                <c:pt idx="24373">
                  <c:v>#N/A</c:v>
                </c:pt>
                <c:pt idx="24374">
                  <c:v>#N/A</c:v>
                </c:pt>
                <c:pt idx="24375">
                  <c:v>#N/A</c:v>
                </c:pt>
                <c:pt idx="24376">
                  <c:v>#N/A</c:v>
                </c:pt>
                <c:pt idx="24377">
                  <c:v>#N/A</c:v>
                </c:pt>
                <c:pt idx="24378">
                  <c:v>#N/A</c:v>
                </c:pt>
                <c:pt idx="24379">
                  <c:v>#N/A</c:v>
                </c:pt>
                <c:pt idx="24380">
                  <c:v>#N/A</c:v>
                </c:pt>
                <c:pt idx="24381">
                  <c:v>#N/A</c:v>
                </c:pt>
                <c:pt idx="24382">
                  <c:v>#N/A</c:v>
                </c:pt>
                <c:pt idx="24383">
                  <c:v>#N/A</c:v>
                </c:pt>
                <c:pt idx="24384">
                  <c:v>#N/A</c:v>
                </c:pt>
                <c:pt idx="24385">
                  <c:v>#N/A</c:v>
                </c:pt>
                <c:pt idx="24386">
                  <c:v>#N/A</c:v>
                </c:pt>
                <c:pt idx="24387">
                  <c:v>#N/A</c:v>
                </c:pt>
                <c:pt idx="24388">
                  <c:v>#N/A</c:v>
                </c:pt>
                <c:pt idx="24389">
                  <c:v>#N/A</c:v>
                </c:pt>
                <c:pt idx="24390">
                  <c:v>#N/A</c:v>
                </c:pt>
                <c:pt idx="24391">
                  <c:v>#N/A</c:v>
                </c:pt>
                <c:pt idx="24392">
                  <c:v>#N/A</c:v>
                </c:pt>
                <c:pt idx="24393">
                  <c:v>#N/A</c:v>
                </c:pt>
                <c:pt idx="24394">
                  <c:v>#N/A</c:v>
                </c:pt>
                <c:pt idx="24395">
                  <c:v>#N/A</c:v>
                </c:pt>
                <c:pt idx="24396">
                  <c:v>#N/A</c:v>
                </c:pt>
                <c:pt idx="24397">
                  <c:v>#N/A</c:v>
                </c:pt>
                <c:pt idx="24398">
                  <c:v>#N/A</c:v>
                </c:pt>
                <c:pt idx="24399">
                  <c:v>#N/A</c:v>
                </c:pt>
                <c:pt idx="24400">
                  <c:v>#N/A</c:v>
                </c:pt>
                <c:pt idx="24401">
                  <c:v>#N/A</c:v>
                </c:pt>
                <c:pt idx="24402">
                  <c:v>#N/A</c:v>
                </c:pt>
                <c:pt idx="24403">
                  <c:v>#N/A</c:v>
                </c:pt>
                <c:pt idx="24404">
                  <c:v>#N/A</c:v>
                </c:pt>
                <c:pt idx="24405">
                  <c:v>#N/A</c:v>
                </c:pt>
                <c:pt idx="24406">
                  <c:v>#N/A</c:v>
                </c:pt>
                <c:pt idx="24407">
                  <c:v>#N/A</c:v>
                </c:pt>
                <c:pt idx="24408">
                  <c:v>#N/A</c:v>
                </c:pt>
                <c:pt idx="24409">
                  <c:v>#N/A</c:v>
                </c:pt>
                <c:pt idx="24410">
                  <c:v>#N/A</c:v>
                </c:pt>
                <c:pt idx="24411">
                  <c:v>#N/A</c:v>
                </c:pt>
                <c:pt idx="24412">
                  <c:v>#N/A</c:v>
                </c:pt>
                <c:pt idx="24413">
                  <c:v>#N/A</c:v>
                </c:pt>
                <c:pt idx="24414">
                  <c:v>#N/A</c:v>
                </c:pt>
                <c:pt idx="24415">
                  <c:v>#N/A</c:v>
                </c:pt>
                <c:pt idx="24416">
                  <c:v>#N/A</c:v>
                </c:pt>
                <c:pt idx="24417">
                  <c:v>#N/A</c:v>
                </c:pt>
                <c:pt idx="24418">
                  <c:v>#N/A</c:v>
                </c:pt>
                <c:pt idx="24419">
                  <c:v>#N/A</c:v>
                </c:pt>
                <c:pt idx="24420">
                  <c:v>#N/A</c:v>
                </c:pt>
                <c:pt idx="24421">
                  <c:v>#N/A</c:v>
                </c:pt>
                <c:pt idx="24422">
                  <c:v>#N/A</c:v>
                </c:pt>
                <c:pt idx="24423">
                  <c:v>#N/A</c:v>
                </c:pt>
                <c:pt idx="24424">
                  <c:v>#N/A</c:v>
                </c:pt>
                <c:pt idx="24425">
                  <c:v>#N/A</c:v>
                </c:pt>
                <c:pt idx="24426">
                  <c:v>#N/A</c:v>
                </c:pt>
                <c:pt idx="24427">
                  <c:v>#N/A</c:v>
                </c:pt>
                <c:pt idx="24428">
                  <c:v>#N/A</c:v>
                </c:pt>
                <c:pt idx="24429">
                  <c:v>#N/A</c:v>
                </c:pt>
                <c:pt idx="24430">
                  <c:v>#N/A</c:v>
                </c:pt>
                <c:pt idx="24431">
                  <c:v>#N/A</c:v>
                </c:pt>
                <c:pt idx="24432">
                  <c:v>#N/A</c:v>
                </c:pt>
                <c:pt idx="24433">
                  <c:v>#N/A</c:v>
                </c:pt>
                <c:pt idx="24434">
                  <c:v>#N/A</c:v>
                </c:pt>
                <c:pt idx="24435">
                  <c:v>#N/A</c:v>
                </c:pt>
                <c:pt idx="24436">
                  <c:v>#N/A</c:v>
                </c:pt>
                <c:pt idx="24437">
                  <c:v>#N/A</c:v>
                </c:pt>
                <c:pt idx="24438">
                  <c:v>#N/A</c:v>
                </c:pt>
                <c:pt idx="24439">
                  <c:v>#N/A</c:v>
                </c:pt>
                <c:pt idx="24440">
                  <c:v>#N/A</c:v>
                </c:pt>
                <c:pt idx="24441">
                  <c:v>#N/A</c:v>
                </c:pt>
                <c:pt idx="24442">
                  <c:v>#N/A</c:v>
                </c:pt>
                <c:pt idx="24443">
                  <c:v>#N/A</c:v>
                </c:pt>
                <c:pt idx="24444">
                  <c:v>#N/A</c:v>
                </c:pt>
                <c:pt idx="24445">
                  <c:v>#N/A</c:v>
                </c:pt>
                <c:pt idx="24446">
                  <c:v>#N/A</c:v>
                </c:pt>
                <c:pt idx="24447">
                  <c:v>#N/A</c:v>
                </c:pt>
                <c:pt idx="24448">
                  <c:v>#N/A</c:v>
                </c:pt>
                <c:pt idx="24449">
                  <c:v>#N/A</c:v>
                </c:pt>
                <c:pt idx="24450">
                  <c:v>#N/A</c:v>
                </c:pt>
                <c:pt idx="24451">
                  <c:v>#N/A</c:v>
                </c:pt>
                <c:pt idx="24452">
                  <c:v>#N/A</c:v>
                </c:pt>
                <c:pt idx="24453">
                  <c:v>#N/A</c:v>
                </c:pt>
                <c:pt idx="24454">
                  <c:v>#N/A</c:v>
                </c:pt>
                <c:pt idx="24455">
                  <c:v>#N/A</c:v>
                </c:pt>
                <c:pt idx="24456">
                  <c:v>#N/A</c:v>
                </c:pt>
                <c:pt idx="24457">
                  <c:v>#N/A</c:v>
                </c:pt>
                <c:pt idx="24458">
                  <c:v>#N/A</c:v>
                </c:pt>
                <c:pt idx="24459">
                  <c:v>#N/A</c:v>
                </c:pt>
                <c:pt idx="24460">
                  <c:v>#N/A</c:v>
                </c:pt>
                <c:pt idx="24461">
                  <c:v>#N/A</c:v>
                </c:pt>
                <c:pt idx="24462">
                  <c:v>#N/A</c:v>
                </c:pt>
                <c:pt idx="24463">
                  <c:v>#N/A</c:v>
                </c:pt>
                <c:pt idx="24464">
                  <c:v>#N/A</c:v>
                </c:pt>
                <c:pt idx="24465">
                  <c:v>#N/A</c:v>
                </c:pt>
                <c:pt idx="24466">
                  <c:v>#N/A</c:v>
                </c:pt>
                <c:pt idx="24467">
                  <c:v>#N/A</c:v>
                </c:pt>
                <c:pt idx="24468">
                  <c:v>#N/A</c:v>
                </c:pt>
                <c:pt idx="24469">
                  <c:v>#N/A</c:v>
                </c:pt>
                <c:pt idx="24470">
                  <c:v>#N/A</c:v>
                </c:pt>
                <c:pt idx="24471">
                  <c:v>#N/A</c:v>
                </c:pt>
                <c:pt idx="24472">
                  <c:v>#N/A</c:v>
                </c:pt>
                <c:pt idx="24473">
                  <c:v>#N/A</c:v>
                </c:pt>
                <c:pt idx="24474">
                  <c:v>#N/A</c:v>
                </c:pt>
                <c:pt idx="24475">
                  <c:v>#N/A</c:v>
                </c:pt>
                <c:pt idx="24476">
                  <c:v>#N/A</c:v>
                </c:pt>
                <c:pt idx="24477">
                  <c:v>#N/A</c:v>
                </c:pt>
                <c:pt idx="24478">
                  <c:v>#N/A</c:v>
                </c:pt>
                <c:pt idx="24479">
                  <c:v>#N/A</c:v>
                </c:pt>
                <c:pt idx="24480">
                  <c:v>#N/A</c:v>
                </c:pt>
                <c:pt idx="24481">
                  <c:v>#N/A</c:v>
                </c:pt>
                <c:pt idx="24482">
                  <c:v>#N/A</c:v>
                </c:pt>
                <c:pt idx="24483">
                  <c:v>#N/A</c:v>
                </c:pt>
                <c:pt idx="24484">
                  <c:v>#N/A</c:v>
                </c:pt>
                <c:pt idx="24485">
                  <c:v>#N/A</c:v>
                </c:pt>
                <c:pt idx="24486">
                  <c:v>#N/A</c:v>
                </c:pt>
                <c:pt idx="24487">
                  <c:v>#N/A</c:v>
                </c:pt>
                <c:pt idx="24488">
                  <c:v>#N/A</c:v>
                </c:pt>
                <c:pt idx="24489">
                  <c:v>#N/A</c:v>
                </c:pt>
                <c:pt idx="24490">
                  <c:v>#N/A</c:v>
                </c:pt>
                <c:pt idx="24491">
                  <c:v>#N/A</c:v>
                </c:pt>
                <c:pt idx="24492">
                  <c:v>#N/A</c:v>
                </c:pt>
                <c:pt idx="24493">
                  <c:v>#N/A</c:v>
                </c:pt>
                <c:pt idx="24494">
                  <c:v>#N/A</c:v>
                </c:pt>
                <c:pt idx="24495">
                  <c:v>#N/A</c:v>
                </c:pt>
                <c:pt idx="24496">
                  <c:v>#N/A</c:v>
                </c:pt>
                <c:pt idx="24497">
                  <c:v>#N/A</c:v>
                </c:pt>
                <c:pt idx="24498">
                  <c:v>#N/A</c:v>
                </c:pt>
                <c:pt idx="24499">
                  <c:v>#N/A</c:v>
                </c:pt>
                <c:pt idx="24500">
                  <c:v>#N/A</c:v>
                </c:pt>
                <c:pt idx="24501">
                  <c:v>#N/A</c:v>
                </c:pt>
                <c:pt idx="24502">
                  <c:v>#N/A</c:v>
                </c:pt>
                <c:pt idx="24503">
                  <c:v>#N/A</c:v>
                </c:pt>
                <c:pt idx="24504">
                  <c:v>#N/A</c:v>
                </c:pt>
                <c:pt idx="24505">
                  <c:v>#N/A</c:v>
                </c:pt>
                <c:pt idx="24506">
                  <c:v>#N/A</c:v>
                </c:pt>
                <c:pt idx="24507">
                  <c:v>#N/A</c:v>
                </c:pt>
                <c:pt idx="24508">
                  <c:v>#N/A</c:v>
                </c:pt>
                <c:pt idx="24509">
                  <c:v>#N/A</c:v>
                </c:pt>
                <c:pt idx="24510">
                  <c:v>#N/A</c:v>
                </c:pt>
                <c:pt idx="24511">
                  <c:v>#N/A</c:v>
                </c:pt>
                <c:pt idx="24512">
                  <c:v>#N/A</c:v>
                </c:pt>
                <c:pt idx="24513">
                  <c:v>#N/A</c:v>
                </c:pt>
                <c:pt idx="24514">
                  <c:v>#N/A</c:v>
                </c:pt>
                <c:pt idx="24515">
                  <c:v>#N/A</c:v>
                </c:pt>
                <c:pt idx="24516">
                  <c:v>#N/A</c:v>
                </c:pt>
                <c:pt idx="24517">
                  <c:v>#N/A</c:v>
                </c:pt>
                <c:pt idx="24518">
                  <c:v>#N/A</c:v>
                </c:pt>
                <c:pt idx="24519">
                  <c:v>#N/A</c:v>
                </c:pt>
                <c:pt idx="24520">
                  <c:v>#N/A</c:v>
                </c:pt>
                <c:pt idx="24521">
                  <c:v>#N/A</c:v>
                </c:pt>
                <c:pt idx="24522">
                  <c:v>#N/A</c:v>
                </c:pt>
                <c:pt idx="24523">
                  <c:v>#N/A</c:v>
                </c:pt>
                <c:pt idx="24524">
                  <c:v>#N/A</c:v>
                </c:pt>
                <c:pt idx="24525">
                  <c:v>#N/A</c:v>
                </c:pt>
                <c:pt idx="24526">
                  <c:v>#N/A</c:v>
                </c:pt>
                <c:pt idx="24527">
                  <c:v>#N/A</c:v>
                </c:pt>
                <c:pt idx="24528">
                  <c:v>#N/A</c:v>
                </c:pt>
                <c:pt idx="24529">
                  <c:v>#N/A</c:v>
                </c:pt>
                <c:pt idx="24530">
                  <c:v>#N/A</c:v>
                </c:pt>
                <c:pt idx="24531">
                  <c:v>#N/A</c:v>
                </c:pt>
                <c:pt idx="24532">
                  <c:v>#N/A</c:v>
                </c:pt>
                <c:pt idx="24533">
                  <c:v>#N/A</c:v>
                </c:pt>
                <c:pt idx="24534">
                  <c:v>#N/A</c:v>
                </c:pt>
                <c:pt idx="24535">
                  <c:v>#N/A</c:v>
                </c:pt>
                <c:pt idx="24536">
                  <c:v>#N/A</c:v>
                </c:pt>
                <c:pt idx="24537">
                  <c:v>#N/A</c:v>
                </c:pt>
                <c:pt idx="24538">
                  <c:v>#N/A</c:v>
                </c:pt>
                <c:pt idx="24539">
                  <c:v>#N/A</c:v>
                </c:pt>
                <c:pt idx="24540">
                  <c:v>#N/A</c:v>
                </c:pt>
                <c:pt idx="24541">
                  <c:v>#N/A</c:v>
                </c:pt>
                <c:pt idx="24542">
                  <c:v>#N/A</c:v>
                </c:pt>
                <c:pt idx="24543">
                  <c:v>#N/A</c:v>
                </c:pt>
                <c:pt idx="24544">
                  <c:v>#N/A</c:v>
                </c:pt>
                <c:pt idx="24545">
                  <c:v>#N/A</c:v>
                </c:pt>
                <c:pt idx="24546">
                  <c:v>#N/A</c:v>
                </c:pt>
                <c:pt idx="24547">
                  <c:v>#N/A</c:v>
                </c:pt>
                <c:pt idx="24548">
                  <c:v>#N/A</c:v>
                </c:pt>
                <c:pt idx="24549">
                  <c:v>#N/A</c:v>
                </c:pt>
                <c:pt idx="24550">
                  <c:v>#N/A</c:v>
                </c:pt>
                <c:pt idx="24551">
                  <c:v>#N/A</c:v>
                </c:pt>
                <c:pt idx="24552">
                  <c:v>#N/A</c:v>
                </c:pt>
                <c:pt idx="24553">
                  <c:v>#N/A</c:v>
                </c:pt>
                <c:pt idx="24554">
                  <c:v>#N/A</c:v>
                </c:pt>
                <c:pt idx="24555">
                  <c:v>#N/A</c:v>
                </c:pt>
                <c:pt idx="24556">
                  <c:v>#N/A</c:v>
                </c:pt>
                <c:pt idx="24557">
                  <c:v>#N/A</c:v>
                </c:pt>
                <c:pt idx="24558">
                  <c:v>#N/A</c:v>
                </c:pt>
                <c:pt idx="24559">
                  <c:v>#N/A</c:v>
                </c:pt>
                <c:pt idx="24560">
                  <c:v>#N/A</c:v>
                </c:pt>
                <c:pt idx="24561">
                  <c:v>#N/A</c:v>
                </c:pt>
                <c:pt idx="24562">
                  <c:v>#N/A</c:v>
                </c:pt>
                <c:pt idx="24563">
                  <c:v>#N/A</c:v>
                </c:pt>
                <c:pt idx="24564">
                  <c:v>#N/A</c:v>
                </c:pt>
                <c:pt idx="24565">
                  <c:v>#N/A</c:v>
                </c:pt>
                <c:pt idx="24566">
                  <c:v>#N/A</c:v>
                </c:pt>
                <c:pt idx="24567">
                  <c:v>#N/A</c:v>
                </c:pt>
                <c:pt idx="24568">
                  <c:v>#N/A</c:v>
                </c:pt>
                <c:pt idx="24569">
                  <c:v>#N/A</c:v>
                </c:pt>
                <c:pt idx="24570">
                  <c:v>#N/A</c:v>
                </c:pt>
                <c:pt idx="24571">
                  <c:v>#N/A</c:v>
                </c:pt>
                <c:pt idx="24572">
                  <c:v>#N/A</c:v>
                </c:pt>
                <c:pt idx="24573">
                  <c:v>#N/A</c:v>
                </c:pt>
                <c:pt idx="24574">
                  <c:v>#N/A</c:v>
                </c:pt>
                <c:pt idx="24575">
                  <c:v>#N/A</c:v>
                </c:pt>
                <c:pt idx="24576">
                  <c:v>#N/A</c:v>
                </c:pt>
                <c:pt idx="24577">
                  <c:v>#N/A</c:v>
                </c:pt>
                <c:pt idx="24578">
                  <c:v>#N/A</c:v>
                </c:pt>
                <c:pt idx="24579">
                  <c:v>#N/A</c:v>
                </c:pt>
                <c:pt idx="24580">
                  <c:v>#N/A</c:v>
                </c:pt>
                <c:pt idx="24581">
                  <c:v>#N/A</c:v>
                </c:pt>
                <c:pt idx="24582">
                  <c:v>#N/A</c:v>
                </c:pt>
                <c:pt idx="24583">
                  <c:v>#N/A</c:v>
                </c:pt>
                <c:pt idx="24584">
                  <c:v>#N/A</c:v>
                </c:pt>
                <c:pt idx="24585">
                  <c:v>#N/A</c:v>
                </c:pt>
                <c:pt idx="24586">
                  <c:v>#N/A</c:v>
                </c:pt>
                <c:pt idx="24587">
                  <c:v>#N/A</c:v>
                </c:pt>
                <c:pt idx="24588">
                  <c:v>#N/A</c:v>
                </c:pt>
                <c:pt idx="24589">
                  <c:v>#N/A</c:v>
                </c:pt>
                <c:pt idx="24590">
                  <c:v>#N/A</c:v>
                </c:pt>
                <c:pt idx="24591">
                  <c:v>#N/A</c:v>
                </c:pt>
                <c:pt idx="24592">
                  <c:v>#N/A</c:v>
                </c:pt>
                <c:pt idx="24593">
                  <c:v>#N/A</c:v>
                </c:pt>
                <c:pt idx="24594">
                  <c:v>#N/A</c:v>
                </c:pt>
                <c:pt idx="24595">
                  <c:v>#N/A</c:v>
                </c:pt>
                <c:pt idx="24596">
                  <c:v>#N/A</c:v>
                </c:pt>
                <c:pt idx="24597">
                  <c:v>#N/A</c:v>
                </c:pt>
                <c:pt idx="24598">
                  <c:v>#N/A</c:v>
                </c:pt>
                <c:pt idx="24599">
                  <c:v>#N/A</c:v>
                </c:pt>
                <c:pt idx="24600">
                  <c:v>#N/A</c:v>
                </c:pt>
                <c:pt idx="24601">
                  <c:v>#N/A</c:v>
                </c:pt>
                <c:pt idx="24602">
                  <c:v>#N/A</c:v>
                </c:pt>
                <c:pt idx="24603">
                  <c:v>#N/A</c:v>
                </c:pt>
                <c:pt idx="24604">
                  <c:v>#N/A</c:v>
                </c:pt>
                <c:pt idx="24605">
                  <c:v>#N/A</c:v>
                </c:pt>
                <c:pt idx="24606">
                  <c:v>#N/A</c:v>
                </c:pt>
                <c:pt idx="24607">
                  <c:v>#N/A</c:v>
                </c:pt>
                <c:pt idx="24608">
                  <c:v>#N/A</c:v>
                </c:pt>
                <c:pt idx="24609">
                  <c:v>#N/A</c:v>
                </c:pt>
                <c:pt idx="24610">
                  <c:v>#N/A</c:v>
                </c:pt>
                <c:pt idx="24611">
                  <c:v>#N/A</c:v>
                </c:pt>
                <c:pt idx="24612">
                  <c:v>#N/A</c:v>
                </c:pt>
                <c:pt idx="24613">
                  <c:v>#N/A</c:v>
                </c:pt>
                <c:pt idx="24614">
                  <c:v>#N/A</c:v>
                </c:pt>
                <c:pt idx="24615">
                  <c:v>#N/A</c:v>
                </c:pt>
                <c:pt idx="24616">
                  <c:v>#N/A</c:v>
                </c:pt>
                <c:pt idx="24617">
                  <c:v>#N/A</c:v>
                </c:pt>
                <c:pt idx="24618">
                  <c:v>#N/A</c:v>
                </c:pt>
                <c:pt idx="24619">
                  <c:v>#N/A</c:v>
                </c:pt>
                <c:pt idx="24620">
                  <c:v>#N/A</c:v>
                </c:pt>
                <c:pt idx="24621">
                  <c:v>#N/A</c:v>
                </c:pt>
                <c:pt idx="24622">
                  <c:v>#N/A</c:v>
                </c:pt>
                <c:pt idx="24623">
                  <c:v>#N/A</c:v>
                </c:pt>
                <c:pt idx="24624">
                  <c:v>#N/A</c:v>
                </c:pt>
                <c:pt idx="24625">
                  <c:v>#N/A</c:v>
                </c:pt>
                <c:pt idx="24626">
                  <c:v>#N/A</c:v>
                </c:pt>
                <c:pt idx="24627">
                  <c:v>#N/A</c:v>
                </c:pt>
                <c:pt idx="24628">
                  <c:v>#N/A</c:v>
                </c:pt>
                <c:pt idx="24629">
                  <c:v>#N/A</c:v>
                </c:pt>
                <c:pt idx="24630">
                  <c:v>#N/A</c:v>
                </c:pt>
                <c:pt idx="24631">
                  <c:v>#N/A</c:v>
                </c:pt>
                <c:pt idx="24632">
                  <c:v>#N/A</c:v>
                </c:pt>
                <c:pt idx="24633">
                  <c:v>#N/A</c:v>
                </c:pt>
                <c:pt idx="24634">
                  <c:v>#N/A</c:v>
                </c:pt>
                <c:pt idx="24635">
                  <c:v>#N/A</c:v>
                </c:pt>
                <c:pt idx="24636">
                  <c:v>#N/A</c:v>
                </c:pt>
                <c:pt idx="24637">
                  <c:v>#N/A</c:v>
                </c:pt>
                <c:pt idx="24638">
                  <c:v>#N/A</c:v>
                </c:pt>
                <c:pt idx="24639">
                  <c:v>#N/A</c:v>
                </c:pt>
                <c:pt idx="24640">
                  <c:v>#N/A</c:v>
                </c:pt>
                <c:pt idx="24641">
                  <c:v>#N/A</c:v>
                </c:pt>
                <c:pt idx="24642">
                  <c:v>#N/A</c:v>
                </c:pt>
                <c:pt idx="24643">
                  <c:v>#N/A</c:v>
                </c:pt>
                <c:pt idx="24644">
                  <c:v>#N/A</c:v>
                </c:pt>
                <c:pt idx="24645">
                  <c:v>#N/A</c:v>
                </c:pt>
                <c:pt idx="24646">
                  <c:v>#N/A</c:v>
                </c:pt>
                <c:pt idx="24647">
                  <c:v>#N/A</c:v>
                </c:pt>
                <c:pt idx="24648">
                  <c:v>#N/A</c:v>
                </c:pt>
                <c:pt idx="24649">
                  <c:v>#N/A</c:v>
                </c:pt>
                <c:pt idx="24650">
                  <c:v>#N/A</c:v>
                </c:pt>
                <c:pt idx="24651">
                  <c:v>#N/A</c:v>
                </c:pt>
                <c:pt idx="24652">
                  <c:v>#N/A</c:v>
                </c:pt>
                <c:pt idx="24653">
                  <c:v>#N/A</c:v>
                </c:pt>
                <c:pt idx="24654">
                  <c:v>#N/A</c:v>
                </c:pt>
                <c:pt idx="24655">
                  <c:v>#N/A</c:v>
                </c:pt>
                <c:pt idx="24656">
                  <c:v>#N/A</c:v>
                </c:pt>
                <c:pt idx="24657">
                  <c:v>#N/A</c:v>
                </c:pt>
                <c:pt idx="24658">
                  <c:v>#N/A</c:v>
                </c:pt>
                <c:pt idx="24659">
                  <c:v>#N/A</c:v>
                </c:pt>
                <c:pt idx="24660">
                  <c:v>#N/A</c:v>
                </c:pt>
                <c:pt idx="24661">
                  <c:v>#N/A</c:v>
                </c:pt>
                <c:pt idx="24662">
                  <c:v>#N/A</c:v>
                </c:pt>
                <c:pt idx="24663">
                  <c:v>#N/A</c:v>
                </c:pt>
                <c:pt idx="24664">
                  <c:v>#N/A</c:v>
                </c:pt>
                <c:pt idx="24665">
                  <c:v>#N/A</c:v>
                </c:pt>
                <c:pt idx="24666">
                  <c:v>#N/A</c:v>
                </c:pt>
                <c:pt idx="24667">
                  <c:v>#N/A</c:v>
                </c:pt>
                <c:pt idx="24668">
                  <c:v>#N/A</c:v>
                </c:pt>
                <c:pt idx="24669">
                  <c:v>#N/A</c:v>
                </c:pt>
                <c:pt idx="24670">
                  <c:v>#N/A</c:v>
                </c:pt>
                <c:pt idx="24671">
                  <c:v>#N/A</c:v>
                </c:pt>
                <c:pt idx="24672">
                  <c:v>#N/A</c:v>
                </c:pt>
                <c:pt idx="24673">
                  <c:v>#N/A</c:v>
                </c:pt>
                <c:pt idx="24674">
                  <c:v>#N/A</c:v>
                </c:pt>
                <c:pt idx="24675">
                  <c:v>#N/A</c:v>
                </c:pt>
                <c:pt idx="24676">
                  <c:v>#N/A</c:v>
                </c:pt>
                <c:pt idx="24677">
                  <c:v>#N/A</c:v>
                </c:pt>
                <c:pt idx="24678">
                  <c:v>#N/A</c:v>
                </c:pt>
                <c:pt idx="24679">
                  <c:v>#N/A</c:v>
                </c:pt>
                <c:pt idx="24680">
                  <c:v>#N/A</c:v>
                </c:pt>
                <c:pt idx="24681">
                  <c:v>#N/A</c:v>
                </c:pt>
                <c:pt idx="24682">
                  <c:v>#N/A</c:v>
                </c:pt>
                <c:pt idx="24683">
                  <c:v>#N/A</c:v>
                </c:pt>
                <c:pt idx="24684">
                  <c:v>#N/A</c:v>
                </c:pt>
                <c:pt idx="24685">
                  <c:v>#N/A</c:v>
                </c:pt>
                <c:pt idx="24686">
                  <c:v>#N/A</c:v>
                </c:pt>
                <c:pt idx="24687">
                  <c:v>#N/A</c:v>
                </c:pt>
                <c:pt idx="24688">
                  <c:v>#N/A</c:v>
                </c:pt>
                <c:pt idx="24689">
                  <c:v>#N/A</c:v>
                </c:pt>
                <c:pt idx="24690">
                  <c:v>#N/A</c:v>
                </c:pt>
                <c:pt idx="24691">
                  <c:v>#N/A</c:v>
                </c:pt>
                <c:pt idx="24692">
                  <c:v>#N/A</c:v>
                </c:pt>
                <c:pt idx="24693">
                  <c:v>#N/A</c:v>
                </c:pt>
                <c:pt idx="24694">
                  <c:v>#N/A</c:v>
                </c:pt>
                <c:pt idx="24695">
                  <c:v>#N/A</c:v>
                </c:pt>
                <c:pt idx="24696">
                  <c:v>#N/A</c:v>
                </c:pt>
                <c:pt idx="24697">
                  <c:v>#N/A</c:v>
                </c:pt>
                <c:pt idx="24698">
                  <c:v>#N/A</c:v>
                </c:pt>
                <c:pt idx="24699">
                  <c:v>#N/A</c:v>
                </c:pt>
                <c:pt idx="24700">
                  <c:v>#N/A</c:v>
                </c:pt>
                <c:pt idx="24701">
                  <c:v>#N/A</c:v>
                </c:pt>
                <c:pt idx="24702">
                  <c:v>#N/A</c:v>
                </c:pt>
                <c:pt idx="24703">
                  <c:v>#N/A</c:v>
                </c:pt>
                <c:pt idx="24704">
                  <c:v>#N/A</c:v>
                </c:pt>
                <c:pt idx="24705">
                  <c:v>#N/A</c:v>
                </c:pt>
                <c:pt idx="24706">
                  <c:v>#N/A</c:v>
                </c:pt>
                <c:pt idx="24707">
                  <c:v>#N/A</c:v>
                </c:pt>
                <c:pt idx="24708">
                  <c:v>#N/A</c:v>
                </c:pt>
                <c:pt idx="24709">
                  <c:v>#N/A</c:v>
                </c:pt>
                <c:pt idx="24710">
                  <c:v>#N/A</c:v>
                </c:pt>
                <c:pt idx="24711">
                  <c:v>#N/A</c:v>
                </c:pt>
                <c:pt idx="24712">
                  <c:v>#N/A</c:v>
                </c:pt>
                <c:pt idx="24713">
                  <c:v>#N/A</c:v>
                </c:pt>
                <c:pt idx="24714">
                  <c:v>#N/A</c:v>
                </c:pt>
                <c:pt idx="24715">
                  <c:v>#N/A</c:v>
                </c:pt>
                <c:pt idx="24716">
                  <c:v>#N/A</c:v>
                </c:pt>
                <c:pt idx="24717">
                  <c:v>#N/A</c:v>
                </c:pt>
                <c:pt idx="24718">
                  <c:v>#N/A</c:v>
                </c:pt>
                <c:pt idx="24719">
                  <c:v>#N/A</c:v>
                </c:pt>
                <c:pt idx="24720">
                  <c:v>#N/A</c:v>
                </c:pt>
                <c:pt idx="24721">
                  <c:v>#N/A</c:v>
                </c:pt>
                <c:pt idx="24722">
                  <c:v>#N/A</c:v>
                </c:pt>
                <c:pt idx="24723">
                  <c:v>#N/A</c:v>
                </c:pt>
                <c:pt idx="24724">
                  <c:v>#N/A</c:v>
                </c:pt>
                <c:pt idx="24725">
                  <c:v>#N/A</c:v>
                </c:pt>
                <c:pt idx="24726">
                  <c:v>#N/A</c:v>
                </c:pt>
                <c:pt idx="24727">
                  <c:v>#N/A</c:v>
                </c:pt>
                <c:pt idx="24728">
                  <c:v>#N/A</c:v>
                </c:pt>
                <c:pt idx="24729">
                  <c:v>#N/A</c:v>
                </c:pt>
                <c:pt idx="24730">
                  <c:v>#N/A</c:v>
                </c:pt>
                <c:pt idx="24731">
                  <c:v>#N/A</c:v>
                </c:pt>
                <c:pt idx="24732">
                  <c:v>#N/A</c:v>
                </c:pt>
                <c:pt idx="24733">
                  <c:v>#N/A</c:v>
                </c:pt>
                <c:pt idx="24734">
                  <c:v>#N/A</c:v>
                </c:pt>
                <c:pt idx="24735">
                  <c:v>#N/A</c:v>
                </c:pt>
                <c:pt idx="24736">
                  <c:v>#N/A</c:v>
                </c:pt>
                <c:pt idx="24737">
                  <c:v>#N/A</c:v>
                </c:pt>
                <c:pt idx="24738">
                  <c:v>#N/A</c:v>
                </c:pt>
                <c:pt idx="24739">
                  <c:v>#N/A</c:v>
                </c:pt>
                <c:pt idx="24740">
                  <c:v>#N/A</c:v>
                </c:pt>
                <c:pt idx="24741">
                  <c:v>#N/A</c:v>
                </c:pt>
                <c:pt idx="24742">
                  <c:v>#N/A</c:v>
                </c:pt>
                <c:pt idx="24743">
                  <c:v>#N/A</c:v>
                </c:pt>
                <c:pt idx="24744">
                  <c:v>#N/A</c:v>
                </c:pt>
                <c:pt idx="24745">
                  <c:v>#N/A</c:v>
                </c:pt>
                <c:pt idx="24746">
                  <c:v>#N/A</c:v>
                </c:pt>
                <c:pt idx="24747">
                  <c:v>#N/A</c:v>
                </c:pt>
                <c:pt idx="24748">
                  <c:v>#N/A</c:v>
                </c:pt>
                <c:pt idx="24749">
                  <c:v>#N/A</c:v>
                </c:pt>
                <c:pt idx="24750">
                  <c:v>#N/A</c:v>
                </c:pt>
                <c:pt idx="24751">
                  <c:v>#N/A</c:v>
                </c:pt>
                <c:pt idx="24752">
                  <c:v>#N/A</c:v>
                </c:pt>
                <c:pt idx="24753">
                  <c:v>#N/A</c:v>
                </c:pt>
                <c:pt idx="24754">
                  <c:v>#N/A</c:v>
                </c:pt>
                <c:pt idx="24755">
                  <c:v>#N/A</c:v>
                </c:pt>
                <c:pt idx="24756">
                  <c:v>#N/A</c:v>
                </c:pt>
                <c:pt idx="24757">
                  <c:v>#N/A</c:v>
                </c:pt>
                <c:pt idx="24758">
                  <c:v>#N/A</c:v>
                </c:pt>
                <c:pt idx="24759">
                  <c:v>#N/A</c:v>
                </c:pt>
                <c:pt idx="24760">
                  <c:v>#N/A</c:v>
                </c:pt>
                <c:pt idx="24761">
                  <c:v>#N/A</c:v>
                </c:pt>
                <c:pt idx="24762">
                  <c:v>#N/A</c:v>
                </c:pt>
                <c:pt idx="24763">
                  <c:v>#N/A</c:v>
                </c:pt>
                <c:pt idx="24764">
                  <c:v>#N/A</c:v>
                </c:pt>
                <c:pt idx="24765">
                  <c:v>#N/A</c:v>
                </c:pt>
                <c:pt idx="24766">
                  <c:v>#N/A</c:v>
                </c:pt>
                <c:pt idx="24767">
                  <c:v>#N/A</c:v>
                </c:pt>
                <c:pt idx="24768">
                  <c:v>#N/A</c:v>
                </c:pt>
                <c:pt idx="24769">
                  <c:v>#N/A</c:v>
                </c:pt>
                <c:pt idx="24770">
                  <c:v>#N/A</c:v>
                </c:pt>
                <c:pt idx="24771">
                  <c:v>#N/A</c:v>
                </c:pt>
                <c:pt idx="24772">
                  <c:v>#N/A</c:v>
                </c:pt>
                <c:pt idx="24773">
                  <c:v>#N/A</c:v>
                </c:pt>
                <c:pt idx="24774">
                  <c:v>#N/A</c:v>
                </c:pt>
                <c:pt idx="24775">
                  <c:v>#N/A</c:v>
                </c:pt>
                <c:pt idx="24776">
                  <c:v>#N/A</c:v>
                </c:pt>
                <c:pt idx="24777">
                  <c:v>#N/A</c:v>
                </c:pt>
                <c:pt idx="24778">
                  <c:v>#N/A</c:v>
                </c:pt>
                <c:pt idx="24779">
                  <c:v>#N/A</c:v>
                </c:pt>
                <c:pt idx="24780">
                  <c:v>#N/A</c:v>
                </c:pt>
                <c:pt idx="24781">
                  <c:v>#N/A</c:v>
                </c:pt>
                <c:pt idx="24782">
                  <c:v>#N/A</c:v>
                </c:pt>
                <c:pt idx="24783">
                  <c:v>#N/A</c:v>
                </c:pt>
                <c:pt idx="24784">
                  <c:v>#N/A</c:v>
                </c:pt>
                <c:pt idx="24785">
                  <c:v>#N/A</c:v>
                </c:pt>
                <c:pt idx="24786">
                  <c:v>#N/A</c:v>
                </c:pt>
                <c:pt idx="24787">
                  <c:v>#N/A</c:v>
                </c:pt>
                <c:pt idx="24788">
                  <c:v>#N/A</c:v>
                </c:pt>
                <c:pt idx="24789">
                  <c:v>#N/A</c:v>
                </c:pt>
                <c:pt idx="24790">
                  <c:v>#N/A</c:v>
                </c:pt>
                <c:pt idx="24791">
                  <c:v>#N/A</c:v>
                </c:pt>
                <c:pt idx="24792">
                  <c:v>#N/A</c:v>
                </c:pt>
                <c:pt idx="24793">
                  <c:v>#N/A</c:v>
                </c:pt>
                <c:pt idx="24794">
                  <c:v>#N/A</c:v>
                </c:pt>
                <c:pt idx="24795">
                  <c:v>#N/A</c:v>
                </c:pt>
                <c:pt idx="24796">
                  <c:v>#N/A</c:v>
                </c:pt>
                <c:pt idx="24797">
                  <c:v>#N/A</c:v>
                </c:pt>
                <c:pt idx="24798">
                  <c:v>#N/A</c:v>
                </c:pt>
                <c:pt idx="24799">
                  <c:v>#N/A</c:v>
                </c:pt>
                <c:pt idx="24800">
                  <c:v>#N/A</c:v>
                </c:pt>
                <c:pt idx="24801">
                  <c:v>#N/A</c:v>
                </c:pt>
                <c:pt idx="24802">
                  <c:v>#N/A</c:v>
                </c:pt>
                <c:pt idx="24803">
                  <c:v>#N/A</c:v>
                </c:pt>
                <c:pt idx="24804">
                  <c:v>#N/A</c:v>
                </c:pt>
                <c:pt idx="24805">
                  <c:v>#N/A</c:v>
                </c:pt>
                <c:pt idx="24806">
                  <c:v>#N/A</c:v>
                </c:pt>
                <c:pt idx="24807">
                  <c:v>#N/A</c:v>
                </c:pt>
                <c:pt idx="24808">
                  <c:v>#N/A</c:v>
                </c:pt>
                <c:pt idx="24809">
                  <c:v>#N/A</c:v>
                </c:pt>
                <c:pt idx="24810">
                  <c:v>#N/A</c:v>
                </c:pt>
                <c:pt idx="24811">
                  <c:v>#N/A</c:v>
                </c:pt>
                <c:pt idx="24812">
                  <c:v>#N/A</c:v>
                </c:pt>
                <c:pt idx="24813">
                  <c:v>#N/A</c:v>
                </c:pt>
                <c:pt idx="24814">
                  <c:v>#N/A</c:v>
                </c:pt>
                <c:pt idx="24815">
                  <c:v>#N/A</c:v>
                </c:pt>
                <c:pt idx="24816">
                  <c:v>#N/A</c:v>
                </c:pt>
                <c:pt idx="24817">
                  <c:v>#N/A</c:v>
                </c:pt>
                <c:pt idx="24818">
                  <c:v>#N/A</c:v>
                </c:pt>
                <c:pt idx="24819">
                  <c:v>#N/A</c:v>
                </c:pt>
                <c:pt idx="24820">
                  <c:v>#N/A</c:v>
                </c:pt>
                <c:pt idx="24821">
                  <c:v>#N/A</c:v>
                </c:pt>
                <c:pt idx="24822">
                  <c:v>#N/A</c:v>
                </c:pt>
                <c:pt idx="24823">
                  <c:v>#N/A</c:v>
                </c:pt>
                <c:pt idx="24824">
                  <c:v>#N/A</c:v>
                </c:pt>
                <c:pt idx="24825">
                  <c:v>#N/A</c:v>
                </c:pt>
                <c:pt idx="24826">
                  <c:v>#N/A</c:v>
                </c:pt>
                <c:pt idx="24827">
                  <c:v>#N/A</c:v>
                </c:pt>
                <c:pt idx="24828">
                  <c:v>#N/A</c:v>
                </c:pt>
                <c:pt idx="24829">
                  <c:v>#N/A</c:v>
                </c:pt>
                <c:pt idx="24830">
                  <c:v>#N/A</c:v>
                </c:pt>
                <c:pt idx="24831">
                  <c:v>#N/A</c:v>
                </c:pt>
                <c:pt idx="24832">
                  <c:v>#N/A</c:v>
                </c:pt>
                <c:pt idx="24833">
                  <c:v>#N/A</c:v>
                </c:pt>
                <c:pt idx="24834">
                  <c:v>#N/A</c:v>
                </c:pt>
                <c:pt idx="24835">
                  <c:v>#N/A</c:v>
                </c:pt>
                <c:pt idx="24836">
                  <c:v>#N/A</c:v>
                </c:pt>
                <c:pt idx="24837">
                  <c:v>#N/A</c:v>
                </c:pt>
                <c:pt idx="24838">
                  <c:v>#N/A</c:v>
                </c:pt>
                <c:pt idx="24839">
                  <c:v>#N/A</c:v>
                </c:pt>
                <c:pt idx="24840">
                  <c:v>#N/A</c:v>
                </c:pt>
                <c:pt idx="24841">
                  <c:v>#N/A</c:v>
                </c:pt>
                <c:pt idx="24842">
                  <c:v>#N/A</c:v>
                </c:pt>
                <c:pt idx="24843">
                  <c:v>#N/A</c:v>
                </c:pt>
                <c:pt idx="24844">
                  <c:v>#N/A</c:v>
                </c:pt>
                <c:pt idx="24845">
                  <c:v>#N/A</c:v>
                </c:pt>
                <c:pt idx="24846">
                  <c:v>#N/A</c:v>
                </c:pt>
                <c:pt idx="24847">
                  <c:v>#N/A</c:v>
                </c:pt>
                <c:pt idx="24848">
                  <c:v>#N/A</c:v>
                </c:pt>
                <c:pt idx="24849">
                  <c:v>#N/A</c:v>
                </c:pt>
                <c:pt idx="24850">
                  <c:v>#N/A</c:v>
                </c:pt>
                <c:pt idx="24851">
                  <c:v>#N/A</c:v>
                </c:pt>
                <c:pt idx="24852">
                  <c:v>#N/A</c:v>
                </c:pt>
                <c:pt idx="24853">
                  <c:v>#N/A</c:v>
                </c:pt>
                <c:pt idx="24854">
                  <c:v>#N/A</c:v>
                </c:pt>
                <c:pt idx="24855">
                  <c:v>#N/A</c:v>
                </c:pt>
                <c:pt idx="24856">
                  <c:v>#N/A</c:v>
                </c:pt>
                <c:pt idx="24857">
                  <c:v>#N/A</c:v>
                </c:pt>
                <c:pt idx="24858">
                  <c:v>#N/A</c:v>
                </c:pt>
                <c:pt idx="24859">
                  <c:v>#N/A</c:v>
                </c:pt>
                <c:pt idx="24860">
                  <c:v>#N/A</c:v>
                </c:pt>
                <c:pt idx="24861">
                  <c:v>#N/A</c:v>
                </c:pt>
                <c:pt idx="24862">
                  <c:v>#N/A</c:v>
                </c:pt>
                <c:pt idx="24863">
                  <c:v>#N/A</c:v>
                </c:pt>
                <c:pt idx="24864">
                  <c:v>#N/A</c:v>
                </c:pt>
                <c:pt idx="24865">
                  <c:v>#N/A</c:v>
                </c:pt>
                <c:pt idx="24866">
                  <c:v>#N/A</c:v>
                </c:pt>
                <c:pt idx="24867">
                  <c:v>#N/A</c:v>
                </c:pt>
                <c:pt idx="24868">
                  <c:v>#N/A</c:v>
                </c:pt>
                <c:pt idx="24869">
                  <c:v>#N/A</c:v>
                </c:pt>
                <c:pt idx="24870">
                  <c:v>#N/A</c:v>
                </c:pt>
                <c:pt idx="24871">
                  <c:v>#N/A</c:v>
                </c:pt>
                <c:pt idx="24872">
                  <c:v>#N/A</c:v>
                </c:pt>
                <c:pt idx="24873">
                  <c:v>#N/A</c:v>
                </c:pt>
                <c:pt idx="24874">
                  <c:v>#N/A</c:v>
                </c:pt>
                <c:pt idx="24875">
                  <c:v>#N/A</c:v>
                </c:pt>
                <c:pt idx="24876">
                  <c:v>#N/A</c:v>
                </c:pt>
                <c:pt idx="24877">
                  <c:v>#N/A</c:v>
                </c:pt>
                <c:pt idx="24878">
                  <c:v>#N/A</c:v>
                </c:pt>
                <c:pt idx="24879">
                  <c:v>#N/A</c:v>
                </c:pt>
                <c:pt idx="24880">
                  <c:v>#N/A</c:v>
                </c:pt>
                <c:pt idx="24881">
                  <c:v>#N/A</c:v>
                </c:pt>
                <c:pt idx="24882">
                  <c:v>#N/A</c:v>
                </c:pt>
                <c:pt idx="24883">
                  <c:v>#N/A</c:v>
                </c:pt>
                <c:pt idx="24884">
                  <c:v>#N/A</c:v>
                </c:pt>
                <c:pt idx="24885">
                  <c:v>#N/A</c:v>
                </c:pt>
                <c:pt idx="24886">
                  <c:v>#N/A</c:v>
                </c:pt>
                <c:pt idx="24887">
                  <c:v>#N/A</c:v>
                </c:pt>
                <c:pt idx="24888">
                  <c:v>#N/A</c:v>
                </c:pt>
                <c:pt idx="24889">
                  <c:v>#N/A</c:v>
                </c:pt>
                <c:pt idx="24890">
                  <c:v>#N/A</c:v>
                </c:pt>
                <c:pt idx="24891">
                  <c:v>#N/A</c:v>
                </c:pt>
                <c:pt idx="24892">
                  <c:v>#N/A</c:v>
                </c:pt>
                <c:pt idx="24893">
                  <c:v>#N/A</c:v>
                </c:pt>
                <c:pt idx="24894">
                  <c:v>#N/A</c:v>
                </c:pt>
                <c:pt idx="24895">
                  <c:v>#N/A</c:v>
                </c:pt>
                <c:pt idx="24896">
                  <c:v>#N/A</c:v>
                </c:pt>
                <c:pt idx="24897">
                  <c:v>#N/A</c:v>
                </c:pt>
                <c:pt idx="24898">
                  <c:v>#N/A</c:v>
                </c:pt>
                <c:pt idx="24899">
                  <c:v>#N/A</c:v>
                </c:pt>
                <c:pt idx="24900">
                  <c:v>#N/A</c:v>
                </c:pt>
                <c:pt idx="24901">
                  <c:v>#N/A</c:v>
                </c:pt>
                <c:pt idx="24902">
                  <c:v>#N/A</c:v>
                </c:pt>
                <c:pt idx="24903">
                  <c:v>#N/A</c:v>
                </c:pt>
                <c:pt idx="24904">
                  <c:v>#N/A</c:v>
                </c:pt>
                <c:pt idx="24905">
                  <c:v>#N/A</c:v>
                </c:pt>
                <c:pt idx="24906">
                  <c:v>#N/A</c:v>
                </c:pt>
                <c:pt idx="24907">
                  <c:v>#N/A</c:v>
                </c:pt>
                <c:pt idx="24908">
                  <c:v>#N/A</c:v>
                </c:pt>
                <c:pt idx="24909">
                  <c:v>#N/A</c:v>
                </c:pt>
                <c:pt idx="24910">
                  <c:v>#N/A</c:v>
                </c:pt>
                <c:pt idx="24911">
                  <c:v>#N/A</c:v>
                </c:pt>
                <c:pt idx="24912">
                  <c:v>#N/A</c:v>
                </c:pt>
                <c:pt idx="24913">
                  <c:v>#N/A</c:v>
                </c:pt>
                <c:pt idx="24914">
                  <c:v>#N/A</c:v>
                </c:pt>
                <c:pt idx="24915">
                  <c:v>#N/A</c:v>
                </c:pt>
                <c:pt idx="24916">
                  <c:v>#N/A</c:v>
                </c:pt>
                <c:pt idx="24917">
                  <c:v>#N/A</c:v>
                </c:pt>
                <c:pt idx="24918">
                  <c:v>#N/A</c:v>
                </c:pt>
                <c:pt idx="24919">
                  <c:v>#N/A</c:v>
                </c:pt>
                <c:pt idx="24920">
                  <c:v>#N/A</c:v>
                </c:pt>
                <c:pt idx="24921">
                  <c:v>#N/A</c:v>
                </c:pt>
                <c:pt idx="24922">
                  <c:v>#N/A</c:v>
                </c:pt>
                <c:pt idx="24923">
                  <c:v>#N/A</c:v>
                </c:pt>
                <c:pt idx="24924">
                  <c:v>#N/A</c:v>
                </c:pt>
                <c:pt idx="24925">
                  <c:v>#N/A</c:v>
                </c:pt>
                <c:pt idx="24926">
                  <c:v>#N/A</c:v>
                </c:pt>
                <c:pt idx="24927">
                  <c:v>#N/A</c:v>
                </c:pt>
                <c:pt idx="24928">
                  <c:v>#N/A</c:v>
                </c:pt>
                <c:pt idx="24929">
                  <c:v>#N/A</c:v>
                </c:pt>
                <c:pt idx="24930">
                  <c:v>#N/A</c:v>
                </c:pt>
                <c:pt idx="24931">
                  <c:v>#N/A</c:v>
                </c:pt>
                <c:pt idx="24932">
                  <c:v>#N/A</c:v>
                </c:pt>
                <c:pt idx="24933">
                  <c:v>#N/A</c:v>
                </c:pt>
                <c:pt idx="24934">
                  <c:v>#N/A</c:v>
                </c:pt>
                <c:pt idx="24935">
                  <c:v>#N/A</c:v>
                </c:pt>
                <c:pt idx="24936">
                  <c:v>#N/A</c:v>
                </c:pt>
                <c:pt idx="24937">
                  <c:v>#N/A</c:v>
                </c:pt>
                <c:pt idx="24938">
                  <c:v>#N/A</c:v>
                </c:pt>
                <c:pt idx="24939">
                  <c:v>#N/A</c:v>
                </c:pt>
                <c:pt idx="24940">
                  <c:v>#N/A</c:v>
                </c:pt>
                <c:pt idx="24941">
                  <c:v>#N/A</c:v>
                </c:pt>
                <c:pt idx="24942">
                  <c:v>#N/A</c:v>
                </c:pt>
                <c:pt idx="24943">
                  <c:v>#N/A</c:v>
                </c:pt>
                <c:pt idx="24944">
                  <c:v>#N/A</c:v>
                </c:pt>
                <c:pt idx="24945">
                  <c:v>#N/A</c:v>
                </c:pt>
                <c:pt idx="24946">
                  <c:v>#N/A</c:v>
                </c:pt>
                <c:pt idx="24947">
                  <c:v>#N/A</c:v>
                </c:pt>
                <c:pt idx="24948">
                  <c:v>#N/A</c:v>
                </c:pt>
                <c:pt idx="24949">
                  <c:v>#N/A</c:v>
                </c:pt>
                <c:pt idx="24950">
                  <c:v>#N/A</c:v>
                </c:pt>
                <c:pt idx="24951">
                  <c:v>#N/A</c:v>
                </c:pt>
                <c:pt idx="24952">
                  <c:v>#N/A</c:v>
                </c:pt>
                <c:pt idx="24953">
                  <c:v>#N/A</c:v>
                </c:pt>
                <c:pt idx="24954">
                  <c:v>#N/A</c:v>
                </c:pt>
                <c:pt idx="24955">
                  <c:v>#N/A</c:v>
                </c:pt>
                <c:pt idx="24956">
                  <c:v>#N/A</c:v>
                </c:pt>
                <c:pt idx="24957">
                  <c:v>#N/A</c:v>
                </c:pt>
                <c:pt idx="24958">
                  <c:v>#N/A</c:v>
                </c:pt>
                <c:pt idx="24959">
                  <c:v>#N/A</c:v>
                </c:pt>
                <c:pt idx="24960">
                  <c:v>#N/A</c:v>
                </c:pt>
                <c:pt idx="24961">
                  <c:v>#N/A</c:v>
                </c:pt>
                <c:pt idx="24962">
                  <c:v>#N/A</c:v>
                </c:pt>
                <c:pt idx="24963">
                  <c:v>#N/A</c:v>
                </c:pt>
                <c:pt idx="24964">
                  <c:v>#N/A</c:v>
                </c:pt>
                <c:pt idx="24965">
                  <c:v>#N/A</c:v>
                </c:pt>
                <c:pt idx="24966">
                  <c:v>#N/A</c:v>
                </c:pt>
                <c:pt idx="24967">
                  <c:v>#N/A</c:v>
                </c:pt>
                <c:pt idx="24968">
                  <c:v>#N/A</c:v>
                </c:pt>
                <c:pt idx="24969">
                  <c:v>#N/A</c:v>
                </c:pt>
                <c:pt idx="24970">
                  <c:v>#N/A</c:v>
                </c:pt>
                <c:pt idx="24971">
                  <c:v>#N/A</c:v>
                </c:pt>
                <c:pt idx="24972">
                  <c:v>#N/A</c:v>
                </c:pt>
                <c:pt idx="24973">
                  <c:v>#N/A</c:v>
                </c:pt>
                <c:pt idx="24974">
                  <c:v>#N/A</c:v>
                </c:pt>
                <c:pt idx="24975">
                  <c:v>#N/A</c:v>
                </c:pt>
                <c:pt idx="24976">
                  <c:v>#N/A</c:v>
                </c:pt>
                <c:pt idx="24977">
                  <c:v>#N/A</c:v>
                </c:pt>
                <c:pt idx="24978">
                  <c:v>#N/A</c:v>
                </c:pt>
                <c:pt idx="24979">
                  <c:v>#N/A</c:v>
                </c:pt>
                <c:pt idx="24980">
                  <c:v>#N/A</c:v>
                </c:pt>
                <c:pt idx="24981">
                  <c:v>#N/A</c:v>
                </c:pt>
                <c:pt idx="24982">
                  <c:v>#N/A</c:v>
                </c:pt>
                <c:pt idx="24983">
                  <c:v>#N/A</c:v>
                </c:pt>
                <c:pt idx="24984">
                  <c:v>#N/A</c:v>
                </c:pt>
                <c:pt idx="24985">
                  <c:v>#N/A</c:v>
                </c:pt>
                <c:pt idx="24986">
                  <c:v>#N/A</c:v>
                </c:pt>
                <c:pt idx="24987">
                  <c:v>#N/A</c:v>
                </c:pt>
                <c:pt idx="24988">
                  <c:v>#N/A</c:v>
                </c:pt>
                <c:pt idx="24989">
                  <c:v>#N/A</c:v>
                </c:pt>
                <c:pt idx="24990">
                  <c:v>#N/A</c:v>
                </c:pt>
                <c:pt idx="24991">
                  <c:v>#N/A</c:v>
                </c:pt>
                <c:pt idx="24992">
                  <c:v>#N/A</c:v>
                </c:pt>
                <c:pt idx="24993">
                  <c:v>#N/A</c:v>
                </c:pt>
                <c:pt idx="24994">
                  <c:v>#N/A</c:v>
                </c:pt>
                <c:pt idx="24995">
                  <c:v>#N/A</c:v>
                </c:pt>
                <c:pt idx="24996">
                  <c:v>#N/A</c:v>
                </c:pt>
                <c:pt idx="24997">
                  <c:v>#N/A</c:v>
                </c:pt>
                <c:pt idx="24998">
                  <c:v>#N/A</c:v>
                </c:pt>
                <c:pt idx="24999">
                  <c:v>#N/A</c:v>
                </c:pt>
                <c:pt idx="25000">
                  <c:v>#N/A</c:v>
                </c:pt>
                <c:pt idx="25001">
                  <c:v>#N/A</c:v>
                </c:pt>
                <c:pt idx="25002">
                  <c:v>#N/A</c:v>
                </c:pt>
                <c:pt idx="25003">
                  <c:v>#N/A</c:v>
                </c:pt>
                <c:pt idx="25004">
                  <c:v>#N/A</c:v>
                </c:pt>
                <c:pt idx="25005">
                  <c:v>#N/A</c:v>
                </c:pt>
                <c:pt idx="25006">
                  <c:v>#N/A</c:v>
                </c:pt>
                <c:pt idx="25007">
                  <c:v>#N/A</c:v>
                </c:pt>
                <c:pt idx="25008">
                  <c:v>#N/A</c:v>
                </c:pt>
                <c:pt idx="25009">
                  <c:v>#N/A</c:v>
                </c:pt>
                <c:pt idx="25010">
                  <c:v>#N/A</c:v>
                </c:pt>
                <c:pt idx="25011">
                  <c:v>#N/A</c:v>
                </c:pt>
                <c:pt idx="25012">
                  <c:v>#N/A</c:v>
                </c:pt>
                <c:pt idx="25013">
                  <c:v>#N/A</c:v>
                </c:pt>
                <c:pt idx="25014">
                  <c:v>#N/A</c:v>
                </c:pt>
                <c:pt idx="25015">
                  <c:v>#N/A</c:v>
                </c:pt>
                <c:pt idx="25016">
                  <c:v>#N/A</c:v>
                </c:pt>
                <c:pt idx="25017">
                  <c:v>#N/A</c:v>
                </c:pt>
                <c:pt idx="25018">
                  <c:v>#N/A</c:v>
                </c:pt>
                <c:pt idx="25019">
                  <c:v>#N/A</c:v>
                </c:pt>
                <c:pt idx="25020">
                  <c:v>#N/A</c:v>
                </c:pt>
                <c:pt idx="25021">
                  <c:v>#N/A</c:v>
                </c:pt>
                <c:pt idx="25022">
                  <c:v>#N/A</c:v>
                </c:pt>
                <c:pt idx="25023">
                  <c:v>#N/A</c:v>
                </c:pt>
                <c:pt idx="25024">
                  <c:v>#N/A</c:v>
                </c:pt>
                <c:pt idx="25025">
                  <c:v>#N/A</c:v>
                </c:pt>
                <c:pt idx="25026">
                  <c:v>#N/A</c:v>
                </c:pt>
                <c:pt idx="25027">
                  <c:v>#N/A</c:v>
                </c:pt>
                <c:pt idx="25028">
                  <c:v>#N/A</c:v>
                </c:pt>
                <c:pt idx="25029">
                  <c:v>#N/A</c:v>
                </c:pt>
                <c:pt idx="25030">
                  <c:v>#N/A</c:v>
                </c:pt>
                <c:pt idx="25031">
                  <c:v>#N/A</c:v>
                </c:pt>
                <c:pt idx="25032">
                  <c:v>#N/A</c:v>
                </c:pt>
                <c:pt idx="25033">
                  <c:v>#N/A</c:v>
                </c:pt>
                <c:pt idx="25034">
                  <c:v>#N/A</c:v>
                </c:pt>
                <c:pt idx="25035">
                  <c:v>#N/A</c:v>
                </c:pt>
                <c:pt idx="25036">
                  <c:v>#N/A</c:v>
                </c:pt>
                <c:pt idx="25037">
                  <c:v>#N/A</c:v>
                </c:pt>
                <c:pt idx="25038">
                  <c:v>#N/A</c:v>
                </c:pt>
                <c:pt idx="25039">
                  <c:v>#N/A</c:v>
                </c:pt>
                <c:pt idx="25040">
                  <c:v>#N/A</c:v>
                </c:pt>
                <c:pt idx="25041">
                  <c:v>#N/A</c:v>
                </c:pt>
                <c:pt idx="25042">
                  <c:v>#N/A</c:v>
                </c:pt>
                <c:pt idx="25043">
                  <c:v>#N/A</c:v>
                </c:pt>
                <c:pt idx="25044">
                  <c:v>#N/A</c:v>
                </c:pt>
                <c:pt idx="25045">
                  <c:v>#N/A</c:v>
                </c:pt>
                <c:pt idx="25046">
                  <c:v>#N/A</c:v>
                </c:pt>
                <c:pt idx="25047">
                  <c:v>#N/A</c:v>
                </c:pt>
                <c:pt idx="25048">
                  <c:v>#N/A</c:v>
                </c:pt>
                <c:pt idx="25049">
                  <c:v>#N/A</c:v>
                </c:pt>
                <c:pt idx="25050">
                  <c:v>#N/A</c:v>
                </c:pt>
                <c:pt idx="25051">
                  <c:v>#N/A</c:v>
                </c:pt>
                <c:pt idx="25052">
                  <c:v>#N/A</c:v>
                </c:pt>
                <c:pt idx="25053">
                  <c:v>#N/A</c:v>
                </c:pt>
                <c:pt idx="25054">
                  <c:v>#N/A</c:v>
                </c:pt>
                <c:pt idx="25055">
                  <c:v>#N/A</c:v>
                </c:pt>
                <c:pt idx="25056">
                  <c:v>#N/A</c:v>
                </c:pt>
                <c:pt idx="25057">
                  <c:v>#N/A</c:v>
                </c:pt>
                <c:pt idx="25058">
                  <c:v>#N/A</c:v>
                </c:pt>
                <c:pt idx="25059">
                  <c:v>#N/A</c:v>
                </c:pt>
                <c:pt idx="25060">
                  <c:v>#N/A</c:v>
                </c:pt>
                <c:pt idx="25061">
                  <c:v>#N/A</c:v>
                </c:pt>
                <c:pt idx="25062">
                  <c:v>#N/A</c:v>
                </c:pt>
                <c:pt idx="25063">
                  <c:v>#N/A</c:v>
                </c:pt>
                <c:pt idx="25064">
                  <c:v>#N/A</c:v>
                </c:pt>
                <c:pt idx="25065">
                  <c:v>#N/A</c:v>
                </c:pt>
                <c:pt idx="25066">
                  <c:v>#N/A</c:v>
                </c:pt>
                <c:pt idx="25067">
                  <c:v>#N/A</c:v>
                </c:pt>
                <c:pt idx="25068">
                  <c:v>#N/A</c:v>
                </c:pt>
                <c:pt idx="25069">
                  <c:v>#N/A</c:v>
                </c:pt>
                <c:pt idx="25070">
                  <c:v>#N/A</c:v>
                </c:pt>
                <c:pt idx="25071">
                  <c:v>#N/A</c:v>
                </c:pt>
                <c:pt idx="25072">
                  <c:v>#N/A</c:v>
                </c:pt>
                <c:pt idx="25073">
                  <c:v>#N/A</c:v>
                </c:pt>
                <c:pt idx="25074">
                  <c:v>#N/A</c:v>
                </c:pt>
                <c:pt idx="25075">
                  <c:v>#N/A</c:v>
                </c:pt>
                <c:pt idx="25076">
                  <c:v>#N/A</c:v>
                </c:pt>
                <c:pt idx="25077">
                  <c:v>#N/A</c:v>
                </c:pt>
                <c:pt idx="25078">
                  <c:v>#N/A</c:v>
                </c:pt>
                <c:pt idx="25079">
                  <c:v>#N/A</c:v>
                </c:pt>
                <c:pt idx="25080">
                  <c:v>#N/A</c:v>
                </c:pt>
                <c:pt idx="25081">
                  <c:v>#N/A</c:v>
                </c:pt>
                <c:pt idx="25082">
                  <c:v>#N/A</c:v>
                </c:pt>
                <c:pt idx="25083">
                  <c:v>#N/A</c:v>
                </c:pt>
                <c:pt idx="25084">
                  <c:v>#N/A</c:v>
                </c:pt>
                <c:pt idx="25085">
                  <c:v>#N/A</c:v>
                </c:pt>
                <c:pt idx="25086">
                  <c:v>#N/A</c:v>
                </c:pt>
                <c:pt idx="25087">
                  <c:v>#N/A</c:v>
                </c:pt>
                <c:pt idx="25088">
                  <c:v>#N/A</c:v>
                </c:pt>
                <c:pt idx="25089">
                  <c:v>#N/A</c:v>
                </c:pt>
                <c:pt idx="25090">
                  <c:v>#N/A</c:v>
                </c:pt>
                <c:pt idx="25091">
                  <c:v>#N/A</c:v>
                </c:pt>
                <c:pt idx="25092">
                  <c:v>#N/A</c:v>
                </c:pt>
                <c:pt idx="25093">
                  <c:v>#N/A</c:v>
                </c:pt>
                <c:pt idx="25094">
                  <c:v>#N/A</c:v>
                </c:pt>
                <c:pt idx="25095">
                  <c:v>#N/A</c:v>
                </c:pt>
                <c:pt idx="25096">
                  <c:v>#N/A</c:v>
                </c:pt>
                <c:pt idx="25097">
                  <c:v>#N/A</c:v>
                </c:pt>
                <c:pt idx="25098">
                  <c:v>#N/A</c:v>
                </c:pt>
                <c:pt idx="25099">
                  <c:v>#N/A</c:v>
                </c:pt>
                <c:pt idx="25100">
                  <c:v>#N/A</c:v>
                </c:pt>
                <c:pt idx="25101">
                  <c:v>#N/A</c:v>
                </c:pt>
                <c:pt idx="25102">
                  <c:v>#N/A</c:v>
                </c:pt>
                <c:pt idx="25103">
                  <c:v>#N/A</c:v>
                </c:pt>
                <c:pt idx="25104">
                  <c:v>#N/A</c:v>
                </c:pt>
                <c:pt idx="25105">
                  <c:v>#N/A</c:v>
                </c:pt>
                <c:pt idx="25106">
                  <c:v>#N/A</c:v>
                </c:pt>
                <c:pt idx="25107">
                  <c:v>#N/A</c:v>
                </c:pt>
                <c:pt idx="25108">
                  <c:v>#N/A</c:v>
                </c:pt>
                <c:pt idx="25109">
                  <c:v>#N/A</c:v>
                </c:pt>
                <c:pt idx="25110">
                  <c:v>#N/A</c:v>
                </c:pt>
                <c:pt idx="25111">
                  <c:v>#N/A</c:v>
                </c:pt>
                <c:pt idx="25112">
                  <c:v>#N/A</c:v>
                </c:pt>
                <c:pt idx="25113">
                  <c:v>#N/A</c:v>
                </c:pt>
                <c:pt idx="25114">
                  <c:v>#N/A</c:v>
                </c:pt>
                <c:pt idx="25115">
                  <c:v>#N/A</c:v>
                </c:pt>
                <c:pt idx="25116">
                  <c:v>#N/A</c:v>
                </c:pt>
                <c:pt idx="25117">
                  <c:v>#N/A</c:v>
                </c:pt>
                <c:pt idx="25118">
                  <c:v>#N/A</c:v>
                </c:pt>
                <c:pt idx="25119">
                  <c:v>#N/A</c:v>
                </c:pt>
                <c:pt idx="25120">
                  <c:v>#N/A</c:v>
                </c:pt>
                <c:pt idx="25121">
                  <c:v>#N/A</c:v>
                </c:pt>
                <c:pt idx="25122">
                  <c:v>#N/A</c:v>
                </c:pt>
                <c:pt idx="25123">
                  <c:v>#N/A</c:v>
                </c:pt>
                <c:pt idx="25124">
                  <c:v>#N/A</c:v>
                </c:pt>
                <c:pt idx="25125">
                  <c:v>#N/A</c:v>
                </c:pt>
                <c:pt idx="25126">
                  <c:v>#N/A</c:v>
                </c:pt>
                <c:pt idx="25127">
                  <c:v>#N/A</c:v>
                </c:pt>
                <c:pt idx="25128">
                  <c:v>#N/A</c:v>
                </c:pt>
                <c:pt idx="25129">
                  <c:v>#N/A</c:v>
                </c:pt>
                <c:pt idx="25130">
                  <c:v>#N/A</c:v>
                </c:pt>
                <c:pt idx="25131">
                  <c:v>#N/A</c:v>
                </c:pt>
                <c:pt idx="25132">
                  <c:v>#N/A</c:v>
                </c:pt>
                <c:pt idx="25133">
                  <c:v>#N/A</c:v>
                </c:pt>
                <c:pt idx="25134">
                  <c:v>#N/A</c:v>
                </c:pt>
                <c:pt idx="25135">
                  <c:v>#N/A</c:v>
                </c:pt>
                <c:pt idx="25136">
                  <c:v>#N/A</c:v>
                </c:pt>
                <c:pt idx="25137">
                  <c:v>#N/A</c:v>
                </c:pt>
                <c:pt idx="25138">
                  <c:v>#N/A</c:v>
                </c:pt>
                <c:pt idx="25139">
                  <c:v>#N/A</c:v>
                </c:pt>
                <c:pt idx="25140">
                  <c:v>#N/A</c:v>
                </c:pt>
                <c:pt idx="25141">
                  <c:v>#N/A</c:v>
                </c:pt>
                <c:pt idx="25142">
                  <c:v>#N/A</c:v>
                </c:pt>
                <c:pt idx="25143">
                  <c:v>#N/A</c:v>
                </c:pt>
                <c:pt idx="25144">
                  <c:v>#N/A</c:v>
                </c:pt>
                <c:pt idx="25145">
                  <c:v>#N/A</c:v>
                </c:pt>
                <c:pt idx="25146">
                  <c:v>#N/A</c:v>
                </c:pt>
                <c:pt idx="25147">
                  <c:v>#N/A</c:v>
                </c:pt>
                <c:pt idx="25148">
                  <c:v>#N/A</c:v>
                </c:pt>
                <c:pt idx="25149">
                  <c:v>#N/A</c:v>
                </c:pt>
                <c:pt idx="25150">
                  <c:v>#N/A</c:v>
                </c:pt>
                <c:pt idx="25151">
                  <c:v>#N/A</c:v>
                </c:pt>
                <c:pt idx="25152">
                  <c:v>#N/A</c:v>
                </c:pt>
                <c:pt idx="25153">
                  <c:v>#N/A</c:v>
                </c:pt>
                <c:pt idx="25154">
                  <c:v>#N/A</c:v>
                </c:pt>
                <c:pt idx="25155">
                  <c:v>#N/A</c:v>
                </c:pt>
                <c:pt idx="25156">
                  <c:v>#N/A</c:v>
                </c:pt>
                <c:pt idx="25157">
                  <c:v>#N/A</c:v>
                </c:pt>
                <c:pt idx="25158">
                  <c:v>#N/A</c:v>
                </c:pt>
                <c:pt idx="25159">
                  <c:v>#N/A</c:v>
                </c:pt>
                <c:pt idx="25160">
                  <c:v>#N/A</c:v>
                </c:pt>
                <c:pt idx="25161">
                  <c:v>#N/A</c:v>
                </c:pt>
                <c:pt idx="25162">
                  <c:v>#N/A</c:v>
                </c:pt>
                <c:pt idx="25163">
                  <c:v>#N/A</c:v>
                </c:pt>
                <c:pt idx="25164">
                  <c:v>#N/A</c:v>
                </c:pt>
                <c:pt idx="25165">
                  <c:v>#N/A</c:v>
                </c:pt>
                <c:pt idx="25166">
                  <c:v>#N/A</c:v>
                </c:pt>
                <c:pt idx="25167">
                  <c:v>#N/A</c:v>
                </c:pt>
                <c:pt idx="25168">
                  <c:v>#N/A</c:v>
                </c:pt>
                <c:pt idx="25169">
                  <c:v>#N/A</c:v>
                </c:pt>
                <c:pt idx="25170">
                  <c:v>#N/A</c:v>
                </c:pt>
                <c:pt idx="25171">
                  <c:v>#N/A</c:v>
                </c:pt>
                <c:pt idx="25172">
                  <c:v>#N/A</c:v>
                </c:pt>
                <c:pt idx="25173">
                  <c:v>#N/A</c:v>
                </c:pt>
                <c:pt idx="25174">
                  <c:v>#N/A</c:v>
                </c:pt>
                <c:pt idx="25175">
                  <c:v>#N/A</c:v>
                </c:pt>
                <c:pt idx="25176">
                  <c:v>#N/A</c:v>
                </c:pt>
                <c:pt idx="25177">
                  <c:v>#N/A</c:v>
                </c:pt>
                <c:pt idx="25178">
                  <c:v>#N/A</c:v>
                </c:pt>
                <c:pt idx="25179">
                  <c:v>#N/A</c:v>
                </c:pt>
                <c:pt idx="25180">
                  <c:v>#N/A</c:v>
                </c:pt>
                <c:pt idx="25181">
                  <c:v>#N/A</c:v>
                </c:pt>
                <c:pt idx="25182">
                  <c:v>#N/A</c:v>
                </c:pt>
                <c:pt idx="25183">
                  <c:v>#N/A</c:v>
                </c:pt>
                <c:pt idx="25184">
                  <c:v>#N/A</c:v>
                </c:pt>
                <c:pt idx="25185">
                  <c:v>#N/A</c:v>
                </c:pt>
                <c:pt idx="25186">
                  <c:v>#N/A</c:v>
                </c:pt>
                <c:pt idx="25187">
                  <c:v>#N/A</c:v>
                </c:pt>
                <c:pt idx="25188">
                  <c:v>#N/A</c:v>
                </c:pt>
                <c:pt idx="25189">
                  <c:v>#N/A</c:v>
                </c:pt>
                <c:pt idx="25190">
                  <c:v>#N/A</c:v>
                </c:pt>
                <c:pt idx="25191">
                  <c:v>#N/A</c:v>
                </c:pt>
                <c:pt idx="25192">
                  <c:v>#N/A</c:v>
                </c:pt>
                <c:pt idx="25193">
                  <c:v>#N/A</c:v>
                </c:pt>
                <c:pt idx="25194">
                  <c:v>#N/A</c:v>
                </c:pt>
                <c:pt idx="25195">
                  <c:v>#N/A</c:v>
                </c:pt>
                <c:pt idx="25196">
                  <c:v>#N/A</c:v>
                </c:pt>
                <c:pt idx="25197">
                  <c:v>#N/A</c:v>
                </c:pt>
                <c:pt idx="25198">
                  <c:v>#N/A</c:v>
                </c:pt>
                <c:pt idx="25199">
                  <c:v>#N/A</c:v>
                </c:pt>
                <c:pt idx="25200">
                  <c:v>#N/A</c:v>
                </c:pt>
                <c:pt idx="25201">
                  <c:v>#N/A</c:v>
                </c:pt>
                <c:pt idx="25202">
                  <c:v>#N/A</c:v>
                </c:pt>
                <c:pt idx="25203">
                  <c:v>#N/A</c:v>
                </c:pt>
                <c:pt idx="25204">
                  <c:v>#N/A</c:v>
                </c:pt>
                <c:pt idx="25205">
                  <c:v>#N/A</c:v>
                </c:pt>
                <c:pt idx="25206">
                  <c:v>#N/A</c:v>
                </c:pt>
                <c:pt idx="25207">
                  <c:v>#N/A</c:v>
                </c:pt>
                <c:pt idx="25208">
                  <c:v>#N/A</c:v>
                </c:pt>
                <c:pt idx="25209">
                  <c:v>#N/A</c:v>
                </c:pt>
                <c:pt idx="25210">
                  <c:v>#N/A</c:v>
                </c:pt>
                <c:pt idx="25211">
                  <c:v>#N/A</c:v>
                </c:pt>
                <c:pt idx="25212">
                  <c:v>#N/A</c:v>
                </c:pt>
                <c:pt idx="25213">
                  <c:v>#N/A</c:v>
                </c:pt>
                <c:pt idx="25214">
                  <c:v>#N/A</c:v>
                </c:pt>
                <c:pt idx="25215">
                  <c:v>#N/A</c:v>
                </c:pt>
                <c:pt idx="25216">
                  <c:v>#N/A</c:v>
                </c:pt>
                <c:pt idx="25217">
                  <c:v>#N/A</c:v>
                </c:pt>
                <c:pt idx="25218">
                  <c:v>#N/A</c:v>
                </c:pt>
                <c:pt idx="25219">
                  <c:v>#N/A</c:v>
                </c:pt>
                <c:pt idx="25220">
                  <c:v>#N/A</c:v>
                </c:pt>
                <c:pt idx="25221">
                  <c:v>#N/A</c:v>
                </c:pt>
                <c:pt idx="25222">
                  <c:v>#N/A</c:v>
                </c:pt>
                <c:pt idx="25223">
                  <c:v>#N/A</c:v>
                </c:pt>
                <c:pt idx="25224">
                  <c:v>#N/A</c:v>
                </c:pt>
                <c:pt idx="25225">
                  <c:v>#N/A</c:v>
                </c:pt>
                <c:pt idx="25226">
                  <c:v>#N/A</c:v>
                </c:pt>
                <c:pt idx="25227">
                  <c:v>#N/A</c:v>
                </c:pt>
                <c:pt idx="25228">
                  <c:v>#N/A</c:v>
                </c:pt>
                <c:pt idx="25229">
                  <c:v>#N/A</c:v>
                </c:pt>
                <c:pt idx="25230">
                  <c:v>#N/A</c:v>
                </c:pt>
                <c:pt idx="25231">
                  <c:v>#N/A</c:v>
                </c:pt>
                <c:pt idx="25232">
                  <c:v>#N/A</c:v>
                </c:pt>
                <c:pt idx="25233">
                  <c:v>#N/A</c:v>
                </c:pt>
                <c:pt idx="25234">
                  <c:v>#N/A</c:v>
                </c:pt>
                <c:pt idx="25235">
                  <c:v>#N/A</c:v>
                </c:pt>
                <c:pt idx="25236">
                  <c:v>#N/A</c:v>
                </c:pt>
                <c:pt idx="25237">
                  <c:v>#N/A</c:v>
                </c:pt>
                <c:pt idx="25238">
                  <c:v>#N/A</c:v>
                </c:pt>
                <c:pt idx="25239">
                  <c:v>#N/A</c:v>
                </c:pt>
                <c:pt idx="25240">
                  <c:v>#N/A</c:v>
                </c:pt>
                <c:pt idx="25241">
                  <c:v>#N/A</c:v>
                </c:pt>
                <c:pt idx="25242">
                  <c:v>#N/A</c:v>
                </c:pt>
                <c:pt idx="25243">
                  <c:v>#N/A</c:v>
                </c:pt>
                <c:pt idx="25244">
                  <c:v>#N/A</c:v>
                </c:pt>
              </c:numCache>
            </c:numRef>
          </c:val>
          <c:extLst>
            <c:ext xmlns:c16="http://schemas.microsoft.com/office/drawing/2014/chart" uri="{C3380CC4-5D6E-409C-BE32-E72D297353CC}">
              <c16:uniqueId val="{00000000-398E-4DC7-821E-53CBC4DC9673}"/>
            </c:ext>
          </c:extLst>
        </c:ser>
        <c:dLbls>
          <c:showLegendKey val="0"/>
          <c:showVal val="0"/>
          <c:showCatName val="0"/>
          <c:showSerName val="0"/>
          <c:showPercent val="0"/>
          <c:showBubbleSize val="0"/>
        </c:dLbls>
        <c:axId val="927020303"/>
        <c:axId val="927021967"/>
      </c:areaChart>
      <c:dateAx>
        <c:axId val="927020303"/>
        <c:scaling>
          <c:orientation val="minMax"/>
          <c:min val="12785"/>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months"/>
        <c:majorUnit val="6"/>
        <c:majorTimeUnit val="years"/>
      </c:dateAx>
      <c:valAx>
        <c:axId val="927021967"/>
        <c:scaling>
          <c:orientation val="minMax"/>
          <c:max val="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userShapes r:id="rId5"/>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75061709068084"/>
          <c:y val="3.2407407407407406E-2"/>
          <c:w val="0.64108646953597703"/>
          <c:h val="0.76788604549431316"/>
        </c:manualLayout>
      </c:layout>
      <c:barChart>
        <c:barDir val="bar"/>
        <c:grouping val="clustered"/>
        <c:varyColors val="0"/>
        <c:ser>
          <c:idx val="0"/>
          <c:order val="0"/>
          <c:tx>
            <c:strRef>
              <c:f>combine!$AF$5</c:f>
              <c:strCache>
                <c:ptCount val="1"/>
                <c:pt idx="0">
                  <c:v>S&amp;P 500 Wertentwicklung 8.11.-8.12.2016</c:v>
                </c:pt>
              </c:strCache>
            </c:strRef>
          </c:tx>
          <c:spPr>
            <a:solidFill>
              <a:schemeClr val="accent1"/>
            </a:solidFill>
            <a:ln>
              <a:noFill/>
            </a:ln>
            <a:effectLst/>
          </c:spPr>
          <c:invertIfNegative val="0"/>
          <c:dLbls>
            <c:dLbl>
              <c:idx val="0"/>
              <c:layout>
                <c:manualLayout>
                  <c:x val="-8.8304355184407976E-2"/>
                  <c:y val="1.844025454327216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029-4C74-B2F4-C05C60FBBDDB}"/>
                </c:ext>
              </c:extLst>
            </c:dLbl>
            <c:dLbl>
              <c:idx val="3"/>
              <c:layout>
                <c:manualLayout>
                  <c:x val="-1.315171247427353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029-4C74-B2F4-C05C60FBBDDB}"/>
                </c:ext>
              </c:extLst>
            </c:dLbl>
            <c:dLbl>
              <c:idx val="5"/>
              <c:layout>
                <c:manualLayout>
                  <c:x val="-1.1645393192488264E-2"/>
                  <c:y val="9.037844372115277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029-4C74-B2F4-C05C60FBBDDB}"/>
                </c:ext>
              </c:extLst>
            </c:dLbl>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AD$8:$AD$19</c:f>
              <c:strCache>
                <c:ptCount val="12"/>
                <c:pt idx="0">
                  <c:v>Versorger</c:v>
                </c:pt>
                <c:pt idx="1">
                  <c:v>Immobilien</c:v>
                </c:pt>
                <c:pt idx="2">
                  <c:v>Kommunikation</c:v>
                </c:pt>
                <c:pt idx="3">
                  <c:v>Basiskonsum</c:v>
                </c:pt>
                <c:pt idx="4">
                  <c:v>Energie</c:v>
                </c:pt>
                <c:pt idx="5">
                  <c:v>Gesundheit</c:v>
                </c:pt>
                <c:pt idx="6">
                  <c:v>S&amp;P 500</c:v>
                </c:pt>
                <c:pt idx="7">
                  <c:v>Industrie</c:v>
                </c:pt>
                <c:pt idx="8">
                  <c:v>Grundstoffe</c:v>
                </c:pt>
                <c:pt idx="9">
                  <c:v>Zyklischer Konsum</c:v>
                </c:pt>
                <c:pt idx="10">
                  <c:v>IT</c:v>
                </c:pt>
                <c:pt idx="11">
                  <c:v>Finanzen</c:v>
                </c:pt>
              </c:strCache>
            </c:strRef>
          </c:cat>
          <c:val>
            <c:numRef>
              <c:f>combine!$AF$8:$AF$19</c:f>
              <c:numCache>
                <c:formatCode>0.0%</c:formatCode>
                <c:ptCount val="12"/>
                <c:pt idx="0">
                  <c:v>-3.446069019839515E-2</c:v>
                </c:pt>
                <c:pt idx="1">
                  <c:v>1.0221174867266702E-2</c:v>
                </c:pt>
                <c:pt idx="2">
                  <c:v>8.1003624511814643E-2</c:v>
                </c:pt>
                <c:pt idx="3">
                  <c:v>-2.7393809283883575E-2</c:v>
                </c:pt>
                <c:pt idx="4">
                  <c:v>9.350309848635141E-2</c:v>
                </c:pt>
                <c:pt idx="5">
                  <c:v>-5.1442669419606846E-3</c:v>
                </c:pt>
                <c:pt idx="6">
                  <c:v>5.2136980721904314E-2</c:v>
                </c:pt>
                <c:pt idx="7">
                  <c:v>9.2276136145118981E-2</c:v>
                </c:pt>
                <c:pt idx="8">
                  <c:v>9.0576699351836432E-2</c:v>
                </c:pt>
                <c:pt idx="9">
                  <c:v>6.7458002452585486E-2</c:v>
                </c:pt>
                <c:pt idx="10">
                  <c:v>1.2584255440343473E-2</c:v>
                </c:pt>
                <c:pt idx="11">
                  <c:v>0.18556894545181524</c:v>
                </c:pt>
              </c:numCache>
            </c:numRef>
          </c:val>
          <c:extLst>
            <c:ext xmlns:c16="http://schemas.microsoft.com/office/drawing/2014/chart" uri="{C3380CC4-5D6E-409C-BE32-E72D297353CC}">
              <c16:uniqueId val="{00000003-3029-4C74-B2F4-C05C60FBBDDB}"/>
            </c:ext>
          </c:extLst>
        </c:ser>
        <c:ser>
          <c:idx val="1"/>
          <c:order val="1"/>
          <c:tx>
            <c:strRef>
              <c:f>combine!$AG$5</c:f>
              <c:strCache>
                <c:ptCount val="1"/>
                <c:pt idx="0">
                  <c:v>S&amp;P 500 Wertentwicklung 8.11.-8.2016-26.01.2018</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ombine!$AD$8:$AD$19</c:f>
              <c:strCache>
                <c:ptCount val="12"/>
                <c:pt idx="0">
                  <c:v>Versorger</c:v>
                </c:pt>
                <c:pt idx="1">
                  <c:v>Immobilien</c:v>
                </c:pt>
                <c:pt idx="2">
                  <c:v>Kommunikation</c:v>
                </c:pt>
                <c:pt idx="3">
                  <c:v>Basiskonsum</c:v>
                </c:pt>
                <c:pt idx="4">
                  <c:v>Energie</c:v>
                </c:pt>
                <c:pt idx="5">
                  <c:v>Gesundheit</c:v>
                </c:pt>
                <c:pt idx="6">
                  <c:v>S&amp;P 500</c:v>
                </c:pt>
                <c:pt idx="7">
                  <c:v>Industrie</c:v>
                </c:pt>
                <c:pt idx="8">
                  <c:v>Grundstoffe</c:v>
                </c:pt>
                <c:pt idx="9">
                  <c:v>Zyklischer Konsum</c:v>
                </c:pt>
                <c:pt idx="10">
                  <c:v>IT</c:v>
                </c:pt>
                <c:pt idx="11">
                  <c:v>Finanzen</c:v>
                </c:pt>
              </c:strCache>
            </c:strRef>
          </c:cat>
          <c:val>
            <c:numRef>
              <c:f>combine!$AG$8:$AG$19</c:f>
              <c:numCache>
                <c:formatCode>0.0%</c:formatCode>
                <c:ptCount val="12"/>
                <c:pt idx="0">
                  <c:v>8.414972349398564E-2</c:v>
                </c:pt>
                <c:pt idx="1">
                  <c:v>0.10462508162743833</c:v>
                </c:pt>
                <c:pt idx="2">
                  <c:v>0.13376977325728401</c:v>
                </c:pt>
                <c:pt idx="3">
                  <c:v>0.15772525137461946</c:v>
                </c:pt>
                <c:pt idx="4">
                  <c:v>0.15981420752272801</c:v>
                </c:pt>
                <c:pt idx="5">
                  <c:v>0.37006351594897735</c:v>
                </c:pt>
                <c:pt idx="6">
                  <c:v>0.37551924742553866</c:v>
                </c:pt>
                <c:pt idx="7">
                  <c:v>0.38496250240369201</c:v>
                </c:pt>
                <c:pt idx="8">
                  <c:v>0.38983297324247967</c:v>
                </c:pt>
                <c:pt idx="9">
                  <c:v>0.41226054552165081</c:v>
                </c:pt>
                <c:pt idx="10">
                  <c:v>0.53013153869684904</c:v>
                </c:pt>
                <c:pt idx="11">
                  <c:v>0.54315425911326343</c:v>
                </c:pt>
              </c:numCache>
            </c:numRef>
          </c:val>
          <c:extLst>
            <c:ext xmlns:c16="http://schemas.microsoft.com/office/drawing/2014/chart" uri="{C3380CC4-5D6E-409C-BE32-E72D297353CC}">
              <c16:uniqueId val="{00000004-3029-4C74-B2F4-C05C60FBBDDB}"/>
            </c:ext>
          </c:extLst>
        </c:ser>
        <c:dLbls>
          <c:dLblPos val="outEnd"/>
          <c:showLegendKey val="0"/>
          <c:showVal val="1"/>
          <c:showCatName val="0"/>
          <c:showSerName val="0"/>
          <c:showPercent val="0"/>
          <c:showBubbleSize val="0"/>
        </c:dLbls>
        <c:gapWidth val="182"/>
        <c:axId val="665857903"/>
        <c:axId val="665874223"/>
      </c:barChart>
      <c:catAx>
        <c:axId val="665857903"/>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665874223"/>
        <c:crosses val="autoZero"/>
        <c:auto val="1"/>
        <c:lblAlgn val="ctr"/>
        <c:lblOffset val="100"/>
        <c:noMultiLvlLbl val="0"/>
      </c:catAx>
      <c:valAx>
        <c:axId val="665874223"/>
        <c:scaling>
          <c:orientation val="minMax"/>
          <c:max val="0.60000000000000009"/>
          <c:min val="-0.1"/>
        </c:scaling>
        <c:delete val="1"/>
        <c:axPos val="b"/>
        <c:numFmt formatCode="0%" sourceLinked="0"/>
        <c:majorTickMark val="none"/>
        <c:minorTickMark val="none"/>
        <c:tickLblPos val="nextTo"/>
        <c:crossAx val="665857903"/>
        <c:crosses val="autoZero"/>
        <c:crossBetween val="between"/>
        <c:majorUnit val="0.1"/>
      </c:valAx>
      <c:spPr>
        <a:noFill/>
        <a:ln>
          <a:noFill/>
        </a:ln>
        <a:effectLst/>
      </c:spPr>
    </c:plotArea>
    <c:legend>
      <c:legendPos val="b"/>
      <c:layout>
        <c:manualLayout>
          <c:xMode val="edge"/>
          <c:yMode val="edge"/>
          <c:x val="0.11683249052322467"/>
          <c:y val="0.83969451735199763"/>
          <c:w val="0.80463419599099106"/>
          <c:h val="0.132952391367745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02340332458446"/>
          <c:y val="5.0925925925925923E-2"/>
          <c:w val="0.73658770778652682"/>
          <c:h val="0.77685583805208258"/>
        </c:manualLayout>
      </c:layout>
      <c:barChart>
        <c:barDir val="bar"/>
        <c:grouping val="clustered"/>
        <c:varyColors val="0"/>
        <c:ser>
          <c:idx val="0"/>
          <c:order val="0"/>
          <c:spPr>
            <a:solidFill>
              <a:schemeClr val="accent1"/>
            </a:solidFill>
            <a:ln>
              <a:noFill/>
            </a:ln>
            <a:effectLst/>
          </c:spPr>
          <c:invertIfNegative val="0"/>
          <c:dPt>
            <c:idx val="5"/>
            <c:invertIfNegative val="0"/>
            <c:bubble3D val="0"/>
            <c:spPr>
              <a:solidFill>
                <a:schemeClr val="accent1"/>
              </a:solidFill>
              <a:ln>
                <a:noFill/>
              </a:ln>
              <a:effectLst/>
            </c:spPr>
            <c:extLst>
              <c:ext xmlns:c16="http://schemas.microsoft.com/office/drawing/2014/chart" uri="{C3380CC4-5D6E-409C-BE32-E72D297353CC}">
                <c16:uniqueId val="{00000001-A16B-4615-B5C3-18C25B9FC288}"/>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3-A16B-4615-B5C3-18C25B9FC288}"/>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5-A16B-4615-B5C3-18C25B9FC288}"/>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7-A16B-4615-B5C3-18C25B9FC288}"/>
              </c:ext>
            </c:extLst>
          </c:dPt>
          <c:dLbls>
            <c:dLbl>
              <c:idx val="0"/>
              <c:layout>
                <c:manualLayout>
                  <c:x val="-2.7777340332458416E-2"/>
                  <c:y val="4.629629629629544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16B-4615-B5C3-18C25B9FC288}"/>
                </c:ext>
              </c:extLst>
            </c:dLbl>
            <c:dLbl>
              <c:idx val="1"/>
              <c:layout>
                <c:manualLayout>
                  <c:x val="-2.2222222222222223E-2"/>
                  <c:y val="-8.4875562720133283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16B-4615-B5C3-18C25B9FC288}"/>
                </c:ext>
              </c:extLst>
            </c:dLbl>
            <c:dLbl>
              <c:idx val="2"/>
              <c:layout>
                <c:manualLayout>
                  <c:x val="-5.5555555555555809E-3"/>
                  <c:y val="4.629629629629629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16B-4615-B5C3-18C25B9FC288}"/>
                </c:ext>
              </c:extLst>
            </c:dLbl>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5th nov 2024'!$Z$8:$Z$19</c:f>
              <c:strCache>
                <c:ptCount val="12"/>
                <c:pt idx="0">
                  <c:v>Immobilien</c:v>
                </c:pt>
                <c:pt idx="1">
                  <c:v>Basiskonsum</c:v>
                </c:pt>
                <c:pt idx="2">
                  <c:v>Grundstoffe</c:v>
                </c:pt>
                <c:pt idx="3">
                  <c:v>Gesundheit</c:v>
                </c:pt>
                <c:pt idx="4">
                  <c:v>Versorger</c:v>
                </c:pt>
                <c:pt idx="5">
                  <c:v>IT</c:v>
                </c:pt>
                <c:pt idx="6">
                  <c:v>S&amp;P500</c:v>
                </c:pt>
                <c:pt idx="7">
                  <c:v>Energie</c:v>
                </c:pt>
                <c:pt idx="8">
                  <c:v>Kommunikation</c:v>
                </c:pt>
                <c:pt idx="9">
                  <c:v>Industrie</c:v>
                </c:pt>
                <c:pt idx="10">
                  <c:v>Finanzen</c:v>
                </c:pt>
                <c:pt idx="11">
                  <c:v>Zyklischer Konsum</c:v>
                </c:pt>
              </c:strCache>
            </c:strRef>
          </c:cat>
          <c:val>
            <c:numRef>
              <c:f>'5th nov 2024'!$AB$8:$AB$19</c:f>
              <c:numCache>
                <c:formatCode>0.0%</c:formatCode>
                <c:ptCount val="12"/>
                <c:pt idx="0">
                  <c:v>-1.5964486020571877E-2</c:v>
                </c:pt>
                <c:pt idx="1">
                  <c:v>1.329971411829467E-2</c:v>
                </c:pt>
                <c:pt idx="2">
                  <c:v>1.9280477488485825E-2</c:v>
                </c:pt>
                <c:pt idx="3">
                  <c:v>1.9572368421052699E-2</c:v>
                </c:pt>
                <c:pt idx="4">
                  <c:v>2.0255439940729314E-2</c:v>
                </c:pt>
                <c:pt idx="5">
                  <c:v>2.5278627622377536E-2</c:v>
                </c:pt>
                <c:pt idx="6">
                  <c:v>3.6412535374974686E-2</c:v>
                </c:pt>
                <c:pt idx="7">
                  <c:v>4.1990693272340174E-2</c:v>
                </c:pt>
                <c:pt idx="8">
                  <c:v>5.0835102842835767E-2</c:v>
                </c:pt>
                <c:pt idx="9">
                  <c:v>5.4616983444847333E-2</c:v>
                </c:pt>
                <c:pt idx="10">
                  <c:v>7.8941977667317476E-2</c:v>
                </c:pt>
                <c:pt idx="11">
                  <c:v>9.2869986121461023E-2</c:v>
                </c:pt>
              </c:numCache>
            </c:numRef>
          </c:val>
          <c:extLst>
            <c:ext xmlns:c16="http://schemas.microsoft.com/office/drawing/2014/chart" uri="{C3380CC4-5D6E-409C-BE32-E72D297353CC}">
              <c16:uniqueId val="{0000000B-A16B-4615-B5C3-18C25B9FC288}"/>
            </c:ext>
          </c:extLst>
        </c:ser>
        <c:dLbls>
          <c:dLblPos val="outEnd"/>
          <c:showLegendKey val="0"/>
          <c:showVal val="1"/>
          <c:showCatName val="0"/>
          <c:showSerName val="0"/>
          <c:showPercent val="0"/>
          <c:showBubbleSize val="0"/>
        </c:dLbls>
        <c:gapWidth val="182"/>
        <c:axId val="665857903"/>
        <c:axId val="665874223"/>
      </c:barChart>
      <c:catAx>
        <c:axId val="665857903"/>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665874223"/>
        <c:crosses val="autoZero"/>
        <c:auto val="1"/>
        <c:lblAlgn val="ctr"/>
        <c:lblOffset val="100"/>
        <c:noMultiLvlLbl val="0"/>
      </c:catAx>
      <c:valAx>
        <c:axId val="665874223"/>
        <c:scaling>
          <c:orientation val="minMax"/>
          <c:max val="0.15000000000000002"/>
          <c:min val="-5.000000000000001E-2"/>
        </c:scaling>
        <c:delete val="1"/>
        <c:axPos val="b"/>
        <c:title>
          <c:tx>
            <c:rich>
              <a:bodyPr rot="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en-US" dirty="0"/>
                  <a:t>S&amp;P 500 </a:t>
                </a:r>
                <a:r>
                  <a:rPr lang="en-US" dirty="0" err="1"/>
                  <a:t>Wertentwicklung</a:t>
                </a:r>
                <a:r>
                  <a:rPr lang="en-US" dirty="0"/>
                  <a:t> </a:t>
                </a:r>
                <a:r>
                  <a:rPr lang="en-US" dirty="0" err="1"/>
                  <a:t>seit</a:t>
                </a:r>
                <a:r>
                  <a:rPr lang="en-US" dirty="0"/>
                  <a:t> 5.11.2024</a:t>
                </a:r>
              </a:p>
            </c:rich>
          </c:tx>
          <c:layout>
            <c:manualLayout>
              <c:xMode val="edge"/>
              <c:yMode val="edge"/>
              <c:x val="0.15314220126872854"/>
              <c:y val="0.8618817266138724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title>
        <c:numFmt formatCode="0%" sourceLinked="0"/>
        <c:majorTickMark val="none"/>
        <c:minorTickMark val="none"/>
        <c:tickLblPos val="nextTo"/>
        <c:crossAx val="665857903"/>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de-DE" sz="12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de-DE" noProof="0"/>
              <a:t>Jährliches globales BIP-Wachstum, IWF-Prognosen für 2024-2029</a:t>
            </a:r>
          </a:p>
        </c:rich>
      </c:tx>
      <c:overlay val="0"/>
      <c:spPr>
        <a:noFill/>
        <a:ln>
          <a:noFill/>
        </a:ln>
        <a:effectLst/>
      </c:spPr>
      <c:txPr>
        <a:bodyPr rot="0" spcFirstLastPara="1" vertOverflow="ellipsis" vert="horz" wrap="square" anchor="ctr" anchorCtr="1"/>
        <a:lstStyle/>
        <a:p>
          <a:pPr>
            <a:defRPr lang="de-DE" sz="12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title>
    <c:autoTitleDeleted val="0"/>
    <c:plotArea>
      <c:layout/>
      <c:lineChart>
        <c:grouping val="standard"/>
        <c:varyColors val="0"/>
        <c:ser>
          <c:idx val="1"/>
          <c:order val="0"/>
          <c:tx>
            <c:strRef>
              <c:f>Sheet1!$T$3</c:f>
              <c:strCache>
                <c:ptCount val="1"/>
                <c:pt idx="0">
                  <c:v>Industrieländer</c:v>
                </c:pt>
              </c:strCache>
            </c:strRef>
          </c:tx>
          <c:spPr>
            <a:ln w="28575" cap="rnd">
              <a:solidFill>
                <a:schemeClr val="accent2"/>
              </a:solidFill>
              <a:round/>
            </a:ln>
            <a:effectLst/>
          </c:spPr>
          <c:marker>
            <c:symbol val="none"/>
          </c:marker>
          <c:trendline>
            <c:spPr>
              <a:ln w="19050" cap="rnd">
                <a:solidFill>
                  <a:schemeClr val="accent2"/>
                </a:solidFill>
                <a:prstDash val="sysDot"/>
              </a:ln>
              <a:effectLst/>
            </c:spPr>
            <c:trendlineType val="linear"/>
            <c:dispRSqr val="0"/>
            <c:dispEq val="0"/>
          </c:trendline>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T$25:$T$54</c:f>
              <c:numCache>
                <c:formatCode>General</c:formatCode>
                <c:ptCount val="30"/>
                <c:pt idx="0">
                  <c:v>4.2000000000000003E-2</c:v>
                </c:pt>
                <c:pt idx="1">
                  <c:v>1.6E-2</c:v>
                </c:pt>
                <c:pt idx="2">
                  <c:v>1.6E-2</c:v>
                </c:pt>
                <c:pt idx="3">
                  <c:v>0.02</c:v>
                </c:pt>
                <c:pt idx="4">
                  <c:v>3.3000000000000002E-2</c:v>
                </c:pt>
                <c:pt idx="5">
                  <c:v>2.8000000000000001E-2</c:v>
                </c:pt>
                <c:pt idx="6">
                  <c:v>3.1E-2</c:v>
                </c:pt>
                <c:pt idx="7">
                  <c:v>2.8000000000000001E-2</c:v>
                </c:pt>
                <c:pt idx="8">
                  <c:v>3.0000000000000001E-3</c:v>
                </c:pt>
                <c:pt idx="9">
                  <c:v>-3.4000000000000002E-2</c:v>
                </c:pt>
                <c:pt idx="10">
                  <c:v>3.1E-2</c:v>
                </c:pt>
                <c:pt idx="11">
                  <c:v>1.7999999999999999E-2</c:v>
                </c:pt>
                <c:pt idx="12">
                  <c:v>1.2E-2</c:v>
                </c:pt>
                <c:pt idx="13">
                  <c:v>1.4999999999999999E-2</c:v>
                </c:pt>
                <c:pt idx="14">
                  <c:v>2.1000000000000001E-2</c:v>
                </c:pt>
                <c:pt idx="15">
                  <c:v>2.4E-2</c:v>
                </c:pt>
                <c:pt idx="16">
                  <c:v>1.7999999999999999E-2</c:v>
                </c:pt>
                <c:pt idx="17">
                  <c:v>2.5999999999999999E-2</c:v>
                </c:pt>
                <c:pt idx="18">
                  <c:v>2.3E-2</c:v>
                </c:pt>
                <c:pt idx="19">
                  <c:v>1.9E-2</c:v>
                </c:pt>
                <c:pt idx="20">
                  <c:v>-0.04</c:v>
                </c:pt>
                <c:pt idx="21">
                  <c:v>0.06</c:v>
                </c:pt>
                <c:pt idx="22">
                  <c:v>2.9000000000000001E-2</c:v>
                </c:pt>
                <c:pt idx="23">
                  <c:v>1.7000000000000001E-2</c:v>
                </c:pt>
              </c:numCache>
            </c:numRef>
          </c:val>
          <c:smooth val="0"/>
          <c:extLst>
            <c:ext xmlns:c16="http://schemas.microsoft.com/office/drawing/2014/chart" uri="{C3380CC4-5D6E-409C-BE32-E72D297353CC}">
              <c16:uniqueId val="{00000001-A02E-4895-A131-C7A5A32E6AD1}"/>
            </c:ext>
          </c:extLst>
        </c:ser>
        <c:ser>
          <c:idx val="2"/>
          <c:order val="1"/>
          <c:tx>
            <c:strRef>
              <c:f>Sheet1!$U$3</c:f>
              <c:strCache>
                <c:ptCount val="1"/>
                <c:pt idx="0">
                  <c:v>Schwellen- und Entwicklungsländer</c:v>
                </c:pt>
              </c:strCache>
            </c:strRef>
          </c:tx>
          <c:spPr>
            <a:ln w="28575" cap="rnd">
              <a:solidFill>
                <a:schemeClr val="accent3"/>
              </a:solidFill>
              <a:round/>
            </a:ln>
            <a:effectLst/>
          </c:spPr>
          <c:marker>
            <c:symbol val="none"/>
          </c:marker>
          <c:trendline>
            <c:spPr>
              <a:ln w="19050" cap="rnd">
                <a:solidFill>
                  <a:schemeClr val="accent3"/>
                </a:solidFill>
                <a:prstDash val="sysDot"/>
              </a:ln>
              <a:effectLst/>
            </c:spPr>
            <c:trendlineType val="linear"/>
            <c:dispRSqr val="0"/>
            <c:dispEq val="0"/>
          </c:trendline>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U$25:$U$54</c:f>
              <c:numCache>
                <c:formatCode>General</c:formatCode>
                <c:ptCount val="30"/>
                <c:pt idx="0">
                  <c:v>5.6000000000000001E-2</c:v>
                </c:pt>
                <c:pt idx="1">
                  <c:v>3.6999999999999998E-2</c:v>
                </c:pt>
                <c:pt idx="2">
                  <c:v>4.2999999999999997E-2</c:v>
                </c:pt>
                <c:pt idx="3">
                  <c:v>6.0999999999999999E-2</c:v>
                </c:pt>
                <c:pt idx="4">
                  <c:v>7.6999999999999999E-2</c:v>
                </c:pt>
                <c:pt idx="5">
                  <c:v>6.9000000000000006E-2</c:v>
                </c:pt>
                <c:pt idx="6">
                  <c:v>7.8E-2</c:v>
                </c:pt>
                <c:pt idx="7">
                  <c:v>8.1000000000000003E-2</c:v>
                </c:pt>
                <c:pt idx="8">
                  <c:v>5.6000000000000001E-2</c:v>
                </c:pt>
                <c:pt idx="9">
                  <c:v>2.5000000000000001E-2</c:v>
                </c:pt>
                <c:pt idx="10">
                  <c:v>7.1999999999999995E-2</c:v>
                </c:pt>
                <c:pt idx="11">
                  <c:v>6.0999999999999999E-2</c:v>
                </c:pt>
                <c:pt idx="12">
                  <c:v>5.1999999999999998E-2</c:v>
                </c:pt>
                <c:pt idx="13">
                  <c:v>4.9000000000000002E-2</c:v>
                </c:pt>
                <c:pt idx="14">
                  <c:v>4.7E-2</c:v>
                </c:pt>
                <c:pt idx="15">
                  <c:v>4.2999999999999997E-2</c:v>
                </c:pt>
                <c:pt idx="16">
                  <c:v>4.3999999999999997E-2</c:v>
                </c:pt>
                <c:pt idx="17">
                  <c:v>4.8000000000000001E-2</c:v>
                </c:pt>
                <c:pt idx="18">
                  <c:v>4.7E-2</c:v>
                </c:pt>
                <c:pt idx="19">
                  <c:v>3.6999999999999998E-2</c:v>
                </c:pt>
                <c:pt idx="20">
                  <c:v>-1.7999999999999999E-2</c:v>
                </c:pt>
                <c:pt idx="21">
                  <c:v>7.0000000000000007E-2</c:v>
                </c:pt>
                <c:pt idx="22">
                  <c:v>0.04</c:v>
                </c:pt>
                <c:pt idx="23">
                  <c:v>4.3999999999999997E-2</c:v>
                </c:pt>
              </c:numCache>
            </c:numRef>
          </c:val>
          <c:smooth val="0"/>
          <c:extLst>
            <c:ext xmlns:c16="http://schemas.microsoft.com/office/drawing/2014/chart" uri="{C3380CC4-5D6E-409C-BE32-E72D297353CC}">
              <c16:uniqueId val="{00000003-A02E-4895-A131-C7A5A32E6AD1}"/>
            </c:ext>
          </c:extLst>
        </c:ser>
        <c:ser>
          <c:idx val="0"/>
          <c:order val="2"/>
          <c:tx>
            <c:strRef>
              <c:f>Sheet1!$V$3</c:f>
              <c:strCache>
                <c:ptCount val="1"/>
                <c:pt idx="0">
                  <c:v>Global</c:v>
                </c:pt>
              </c:strCache>
            </c:strRef>
          </c:tx>
          <c:spPr>
            <a:ln w="28575" cap="rnd">
              <a:solidFill>
                <a:schemeClr val="accent5"/>
              </a:solidFill>
              <a:round/>
            </a:ln>
            <a:effectLst/>
          </c:spPr>
          <c:marker>
            <c:symbol val="none"/>
          </c:marker>
          <c:trendline>
            <c:spPr>
              <a:ln w="19050" cap="rnd">
                <a:solidFill>
                  <a:schemeClr val="accent5"/>
                </a:solidFill>
                <a:prstDash val="sysDot"/>
              </a:ln>
              <a:effectLst/>
            </c:spPr>
            <c:trendlineType val="linear"/>
            <c:dispRSqr val="0"/>
            <c:dispEq val="0"/>
          </c:trendline>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V$25:$V$54</c:f>
              <c:numCache>
                <c:formatCode>General</c:formatCode>
                <c:ptCount val="30"/>
                <c:pt idx="0">
                  <c:v>4.8000000000000001E-2</c:v>
                </c:pt>
                <c:pt idx="1">
                  <c:v>2.5000000000000001E-2</c:v>
                </c:pt>
                <c:pt idx="2">
                  <c:v>2.8000000000000001E-2</c:v>
                </c:pt>
                <c:pt idx="3">
                  <c:v>3.7999999999999999E-2</c:v>
                </c:pt>
                <c:pt idx="4">
                  <c:v>5.2999999999999999E-2</c:v>
                </c:pt>
                <c:pt idx="5">
                  <c:v>4.7E-2</c:v>
                </c:pt>
                <c:pt idx="6">
                  <c:v>5.2999999999999999E-2</c:v>
                </c:pt>
                <c:pt idx="7">
                  <c:v>5.2999999999999999E-2</c:v>
                </c:pt>
                <c:pt idx="8">
                  <c:v>2.9000000000000001E-2</c:v>
                </c:pt>
                <c:pt idx="9">
                  <c:v>-4.0000000000000001E-3</c:v>
                </c:pt>
                <c:pt idx="10">
                  <c:v>5.1999999999999998E-2</c:v>
                </c:pt>
                <c:pt idx="11">
                  <c:v>0.04</c:v>
                </c:pt>
                <c:pt idx="12">
                  <c:v>3.3000000000000002E-2</c:v>
                </c:pt>
                <c:pt idx="13">
                  <c:v>3.4000000000000002E-2</c:v>
                </c:pt>
                <c:pt idx="14">
                  <c:v>3.5000000000000003E-2</c:v>
                </c:pt>
                <c:pt idx="15">
                  <c:v>3.4000000000000002E-2</c:v>
                </c:pt>
                <c:pt idx="16">
                  <c:v>3.3000000000000002E-2</c:v>
                </c:pt>
                <c:pt idx="17">
                  <c:v>3.7999999999999999E-2</c:v>
                </c:pt>
                <c:pt idx="18">
                  <c:v>3.5999999999999997E-2</c:v>
                </c:pt>
                <c:pt idx="19">
                  <c:v>2.9000000000000001E-2</c:v>
                </c:pt>
                <c:pt idx="20">
                  <c:v>-2.7E-2</c:v>
                </c:pt>
                <c:pt idx="21">
                  <c:v>6.6000000000000003E-2</c:v>
                </c:pt>
                <c:pt idx="22">
                  <c:v>3.5999999999999997E-2</c:v>
                </c:pt>
                <c:pt idx="23">
                  <c:v>3.3000000000000002E-2</c:v>
                </c:pt>
              </c:numCache>
            </c:numRef>
          </c:val>
          <c:smooth val="0"/>
          <c:extLst xmlns:c15="http://schemas.microsoft.com/office/drawing/2012/chart">
            <c:ext xmlns:c16="http://schemas.microsoft.com/office/drawing/2014/chart" uri="{C3380CC4-5D6E-409C-BE32-E72D297353CC}">
              <c16:uniqueId val="{00000005-A02E-4895-A131-C7A5A32E6AD1}"/>
            </c:ext>
          </c:extLst>
        </c:ser>
        <c:ser>
          <c:idx val="3"/>
          <c:order val="3"/>
          <c:tx>
            <c:strRef>
              <c:f>Sheet1!$W$3</c:f>
              <c:strCache>
                <c:ptCount val="1"/>
                <c:pt idx="0">
                  <c:v>USA</c:v>
                </c:pt>
              </c:strCache>
            </c:strRef>
          </c:tx>
          <c:spPr>
            <a:ln w="28575" cap="rnd">
              <a:solidFill>
                <a:schemeClr val="accent4"/>
              </a:solidFill>
              <a:round/>
            </a:ln>
            <a:effectLst/>
          </c:spPr>
          <c:marker>
            <c:symbol val="none"/>
          </c:marker>
          <c:trendline>
            <c:spPr>
              <a:ln w="19050" cap="rnd">
                <a:solidFill>
                  <a:schemeClr val="accent4"/>
                </a:solidFill>
                <a:prstDash val="sysDot"/>
              </a:ln>
              <a:effectLst/>
            </c:spPr>
            <c:trendlineType val="linear"/>
            <c:dispRSqr val="0"/>
            <c:dispEq val="0"/>
          </c:trendline>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W$25:$W$54</c:f>
              <c:numCache>
                <c:formatCode>General</c:formatCode>
                <c:ptCount val="30"/>
                <c:pt idx="0">
                  <c:v>4.1000000000000002E-2</c:v>
                </c:pt>
                <c:pt idx="1">
                  <c:v>0.01</c:v>
                </c:pt>
                <c:pt idx="2">
                  <c:v>1.7000000000000001E-2</c:v>
                </c:pt>
                <c:pt idx="3">
                  <c:v>2.8000000000000001E-2</c:v>
                </c:pt>
                <c:pt idx="4">
                  <c:v>3.7999999999999999E-2</c:v>
                </c:pt>
                <c:pt idx="5">
                  <c:v>3.5000000000000003E-2</c:v>
                </c:pt>
                <c:pt idx="6">
                  <c:v>2.8000000000000001E-2</c:v>
                </c:pt>
                <c:pt idx="7">
                  <c:v>0.02</c:v>
                </c:pt>
                <c:pt idx="8">
                  <c:v>1E-3</c:v>
                </c:pt>
                <c:pt idx="9">
                  <c:v>-2.5999999999999999E-2</c:v>
                </c:pt>
                <c:pt idx="10">
                  <c:v>2.7E-2</c:v>
                </c:pt>
                <c:pt idx="11">
                  <c:v>1.6E-2</c:v>
                </c:pt>
                <c:pt idx="12">
                  <c:v>2.3E-2</c:v>
                </c:pt>
                <c:pt idx="13">
                  <c:v>2.1000000000000001E-2</c:v>
                </c:pt>
                <c:pt idx="14">
                  <c:v>2.5000000000000001E-2</c:v>
                </c:pt>
                <c:pt idx="15">
                  <c:v>2.9000000000000001E-2</c:v>
                </c:pt>
                <c:pt idx="16">
                  <c:v>1.7999999999999999E-2</c:v>
                </c:pt>
                <c:pt idx="17">
                  <c:v>2.5000000000000001E-2</c:v>
                </c:pt>
                <c:pt idx="18">
                  <c:v>0.03</c:v>
                </c:pt>
                <c:pt idx="19">
                  <c:v>2.5999999999999999E-2</c:v>
                </c:pt>
                <c:pt idx="20">
                  <c:v>-2.1999999999999999E-2</c:v>
                </c:pt>
                <c:pt idx="21">
                  <c:v>6.0999999999999999E-2</c:v>
                </c:pt>
                <c:pt idx="22">
                  <c:v>2.5000000000000001E-2</c:v>
                </c:pt>
                <c:pt idx="23">
                  <c:v>2.9000000000000001E-2</c:v>
                </c:pt>
              </c:numCache>
            </c:numRef>
          </c:val>
          <c:smooth val="0"/>
          <c:extLst>
            <c:ext xmlns:c16="http://schemas.microsoft.com/office/drawing/2014/chart" uri="{C3380CC4-5D6E-409C-BE32-E72D297353CC}">
              <c16:uniqueId val="{00000007-A02E-4895-A131-C7A5A32E6AD1}"/>
            </c:ext>
          </c:extLst>
        </c:ser>
        <c:ser>
          <c:idx val="4"/>
          <c:order val="4"/>
          <c:tx>
            <c:strRef>
              <c:f>Sheet1!$X$3</c:f>
              <c:strCache>
                <c:ptCount val="1"/>
                <c:pt idx="0">
                  <c:v>Eurozone</c:v>
                </c:pt>
              </c:strCache>
            </c:strRef>
          </c:tx>
          <c:spPr>
            <a:ln w="31750" cap="rnd">
              <a:solidFill>
                <a:srgbClr val="1E2A78"/>
              </a:solidFill>
              <a:round/>
            </a:ln>
            <a:effectLst/>
          </c:spPr>
          <c:marker>
            <c:symbol val="none"/>
          </c:marker>
          <c:trendline>
            <c:spPr>
              <a:ln w="28575" cap="rnd">
                <a:solidFill>
                  <a:srgbClr val="1E2A78"/>
                </a:solidFill>
                <a:prstDash val="sysDot"/>
              </a:ln>
              <a:effectLst/>
            </c:spPr>
            <c:trendlineType val="linear"/>
            <c:dispRSqr val="0"/>
            <c:dispEq val="0"/>
          </c:trendline>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X$25:$X$54</c:f>
              <c:numCache>
                <c:formatCode>General</c:formatCode>
                <c:ptCount val="30"/>
                <c:pt idx="0">
                  <c:v>3.7999999999999999E-2</c:v>
                </c:pt>
                <c:pt idx="1">
                  <c:v>2.1000000000000001E-2</c:v>
                </c:pt>
                <c:pt idx="2">
                  <c:v>8.9999999999999993E-3</c:v>
                </c:pt>
                <c:pt idx="3">
                  <c:v>7.0000000000000001E-3</c:v>
                </c:pt>
                <c:pt idx="4">
                  <c:v>2.3E-2</c:v>
                </c:pt>
                <c:pt idx="5">
                  <c:v>1.7999999999999999E-2</c:v>
                </c:pt>
                <c:pt idx="6">
                  <c:v>3.3000000000000002E-2</c:v>
                </c:pt>
                <c:pt idx="7">
                  <c:v>0.03</c:v>
                </c:pt>
                <c:pt idx="8">
                  <c:v>4.0000000000000001E-3</c:v>
                </c:pt>
                <c:pt idx="9">
                  <c:v>-4.4999999999999998E-2</c:v>
                </c:pt>
                <c:pt idx="10">
                  <c:v>2.1000000000000001E-2</c:v>
                </c:pt>
                <c:pt idx="11">
                  <c:v>1.7000000000000001E-2</c:v>
                </c:pt>
                <c:pt idx="12">
                  <c:v>-8.9999999999999993E-3</c:v>
                </c:pt>
                <c:pt idx="13">
                  <c:v>-2E-3</c:v>
                </c:pt>
                <c:pt idx="14">
                  <c:v>1.4E-2</c:v>
                </c:pt>
                <c:pt idx="15">
                  <c:v>2.1000000000000001E-2</c:v>
                </c:pt>
                <c:pt idx="16">
                  <c:v>1.7999999999999999E-2</c:v>
                </c:pt>
                <c:pt idx="17">
                  <c:v>2.5999999999999999E-2</c:v>
                </c:pt>
                <c:pt idx="18">
                  <c:v>1.7999999999999999E-2</c:v>
                </c:pt>
                <c:pt idx="19">
                  <c:v>1.6E-2</c:v>
                </c:pt>
                <c:pt idx="20">
                  <c:v>-6.0999999999999999E-2</c:v>
                </c:pt>
                <c:pt idx="21">
                  <c:v>6.2E-2</c:v>
                </c:pt>
                <c:pt idx="22">
                  <c:v>3.3000000000000002E-2</c:v>
                </c:pt>
                <c:pt idx="23">
                  <c:v>4.0000000000000001E-3</c:v>
                </c:pt>
              </c:numCache>
            </c:numRef>
          </c:val>
          <c:smooth val="0"/>
          <c:extLst>
            <c:ext xmlns:c16="http://schemas.microsoft.com/office/drawing/2014/chart" uri="{C3380CC4-5D6E-409C-BE32-E72D297353CC}">
              <c16:uniqueId val="{00000009-A02E-4895-A131-C7A5A32E6AD1}"/>
            </c:ext>
          </c:extLst>
        </c:ser>
        <c:ser>
          <c:idx val="5"/>
          <c:order val="5"/>
          <c:tx>
            <c:strRef>
              <c:f>Sheet1!$Y$3</c:f>
              <c:strCache>
                <c:ptCount val="1"/>
                <c:pt idx="0">
                  <c:v>IWF Prognose</c:v>
                </c:pt>
              </c:strCache>
            </c:strRef>
          </c:tx>
          <c:spPr>
            <a:ln w="28575" cap="rnd">
              <a:solidFill>
                <a:schemeClr val="accent2"/>
              </a:solidFill>
              <a:prstDash val="dash"/>
              <a:round/>
            </a:ln>
            <a:effectLst/>
          </c:spPr>
          <c:marker>
            <c:symbol val="none"/>
          </c:marker>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Y$25:$Y$54</c:f>
              <c:numCache>
                <c:formatCode>General</c:formatCode>
                <c:ptCount val="30"/>
                <c:pt idx="23">
                  <c:v>1.7000000000000001E-2</c:v>
                </c:pt>
                <c:pt idx="24">
                  <c:v>1.7999999999999999E-2</c:v>
                </c:pt>
                <c:pt idx="25">
                  <c:v>1.7999999999999999E-2</c:v>
                </c:pt>
                <c:pt idx="26">
                  <c:v>1.7999999999999999E-2</c:v>
                </c:pt>
                <c:pt idx="27">
                  <c:v>1.7000000000000001E-2</c:v>
                </c:pt>
                <c:pt idx="28">
                  <c:v>1.7000000000000001E-2</c:v>
                </c:pt>
                <c:pt idx="29">
                  <c:v>1.7000000000000001E-2</c:v>
                </c:pt>
              </c:numCache>
            </c:numRef>
          </c:val>
          <c:smooth val="0"/>
          <c:extLst xmlns:c15="http://schemas.microsoft.com/office/drawing/2012/chart">
            <c:ext xmlns:c16="http://schemas.microsoft.com/office/drawing/2014/chart" uri="{C3380CC4-5D6E-409C-BE32-E72D297353CC}">
              <c16:uniqueId val="{0000000A-A02E-4895-A131-C7A5A32E6AD1}"/>
            </c:ext>
          </c:extLst>
        </c:ser>
        <c:ser>
          <c:idx val="6"/>
          <c:order val="6"/>
          <c:tx>
            <c:strRef>
              <c:f>Sheet1!$Z$3</c:f>
              <c:strCache>
                <c:ptCount val="1"/>
                <c:pt idx="0">
                  <c:v>IWF Prognose</c:v>
                </c:pt>
              </c:strCache>
            </c:strRef>
          </c:tx>
          <c:spPr>
            <a:ln w="28575" cap="rnd">
              <a:solidFill>
                <a:schemeClr val="accent3"/>
              </a:solidFill>
              <a:prstDash val="dash"/>
              <a:round/>
            </a:ln>
            <a:effectLst/>
          </c:spPr>
          <c:marker>
            <c:symbol val="none"/>
          </c:marker>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Z$25:$Z$54</c:f>
              <c:numCache>
                <c:formatCode>General</c:formatCode>
                <c:ptCount val="30"/>
                <c:pt idx="23">
                  <c:v>4.3999999999999997E-2</c:v>
                </c:pt>
                <c:pt idx="24">
                  <c:v>4.2000000000000003E-2</c:v>
                </c:pt>
                <c:pt idx="25">
                  <c:v>4.2000000000000003E-2</c:v>
                </c:pt>
                <c:pt idx="26">
                  <c:v>4.2000000000000003E-2</c:v>
                </c:pt>
                <c:pt idx="27">
                  <c:v>0.04</c:v>
                </c:pt>
                <c:pt idx="28">
                  <c:v>3.9E-2</c:v>
                </c:pt>
                <c:pt idx="29">
                  <c:v>3.9E-2</c:v>
                </c:pt>
              </c:numCache>
            </c:numRef>
          </c:val>
          <c:smooth val="0"/>
          <c:extLst>
            <c:ext xmlns:c16="http://schemas.microsoft.com/office/drawing/2014/chart" uri="{C3380CC4-5D6E-409C-BE32-E72D297353CC}">
              <c16:uniqueId val="{0000000B-A02E-4895-A131-C7A5A32E6AD1}"/>
            </c:ext>
          </c:extLst>
        </c:ser>
        <c:ser>
          <c:idx val="7"/>
          <c:order val="7"/>
          <c:tx>
            <c:strRef>
              <c:f>Sheet1!$AA$3</c:f>
              <c:strCache>
                <c:ptCount val="1"/>
                <c:pt idx="0">
                  <c:v>IWF Prognose</c:v>
                </c:pt>
              </c:strCache>
            </c:strRef>
          </c:tx>
          <c:spPr>
            <a:ln w="28575" cap="rnd">
              <a:solidFill>
                <a:schemeClr val="accent5"/>
              </a:solidFill>
              <a:prstDash val="dash"/>
              <a:round/>
            </a:ln>
            <a:effectLst/>
          </c:spPr>
          <c:marker>
            <c:symbol val="none"/>
          </c:marker>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AA$25:$AA$54</c:f>
              <c:numCache>
                <c:formatCode>General</c:formatCode>
                <c:ptCount val="30"/>
                <c:pt idx="23">
                  <c:v>3.3000000000000002E-2</c:v>
                </c:pt>
                <c:pt idx="24">
                  <c:v>3.2000000000000001E-2</c:v>
                </c:pt>
                <c:pt idx="25">
                  <c:v>3.2000000000000001E-2</c:v>
                </c:pt>
                <c:pt idx="26">
                  <c:v>3.3000000000000002E-2</c:v>
                </c:pt>
                <c:pt idx="27">
                  <c:v>3.2000000000000001E-2</c:v>
                </c:pt>
                <c:pt idx="28">
                  <c:v>3.1E-2</c:v>
                </c:pt>
                <c:pt idx="29">
                  <c:v>3.1E-2</c:v>
                </c:pt>
              </c:numCache>
            </c:numRef>
          </c:val>
          <c:smooth val="0"/>
          <c:extLst>
            <c:ext xmlns:c16="http://schemas.microsoft.com/office/drawing/2014/chart" uri="{C3380CC4-5D6E-409C-BE32-E72D297353CC}">
              <c16:uniqueId val="{0000000C-A02E-4895-A131-C7A5A32E6AD1}"/>
            </c:ext>
          </c:extLst>
        </c:ser>
        <c:ser>
          <c:idx val="8"/>
          <c:order val="8"/>
          <c:tx>
            <c:strRef>
              <c:f>Sheet1!$AB$3</c:f>
              <c:strCache>
                <c:ptCount val="1"/>
                <c:pt idx="0">
                  <c:v>IWF Prognose</c:v>
                </c:pt>
              </c:strCache>
            </c:strRef>
          </c:tx>
          <c:spPr>
            <a:ln w="28575" cap="rnd">
              <a:solidFill>
                <a:schemeClr val="accent4"/>
              </a:solidFill>
              <a:prstDash val="dash"/>
              <a:round/>
            </a:ln>
            <a:effectLst/>
          </c:spPr>
          <c:marker>
            <c:symbol val="none"/>
          </c:marker>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AB$25:$AB$54</c:f>
              <c:numCache>
                <c:formatCode>General</c:formatCode>
                <c:ptCount val="30"/>
                <c:pt idx="23">
                  <c:v>2.9000000000000001E-2</c:v>
                </c:pt>
                <c:pt idx="24">
                  <c:v>2.8000000000000001E-2</c:v>
                </c:pt>
                <c:pt idx="25">
                  <c:v>2.1999999999999999E-2</c:v>
                </c:pt>
                <c:pt idx="26">
                  <c:v>0.02</c:v>
                </c:pt>
                <c:pt idx="27">
                  <c:v>2.1000000000000001E-2</c:v>
                </c:pt>
                <c:pt idx="28">
                  <c:v>2.1000000000000001E-2</c:v>
                </c:pt>
                <c:pt idx="29">
                  <c:v>2.1000000000000001E-2</c:v>
                </c:pt>
              </c:numCache>
            </c:numRef>
          </c:val>
          <c:smooth val="0"/>
          <c:extLst>
            <c:ext xmlns:c16="http://schemas.microsoft.com/office/drawing/2014/chart" uri="{C3380CC4-5D6E-409C-BE32-E72D297353CC}">
              <c16:uniqueId val="{0000000D-A02E-4895-A131-C7A5A32E6AD1}"/>
            </c:ext>
          </c:extLst>
        </c:ser>
        <c:ser>
          <c:idx val="9"/>
          <c:order val="9"/>
          <c:tx>
            <c:strRef>
              <c:f>Sheet1!$AC$3</c:f>
              <c:strCache>
                <c:ptCount val="1"/>
                <c:pt idx="0">
                  <c:v>IWF Prognose</c:v>
                </c:pt>
              </c:strCache>
            </c:strRef>
          </c:tx>
          <c:spPr>
            <a:ln w="31750" cap="rnd">
              <a:solidFill>
                <a:srgbClr val="1E2A78"/>
              </a:solidFill>
              <a:prstDash val="dash"/>
              <a:round/>
            </a:ln>
            <a:effectLst/>
          </c:spPr>
          <c:marker>
            <c:symbol val="none"/>
          </c:marker>
          <c:cat>
            <c:numRef>
              <c:f>Sheet1!$S$25:$S$54</c:f>
              <c:numCache>
                <c:formatCode>General</c:formatCode>
                <c:ptCount val="3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numCache>
            </c:numRef>
          </c:cat>
          <c:val>
            <c:numRef>
              <c:f>Sheet1!$AC$25:$AC$54</c:f>
              <c:numCache>
                <c:formatCode>General</c:formatCode>
                <c:ptCount val="30"/>
                <c:pt idx="23">
                  <c:v>4.0000000000000001E-3</c:v>
                </c:pt>
                <c:pt idx="24">
                  <c:v>8.0000000000000002E-3</c:v>
                </c:pt>
                <c:pt idx="25">
                  <c:v>1.2E-2</c:v>
                </c:pt>
                <c:pt idx="26">
                  <c:v>1.4999999999999999E-2</c:v>
                </c:pt>
                <c:pt idx="27">
                  <c:v>1.4E-2</c:v>
                </c:pt>
                <c:pt idx="28">
                  <c:v>1.2999999999999999E-2</c:v>
                </c:pt>
                <c:pt idx="29">
                  <c:v>1.2E-2</c:v>
                </c:pt>
              </c:numCache>
            </c:numRef>
          </c:val>
          <c:smooth val="0"/>
          <c:extLst>
            <c:ext xmlns:c16="http://schemas.microsoft.com/office/drawing/2014/chart" uri="{C3380CC4-5D6E-409C-BE32-E72D297353CC}">
              <c16:uniqueId val="{0000000E-A02E-4895-A131-C7A5A32E6AD1}"/>
            </c:ext>
          </c:extLst>
        </c:ser>
        <c:dLbls>
          <c:showLegendKey val="0"/>
          <c:showVal val="0"/>
          <c:showCatName val="0"/>
          <c:showSerName val="0"/>
          <c:showPercent val="0"/>
          <c:showBubbleSize val="0"/>
        </c:dLbls>
        <c:smooth val="0"/>
        <c:axId val="662187199"/>
        <c:axId val="1265283248"/>
        <c:extLst/>
      </c:lineChart>
      <c:dateAx>
        <c:axId val="66218719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265283248"/>
        <c:crosses val="autoZero"/>
        <c:auto val="0"/>
        <c:lblOffset val="100"/>
        <c:baseTimeUnit val="days"/>
        <c:majorUnit val="4"/>
        <c:majorTimeUnit val="days"/>
      </c:dateAx>
      <c:valAx>
        <c:axId val="1265283248"/>
        <c:scaling>
          <c:orientation val="minMax"/>
          <c:min val="-6.0000000000000012E-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662187199"/>
        <c:crosses val="autoZero"/>
        <c:crossBetween val="between"/>
      </c:valAx>
      <c:spPr>
        <a:noFill/>
        <a:ln>
          <a:noFill/>
        </a:ln>
        <a:effectLst/>
      </c:spPr>
    </c:plotArea>
    <c:legend>
      <c:legendPos val="b"/>
      <c:legendEntry>
        <c:idx val="4"/>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Entry>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legendEntry>
        <c:idx val="11"/>
        <c:delete val="1"/>
      </c:legendEntry>
      <c:legendEntry>
        <c:idx val="12"/>
        <c:delete val="1"/>
      </c:legendEntry>
      <c:legendEntry>
        <c:idx val="13"/>
        <c:delete val="1"/>
      </c:legendEntry>
      <c:legendEntry>
        <c:idx val="14"/>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ince  28.06.24'!$U$8</c:f>
              <c:strCache>
                <c:ptCount val="1"/>
                <c:pt idx="0">
                  <c:v>Russell 2000 (EUR)</c:v>
                </c:pt>
              </c:strCache>
            </c:strRef>
          </c:tx>
          <c:spPr>
            <a:ln w="28575" cap="rnd">
              <a:solidFill>
                <a:schemeClr val="accent1"/>
              </a:solidFill>
              <a:round/>
            </a:ln>
            <a:effectLst/>
          </c:spPr>
          <c:marker>
            <c:symbol val="none"/>
          </c:marker>
          <c:cat>
            <c:numRef>
              <c:f>'Since  28.06.24'!$T$9:$T$113</c:f>
              <c:numCache>
                <c:formatCode>m/d/yyyy</c:formatCode>
                <c:ptCount val="105"/>
                <c:pt idx="0">
                  <c:v>45471</c:v>
                </c:pt>
                <c:pt idx="1">
                  <c:v>45474</c:v>
                </c:pt>
                <c:pt idx="2">
                  <c:v>45475</c:v>
                </c:pt>
                <c:pt idx="3">
                  <c:v>45476</c:v>
                </c:pt>
                <c:pt idx="4">
                  <c:v>45477</c:v>
                </c:pt>
                <c:pt idx="5">
                  <c:v>45478</c:v>
                </c:pt>
                <c:pt idx="6">
                  <c:v>45481</c:v>
                </c:pt>
                <c:pt idx="7">
                  <c:v>45482</c:v>
                </c:pt>
                <c:pt idx="8">
                  <c:v>45483</c:v>
                </c:pt>
                <c:pt idx="9">
                  <c:v>45484</c:v>
                </c:pt>
                <c:pt idx="10">
                  <c:v>45485</c:v>
                </c:pt>
                <c:pt idx="11">
                  <c:v>45488</c:v>
                </c:pt>
                <c:pt idx="12">
                  <c:v>45489</c:v>
                </c:pt>
                <c:pt idx="13">
                  <c:v>45490</c:v>
                </c:pt>
                <c:pt idx="14">
                  <c:v>45491</c:v>
                </c:pt>
                <c:pt idx="15">
                  <c:v>45492</c:v>
                </c:pt>
                <c:pt idx="16">
                  <c:v>45495</c:v>
                </c:pt>
                <c:pt idx="17">
                  <c:v>45496</c:v>
                </c:pt>
                <c:pt idx="18">
                  <c:v>45497</c:v>
                </c:pt>
                <c:pt idx="19">
                  <c:v>45498</c:v>
                </c:pt>
                <c:pt idx="20">
                  <c:v>45499</c:v>
                </c:pt>
                <c:pt idx="21">
                  <c:v>45502</c:v>
                </c:pt>
                <c:pt idx="22">
                  <c:v>45503</c:v>
                </c:pt>
                <c:pt idx="23">
                  <c:v>45504</c:v>
                </c:pt>
                <c:pt idx="24">
                  <c:v>45505</c:v>
                </c:pt>
                <c:pt idx="25">
                  <c:v>45506</c:v>
                </c:pt>
                <c:pt idx="26">
                  <c:v>45509</c:v>
                </c:pt>
                <c:pt idx="27">
                  <c:v>45510</c:v>
                </c:pt>
                <c:pt idx="28">
                  <c:v>45511</c:v>
                </c:pt>
                <c:pt idx="29">
                  <c:v>45512</c:v>
                </c:pt>
                <c:pt idx="30">
                  <c:v>45513</c:v>
                </c:pt>
                <c:pt idx="31">
                  <c:v>45516</c:v>
                </c:pt>
                <c:pt idx="32">
                  <c:v>45517</c:v>
                </c:pt>
                <c:pt idx="33">
                  <c:v>45518</c:v>
                </c:pt>
                <c:pt idx="34">
                  <c:v>45519</c:v>
                </c:pt>
                <c:pt idx="35">
                  <c:v>45520</c:v>
                </c:pt>
                <c:pt idx="36">
                  <c:v>45523</c:v>
                </c:pt>
                <c:pt idx="37">
                  <c:v>45524</c:v>
                </c:pt>
                <c:pt idx="38">
                  <c:v>45525</c:v>
                </c:pt>
                <c:pt idx="39">
                  <c:v>45526</c:v>
                </c:pt>
                <c:pt idx="40">
                  <c:v>45527</c:v>
                </c:pt>
                <c:pt idx="41">
                  <c:v>45530</c:v>
                </c:pt>
                <c:pt idx="42">
                  <c:v>45531</c:v>
                </c:pt>
                <c:pt idx="43">
                  <c:v>45532</c:v>
                </c:pt>
                <c:pt idx="44">
                  <c:v>45533</c:v>
                </c:pt>
                <c:pt idx="45">
                  <c:v>45534</c:v>
                </c:pt>
                <c:pt idx="46">
                  <c:v>45537</c:v>
                </c:pt>
                <c:pt idx="47">
                  <c:v>45538</c:v>
                </c:pt>
                <c:pt idx="48">
                  <c:v>45539</c:v>
                </c:pt>
                <c:pt idx="49">
                  <c:v>45540</c:v>
                </c:pt>
                <c:pt idx="50">
                  <c:v>45541</c:v>
                </c:pt>
                <c:pt idx="51">
                  <c:v>45544</c:v>
                </c:pt>
                <c:pt idx="52">
                  <c:v>45545</c:v>
                </c:pt>
                <c:pt idx="53">
                  <c:v>45546</c:v>
                </c:pt>
                <c:pt idx="54">
                  <c:v>45547</c:v>
                </c:pt>
                <c:pt idx="55">
                  <c:v>45548</c:v>
                </c:pt>
                <c:pt idx="56">
                  <c:v>45551</c:v>
                </c:pt>
                <c:pt idx="57">
                  <c:v>45552</c:v>
                </c:pt>
                <c:pt idx="58">
                  <c:v>45553</c:v>
                </c:pt>
                <c:pt idx="59">
                  <c:v>45554</c:v>
                </c:pt>
                <c:pt idx="60">
                  <c:v>45555</c:v>
                </c:pt>
                <c:pt idx="61">
                  <c:v>45558</c:v>
                </c:pt>
                <c:pt idx="62">
                  <c:v>45559</c:v>
                </c:pt>
                <c:pt idx="63">
                  <c:v>45560</c:v>
                </c:pt>
                <c:pt idx="64">
                  <c:v>45561</c:v>
                </c:pt>
                <c:pt idx="65">
                  <c:v>45562</c:v>
                </c:pt>
                <c:pt idx="66">
                  <c:v>45565</c:v>
                </c:pt>
                <c:pt idx="67">
                  <c:v>45566</c:v>
                </c:pt>
                <c:pt idx="68">
                  <c:v>45567</c:v>
                </c:pt>
                <c:pt idx="69">
                  <c:v>45568</c:v>
                </c:pt>
                <c:pt idx="70">
                  <c:v>45569</c:v>
                </c:pt>
                <c:pt idx="71">
                  <c:v>45572</c:v>
                </c:pt>
                <c:pt idx="72">
                  <c:v>45573</c:v>
                </c:pt>
                <c:pt idx="73">
                  <c:v>45574</c:v>
                </c:pt>
                <c:pt idx="74">
                  <c:v>45575</c:v>
                </c:pt>
                <c:pt idx="75">
                  <c:v>45576</c:v>
                </c:pt>
                <c:pt idx="76">
                  <c:v>45579</c:v>
                </c:pt>
                <c:pt idx="77">
                  <c:v>45580</c:v>
                </c:pt>
                <c:pt idx="78">
                  <c:v>45581</c:v>
                </c:pt>
                <c:pt idx="79">
                  <c:v>45582</c:v>
                </c:pt>
                <c:pt idx="80">
                  <c:v>45583</c:v>
                </c:pt>
                <c:pt idx="81">
                  <c:v>45586</c:v>
                </c:pt>
                <c:pt idx="82">
                  <c:v>45587</c:v>
                </c:pt>
                <c:pt idx="83">
                  <c:v>45588</c:v>
                </c:pt>
                <c:pt idx="84">
                  <c:v>45589</c:v>
                </c:pt>
                <c:pt idx="85">
                  <c:v>45590</c:v>
                </c:pt>
                <c:pt idx="86">
                  <c:v>45593</c:v>
                </c:pt>
                <c:pt idx="87">
                  <c:v>45594</c:v>
                </c:pt>
                <c:pt idx="88">
                  <c:v>45595</c:v>
                </c:pt>
                <c:pt idx="89">
                  <c:v>45596</c:v>
                </c:pt>
                <c:pt idx="90">
                  <c:v>45597</c:v>
                </c:pt>
                <c:pt idx="91">
                  <c:v>45600</c:v>
                </c:pt>
                <c:pt idx="92">
                  <c:v>45601</c:v>
                </c:pt>
                <c:pt idx="93">
                  <c:v>45602</c:v>
                </c:pt>
                <c:pt idx="94">
                  <c:v>45603</c:v>
                </c:pt>
                <c:pt idx="95">
                  <c:v>45604</c:v>
                </c:pt>
                <c:pt idx="96">
                  <c:v>45607</c:v>
                </c:pt>
                <c:pt idx="97">
                  <c:v>45608</c:v>
                </c:pt>
                <c:pt idx="98">
                  <c:v>45609</c:v>
                </c:pt>
                <c:pt idx="99">
                  <c:v>45610</c:v>
                </c:pt>
                <c:pt idx="100">
                  <c:v>45611</c:v>
                </c:pt>
                <c:pt idx="101">
                  <c:v>45614</c:v>
                </c:pt>
                <c:pt idx="102">
                  <c:v>45615</c:v>
                </c:pt>
                <c:pt idx="103">
                  <c:v>45616</c:v>
                </c:pt>
                <c:pt idx="104">
                  <c:v>45617</c:v>
                </c:pt>
              </c:numCache>
            </c:numRef>
          </c:cat>
          <c:val>
            <c:numRef>
              <c:f>'Since  28.06.24'!$U$9:$U$113</c:f>
              <c:numCache>
                <c:formatCode>General</c:formatCode>
                <c:ptCount val="105"/>
                <c:pt idx="0">
                  <c:v>0</c:v>
                </c:pt>
                <c:pt idx="1">
                  <c:v>-0.96399999999999997</c:v>
                </c:pt>
                <c:pt idx="2">
                  <c:v>-0.9</c:v>
                </c:pt>
                <c:pt idx="3">
                  <c:v>-1.329</c:v>
                </c:pt>
                <c:pt idx="4">
                  <c:v>-1.3560000000000001</c:v>
                </c:pt>
                <c:pt idx="5">
                  <c:v>-1.9750000000000001</c:v>
                </c:pt>
                <c:pt idx="6">
                  <c:v>-1.4930000000000001</c:v>
                </c:pt>
                <c:pt idx="7">
                  <c:v>-1.768</c:v>
                </c:pt>
                <c:pt idx="8">
                  <c:v>-0.75800000000000001</c:v>
                </c:pt>
                <c:pt idx="9">
                  <c:v>2.266</c:v>
                </c:pt>
                <c:pt idx="10">
                  <c:v>3.1030000000000002</c:v>
                </c:pt>
                <c:pt idx="11">
                  <c:v>4.8899999999999997</c:v>
                </c:pt>
                <c:pt idx="12">
                  <c:v>8.9459999999999997</c:v>
                </c:pt>
                <c:pt idx="13">
                  <c:v>7.274</c:v>
                </c:pt>
                <c:pt idx="14">
                  <c:v>5.4580000000000002</c:v>
                </c:pt>
                <c:pt idx="15">
                  <c:v>5.03</c:v>
                </c:pt>
                <c:pt idx="16">
                  <c:v>6.8220000000000001</c:v>
                </c:pt>
                <c:pt idx="17">
                  <c:v>8.3059999999999992</c:v>
                </c:pt>
                <c:pt idx="18">
                  <c:v>5.9119999999999999</c:v>
                </c:pt>
                <c:pt idx="19">
                  <c:v>7.2309999999999999</c:v>
                </c:pt>
                <c:pt idx="20">
                  <c:v>9.0169999999999995</c:v>
                </c:pt>
                <c:pt idx="21">
                  <c:v>8.2249999999999996</c:v>
                </c:pt>
                <c:pt idx="22">
                  <c:v>8.7159999999999993</c:v>
                </c:pt>
                <c:pt idx="23">
                  <c:v>9.11</c:v>
                </c:pt>
                <c:pt idx="24">
                  <c:v>6.0839999999999996</c:v>
                </c:pt>
                <c:pt idx="25">
                  <c:v>1.137</c:v>
                </c:pt>
                <c:pt idx="26">
                  <c:v>-2.7189999999999999</c:v>
                </c:pt>
                <c:pt idx="27">
                  <c:v>-1.107</c:v>
                </c:pt>
                <c:pt idx="28">
                  <c:v>-2.4950000000000001</c:v>
                </c:pt>
                <c:pt idx="29">
                  <c:v>0.10100000000000001</c:v>
                </c:pt>
                <c:pt idx="30">
                  <c:v>-0.19500000000000001</c:v>
                </c:pt>
                <c:pt idx="31">
                  <c:v>-1.169</c:v>
                </c:pt>
                <c:pt idx="32">
                  <c:v>0.19700000000000001</c:v>
                </c:pt>
                <c:pt idx="33">
                  <c:v>-1.03</c:v>
                </c:pt>
                <c:pt idx="34">
                  <c:v>1.879</c:v>
                </c:pt>
                <c:pt idx="35">
                  <c:v>2.141</c:v>
                </c:pt>
                <c:pt idx="36">
                  <c:v>2.68</c:v>
                </c:pt>
                <c:pt idx="37">
                  <c:v>1.0589999999999999</c:v>
                </c:pt>
                <c:pt idx="38">
                  <c:v>2.2599999999999998</c:v>
                </c:pt>
                <c:pt idx="39">
                  <c:v>1.4</c:v>
                </c:pt>
                <c:pt idx="40">
                  <c:v>4.0579999999999998</c:v>
                </c:pt>
                <c:pt idx="41">
                  <c:v>4.0460000000000003</c:v>
                </c:pt>
                <c:pt idx="42">
                  <c:v>3.4359999999999999</c:v>
                </c:pt>
                <c:pt idx="43">
                  <c:v>3.1019999999999999</c:v>
                </c:pt>
                <c:pt idx="44">
                  <c:v>4.3390000000000004</c:v>
                </c:pt>
                <c:pt idx="45">
                  <c:v>5.0679999999999996</c:v>
                </c:pt>
                <c:pt idx="46">
                  <c:v>5.0629999999999997</c:v>
                </c:pt>
                <c:pt idx="47">
                  <c:v>2.08</c:v>
                </c:pt>
                <c:pt idx="48">
                  <c:v>1.4450000000000001</c:v>
                </c:pt>
                <c:pt idx="49">
                  <c:v>0.93700000000000006</c:v>
                </c:pt>
                <c:pt idx="50">
                  <c:v>-1.3460000000000001</c:v>
                </c:pt>
                <c:pt idx="51">
                  <c:v>-0.34799999999999998</c:v>
                </c:pt>
                <c:pt idx="52">
                  <c:v>-0.13700000000000001</c:v>
                </c:pt>
                <c:pt idx="53">
                  <c:v>0.254</c:v>
                </c:pt>
                <c:pt idx="54">
                  <c:v>1.1990000000000001</c:v>
                </c:pt>
                <c:pt idx="55">
                  <c:v>3.282</c:v>
                </c:pt>
                <c:pt idx="56">
                  <c:v>3.2839999999999998</c:v>
                </c:pt>
                <c:pt idx="57">
                  <c:v>4.0490000000000004</c:v>
                </c:pt>
                <c:pt idx="58">
                  <c:v>4.1509999999999998</c:v>
                </c:pt>
                <c:pt idx="59">
                  <c:v>6.2359999999999998</c:v>
                </c:pt>
                <c:pt idx="60">
                  <c:v>4.9400000000000004</c:v>
                </c:pt>
                <c:pt idx="61">
                  <c:v>4.6859999999999999</c:v>
                </c:pt>
                <c:pt idx="62">
                  <c:v>4.6840000000000002</c:v>
                </c:pt>
                <c:pt idx="63">
                  <c:v>3.242</c:v>
                </c:pt>
                <c:pt idx="64">
                  <c:v>3.88</c:v>
                </c:pt>
                <c:pt idx="65">
                  <c:v>4.4649999999999999</c:v>
                </c:pt>
                <c:pt idx="66">
                  <c:v>4.9349999999999996</c:v>
                </c:pt>
                <c:pt idx="67">
                  <c:v>4.1779999999999999</c:v>
                </c:pt>
                <c:pt idx="68">
                  <c:v>4.4619999999999997</c:v>
                </c:pt>
                <c:pt idx="69">
                  <c:v>3.9239999999999999</c:v>
                </c:pt>
                <c:pt idx="70">
                  <c:v>5.9539999999999997</c:v>
                </c:pt>
                <c:pt idx="71">
                  <c:v>4.9539999999999997</c:v>
                </c:pt>
                <c:pt idx="72">
                  <c:v>5.0999999999999996</c:v>
                </c:pt>
                <c:pt idx="73">
                  <c:v>5.5839999999999996</c:v>
                </c:pt>
                <c:pt idx="74">
                  <c:v>5.2450000000000001</c:v>
                </c:pt>
                <c:pt idx="75">
                  <c:v>7.2530000000000001</c:v>
                </c:pt>
                <c:pt idx="76">
                  <c:v>8.2270000000000003</c:v>
                </c:pt>
                <c:pt idx="77">
                  <c:v>8.4079999999999995</c:v>
                </c:pt>
                <c:pt idx="78">
                  <c:v>10.414999999999999</c:v>
                </c:pt>
                <c:pt idx="79">
                  <c:v>10.666</c:v>
                </c:pt>
                <c:pt idx="80">
                  <c:v>10.134</c:v>
                </c:pt>
                <c:pt idx="81">
                  <c:v>8.5990000000000002</c:v>
                </c:pt>
                <c:pt idx="82">
                  <c:v>8.4570000000000007</c:v>
                </c:pt>
                <c:pt idx="83">
                  <c:v>7.9450000000000003</c:v>
                </c:pt>
                <c:pt idx="84">
                  <c:v>7.9649999999999999</c:v>
                </c:pt>
                <c:pt idx="85">
                  <c:v>7.0990000000000002</c:v>
                </c:pt>
                <c:pt idx="86">
                  <c:v>8.984</c:v>
                </c:pt>
                <c:pt idx="87">
                  <c:v>8.8979999999999997</c:v>
                </c:pt>
                <c:pt idx="88">
                  <c:v>8.0009999999999994</c:v>
                </c:pt>
                <c:pt idx="89">
                  <c:v>6.3159999999999998</c:v>
                </c:pt>
                <c:pt idx="90">
                  <c:v>7.0469999999999997</c:v>
                </c:pt>
                <c:pt idx="91">
                  <c:v>6.9889999999999999</c:v>
                </c:pt>
                <c:pt idx="92">
                  <c:v>8.984</c:v>
                </c:pt>
                <c:pt idx="93">
                  <c:v>17.111999999999998</c:v>
                </c:pt>
                <c:pt idx="94">
                  <c:v>15.818</c:v>
                </c:pt>
                <c:pt idx="95">
                  <c:v>17.338000000000001</c:v>
                </c:pt>
                <c:pt idx="96">
                  <c:v>20.199000000000002</c:v>
                </c:pt>
                <c:pt idx="97">
                  <c:v>18.501999999999999</c:v>
                </c:pt>
                <c:pt idx="98">
                  <c:v>17.617000000000001</c:v>
                </c:pt>
                <c:pt idx="99">
                  <c:v>16.155999999999999</c:v>
                </c:pt>
                <c:pt idx="100">
                  <c:v>14.987</c:v>
                </c:pt>
                <c:pt idx="101">
                  <c:v>14.702</c:v>
                </c:pt>
                <c:pt idx="102">
                  <c:v>15.486000000000001</c:v>
                </c:pt>
                <c:pt idx="103">
                  <c:v>16.247</c:v>
                </c:pt>
                <c:pt idx="104">
                  <c:v>18.285</c:v>
                </c:pt>
              </c:numCache>
            </c:numRef>
          </c:val>
          <c:smooth val="0"/>
          <c:extLst>
            <c:ext xmlns:c16="http://schemas.microsoft.com/office/drawing/2014/chart" uri="{C3380CC4-5D6E-409C-BE32-E72D297353CC}">
              <c16:uniqueId val="{00000000-8D1B-4C8E-823E-7F83F9DD28E8}"/>
            </c:ext>
          </c:extLst>
        </c:ser>
        <c:ser>
          <c:idx val="1"/>
          <c:order val="1"/>
          <c:tx>
            <c:strRef>
              <c:f>'Since  28.06.24'!$V$8</c:f>
              <c:strCache>
                <c:ptCount val="1"/>
                <c:pt idx="0">
                  <c:v>Nasdaq 100 (EUR)</c:v>
                </c:pt>
              </c:strCache>
            </c:strRef>
          </c:tx>
          <c:spPr>
            <a:ln w="28575" cap="rnd">
              <a:solidFill>
                <a:schemeClr val="accent2"/>
              </a:solidFill>
              <a:round/>
            </a:ln>
            <a:effectLst/>
          </c:spPr>
          <c:marker>
            <c:symbol val="none"/>
          </c:marker>
          <c:cat>
            <c:numRef>
              <c:f>'Since  28.06.24'!$T$9:$T$113</c:f>
              <c:numCache>
                <c:formatCode>m/d/yyyy</c:formatCode>
                <c:ptCount val="105"/>
                <c:pt idx="0">
                  <c:v>45471</c:v>
                </c:pt>
                <c:pt idx="1">
                  <c:v>45474</c:v>
                </c:pt>
                <c:pt idx="2">
                  <c:v>45475</c:v>
                </c:pt>
                <c:pt idx="3">
                  <c:v>45476</c:v>
                </c:pt>
                <c:pt idx="4">
                  <c:v>45477</c:v>
                </c:pt>
                <c:pt idx="5">
                  <c:v>45478</c:v>
                </c:pt>
                <c:pt idx="6">
                  <c:v>45481</c:v>
                </c:pt>
                <c:pt idx="7">
                  <c:v>45482</c:v>
                </c:pt>
                <c:pt idx="8">
                  <c:v>45483</c:v>
                </c:pt>
                <c:pt idx="9">
                  <c:v>45484</c:v>
                </c:pt>
                <c:pt idx="10">
                  <c:v>45485</c:v>
                </c:pt>
                <c:pt idx="11">
                  <c:v>45488</c:v>
                </c:pt>
                <c:pt idx="12">
                  <c:v>45489</c:v>
                </c:pt>
                <c:pt idx="13">
                  <c:v>45490</c:v>
                </c:pt>
                <c:pt idx="14">
                  <c:v>45491</c:v>
                </c:pt>
                <c:pt idx="15">
                  <c:v>45492</c:v>
                </c:pt>
                <c:pt idx="16">
                  <c:v>45495</c:v>
                </c:pt>
                <c:pt idx="17">
                  <c:v>45496</c:v>
                </c:pt>
                <c:pt idx="18">
                  <c:v>45497</c:v>
                </c:pt>
                <c:pt idx="19">
                  <c:v>45498</c:v>
                </c:pt>
                <c:pt idx="20">
                  <c:v>45499</c:v>
                </c:pt>
                <c:pt idx="21">
                  <c:v>45502</c:v>
                </c:pt>
                <c:pt idx="22">
                  <c:v>45503</c:v>
                </c:pt>
                <c:pt idx="23">
                  <c:v>45504</c:v>
                </c:pt>
                <c:pt idx="24">
                  <c:v>45505</c:v>
                </c:pt>
                <c:pt idx="25">
                  <c:v>45506</c:v>
                </c:pt>
                <c:pt idx="26">
                  <c:v>45509</c:v>
                </c:pt>
                <c:pt idx="27">
                  <c:v>45510</c:v>
                </c:pt>
                <c:pt idx="28">
                  <c:v>45511</c:v>
                </c:pt>
                <c:pt idx="29">
                  <c:v>45512</c:v>
                </c:pt>
                <c:pt idx="30">
                  <c:v>45513</c:v>
                </c:pt>
                <c:pt idx="31">
                  <c:v>45516</c:v>
                </c:pt>
                <c:pt idx="32">
                  <c:v>45517</c:v>
                </c:pt>
                <c:pt idx="33">
                  <c:v>45518</c:v>
                </c:pt>
                <c:pt idx="34">
                  <c:v>45519</c:v>
                </c:pt>
                <c:pt idx="35">
                  <c:v>45520</c:v>
                </c:pt>
                <c:pt idx="36">
                  <c:v>45523</c:v>
                </c:pt>
                <c:pt idx="37">
                  <c:v>45524</c:v>
                </c:pt>
                <c:pt idx="38">
                  <c:v>45525</c:v>
                </c:pt>
                <c:pt idx="39">
                  <c:v>45526</c:v>
                </c:pt>
                <c:pt idx="40">
                  <c:v>45527</c:v>
                </c:pt>
                <c:pt idx="41">
                  <c:v>45530</c:v>
                </c:pt>
                <c:pt idx="42">
                  <c:v>45531</c:v>
                </c:pt>
                <c:pt idx="43">
                  <c:v>45532</c:v>
                </c:pt>
                <c:pt idx="44">
                  <c:v>45533</c:v>
                </c:pt>
                <c:pt idx="45">
                  <c:v>45534</c:v>
                </c:pt>
                <c:pt idx="46">
                  <c:v>45537</c:v>
                </c:pt>
                <c:pt idx="47">
                  <c:v>45538</c:v>
                </c:pt>
                <c:pt idx="48">
                  <c:v>45539</c:v>
                </c:pt>
                <c:pt idx="49">
                  <c:v>45540</c:v>
                </c:pt>
                <c:pt idx="50">
                  <c:v>45541</c:v>
                </c:pt>
                <c:pt idx="51">
                  <c:v>45544</c:v>
                </c:pt>
                <c:pt idx="52">
                  <c:v>45545</c:v>
                </c:pt>
                <c:pt idx="53">
                  <c:v>45546</c:v>
                </c:pt>
                <c:pt idx="54">
                  <c:v>45547</c:v>
                </c:pt>
                <c:pt idx="55">
                  <c:v>45548</c:v>
                </c:pt>
                <c:pt idx="56">
                  <c:v>45551</c:v>
                </c:pt>
                <c:pt idx="57">
                  <c:v>45552</c:v>
                </c:pt>
                <c:pt idx="58">
                  <c:v>45553</c:v>
                </c:pt>
                <c:pt idx="59">
                  <c:v>45554</c:v>
                </c:pt>
                <c:pt idx="60">
                  <c:v>45555</c:v>
                </c:pt>
                <c:pt idx="61">
                  <c:v>45558</c:v>
                </c:pt>
                <c:pt idx="62">
                  <c:v>45559</c:v>
                </c:pt>
                <c:pt idx="63">
                  <c:v>45560</c:v>
                </c:pt>
                <c:pt idx="64">
                  <c:v>45561</c:v>
                </c:pt>
                <c:pt idx="65">
                  <c:v>45562</c:v>
                </c:pt>
                <c:pt idx="66">
                  <c:v>45565</c:v>
                </c:pt>
                <c:pt idx="67">
                  <c:v>45566</c:v>
                </c:pt>
                <c:pt idx="68">
                  <c:v>45567</c:v>
                </c:pt>
                <c:pt idx="69">
                  <c:v>45568</c:v>
                </c:pt>
                <c:pt idx="70">
                  <c:v>45569</c:v>
                </c:pt>
                <c:pt idx="71">
                  <c:v>45572</c:v>
                </c:pt>
                <c:pt idx="72">
                  <c:v>45573</c:v>
                </c:pt>
                <c:pt idx="73">
                  <c:v>45574</c:v>
                </c:pt>
                <c:pt idx="74">
                  <c:v>45575</c:v>
                </c:pt>
                <c:pt idx="75">
                  <c:v>45576</c:v>
                </c:pt>
                <c:pt idx="76">
                  <c:v>45579</c:v>
                </c:pt>
                <c:pt idx="77">
                  <c:v>45580</c:v>
                </c:pt>
                <c:pt idx="78">
                  <c:v>45581</c:v>
                </c:pt>
                <c:pt idx="79">
                  <c:v>45582</c:v>
                </c:pt>
                <c:pt idx="80">
                  <c:v>45583</c:v>
                </c:pt>
                <c:pt idx="81">
                  <c:v>45586</c:v>
                </c:pt>
                <c:pt idx="82">
                  <c:v>45587</c:v>
                </c:pt>
                <c:pt idx="83">
                  <c:v>45588</c:v>
                </c:pt>
                <c:pt idx="84">
                  <c:v>45589</c:v>
                </c:pt>
                <c:pt idx="85">
                  <c:v>45590</c:v>
                </c:pt>
                <c:pt idx="86">
                  <c:v>45593</c:v>
                </c:pt>
                <c:pt idx="87">
                  <c:v>45594</c:v>
                </c:pt>
                <c:pt idx="88">
                  <c:v>45595</c:v>
                </c:pt>
                <c:pt idx="89">
                  <c:v>45596</c:v>
                </c:pt>
                <c:pt idx="90">
                  <c:v>45597</c:v>
                </c:pt>
                <c:pt idx="91">
                  <c:v>45600</c:v>
                </c:pt>
                <c:pt idx="92">
                  <c:v>45601</c:v>
                </c:pt>
                <c:pt idx="93">
                  <c:v>45602</c:v>
                </c:pt>
                <c:pt idx="94">
                  <c:v>45603</c:v>
                </c:pt>
                <c:pt idx="95">
                  <c:v>45604</c:v>
                </c:pt>
                <c:pt idx="96">
                  <c:v>45607</c:v>
                </c:pt>
                <c:pt idx="97">
                  <c:v>45608</c:v>
                </c:pt>
                <c:pt idx="98">
                  <c:v>45609</c:v>
                </c:pt>
                <c:pt idx="99">
                  <c:v>45610</c:v>
                </c:pt>
                <c:pt idx="100">
                  <c:v>45611</c:v>
                </c:pt>
                <c:pt idx="101">
                  <c:v>45614</c:v>
                </c:pt>
                <c:pt idx="102">
                  <c:v>45615</c:v>
                </c:pt>
                <c:pt idx="103">
                  <c:v>45616</c:v>
                </c:pt>
                <c:pt idx="104">
                  <c:v>45617</c:v>
                </c:pt>
              </c:numCache>
            </c:numRef>
          </c:cat>
          <c:val>
            <c:numRef>
              <c:f>'Since  28.06.24'!$V$9:$V$113</c:f>
              <c:numCache>
                <c:formatCode>General</c:formatCode>
                <c:ptCount val="105"/>
                <c:pt idx="0">
                  <c:v>0</c:v>
                </c:pt>
                <c:pt idx="1">
                  <c:v>0.55000000000000004</c:v>
                </c:pt>
                <c:pt idx="2">
                  <c:v>1.43</c:v>
                </c:pt>
                <c:pt idx="3">
                  <c:v>1.74</c:v>
                </c:pt>
                <c:pt idx="4">
                  <c:v>1.72</c:v>
                </c:pt>
                <c:pt idx="5">
                  <c:v>2.61</c:v>
                </c:pt>
                <c:pt idx="6">
                  <c:v>2.75</c:v>
                </c:pt>
                <c:pt idx="7">
                  <c:v>2.99</c:v>
                </c:pt>
                <c:pt idx="8">
                  <c:v>4.04</c:v>
                </c:pt>
                <c:pt idx="9">
                  <c:v>1.18</c:v>
                </c:pt>
                <c:pt idx="10">
                  <c:v>1.5</c:v>
                </c:pt>
                <c:pt idx="11">
                  <c:v>1.71</c:v>
                </c:pt>
                <c:pt idx="12">
                  <c:v>2.12</c:v>
                </c:pt>
                <c:pt idx="13">
                  <c:v>-1.36</c:v>
                </c:pt>
                <c:pt idx="14">
                  <c:v>-1.67</c:v>
                </c:pt>
                <c:pt idx="15">
                  <c:v>-2.36</c:v>
                </c:pt>
                <c:pt idx="16">
                  <c:v>-0.82</c:v>
                </c:pt>
                <c:pt idx="17">
                  <c:v>-0.8</c:v>
                </c:pt>
                <c:pt idx="18">
                  <c:v>-4.5</c:v>
                </c:pt>
                <c:pt idx="19">
                  <c:v>-5.52</c:v>
                </c:pt>
                <c:pt idx="20">
                  <c:v>-4.5599999999999996</c:v>
                </c:pt>
                <c:pt idx="21">
                  <c:v>-4.0199999999999996</c:v>
                </c:pt>
                <c:pt idx="22">
                  <c:v>-5.25</c:v>
                </c:pt>
                <c:pt idx="23">
                  <c:v>-2.5299999999999998</c:v>
                </c:pt>
                <c:pt idx="24">
                  <c:v>-4.66</c:v>
                </c:pt>
                <c:pt idx="25">
                  <c:v>-8.0399999999999991</c:v>
                </c:pt>
                <c:pt idx="26">
                  <c:v>-11.22</c:v>
                </c:pt>
                <c:pt idx="27">
                  <c:v>-9.94</c:v>
                </c:pt>
                <c:pt idx="28">
                  <c:v>-10.97</c:v>
                </c:pt>
                <c:pt idx="29">
                  <c:v>-8.0399999999999991</c:v>
                </c:pt>
                <c:pt idx="30">
                  <c:v>-7.66</c:v>
                </c:pt>
                <c:pt idx="31">
                  <c:v>-7.58</c:v>
                </c:pt>
                <c:pt idx="32">
                  <c:v>-5.48</c:v>
                </c:pt>
                <c:pt idx="33">
                  <c:v>-6.07</c:v>
                </c:pt>
                <c:pt idx="34">
                  <c:v>-3.3</c:v>
                </c:pt>
                <c:pt idx="35">
                  <c:v>-3.25</c:v>
                </c:pt>
                <c:pt idx="36">
                  <c:v>-2.63</c:v>
                </c:pt>
                <c:pt idx="37">
                  <c:v>-3.26</c:v>
                </c:pt>
                <c:pt idx="38">
                  <c:v>-2.88</c:v>
                </c:pt>
                <c:pt idx="39">
                  <c:v>-4.41</c:v>
                </c:pt>
                <c:pt idx="40">
                  <c:v>-3.83</c:v>
                </c:pt>
                <c:pt idx="41">
                  <c:v>-4.8099999999999996</c:v>
                </c:pt>
                <c:pt idx="42">
                  <c:v>-4.41</c:v>
                </c:pt>
                <c:pt idx="43">
                  <c:v>-5.23</c:v>
                </c:pt>
                <c:pt idx="44">
                  <c:v>-4.84</c:v>
                </c:pt>
                <c:pt idx="45">
                  <c:v>-3.59</c:v>
                </c:pt>
                <c:pt idx="46">
                  <c:v>-3.6</c:v>
                </c:pt>
                <c:pt idx="47">
                  <c:v>-6.4</c:v>
                </c:pt>
                <c:pt idx="48">
                  <c:v>-6.99</c:v>
                </c:pt>
                <c:pt idx="49">
                  <c:v>-6.84</c:v>
                </c:pt>
                <c:pt idx="50">
                  <c:v>-9.67</c:v>
                </c:pt>
                <c:pt idx="51">
                  <c:v>-7.84</c:v>
                </c:pt>
                <c:pt idx="52">
                  <c:v>-6.8</c:v>
                </c:pt>
                <c:pt idx="53">
                  <c:v>-4.71</c:v>
                </c:pt>
                <c:pt idx="54">
                  <c:v>-4.05</c:v>
                </c:pt>
                <c:pt idx="55">
                  <c:v>-4.01</c:v>
                </c:pt>
                <c:pt idx="56">
                  <c:v>-4.76</c:v>
                </c:pt>
                <c:pt idx="57">
                  <c:v>-4.72</c:v>
                </c:pt>
                <c:pt idx="58">
                  <c:v>-5.09</c:v>
                </c:pt>
                <c:pt idx="59">
                  <c:v>-2.74</c:v>
                </c:pt>
                <c:pt idx="60">
                  <c:v>-3.1</c:v>
                </c:pt>
                <c:pt idx="61">
                  <c:v>-2.71</c:v>
                </c:pt>
                <c:pt idx="62">
                  <c:v>-2.42</c:v>
                </c:pt>
                <c:pt idx="63">
                  <c:v>-2.4700000000000002</c:v>
                </c:pt>
                <c:pt idx="64">
                  <c:v>-1.72</c:v>
                </c:pt>
                <c:pt idx="65">
                  <c:v>-2.35</c:v>
                </c:pt>
                <c:pt idx="66">
                  <c:v>-1.93</c:v>
                </c:pt>
                <c:pt idx="67">
                  <c:v>-2.6</c:v>
                </c:pt>
                <c:pt idx="68">
                  <c:v>-2.08</c:v>
                </c:pt>
                <c:pt idx="69">
                  <c:v>-1.97</c:v>
                </c:pt>
                <c:pt idx="70">
                  <c:v>-0.33</c:v>
                </c:pt>
                <c:pt idx="71">
                  <c:v>-1.55</c:v>
                </c:pt>
                <c:pt idx="72">
                  <c:v>0.03</c:v>
                </c:pt>
                <c:pt idx="73">
                  <c:v>1.03</c:v>
                </c:pt>
                <c:pt idx="74">
                  <c:v>1.1299999999999999</c:v>
                </c:pt>
                <c:pt idx="75">
                  <c:v>1.0900000000000001</c:v>
                </c:pt>
                <c:pt idx="76">
                  <c:v>2.2000000000000002</c:v>
                </c:pt>
                <c:pt idx="77">
                  <c:v>0.91</c:v>
                </c:pt>
                <c:pt idx="78">
                  <c:v>1.19</c:v>
                </c:pt>
                <c:pt idx="79">
                  <c:v>1.76</c:v>
                </c:pt>
                <c:pt idx="80">
                  <c:v>2.16</c:v>
                </c:pt>
                <c:pt idx="81">
                  <c:v>2.56</c:v>
                </c:pt>
                <c:pt idx="82">
                  <c:v>2.91</c:v>
                </c:pt>
                <c:pt idx="83">
                  <c:v>1.64</c:v>
                </c:pt>
                <c:pt idx="84">
                  <c:v>2.2599999999999998</c:v>
                </c:pt>
                <c:pt idx="85">
                  <c:v>2.54</c:v>
                </c:pt>
                <c:pt idx="86">
                  <c:v>2.66</c:v>
                </c:pt>
                <c:pt idx="87">
                  <c:v>3.86</c:v>
                </c:pt>
                <c:pt idx="88">
                  <c:v>2.42</c:v>
                </c:pt>
                <c:pt idx="89">
                  <c:v>-0.01</c:v>
                </c:pt>
                <c:pt idx="90">
                  <c:v>0.79</c:v>
                </c:pt>
                <c:pt idx="91">
                  <c:v>-0.03</c:v>
                </c:pt>
                <c:pt idx="92">
                  <c:v>1.27</c:v>
                </c:pt>
                <c:pt idx="93">
                  <c:v>5.63</c:v>
                </c:pt>
                <c:pt idx="94">
                  <c:v>6.53</c:v>
                </c:pt>
                <c:pt idx="95">
                  <c:v>7.25</c:v>
                </c:pt>
                <c:pt idx="96">
                  <c:v>8.2100000000000009</c:v>
                </c:pt>
                <c:pt idx="97">
                  <c:v>8.42</c:v>
                </c:pt>
                <c:pt idx="98">
                  <c:v>8.4499999999999993</c:v>
                </c:pt>
                <c:pt idx="99">
                  <c:v>7.86</c:v>
                </c:pt>
                <c:pt idx="100">
                  <c:v>5.7</c:v>
                </c:pt>
                <c:pt idx="101">
                  <c:v>6.07</c:v>
                </c:pt>
                <c:pt idx="102">
                  <c:v>6.69</c:v>
                </c:pt>
                <c:pt idx="103">
                  <c:v>7.27</c:v>
                </c:pt>
                <c:pt idx="104">
                  <c:v>7.78</c:v>
                </c:pt>
              </c:numCache>
            </c:numRef>
          </c:val>
          <c:smooth val="0"/>
          <c:extLst>
            <c:ext xmlns:c16="http://schemas.microsoft.com/office/drawing/2014/chart" uri="{C3380CC4-5D6E-409C-BE32-E72D297353CC}">
              <c16:uniqueId val="{00000001-8D1B-4C8E-823E-7F83F9DD28E8}"/>
            </c:ext>
          </c:extLst>
        </c:ser>
        <c:ser>
          <c:idx val="5"/>
          <c:order val="2"/>
          <c:tx>
            <c:strRef>
              <c:f>'Since  28.06.24'!$Z$8</c:f>
              <c:strCache>
                <c:ptCount val="1"/>
                <c:pt idx="0">
                  <c:v>Magnificent 7 (EUR)*</c:v>
                </c:pt>
              </c:strCache>
            </c:strRef>
          </c:tx>
          <c:spPr>
            <a:ln w="28575" cap="rnd">
              <a:solidFill>
                <a:schemeClr val="accent6"/>
              </a:solidFill>
              <a:round/>
            </a:ln>
            <a:effectLst/>
          </c:spPr>
          <c:marker>
            <c:symbol val="none"/>
          </c:marker>
          <c:cat>
            <c:numRef>
              <c:f>'Since  28.06.24'!$T$9:$T$113</c:f>
              <c:numCache>
                <c:formatCode>m/d/yyyy</c:formatCode>
                <c:ptCount val="105"/>
                <c:pt idx="0">
                  <c:v>45471</c:v>
                </c:pt>
                <c:pt idx="1">
                  <c:v>45474</c:v>
                </c:pt>
                <c:pt idx="2">
                  <c:v>45475</c:v>
                </c:pt>
                <c:pt idx="3">
                  <c:v>45476</c:v>
                </c:pt>
                <c:pt idx="4">
                  <c:v>45477</c:v>
                </c:pt>
                <c:pt idx="5">
                  <c:v>45478</c:v>
                </c:pt>
                <c:pt idx="6">
                  <c:v>45481</c:v>
                </c:pt>
                <c:pt idx="7">
                  <c:v>45482</c:v>
                </c:pt>
                <c:pt idx="8">
                  <c:v>45483</c:v>
                </c:pt>
                <c:pt idx="9">
                  <c:v>45484</c:v>
                </c:pt>
                <c:pt idx="10">
                  <c:v>45485</c:v>
                </c:pt>
                <c:pt idx="11">
                  <c:v>45488</c:v>
                </c:pt>
                <c:pt idx="12">
                  <c:v>45489</c:v>
                </c:pt>
                <c:pt idx="13">
                  <c:v>45490</c:v>
                </c:pt>
                <c:pt idx="14">
                  <c:v>45491</c:v>
                </c:pt>
                <c:pt idx="15">
                  <c:v>45492</c:v>
                </c:pt>
                <c:pt idx="16">
                  <c:v>45495</c:v>
                </c:pt>
                <c:pt idx="17">
                  <c:v>45496</c:v>
                </c:pt>
                <c:pt idx="18">
                  <c:v>45497</c:v>
                </c:pt>
                <c:pt idx="19">
                  <c:v>45498</c:v>
                </c:pt>
                <c:pt idx="20">
                  <c:v>45499</c:v>
                </c:pt>
                <c:pt idx="21">
                  <c:v>45502</c:v>
                </c:pt>
                <c:pt idx="22">
                  <c:v>45503</c:v>
                </c:pt>
                <c:pt idx="23">
                  <c:v>45504</c:v>
                </c:pt>
                <c:pt idx="24">
                  <c:v>45505</c:v>
                </c:pt>
                <c:pt idx="25">
                  <c:v>45506</c:v>
                </c:pt>
                <c:pt idx="26">
                  <c:v>45509</c:v>
                </c:pt>
                <c:pt idx="27">
                  <c:v>45510</c:v>
                </c:pt>
                <c:pt idx="28">
                  <c:v>45511</c:v>
                </c:pt>
                <c:pt idx="29">
                  <c:v>45512</c:v>
                </c:pt>
                <c:pt idx="30">
                  <c:v>45513</c:v>
                </c:pt>
                <c:pt idx="31">
                  <c:v>45516</c:v>
                </c:pt>
                <c:pt idx="32">
                  <c:v>45517</c:v>
                </c:pt>
                <c:pt idx="33">
                  <c:v>45518</c:v>
                </c:pt>
                <c:pt idx="34">
                  <c:v>45519</c:v>
                </c:pt>
                <c:pt idx="35">
                  <c:v>45520</c:v>
                </c:pt>
                <c:pt idx="36">
                  <c:v>45523</c:v>
                </c:pt>
                <c:pt idx="37">
                  <c:v>45524</c:v>
                </c:pt>
                <c:pt idx="38">
                  <c:v>45525</c:v>
                </c:pt>
                <c:pt idx="39">
                  <c:v>45526</c:v>
                </c:pt>
                <c:pt idx="40">
                  <c:v>45527</c:v>
                </c:pt>
                <c:pt idx="41">
                  <c:v>45530</c:v>
                </c:pt>
                <c:pt idx="42">
                  <c:v>45531</c:v>
                </c:pt>
                <c:pt idx="43">
                  <c:v>45532</c:v>
                </c:pt>
                <c:pt idx="44">
                  <c:v>45533</c:v>
                </c:pt>
                <c:pt idx="45">
                  <c:v>45534</c:v>
                </c:pt>
                <c:pt idx="46">
                  <c:v>45537</c:v>
                </c:pt>
                <c:pt idx="47">
                  <c:v>45538</c:v>
                </c:pt>
                <c:pt idx="48">
                  <c:v>45539</c:v>
                </c:pt>
                <c:pt idx="49">
                  <c:v>45540</c:v>
                </c:pt>
                <c:pt idx="50">
                  <c:v>45541</c:v>
                </c:pt>
                <c:pt idx="51">
                  <c:v>45544</c:v>
                </c:pt>
                <c:pt idx="52">
                  <c:v>45545</c:v>
                </c:pt>
                <c:pt idx="53">
                  <c:v>45546</c:v>
                </c:pt>
                <c:pt idx="54">
                  <c:v>45547</c:v>
                </c:pt>
                <c:pt idx="55">
                  <c:v>45548</c:v>
                </c:pt>
                <c:pt idx="56">
                  <c:v>45551</c:v>
                </c:pt>
                <c:pt idx="57">
                  <c:v>45552</c:v>
                </c:pt>
                <c:pt idx="58">
                  <c:v>45553</c:v>
                </c:pt>
                <c:pt idx="59">
                  <c:v>45554</c:v>
                </c:pt>
                <c:pt idx="60">
                  <c:v>45555</c:v>
                </c:pt>
                <c:pt idx="61">
                  <c:v>45558</c:v>
                </c:pt>
                <c:pt idx="62">
                  <c:v>45559</c:v>
                </c:pt>
                <c:pt idx="63">
                  <c:v>45560</c:v>
                </c:pt>
                <c:pt idx="64">
                  <c:v>45561</c:v>
                </c:pt>
                <c:pt idx="65">
                  <c:v>45562</c:v>
                </c:pt>
                <c:pt idx="66">
                  <c:v>45565</c:v>
                </c:pt>
                <c:pt idx="67">
                  <c:v>45566</c:v>
                </c:pt>
                <c:pt idx="68">
                  <c:v>45567</c:v>
                </c:pt>
                <c:pt idx="69">
                  <c:v>45568</c:v>
                </c:pt>
                <c:pt idx="70">
                  <c:v>45569</c:v>
                </c:pt>
                <c:pt idx="71">
                  <c:v>45572</c:v>
                </c:pt>
                <c:pt idx="72">
                  <c:v>45573</c:v>
                </c:pt>
                <c:pt idx="73">
                  <c:v>45574</c:v>
                </c:pt>
                <c:pt idx="74">
                  <c:v>45575</c:v>
                </c:pt>
                <c:pt idx="75">
                  <c:v>45576</c:v>
                </c:pt>
                <c:pt idx="76">
                  <c:v>45579</c:v>
                </c:pt>
                <c:pt idx="77">
                  <c:v>45580</c:v>
                </c:pt>
                <c:pt idx="78">
                  <c:v>45581</c:v>
                </c:pt>
                <c:pt idx="79">
                  <c:v>45582</c:v>
                </c:pt>
                <c:pt idx="80">
                  <c:v>45583</c:v>
                </c:pt>
                <c:pt idx="81">
                  <c:v>45586</c:v>
                </c:pt>
                <c:pt idx="82">
                  <c:v>45587</c:v>
                </c:pt>
                <c:pt idx="83">
                  <c:v>45588</c:v>
                </c:pt>
                <c:pt idx="84">
                  <c:v>45589</c:v>
                </c:pt>
                <c:pt idx="85">
                  <c:v>45590</c:v>
                </c:pt>
                <c:pt idx="86">
                  <c:v>45593</c:v>
                </c:pt>
                <c:pt idx="87">
                  <c:v>45594</c:v>
                </c:pt>
                <c:pt idx="88">
                  <c:v>45595</c:v>
                </c:pt>
                <c:pt idx="89">
                  <c:v>45596</c:v>
                </c:pt>
                <c:pt idx="90">
                  <c:v>45597</c:v>
                </c:pt>
                <c:pt idx="91">
                  <c:v>45600</c:v>
                </c:pt>
                <c:pt idx="92">
                  <c:v>45601</c:v>
                </c:pt>
                <c:pt idx="93">
                  <c:v>45602</c:v>
                </c:pt>
                <c:pt idx="94">
                  <c:v>45603</c:v>
                </c:pt>
                <c:pt idx="95">
                  <c:v>45604</c:v>
                </c:pt>
                <c:pt idx="96">
                  <c:v>45607</c:v>
                </c:pt>
                <c:pt idx="97">
                  <c:v>45608</c:v>
                </c:pt>
                <c:pt idx="98">
                  <c:v>45609</c:v>
                </c:pt>
                <c:pt idx="99">
                  <c:v>45610</c:v>
                </c:pt>
                <c:pt idx="100">
                  <c:v>45611</c:v>
                </c:pt>
                <c:pt idx="101">
                  <c:v>45614</c:v>
                </c:pt>
                <c:pt idx="102">
                  <c:v>45615</c:v>
                </c:pt>
                <c:pt idx="103">
                  <c:v>45616</c:v>
                </c:pt>
                <c:pt idx="104">
                  <c:v>45617</c:v>
                </c:pt>
              </c:numCache>
            </c:numRef>
          </c:cat>
          <c:val>
            <c:numRef>
              <c:f>'Since  28.06.24'!$Z$9:$Z$113</c:f>
              <c:numCache>
                <c:formatCode>General</c:formatCode>
                <c:ptCount val="105"/>
                <c:pt idx="0">
                  <c:v>0</c:v>
                </c:pt>
                <c:pt idx="1">
                  <c:v>1.9429000000000001</c:v>
                </c:pt>
                <c:pt idx="2">
                  <c:v>3.9405199999999998</c:v>
                </c:pt>
                <c:pt idx="3">
                  <c:v>5.3146199999999997</c:v>
                </c:pt>
                <c:pt idx="4">
                  <c:v>5.2805099999999996</c:v>
                </c:pt>
                <c:pt idx="5">
                  <c:v>6.9016999999999999</c:v>
                </c:pt>
                <c:pt idx="6">
                  <c:v>6.90076</c:v>
                </c:pt>
                <c:pt idx="7">
                  <c:v>8.1239600000000003</c:v>
                </c:pt>
                <c:pt idx="8">
                  <c:v>9.4370399999999997</c:v>
                </c:pt>
                <c:pt idx="9">
                  <c:v>4.1964199999999998</c:v>
                </c:pt>
                <c:pt idx="10">
                  <c:v>4.4675900000000004</c:v>
                </c:pt>
                <c:pt idx="11">
                  <c:v>4.8023699999999998</c:v>
                </c:pt>
                <c:pt idx="12">
                  <c:v>4.7222799999999996</c:v>
                </c:pt>
                <c:pt idx="13">
                  <c:v>0.61229999999999996</c:v>
                </c:pt>
                <c:pt idx="14">
                  <c:v>0.66337999999999997</c:v>
                </c:pt>
                <c:pt idx="15">
                  <c:v>-0.40494000000000002</c:v>
                </c:pt>
                <c:pt idx="16">
                  <c:v>2.0160999999999998</c:v>
                </c:pt>
                <c:pt idx="17">
                  <c:v>2.2996400000000001</c:v>
                </c:pt>
                <c:pt idx="18">
                  <c:v>-3.8451900000000001</c:v>
                </c:pt>
                <c:pt idx="19">
                  <c:v>-4.8660600000000001</c:v>
                </c:pt>
                <c:pt idx="20">
                  <c:v>-4.1068899999999999</c:v>
                </c:pt>
                <c:pt idx="21">
                  <c:v>-2.7753299999999999</c:v>
                </c:pt>
                <c:pt idx="22">
                  <c:v>-4.7132100000000001</c:v>
                </c:pt>
                <c:pt idx="23">
                  <c:v>-1.3682300000000001</c:v>
                </c:pt>
                <c:pt idx="24">
                  <c:v>-3.3835899999999999</c:v>
                </c:pt>
                <c:pt idx="25">
                  <c:v>-7.2298999999999998</c:v>
                </c:pt>
                <c:pt idx="26">
                  <c:v>-11.74353</c:v>
                </c:pt>
                <c:pt idx="27">
                  <c:v>-10.278969999999999</c:v>
                </c:pt>
                <c:pt idx="28">
                  <c:v>-11.56649</c:v>
                </c:pt>
                <c:pt idx="29">
                  <c:v>-8.67178</c:v>
                </c:pt>
                <c:pt idx="30">
                  <c:v>-8.0614600000000003</c:v>
                </c:pt>
                <c:pt idx="31">
                  <c:v>-7.7112100000000003</c:v>
                </c:pt>
                <c:pt idx="32">
                  <c:v>-5.0005800000000002</c:v>
                </c:pt>
                <c:pt idx="33">
                  <c:v>-6.0748499999999996</c:v>
                </c:pt>
                <c:pt idx="34">
                  <c:v>-2.8615699999999999</c:v>
                </c:pt>
                <c:pt idx="35">
                  <c:v>-2.65815</c:v>
                </c:pt>
                <c:pt idx="36">
                  <c:v>-1.5852200000000001</c:v>
                </c:pt>
                <c:pt idx="37">
                  <c:v>-2.3552200000000001</c:v>
                </c:pt>
                <c:pt idx="38">
                  <c:v>-1.99759</c:v>
                </c:pt>
                <c:pt idx="39">
                  <c:v>-4.3384499999999999</c:v>
                </c:pt>
                <c:pt idx="40">
                  <c:v>-3.0949900000000001</c:v>
                </c:pt>
                <c:pt idx="41">
                  <c:v>-4.2847799999999996</c:v>
                </c:pt>
                <c:pt idx="42">
                  <c:v>-4.4621899999999997</c:v>
                </c:pt>
                <c:pt idx="43">
                  <c:v>-5.3167</c:v>
                </c:pt>
                <c:pt idx="44">
                  <c:v>-5.5949999999999998</c:v>
                </c:pt>
                <c:pt idx="45">
                  <c:v>-4.0982500000000002</c:v>
                </c:pt>
                <c:pt idx="46">
                  <c:v>-4.1025799999999997</c:v>
                </c:pt>
                <c:pt idx="47">
                  <c:v>-7.2316000000000003</c:v>
                </c:pt>
                <c:pt idx="48">
                  <c:v>-7.6497000000000002</c:v>
                </c:pt>
                <c:pt idx="49">
                  <c:v>-6.0945400000000003</c:v>
                </c:pt>
                <c:pt idx="50">
                  <c:v>-10.022629999999999</c:v>
                </c:pt>
                <c:pt idx="51">
                  <c:v>-8.1214399999999998</c:v>
                </c:pt>
                <c:pt idx="52">
                  <c:v>-6.5094399999999997</c:v>
                </c:pt>
                <c:pt idx="53">
                  <c:v>-3.9109099999999999</c:v>
                </c:pt>
                <c:pt idx="54">
                  <c:v>-2.8614299999999999</c:v>
                </c:pt>
                <c:pt idx="55">
                  <c:v>-3.0345599999999999</c:v>
                </c:pt>
                <c:pt idx="56">
                  <c:v>-4.1715799999999996</c:v>
                </c:pt>
                <c:pt idx="57">
                  <c:v>-3.8393199999999998</c:v>
                </c:pt>
                <c:pt idx="58">
                  <c:v>-3.9639099999999998</c:v>
                </c:pt>
                <c:pt idx="59">
                  <c:v>-0.55600000000000005</c:v>
                </c:pt>
                <c:pt idx="60">
                  <c:v>-1.2247600000000001</c:v>
                </c:pt>
                <c:pt idx="61">
                  <c:v>-0.32868000000000003</c:v>
                </c:pt>
                <c:pt idx="62">
                  <c:v>0.42007</c:v>
                </c:pt>
                <c:pt idx="63">
                  <c:v>0.78564000000000001</c:v>
                </c:pt>
                <c:pt idx="64">
                  <c:v>0.75851000000000002</c:v>
                </c:pt>
                <c:pt idx="65">
                  <c:v>0.50302000000000002</c:v>
                </c:pt>
                <c:pt idx="66">
                  <c:v>1.32473</c:v>
                </c:pt>
                <c:pt idx="67">
                  <c:v>0.55323999999999995</c:v>
                </c:pt>
                <c:pt idx="68">
                  <c:v>0.29253000000000001</c:v>
                </c:pt>
                <c:pt idx="69">
                  <c:v>0.39771000000000001</c:v>
                </c:pt>
                <c:pt idx="70">
                  <c:v>2.5888800000000001</c:v>
                </c:pt>
                <c:pt idx="71">
                  <c:v>0.79720999999999997</c:v>
                </c:pt>
                <c:pt idx="72">
                  <c:v>2.71658</c:v>
                </c:pt>
                <c:pt idx="73">
                  <c:v>2.9037199999999999</c:v>
                </c:pt>
                <c:pt idx="74">
                  <c:v>3.1668799999999999</c:v>
                </c:pt>
                <c:pt idx="75">
                  <c:v>1.73807</c:v>
                </c:pt>
                <c:pt idx="76">
                  <c:v>2.98299</c:v>
                </c:pt>
                <c:pt idx="77">
                  <c:v>2.2856399999999999</c:v>
                </c:pt>
                <c:pt idx="78">
                  <c:v>2.7219699999999998</c:v>
                </c:pt>
                <c:pt idx="79">
                  <c:v>3.28179</c:v>
                </c:pt>
                <c:pt idx="80">
                  <c:v>3.50928</c:v>
                </c:pt>
                <c:pt idx="81">
                  <c:v>4.5804999999999998</c:v>
                </c:pt>
                <c:pt idx="82">
                  <c:v>5.2361399999999998</c:v>
                </c:pt>
                <c:pt idx="83">
                  <c:v>3.2624399999999998</c:v>
                </c:pt>
                <c:pt idx="84">
                  <c:v>6.7979799999999999</c:v>
                </c:pt>
                <c:pt idx="85">
                  <c:v>7.8415100000000004</c:v>
                </c:pt>
                <c:pt idx="86">
                  <c:v>7.6891100000000003</c:v>
                </c:pt>
                <c:pt idx="87">
                  <c:v>8.70106</c:v>
                </c:pt>
                <c:pt idx="88">
                  <c:v>7.8373299999999997</c:v>
                </c:pt>
                <c:pt idx="89">
                  <c:v>4.0737399999999999</c:v>
                </c:pt>
                <c:pt idx="90">
                  <c:v>5.1545300000000003</c:v>
                </c:pt>
                <c:pt idx="91">
                  <c:v>3.7334900000000002</c:v>
                </c:pt>
                <c:pt idx="92">
                  <c:v>5.4651300000000003</c:v>
                </c:pt>
                <c:pt idx="93">
                  <c:v>11.3306</c:v>
                </c:pt>
                <c:pt idx="94">
                  <c:v>13.06884</c:v>
                </c:pt>
                <c:pt idx="95">
                  <c:v>14.42497</c:v>
                </c:pt>
                <c:pt idx="96">
                  <c:v>16.47551</c:v>
                </c:pt>
                <c:pt idx="97">
                  <c:v>16.50459</c:v>
                </c:pt>
                <c:pt idx="98">
                  <c:v>16.783919999999998</c:v>
                </c:pt>
                <c:pt idx="99">
                  <c:v>15.53999</c:v>
                </c:pt>
                <c:pt idx="100">
                  <c:v>13.689170000000001</c:v>
                </c:pt>
                <c:pt idx="101">
                  <c:v>14.553800000000001</c:v>
                </c:pt>
                <c:pt idx="102">
                  <c:v>16.37876</c:v>
                </c:pt>
                <c:pt idx="103">
                  <c:v>16.488790000000002</c:v>
                </c:pt>
                <c:pt idx="104">
                  <c:v>15.200390000000001</c:v>
                </c:pt>
              </c:numCache>
            </c:numRef>
          </c:val>
          <c:smooth val="0"/>
          <c:extLst>
            <c:ext xmlns:c16="http://schemas.microsoft.com/office/drawing/2014/chart" uri="{C3380CC4-5D6E-409C-BE32-E72D297353CC}">
              <c16:uniqueId val="{00000002-8D1B-4C8E-823E-7F83F9DD28E8}"/>
            </c:ext>
          </c:extLst>
        </c:ser>
        <c:ser>
          <c:idx val="2"/>
          <c:order val="3"/>
          <c:tx>
            <c:strRef>
              <c:f>'Since  28.06.24'!$W$8</c:f>
              <c:strCache>
                <c:ptCount val="1"/>
                <c:pt idx="0">
                  <c:v>S&amp;P 500 (EUR)</c:v>
                </c:pt>
              </c:strCache>
            </c:strRef>
          </c:tx>
          <c:spPr>
            <a:ln w="28575" cap="rnd">
              <a:solidFill>
                <a:schemeClr val="accent3"/>
              </a:solidFill>
              <a:round/>
            </a:ln>
            <a:effectLst/>
          </c:spPr>
          <c:marker>
            <c:symbol val="none"/>
          </c:marker>
          <c:cat>
            <c:numRef>
              <c:f>'Since  28.06.24'!$T$9:$T$113</c:f>
              <c:numCache>
                <c:formatCode>m/d/yyyy</c:formatCode>
                <c:ptCount val="105"/>
                <c:pt idx="0">
                  <c:v>45471</c:v>
                </c:pt>
                <c:pt idx="1">
                  <c:v>45474</c:v>
                </c:pt>
                <c:pt idx="2">
                  <c:v>45475</c:v>
                </c:pt>
                <c:pt idx="3">
                  <c:v>45476</c:v>
                </c:pt>
                <c:pt idx="4">
                  <c:v>45477</c:v>
                </c:pt>
                <c:pt idx="5">
                  <c:v>45478</c:v>
                </c:pt>
                <c:pt idx="6">
                  <c:v>45481</c:v>
                </c:pt>
                <c:pt idx="7">
                  <c:v>45482</c:v>
                </c:pt>
                <c:pt idx="8">
                  <c:v>45483</c:v>
                </c:pt>
                <c:pt idx="9">
                  <c:v>45484</c:v>
                </c:pt>
                <c:pt idx="10">
                  <c:v>45485</c:v>
                </c:pt>
                <c:pt idx="11">
                  <c:v>45488</c:v>
                </c:pt>
                <c:pt idx="12">
                  <c:v>45489</c:v>
                </c:pt>
                <c:pt idx="13">
                  <c:v>45490</c:v>
                </c:pt>
                <c:pt idx="14">
                  <c:v>45491</c:v>
                </c:pt>
                <c:pt idx="15">
                  <c:v>45492</c:v>
                </c:pt>
                <c:pt idx="16">
                  <c:v>45495</c:v>
                </c:pt>
                <c:pt idx="17">
                  <c:v>45496</c:v>
                </c:pt>
                <c:pt idx="18">
                  <c:v>45497</c:v>
                </c:pt>
                <c:pt idx="19">
                  <c:v>45498</c:v>
                </c:pt>
                <c:pt idx="20">
                  <c:v>45499</c:v>
                </c:pt>
                <c:pt idx="21">
                  <c:v>45502</c:v>
                </c:pt>
                <c:pt idx="22">
                  <c:v>45503</c:v>
                </c:pt>
                <c:pt idx="23">
                  <c:v>45504</c:v>
                </c:pt>
                <c:pt idx="24">
                  <c:v>45505</c:v>
                </c:pt>
                <c:pt idx="25">
                  <c:v>45506</c:v>
                </c:pt>
                <c:pt idx="26">
                  <c:v>45509</c:v>
                </c:pt>
                <c:pt idx="27">
                  <c:v>45510</c:v>
                </c:pt>
                <c:pt idx="28">
                  <c:v>45511</c:v>
                </c:pt>
                <c:pt idx="29">
                  <c:v>45512</c:v>
                </c:pt>
                <c:pt idx="30">
                  <c:v>45513</c:v>
                </c:pt>
                <c:pt idx="31">
                  <c:v>45516</c:v>
                </c:pt>
                <c:pt idx="32">
                  <c:v>45517</c:v>
                </c:pt>
                <c:pt idx="33">
                  <c:v>45518</c:v>
                </c:pt>
                <c:pt idx="34">
                  <c:v>45519</c:v>
                </c:pt>
                <c:pt idx="35">
                  <c:v>45520</c:v>
                </c:pt>
                <c:pt idx="36">
                  <c:v>45523</c:v>
                </c:pt>
                <c:pt idx="37">
                  <c:v>45524</c:v>
                </c:pt>
                <c:pt idx="38">
                  <c:v>45525</c:v>
                </c:pt>
                <c:pt idx="39">
                  <c:v>45526</c:v>
                </c:pt>
                <c:pt idx="40">
                  <c:v>45527</c:v>
                </c:pt>
                <c:pt idx="41">
                  <c:v>45530</c:v>
                </c:pt>
                <c:pt idx="42">
                  <c:v>45531</c:v>
                </c:pt>
                <c:pt idx="43">
                  <c:v>45532</c:v>
                </c:pt>
                <c:pt idx="44">
                  <c:v>45533</c:v>
                </c:pt>
                <c:pt idx="45">
                  <c:v>45534</c:v>
                </c:pt>
                <c:pt idx="46">
                  <c:v>45537</c:v>
                </c:pt>
                <c:pt idx="47">
                  <c:v>45538</c:v>
                </c:pt>
                <c:pt idx="48">
                  <c:v>45539</c:v>
                </c:pt>
                <c:pt idx="49">
                  <c:v>45540</c:v>
                </c:pt>
                <c:pt idx="50">
                  <c:v>45541</c:v>
                </c:pt>
                <c:pt idx="51">
                  <c:v>45544</c:v>
                </c:pt>
                <c:pt idx="52">
                  <c:v>45545</c:v>
                </c:pt>
                <c:pt idx="53">
                  <c:v>45546</c:v>
                </c:pt>
                <c:pt idx="54">
                  <c:v>45547</c:v>
                </c:pt>
                <c:pt idx="55">
                  <c:v>45548</c:v>
                </c:pt>
                <c:pt idx="56">
                  <c:v>45551</c:v>
                </c:pt>
                <c:pt idx="57">
                  <c:v>45552</c:v>
                </c:pt>
                <c:pt idx="58">
                  <c:v>45553</c:v>
                </c:pt>
                <c:pt idx="59">
                  <c:v>45554</c:v>
                </c:pt>
                <c:pt idx="60">
                  <c:v>45555</c:v>
                </c:pt>
                <c:pt idx="61">
                  <c:v>45558</c:v>
                </c:pt>
                <c:pt idx="62">
                  <c:v>45559</c:v>
                </c:pt>
                <c:pt idx="63">
                  <c:v>45560</c:v>
                </c:pt>
                <c:pt idx="64">
                  <c:v>45561</c:v>
                </c:pt>
                <c:pt idx="65">
                  <c:v>45562</c:v>
                </c:pt>
                <c:pt idx="66">
                  <c:v>45565</c:v>
                </c:pt>
                <c:pt idx="67">
                  <c:v>45566</c:v>
                </c:pt>
                <c:pt idx="68">
                  <c:v>45567</c:v>
                </c:pt>
                <c:pt idx="69">
                  <c:v>45568</c:v>
                </c:pt>
                <c:pt idx="70">
                  <c:v>45569</c:v>
                </c:pt>
                <c:pt idx="71">
                  <c:v>45572</c:v>
                </c:pt>
                <c:pt idx="72">
                  <c:v>45573</c:v>
                </c:pt>
                <c:pt idx="73">
                  <c:v>45574</c:v>
                </c:pt>
                <c:pt idx="74">
                  <c:v>45575</c:v>
                </c:pt>
                <c:pt idx="75">
                  <c:v>45576</c:v>
                </c:pt>
                <c:pt idx="76">
                  <c:v>45579</c:v>
                </c:pt>
                <c:pt idx="77">
                  <c:v>45580</c:v>
                </c:pt>
                <c:pt idx="78">
                  <c:v>45581</c:v>
                </c:pt>
                <c:pt idx="79">
                  <c:v>45582</c:v>
                </c:pt>
                <c:pt idx="80">
                  <c:v>45583</c:v>
                </c:pt>
                <c:pt idx="81">
                  <c:v>45586</c:v>
                </c:pt>
                <c:pt idx="82">
                  <c:v>45587</c:v>
                </c:pt>
                <c:pt idx="83">
                  <c:v>45588</c:v>
                </c:pt>
                <c:pt idx="84">
                  <c:v>45589</c:v>
                </c:pt>
                <c:pt idx="85">
                  <c:v>45590</c:v>
                </c:pt>
                <c:pt idx="86">
                  <c:v>45593</c:v>
                </c:pt>
                <c:pt idx="87">
                  <c:v>45594</c:v>
                </c:pt>
                <c:pt idx="88">
                  <c:v>45595</c:v>
                </c:pt>
                <c:pt idx="89">
                  <c:v>45596</c:v>
                </c:pt>
                <c:pt idx="90">
                  <c:v>45597</c:v>
                </c:pt>
                <c:pt idx="91">
                  <c:v>45600</c:v>
                </c:pt>
                <c:pt idx="92">
                  <c:v>45601</c:v>
                </c:pt>
                <c:pt idx="93">
                  <c:v>45602</c:v>
                </c:pt>
                <c:pt idx="94">
                  <c:v>45603</c:v>
                </c:pt>
                <c:pt idx="95">
                  <c:v>45604</c:v>
                </c:pt>
                <c:pt idx="96">
                  <c:v>45607</c:v>
                </c:pt>
                <c:pt idx="97">
                  <c:v>45608</c:v>
                </c:pt>
                <c:pt idx="98">
                  <c:v>45609</c:v>
                </c:pt>
                <c:pt idx="99">
                  <c:v>45610</c:v>
                </c:pt>
                <c:pt idx="100">
                  <c:v>45611</c:v>
                </c:pt>
                <c:pt idx="101">
                  <c:v>45614</c:v>
                </c:pt>
                <c:pt idx="102">
                  <c:v>45615</c:v>
                </c:pt>
                <c:pt idx="103">
                  <c:v>45616</c:v>
                </c:pt>
                <c:pt idx="104">
                  <c:v>45617</c:v>
                </c:pt>
              </c:numCache>
            </c:numRef>
          </c:cat>
          <c:val>
            <c:numRef>
              <c:f>'Since  28.06.24'!$W$9:$W$113</c:f>
              <c:numCache>
                <c:formatCode>General</c:formatCode>
                <c:ptCount val="105"/>
                <c:pt idx="0">
                  <c:v>0</c:v>
                </c:pt>
                <c:pt idx="1">
                  <c:v>0.16</c:v>
                </c:pt>
                <c:pt idx="2">
                  <c:v>0.66</c:v>
                </c:pt>
                <c:pt idx="3">
                  <c:v>0.59</c:v>
                </c:pt>
                <c:pt idx="4">
                  <c:v>0.56999999999999995</c:v>
                </c:pt>
                <c:pt idx="5">
                  <c:v>0.98</c:v>
                </c:pt>
                <c:pt idx="6">
                  <c:v>0.99</c:v>
                </c:pt>
                <c:pt idx="7">
                  <c:v>1.23</c:v>
                </c:pt>
                <c:pt idx="8">
                  <c:v>2.21</c:v>
                </c:pt>
                <c:pt idx="9">
                  <c:v>0.8</c:v>
                </c:pt>
                <c:pt idx="10">
                  <c:v>1.07</c:v>
                </c:pt>
                <c:pt idx="11">
                  <c:v>1.3</c:v>
                </c:pt>
                <c:pt idx="12">
                  <c:v>2.2999999999999998</c:v>
                </c:pt>
                <c:pt idx="13">
                  <c:v>0.39</c:v>
                </c:pt>
                <c:pt idx="14">
                  <c:v>-0.24</c:v>
                </c:pt>
                <c:pt idx="15">
                  <c:v>-0.72</c:v>
                </c:pt>
                <c:pt idx="16">
                  <c:v>0.4</c:v>
                </c:pt>
                <c:pt idx="17">
                  <c:v>0.61</c:v>
                </c:pt>
                <c:pt idx="18">
                  <c:v>-1.79</c:v>
                </c:pt>
                <c:pt idx="19">
                  <c:v>-2.31</c:v>
                </c:pt>
                <c:pt idx="20">
                  <c:v>-1.23</c:v>
                </c:pt>
                <c:pt idx="21">
                  <c:v>-0.78</c:v>
                </c:pt>
                <c:pt idx="22">
                  <c:v>-1.17</c:v>
                </c:pt>
                <c:pt idx="23">
                  <c:v>0.25</c:v>
                </c:pt>
                <c:pt idx="24">
                  <c:v>-0.86</c:v>
                </c:pt>
                <c:pt idx="25">
                  <c:v>-3.84</c:v>
                </c:pt>
                <c:pt idx="26">
                  <c:v>-7.2</c:v>
                </c:pt>
                <c:pt idx="27">
                  <c:v>-5.84</c:v>
                </c:pt>
                <c:pt idx="28">
                  <c:v>-6.56</c:v>
                </c:pt>
                <c:pt idx="29">
                  <c:v>-4.1900000000000004</c:v>
                </c:pt>
                <c:pt idx="30">
                  <c:v>-3.86</c:v>
                </c:pt>
                <c:pt idx="31">
                  <c:v>-3.92</c:v>
                </c:pt>
                <c:pt idx="32">
                  <c:v>-2.52</c:v>
                </c:pt>
                <c:pt idx="33">
                  <c:v>-2.84</c:v>
                </c:pt>
                <c:pt idx="34">
                  <c:v>-0.79</c:v>
                </c:pt>
                <c:pt idx="35">
                  <c:v>-0.64</c:v>
                </c:pt>
                <c:pt idx="36">
                  <c:v>-0.34</c:v>
                </c:pt>
                <c:pt idx="37">
                  <c:v>-0.95</c:v>
                </c:pt>
                <c:pt idx="38">
                  <c:v>-0.66</c:v>
                </c:pt>
                <c:pt idx="39">
                  <c:v>-1.44</c:v>
                </c:pt>
                <c:pt idx="40">
                  <c:v>-0.87</c:v>
                </c:pt>
                <c:pt idx="41">
                  <c:v>-1.1599999999999999</c:v>
                </c:pt>
                <c:pt idx="42">
                  <c:v>-0.91</c:v>
                </c:pt>
                <c:pt idx="43">
                  <c:v>-1.18</c:v>
                </c:pt>
                <c:pt idx="44">
                  <c:v>-0.65</c:v>
                </c:pt>
                <c:pt idx="45">
                  <c:v>0.38</c:v>
                </c:pt>
                <c:pt idx="46">
                  <c:v>0.37</c:v>
                </c:pt>
                <c:pt idx="47">
                  <c:v>-1.49</c:v>
                </c:pt>
                <c:pt idx="48">
                  <c:v>-2.08</c:v>
                </c:pt>
                <c:pt idx="49">
                  <c:v>-2.27</c:v>
                </c:pt>
                <c:pt idx="50">
                  <c:v>-4.3</c:v>
                </c:pt>
                <c:pt idx="51">
                  <c:v>-2.5</c:v>
                </c:pt>
                <c:pt idx="52">
                  <c:v>-1.84</c:v>
                </c:pt>
                <c:pt idx="53">
                  <c:v>-0.72</c:v>
                </c:pt>
                <c:pt idx="54">
                  <c:v>-0.25</c:v>
                </c:pt>
                <c:pt idx="55">
                  <c:v>-0.13</c:v>
                </c:pt>
                <c:pt idx="56">
                  <c:v>-0.3</c:v>
                </c:pt>
                <c:pt idx="57">
                  <c:v>-0.28000000000000003</c:v>
                </c:pt>
                <c:pt idx="58">
                  <c:v>-0.51</c:v>
                </c:pt>
                <c:pt idx="59">
                  <c:v>1.0900000000000001</c:v>
                </c:pt>
                <c:pt idx="60">
                  <c:v>0.77</c:v>
                </c:pt>
                <c:pt idx="61">
                  <c:v>1.1499999999999999</c:v>
                </c:pt>
                <c:pt idx="62">
                  <c:v>1.23</c:v>
                </c:pt>
                <c:pt idx="63">
                  <c:v>0.85</c:v>
                </c:pt>
                <c:pt idx="64">
                  <c:v>1.32</c:v>
                </c:pt>
                <c:pt idx="65">
                  <c:v>1.08</c:v>
                </c:pt>
                <c:pt idx="66">
                  <c:v>1.68</c:v>
                </c:pt>
                <c:pt idx="67">
                  <c:v>1.5</c:v>
                </c:pt>
                <c:pt idx="68">
                  <c:v>1.9</c:v>
                </c:pt>
                <c:pt idx="69">
                  <c:v>1.89</c:v>
                </c:pt>
                <c:pt idx="70">
                  <c:v>3.28</c:v>
                </c:pt>
                <c:pt idx="71">
                  <c:v>2.2400000000000002</c:v>
                </c:pt>
                <c:pt idx="72">
                  <c:v>3.28</c:v>
                </c:pt>
                <c:pt idx="73">
                  <c:v>4.2300000000000004</c:v>
                </c:pt>
                <c:pt idx="74">
                  <c:v>4.2699999999999996</c:v>
                </c:pt>
                <c:pt idx="75">
                  <c:v>4.7</c:v>
                </c:pt>
                <c:pt idx="76">
                  <c:v>5.79</c:v>
                </c:pt>
                <c:pt idx="77">
                  <c:v>5.1100000000000003</c:v>
                </c:pt>
                <c:pt idx="78">
                  <c:v>5.82</c:v>
                </c:pt>
                <c:pt idx="79">
                  <c:v>6.31</c:v>
                </c:pt>
                <c:pt idx="80">
                  <c:v>6.45</c:v>
                </c:pt>
                <c:pt idx="81">
                  <c:v>6.48</c:v>
                </c:pt>
                <c:pt idx="82">
                  <c:v>6.68</c:v>
                </c:pt>
                <c:pt idx="83">
                  <c:v>6.04</c:v>
                </c:pt>
                <c:pt idx="84">
                  <c:v>6.04</c:v>
                </c:pt>
                <c:pt idx="85">
                  <c:v>5.68</c:v>
                </c:pt>
                <c:pt idx="86">
                  <c:v>6.09</c:v>
                </c:pt>
                <c:pt idx="87">
                  <c:v>6.46</c:v>
                </c:pt>
                <c:pt idx="88">
                  <c:v>5.47</c:v>
                </c:pt>
                <c:pt idx="89">
                  <c:v>3.58</c:v>
                </c:pt>
                <c:pt idx="90">
                  <c:v>4.09</c:v>
                </c:pt>
                <c:pt idx="91">
                  <c:v>3.32</c:v>
                </c:pt>
                <c:pt idx="92">
                  <c:v>4.5599999999999996</c:v>
                </c:pt>
                <c:pt idx="93">
                  <c:v>8.84</c:v>
                </c:pt>
                <c:pt idx="94">
                  <c:v>8.9</c:v>
                </c:pt>
                <c:pt idx="95">
                  <c:v>9.9700000000000006</c:v>
                </c:pt>
                <c:pt idx="96">
                  <c:v>11.13</c:v>
                </c:pt>
                <c:pt idx="97">
                  <c:v>11.21</c:v>
                </c:pt>
                <c:pt idx="98">
                  <c:v>11.46</c:v>
                </c:pt>
                <c:pt idx="99">
                  <c:v>10.93</c:v>
                </c:pt>
                <c:pt idx="100">
                  <c:v>9.91</c:v>
                </c:pt>
                <c:pt idx="101">
                  <c:v>9.9600000000000009</c:v>
                </c:pt>
                <c:pt idx="102">
                  <c:v>10.26</c:v>
                </c:pt>
                <c:pt idx="103">
                  <c:v>10.96</c:v>
                </c:pt>
                <c:pt idx="104">
                  <c:v>11.67</c:v>
                </c:pt>
              </c:numCache>
            </c:numRef>
          </c:val>
          <c:smooth val="0"/>
          <c:extLst>
            <c:ext xmlns:c16="http://schemas.microsoft.com/office/drawing/2014/chart" uri="{C3380CC4-5D6E-409C-BE32-E72D297353CC}">
              <c16:uniqueId val="{00000003-8D1B-4C8E-823E-7F83F9DD28E8}"/>
            </c:ext>
          </c:extLst>
        </c:ser>
        <c:ser>
          <c:idx val="3"/>
          <c:order val="4"/>
          <c:tx>
            <c:strRef>
              <c:f>'Since  28.06.24'!$X$8</c:f>
              <c:strCache>
                <c:ptCount val="1"/>
                <c:pt idx="0">
                  <c:v>Stoxx 600 (EUR)</c:v>
                </c:pt>
              </c:strCache>
            </c:strRef>
          </c:tx>
          <c:spPr>
            <a:ln w="28575" cap="rnd">
              <a:solidFill>
                <a:schemeClr val="accent4"/>
              </a:solidFill>
              <a:round/>
            </a:ln>
            <a:effectLst/>
          </c:spPr>
          <c:marker>
            <c:symbol val="none"/>
          </c:marker>
          <c:cat>
            <c:numRef>
              <c:f>'Since  28.06.24'!$T$9:$T$113</c:f>
              <c:numCache>
                <c:formatCode>m/d/yyyy</c:formatCode>
                <c:ptCount val="105"/>
                <c:pt idx="0">
                  <c:v>45471</c:v>
                </c:pt>
                <c:pt idx="1">
                  <c:v>45474</c:v>
                </c:pt>
                <c:pt idx="2">
                  <c:v>45475</c:v>
                </c:pt>
                <c:pt idx="3">
                  <c:v>45476</c:v>
                </c:pt>
                <c:pt idx="4">
                  <c:v>45477</c:v>
                </c:pt>
                <c:pt idx="5">
                  <c:v>45478</c:v>
                </c:pt>
                <c:pt idx="6">
                  <c:v>45481</c:v>
                </c:pt>
                <c:pt idx="7">
                  <c:v>45482</c:v>
                </c:pt>
                <c:pt idx="8">
                  <c:v>45483</c:v>
                </c:pt>
                <c:pt idx="9">
                  <c:v>45484</c:v>
                </c:pt>
                <c:pt idx="10">
                  <c:v>45485</c:v>
                </c:pt>
                <c:pt idx="11">
                  <c:v>45488</c:v>
                </c:pt>
                <c:pt idx="12">
                  <c:v>45489</c:v>
                </c:pt>
                <c:pt idx="13">
                  <c:v>45490</c:v>
                </c:pt>
                <c:pt idx="14">
                  <c:v>45491</c:v>
                </c:pt>
                <c:pt idx="15">
                  <c:v>45492</c:v>
                </c:pt>
                <c:pt idx="16">
                  <c:v>45495</c:v>
                </c:pt>
                <c:pt idx="17">
                  <c:v>45496</c:v>
                </c:pt>
                <c:pt idx="18">
                  <c:v>45497</c:v>
                </c:pt>
                <c:pt idx="19">
                  <c:v>45498</c:v>
                </c:pt>
                <c:pt idx="20">
                  <c:v>45499</c:v>
                </c:pt>
                <c:pt idx="21">
                  <c:v>45502</c:v>
                </c:pt>
                <c:pt idx="22">
                  <c:v>45503</c:v>
                </c:pt>
                <c:pt idx="23">
                  <c:v>45504</c:v>
                </c:pt>
                <c:pt idx="24">
                  <c:v>45505</c:v>
                </c:pt>
                <c:pt idx="25">
                  <c:v>45506</c:v>
                </c:pt>
                <c:pt idx="26">
                  <c:v>45509</c:v>
                </c:pt>
                <c:pt idx="27">
                  <c:v>45510</c:v>
                </c:pt>
                <c:pt idx="28">
                  <c:v>45511</c:v>
                </c:pt>
                <c:pt idx="29">
                  <c:v>45512</c:v>
                </c:pt>
                <c:pt idx="30">
                  <c:v>45513</c:v>
                </c:pt>
                <c:pt idx="31">
                  <c:v>45516</c:v>
                </c:pt>
                <c:pt idx="32">
                  <c:v>45517</c:v>
                </c:pt>
                <c:pt idx="33">
                  <c:v>45518</c:v>
                </c:pt>
                <c:pt idx="34">
                  <c:v>45519</c:v>
                </c:pt>
                <c:pt idx="35">
                  <c:v>45520</c:v>
                </c:pt>
                <c:pt idx="36">
                  <c:v>45523</c:v>
                </c:pt>
                <c:pt idx="37">
                  <c:v>45524</c:v>
                </c:pt>
                <c:pt idx="38">
                  <c:v>45525</c:v>
                </c:pt>
                <c:pt idx="39">
                  <c:v>45526</c:v>
                </c:pt>
                <c:pt idx="40">
                  <c:v>45527</c:v>
                </c:pt>
                <c:pt idx="41">
                  <c:v>45530</c:v>
                </c:pt>
                <c:pt idx="42">
                  <c:v>45531</c:v>
                </c:pt>
                <c:pt idx="43">
                  <c:v>45532</c:v>
                </c:pt>
                <c:pt idx="44">
                  <c:v>45533</c:v>
                </c:pt>
                <c:pt idx="45">
                  <c:v>45534</c:v>
                </c:pt>
                <c:pt idx="46">
                  <c:v>45537</c:v>
                </c:pt>
                <c:pt idx="47">
                  <c:v>45538</c:v>
                </c:pt>
                <c:pt idx="48">
                  <c:v>45539</c:v>
                </c:pt>
                <c:pt idx="49">
                  <c:v>45540</c:v>
                </c:pt>
                <c:pt idx="50">
                  <c:v>45541</c:v>
                </c:pt>
                <c:pt idx="51">
                  <c:v>45544</c:v>
                </c:pt>
                <c:pt idx="52">
                  <c:v>45545</c:v>
                </c:pt>
                <c:pt idx="53">
                  <c:v>45546</c:v>
                </c:pt>
                <c:pt idx="54">
                  <c:v>45547</c:v>
                </c:pt>
                <c:pt idx="55">
                  <c:v>45548</c:v>
                </c:pt>
                <c:pt idx="56">
                  <c:v>45551</c:v>
                </c:pt>
                <c:pt idx="57">
                  <c:v>45552</c:v>
                </c:pt>
                <c:pt idx="58">
                  <c:v>45553</c:v>
                </c:pt>
                <c:pt idx="59">
                  <c:v>45554</c:v>
                </c:pt>
                <c:pt idx="60">
                  <c:v>45555</c:v>
                </c:pt>
                <c:pt idx="61">
                  <c:v>45558</c:v>
                </c:pt>
                <c:pt idx="62">
                  <c:v>45559</c:v>
                </c:pt>
                <c:pt idx="63">
                  <c:v>45560</c:v>
                </c:pt>
                <c:pt idx="64">
                  <c:v>45561</c:v>
                </c:pt>
                <c:pt idx="65">
                  <c:v>45562</c:v>
                </c:pt>
                <c:pt idx="66">
                  <c:v>45565</c:v>
                </c:pt>
                <c:pt idx="67">
                  <c:v>45566</c:v>
                </c:pt>
                <c:pt idx="68">
                  <c:v>45567</c:v>
                </c:pt>
                <c:pt idx="69">
                  <c:v>45568</c:v>
                </c:pt>
                <c:pt idx="70">
                  <c:v>45569</c:v>
                </c:pt>
                <c:pt idx="71">
                  <c:v>45572</c:v>
                </c:pt>
                <c:pt idx="72">
                  <c:v>45573</c:v>
                </c:pt>
                <c:pt idx="73">
                  <c:v>45574</c:v>
                </c:pt>
                <c:pt idx="74">
                  <c:v>45575</c:v>
                </c:pt>
                <c:pt idx="75">
                  <c:v>45576</c:v>
                </c:pt>
                <c:pt idx="76">
                  <c:v>45579</c:v>
                </c:pt>
                <c:pt idx="77">
                  <c:v>45580</c:v>
                </c:pt>
                <c:pt idx="78">
                  <c:v>45581</c:v>
                </c:pt>
                <c:pt idx="79">
                  <c:v>45582</c:v>
                </c:pt>
                <c:pt idx="80">
                  <c:v>45583</c:v>
                </c:pt>
                <c:pt idx="81">
                  <c:v>45586</c:v>
                </c:pt>
                <c:pt idx="82">
                  <c:v>45587</c:v>
                </c:pt>
                <c:pt idx="83">
                  <c:v>45588</c:v>
                </c:pt>
                <c:pt idx="84">
                  <c:v>45589</c:v>
                </c:pt>
                <c:pt idx="85">
                  <c:v>45590</c:v>
                </c:pt>
                <c:pt idx="86">
                  <c:v>45593</c:v>
                </c:pt>
                <c:pt idx="87">
                  <c:v>45594</c:v>
                </c:pt>
                <c:pt idx="88">
                  <c:v>45595</c:v>
                </c:pt>
                <c:pt idx="89">
                  <c:v>45596</c:v>
                </c:pt>
                <c:pt idx="90">
                  <c:v>45597</c:v>
                </c:pt>
                <c:pt idx="91">
                  <c:v>45600</c:v>
                </c:pt>
                <c:pt idx="92">
                  <c:v>45601</c:v>
                </c:pt>
                <c:pt idx="93">
                  <c:v>45602</c:v>
                </c:pt>
                <c:pt idx="94">
                  <c:v>45603</c:v>
                </c:pt>
                <c:pt idx="95">
                  <c:v>45604</c:v>
                </c:pt>
                <c:pt idx="96">
                  <c:v>45607</c:v>
                </c:pt>
                <c:pt idx="97">
                  <c:v>45608</c:v>
                </c:pt>
                <c:pt idx="98">
                  <c:v>45609</c:v>
                </c:pt>
                <c:pt idx="99">
                  <c:v>45610</c:v>
                </c:pt>
                <c:pt idx="100">
                  <c:v>45611</c:v>
                </c:pt>
                <c:pt idx="101">
                  <c:v>45614</c:v>
                </c:pt>
                <c:pt idx="102">
                  <c:v>45615</c:v>
                </c:pt>
                <c:pt idx="103">
                  <c:v>45616</c:v>
                </c:pt>
                <c:pt idx="104">
                  <c:v>45617</c:v>
                </c:pt>
              </c:numCache>
            </c:numRef>
          </c:cat>
          <c:val>
            <c:numRef>
              <c:f>'Since  28.06.24'!$X$9:$X$113</c:f>
              <c:numCache>
                <c:formatCode>General</c:formatCode>
                <c:ptCount val="105"/>
                <c:pt idx="0">
                  <c:v>0</c:v>
                </c:pt>
                <c:pt idx="1">
                  <c:v>0.33</c:v>
                </c:pt>
                <c:pt idx="2">
                  <c:v>-0.08</c:v>
                </c:pt>
                <c:pt idx="3">
                  <c:v>0.66</c:v>
                </c:pt>
                <c:pt idx="4">
                  <c:v>1.25</c:v>
                </c:pt>
                <c:pt idx="5">
                  <c:v>1.06</c:v>
                </c:pt>
                <c:pt idx="6">
                  <c:v>1.03</c:v>
                </c:pt>
                <c:pt idx="7">
                  <c:v>0.12</c:v>
                </c:pt>
                <c:pt idx="8">
                  <c:v>1.03</c:v>
                </c:pt>
                <c:pt idx="9">
                  <c:v>1.64</c:v>
                </c:pt>
                <c:pt idx="10">
                  <c:v>2.5299999999999998</c:v>
                </c:pt>
                <c:pt idx="11">
                  <c:v>1.48</c:v>
                </c:pt>
                <c:pt idx="12">
                  <c:v>1.21</c:v>
                </c:pt>
                <c:pt idx="13">
                  <c:v>0.73</c:v>
                </c:pt>
                <c:pt idx="14">
                  <c:v>0.56999999999999995</c:v>
                </c:pt>
                <c:pt idx="15">
                  <c:v>-0.21</c:v>
                </c:pt>
                <c:pt idx="16">
                  <c:v>0.74</c:v>
                </c:pt>
                <c:pt idx="17">
                  <c:v>0.88</c:v>
                </c:pt>
                <c:pt idx="18">
                  <c:v>0.26</c:v>
                </c:pt>
                <c:pt idx="19">
                  <c:v>-0.46</c:v>
                </c:pt>
                <c:pt idx="20">
                  <c:v>0.37</c:v>
                </c:pt>
                <c:pt idx="21">
                  <c:v>0.17</c:v>
                </c:pt>
                <c:pt idx="22">
                  <c:v>0.62</c:v>
                </c:pt>
                <c:pt idx="23">
                  <c:v>1.43</c:v>
                </c:pt>
                <c:pt idx="24">
                  <c:v>0.2</c:v>
                </c:pt>
                <c:pt idx="25">
                  <c:v>-2.54</c:v>
                </c:pt>
                <c:pt idx="26">
                  <c:v>-4.6399999999999997</c:v>
                </c:pt>
                <c:pt idx="27">
                  <c:v>-4.37</c:v>
                </c:pt>
                <c:pt idx="28">
                  <c:v>-2.89</c:v>
                </c:pt>
                <c:pt idx="29">
                  <c:v>-2.75</c:v>
                </c:pt>
                <c:pt idx="30">
                  <c:v>-2.2000000000000002</c:v>
                </c:pt>
                <c:pt idx="31">
                  <c:v>-2.2200000000000002</c:v>
                </c:pt>
                <c:pt idx="32">
                  <c:v>-1.71</c:v>
                </c:pt>
                <c:pt idx="33">
                  <c:v>-1.23</c:v>
                </c:pt>
                <c:pt idx="34">
                  <c:v>-0.01</c:v>
                </c:pt>
                <c:pt idx="35">
                  <c:v>0.3</c:v>
                </c:pt>
                <c:pt idx="36">
                  <c:v>0.92</c:v>
                </c:pt>
                <c:pt idx="37">
                  <c:v>0.46</c:v>
                </c:pt>
                <c:pt idx="38">
                  <c:v>0.8</c:v>
                </c:pt>
                <c:pt idx="39">
                  <c:v>1.1599999999999999</c:v>
                </c:pt>
                <c:pt idx="40">
                  <c:v>1.62</c:v>
                </c:pt>
                <c:pt idx="41">
                  <c:v>1.61</c:v>
                </c:pt>
                <c:pt idx="42">
                  <c:v>1.78</c:v>
                </c:pt>
                <c:pt idx="43">
                  <c:v>2.12</c:v>
                </c:pt>
                <c:pt idx="44">
                  <c:v>2.91</c:v>
                </c:pt>
                <c:pt idx="45">
                  <c:v>3.01</c:v>
                </c:pt>
                <c:pt idx="46">
                  <c:v>2.99</c:v>
                </c:pt>
                <c:pt idx="47">
                  <c:v>1.99</c:v>
                </c:pt>
                <c:pt idx="48">
                  <c:v>1</c:v>
                </c:pt>
                <c:pt idx="49">
                  <c:v>0.47</c:v>
                </c:pt>
                <c:pt idx="50">
                  <c:v>-0.61</c:v>
                </c:pt>
                <c:pt idx="51">
                  <c:v>0.21</c:v>
                </c:pt>
                <c:pt idx="52">
                  <c:v>-0.33</c:v>
                </c:pt>
                <c:pt idx="53">
                  <c:v>-0.32</c:v>
                </c:pt>
                <c:pt idx="54">
                  <c:v>0.48</c:v>
                </c:pt>
                <c:pt idx="55">
                  <c:v>1.24</c:v>
                </c:pt>
                <c:pt idx="56">
                  <c:v>1.08</c:v>
                </c:pt>
                <c:pt idx="57">
                  <c:v>1.49</c:v>
                </c:pt>
                <c:pt idx="58">
                  <c:v>0.98</c:v>
                </c:pt>
                <c:pt idx="59">
                  <c:v>2.39</c:v>
                </c:pt>
                <c:pt idx="60">
                  <c:v>0.94</c:v>
                </c:pt>
                <c:pt idx="61">
                  <c:v>1.35</c:v>
                </c:pt>
                <c:pt idx="62">
                  <c:v>2.02</c:v>
                </c:pt>
                <c:pt idx="63">
                  <c:v>1.92</c:v>
                </c:pt>
                <c:pt idx="64">
                  <c:v>3.21</c:v>
                </c:pt>
                <c:pt idx="65">
                  <c:v>3.7</c:v>
                </c:pt>
                <c:pt idx="66">
                  <c:v>2.68</c:v>
                </c:pt>
                <c:pt idx="67">
                  <c:v>2.29</c:v>
                </c:pt>
                <c:pt idx="68">
                  <c:v>2.35</c:v>
                </c:pt>
                <c:pt idx="69">
                  <c:v>1.4</c:v>
                </c:pt>
                <c:pt idx="70">
                  <c:v>1.85</c:v>
                </c:pt>
                <c:pt idx="71">
                  <c:v>2.0299999999999998</c:v>
                </c:pt>
                <c:pt idx="72">
                  <c:v>1.49</c:v>
                </c:pt>
                <c:pt idx="73">
                  <c:v>2.16</c:v>
                </c:pt>
                <c:pt idx="74">
                  <c:v>1.98</c:v>
                </c:pt>
                <c:pt idx="75">
                  <c:v>2.5499999999999998</c:v>
                </c:pt>
                <c:pt idx="76">
                  <c:v>3.1</c:v>
                </c:pt>
                <c:pt idx="77">
                  <c:v>2.2799999999999998</c:v>
                </c:pt>
                <c:pt idx="78">
                  <c:v>2.09</c:v>
                </c:pt>
                <c:pt idx="79">
                  <c:v>2.94</c:v>
                </c:pt>
                <c:pt idx="80">
                  <c:v>3.16</c:v>
                </c:pt>
                <c:pt idx="81">
                  <c:v>2.48</c:v>
                </c:pt>
                <c:pt idx="82">
                  <c:v>2.2599999999999998</c:v>
                </c:pt>
                <c:pt idx="83">
                  <c:v>1.95</c:v>
                </c:pt>
                <c:pt idx="84">
                  <c:v>1.99</c:v>
                </c:pt>
                <c:pt idx="85">
                  <c:v>1.95</c:v>
                </c:pt>
                <c:pt idx="86">
                  <c:v>2.38</c:v>
                </c:pt>
                <c:pt idx="87">
                  <c:v>1.8</c:v>
                </c:pt>
                <c:pt idx="88">
                  <c:v>0.55000000000000004</c:v>
                </c:pt>
                <c:pt idx="89">
                  <c:v>-0.65</c:v>
                </c:pt>
                <c:pt idx="90">
                  <c:v>0.43</c:v>
                </c:pt>
                <c:pt idx="91">
                  <c:v>0.1</c:v>
                </c:pt>
                <c:pt idx="92">
                  <c:v>0.17</c:v>
                </c:pt>
                <c:pt idx="93">
                  <c:v>-0.37</c:v>
                </c:pt>
                <c:pt idx="94">
                  <c:v>0.28999999999999998</c:v>
                </c:pt>
                <c:pt idx="95">
                  <c:v>-0.35</c:v>
                </c:pt>
                <c:pt idx="96">
                  <c:v>0.78</c:v>
                </c:pt>
                <c:pt idx="97">
                  <c:v>-1.22</c:v>
                </c:pt>
                <c:pt idx="98">
                  <c:v>-1.34</c:v>
                </c:pt>
                <c:pt idx="99">
                  <c:v>-0.24</c:v>
                </c:pt>
                <c:pt idx="100">
                  <c:v>-1.01</c:v>
                </c:pt>
                <c:pt idx="101">
                  <c:v>-1</c:v>
                </c:pt>
                <c:pt idx="102">
                  <c:v>-1.44</c:v>
                </c:pt>
                <c:pt idx="103">
                  <c:v>-1.46</c:v>
                </c:pt>
                <c:pt idx="104">
                  <c:v>-1.05</c:v>
                </c:pt>
              </c:numCache>
            </c:numRef>
          </c:val>
          <c:smooth val="0"/>
          <c:extLst>
            <c:ext xmlns:c16="http://schemas.microsoft.com/office/drawing/2014/chart" uri="{C3380CC4-5D6E-409C-BE32-E72D297353CC}">
              <c16:uniqueId val="{00000004-8D1B-4C8E-823E-7F83F9DD28E8}"/>
            </c:ext>
          </c:extLst>
        </c:ser>
        <c:ser>
          <c:idx val="4"/>
          <c:order val="5"/>
          <c:tx>
            <c:strRef>
              <c:f>'Since  28.06.24'!$Y$8</c:f>
              <c:strCache>
                <c:ptCount val="1"/>
                <c:pt idx="0">
                  <c:v>DAX (EUR)</c:v>
                </c:pt>
              </c:strCache>
            </c:strRef>
          </c:tx>
          <c:spPr>
            <a:ln w="28575" cap="rnd">
              <a:solidFill>
                <a:schemeClr val="accent5"/>
              </a:solidFill>
              <a:round/>
            </a:ln>
            <a:effectLst/>
          </c:spPr>
          <c:marker>
            <c:symbol val="none"/>
          </c:marker>
          <c:cat>
            <c:numRef>
              <c:f>'Since  28.06.24'!$T$9:$T$113</c:f>
              <c:numCache>
                <c:formatCode>m/d/yyyy</c:formatCode>
                <c:ptCount val="105"/>
                <c:pt idx="0">
                  <c:v>45471</c:v>
                </c:pt>
                <c:pt idx="1">
                  <c:v>45474</c:v>
                </c:pt>
                <c:pt idx="2">
                  <c:v>45475</c:v>
                </c:pt>
                <c:pt idx="3">
                  <c:v>45476</c:v>
                </c:pt>
                <c:pt idx="4">
                  <c:v>45477</c:v>
                </c:pt>
                <c:pt idx="5">
                  <c:v>45478</c:v>
                </c:pt>
                <c:pt idx="6">
                  <c:v>45481</c:v>
                </c:pt>
                <c:pt idx="7">
                  <c:v>45482</c:v>
                </c:pt>
                <c:pt idx="8">
                  <c:v>45483</c:v>
                </c:pt>
                <c:pt idx="9">
                  <c:v>45484</c:v>
                </c:pt>
                <c:pt idx="10">
                  <c:v>45485</c:v>
                </c:pt>
                <c:pt idx="11">
                  <c:v>45488</c:v>
                </c:pt>
                <c:pt idx="12">
                  <c:v>45489</c:v>
                </c:pt>
                <c:pt idx="13">
                  <c:v>45490</c:v>
                </c:pt>
                <c:pt idx="14">
                  <c:v>45491</c:v>
                </c:pt>
                <c:pt idx="15">
                  <c:v>45492</c:v>
                </c:pt>
                <c:pt idx="16">
                  <c:v>45495</c:v>
                </c:pt>
                <c:pt idx="17">
                  <c:v>45496</c:v>
                </c:pt>
                <c:pt idx="18">
                  <c:v>45497</c:v>
                </c:pt>
                <c:pt idx="19">
                  <c:v>45498</c:v>
                </c:pt>
                <c:pt idx="20">
                  <c:v>45499</c:v>
                </c:pt>
                <c:pt idx="21">
                  <c:v>45502</c:v>
                </c:pt>
                <c:pt idx="22">
                  <c:v>45503</c:v>
                </c:pt>
                <c:pt idx="23">
                  <c:v>45504</c:v>
                </c:pt>
                <c:pt idx="24">
                  <c:v>45505</c:v>
                </c:pt>
                <c:pt idx="25">
                  <c:v>45506</c:v>
                </c:pt>
                <c:pt idx="26">
                  <c:v>45509</c:v>
                </c:pt>
                <c:pt idx="27">
                  <c:v>45510</c:v>
                </c:pt>
                <c:pt idx="28">
                  <c:v>45511</c:v>
                </c:pt>
                <c:pt idx="29">
                  <c:v>45512</c:v>
                </c:pt>
                <c:pt idx="30">
                  <c:v>45513</c:v>
                </c:pt>
                <c:pt idx="31">
                  <c:v>45516</c:v>
                </c:pt>
                <c:pt idx="32">
                  <c:v>45517</c:v>
                </c:pt>
                <c:pt idx="33">
                  <c:v>45518</c:v>
                </c:pt>
                <c:pt idx="34">
                  <c:v>45519</c:v>
                </c:pt>
                <c:pt idx="35">
                  <c:v>45520</c:v>
                </c:pt>
                <c:pt idx="36">
                  <c:v>45523</c:v>
                </c:pt>
                <c:pt idx="37">
                  <c:v>45524</c:v>
                </c:pt>
                <c:pt idx="38">
                  <c:v>45525</c:v>
                </c:pt>
                <c:pt idx="39">
                  <c:v>45526</c:v>
                </c:pt>
                <c:pt idx="40">
                  <c:v>45527</c:v>
                </c:pt>
                <c:pt idx="41">
                  <c:v>45530</c:v>
                </c:pt>
                <c:pt idx="42">
                  <c:v>45531</c:v>
                </c:pt>
                <c:pt idx="43">
                  <c:v>45532</c:v>
                </c:pt>
                <c:pt idx="44">
                  <c:v>45533</c:v>
                </c:pt>
                <c:pt idx="45">
                  <c:v>45534</c:v>
                </c:pt>
                <c:pt idx="46">
                  <c:v>45537</c:v>
                </c:pt>
                <c:pt idx="47">
                  <c:v>45538</c:v>
                </c:pt>
                <c:pt idx="48">
                  <c:v>45539</c:v>
                </c:pt>
                <c:pt idx="49">
                  <c:v>45540</c:v>
                </c:pt>
                <c:pt idx="50">
                  <c:v>45541</c:v>
                </c:pt>
                <c:pt idx="51">
                  <c:v>45544</c:v>
                </c:pt>
                <c:pt idx="52">
                  <c:v>45545</c:v>
                </c:pt>
                <c:pt idx="53">
                  <c:v>45546</c:v>
                </c:pt>
                <c:pt idx="54">
                  <c:v>45547</c:v>
                </c:pt>
                <c:pt idx="55">
                  <c:v>45548</c:v>
                </c:pt>
                <c:pt idx="56">
                  <c:v>45551</c:v>
                </c:pt>
                <c:pt idx="57">
                  <c:v>45552</c:v>
                </c:pt>
                <c:pt idx="58">
                  <c:v>45553</c:v>
                </c:pt>
                <c:pt idx="59">
                  <c:v>45554</c:v>
                </c:pt>
                <c:pt idx="60">
                  <c:v>45555</c:v>
                </c:pt>
                <c:pt idx="61">
                  <c:v>45558</c:v>
                </c:pt>
                <c:pt idx="62">
                  <c:v>45559</c:v>
                </c:pt>
                <c:pt idx="63">
                  <c:v>45560</c:v>
                </c:pt>
                <c:pt idx="64">
                  <c:v>45561</c:v>
                </c:pt>
                <c:pt idx="65">
                  <c:v>45562</c:v>
                </c:pt>
                <c:pt idx="66">
                  <c:v>45565</c:v>
                </c:pt>
                <c:pt idx="67">
                  <c:v>45566</c:v>
                </c:pt>
                <c:pt idx="68">
                  <c:v>45567</c:v>
                </c:pt>
                <c:pt idx="69">
                  <c:v>45568</c:v>
                </c:pt>
                <c:pt idx="70">
                  <c:v>45569</c:v>
                </c:pt>
                <c:pt idx="71">
                  <c:v>45572</c:v>
                </c:pt>
                <c:pt idx="72">
                  <c:v>45573</c:v>
                </c:pt>
                <c:pt idx="73">
                  <c:v>45574</c:v>
                </c:pt>
                <c:pt idx="74">
                  <c:v>45575</c:v>
                </c:pt>
                <c:pt idx="75">
                  <c:v>45576</c:v>
                </c:pt>
                <c:pt idx="76">
                  <c:v>45579</c:v>
                </c:pt>
                <c:pt idx="77">
                  <c:v>45580</c:v>
                </c:pt>
                <c:pt idx="78">
                  <c:v>45581</c:v>
                </c:pt>
                <c:pt idx="79">
                  <c:v>45582</c:v>
                </c:pt>
                <c:pt idx="80">
                  <c:v>45583</c:v>
                </c:pt>
                <c:pt idx="81">
                  <c:v>45586</c:v>
                </c:pt>
                <c:pt idx="82">
                  <c:v>45587</c:v>
                </c:pt>
                <c:pt idx="83">
                  <c:v>45588</c:v>
                </c:pt>
                <c:pt idx="84">
                  <c:v>45589</c:v>
                </c:pt>
                <c:pt idx="85">
                  <c:v>45590</c:v>
                </c:pt>
                <c:pt idx="86">
                  <c:v>45593</c:v>
                </c:pt>
                <c:pt idx="87">
                  <c:v>45594</c:v>
                </c:pt>
                <c:pt idx="88">
                  <c:v>45595</c:v>
                </c:pt>
                <c:pt idx="89">
                  <c:v>45596</c:v>
                </c:pt>
                <c:pt idx="90">
                  <c:v>45597</c:v>
                </c:pt>
                <c:pt idx="91">
                  <c:v>45600</c:v>
                </c:pt>
                <c:pt idx="92">
                  <c:v>45601</c:v>
                </c:pt>
                <c:pt idx="93">
                  <c:v>45602</c:v>
                </c:pt>
                <c:pt idx="94">
                  <c:v>45603</c:v>
                </c:pt>
                <c:pt idx="95">
                  <c:v>45604</c:v>
                </c:pt>
                <c:pt idx="96">
                  <c:v>45607</c:v>
                </c:pt>
                <c:pt idx="97">
                  <c:v>45608</c:v>
                </c:pt>
                <c:pt idx="98">
                  <c:v>45609</c:v>
                </c:pt>
                <c:pt idx="99">
                  <c:v>45610</c:v>
                </c:pt>
                <c:pt idx="100">
                  <c:v>45611</c:v>
                </c:pt>
                <c:pt idx="101">
                  <c:v>45614</c:v>
                </c:pt>
                <c:pt idx="102">
                  <c:v>45615</c:v>
                </c:pt>
                <c:pt idx="103">
                  <c:v>45616</c:v>
                </c:pt>
                <c:pt idx="104">
                  <c:v>45617</c:v>
                </c:pt>
              </c:numCache>
            </c:numRef>
          </c:cat>
          <c:val>
            <c:numRef>
              <c:f>'Since  28.06.24'!$Y$9:$Y$113</c:f>
              <c:numCache>
                <c:formatCode>General</c:formatCode>
                <c:ptCount val="105"/>
                <c:pt idx="0">
                  <c:v>0</c:v>
                </c:pt>
                <c:pt idx="1">
                  <c:v>0.3</c:v>
                </c:pt>
                <c:pt idx="2">
                  <c:v>-0.39</c:v>
                </c:pt>
                <c:pt idx="3">
                  <c:v>0.76</c:v>
                </c:pt>
                <c:pt idx="4">
                  <c:v>1.18</c:v>
                </c:pt>
                <c:pt idx="5">
                  <c:v>1.32</c:v>
                </c:pt>
                <c:pt idx="6">
                  <c:v>1.3</c:v>
                </c:pt>
                <c:pt idx="7">
                  <c:v>0</c:v>
                </c:pt>
                <c:pt idx="8">
                  <c:v>0.94</c:v>
                </c:pt>
                <c:pt idx="9">
                  <c:v>1.64</c:v>
                </c:pt>
                <c:pt idx="10">
                  <c:v>2.81</c:v>
                </c:pt>
                <c:pt idx="11">
                  <c:v>1.95</c:v>
                </c:pt>
                <c:pt idx="12">
                  <c:v>1.55</c:v>
                </c:pt>
                <c:pt idx="13">
                  <c:v>1.1100000000000001</c:v>
                </c:pt>
                <c:pt idx="14">
                  <c:v>0.65</c:v>
                </c:pt>
                <c:pt idx="15">
                  <c:v>-0.35</c:v>
                </c:pt>
                <c:pt idx="16">
                  <c:v>0.94</c:v>
                </c:pt>
                <c:pt idx="17">
                  <c:v>1.77</c:v>
                </c:pt>
                <c:pt idx="18">
                  <c:v>0.83</c:v>
                </c:pt>
                <c:pt idx="19">
                  <c:v>0.35</c:v>
                </c:pt>
                <c:pt idx="20">
                  <c:v>1</c:v>
                </c:pt>
                <c:pt idx="21">
                  <c:v>0.47</c:v>
                </c:pt>
                <c:pt idx="22">
                  <c:v>0.96</c:v>
                </c:pt>
                <c:pt idx="23">
                  <c:v>1.5</c:v>
                </c:pt>
                <c:pt idx="24">
                  <c:v>-0.84</c:v>
                </c:pt>
                <c:pt idx="25">
                  <c:v>-3.15</c:v>
                </c:pt>
                <c:pt idx="26">
                  <c:v>-4.92</c:v>
                </c:pt>
                <c:pt idx="27">
                  <c:v>-4.83</c:v>
                </c:pt>
                <c:pt idx="28">
                  <c:v>-3.4</c:v>
                </c:pt>
                <c:pt idx="29">
                  <c:v>-3.04</c:v>
                </c:pt>
                <c:pt idx="30">
                  <c:v>-2.81</c:v>
                </c:pt>
                <c:pt idx="31">
                  <c:v>-2.79</c:v>
                </c:pt>
                <c:pt idx="32">
                  <c:v>-2.3199999999999998</c:v>
                </c:pt>
                <c:pt idx="33">
                  <c:v>-1.92</c:v>
                </c:pt>
                <c:pt idx="34">
                  <c:v>-0.28999999999999998</c:v>
                </c:pt>
                <c:pt idx="35">
                  <c:v>0.48</c:v>
                </c:pt>
                <c:pt idx="36">
                  <c:v>1.02</c:v>
                </c:pt>
                <c:pt idx="37">
                  <c:v>0.67</c:v>
                </c:pt>
                <c:pt idx="38">
                  <c:v>1.17</c:v>
                </c:pt>
                <c:pt idx="39">
                  <c:v>1.41</c:v>
                </c:pt>
                <c:pt idx="40">
                  <c:v>2.1800000000000002</c:v>
                </c:pt>
                <c:pt idx="41">
                  <c:v>2.09</c:v>
                </c:pt>
                <c:pt idx="42">
                  <c:v>2.4500000000000002</c:v>
                </c:pt>
                <c:pt idx="43">
                  <c:v>3</c:v>
                </c:pt>
                <c:pt idx="44">
                  <c:v>3.71</c:v>
                </c:pt>
                <c:pt idx="45">
                  <c:v>3.68</c:v>
                </c:pt>
                <c:pt idx="46">
                  <c:v>3.81</c:v>
                </c:pt>
                <c:pt idx="47">
                  <c:v>2.81</c:v>
                </c:pt>
                <c:pt idx="48">
                  <c:v>1.95</c:v>
                </c:pt>
                <c:pt idx="49">
                  <c:v>1.87</c:v>
                </c:pt>
                <c:pt idx="50">
                  <c:v>0.36</c:v>
                </c:pt>
                <c:pt idx="51">
                  <c:v>1.1399999999999999</c:v>
                </c:pt>
                <c:pt idx="52">
                  <c:v>0.17</c:v>
                </c:pt>
                <c:pt idx="53">
                  <c:v>0.52</c:v>
                </c:pt>
                <c:pt idx="54">
                  <c:v>1.55</c:v>
                </c:pt>
                <c:pt idx="55">
                  <c:v>2.54</c:v>
                </c:pt>
                <c:pt idx="56">
                  <c:v>2.1800000000000002</c:v>
                </c:pt>
                <c:pt idx="57">
                  <c:v>2.69</c:v>
                </c:pt>
                <c:pt idx="58">
                  <c:v>2.61</c:v>
                </c:pt>
                <c:pt idx="59">
                  <c:v>4.21</c:v>
                </c:pt>
                <c:pt idx="60">
                  <c:v>2.66</c:v>
                </c:pt>
                <c:pt idx="61">
                  <c:v>3.35</c:v>
                </c:pt>
                <c:pt idx="62">
                  <c:v>4.17</c:v>
                </c:pt>
                <c:pt idx="63">
                  <c:v>3.75</c:v>
                </c:pt>
                <c:pt idx="64">
                  <c:v>5.5</c:v>
                </c:pt>
                <c:pt idx="65">
                  <c:v>6.79</c:v>
                </c:pt>
                <c:pt idx="66">
                  <c:v>5.97</c:v>
                </c:pt>
                <c:pt idx="67">
                  <c:v>5.36</c:v>
                </c:pt>
                <c:pt idx="68">
                  <c:v>5.0999999999999996</c:v>
                </c:pt>
                <c:pt idx="69">
                  <c:v>4.28</c:v>
                </c:pt>
                <c:pt idx="70">
                  <c:v>4.8600000000000003</c:v>
                </c:pt>
                <c:pt idx="71">
                  <c:v>4.76</c:v>
                </c:pt>
                <c:pt idx="72">
                  <c:v>4.5599999999999996</c:v>
                </c:pt>
                <c:pt idx="73">
                  <c:v>5.59</c:v>
                </c:pt>
                <c:pt idx="74">
                  <c:v>5.35</c:v>
                </c:pt>
                <c:pt idx="75">
                  <c:v>6.24</c:v>
                </c:pt>
                <c:pt idx="76">
                  <c:v>6.98</c:v>
                </c:pt>
                <c:pt idx="77">
                  <c:v>6.86</c:v>
                </c:pt>
                <c:pt idx="78">
                  <c:v>6.57</c:v>
                </c:pt>
                <c:pt idx="79">
                  <c:v>7.39</c:v>
                </c:pt>
                <c:pt idx="80">
                  <c:v>7.8</c:v>
                </c:pt>
                <c:pt idx="81">
                  <c:v>6.72</c:v>
                </c:pt>
                <c:pt idx="82">
                  <c:v>6.51</c:v>
                </c:pt>
                <c:pt idx="83">
                  <c:v>6.26</c:v>
                </c:pt>
                <c:pt idx="84">
                  <c:v>6.62</c:v>
                </c:pt>
                <c:pt idx="85">
                  <c:v>6.73</c:v>
                </c:pt>
                <c:pt idx="86">
                  <c:v>7.11</c:v>
                </c:pt>
                <c:pt idx="87">
                  <c:v>6.81</c:v>
                </c:pt>
                <c:pt idx="88">
                  <c:v>5.6</c:v>
                </c:pt>
                <c:pt idx="89">
                  <c:v>4.62</c:v>
                </c:pt>
                <c:pt idx="90">
                  <c:v>5.59</c:v>
                </c:pt>
                <c:pt idx="91">
                  <c:v>5</c:v>
                </c:pt>
                <c:pt idx="92">
                  <c:v>5.6</c:v>
                </c:pt>
                <c:pt idx="93">
                  <c:v>4.41</c:v>
                </c:pt>
                <c:pt idx="94">
                  <c:v>6.18</c:v>
                </c:pt>
                <c:pt idx="95">
                  <c:v>5.37</c:v>
                </c:pt>
                <c:pt idx="96">
                  <c:v>6.65</c:v>
                </c:pt>
                <c:pt idx="97">
                  <c:v>4.38</c:v>
                </c:pt>
                <c:pt idx="98">
                  <c:v>4.21</c:v>
                </c:pt>
                <c:pt idx="99">
                  <c:v>5.64</c:v>
                </c:pt>
                <c:pt idx="100">
                  <c:v>5.35</c:v>
                </c:pt>
                <c:pt idx="101">
                  <c:v>5.23</c:v>
                </c:pt>
                <c:pt idx="102">
                  <c:v>4.5199999999999996</c:v>
                </c:pt>
                <c:pt idx="103">
                  <c:v>4.22</c:v>
                </c:pt>
                <c:pt idx="104">
                  <c:v>4.99</c:v>
                </c:pt>
              </c:numCache>
            </c:numRef>
          </c:val>
          <c:smooth val="0"/>
          <c:extLst>
            <c:ext xmlns:c16="http://schemas.microsoft.com/office/drawing/2014/chart" uri="{C3380CC4-5D6E-409C-BE32-E72D297353CC}">
              <c16:uniqueId val="{00000005-8D1B-4C8E-823E-7F83F9DD28E8}"/>
            </c:ext>
          </c:extLst>
        </c:ser>
        <c:dLbls>
          <c:showLegendKey val="0"/>
          <c:showVal val="0"/>
          <c:showCatName val="0"/>
          <c:showSerName val="0"/>
          <c:showPercent val="0"/>
          <c:showBubbleSize val="0"/>
        </c:dLbls>
        <c:smooth val="0"/>
        <c:axId val="927020303"/>
        <c:axId val="927021967"/>
      </c:lineChart>
      <c:dateAx>
        <c:axId val="927020303"/>
        <c:scaling>
          <c:orientation val="minMax"/>
        </c:scaling>
        <c:delete val="0"/>
        <c:axPos val="b"/>
        <c:numFmt formatCode="[$-407]mmm\.\ 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days"/>
        <c:majorUnit val="1"/>
        <c:majorTimeUnit val="months"/>
      </c:dateAx>
      <c:valAx>
        <c:axId val="92702196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dispUnits>
          <c:builtInUnit val="hundred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1863156280722637E-2"/>
          <c:y val="5.0925925925925923E-2"/>
          <c:w val="0.88460877957265649"/>
          <c:h val="0.66338307964984222"/>
        </c:manualLayout>
      </c:layout>
      <c:lineChart>
        <c:grouping val="standard"/>
        <c:varyColors val="0"/>
        <c:ser>
          <c:idx val="0"/>
          <c:order val="0"/>
          <c:tx>
            <c:strRef>
              <c:f>'Sheet1 (3)'!$AH$4</c:f>
              <c:strCache>
                <c:ptCount val="1"/>
                <c:pt idx="0">
                  <c:v>DAX (indexiert: Nov. 2014 = 100)</c:v>
                </c:pt>
              </c:strCache>
            </c:strRef>
          </c:tx>
          <c:spPr>
            <a:ln w="28575" cap="rnd">
              <a:solidFill>
                <a:schemeClr val="accent1"/>
              </a:solidFill>
              <a:round/>
            </a:ln>
            <a:effectLst/>
          </c:spPr>
          <c:marker>
            <c:symbol val="none"/>
          </c:marker>
          <c:cat>
            <c:numRef>
              <c:f>'Sheet1 (3)'!$AG$6:$AG$2615</c:f>
              <c:numCache>
                <c:formatCode>m/d/yyyy</c:formatCode>
                <c:ptCount val="2610"/>
                <c:pt idx="0">
                  <c:v>41968</c:v>
                </c:pt>
                <c:pt idx="1">
                  <c:v>41969</c:v>
                </c:pt>
                <c:pt idx="2">
                  <c:v>41970</c:v>
                </c:pt>
                <c:pt idx="3">
                  <c:v>41971</c:v>
                </c:pt>
                <c:pt idx="4">
                  <c:v>41974</c:v>
                </c:pt>
                <c:pt idx="5">
                  <c:v>41975</c:v>
                </c:pt>
                <c:pt idx="6">
                  <c:v>41976</c:v>
                </c:pt>
                <c:pt idx="7">
                  <c:v>41977</c:v>
                </c:pt>
                <c:pt idx="8">
                  <c:v>41978</c:v>
                </c:pt>
                <c:pt idx="9">
                  <c:v>41981</c:v>
                </c:pt>
                <c:pt idx="10">
                  <c:v>41982</c:v>
                </c:pt>
                <c:pt idx="11">
                  <c:v>41983</c:v>
                </c:pt>
                <c:pt idx="12">
                  <c:v>41984</c:v>
                </c:pt>
                <c:pt idx="13">
                  <c:v>41985</c:v>
                </c:pt>
                <c:pt idx="14">
                  <c:v>41988</c:v>
                </c:pt>
                <c:pt idx="15">
                  <c:v>41989</c:v>
                </c:pt>
                <c:pt idx="16">
                  <c:v>41990</c:v>
                </c:pt>
                <c:pt idx="17">
                  <c:v>41991</c:v>
                </c:pt>
                <c:pt idx="18">
                  <c:v>41992</c:v>
                </c:pt>
                <c:pt idx="19">
                  <c:v>41995</c:v>
                </c:pt>
                <c:pt idx="20">
                  <c:v>41996</c:v>
                </c:pt>
                <c:pt idx="21">
                  <c:v>41997</c:v>
                </c:pt>
                <c:pt idx="22">
                  <c:v>41998</c:v>
                </c:pt>
                <c:pt idx="23">
                  <c:v>41999</c:v>
                </c:pt>
                <c:pt idx="24">
                  <c:v>42002</c:v>
                </c:pt>
                <c:pt idx="25">
                  <c:v>42003</c:v>
                </c:pt>
                <c:pt idx="26">
                  <c:v>42004</c:v>
                </c:pt>
                <c:pt idx="27">
                  <c:v>42005</c:v>
                </c:pt>
                <c:pt idx="28">
                  <c:v>42006</c:v>
                </c:pt>
                <c:pt idx="29">
                  <c:v>42009</c:v>
                </c:pt>
                <c:pt idx="30">
                  <c:v>42010</c:v>
                </c:pt>
                <c:pt idx="31">
                  <c:v>42011</c:v>
                </c:pt>
                <c:pt idx="32">
                  <c:v>42012</c:v>
                </c:pt>
                <c:pt idx="33">
                  <c:v>42013</c:v>
                </c:pt>
                <c:pt idx="34">
                  <c:v>42016</c:v>
                </c:pt>
                <c:pt idx="35">
                  <c:v>42017</c:v>
                </c:pt>
                <c:pt idx="36">
                  <c:v>42018</c:v>
                </c:pt>
                <c:pt idx="37">
                  <c:v>42019</c:v>
                </c:pt>
                <c:pt idx="38">
                  <c:v>42020</c:v>
                </c:pt>
                <c:pt idx="39">
                  <c:v>42023</c:v>
                </c:pt>
                <c:pt idx="40">
                  <c:v>42024</c:v>
                </c:pt>
                <c:pt idx="41">
                  <c:v>42025</c:v>
                </c:pt>
                <c:pt idx="42">
                  <c:v>42026</c:v>
                </c:pt>
                <c:pt idx="43">
                  <c:v>42027</c:v>
                </c:pt>
                <c:pt idx="44">
                  <c:v>42030</c:v>
                </c:pt>
                <c:pt idx="45">
                  <c:v>42031</c:v>
                </c:pt>
                <c:pt idx="46">
                  <c:v>42032</c:v>
                </c:pt>
                <c:pt idx="47">
                  <c:v>42033</c:v>
                </c:pt>
                <c:pt idx="48">
                  <c:v>42034</c:v>
                </c:pt>
                <c:pt idx="49">
                  <c:v>42037</c:v>
                </c:pt>
                <c:pt idx="50">
                  <c:v>42038</c:v>
                </c:pt>
                <c:pt idx="51">
                  <c:v>42039</c:v>
                </c:pt>
                <c:pt idx="52">
                  <c:v>42040</c:v>
                </c:pt>
                <c:pt idx="53">
                  <c:v>42041</c:v>
                </c:pt>
                <c:pt idx="54">
                  <c:v>42044</c:v>
                </c:pt>
                <c:pt idx="55">
                  <c:v>42045</c:v>
                </c:pt>
                <c:pt idx="56">
                  <c:v>42046</c:v>
                </c:pt>
                <c:pt idx="57">
                  <c:v>42047</c:v>
                </c:pt>
                <c:pt idx="58">
                  <c:v>42048</c:v>
                </c:pt>
                <c:pt idx="59">
                  <c:v>42051</c:v>
                </c:pt>
                <c:pt idx="60">
                  <c:v>42052</c:v>
                </c:pt>
                <c:pt idx="61">
                  <c:v>42053</c:v>
                </c:pt>
                <c:pt idx="62">
                  <c:v>42054</c:v>
                </c:pt>
                <c:pt idx="63">
                  <c:v>42055</c:v>
                </c:pt>
                <c:pt idx="64">
                  <c:v>42058</c:v>
                </c:pt>
                <c:pt idx="65">
                  <c:v>42059</c:v>
                </c:pt>
                <c:pt idx="66">
                  <c:v>42060</c:v>
                </c:pt>
                <c:pt idx="67">
                  <c:v>42061</c:v>
                </c:pt>
                <c:pt idx="68">
                  <c:v>42062</c:v>
                </c:pt>
                <c:pt idx="69">
                  <c:v>42065</c:v>
                </c:pt>
                <c:pt idx="70">
                  <c:v>42066</c:v>
                </c:pt>
                <c:pt idx="71">
                  <c:v>42067</c:v>
                </c:pt>
                <c:pt idx="72">
                  <c:v>42068</c:v>
                </c:pt>
                <c:pt idx="73">
                  <c:v>42069</c:v>
                </c:pt>
                <c:pt idx="74">
                  <c:v>42072</c:v>
                </c:pt>
                <c:pt idx="75">
                  <c:v>42073</c:v>
                </c:pt>
                <c:pt idx="76">
                  <c:v>42074</c:v>
                </c:pt>
                <c:pt idx="77">
                  <c:v>42075</c:v>
                </c:pt>
                <c:pt idx="78">
                  <c:v>42076</c:v>
                </c:pt>
                <c:pt idx="79">
                  <c:v>42079</c:v>
                </c:pt>
                <c:pt idx="80">
                  <c:v>42080</c:v>
                </c:pt>
                <c:pt idx="81">
                  <c:v>42081</c:v>
                </c:pt>
                <c:pt idx="82">
                  <c:v>42082</c:v>
                </c:pt>
                <c:pt idx="83">
                  <c:v>42083</c:v>
                </c:pt>
                <c:pt idx="84">
                  <c:v>42086</c:v>
                </c:pt>
                <c:pt idx="85">
                  <c:v>42087</c:v>
                </c:pt>
                <c:pt idx="86">
                  <c:v>42088</c:v>
                </c:pt>
                <c:pt idx="87">
                  <c:v>42089</c:v>
                </c:pt>
                <c:pt idx="88">
                  <c:v>42090</c:v>
                </c:pt>
                <c:pt idx="89">
                  <c:v>42093</c:v>
                </c:pt>
                <c:pt idx="90">
                  <c:v>42094</c:v>
                </c:pt>
                <c:pt idx="91">
                  <c:v>42095</c:v>
                </c:pt>
                <c:pt idx="92">
                  <c:v>42096</c:v>
                </c:pt>
                <c:pt idx="93">
                  <c:v>42097</c:v>
                </c:pt>
                <c:pt idx="94">
                  <c:v>42100</c:v>
                </c:pt>
                <c:pt idx="95">
                  <c:v>42101</c:v>
                </c:pt>
                <c:pt idx="96">
                  <c:v>42102</c:v>
                </c:pt>
                <c:pt idx="97">
                  <c:v>42103</c:v>
                </c:pt>
                <c:pt idx="98">
                  <c:v>42104</c:v>
                </c:pt>
                <c:pt idx="99">
                  <c:v>42107</c:v>
                </c:pt>
                <c:pt idx="100">
                  <c:v>42108</c:v>
                </c:pt>
                <c:pt idx="101">
                  <c:v>42109</c:v>
                </c:pt>
                <c:pt idx="102">
                  <c:v>42110</c:v>
                </c:pt>
                <c:pt idx="103">
                  <c:v>42111</c:v>
                </c:pt>
                <c:pt idx="104">
                  <c:v>42114</c:v>
                </c:pt>
                <c:pt idx="105">
                  <c:v>42115</c:v>
                </c:pt>
                <c:pt idx="106">
                  <c:v>42116</c:v>
                </c:pt>
                <c:pt idx="107">
                  <c:v>42117</c:v>
                </c:pt>
                <c:pt idx="108">
                  <c:v>42118</c:v>
                </c:pt>
                <c:pt idx="109">
                  <c:v>42121</c:v>
                </c:pt>
                <c:pt idx="110">
                  <c:v>42122</c:v>
                </c:pt>
                <c:pt idx="111">
                  <c:v>42123</c:v>
                </c:pt>
                <c:pt idx="112">
                  <c:v>42124</c:v>
                </c:pt>
                <c:pt idx="113">
                  <c:v>42125</c:v>
                </c:pt>
                <c:pt idx="114">
                  <c:v>42128</c:v>
                </c:pt>
                <c:pt idx="115">
                  <c:v>42129</c:v>
                </c:pt>
                <c:pt idx="116">
                  <c:v>42130</c:v>
                </c:pt>
                <c:pt idx="117">
                  <c:v>42131</c:v>
                </c:pt>
                <c:pt idx="118">
                  <c:v>42132</c:v>
                </c:pt>
                <c:pt idx="119">
                  <c:v>42135</c:v>
                </c:pt>
                <c:pt idx="120">
                  <c:v>42136</c:v>
                </c:pt>
                <c:pt idx="121">
                  <c:v>42137</c:v>
                </c:pt>
                <c:pt idx="122">
                  <c:v>42138</c:v>
                </c:pt>
                <c:pt idx="123">
                  <c:v>42139</c:v>
                </c:pt>
                <c:pt idx="124">
                  <c:v>42142</c:v>
                </c:pt>
                <c:pt idx="125">
                  <c:v>42143</c:v>
                </c:pt>
                <c:pt idx="126">
                  <c:v>42144</c:v>
                </c:pt>
                <c:pt idx="127">
                  <c:v>42145</c:v>
                </c:pt>
                <c:pt idx="128">
                  <c:v>42146</c:v>
                </c:pt>
                <c:pt idx="129">
                  <c:v>42149</c:v>
                </c:pt>
                <c:pt idx="130">
                  <c:v>42150</c:v>
                </c:pt>
                <c:pt idx="131">
                  <c:v>42151</c:v>
                </c:pt>
                <c:pt idx="132">
                  <c:v>42152</c:v>
                </c:pt>
                <c:pt idx="133">
                  <c:v>42153</c:v>
                </c:pt>
                <c:pt idx="134">
                  <c:v>42156</c:v>
                </c:pt>
                <c:pt idx="135">
                  <c:v>42157</c:v>
                </c:pt>
                <c:pt idx="136">
                  <c:v>42158</c:v>
                </c:pt>
                <c:pt idx="137">
                  <c:v>42159</c:v>
                </c:pt>
                <c:pt idx="138">
                  <c:v>42160</c:v>
                </c:pt>
                <c:pt idx="139">
                  <c:v>42163</c:v>
                </c:pt>
                <c:pt idx="140">
                  <c:v>42164</c:v>
                </c:pt>
                <c:pt idx="141">
                  <c:v>42165</c:v>
                </c:pt>
                <c:pt idx="142">
                  <c:v>42166</c:v>
                </c:pt>
                <c:pt idx="143">
                  <c:v>42167</c:v>
                </c:pt>
                <c:pt idx="144">
                  <c:v>42170</c:v>
                </c:pt>
                <c:pt idx="145">
                  <c:v>42171</c:v>
                </c:pt>
                <c:pt idx="146">
                  <c:v>42172</c:v>
                </c:pt>
                <c:pt idx="147">
                  <c:v>42173</c:v>
                </c:pt>
                <c:pt idx="148">
                  <c:v>42174</c:v>
                </c:pt>
                <c:pt idx="149">
                  <c:v>42177</c:v>
                </c:pt>
                <c:pt idx="150">
                  <c:v>42178</c:v>
                </c:pt>
                <c:pt idx="151">
                  <c:v>42179</c:v>
                </c:pt>
                <c:pt idx="152">
                  <c:v>42180</c:v>
                </c:pt>
                <c:pt idx="153">
                  <c:v>42181</c:v>
                </c:pt>
                <c:pt idx="154">
                  <c:v>42184</c:v>
                </c:pt>
                <c:pt idx="155">
                  <c:v>42185</c:v>
                </c:pt>
                <c:pt idx="156">
                  <c:v>42186</c:v>
                </c:pt>
                <c:pt idx="157">
                  <c:v>42187</c:v>
                </c:pt>
                <c:pt idx="158">
                  <c:v>42188</c:v>
                </c:pt>
                <c:pt idx="159">
                  <c:v>42191</c:v>
                </c:pt>
                <c:pt idx="160">
                  <c:v>42192</c:v>
                </c:pt>
                <c:pt idx="161">
                  <c:v>42193</c:v>
                </c:pt>
                <c:pt idx="162">
                  <c:v>42194</c:v>
                </c:pt>
                <c:pt idx="163">
                  <c:v>42195</c:v>
                </c:pt>
                <c:pt idx="164">
                  <c:v>42198</c:v>
                </c:pt>
                <c:pt idx="165">
                  <c:v>42199</c:v>
                </c:pt>
                <c:pt idx="166">
                  <c:v>42200</c:v>
                </c:pt>
                <c:pt idx="167">
                  <c:v>42201</c:v>
                </c:pt>
                <c:pt idx="168">
                  <c:v>42202</c:v>
                </c:pt>
                <c:pt idx="169">
                  <c:v>42205</c:v>
                </c:pt>
                <c:pt idx="170">
                  <c:v>42206</c:v>
                </c:pt>
                <c:pt idx="171">
                  <c:v>42207</c:v>
                </c:pt>
                <c:pt idx="172">
                  <c:v>42208</c:v>
                </c:pt>
                <c:pt idx="173">
                  <c:v>42209</c:v>
                </c:pt>
                <c:pt idx="174">
                  <c:v>42212</c:v>
                </c:pt>
                <c:pt idx="175">
                  <c:v>42213</c:v>
                </c:pt>
                <c:pt idx="176">
                  <c:v>42214</c:v>
                </c:pt>
                <c:pt idx="177">
                  <c:v>42215</c:v>
                </c:pt>
                <c:pt idx="178">
                  <c:v>42216</c:v>
                </c:pt>
                <c:pt idx="179">
                  <c:v>42219</c:v>
                </c:pt>
                <c:pt idx="180">
                  <c:v>42220</c:v>
                </c:pt>
                <c:pt idx="181">
                  <c:v>42221</c:v>
                </c:pt>
                <c:pt idx="182">
                  <c:v>42222</c:v>
                </c:pt>
                <c:pt idx="183">
                  <c:v>42223</c:v>
                </c:pt>
                <c:pt idx="184">
                  <c:v>42226</c:v>
                </c:pt>
                <c:pt idx="185">
                  <c:v>42227</c:v>
                </c:pt>
                <c:pt idx="186">
                  <c:v>42228</c:v>
                </c:pt>
                <c:pt idx="187">
                  <c:v>42229</c:v>
                </c:pt>
                <c:pt idx="188">
                  <c:v>42230</c:v>
                </c:pt>
                <c:pt idx="189">
                  <c:v>42233</c:v>
                </c:pt>
                <c:pt idx="190">
                  <c:v>42234</c:v>
                </c:pt>
                <c:pt idx="191">
                  <c:v>42235</c:v>
                </c:pt>
                <c:pt idx="192">
                  <c:v>42236</c:v>
                </c:pt>
                <c:pt idx="193">
                  <c:v>42237</c:v>
                </c:pt>
                <c:pt idx="194">
                  <c:v>42240</c:v>
                </c:pt>
                <c:pt idx="195">
                  <c:v>42241</c:v>
                </c:pt>
                <c:pt idx="196">
                  <c:v>42242</c:v>
                </c:pt>
                <c:pt idx="197">
                  <c:v>42243</c:v>
                </c:pt>
                <c:pt idx="198">
                  <c:v>42244</c:v>
                </c:pt>
                <c:pt idx="199">
                  <c:v>42247</c:v>
                </c:pt>
                <c:pt idx="200">
                  <c:v>42248</c:v>
                </c:pt>
                <c:pt idx="201">
                  <c:v>42249</c:v>
                </c:pt>
                <c:pt idx="202">
                  <c:v>42250</c:v>
                </c:pt>
                <c:pt idx="203">
                  <c:v>42251</c:v>
                </c:pt>
                <c:pt idx="204">
                  <c:v>42254</c:v>
                </c:pt>
                <c:pt idx="205">
                  <c:v>42255</c:v>
                </c:pt>
                <c:pt idx="206">
                  <c:v>42256</c:v>
                </c:pt>
                <c:pt idx="207">
                  <c:v>42257</c:v>
                </c:pt>
                <c:pt idx="208">
                  <c:v>42258</c:v>
                </c:pt>
                <c:pt idx="209">
                  <c:v>42261</c:v>
                </c:pt>
                <c:pt idx="210">
                  <c:v>42262</c:v>
                </c:pt>
                <c:pt idx="211">
                  <c:v>42263</c:v>
                </c:pt>
                <c:pt idx="212">
                  <c:v>42264</c:v>
                </c:pt>
                <c:pt idx="213">
                  <c:v>42265</c:v>
                </c:pt>
                <c:pt idx="214">
                  <c:v>42268</c:v>
                </c:pt>
                <c:pt idx="215">
                  <c:v>42269</c:v>
                </c:pt>
                <c:pt idx="216">
                  <c:v>42270</c:v>
                </c:pt>
                <c:pt idx="217">
                  <c:v>42271</c:v>
                </c:pt>
                <c:pt idx="218">
                  <c:v>42272</c:v>
                </c:pt>
                <c:pt idx="219">
                  <c:v>42275</c:v>
                </c:pt>
                <c:pt idx="220">
                  <c:v>42276</c:v>
                </c:pt>
                <c:pt idx="221">
                  <c:v>42277</c:v>
                </c:pt>
                <c:pt idx="222">
                  <c:v>42278</c:v>
                </c:pt>
                <c:pt idx="223">
                  <c:v>42279</c:v>
                </c:pt>
                <c:pt idx="224">
                  <c:v>42282</c:v>
                </c:pt>
                <c:pt idx="225">
                  <c:v>42283</c:v>
                </c:pt>
                <c:pt idx="226">
                  <c:v>42284</c:v>
                </c:pt>
                <c:pt idx="227">
                  <c:v>42285</c:v>
                </c:pt>
                <c:pt idx="228">
                  <c:v>42286</c:v>
                </c:pt>
                <c:pt idx="229">
                  <c:v>42289</c:v>
                </c:pt>
                <c:pt idx="230">
                  <c:v>42290</c:v>
                </c:pt>
                <c:pt idx="231">
                  <c:v>42291</c:v>
                </c:pt>
                <c:pt idx="232">
                  <c:v>42292</c:v>
                </c:pt>
                <c:pt idx="233">
                  <c:v>42293</c:v>
                </c:pt>
                <c:pt idx="234">
                  <c:v>42296</c:v>
                </c:pt>
                <c:pt idx="235">
                  <c:v>42297</c:v>
                </c:pt>
                <c:pt idx="236">
                  <c:v>42298</c:v>
                </c:pt>
                <c:pt idx="237">
                  <c:v>42299</c:v>
                </c:pt>
                <c:pt idx="238">
                  <c:v>42300</c:v>
                </c:pt>
                <c:pt idx="239">
                  <c:v>42303</c:v>
                </c:pt>
                <c:pt idx="240">
                  <c:v>42304</c:v>
                </c:pt>
                <c:pt idx="241">
                  <c:v>42305</c:v>
                </c:pt>
                <c:pt idx="242">
                  <c:v>42306</c:v>
                </c:pt>
                <c:pt idx="243">
                  <c:v>42307</c:v>
                </c:pt>
                <c:pt idx="244">
                  <c:v>42310</c:v>
                </c:pt>
                <c:pt idx="245">
                  <c:v>42311</c:v>
                </c:pt>
                <c:pt idx="246">
                  <c:v>42312</c:v>
                </c:pt>
                <c:pt idx="247">
                  <c:v>42313</c:v>
                </c:pt>
                <c:pt idx="248">
                  <c:v>42314</c:v>
                </c:pt>
                <c:pt idx="249">
                  <c:v>42317</c:v>
                </c:pt>
                <c:pt idx="250">
                  <c:v>42318</c:v>
                </c:pt>
                <c:pt idx="251">
                  <c:v>42319</c:v>
                </c:pt>
                <c:pt idx="252">
                  <c:v>42320</c:v>
                </c:pt>
                <c:pt idx="253">
                  <c:v>42321</c:v>
                </c:pt>
                <c:pt idx="254">
                  <c:v>42324</c:v>
                </c:pt>
                <c:pt idx="255">
                  <c:v>42325</c:v>
                </c:pt>
                <c:pt idx="256">
                  <c:v>42326</c:v>
                </c:pt>
                <c:pt idx="257">
                  <c:v>42327</c:v>
                </c:pt>
                <c:pt idx="258">
                  <c:v>42328</c:v>
                </c:pt>
                <c:pt idx="259">
                  <c:v>42331</c:v>
                </c:pt>
                <c:pt idx="260">
                  <c:v>42332</c:v>
                </c:pt>
                <c:pt idx="261">
                  <c:v>42333</c:v>
                </c:pt>
                <c:pt idx="262">
                  <c:v>42334</c:v>
                </c:pt>
                <c:pt idx="263">
                  <c:v>42335</c:v>
                </c:pt>
                <c:pt idx="264">
                  <c:v>42338</c:v>
                </c:pt>
                <c:pt idx="265">
                  <c:v>42339</c:v>
                </c:pt>
                <c:pt idx="266">
                  <c:v>42340</c:v>
                </c:pt>
                <c:pt idx="267">
                  <c:v>42341</c:v>
                </c:pt>
                <c:pt idx="268">
                  <c:v>42342</c:v>
                </c:pt>
                <c:pt idx="269">
                  <c:v>42345</c:v>
                </c:pt>
                <c:pt idx="270">
                  <c:v>42346</c:v>
                </c:pt>
                <c:pt idx="271">
                  <c:v>42347</c:v>
                </c:pt>
                <c:pt idx="272">
                  <c:v>42348</c:v>
                </c:pt>
                <c:pt idx="273">
                  <c:v>42349</c:v>
                </c:pt>
                <c:pt idx="274">
                  <c:v>42352</c:v>
                </c:pt>
                <c:pt idx="275">
                  <c:v>42353</c:v>
                </c:pt>
                <c:pt idx="276">
                  <c:v>42354</c:v>
                </c:pt>
                <c:pt idx="277">
                  <c:v>42355</c:v>
                </c:pt>
                <c:pt idx="278">
                  <c:v>42356</c:v>
                </c:pt>
                <c:pt idx="279">
                  <c:v>42359</c:v>
                </c:pt>
                <c:pt idx="280">
                  <c:v>42360</c:v>
                </c:pt>
                <c:pt idx="281">
                  <c:v>42361</c:v>
                </c:pt>
                <c:pt idx="282">
                  <c:v>42362</c:v>
                </c:pt>
                <c:pt idx="283">
                  <c:v>42363</c:v>
                </c:pt>
                <c:pt idx="284">
                  <c:v>42366</c:v>
                </c:pt>
                <c:pt idx="285">
                  <c:v>42367</c:v>
                </c:pt>
                <c:pt idx="286">
                  <c:v>42368</c:v>
                </c:pt>
                <c:pt idx="287">
                  <c:v>42369</c:v>
                </c:pt>
                <c:pt idx="288">
                  <c:v>42370</c:v>
                </c:pt>
                <c:pt idx="289">
                  <c:v>42373</c:v>
                </c:pt>
                <c:pt idx="290">
                  <c:v>42374</c:v>
                </c:pt>
                <c:pt idx="291">
                  <c:v>42375</c:v>
                </c:pt>
                <c:pt idx="292">
                  <c:v>42376</c:v>
                </c:pt>
                <c:pt idx="293">
                  <c:v>42377</c:v>
                </c:pt>
                <c:pt idx="294">
                  <c:v>42380</c:v>
                </c:pt>
                <c:pt idx="295">
                  <c:v>42381</c:v>
                </c:pt>
                <c:pt idx="296">
                  <c:v>42382</c:v>
                </c:pt>
                <c:pt idx="297">
                  <c:v>42383</c:v>
                </c:pt>
                <c:pt idx="298">
                  <c:v>42384</c:v>
                </c:pt>
                <c:pt idx="299">
                  <c:v>42387</c:v>
                </c:pt>
                <c:pt idx="300">
                  <c:v>42388</c:v>
                </c:pt>
                <c:pt idx="301">
                  <c:v>42389</c:v>
                </c:pt>
                <c:pt idx="302">
                  <c:v>42390</c:v>
                </c:pt>
                <c:pt idx="303">
                  <c:v>42391</c:v>
                </c:pt>
                <c:pt idx="304">
                  <c:v>42394</c:v>
                </c:pt>
                <c:pt idx="305">
                  <c:v>42395</c:v>
                </c:pt>
                <c:pt idx="306">
                  <c:v>42396</c:v>
                </c:pt>
                <c:pt idx="307">
                  <c:v>42397</c:v>
                </c:pt>
                <c:pt idx="308">
                  <c:v>42398</c:v>
                </c:pt>
                <c:pt idx="309">
                  <c:v>42401</c:v>
                </c:pt>
                <c:pt idx="310">
                  <c:v>42402</c:v>
                </c:pt>
                <c:pt idx="311">
                  <c:v>42403</c:v>
                </c:pt>
                <c:pt idx="312">
                  <c:v>42404</c:v>
                </c:pt>
                <c:pt idx="313">
                  <c:v>42405</c:v>
                </c:pt>
                <c:pt idx="314">
                  <c:v>42408</c:v>
                </c:pt>
                <c:pt idx="315">
                  <c:v>42409</c:v>
                </c:pt>
                <c:pt idx="316">
                  <c:v>42410</c:v>
                </c:pt>
                <c:pt idx="317">
                  <c:v>42411</c:v>
                </c:pt>
                <c:pt idx="318">
                  <c:v>42412</c:v>
                </c:pt>
                <c:pt idx="319">
                  <c:v>42415</c:v>
                </c:pt>
                <c:pt idx="320">
                  <c:v>42416</c:v>
                </c:pt>
                <c:pt idx="321">
                  <c:v>42417</c:v>
                </c:pt>
                <c:pt idx="322">
                  <c:v>42418</c:v>
                </c:pt>
                <c:pt idx="323">
                  <c:v>42419</c:v>
                </c:pt>
                <c:pt idx="324">
                  <c:v>42422</c:v>
                </c:pt>
                <c:pt idx="325">
                  <c:v>42423</c:v>
                </c:pt>
                <c:pt idx="326">
                  <c:v>42424</c:v>
                </c:pt>
                <c:pt idx="327">
                  <c:v>42425</c:v>
                </c:pt>
                <c:pt idx="328">
                  <c:v>42426</c:v>
                </c:pt>
                <c:pt idx="329">
                  <c:v>42429</c:v>
                </c:pt>
                <c:pt idx="330">
                  <c:v>42430</c:v>
                </c:pt>
                <c:pt idx="331">
                  <c:v>42431</c:v>
                </c:pt>
                <c:pt idx="332">
                  <c:v>42432</c:v>
                </c:pt>
                <c:pt idx="333">
                  <c:v>42433</c:v>
                </c:pt>
                <c:pt idx="334">
                  <c:v>42436</c:v>
                </c:pt>
                <c:pt idx="335">
                  <c:v>42437</c:v>
                </c:pt>
                <c:pt idx="336">
                  <c:v>42438</c:v>
                </c:pt>
                <c:pt idx="337">
                  <c:v>42439</c:v>
                </c:pt>
                <c:pt idx="338">
                  <c:v>42440</c:v>
                </c:pt>
                <c:pt idx="339">
                  <c:v>42443</c:v>
                </c:pt>
                <c:pt idx="340">
                  <c:v>42444</c:v>
                </c:pt>
                <c:pt idx="341">
                  <c:v>42445</c:v>
                </c:pt>
                <c:pt idx="342">
                  <c:v>42446</c:v>
                </c:pt>
                <c:pt idx="343">
                  <c:v>42447</c:v>
                </c:pt>
                <c:pt idx="344">
                  <c:v>42450</c:v>
                </c:pt>
                <c:pt idx="345">
                  <c:v>42451</c:v>
                </c:pt>
                <c:pt idx="346">
                  <c:v>42452</c:v>
                </c:pt>
                <c:pt idx="347">
                  <c:v>42453</c:v>
                </c:pt>
                <c:pt idx="348">
                  <c:v>42454</c:v>
                </c:pt>
                <c:pt idx="349">
                  <c:v>42457</c:v>
                </c:pt>
                <c:pt idx="350">
                  <c:v>42458</c:v>
                </c:pt>
                <c:pt idx="351">
                  <c:v>42459</c:v>
                </c:pt>
                <c:pt idx="352">
                  <c:v>42460</c:v>
                </c:pt>
                <c:pt idx="353">
                  <c:v>42461</c:v>
                </c:pt>
                <c:pt idx="354">
                  <c:v>42464</c:v>
                </c:pt>
                <c:pt idx="355">
                  <c:v>42465</c:v>
                </c:pt>
                <c:pt idx="356">
                  <c:v>42466</c:v>
                </c:pt>
                <c:pt idx="357">
                  <c:v>42467</c:v>
                </c:pt>
                <c:pt idx="358">
                  <c:v>42468</c:v>
                </c:pt>
                <c:pt idx="359">
                  <c:v>42471</c:v>
                </c:pt>
                <c:pt idx="360">
                  <c:v>42472</c:v>
                </c:pt>
                <c:pt idx="361">
                  <c:v>42473</c:v>
                </c:pt>
                <c:pt idx="362">
                  <c:v>42474</c:v>
                </c:pt>
                <c:pt idx="363">
                  <c:v>42475</c:v>
                </c:pt>
                <c:pt idx="364">
                  <c:v>42478</c:v>
                </c:pt>
                <c:pt idx="365">
                  <c:v>42479</c:v>
                </c:pt>
                <c:pt idx="366">
                  <c:v>42480</c:v>
                </c:pt>
                <c:pt idx="367">
                  <c:v>42481</c:v>
                </c:pt>
                <c:pt idx="368">
                  <c:v>42482</c:v>
                </c:pt>
                <c:pt idx="369">
                  <c:v>42485</c:v>
                </c:pt>
                <c:pt idx="370">
                  <c:v>42486</c:v>
                </c:pt>
                <c:pt idx="371">
                  <c:v>42487</c:v>
                </c:pt>
                <c:pt idx="372">
                  <c:v>42488</c:v>
                </c:pt>
                <c:pt idx="373">
                  <c:v>42489</c:v>
                </c:pt>
                <c:pt idx="374">
                  <c:v>42492</c:v>
                </c:pt>
                <c:pt idx="375">
                  <c:v>42493</c:v>
                </c:pt>
                <c:pt idx="376">
                  <c:v>42494</c:v>
                </c:pt>
                <c:pt idx="377">
                  <c:v>42495</c:v>
                </c:pt>
                <c:pt idx="378">
                  <c:v>42496</c:v>
                </c:pt>
                <c:pt idx="379">
                  <c:v>42499</c:v>
                </c:pt>
                <c:pt idx="380">
                  <c:v>42500</c:v>
                </c:pt>
                <c:pt idx="381">
                  <c:v>42501</c:v>
                </c:pt>
                <c:pt idx="382">
                  <c:v>42502</c:v>
                </c:pt>
                <c:pt idx="383">
                  <c:v>42503</c:v>
                </c:pt>
                <c:pt idx="384">
                  <c:v>42506</c:v>
                </c:pt>
                <c:pt idx="385">
                  <c:v>42507</c:v>
                </c:pt>
                <c:pt idx="386">
                  <c:v>42508</c:v>
                </c:pt>
                <c:pt idx="387">
                  <c:v>42509</c:v>
                </c:pt>
                <c:pt idx="388">
                  <c:v>42510</c:v>
                </c:pt>
                <c:pt idx="389">
                  <c:v>42513</c:v>
                </c:pt>
                <c:pt idx="390">
                  <c:v>42514</c:v>
                </c:pt>
                <c:pt idx="391">
                  <c:v>42515</c:v>
                </c:pt>
                <c:pt idx="392">
                  <c:v>42516</c:v>
                </c:pt>
                <c:pt idx="393">
                  <c:v>42517</c:v>
                </c:pt>
                <c:pt idx="394">
                  <c:v>42520</c:v>
                </c:pt>
                <c:pt idx="395">
                  <c:v>42521</c:v>
                </c:pt>
                <c:pt idx="396">
                  <c:v>42522</c:v>
                </c:pt>
                <c:pt idx="397">
                  <c:v>42523</c:v>
                </c:pt>
                <c:pt idx="398">
                  <c:v>42524</c:v>
                </c:pt>
                <c:pt idx="399">
                  <c:v>42527</c:v>
                </c:pt>
                <c:pt idx="400">
                  <c:v>42528</c:v>
                </c:pt>
                <c:pt idx="401">
                  <c:v>42529</c:v>
                </c:pt>
                <c:pt idx="402">
                  <c:v>42530</c:v>
                </c:pt>
                <c:pt idx="403">
                  <c:v>42531</c:v>
                </c:pt>
                <c:pt idx="404">
                  <c:v>42534</c:v>
                </c:pt>
                <c:pt idx="405">
                  <c:v>42535</c:v>
                </c:pt>
                <c:pt idx="406">
                  <c:v>42536</c:v>
                </c:pt>
                <c:pt idx="407">
                  <c:v>42537</c:v>
                </c:pt>
                <c:pt idx="408">
                  <c:v>42538</c:v>
                </c:pt>
                <c:pt idx="409">
                  <c:v>42541</c:v>
                </c:pt>
                <c:pt idx="410">
                  <c:v>42542</c:v>
                </c:pt>
                <c:pt idx="411">
                  <c:v>42543</c:v>
                </c:pt>
                <c:pt idx="412">
                  <c:v>42544</c:v>
                </c:pt>
                <c:pt idx="413">
                  <c:v>42545</c:v>
                </c:pt>
                <c:pt idx="414">
                  <c:v>42548</c:v>
                </c:pt>
                <c:pt idx="415">
                  <c:v>42549</c:v>
                </c:pt>
                <c:pt idx="416">
                  <c:v>42550</c:v>
                </c:pt>
                <c:pt idx="417">
                  <c:v>42551</c:v>
                </c:pt>
                <c:pt idx="418">
                  <c:v>42552</c:v>
                </c:pt>
                <c:pt idx="419">
                  <c:v>42555</c:v>
                </c:pt>
                <c:pt idx="420">
                  <c:v>42556</c:v>
                </c:pt>
                <c:pt idx="421">
                  <c:v>42557</c:v>
                </c:pt>
                <c:pt idx="422">
                  <c:v>42558</c:v>
                </c:pt>
                <c:pt idx="423">
                  <c:v>42559</c:v>
                </c:pt>
                <c:pt idx="424">
                  <c:v>42562</c:v>
                </c:pt>
                <c:pt idx="425">
                  <c:v>42563</c:v>
                </c:pt>
                <c:pt idx="426">
                  <c:v>42564</c:v>
                </c:pt>
                <c:pt idx="427">
                  <c:v>42565</c:v>
                </c:pt>
                <c:pt idx="428">
                  <c:v>42566</c:v>
                </c:pt>
                <c:pt idx="429">
                  <c:v>42569</c:v>
                </c:pt>
                <c:pt idx="430">
                  <c:v>42570</c:v>
                </c:pt>
                <c:pt idx="431">
                  <c:v>42571</c:v>
                </c:pt>
                <c:pt idx="432">
                  <c:v>42572</c:v>
                </c:pt>
                <c:pt idx="433">
                  <c:v>42573</c:v>
                </c:pt>
                <c:pt idx="434">
                  <c:v>42576</c:v>
                </c:pt>
                <c:pt idx="435">
                  <c:v>42577</c:v>
                </c:pt>
                <c:pt idx="436">
                  <c:v>42578</c:v>
                </c:pt>
                <c:pt idx="437">
                  <c:v>42579</c:v>
                </c:pt>
                <c:pt idx="438">
                  <c:v>42580</c:v>
                </c:pt>
                <c:pt idx="439">
                  <c:v>42583</c:v>
                </c:pt>
                <c:pt idx="440">
                  <c:v>42584</c:v>
                </c:pt>
                <c:pt idx="441">
                  <c:v>42585</c:v>
                </c:pt>
                <c:pt idx="442">
                  <c:v>42586</c:v>
                </c:pt>
                <c:pt idx="443">
                  <c:v>42587</c:v>
                </c:pt>
                <c:pt idx="444">
                  <c:v>42590</c:v>
                </c:pt>
                <c:pt idx="445">
                  <c:v>42591</c:v>
                </c:pt>
                <c:pt idx="446">
                  <c:v>42592</c:v>
                </c:pt>
                <c:pt idx="447">
                  <c:v>42593</c:v>
                </c:pt>
                <c:pt idx="448">
                  <c:v>42594</c:v>
                </c:pt>
                <c:pt idx="449">
                  <c:v>42597</c:v>
                </c:pt>
                <c:pt idx="450">
                  <c:v>42598</c:v>
                </c:pt>
                <c:pt idx="451">
                  <c:v>42599</c:v>
                </c:pt>
                <c:pt idx="452">
                  <c:v>42600</c:v>
                </c:pt>
                <c:pt idx="453">
                  <c:v>42601</c:v>
                </c:pt>
                <c:pt idx="454">
                  <c:v>42604</c:v>
                </c:pt>
                <c:pt idx="455">
                  <c:v>42605</c:v>
                </c:pt>
                <c:pt idx="456">
                  <c:v>42606</c:v>
                </c:pt>
                <c:pt idx="457">
                  <c:v>42607</c:v>
                </c:pt>
                <c:pt idx="458">
                  <c:v>42608</c:v>
                </c:pt>
                <c:pt idx="459">
                  <c:v>42611</c:v>
                </c:pt>
                <c:pt idx="460">
                  <c:v>42612</c:v>
                </c:pt>
                <c:pt idx="461">
                  <c:v>42613</c:v>
                </c:pt>
                <c:pt idx="462">
                  <c:v>42614</c:v>
                </c:pt>
                <c:pt idx="463">
                  <c:v>42615</c:v>
                </c:pt>
                <c:pt idx="464">
                  <c:v>42618</c:v>
                </c:pt>
                <c:pt idx="465">
                  <c:v>42619</c:v>
                </c:pt>
                <c:pt idx="466">
                  <c:v>42620</c:v>
                </c:pt>
                <c:pt idx="467">
                  <c:v>42621</c:v>
                </c:pt>
                <c:pt idx="468">
                  <c:v>42622</c:v>
                </c:pt>
                <c:pt idx="469">
                  <c:v>42625</c:v>
                </c:pt>
                <c:pt idx="470">
                  <c:v>42626</c:v>
                </c:pt>
                <c:pt idx="471">
                  <c:v>42627</c:v>
                </c:pt>
                <c:pt idx="472">
                  <c:v>42628</c:v>
                </c:pt>
                <c:pt idx="473">
                  <c:v>42629</c:v>
                </c:pt>
                <c:pt idx="474">
                  <c:v>42632</c:v>
                </c:pt>
                <c:pt idx="475">
                  <c:v>42633</c:v>
                </c:pt>
                <c:pt idx="476">
                  <c:v>42634</c:v>
                </c:pt>
                <c:pt idx="477">
                  <c:v>42635</c:v>
                </c:pt>
                <c:pt idx="478">
                  <c:v>42636</c:v>
                </c:pt>
                <c:pt idx="479">
                  <c:v>42639</c:v>
                </c:pt>
                <c:pt idx="480">
                  <c:v>42640</c:v>
                </c:pt>
                <c:pt idx="481">
                  <c:v>42641</c:v>
                </c:pt>
                <c:pt idx="482">
                  <c:v>42642</c:v>
                </c:pt>
                <c:pt idx="483">
                  <c:v>42643</c:v>
                </c:pt>
                <c:pt idx="484">
                  <c:v>42646</c:v>
                </c:pt>
                <c:pt idx="485">
                  <c:v>42647</c:v>
                </c:pt>
                <c:pt idx="486">
                  <c:v>42648</c:v>
                </c:pt>
                <c:pt idx="487">
                  <c:v>42649</c:v>
                </c:pt>
                <c:pt idx="488">
                  <c:v>42650</c:v>
                </c:pt>
                <c:pt idx="489">
                  <c:v>42653</c:v>
                </c:pt>
                <c:pt idx="490">
                  <c:v>42654</c:v>
                </c:pt>
                <c:pt idx="491">
                  <c:v>42655</c:v>
                </c:pt>
                <c:pt idx="492">
                  <c:v>42656</c:v>
                </c:pt>
                <c:pt idx="493">
                  <c:v>42657</c:v>
                </c:pt>
                <c:pt idx="494">
                  <c:v>42660</c:v>
                </c:pt>
                <c:pt idx="495">
                  <c:v>42661</c:v>
                </c:pt>
                <c:pt idx="496">
                  <c:v>42662</c:v>
                </c:pt>
                <c:pt idx="497">
                  <c:v>42663</c:v>
                </c:pt>
                <c:pt idx="498">
                  <c:v>42664</c:v>
                </c:pt>
                <c:pt idx="499">
                  <c:v>42667</c:v>
                </c:pt>
                <c:pt idx="500">
                  <c:v>42668</c:v>
                </c:pt>
                <c:pt idx="501">
                  <c:v>42669</c:v>
                </c:pt>
                <c:pt idx="502">
                  <c:v>42670</c:v>
                </c:pt>
                <c:pt idx="503">
                  <c:v>42671</c:v>
                </c:pt>
                <c:pt idx="504">
                  <c:v>42674</c:v>
                </c:pt>
                <c:pt idx="505">
                  <c:v>42675</c:v>
                </c:pt>
                <c:pt idx="506">
                  <c:v>42676</c:v>
                </c:pt>
                <c:pt idx="507">
                  <c:v>42677</c:v>
                </c:pt>
                <c:pt idx="508">
                  <c:v>42678</c:v>
                </c:pt>
                <c:pt idx="509">
                  <c:v>42681</c:v>
                </c:pt>
                <c:pt idx="510">
                  <c:v>42682</c:v>
                </c:pt>
                <c:pt idx="511">
                  <c:v>42683</c:v>
                </c:pt>
                <c:pt idx="512">
                  <c:v>42684</c:v>
                </c:pt>
                <c:pt idx="513">
                  <c:v>42685</c:v>
                </c:pt>
                <c:pt idx="514">
                  <c:v>42688</c:v>
                </c:pt>
                <c:pt idx="515">
                  <c:v>42689</c:v>
                </c:pt>
                <c:pt idx="516">
                  <c:v>42690</c:v>
                </c:pt>
                <c:pt idx="517">
                  <c:v>42691</c:v>
                </c:pt>
                <c:pt idx="518">
                  <c:v>42692</c:v>
                </c:pt>
                <c:pt idx="519">
                  <c:v>42695</c:v>
                </c:pt>
                <c:pt idx="520">
                  <c:v>42696</c:v>
                </c:pt>
                <c:pt idx="521">
                  <c:v>42697</c:v>
                </c:pt>
                <c:pt idx="522">
                  <c:v>42698</c:v>
                </c:pt>
                <c:pt idx="523">
                  <c:v>42699</c:v>
                </c:pt>
                <c:pt idx="524">
                  <c:v>42702</c:v>
                </c:pt>
                <c:pt idx="525">
                  <c:v>42703</c:v>
                </c:pt>
                <c:pt idx="526">
                  <c:v>42704</c:v>
                </c:pt>
                <c:pt idx="527">
                  <c:v>42705</c:v>
                </c:pt>
                <c:pt idx="528">
                  <c:v>42706</c:v>
                </c:pt>
                <c:pt idx="529">
                  <c:v>42709</c:v>
                </c:pt>
                <c:pt idx="530">
                  <c:v>42710</c:v>
                </c:pt>
                <c:pt idx="531">
                  <c:v>42711</c:v>
                </c:pt>
                <c:pt idx="532">
                  <c:v>42712</c:v>
                </c:pt>
                <c:pt idx="533">
                  <c:v>42713</c:v>
                </c:pt>
                <c:pt idx="534">
                  <c:v>42716</c:v>
                </c:pt>
                <c:pt idx="535">
                  <c:v>42717</c:v>
                </c:pt>
                <c:pt idx="536">
                  <c:v>42718</c:v>
                </c:pt>
                <c:pt idx="537">
                  <c:v>42719</c:v>
                </c:pt>
                <c:pt idx="538">
                  <c:v>42720</c:v>
                </c:pt>
                <c:pt idx="539">
                  <c:v>42723</c:v>
                </c:pt>
                <c:pt idx="540">
                  <c:v>42724</c:v>
                </c:pt>
                <c:pt idx="541">
                  <c:v>42725</c:v>
                </c:pt>
                <c:pt idx="542">
                  <c:v>42726</c:v>
                </c:pt>
                <c:pt idx="543">
                  <c:v>42727</c:v>
                </c:pt>
                <c:pt idx="544">
                  <c:v>42730</c:v>
                </c:pt>
                <c:pt idx="545">
                  <c:v>42731</c:v>
                </c:pt>
                <c:pt idx="546">
                  <c:v>42732</c:v>
                </c:pt>
                <c:pt idx="547">
                  <c:v>42733</c:v>
                </c:pt>
                <c:pt idx="548">
                  <c:v>42734</c:v>
                </c:pt>
                <c:pt idx="549">
                  <c:v>42737</c:v>
                </c:pt>
                <c:pt idx="550">
                  <c:v>42738</c:v>
                </c:pt>
                <c:pt idx="551">
                  <c:v>42739</c:v>
                </c:pt>
                <c:pt idx="552">
                  <c:v>42740</c:v>
                </c:pt>
                <c:pt idx="553">
                  <c:v>42741</c:v>
                </c:pt>
                <c:pt idx="554">
                  <c:v>42744</c:v>
                </c:pt>
                <c:pt idx="555">
                  <c:v>42745</c:v>
                </c:pt>
                <c:pt idx="556">
                  <c:v>42746</c:v>
                </c:pt>
                <c:pt idx="557">
                  <c:v>42747</c:v>
                </c:pt>
                <c:pt idx="558">
                  <c:v>42748</c:v>
                </c:pt>
                <c:pt idx="559">
                  <c:v>42751</c:v>
                </c:pt>
                <c:pt idx="560">
                  <c:v>42752</c:v>
                </c:pt>
                <c:pt idx="561">
                  <c:v>42753</c:v>
                </c:pt>
                <c:pt idx="562">
                  <c:v>42754</c:v>
                </c:pt>
                <c:pt idx="563">
                  <c:v>42755</c:v>
                </c:pt>
                <c:pt idx="564">
                  <c:v>42758</c:v>
                </c:pt>
                <c:pt idx="565">
                  <c:v>42759</c:v>
                </c:pt>
                <c:pt idx="566">
                  <c:v>42760</c:v>
                </c:pt>
                <c:pt idx="567">
                  <c:v>42761</c:v>
                </c:pt>
                <c:pt idx="568">
                  <c:v>42762</c:v>
                </c:pt>
                <c:pt idx="569">
                  <c:v>42765</c:v>
                </c:pt>
                <c:pt idx="570">
                  <c:v>42766</c:v>
                </c:pt>
                <c:pt idx="571">
                  <c:v>42767</c:v>
                </c:pt>
                <c:pt idx="572">
                  <c:v>42768</c:v>
                </c:pt>
                <c:pt idx="573">
                  <c:v>42769</c:v>
                </c:pt>
                <c:pt idx="574">
                  <c:v>42772</c:v>
                </c:pt>
                <c:pt idx="575">
                  <c:v>42773</c:v>
                </c:pt>
                <c:pt idx="576">
                  <c:v>42774</c:v>
                </c:pt>
                <c:pt idx="577">
                  <c:v>42775</c:v>
                </c:pt>
                <c:pt idx="578">
                  <c:v>42776</c:v>
                </c:pt>
                <c:pt idx="579">
                  <c:v>42779</c:v>
                </c:pt>
                <c:pt idx="580">
                  <c:v>42780</c:v>
                </c:pt>
                <c:pt idx="581">
                  <c:v>42781</c:v>
                </c:pt>
                <c:pt idx="582">
                  <c:v>42782</c:v>
                </c:pt>
                <c:pt idx="583">
                  <c:v>42783</c:v>
                </c:pt>
                <c:pt idx="584">
                  <c:v>42786</c:v>
                </c:pt>
                <c:pt idx="585">
                  <c:v>42787</c:v>
                </c:pt>
                <c:pt idx="586">
                  <c:v>42788</c:v>
                </c:pt>
                <c:pt idx="587">
                  <c:v>42789</c:v>
                </c:pt>
                <c:pt idx="588">
                  <c:v>42790</c:v>
                </c:pt>
                <c:pt idx="589">
                  <c:v>42793</c:v>
                </c:pt>
                <c:pt idx="590">
                  <c:v>42794</c:v>
                </c:pt>
                <c:pt idx="591">
                  <c:v>42795</c:v>
                </c:pt>
                <c:pt idx="592">
                  <c:v>42796</c:v>
                </c:pt>
                <c:pt idx="593">
                  <c:v>42797</c:v>
                </c:pt>
                <c:pt idx="594">
                  <c:v>42800</c:v>
                </c:pt>
                <c:pt idx="595">
                  <c:v>42801</c:v>
                </c:pt>
                <c:pt idx="596">
                  <c:v>42802</c:v>
                </c:pt>
                <c:pt idx="597">
                  <c:v>42803</c:v>
                </c:pt>
                <c:pt idx="598">
                  <c:v>42804</c:v>
                </c:pt>
                <c:pt idx="599">
                  <c:v>42807</c:v>
                </c:pt>
                <c:pt idx="600">
                  <c:v>42808</c:v>
                </c:pt>
                <c:pt idx="601">
                  <c:v>42809</c:v>
                </c:pt>
                <c:pt idx="602">
                  <c:v>42810</c:v>
                </c:pt>
                <c:pt idx="603">
                  <c:v>42811</c:v>
                </c:pt>
                <c:pt idx="604">
                  <c:v>42814</c:v>
                </c:pt>
                <c:pt idx="605">
                  <c:v>42815</c:v>
                </c:pt>
                <c:pt idx="606">
                  <c:v>42816</c:v>
                </c:pt>
                <c:pt idx="607">
                  <c:v>42817</c:v>
                </c:pt>
                <c:pt idx="608">
                  <c:v>42818</c:v>
                </c:pt>
                <c:pt idx="609">
                  <c:v>42821</c:v>
                </c:pt>
                <c:pt idx="610">
                  <c:v>42822</c:v>
                </c:pt>
                <c:pt idx="611">
                  <c:v>42823</c:v>
                </c:pt>
                <c:pt idx="612">
                  <c:v>42824</c:v>
                </c:pt>
                <c:pt idx="613">
                  <c:v>42825</c:v>
                </c:pt>
                <c:pt idx="614">
                  <c:v>42828</c:v>
                </c:pt>
                <c:pt idx="615">
                  <c:v>42829</c:v>
                </c:pt>
                <c:pt idx="616">
                  <c:v>42830</c:v>
                </c:pt>
                <c:pt idx="617">
                  <c:v>42831</c:v>
                </c:pt>
                <c:pt idx="618">
                  <c:v>42832</c:v>
                </c:pt>
                <c:pt idx="619">
                  <c:v>42835</c:v>
                </c:pt>
                <c:pt idx="620">
                  <c:v>42836</c:v>
                </c:pt>
                <c:pt idx="621">
                  <c:v>42837</c:v>
                </c:pt>
                <c:pt idx="622">
                  <c:v>42838</c:v>
                </c:pt>
                <c:pt idx="623">
                  <c:v>42839</c:v>
                </c:pt>
                <c:pt idx="624">
                  <c:v>42842</c:v>
                </c:pt>
                <c:pt idx="625">
                  <c:v>42843</c:v>
                </c:pt>
                <c:pt idx="626">
                  <c:v>42844</c:v>
                </c:pt>
                <c:pt idx="627">
                  <c:v>42845</c:v>
                </c:pt>
                <c:pt idx="628">
                  <c:v>42846</c:v>
                </c:pt>
                <c:pt idx="629">
                  <c:v>42849</c:v>
                </c:pt>
                <c:pt idx="630">
                  <c:v>42850</c:v>
                </c:pt>
                <c:pt idx="631">
                  <c:v>42851</c:v>
                </c:pt>
                <c:pt idx="632">
                  <c:v>42852</c:v>
                </c:pt>
                <c:pt idx="633">
                  <c:v>42853</c:v>
                </c:pt>
                <c:pt idx="634">
                  <c:v>42856</c:v>
                </c:pt>
                <c:pt idx="635">
                  <c:v>42857</c:v>
                </c:pt>
                <c:pt idx="636">
                  <c:v>42858</c:v>
                </c:pt>
                <c:pt idx="637">
                  <c:v>42859</c:v>
                </c:pt>
                <c:pt idx="638">
                  <c:v>42860</c:v>
                </c:pt>
                <c:pt idx="639">
                  <c:v>42863</c:v>
                </c:pt>
                <c:pt idx="640">
                  <c:v>42864</c:v>
                </c:pt>
                <c:pt idx="641">
                  <c:v>42865</c:v>
                </c:pt>
                <c:pt idx="642">
                  <c:v>42866</c:v>
                </c:pt>
                <c:pt idx="643">
                  <c:v>42867</c:v>
                </c:pt>
                <c:pt idx="644">
                  <c:v>42870</c:v>
                </c:pt>
                <c:pt idx="645">
                  <c:v>42871</c:v>
                </c:pt>
                <c:pt idx="646">
                  <c:v>42872</c:v>
                </c:pt>
                <c:pt idx="647">
                  <c:v>42873</c:v>
                </c:pt>
                <c:pt idx="648">
                  <c:v>42874</c:v>
                </c:pt>
                <c:pt idx="649">
                  <c:v>42877</c:v>
                </c:pt>
                <c:pt idx="650">
                  <c:v>42878</c:v>
                </c:pt>
                <c:pt idx="651">
                  <c:v>42879</c:v>
                </c:pt>
                <c:pt idx="652">
                  <c:v>42880</c:v>
                </c:pt>
                <c:pt idx="653">
                  <c:v>42881</c:v>
                </c:pt>
                <c:pt idx="654">
                  <c:v>42884</c:v>
                </c:pt>
                <c:pt idx="655">
                  <c:v>42885</c:v>
                </c:pt>
                <c:pt idx="656">
                  <c:v>42886</c:v>
                </c:pt>
                <c:pt idx="657">
                  <c:v>42887</c:v>
                </c:pt>
                <c:pt idx="658">
                  <c:v>42888</c:v>
                </c:pt>
                <c:pt idx="659">
                  <c:v>42891</c:v>
                </c:pt>
                <c:pt idx="660">
                  <c:v>42892</c:v>
                </c:pt>
                <c:pt idx="661">
                  <c:v>42893</c:v>
                </c:pt>
                <c:pt idx="662">
                  <c:v>42894</c:v>
                </c:pt>
                <c:pt idx="663">
                  <c:v>42895</c:v>
                </c:pt>
                <c:pt idx="664">
                  <c:v>42898</c:v>
                </c:pt>
                <c:pt idx="665">
                  <c:v>42899</c:v>
                </c:pt>
                <c:pt idx="666">
                  <c:v>42900</c:v>
                </c:pt>
                <c:pt idx="667">
                  <c:v>42901</c:v>
                </c:pt>
                <c:pt idx="668">
                  <c:v>42902</c:v>
                </c:pt>
                <c:pt idx="669">
                  <c:v>42905</c:v>
                </c:pt>
                <c:pt idx="670">
                  <c:v>42906</c:v>
                </c:pt>
                <c:pt idx="671">
                  <c:v>42907</c:v>
                </c:pt>
                <c:pt idx="672">
                  <c:v>42908</c:v>
                </c:pt>
                <c:pt idx="673">
                  <c:v>42909</c:v>
                </c:pt>
                <c:pt idx="674">
                  <c:v>42912</c:v>
                </c:pt>
                <c:pt idx="675">
                  <c:v>42913</c:v>
                </c:pt>
                <c:pt idx="676">
                  <c:v>42914</c:v>
                </c:pt>
                <c:pt idx="677">
                  <c:v>42915</c:v>
                </c:pt>
                <c:pt idx="678">
                  <c:v>42916</c:v>
                </c:pt>
                <c:pt idx="679">
                  <c:v>42919</c:v>
                </c:pt>
                <c:pt idx="680">
                  <c:v>42920</c:v>
                </c:pt>
                <c:pt idx="681">
                  <c:v>42921</c:v>
                </c:pt>
                <c:pt idx="682">
                  <c:v>42922</c:v>
                </c:pt>
                <c:pt idx="683">
                  <c:v>42923</c:v>
                </c:pt>
                <c:pt idx="684">
                  <c:v>42926</c:v>
                </c:pt>
                <c:pt idx="685">
                  <c:v>42927</c:v>
                </c:pt>
                <c:pt idx="686">
                  <c:v>42928</c:v>
                </c:pt>
                <c:pt idx="687">
                  <c:v>42929</c:v>
                </c:pt>
                <c:pt idx="688">
                  <c:v>42930</c:v>
                </c:pt>
                <c:pt idx="689">
                  <c:v>42933</c:v>
                </c:pt>
                <c:pt idx="690">
                  <c:v>42934</c:v>
                </c:pt>
                <c:pt idx="691">
                  <c:v>42935</c:v>
                </c:pt>
                <c:pt idx="692">
                  <c:v>42936</c:v>
                </c:pt>
                <c:pt idx="693">
                  <c:v>42937</c:v>
                </c:pt>
                <c:pt idx="694">
                  <c:v>42940</c:v>
                </c:pt>
                <c:pt idx="695">
                  <c:v>42941</c:v>
                </c:pt>
                <c:pt idx="696">
                  <c:v>42942</c:v>
                </c:pt>
                <c:pt idx="697">
                  <c:v>42943</c:v>
                </c:pt>
                <c:pt idx="698">
                  <c:v>42944</c:v>
                </c:pt>
                <c:pt idx="699">
                  <c:v>42947</c:v>
                </c:pt>
                <c:pt idx="700">
                  <c:v>42948</c:v>
                </c:pt>
                <c:pt idx="701">
                  <c:v>42949</c:v>
                </c:pt>
                <c:pt idx="702">
                  <c:v>42950</c:v>
                </c:pt>
                <c:pt idx="703">
                  <c:v>42951</c:v>
                </c:pt>
                <c:pt idx="704">
                  <c:v>42954</c:v>
                </c:pt>
                <c:pt idx="705">
                  <c:v>42955</c:v>
                </c:pt>
                <c:pt idx="706">
                  <c:v>42956</c:v>
                </c:pt>
                <c:pt idx="707">
                  <c:v>42957</c:v>
                </c:pt>
                <c:pt idx="708">
                  <c:v>42958</c:v>
                </c:pt>
                <c:pt idx="709">
                  <c:v>42961</c:v>
                </c:pt>
                <c:pt idx="710">
                  <c:v>42962</c:v>
                </c:pt>
                <c:pt idx="711">
                  <c:v>42963</c:v>
                </c:pt>
                <c:pt idx="712">
                  <c:v>42964</c:v>
                </c:pt>
                <c:pt idx="713">
                  <c:v>42965</c:v>
                </c:pt>
                <c:pt idx="714">
                  <c:v>42968</c:v>
                </c:pt>
                <c:pt idx="715">
                  <c:v>42969</c:v>
                </c:pt>
                <c:pt idx="716">
                  <c:v>42970</c:v>
                </c:pt>
                <c:pt idx="717">
                  <c:v>42971</c:v>
                </c:pt>
                <c:pt idx="718">
                  <c:v>42972</c:v>
                </c:pt>
                <c:pt idx="719">
                  <c:v>42975</c:v>
                </c:pt>
                <c:pt idx="720">
                  <c:v>42976</c:v>
                </c:pt>
                <c:pt idx="721">
                  <c:v>42977</c:v>
                </c:pt>
                <c:pt idx="722">
                  <c:v>42978</c:v>
                </c:pt>
                <c:pt idx="723">
                  <c:v>42979</c:v>
                </c:pt>
                <c:pt idx="724">
                  <c:v>42982</c:v>
                </c:pt>
                <c:pt idx="725">
                  <c:v>42983</c:v>
                </c:pt>
                <c:pt idx="726">
                  <c:v>42984</c:v>
                </c:pt>
                <c:pt idx="727">
                  <c:v>42985</c:v>
                </c:pt>
                <c:pt idx="728">
                  <c:v>42986</c:v>
                </c:pt>
                <c:pt idx="729">
                  <c:v>42989</c:v>
                </c:pt>
                <c:pt idx="730">
                  <c:v>42990</c:v>
                </c:pt>
                <c:pt idx="731">
                  <c:v>42991</c:v>
                </c:pt>
                <c:pt idx="732">
                  <c:v>42992</c:v>
                </c:pt>
                <c:pt idx="733">
                  <c:v>42993</c:v>
                </c:pt>
                <c:pt idx="734">
                  <c:v>42996</c:v>
                </c:pt>
                <c:pt idx="735">
                  <c:v>42997</c:v>
                </c:pt>
                <c:pt idx="736">
                  <c:v>42998</c:v>
                </c:pt>
                <c:pt idx="737">
                  <c:v>42999</c:v>
                </c:pt>
                <c:pt idx="738">
                  <c:v>43000</c:v>
                </c:pt>
                <c:pt idx="739">
                  <c:v>43003</c:v>
                </c:pt>
                <c:pt idx="740">
                  <c:v>43004</c:v>
                </c:pt>
                <c:pt idx="741">
                  <c:v>43005</c:v>
                </c:pt>
                <c:pt idx="742">
                  <c:v>43006</c:v>
                </c:pt>
                <c:pt idx="743">
                  <c:v>43007</c:v>
                </c:pt>
                <c:pt idx="744">
                  <c:v>43010</c:v>
                </c:pt>
                <c:pt idx="745">
                  <c:v>43011</c:v>
                </c:pt>
                <c:pt idx="746">
                  <c:v>43012</c:v>
                </c:pt>
                <c:pt idx="747">
                  <c:v>43013</c:v>
                </c:pt>
                <c:pt idx="748">
                  <c:v>43014</c:v>
                </c:pt>
                <c:pt idx="749">
                  <c:v>43017</c:v>
                </c:pt>
                <c:pt idx="750">
                  <c:v>43018</c:v>
                </c:pt>
                <c:pt idx="751">
                  <c:v>43019</c:v>
                </c:pt>
                <c:pt idx="752">
                  <c:v>43020</c:v>
                </c:pt>
                <c:pt idx="753">
                  <c:v>43021</c:v>
                </c:pt>
                <c:pt idx="754">
                  <c:v>43024</c:v>
                </c:pt>
                <c:pt idx="755">
                  <c:v>43025</c:v>
                </c:pt>
                <c:pt idx="756">
                  <c:v>43026</c:v>
                </c:pt>
                <c:pt idx="757">
                  <c:v>43027</c:v>
                </c:pt>
                <c:pt idx="758">
                  <c:v>43028</c:v>
                </c:pt>
                <c:pt idx="759">
                  <c:v>43031</c:v>
                </c:pt>
                <c:pt idx="760">
                  <c:v>43032</c:v>
                </c:pt>
                <c:pt idx="761">
                  <c:v>43033</c:v>
                </c:pt>
                <c:pt idx="762">
                  <c:v>43034</c:v>
                </c:pt>
                <c:pt idx="763">
                  <c:v>43035</c:v>
                </c:pt>
                <c:pt idx="764">
                  <c:v>43038</c:v>
                </c:pt>
                <c:pt idx="765">
                  <c:v>43039</c:v>
                </c:pt>
                <c:pt idx="766">
                  <c:v>43040</c:v>
                </c:pt>
                <c:pt idx="767">
                  <c:v>43041</c:v>
                </c:pt>
                <c:pt idx="768">
                  <c:v>43042</c:v>
                </c:pt>
                <c:pt idx="769">
                  <c:v>43045</c:v>
                </c:pt>
                <c:pt idx="770">
                  <c:v>43046</c:v>
                </c:pt>
                <c:pt idx="771">
                  <c:v>43047</c:v>
                </c:pt>
                <c:pt idx="772">
                  <c:v>43048</c:v>
                </c:pt>
                <c:pt idx="773">
                  <c:v>43049</c:v>
                </c:pt>
                <c:pt idx="774">
                  <c:v>43052</c:v>
                </c:pt>
                <c:pt idx="775">
                  <c:v>43053</c:v>
                </c:pt>
                <c:pt idx="776">
                  <c:v>43054</c:v>
                </c:pt>
                <c:pt idx="777">
                  <c:v>43055</c:v>
                </c:pt>
                <c:pt idx="778">
                  <c:v>43056</c:v>
                </c:pt>
                <c:pt idx="779">
                  <c:v>43059</c:v>
                </c:pt>
                <c:pt idx="780">
                  <c:v>43060</c:v>
                </c:pt>
                <c:pt idx="781">
                  <c:v>43061</c:v>
                </c:pt>
                <c:pt idx="782">
                  <c:v>43062</c:v>
                </c:pt>
                <c:pt idx="783">
                  <c:v>43063</c:v>
                </c:pt>
                <c:pt idx="784">
                  <c:v>43066</c:v>
                </c:pt>
                <c:pt idx="785">
                  <c:v>43067</c:v>
                </c:pt>
                <c:pt idx="786">
                  <c:v>43068</c:v>
                </c:pt>
                <c:pt idx="787">
                  <c:v>43069</c:v>
                </c:pt>
                <c:pt idx="788">
                  <c:v>43070</c:v>
                </c:pt>
                <c:pt idx="789">
                  <c:v>43073</c:v>
                </c:pt>
                <c:pt idx="790">
                  <c:v>43074</c:v>
                </c:pt>
                <c:pt idx="791">
                  <c:v>43075</c:v>
                </c:pt>
                <c:pt idx="792">
                  <c:v>43076</c:v>
                </c:pt>
                <c:pt idx="793">
                  <c:v>43077</c:v>
                </c:pt>
                <c:pt idx="794">
                  <c:v>43080</c:v>
                </c:pt>
                <c:pt idx="795">
                  <c:v>43081</c:v>
                </c:pt>
                <c:pt idx="796">
                  <c:v>43082</c:v>
                </c:pt>
                <c:pt idx="797">
                  <c:v>43083</c:v>
                </c:pt>
                <c:pt idx="798">
                  <c:v>43084</c:v>
                </c:pt>
                <c:pt idx="799">
                  <c:v>43087</c:v>
                </c:pt>
                <c:pt idx="800">
                  <c:v>43088</c:v>
                </c:pt>
                <c:pt idx="801">
                  <c:v>43089</c:v>
                </c:pt>
                <c:pt idx="802">
                  <c:v>43090</c:v>
                </c:pt>
                <c:pt idx="803">
                  <c:v>43091</c:v>
                </c:pt>
                <c:pt idx="804">
                  <c:v>43094</c:v>
                </c:pt>
                <c:pt idx="805">
                  <c:v>43095</c:v>
                </c:pt>
                <c:pt idx="806">
                  <c:v>43096</c:v>
                </c:pt>
                <c:pt idx="807">
                  <c:v>43097</c:v>
                </c:pt>
                <c:pt idx="808">
                  <c:v>43098</c:v>
                </c:pt>
                <c:pt idx="809">
                  <c:v>43101</c:v>
                </c:pt>
                <c:pt idx="810">
                  <c:v>43102</c:v>
                </c:pt>
                <c:pt idx="811">
                  <c:v>43103</c:v>
                </c:pt>
                <c:pt idx="812">
                  <c:v>43104</c:v>
                </c:pt>
                <c:pt idx="813">
                  <c:v>43105</c:v>
                </c:pt>
                <c:pt idx="814">
                  <c:v>43108</c:v>
                </c:pt>
                <c:pt idx="815">
                  <c:v>43109</c:v>
                </c:pt>
                <c:pt idx="816">
                  <c:v>43110</c:v>
                </c:pt>
                <c:pt idx="817">
                  <c:v>43111</c:v>
                </c:pt>
                <c:pt idx="818">
                  <c:v>43112</c:v>
                </c:pt>
                <c:pt idx="819">
                  <c:v>43115</c:v>
                </c:pt>
                <c:pt idx="820">
                  <c:v>43116</c:v>
                </c:pt>
                <c:pt idx="821">
                  <c:v>43117</c:v>
                </c:pt>
                <c:pt idx="822">
                  <c:v>43118</c:v>
                </c:pt>
                <c:pt idx="823">
                  <c:v>43119</c:v>
                </c:pt>
                <c:pt idx="824">
                  <c:v>43122</c:v>
                </c:pt>
                <c:pt idx="825">
                  <c:v>43123</c:v>
                </c:pt>
                <c:pt idx="826">
                  <c:v>43124</c:v>
                </c:pt>
                <c:pt idx="827">
                  <c:v>43125</c:v>
                </c:pt>
                <c:pt idx="828">
                  <c:v>43126</c:v>
                </c:pt>
                <c:pt idx="829">
                  <c:v>43129</c:v>
                </c:pt>
                <c:pt idx="830">
                  <c:v>43130</c:v>
                </c:pt>
                <c:pt idx="831">
                  <c:v>43131</c:v>
                </c:pt>
                <c:pt idx="832">
                  <c:v>43132</c:v>
                </c:pt>
                <c:pt idx="833">
                  <c:v>43133</c:v>
                </c:pt>
                <c:pt idx="834">
                  <c:v>43136</c:v>
                </c:pt>
                <c:pt idx="835">
                  <c:v>43137</c:v>
                </c:pt>
                <c:pt idx="836">
                  <c:v>43138</c:v>
                </c:pt>
                <c:pt idx="837">
                  <c:v>43139</c:v>
                </c:pt>
                <c:pt idx="838">
                  <c:v>43140</c:v>
                </c:pt>
                <c:pt idx="839">
                  <c:v>43143</c:v>
                </c:pt>
                <c:pt idx="840">
                  <c:v>43144</c:v>
                </c:pt>
                <c:pt idx="841">
                  <c:v>43145</c:v>
                </c:pt>
                <c:pt idx="842">
                  <c:v>43146</c:v>
                </c:pt>
                <c:pt idx="843">
                  <c:v>43147</c:v>
                </c:pt>
                <c:pt idx="844">
                  <c:v>43150</c:v>
                </c:pt>
                <c:pt idx="845">
                  <c:v>43151</c:v>
                </c:pt>
                <c:pt idx="846">
                  <c:v>43152</c:v>
                </c:pt>
                <c:pt idx="847">
                  <c:v>43153</c:v>
                </c:pt>
                <c:pt idx="848">
                  <c:v>43154</c:v>
                </c:pt>
                <c:pt idx="849">
                  <c:v>43157</c:v>
                </c:pt>
                <c:pt idx="850">
                  <c:v>43158</c:v>
                </c:pt>
                <c:pt idx="851">
                  <c:v>43159</c:v>
                </c:pt>
                <c:pt idx="852">
                  <c:v>43160</c:v>
                </c:pt>
                <c:pt idx="853">
                  <c:v>43161</c:v>
                </c:pt>
                <c:pt idx="854">
                  <c:v>43164</c:v>
                </c:pt>
                <c:pt idx="855">
                  <c:v>43165</c:v>
                </c:pt>
                <c:pt idx="856">
                  <c:v>43166</c:v>
                </c:pt>
                <c:pt idx="857">
                  <c:v>43167</c:v>
                </c:pt>
                <c:pt idx="858">
                  <c:v>43168</c:v>
                </c:pt>
                <c:pt idx="859">
                  <c:v>43171</c:v>
                </c:pt>
                <c:pt idx="860">
                  <c:v>43172</c:v>
                </c:pt>
                <c:pt idx="861">
                  <c:v>43173</c:v>
                </c:pt>
                <c:pt idx="862">
                  <c:v>43174</c:v>
                </c:pt>
                <c:pt idx="863">
                  <c:v>43175</c:v>
                </c:pt>
                <c:pt idx="864">
                  <c:v>43178</c:v>
                </c:pt>
                <c:pt idx="865">
                  <c:v>43179</c:v>
                </c:pt>
                <c:pt idx="866">
                  <c:v>43180</c:v>
                </c:pt>
                <c:pt idx="867">
                  <c:v>43181</c:v>
                </c:pt>
                <c:pt idx="868">
                  <c:v>43182</c:v>
                </c:pt>
                <c:pt idx="869">
                  <c:v>43185</c:v>
                </c:pt>
                <c:pt idx="870">
                  <c:v>43186</c:v>
                </c:pt>
                <c:pt idx="871">
                  <c:v>43187</c:v>
                </c:pt>
                <c:pt idx="872">
                  <c:v>43188</c:v>
                </c:pt>
                <c:pt idx="873">
                  <c:v>43189</c:v>
                </c:pt>
                <c:pt idx="874">
                  <c:v>43192</c:v>
                </c:pt>
                <c:pt idx="875">
                  <c:v>43193</c:v>
                </c:pt>
                <c:pt idx="876">
                  <c:v>43194</c:v>
                </c:pt>
                <c:pt idx="877">
                  <c:v>43195</c:v>
                </c:pt>
                <c:pt idx="878">
                  <c:v>43196</c:v>
                </c:pt>
                <c:pt idx="879">
                  <c:v>43199</c:v>
                </c:pt>
                <c:pt idx="880">
                  <c:v>43200</c:v>
                </c:pt>
                <c:pt idx="881">
                  <c:v>43201</c:v>
                </c:pt>
                <c:pt idx="882">
                  <c:v>43202</c:v>
                </c:pt>
                <c:pt idx="883">
                  <c:v>43203</c:v>
                </c:pt>
                <c:pt idx="884">
                  <c:v>43206</c:v>
                </c:pt>
                <c:pt idx="885">
                  <c:v>43207</c:v>
                </c:pt>
                <c:pt idx="886">
                  <c:v>43208</c:v>
                </c:pt>
                <c:pt idx="887">
                  <c:v>43209</c:v>
                </c:pt>
                <c:pt idx="888">
                  <c:v>43210</c:v>
                </c:pt>
                <c:pt idx="889">
                  <c:v>43213</c:v>
                </c:pt>
                <c:pt idx="890">
                  <c:v>43214</c:v>
                </c:pt>
                <c:pt idx="891">
                  <c:v>43215</c:v>
                </c:pt>
                <c:pt idx="892">
                  <c:v>43216</c:v>
                </c:pt>
                <c:pt idx="893">
                  <c:v>43217</c:v>
                </c:pt>
                <c:pt idx="894">
                  <c:v>43220</c:v>
                </c:pt>
                <c:pt idx="895">
                  <c:v>43221</c:v>
                </c:pt>
                <c:pt idx="896">
                  <c:v>43222</c:v>
                </c:pt>
                <c:pt idx="897">
                  <c:v>43223</c:v>
                </c:pt>
                <c:pt idx="898">
                  <c:v>43224</c:v>
                </c:pt>
                <c:pt idx="899">
                  <c:v>43227</c:v>
                </c:pt>
                <c:pt idx="900">
                  <c:v>43228</c:v>
                </c:pt>
                <c:pt idx="901">
                  <c:v>43229</c:v>
                </c:pt>
                <c:pt idx="902">
                  <c:v>43230</c:v>
                </c:pt>
                <c:pt idx="903">
                  <c:v>43231</c:v>
                </c:pt>
                <c:pt idx="904">
                  <c:v>43234</c:v>
                </c:pt>
                <c:pt idx="905">
                  <c:v>43235</c:v>
                </c:pt>
                <c:pt idx="906">
                  <c:v>43236</c:v>
                </c:pt>
                <c:pt idx="907">
                  <c:v>43237</c:v>
                </c:pt>
                <c:pt idx="908">
                  <c:v>43238</c:v>
                </c:pt>
                <c:pt idx="909">
                  <c:v>43241</c:v>
                </c:pt>
                <c:pt idx="910">
                  <c:v>43242</c:v>
                </c:pt>
                <c:pt idx="911">
                  <c:v>43243</c:v>
                </c:pt>
                <c:pt idx="912">
                  <c:v>43244</c:v>
                </c:pt>
                <c:pt idx="913">
                  <c:v>43245</c:v>
                </c:pt>
                <c:pt idx="914">
                  <c:v>43248</c:v>
                </c:pt>
                <c:pt idx="915">
                  <c:v>43249</c:v>
                </c:pt>
                <c:pt idx="916">
                  <c:v>43250</c:v>
                </c:pt>
                <c:pt idx="917">
                  <c:v>43251</c:v>
                </c:pt>
                <c:pt idx="918">
                  <c:v>43252</c:v>
                </c:pt>
                <c:pt idx="919">
                  <c:v>43255</c:v>
                </c:pt>
                <c:pt idx="920">
                  <c:v>43256</c:v>
                </c:pt>
                <c:pt idx="921">
                  <c:v>43257</c:v>
                </c:pt>
                <c:pt idx="922">
                  <c:v>43258</c:v>
                </c:pt>
                <c:pt idx="923">
                  <c:v>43259</c:v>
                </c:pt>
                <c:pt idx="924">
                  <c:v>43262</c:v>
                </c:pt>
                <c:pt idx="925">
                  <c:v>43263</c:v>
                </c:pt>
                <c:pt idx="926">
                  <c:v>43264</c:v>
                </c:pt>
                <c:pt idx="927">
                  <c:v>43265</c:v>
                </c:pt>
                <c:pt idx="928">
                  <c:v>43266</c:v>
                </c:pt>
                <c:pt idx="929">
                  <c:v>43269</c:v>
                </c:pt>
                <c:pt idx="930">
                  <c:v>43270</c:v>
                </c:pt>
                <c:pt idx="931">
                  <c:v>43271</c:v>
                </c:pt>
                <c:pt idx="932">
                  <c:v>43272</c:v>
                </c:pt>
                <c:pt idx="933">
                  <c:v>43273</c:v>
                </c:pt>
                <c:pt idx="934">
                  <c:v>43276</c:v>
                </c:pt>
                <c:pt idx="935">
                  <c:v>43277</c:v>
                </c:pt>
                <c:pt idx="936">
                  <c:v>43278</c:v>
                </c:pt>
                <c:pt idx="937">
                  <c:v>43279</c:v>
                </c:pt>
                <c:pt idx="938">
                  <c:v>43280</c:v>
                </c:pt>
                <c:pt idx="939">
                  <c:v>43283</c:v>
                </c:pt>
                <c:pt idx="940">
                  <c:v>43284</c:v>
                </c:pt>
                <c:pt idx="941">
                  <c:v>43285</c:v>
                </c:pt>
                <c:pt idx="942">
                  <c:v>43286</c:v>
                </c:pt>
                <c:pt idx="943">
                  <c:v>43287</c:v>
                </c:pt>
                <c:pt idx="944">
                  <c:v>43290</c:v>
                </c:pt>
                <c:pt idx="945">
                  <c:v>43291</c:v>
                </c:pt>
                <c:pt idx="946">
                  <c:v>43292</c:v>
                </c:pt>
                <c:pt idx="947">
                  <c:v>43293</c:v>
                </c:pt>
                <c:pt idx="948">
                  <c:v>43294</c:v>
                </c:pt>
                <c:pt idx="949">
                  <c:v>43297</c:v>
                </c:pt>
                <c:pt idx="950">
                  <c:v>43298</c:v>
                </c:pt>
                <c:pt idx="951">
                  <c:v>43299</c:v>
                </c:pt>
                <c:pt idx="952">
                  <c:v>43300</c:v>
                </c:pt>
                <c:pt idx="953">
                  <c:v>43301</c:v>
                </c:pt>
                <c:pt idx="954">
                  <c:v>43304</c:v>
                </c:pt>
                <c:pt idx="955">
                  <c:v>43305</c:v>
                </c:pt>
                <c:pt idx="956">
                  <c:v>43306</c:v>
                </c:pt>
                <c:pt idx="957">
                  <c:v>43307</c:v>
                </c:pt>
                <c:pt idx="958">
                  <c:v>43308</c:v>
                </c:pt>
                <c:pt idx="959">
                  <c:v>43311</c:v>
                </c:pt>
                <c:pt idx="960">
                  <c:v>43312</c:v>
                </c:pt>
                <c:pt idx="961">
                  <c:v>43313</c:v>
                </c:pt>
                <c:pt idx="962">
                  <c:v>43314</c:v>
                </c:pt>
                <c:pt idx="963">
                  <c:v>43315</c:v>
                </c:pt>
                <c:pt idx="964">
                  <c:v>43318</c:v>
                </c:pt>
                <c:pt idx="965">
                  <c:v>43319</c:v>
                </c:pt>
                <c:pt idx="966">
                  <c:v>43320</c:v>
                </c:pt>
                <c:pt idx="967">
                  <c:v>43321</c:v>
                </c:pt>
                <c:pt idx="968">
                  <c:v>43322</c:v>
                </c:pt>
                <c:pt idx="969">
                  <c:v>43325</c:v>
                </c:pt>
                <c:pt idx="970">
                  <c:v>43326</c:v>
                </c:pt>
                <c:pt idx="971">
                  <c:v>43327</c:v>
                </c:pt>
                <c:pt idx="972">
                  <c:v>43328</c:v>
                </c:pt>
                <c:pt idx="973">
                  <c:v>43329</c:v>
                </c:pt>
                <c:pt idx="974">
                  <c:v>43332</c:v>
                </c:pt>
                <c:pt idx="975">
                  <c:v>43333</c:v>
                </c:pt>
                <c:pt idx="976">
                  <c:v>43334</c:v>
                </c:pt>
                <c:pt idx="977">
                  <c:v>43335</c:v>
                </c:pt>
                <c:pt idx="978">
                  <c:v>43336</c:v>
                </c:pt>
                <c:pt idx="979">
                  <c:v>43339</c:v>
                </c:pt>
                <c:pt idx="980">
                  <c:v>43340</c:v>
                </c:pt>
                <c:pt idx="981">
                  <c:v>43341</c:v>
                </c:pt>
                <c:pt idx="982">
                  <c:v>43342</c:v>
                </c:pt>
                <c:pt idx="983">
                  <c:v>43343</c:v>
                </c:pt>
                <c:pt idx="984">
                  <c:v>43346</c:v>
                </c:pt>
                <c:pt idx="985">
                  <c:v>43347</c:v>
                </c:pt>
                <c:pt idx="986">
                  <c:v>43348</c:v>
                </c:pt>
                <c:pt idx="987">
                  <c:v>43349</c:v>
                </c:pt>
                <c:pt idx="988">
                  <c:v>43350</c:v>
                </c:pt>
                <c:pt idx="989">
                  <c:v>43353</c:v>
                </c:pt>
                <c:pt idx="990">
                  <c:v>43354</c:v>
                </c:pt>
                <c:pt idx="991">
                  <c:v>43355</c:v>
                </c:pt>
                <c:pt idx="992">
                  <c:v>43356</c:v>
                </c:pt>
                <c:pt idx="993">
                  <c:v>43357</c:v>
                </c:pt>
                <c:pt idx="994">
                  <c:v>43360</c:v>
                </c:pt>
                <c:pt idx="995">
                  <c:v>43361</c:v>
                </c:pt>
                <c:pt idx="996">
                  <c:v>43362</c:v>
                </c:pt>
                <c:pt idx="997">
                  <c:v>43363</c:v>
                </c:pt>
                <c:pt idx="998">
                  <c:v>43364</c:v>
                </c:pt>
                <c:pt idx="999">
                  <c:v>43367</c:v>
                </c:pt>
                <c:pt idx="1000">
                  <c:v>43368</c:v>
                </c:pt>
                <c:pt idx="1001">
                  <c:v>43369</c:v>
                </c:pt>
                <c:pt idx="1002">
                  <c:v>43370</c:v>
                </c:pt>
                <c:pt idx="1003">
                  <c:v>43371</c:v>
                </c:pt>
                <c:pt idx="1004">
                  <c:v>43374</c:v>
                </c:pt>
                <c:pt idx="1005">
                  <c:v>43375</c:v>
                </c:pt>
                <c:pt idx="1006">
                  <c:v>43376</c:v>
                </c:pt>
                <c:pt idx="1007">
                  <c:v>43377</c:v>
                </c:pt>
                <c:pt idx="1008">
                  <c:v>43378</c:v>
                </c:pt>
                <c:pt idx="1009">
                  <c:v>43381</c:v>
                </c:pt>
                <c:pt idx="1010">
                  <c:v>43382</c:v>
                </c:pt>
                <c:pt idx="1011">
                  <c:v>43383</c:v>
                </c:pt>
                <c:pt idx="1012">
                  <c:v>43384</c:v>
                </c:pt>
                <c:pt idx="1013">
                  <c:v>43385</c:v>
                </c:pt>
                <c:pt idx="1014">
                  <c:v>43388</c:v>
                </c:pt>
                <c:pt idx="1015">
                  <c:v>43389</c:v>
                </c:pt>
                <c:pt idx="1016">
                  <c:v>43390</c:v>
                </c:pt>
                <c:pt idx="1017">
                  <c:v>43391</c:v>
                </c:pt>
                <c:pt idx="1018">
                  <c:v>43392</c:v>
                </c:pt>
                <c:pt idx="1019">
                  <c:v>43395</c:v>
                </c:pt>
                <c:pt idx="1020">
                  <c:v>43396</c:v>
                </c:pt>
                <c:pt idx="1021">
                  <c:v>43397</c:v>
                </c:pt>
                <c:pt idx="1022">
                  <c:v>43398</c:v>
                </c:pt>
                <c:pt idx="1023">
                  <c:v>43399</c:v>
                </c:pt>
                <c:pt idx="1024">
                  <c:v>43402</c:v>
                </c:pt>
                <c:pt idx="1025">
                  <c:v>43403</c:v>
                </c:pt>
                <c:pt idx="1026">
                  <c:v>43404</c:v>
                </c:pt>
                <c:pt idx="1027">
                  <c:v>43405</c:v>
                </c:pt>
                <c:pt idx="1028">
                  <c:v>43406</c:v>
                </c:pt>
                <c:pt idx="1029">
                  <c:v>43409</c:v>
                </c:pt>
                <c:pt idx="1030">
                  <c:v>43410</c:v>
                </c:pt>
                <c:pt idx="1031">
                  <c:v>43411</c:v>
                </c:pt>
                <c:pt idx="1032">
                  <c:v>43412</c:v>
                </c:pt>
                <c:pt idx="1033">
                  <c:v>43413</c:v>
                </c:pt>
                <c:pt idx="1034">
                  <c:v>43416</c:v>
                </c:pt>
                <c:pt idx="1035">
                  <c:v>43417</c:v>
                </c:pt>
                <c:pt idx="1036">
                  <c:v>43418</c:v>
                </c:pt>
                <c:pt idx="1037">
                  <c:v>43419</c:v>
                </c:pt>
                <c:pt idx="1038">
                  <c:v>43420</c:v>
                </c:pt>
                <c:pt idx="1039">
                  <c:v>43423</c:v>
                </c:pt>
                <c:pt idx="1040">
                  <c:v>43424</c:v>
                </c:pt>
                <c:pt idx="1041">
                  <c:v>43425</c:v>
                </c:pt>
                <c:pt idx="1042">
                  <c:v>43426</c:v>
                </c:pt>
                <c:pt idx="1043">
                  <c:v>43427</c:v>
                </c:pt>
                <c:pt idx="1044">
                  <c:v>43430</c:v>
                </c:pt>
                <c:pt idx="1045">
                  <c:v>43431</c:v>
                </c:pt>
                <c:pt idx="1046">
                  <c:v>43432</c:v>
                </c:pt>
                <c:pt idx="1047">
                  <c:v>43433</c:v>
                </c:pt>
                <c:pt idx="1048">
                  <c:v>43434</c:v>
                </c:pt>
                <c:pt idx="1049">
                  <c:v>43437</c:v>
                </c:pt>
                <c:pt idx="1050">
                  <c:v>43438</c:v>
                </c:pt>
                <c:pt idx="1051">
                  <c:v>43439</c:v>
                </c:pt>
                <c:pt idx="1052">
                  <c:v>43440</c:v>
                </c:pt>
                <c:pt idx="1053">
                  <c:v>43441</c:v>
                </c:pt>
                <c:pt idx="1054">
                  <c:v>43444</c:v>
                </c:pt>
                <c:pt idx="1055">
                  <c:v>43445</c:v>
                </c:pt>
                <c:pt idx="1056">
                  <c:v>43446</c:v>
                </c:pt>
                <c:pt idx="1057">
                  <c:v>43447</c:v>
                </c:pt>
                <c:pt idx="1058">
                  <c:v>43448</c:v>
                </c:pt>
                <c:pt idx="1059">
                  <c:v>43451</c:v>
                </c:pt>
                <c:pt idx="1060">
                  <c:v>43452</c:v>
                </c:pt>
                <c:pt idx="1061">
                  <c:v>43453</c:v>
                </c:pt>
                <c:pt idx="1062">
                  <c:v>43454</c:v>
                </c:pt>
                <c:pt idx="1063">
                  <c:v>43455</c:v>
                </c:pt>
                <c:pt idx="1064">
                  <c:v>43458</c:v>
                </c:pt>
                <c:pt idx="1065">
                  <c:v>43459</c:v>
                </c:pt>
                <c:pt idx="1066">
                  <c:v>43460</c:v>
                </c:pt>
                <c:pt idx="1067">
                  <c:v>43461</c:v>
                </c:pt>
                <c:pt idx="1068">
                  <c:v>43462</c:v>
                </c:pt>
                <c:pt idx="1069">
                  <c:v>43465</c:v>
                </c:pt>
                <c:pt idx="1070">
                  <c:v>43466</c:v>
                </c:pt>
                <c:pt idx="1071">
                  <c:v>43467</c:v>
                </c:pt>
                <c:pt idx="1072">
                  <c:v>43468</c:v>
                </c:pt>
                <c:pt idx="1073">
                  <c:v>43469</c:v>
                </c:pt>
                <c:pt idx="1074">
                  <c:v>43472</c:v>
                </c:pt>
                <c:pt idx="1075">
                  <c:v>43473</c:v>
                </c:pt>
                <c:pt idx="1076">
                  <c:v>43474</c:v>
                </c:pt>
                <c:pt idx="1077">
                  <c:v>43475</c:v>
                </c:pt>
                <c:pt idx="1078">
                  <c:v>43476</c:v>
                </c:pt>
                <c:pt idx="1079">
                  <c:v>43479</c:v>
                </c:pt>
                <c:pt idx="1080">
                  <c:v>43480</c:v>
                </c:pt>
                <c:pt idx="1081">
                  <c:v>43481</c:v>
                </c:pt>
                <c:pt idx="1082">
                  <c:v>43482</c:v>
                </c:pt>
                <c:pt idx="1083">
                  <c:v>43483</c:v>
                </c:pt>
                <c:pt idx="1084">
                  <c:v>43486</c:v>
                </c:pt>
                <c:pt idx="1085">
                  <c:v>43487</c:v>
                </c:pt>
                <c:pt idx="1086">
                  <c:v>43488</c:v>
                </c:pt>
                <c:pt idx="1087">
                  <c:v>43489</c:v>
                </c:pt>
                <c:pt idx="1088">
                  <c:v>43490</c:v>
                </c:pt>
                <c:pt idx="1089">
                  <c:v>43493</c:v>
                </c:pt>
                <c:pt idx="1090">
                  <c:v>43494</c:v>
                </c:pt>
                <c:pt idx="1091">
                  <c:v>43495</c:v>
                </c:pt>
                <c:pt idx="1092">
                  <c:v>43496</c:v>
                </c:pt>
                <c:pt idx="1093">
                  <c:v>43497</c:v>
                </c:pt>
                <c:pt idx="1094">
                  <c:v>43500</c:v>
                </c:pt>
                <c:pt idx="1095">
                  <c:v>43501</c:v>
                </c:pt>
                <c:pt idx="1096">
                  <c:v>43502</c:v>
                </c:pt>
                <c:pt idx="1097">
                  <c:v>43503</c:v>
                </c:pt>
                <c:pt idx="1098">
                  <c:v>43504</c:v>
                </c:pt>
                <c:pt idx="1099">
                  <c:v>43507</c:v>
                </c:pt>
                <c:pt idx="1100">
                  <c:v>43508</c:v>
                </c:pt>
                <c:pt idx="1101">
                  <c:v>43509</c:v>
                </c:pt>
                <c:pt idx="1102">
                  <c:v>43510</c:v>
                </c:pt>
                <c:pt idx="1103">
                  <c:v>43511</c:v>
                </c:pt>
                <c:pt idx="1104">
                  <c:v>43514</c:v>
                </c:pt>
                <c:pt idx="1105">
                  <c:v>43515</c:v>
                </c:pt>
                <c:pt idx="1106">
                  <c:v>43516</c:v>
                </c:pt>
                <c:pt idx="1107">
                  <c:v>43517</c:v>
                </c:pt>
                <c:pt idx="1108">
                  <c:v>43518</c:v>
                </c:pt>
                <c:pt idx="1109">
                  <c:v>43521</c:v>
                </c:pt>
                <c:pt idx="1110">
                  <c:v>43522</c:v>
                </c:pt>
                <c:pt idx="1111">
                  <c:v>43523</c:v>
                </c:pt>
                <c:pt idx="1112">
                  <c:v>43524</c:v>
                </c:pt>
                <c:pt idx="1113">
                  <c:v>43525</c:v>
                </c:pt>
                <c:pt idx="1114">
                  <c:v>43528</c:v>
                </c:pt>
                <c:pt idx="1115">
                  <c:v>43529</c:v>
                </c:pt>
                <c:pt idx="1116">
                  <c:v>43530</c:v>
                </c:pt>
                <c:pt idx="1117">
                  <c:v>43531</c:v>
                </c:pt>
                <c:pt idx="1118">
                  <c:v>43532</c:v>
                </c:pt>
                <c:pt idx="1119">
                  <c:v>43535</c:v>
                </c:pt>
                <c:pt idx="1120">
                  <c:v>43536</c:v>
                </c:pt>
                <c:pt idx="1121">
                  <c:v>43537</c:v>
                </c:pt>
                <c:pt idx="1122">
                  <c:v>43538</c:v>
                </c:pt>
                <c:pt idx="1123">
                  <c:v>43539</c:v>
                </c:pt>
                <c:pt idx="1124">
                  <c:v>43542</c:v>
                </c:pt>
                <c:pt idx="1125">
                  <c:v>43543</c:v>
                </c:pt>
                <c:pt idx="1126">
                  <c:v>43544</c:v>
                </c:pt>
                <c:pt idx="1127">
                  <c:v>43545</c:v>
                </c:pt>
                <c:pt idx="1128">
                  <c:v>43546</c:v>
                </c:pt>
                <c:pt idx="1129">
                  <c:v>43549</c:v>
                </c:pt>
                <c:pt idx="1130">
                  <c:v>43550</c:v>
                </c:pt>
                <c:pt idx="1131">
                  <c:v>43551</c:v>
                </c:pt>
                <c:pt idx="1132">
                  <c:v>43552</c:v>
                </c:pt>
                <c:pt idx="1133">
                  <c:v>43553</c:v>
                </c:pt>
                <c:pt idx="1134">
                  <c:v>43556</c:v>
                </c:pt>
                <c:pt idx="1135">
                  <c:v>43557</c:v>
                </c:pt>
                <c:pt idx="1136">
                  <c:v>43558</c:v>
                </c:pt>
                <c:pt idx="1137">
                  <c:v>43559</c:v>
                </c:pt>
                <c:pt idx="1138">
                  <c:v>43560</c:v>
                </c:pt>
                <c:pt idx="1139">
                  <c:v>43563</c:v>
                </c:pt>
                <c:pt idx="1140">
                  <c:v>43564</c:v>
                </c:pt>
                <c:pt idx="1141">
                  <c:v>43565</c:v>
                </c:pt>
                <c:pt idx="1142">
                  <c:v>43566</c:v>
                </c:pt>
                <c:pt idx="1143">
                  <c:v>43567</c:v>
                </c:pt>
                <c:pt idx="1144">
                  <c:v>43570</c:v>
                </c:pt>
                <c:pt idx="1145">
                  <c:v>43571</c:v>
                </c:pt>
                <c:pt idx="1146">
                  <c:v>43572</c:v>
                </c:pt>
                <c:pt idx="1147">
                  <c:v>43573</c:v>
                </c:pt>
                <c:pt idx="1148">
                  <c:v>43574</c:v>
                </c:pt>
                <c:pt idx="1149">
                  <c:v>43577</c:v>
                </c:pt>
                <c:pt idx="1150">
                  <c:v>43578</c:v>
                </c:pt>
                <c:pt idx="1151">
                  <c:v>43579</c:v>
                </c:pt>
                <c:pt idx="1152">
                  <c:v>43580</c:v>
                </c:pt>
                <c:pt idx="1153">
                  <c:v>43581</c:v>
                </c:pt>
                <c:pt idx="1154">
                  <c:v>43584</c:v>
                </c:pt>
                <c:pt idx="1155">
                  <c:v>43585</c:v>
                </c:pt>
                <c:pt idx="1156">
                  <c:v>43586</c:v>
                </c:pt>
                <c:pt idx="1157">
                  <c:v>43587</c:v>
                </c:pt>
                <c:pt idx="1158">
                  <c:v>43588</c:v>
                </c:pt>
                <c:pt idx="1159">
                  <c:v>43591</c:v>
                </c:pt>
                <c:pt idx="1160">
                  <c:v>43592</c:v>
                </c:pt>
                <c:pt idx="1161">
                  <c:v>43593</c:v>
                </c:pt>
                <c:pt idx="1162">
                  <c:v>43594</c:v>
                </c:pt>
                <c:pt idx="1163">
                  <c:v>43595</c:v>
                </c:pt>
                <c:pt idx="1164">
                  <c:v>43598</c:v>
                </c:pt>
                <c:pt idx="1165">
                  <c:v>43599</c:v>
                </c:pt>
                <c:pt idx="1166">
                  <c:v>43600</c:v>
                </c:pt>
                <c:pt idx="1167">
                  <c:v>43601</c:v>
                </c:pt>
                <c:pt idx="1168">
                  <c:v>43602</c:v>
                </c:pt>
                <c:pt idx="1169">
                  <c:v>43605</c:v>
                </c:pt>
                <c:pt idx="1170">
                  <c:v>43606</c:v>
                </c:pt>
                <c:pt idx="1171">
                  <c:v>43607</c:v>
                </c:pt>
                <c:pt idx="1172">
                  <c:v>43608</c:v>
                </c:pt>
                <c:pt idx="1173">
                  <c:v>43609</c:v>
                </c:pt>
                <c:pt idx="1174">
                  <c:v>43612</c:v>
                </c:pt>
                <c:pt idx="1175">
                  <c:v>43613</c:v>
                </c:pt>
                <c:pt idx="1176">
                  <c:v>43614</c:v>
                </c:pt>
                <c:pt idx="1177">
                  <c:v>43615</c:v>
                </c:pt>
                <c:pt idx="1178">
                  <c:v>43616</c:v>
                </c:pt>
                <c:pt idx="1179">
                  <c:v>43619</c:v>
                </c:pt>
                <c:pt idx="1180">
                  <c:v>43620</c:v>
                </c:pt>
                <c:pt idx="1181">
                  <c:v>43621</c:v>
                </c:pt>
                <c:pt idx="1182">
                  <c:v>43622</c:v>
                </c:pt>
                <c:pt idx="1183">
                  <c:v>43623</c:v>
                </c:pt>
                <c:pt idx="1184">
                  <c:v>43626</c:v>
                </c:pt>
                <c:pt idx="1185">
                  <c:v>43627</c:v>
                </c:pt>
                <c:pt idx="1186">
                  <c:v>43628</c:v>
                </c:pt>
                <c:pt idx="1187">
                  <c:v>43629</c:v>
                </c:pt>
                <c:pt idx="1188">
                  <c:v>43630</c:v>
                </c:pt>
                <c:pt idx="1189">
                  <c:v>43633</c:v>
                </c:pt>
                <c:pt idx="1190">
                  <c:v>43634</c:v>
                </c:pt>
                <c:pt idx="1191">
                  <c:v>43635</c:v>
                </c:pt>
                <c:pt idx="1192">
                  <c:v>43636</c:v>
                </c:pt>
                <c:pt idx="1193">
                  <c:v>43637</c:v>
                </c:pt>
                <c:pt idx="1194">
                  <c:v>43640</c:v>
                </c:pt>
                <c:pt idx="1195">
                  <c:v>43641</c:v>
                </c:pt>
                <c:pt idx="1196">
                  <c:v>43642</c:v>
                </c:pt>
                <c:pt idx="1197">
                  <c:v>43643</c:v>
                </c:pt>
                <c:pt idx="1198">
                  <c:v>43644</c:v>
                </c:pt>
                <c:pt idx="1199">
                  <c:v>43647</c:v>
                </c:pt>
                <c:pt idx="1200">
                  <c:v>43648</c:v>
                </c:pt>
                <c:pt idx="1201">
                  <c:v>43649</c:v>
                </c:pt>
                <c:pt idx="1202">
                  <c:v>43650</c:v>
                </c:pt>
                <c:pt idx="1203">
                  <c:v>43651</c:v>
                </c:pt>
                <c:pt idx="1204">
                  <c:v>43654</c:v>
                </c:pt>
                <c:pt idx="1205">
                  <c:v>43655</c:v>
                </c:pt>
                <c:pt idx="1206">
                  <c:v>43656</c:v>
                </c:pt>
                <c:pt idx="1207">
                  <c:v>43657</c:v>
                </c:pt>
                <c:pt idx="1208">
                  <c:v>43658</c:v>
                </c:pt>
                <c:pt idx="1209">
                  <c:v>43661</c:v>
                </c:pt>
                <c:pt idx="1210">
                  <c:v>43662</c:v>
                </c:pt>
                <c:pt idx="1211">
                  <c:v>43663</c:v>
                </c:pt>
                <c:pt idx="1212">
                  <c:v>43664</c:v>
                </c:pt>
                <c:pt idx="1213">
                  <c:v>43665</c:v>
                </c:pt>
                <c:pt idx="1214">
                  <c:v>43668</c:v>
                </c:pt>
                <c:pt idx="1215">
                  <c:v>43669</c:v>
                </c:pt>
                <c:pt idx="1216">
                  <c:v>43670</c:v>
                </c:pt>
                <c:pt idx="1217">
                  <c:v>43671</c:v>
                </c:pt>
                <c:pt idx="1218">
                  <c:v>43672</c:v>
                </c:pt>
                <c:pt idx="1219">
                  <c:v>43675</c:v>
                </c:pt>
                <c:pt idx="1220">
                  <c:v>43676</c:v>
                </c:pt>
                <c:pt idx="1221">
                  <c:v>43677</c:v>
                </c:pt>
                <c:pt idx="1222">
                  <c:v>43678</c:v>
                </c:pt>
                <c:pt idx="1223">
                  <c:v>43679</c:v>
                </c:pt>
                <c:pt idx="1224">
                  <c:v>43682</c:v>
                </c:pt>
                <c:pt idx="1225">
                  <c:v>43683</c:v>
                </c:pt>
                <c:pt idx="1226">
                  <c:v>43684</c:v>
                </c:pt>
                <c:pt idx="1227">
                  <c:v>43685</c:v>
                </c:pt>
                <c:pt idx="1228">
                  <c:v>43686</c:v>
                </c:pt>
                <c:pt idx="1229">
                  <c:v>43689</c:v>
                </c:pt>
                <c:pt idx="1230">
                  <c:v>43690</c:v>
                </c:pt>
                <c:pt idx="1231">
                  <c:v>43691</c:v>
                </c:pt>
                <c:pt idx="1232">
                  <c:v>43692</c:v>
                </c:pt>
                <c:pt idx="1233">
                  <c:v>43693</c:v>
                </c:pt>
                <c:pt idx="1234">
                  <c:v>43696</c:v>
                </c:pt>
                <c:pt idx="1235">
                  <c:v>43697</c:v>
                </c:pt>
                <c:pt idx="1236">
                  <c:v>43698</c:v>
                </c:pt>
                <c:pt idx="1237">
                  <c:v>43699</c:v>
                </c:pt>
                <c:pt idx="1238">
                  <c:v>43700</c:v>
                </c:pt>
                <c:pt idx="1239">
                  <c:v>43703</c:v>
                </c:pt>
                <c:pt idx="1240">
                  <c:v>43704</c:v>
                </c:pt>
                <c:pt idx="1241">
                  <c:v>43705</c:v>
                </c:pt>
                <c:pt idx="1242">
                  <c:v>43706</c:v>
                </c:pt>
                <c:pt idx="1243">
                  <c:v>43707</c:v>
                </c:pt>
                <c:pt idx="1244">
                  <c:v>43710</c:v>
                </c:pt>
                <c:pt idx="1245">
                  <c:v>43711</c:v>
                </c:pt>
                <c:pt idx="1246">
                  <c:v>43712</c:v>
                </c:pt>
                <c:pt idx="1247">
                  <c:v>43713</c:v>
                </c:pt>
                <c:pt idx="1248">
                  <c:v>43714</c:v>
                </c:pt>
                <c:pt idx="1249">
                  <c:v>43717</c:v>
                </c:pt>
                <c:pt idx="1250">
                  <c:v>43718</c:v>
                </c:pt>
                <c:pt idx="1251">
                  <c:v>43719</c:v>
                </c:pt>
                <c:pt idx="1252">
                  <c:v>43720</c:v>
                </c:pt>
                <c:pt idx="1253">
                  <c:v>43721</c:v>
                </c:pt>
                <c:pt idx="1254">
                  <c:v>43724</c:v>
                </c:pt>
                <c:pt idx="1255">
                  <c:v>43725</c:v>
                </c:pt>
                <c:pt idx="1256">
                  <c:v>43726</c:v>
                </c:pt>
                <c:pt idx="1257">
                  <c:v>43727</c:v>
                </c:pt>
                <c:pt idx="1258">
                  <c:v>43728</c:v>
                </c:pt>
                <c:pt idx="1259">
                  <c:v>43731</c:v>
                </c:pt>
                <c:pt idx="1260">
                  <c:v>43732</c:v>
                </c:pt>
                <c:pt idx="1261">
                  <c:v>43733</c:v>
                </c:pt>
                <c:pt idx="1262">
                  <c:v>43734</c:v>
                </c:pt>
                <c:pt idx="1263">
                  <c:v>43735</c:v>
                </c:pt>
                <c:pt idx="1264">
                  <c:v>43738</c:v>
                </c:pt>
                <c:pt idx="1265">
                  <c:v>43739</c:v>
                </c:pt>
                <c:pt idx="1266">
                  <c:v>43740</c:v>
                </c:pt>
                <c:pt idx="1267">
                  <c:v>43741</c:v>
                </c:pt>
                <c:pt idx="1268">
                  <c:v>43742</c:v>
                </c:pt>
                <c:pt idx="1269">
                  <c:v>43745</c:v>
                </c:pt>
                <c:pt idx="1270">
                  <c:v>43746</c:v>
                </c:pt>
                <c:pt idx="1271">
                  <c:v>43747</c:v>
                </c:pt>
                <c:pt idx="1272">
                  <c:v>43748</c:v>
                </c:pt>
                <c:pt idx="1273">
                  <c:v>43749</c:v>
                </c:pt>
                <c:pt idx="1274">
                  <c:v>43752</c:v>
                </c:pt>
                <c:pt idx="1275">
                  <c:v>43753</c:v>
                </c:pt>
                <c:pt idx="1276">
                  <c:v>43754</c:v>
                </c:pt>
                <c:pt idx="1277">
                  <c:v>43755</c:v>
                </c:pt>
                <c:pt idx="1278">
                  <c:v>43756</c:v>
                </c:pt>
                <c:pt idx="1279">
                  <c:v>43759</c:v>
                </c:pt>
                <c:pt idx="1280">
                  <c:v>43760</c:v>
                </c:pt>
                <c:pt idx="1281">
                  <c:v>43761</c:v>
                </c:pt>
                <c:pt idx="1282">
                  <c:v>43762</c:v>
                </c:pt>
                <c:pt idx="1283">
                  <c:v>43763</c:v>
                </c:pt>
                <c:pt idx="1284">
                  <c:v>43766</c:v>
                </c:pt>
                <c:pt idx="1285">
                  <c:v>43767</c:v>
                </c:pt>
                <c:pt idx="1286">
                  <c:v>43768</c:v>
                </c:pt>
                <c:pt idx="1287">
                  <c:v>43769</c:v>
                </c:pt>
                <c:pt idx="1288">
                  <c:v>43770</c:v>
                </c:pt>
                <c:pt idx="1289">
                  <c:v>43773</c:v>
                </c:pt>
                <c:pt idx="1290">
                  <c:v>43774</c:v>
                </c:pt>
                <c:pt idx="1291">
                  <c:v>43775</c:v>
                </c:pt>
                <c:pt idx="1292">
                  <c:v>43776</c:v>
                </c:pt>
                <c:pt idx="1293">
                  <c:v>43777</c:v>
                </c:pt>
                <c:pt idx="1294">
                  <c:v>43780</c:v>
                </c:pt>
                <c:pt idx="1295">
                  <c:v>43781</c:v>
                </c:pt>
                <c:pt idx="1296">
                  <c:v>43782</c:v>
                </c:pt>
                <c:pt idx="1297">
                  <c:v>43783</c:v>
                </c:pt>
                <c:pt idx="1298">
                  <c:v>43784</c:v>
                </c:pt>
                <c:pt idx="1299">
                  <c:v>43787</c:v>
                </c:pt>
                <c:pt idx="1300">
                  <c:v>43788</c:v>
                </c:pt>
                <c:pt idx="1301">
                  <c:v>43789</c:v>
                </c:pt>
                <c:pt idx="1302">
                  <c:v>43790</c:v>
                </c:pt>
                <c:pt idx="1303">
                  <c:v>43791</c:v>
                </c:pt>
                <c:pt idx="1304">
                  <c:v>43794</c:v>
                </c:pt>
                <c:pt idx="1305">
                  <c:v>43795</c:v>
                </c:pt>
                <c:pt idx="1306">
                  <c:v>43796</c:v>
                </c:pt>
                <c:pt idx="1307">
                  <c:v>43797</c:v>
                </c:pt>
                <c:pt idx="1308">
                  <c:v>43798</c:v>
                </c:pt>
                <c:pt idx="1309">
                  <c:v>43801</c:v>
                </c:pt>
                <c:pt idx="1310">
                  <c:v>43802</c:v>
                </c:pt>
                <c:pt idx="1311">
                  <c:v>43803</c:v>
                </c:pt>
                <c:pt idx="1312">
                  <c:v>43804</c:v>
                </c:pt>
                <c:pt idx="1313">
                  <c:v>43805</c:v>
                </c:pt>
                <c:pt idx="1314">
                  <c:v>43808</c:v>
                </c:pt>
                <c:pt idx="1315">
                  <c:v>43809</c:v>
                </c:pt>
                <c:pt idx="1316">
                  <c:v>43810</c:v>
                </c:pt>
                <c:pt idx="1317">
                  <c:v>43811</c:v>
                </c:pt>
                <c:pt idx="1318">
                  <c:v>43812</c:v>
                </c:pt>
                <c:pt idx="1319">
                  <c:v>43815</c:v>
                </c:pt>
                <c:pt idx="1320">
                  <c:v>43816</c:v>
                </c:pt>
                <c:pt idx="1321">
                  <c:v>43817</c:v>
                </c:pt>
                <c:pt idx="1322">
                  <c:v>43818</c:v>
                </c:pt>
                <c:pt idx="1323">
                  <c:v>43819</c:v>
                </c:pt>
                <c:pt idx="1324">
                  <c:v>43822</c:v>
                </c:pt>
                <c:pt idx="1325">
                  <c:v>43823</c:v>
                </c:pt>
                <c:pt idx="1326">
                  <c:v>43824</c:v>
                </c:pt>
                <c:pt idx="1327">
                  <c:v>43825</c:v>
                </c:pt>
                <c:pt idx="1328">
                  <c:v>43826</c:v>
                </c:pt>
                <c:pt idx="1329">
                  <c:v>43829</c:v>
                </c:pt>
                <c:pt idx="1330">
                  <c:v>43830</c:v>
                </c:pt>
                <c:pt idx="1331">
                  <c:v>43831</c:v>
                </c:pt>
                <c:pt idx="1332">
                  <c:v>43832</c:v>
                </c:pt>
                <c:pt idx="1333">
                  <c:v>43833</c:v>
                </c:pt>
                <c:pt idx="1334">
                  <c:v>43836</c:v>
                </c:pt>
                <c:pt idx="1335">
                  <c:v>43837</c:v>
                </c:pt>
                <c:pt idx="1336">
                  <c:v>43838</c:v>
                </c:pt>
                <c:pt idx="1337">
                  <c:v>43839</c:v>
                </c:pt>
                <c:pt idx="1338">
                  <c:v>43840</c:v>
                </c:pt>
                <c:pt idx="1339">
                  <c:v>43843</c:v>
                </c:pt>
                <c:pt idx="1340">
                  <c:v>43844</c:v>
                </c:pt>
                <c:pt idx="1341">
                  <c:v>43845</c:v>
                </c:pt>
                <c:pt idx="1342">
                  <c:v>43846</c:v>
                </c:pt>
                <c:pt idx="1343">
                  <c:v>43847</c:v>
                </c:pt>
                <c:pt idx="1344">
                  <c:v>43850</c:v>
                </c:pt>
                <c:pt idx="1345">
                  <c:v>43851</c:v>
                </c:pt>
                <c:pt idx="1346">
                  <c:v>43852</c:v>
                </c:pt>
                <c:pt idx="1347">
                  <c:v>43853</c:v>
                </c:pt>
                <c:pt idx="1348">
                  <c:v>43854</c:v>
                </c:pt>
                <c:pt idx="1349">
                  <c:v>43857</c:v>
                </c:pt>
                <c:pt idx="1350">
                  <c:v>43858</c:v>
                </c:pt>
                <c:pt idx="1351">
                  <c:v>43859</c:v>
                </c:pt>
                <c:pt idx="1352">
                  <c:v>43860</c:v>
                </c:pt>
                <c:pt idx="1353">
                  <c:v>43861</c:v>
                </c:pt>
                <c:pt idx="1354">
                  <c:v>43864</c:v>
                </c:pt>
                <c:pt idx="1355">
                  <c:v>43865</c:v>
                </c:pt>
                <c:pt idx="1356">
                  <c:v>43866</c:v>
                </c:pt>
                <c:pt idx="1357">
                  <c:v>43867</c:v>
                </c:pt>
                <c:pt idx="1358">
                  <c:v>43868</c:v>
                </c:pt>
                <c:pt idx="1359">
                  <c:v>43871</c:v>
                </c:pt>
                <c:pt idx="1360">
                  <c:v>43872</c:v>
                </c:pt>
                <c:pt idx="1361">
                  <c:v>43873</c:v>
                </c:pt>
                <c:pt idx="1362">
                  <c:v>43874</c:v>
                </c:pt>
                <c:pt idx="1363">
                  <c:v>43875</c:v>
                </c:pt>
                <c:pt idx="1364">
                  <c:v>43878</c:v>
                </c:pt>
                <c:pt idx="1365">
                  <c:v>43879</c:v>
                </c:pt>
                <c:pt idx="1366">
                  <c:v>43880</c:v>
                </c:pt>
                <c:pt idx="1367">
                  <c:v>43881</c:v>
                </c:pt>
                <c:pt idx="1368">
                  <c:v>43882</c:v>
                </c:pt>
                <c:pt idx="1369">
                  <c:v>43885</c:v>
                </c:pt>
                <c:pt idx="1370">
                  <c:v>43886</c:v>
                </c:pt>
                <c:pt idx="1371">
                  <c:v>43887</c:v>
                </c:pt>
                <c:pt idx="1372">
                  <c:v>43888</c:v>
                </c:pt>
                <c:pt idx="1373">
                  <c:v>43889</c:v>
                </c:pt>
                <c:pt idx="1374">
                  <c:v>43892</c:v>
                </c:pt>
                <c:pt idx="1375">
                  <c:v>43893</c:v>
                </c:pt>
                <c:pt idx="1376">
                  <c:v>43894</c:v>
                </c:pt>
                <c:pt idx="1377">
                  <c:v>43895</c:v>
                </c:pt>
                <c:pt idx="1378">
                  <c:v>43896</c:v>
                </c:pt>
                <c:pt idx="1379">
                  <c:v>43899</c:v>
                </c:pt>
                <c:pt idx="1380">
                  <c:v>43900</c:v>
                </c:pt>
                <c:pt idx="1381">
                  <c:v>43901</c:v>
                </c:pt>
                <c:pt idx="1382">
                  <c:v>43902</c:v>
                </c:pt>
                <c:pt idx="1383">
                  <c:v>43903</c:v>
                </c:pt>
                <c:pt idx="1384">
                  <c:v>43906</c:v>
                </c:pt>
                <c:pt idx="1385">
                  <c:v>43907</c:v>
                </c:pt>
                <c:pt idx="1386">
                  <c:v>43908</c:v>
                </c:pt>
                <c:pt idx="1387">
                  <c:v>43909</c:v>
                </c:pt>
                <c:pt idx="1388">
                  <c:v>43910</c:v>
                </c:pt>
                <c:pt idx="1389">
                  <c:v>43913</c:v>
                </c:pt>
                <c:pt idx="1390">
                  <c:v>43914</c:v>
                </c:pt>
                <c:pt idx="1391">
                  <c:v>43915</c:v>
                </c:pt>
                <c:pt idx="1392">
                  <c:v>43916</c:v>
                </c:pt>
                <c:pt idx="1393">
                  <c:v>43917</c:v>
                </c:pt>
                <c:pt idx="1394">
                  <c:v>43920</c:v>
                </c:pt>
                <c:pt idx="1395">
                  <c:v>43921</c:v>
                </c:pt>
                <c:pt idx="1396">
                  <c:v>43922</c:v>
                </c:pt>
                <c:pt idx="1397">
                  <c:v>43923</c:v>
                </c:pt>
                <c:pt idx="1398">
                  <c:v>43924</c:v>
                </c:pt>
                <c:pt idx="1399">
                  <c:v>43927</c:v>
                </c:pt>
                <c:pt idx="1400">
                  <c:v>43928</c:v>
                </c:pt>
                <c:pt idx="1401">
                  <c:v>43929</c:v>
                </c:pt>
                <c:pt idx="1402">
                  <c:v>43930</c:v>
                </c:pt>
                <c:pt idx="1403">
                  <c:v>43931</c:v>
                </c:pt>
                <c:pt idx="1404">
                  <c:v>43934</c:v>
                </c:pt>
                <c:pt idx="1405">
                  <c:v>43935</c:v>
                </c:pt>
                <c:pt idx="1406">
                  <c:v>43936</c:v>
                </c:pt>
                <c:pt idx="1407">
                  <c:v>43937</c:v>
                </c:pt>
                <c:pt idx="1408">
                  <c:v>43938</c:v>
                </c:pt>
                <c:pt idx="1409">
                  <c:v>43941</c:v>
                </c:pt>
                <c:pt idx="1410">
                  <c:v>43942</c:v>
                </c:pt>
                <c:pt idx="1411">
                  <c:v>43943</c:v>
                </c:pt>
                <c:pt idx="1412">
                  <c:v>43944</c:v>
                </c:pt>
                <c:pt idx="1413">
                  <c:v>43945</c:v>
                </c:pt>
                <c:pt idx="1414">
                  <c:v>43948</c:v>
                </c:pt>
                <c:pt idx="1415">
                  <c:v>43949</c:v>
                </c:pt>
                <c:pt idx="1416">
                  <c:v>43950</c:v>
                </c:pt>
                <c:pt idx="1417">
                  <c:v>43951</c:v>
                </c:pt>
                <c:pt idx="1418">
                  <c:v>43952</c:v>
                </c:pt>
                <c:pt idx="1419">
                  <c:v>43955</c:v>
                </c:pt>
                <c:pt idx="1420">
                  <c:v>43956</c:v>
                </c:pt>
                <c:pt idx="1421">
                  <c:v>43957</c:v>
                </c:pt>
                <c:pt idx="1422">
                  <c:v>43958</c:v>
                </c:pt>
                <c:pt idx="1423">
                  <c:v>43959</c:v>
                </c:pt>
                <c:pt idx="1424">
                  <c:v>43962</c:v>
                </c:pt>
                <c:pt idx="1425">
                  <c:v>43963</c:v>
                </c:pt>
                <c:pt idx="1426">
                  <c:v>43964</c:v>
                </c:pt>
                <c:pt idx="1427">
                  <c:v>43965</c:v>
                </c:pt>
                <c:pt idx="1428">
                  <c:v>43966</c:v>
                </c:pt>
                <c:pt idx="1429">
                  <c:v>43969</c:v>
                </c:pt>
                <c:pt idx="1430">
                  <c:v>43970</c:v>
                </c:pt>
                <c:pt idx="1431">
                  <c:v>43971</c:v>
                </c:pt>
                <c:pt idx="1432">
                  <c:v>43972</c:v>
                </c:pt>
                <c:pt idx="1433">
                  <c:v>43973</c:v>
                </c:pt>
                <c:pt idx="1434">
                  <c:v>43976</c:v>
                </c:pt>
                <c:pt idx="1435">
                  <c:v>43977</c:v>
                </c:pt>
                <c:pt idx="1436">
                  <c:v>43978</c:v>
                </c:pt>
                <c:pt idx="1437">
                  <c:v>43979</c:v>
                </c:pt>
                <c:pt idx="1438">
                  <c:v>43980</c:v>
                </c:pt>
                <c:pt idx="1439">
                  <c:v>43983</c:v>
                </c:pt>
                <c:pt idx="1440">
                  <c:v>43984</c:v>
                </c:pt>
                <c:pt idx="1441">
                  <c:v>43985</c:v>
                </c:pt>
                <c:pt idx="1442">
                  <c:v>43986</c:v>
                </c:pt>
                <c:pt idx="1443">
                  <c:v>43987</c:v>
                </c:pt>
                <c:pt idx="1444">
                  <c:v>43990</c:v>
                </c:pt>
                <c:pt idx="1445">
                  <c:v>43991</c:v>
                </c:pt>
                <c:pt idx="1446">
                  <c:v>43992</c:v>
                </c:pt>
                <c:pt idx="1447">
                  <c:v>43993</c:v>
                </c:pt>
                <c:pt idx="1448">
                  <c:v>43994</c:v>
                </c:pt>
                <c:pt idx="1449">
                  <c:v>43997</c:v>
                </c:pt>
                <c:pt idx="1450">
                  <c:v>43998</c:v>
                </c:pt>
                <c:pt idx="1451">
                  <c:v>43999</c:v>
                </c:pt>
                <c:pt idx="1452">
                  <c:v>44000</c:v>
                </c:pt>
                <c:pt idx="1453">
                  <c:v>44001</c:v>
                </c:pt>
                <c:pt idx="1454">
                  <c:v>44004</c:v>
                </c:pt>
                <c:pt idx="1455">
                  <c:v>44005</c:v>
                </c:pt>
                <c:pt idx="1456">
                  <c:v>44006</c:v>
                </c:pt>
                <c:pt idx="1457">
                  <c:v>44007</c:v>
                </c:pt>
                <c:pt idx="1458">
                  <c:v>44008</c:v>
                </c:pt>
                <c:pt idx="1459">
                  <c:v>44011</c:v>
                </c:pt>
                <c:pt idx="1460">
                  <c:v>44012</c:v>
                </c:pt>
                <c:pt idx="1461">
                  <c:v>44013</c:v>
                </c:pt>
                <c:pt idx="1462">
                  <c:v>44014</c:v>
                </c:pt>
                <c:pt idx="1463">
                  <c:v>44015</c:v>
                </c:pt>
                <c:pt idx="1464">
                  <c:v>44018</c:v>
                </c:pt>
                <c:pt idx="1465">
                  <c:v>44019</c:v>
                </c:pt>
                <c:pt idx="1466">
                  <c:v>44020</c:v>
                </c:pt>
                <c:pt idx="1467">
                  <c:v>44021</c:v>
                </c:pt>
                <c:pt idx="1468">
                  <c:v>44022</c:v>
                </c:pt>
                <c:pt idx="1469">
                  <c:v>44025</c:v>
                </c:pt>
                <c:pt idx="1470">
                  <c:v>44026</c:v>
                </c:pt>
                <c:pt idx="1471">
                  <c:v>44027</c:v>
                </c:pt>
                <c:pt idx="1472">
                  <c:v>44028</c:v>
                </c:pt>
                <c:pt idx="1473">
                  <c:v>44029</c:v>
                </c:pt>
                <c:pt idx="1474">
                  <c:v>44032</c:v>
                </c:pt>
                <c:pt idx="1475">
                  <c:v>44033</c:v>
                </c:pt>
                <c:pt idx="1476">
                  <c:v>44034</c:v>
                </c:pt>
                <c:pt idx="1477">
                  <c:v>44035</c:v>
                </c:pt>
                <c:pt idx="1478">
                  <c:v>44036</c:v>
                </c:pt>
                <c:pt idx="1479">
                  <c:v>44039</c:v>
                </c:pt>
                <c:pt idx="1480">
                  <c:v>44040</c:v>
                </c:pt>
                <c:pt idx="1481">
                  <c:v>44041</c:v>
                </c:pt>
                <c:pt idx="1482">
                  <c:v>44042</c:v>
                </c:pt>
                <c:pt idx="1483">
                  <c:v>44043</c:v>
                </c:pt>
                <c:pt idx="1484">
                  <c:v>44046</c:v>
                </c:pt>
                <c:pt idx="1485">
                  <c:v>44047</c:v>
                </c:pt>
                <c:pt idx="1486">
                  <c:v>44048</c:v>
                </c:pt>
                <c:pt idx="1487">
                  <c:v>44049</c:v>
                </c:pt>
                <c:pt idx="1488">
                  <c:v>44050</c:v>
                </c:pt>
                <c:pt idx="1489">
                  <c:v>44053</c:v>
                </c:pt>
                <c:pt idx="1490">
                  <c:v>44054</c:v>
                </c:pt>
                <c:pt idx="1491">
                  <c:v>44055</c:v>
                </c:pt>
                <c:pt idx="1492">
                  <c:v>44056</c:v>
                </c:pt>
                <c:pt idx="1493">
                  <c:v>44057</c:v>
                </c:pt>
                <c:pt idx="1494">
                  <c:v>44060</c:v>
                </c:pt>
                <c:pt idx="1495">
                  <c:v>44061</c:v>
                </c:pt>
                <c:pt idx="1496">
                  <c:v>44062</c:v>
                </c:pt>
                <c:pt idx="1497">
                  <c:v>44063</c:v>
                </c:pt>
                <c:pt idx="1498">
                  <c:v>44064</c:v>
                </c:pt>
                <c:pt idx="1499">
                  <c:v>44067</c:v>
                </c:pt>
                <c:pt idx="1500">
                  <c:v>44068</c:v>
                </c:pt>
                <c:pt idx="1501">
                  <c:v>44069</c:v>
                </c:pt>
                <c:pt idx="1502">
                  <c:v>44070</c:v>
                </c:pt>
                <c:pt idx="1503">
                  <c:v>44071</c:v>
                </c:pt>
                <c:pt idx="1504">
                  <c:v>44074</c:v>
                </c:pt>
                <c:pt idx="1505">
                  <c:v>44075</c:v>
                </c:pt>
                <c:pt idx="1506">
                  <c:v>44076</c:v>
                </c:pt>
                <c:pt idx="1507">
                  <c:v>44077</c:v>
                </c:pt>
                <c:pt idx="1508">
                  <c:v>44078</c:v>
                </c:pt>
                <c:pt idx="1509">
                  <c:v>44081</c:v>
                </c:pt>
                <c:pt idx="1510">
                  <c:v>44082</c:v>
                </c:pt>
                <c:pt idx="1511">
                  <c:v>44083</c:v>
                </c:pt>
                <c:pt idx="1512">
                  <c:v>44084</c:v>
                </c:pt>
                <c:pt idx="1513">
                  <c:v>44085</c:v>
                </c:pt>
                <c:pt idx="1514">
                  <c:v>44088</c:v>
                </c:pt>
                <c:pt idx="1515">
                  <c:v>44089</c:v>
                </c:pt>
                <c:pt idx="1516">
                  <c:v>44090</c:v>
                </c:pt>
                <c:pt idx="1517">
                  <c:v>44091</c:v>
                </c:pt>
                <c:pt idx="1518">
                  <c:v>44092</c:v>
                </c:pt>
                <c:pt idx="1519">
                  <c:v>44095</c:v>
                </c:pt>
                <c:pt idx="1520">
                  <c:v>44096</c:v>
                </c:pt>
                <c:pt idx="1521">
                  <c:v>44097</c:v>
                </c:pt>
                <c:pt idx="1522">
                  <c:v>44098</c:v>
                </c:pt>
                <c:pt idx="1523">
                  <c:v>44099</c:v>
                </c:pt>
                <c:pt idx="1524">
                  <c:v>44102</c:v>
                </c:pt>
                <c:pt idx="1525">
                  <c:v>44103</c:v>
                </c:pt>
                <c:pt idx="1526">
                  <c:v>44104</c:v>
                </c:pt>
                <c:pt idx="1527">
                  <c:v>44105</c:v>
                </c:pt>
                <c:pt idx="1528">
                  <c:v>44106</c:v>
                </c:pt>
                <c:pt idx="1529">
                  <c:v>44109</c:v>
                </c:pt>
                <c:pt idx="1530">
                  <c:v>44110</c:v>
                </c:pt>
                <c:pt idx="1531">
                  <c:v>44111</c:v>
                </c:pt>
                <c:pt idx="1532">
                  <c:v>44112</c:v>
                </c:pt>
                <c:pt idx="1533">
                  <c:v>44113</c:v>
                </c:pt>
                <c:pt idx="1534">
                  <c:v>44116</c:v>
                </c:pt>
                <c:pt idx="1535">
                  <c:v>44117</c:v>
                </c:pt>
                <c:pt idx="1536">
                  <c:v>44118</c:v>
                </c:pt>
                <c:pt idx="1537">
                  <c:v>44119</c:v>
                </c:pt>
                <c:pt idx="1538">
                  <c:v>44120</c:v>
                </c:pt>
                <c:pt idx="1539">
                  <c:v>44123</c:v>
                </c:pt>
                <c:pt idx="1540">
                  <c:v>44124</c:v>
                </c:pt>
                <c:pt idx="1541">
                  <c:v>44125</c:v>
                </c:pt>
                <c:pt idx="1542">
                  <c:v>44126</c:v>
                </c:pt>
                <c:pt idx="1543">
                  <c:v>44127</c:v>
                </c:pt>
                <c:pt idx="1544">
                  <c:v>44130</c:v>
                </c:pt>
                <c:pt idx="1545">
                  <c:v>44131</c:v>
                </c:pt>
                <c:pt idx="1546">
                  <c:v>44132</c:v>
                </c:pt>
                <c:pt idx="1547">
                  <c:v>44133</c:v>
                </c:pt>
                <c:pt idx="1548">
                  <c:v>44134</c:v>
                </c:pt>
                <c:pt idx="1549">
                  <c:v>44137</c:v>
                </c:pt>
                <c:pt idx="1550">
                  <c:v>44138</c:v>
                </c:pt>
                <c:pt idx="1551">
                  <c:v>44139</c:v>
                </c:pt>
                <c:pt idx="1552">
                  <c:v>44140</c:v>
                </c:pt>
                <c:pt idx="1553">
                  <c:v>44141</c:v>
                </c:pt>
                <c:pt idx="1554">
                  <c:v>44144</c:v>
                </c:pt>
                <c:pt idx="1555">
                  <c:v>44145</c:v>
                </c:pt>
                <c:pt idx="1556">
                  <c:v>44146</c:v>
                </c:pt>
                <c:pt idx="1557">
                  <c:v>44147</c:v>
                </c:pt>
                <c:pt idx="1558">
                  <c:v>44148</c:v>
                </c:pt>
                <c:pt idx="1559">
                  <c:v>44151</c:v>
                </c:pt>
                <c:pt idx="1560">
                  <c:v>44152</c:v>
                </c:pt>
                <c:pt idx="1561">
                  <c:v>44153</c:v>
                </c:pt>
                <c:pt idx="1562">
                  <c:v>44154</c:v>
                </c:pt>
                <c:pt idx="1563">
                  <c:v>44155</c:v>
                </c:pt>
                <c:pt idx="1564">
                  <c:v>44158</c:v>
                </c:pt>
                <c:pt idx="1565">
                  <c:v>44159</c:v>
                </c:pt>
                <c:pt idx="1566">
                  <c:v>44160</c:v>
                </c:pt>
                <c:pt idx="1567">
                  <c:v>44161</c:v>
                </c:pt>
                <c:pt idx="1568">
                  <c:v>44162</c:v>
                </c:pt>
                <c:pt idx="1569">
                  <c:v>44165</c:v>
                </c:pt>
                <c:pt idx="1570">
                  <c:v>44166</c:v>
                </c:pt>
                <c:pt idx="1571">
                  <c:v>44167</c:v>
                </c:pt>
                <c:pt idx="1572">
                  <c:v>44168</c:v>
                </c:pt>
                <c:pt idx="1573">
                  <c:v>44169</c:v>
                </c:pt>
                <c:pt idx="1574">
                  <c:v>44172</c:v>
                </c:pt>
                <c:pt idx="1575">
                  <c:v>44173</c:v>
                </c:pt>
                <c:pt idx="1576">
                  <c:v>44174</c:v>
                </c:pt>
                <c:pt idx="1577">
                  <c:v>44175</c:v>
                </c:pt>
                <c:pt idx="1578">
                  <c:v>44176</c:v>
                </c:pt>
                <c:pt idx="1579">
                  <c:v>44179</c:v>
                </c:pt>
                <c:pt idx="1580">
                  <c:v>44180</c:v>
                </c:pt>
                <c:pt idx="1581">
                  <c:v>44181</c:v>
                </c:pt>
                <c:pt idx="1582">
                  <c:v>44182</c:v>
                </c:pt>
                <c:pt idx="1583">
                  <c:v>44183</c:v>
                </c:pt>
                <c:pt idx="1584">
                  <c:v>44186</c:v>
                </c:pt>
                <c:pt idx="1585">
                  <c:v>44187</c:v>
                </c:pt>
                <c:pt idx="1586">
                  <c:v>44188</c:v>
                </c:pt>
                <c:pt idx="1587">
                  <c:v>44189</c:v>
                </c:pt>
                <c:pt idx="1588">
                  <c:v>44190</c:v>
                </c:pt>
                <c:pt idx="1589">
                  <c:v>44193</c:v>
                </c:pt>
                <c:pt idx="1590">
                  <c:v>44194</c:v>
                </c:pt>
                <c:pt idx="1591">
                  <c:v>44195</c:v>
                </c:pt>
                <c:pt idx="1592">
                  <c:v>44196</c:v>
                </c:pt>
                <c:pt idx="1593">
                  <c:v>44197</c:v>
                </c:pt>
                <c:pt idx="1594">
                  <c:v>44200</c:v>
                </c:pt>
                <c:pt idx="1595">
                  <c:v>44201</c:v>
                </c:pt>
                <c:pt idx="1596">
                  <c:v>44202</c:v>
                </c:pt>
                <c:pt idx="1597">
                  <c:v>44203</c:v>
                </c:pt>
                <c:pt idx="1598">
                  <c:v>44204</c:v>
                </c:pt>
                <c:pt idx="1599">
                  <c:v>44207</c:v>
                </c:pt>
                <c:pt idx="1600">
                  <c:v>44208</c:v>
                </c:pt>
                <c:pt idx="1601">
                  <c:v>44209</c:v>
                </c:pt>
                <c:pt idx="1602">
                  <c:v>44210</c:v>
                </c:pt>
                <c:pt idx="1603">
                  <c:v>44211</c:v>
                </c:pt>
                <c:pt idx="1604">
                  <c:v>44214</c:v>
                </c:pt>
                <c:pt idx="1605">
                  <c:v>44215</c:v>
                </c:pt>
                <c:pt idx="1606">
                  <c:v>44216</c:v>
                </c:pt>
                <c:pt idx="1607">
                  <c:v>44217</c:v>
                </c:pt>
                <c:pt idx="1608">
                  <c:v>44218</c:v>
                </c:pt>
                <c:pt idx="1609">
                  <c:v>44221</c:v>
                </c:pt>
                <c:pt idx="1610">
                  <c:v>44222</c:v>
                </c:pt>
                <c:pt idx="1611">
                  <c:v>44223</c:v>
                </c:pt>
                <c:pt idx="1612">
                  <c:v>44224</c:v>
                </c:pt>
                <c:pt idx="1613">
                  <c:v>44225</c:v>
                </c:pt>
                <c:pt idx="1614">
                  <c:v>44228</c:v>
                </c:pt>
                <c:pt idx="1615">
                  <c:v>44229</c:v>
                </c:pt>
                <c:pt idx="1616">
                  <c:v>44230</c:v>
                </c:pt>
                <c:pt idx="1617">
                  <c:v>44231</c:v>
                </c:pt>
                <c:pt idx="1618">
                  <c:v>44232</c:v>
                </c:pt>
                <c:pt idx="1619">
                  <c:v>44235</c:v>
                </c:pt>
                <c:pt idx="1620">
                  <c:v>44236</c:v>
                </c:pt>
                <c:pt idx="1621">
                  <c:v>44237</c:v>
                </c:pt>
                <c:pt idx="1622">
                  <c:v>44238</c:v>
                </c:pt>
                <c:pt idx="1623">
                  <c:v>44239</c:v>
                </c:pt>
                <c:pt idx="1624">
                  <c:v>44242</c:v>
                </c:pt>
                <c:pt idx="1625">
                  <c:v>44243</c:v>
                </c:pt>
                <c:pt idx="1626">
                  <c:v>44244</c:v>
                </c:pt>
                <c:pt idx="1627">
                  <c:v>44245</c:v>
                </c:pt>
                <c:pt idx="1628">
                  <c:v>44246</c:v>
                </c:pt>
                <c:pt idx="1629">
                  <c:v>44249</c:v>
                </c:pt>
                <c:pt idx="1630">
                  <c:v>44250</c:v>
                </c:pt>
                <c:pt idx="1631">
                  <c:v>44251</c:v>
                </c:pt>
                <c:pt idx="1632">
                  <c:v>44252</c:v>
                </c:pt>
                <c:pt idx="1633">
                  <c:v>44253</c:v>
                </c:pt>
                <c:pt idx="1634">
                  <c:v>44256</c:v>
                </c:pt>
                <c:pt idx="1635">
                  <c:v>44257</c:v>
                </c:pt>
                <c:pt idx="1636">
                  <c:v>44258</c:v>
                </c:pt>
                <c:pt idx="1637">
                  <c:v>44259</c:v>
                </c:pt>
                <c:pt idx="1638">
                  <c:v>44260</c:v>
                </c:pt>
                <c:pt idx="1639">
                  <c:v>44263</c:v>
                </c:pt>
                <c:pt idx="1640">
                  <c:v>44264</c:v>
                </c:pt>
                <c:pt idx="1641">
                  <c:v>44265</c:v>
                </c:pt>
                <c:pt idx="1642">
                  <c:v>44266</c:v>
                </c:pt>
                <c:pt idx="1643">
                  <c:v>44267</c:v>
                </c:pt>
                <c:pt idx="1644">
                  <c:v>44270</c:v>
                </c:pt>
                <c:pt idx="1645">
                  <c:v>44271</c:v>
                </c:pt>
                <c:pt idx="1646">
                  <c:v>44272</c:v>
                </c:pt>
                <c:pt idx="1647">
                  <c:v>44273</c:v>
                </c:pt>
                <c:pt idx="1648">
                  <c:v>44274</c:v>
                </c:pt>
                <c:pt idx="1649">
                  <c:v>44277</c:v>
                </c:pt>
                <c:pt idx="1650">
                  <c:v>44278</c:v>
                </c:pt>
                <c:pt idx="1651">
                  <c:v>44279</c:v>
                </c:pt>
                <c:pt idx="1652">
                  <c:v>44280</c:v>
                </c:pt>
                <c:pt idx="1653">
                  <c:v>44281</c:v>
                </c:pt>
                <c:pt idx="1654">
                  <c:v>44284</c:v>
                </c:pt>
                <c:pt idx="1655">
                  <c:v>44285</c:v>
                </c:pt>
                <c:pt idx="1656">
                  <c:v>44286</c:v>
                </c:pt>
                <c:pt idx="1657">
                  <c:v>44287</c:v>
                </c:pt>
                <c:pt idx="1658">
                  <c:v>44288</c:v>
                </c:pt>
                <c:pt idx="1659">
                  <c:v>44291</c:v>
                </c:pt>
                <c:pt idx="1660">
                  <c:v>44292</c:v>
                </c:pt>
                <c:pt idx="1661">
                  <c:v>44293</c:v>
                </c:pt>
                <c:pt idx="1662">
                  <c:v>44294</c:v>
                </c:pt>
                <c:pt idx="1663">
                  <c:v>44295</c:v>
                </c:pt>
                <c:pt idx="1664">
                  <c:v>44298</c:v>
                </c:pt>
                <c:pt idx="1665">
                  <c:v>44299</c:v>
                </c:pt>
                <c:pt idx="1666">
                  <c:v>44300</c:v>
                </c:pt>
                <c:pt idx="1667">
                  <c:v>44301</c:v>
                </c:pt>
                <c:pt idx="1668">
                  <c:v>44302</c:v>
                </c:pt>
                <c:pt idx="1669">
                  <c:v>44305</c:v>
                </c:pt>
                <c:pt idx="1670">
                  <c:v>44306</c:v>
                </c:pt>
                <c:pt idx="1671">
                  <c:v>44307</c:v>
                </c:pt>
                <c:pt idx="1672">
                  <c:v>44308</c:v>
                </c:pt>
                <c:pt idx="1673">
                  <c:v>44309</c:v>
                </c:pt>
                <c:pt idx="1674">
                  <c:v>44312</c:v>
                </c:pt>
                <c:pt idx="1675">
                  <c:v>44313</c:v>
                </c:pt>
                <c:pt idx="1676">
                  <c:v>44314</c:v>
                </c:pt>
                <c:pt idx="1677">
                  <c:v>44315</c:v>
                </c:pt>
                <c:pt idx="1678">
                  <c:v>44316</c:v>
                </c:pt>
                <c:pt idx="1679">
                  <c:v>44319</c:v>
                </c:pt>
                <c:pt idx="1680">
                  <c:v>44320</c:v>
                </c:pt>
                <c:pt idx="1681">
                  <c:v>44321</c:v>
                </c:pt>
                <c:pt idx="1682">
                  <c:v>44322</c:v>
                </c:pt>
                <c:pt idx="1683">
                  <c:v>44323</c:v>
                </c:pt>
                <c:pt idx="1684">
                  <c:v>44326</c:v>
                </c:pt>
                <c:pt idx="1685">
                  <c:v>44327</c:v>
                </c:pt>
                <c:pt idx="1686">
                  <c:v>44328</c:v>
                </c:pt>
                <c:pt idx="1687">
                  <c:v>44329</c:v>
                </c:pt>
                <c:pt idx="1688">
                  <c:v>44330</c:v>
                </c:pt>
                <c:pt idx="1689">
                  <c:v>44333</c:v>
                </c:pt>
                <c:pt idx="1690">
                  <c:v>44334</c:v>
                </c:pt>
                <c:pt idx="1691">
                  <c:v>44335</c:v>
                </c:pt>
                <c:pt idx="1692">
                  <c:v>44336</c:v>
                </c:pt>
                <c:pt idx="1693">
                  <c:v>44337</c:v>
                </c:pt>
                <c:pt idx="1694">
                  <c:v>44340</c:v>
                </c:pt>
                <c:pt idx="1695">
                  <c:v>44341</c:v>
                </c:pt>
                <c:pt idx="1696">
                  <c:v>44342</c:v>
                </c:pt>
                <c:pt idx="1697">
                  <c:v>44343</c:v>
                </c:pt>
                <c:pt idx="1698">
                  <c:v>44344</c:v>
                </c:pt>
                <c:pt idx="1699">
                  <c:v>44347</c:v>
                </c:pt>
                <c:pt idx="1700">
                  <c:v>44348</c:v>
                </c:pt>
                <c:pt idx="1701">
                  <c:v>44349</c:v>
                </c:pt>
                <c:pt idx="1702">
                  <c:v>44350</c:v>
                </c:pt>
                <c:pt idx="1703">
                  <c:v>44351</c:v>
                </c:pt>
                <c:pt idx="1704">
                  <c:v>44354</c:v>
                </c:pt>
                <c:pt idx="1705">
                  <c:v>44355</c:v>
                </c:pt>
                <c:pt idx="1706">
                  <c:v>44356</c:v>
                </c:pt>
                <c:pt idx="1707">
                  <c:v>44357</c:v>
                </c:pt>
                <c:pt idx="1708">
                  <c:v>44358</c:v>
                </c:pt>
                <c:pt idx="1709">
                  <c:v>44361</c:v>
                </c:pt>
                <c:pt idx="1710">
                  <c:v>44362</c:v>
                </c:pt>
                <c:pt idx="1711">
                  <c:v>44363</c:v>
                </c:pt>
                <c:pt idx="1712">
                  <c:v>44364</c:v>
                </c:pt>
                <c:pt idx="1713">
                  <c:v>44365</c:v>
                </c:pt>
                <c:pt idx="1714">
                  <c:v>44368</c:v>
                </c:pt>
                <c:pt idx="1715">
                  <c:v>44369</c:v>
                </c:pt>
                <c:pt idx="1716">
                  <c:v>44370</c:v>
                </c:pt>
                <c:pt idx="1717">
                  <c:v>44371</c:v>
                </c:pt>
                <c:pt idx="1718">
                  <c:v>44372</c:v>
                </c:pt>
                <c:pt idx="1719">
                  <c:v>44375</c:v>
                </c:pt>
                <c:pt idx="1720">
                  <c:v>44376</c:v>
                </c:pt>
                <c:pt idx="1721">
                  <c:v>44377</c:v>
                </c:pt>
                <c:pt idx="1722">
                  <c:v>44378</c:v>
                </c:pt>
                <c:pt idx="1723">
                  <c:v>44379</c:v>
                </c:pt>
                <c:pt idx="1724">
                  <c:v>44382</c:v>
                </c:pt>
                <c:pt idx="1725">
                  <c:v>44383</c:v>
                </c:pt>
                <c:pt idx="1726">
                  <c:v>44384</c:v>
                </c:pt>
                <c:pt idx="1727">
                  <c:v>44385</c:v>
                </c:pt>
                <c:pt idx="1728">
                  <c:v>44386</c:v>
                </c:pt>
                <c:pt idx="1729">
                  <c:v>44389</c:v>
                </c:pt>
                <c:pt idx="1730">
                  <c:v>44390</c:v>
                </c:pt>
                <c:pt idx="1731">
                  <c:v>44391</c:v>
                </c:pt>
                <c:pt idx="1732">
                  <c:v>44392</c:v>
                </c:pt>
                <c:pt idx="1733">
                  <c:v>44393</c:v>
                </c:pt>
                <c:pt idx="1734">
                  <c:v>44396</c:v>
                </c:pt>
                <c:pt idx="1735">
                  <c:v>44397</c:v>
                </c:pt>
                <c:pt idx="1736">
                  <c:v>44398</c:v>
                </c:pt>
                <c:pt idx="1737">
                  <c:v>44399</c:v>
                </c:pt>
                <c:pt idx="1738">
                  <c:v>44400</c:v>
                </c:pt>
                <c:pt idx="1739">
                  <c:v>44403</c:v>
                </c:pt>
                <c:pt idx="1740">
                  <c:v>44404</c:v>
                </c:pt>
                <c:pt idx="1741">
                  <c:v>44405</c:v>
                </c:pt>
                <c:pt idx="1742">
                  <c:v>44406</c:v>
                </c:pt>
                <c:pt idx="1743">
                  <c:v>44407</c:v>
                </c:pt>
                <c:pt idx="1744">
                  <c:v>44410</c:v>
                </c:pt>
                <c:pt idx="1745">
                  <c:v>44411</c:v>
                </c:pt>
                <c:pt idx="1746">
                  <c:v>44412</c:v>
                </c:pt>
                <c:pt idx="1747">
                  <c:v>44413</c:v>
                </c:pt>
                <c:pt idx="1748">
                  <c:v>44414</c:v>
                </c:pt>
                <c:pt idx="1749">
                  <c:v>44417</c:v>
                </c:pt>
                <c:pt idx="1750">
                  <c:v>44418</c:v>
                </c:pt>
                <c:pt idx="1751">
                  <c:v>44419</c:v>
                </c:pt>
                <c:pt idx="1752">
                  <c:v>44420</c:v>
                </c:pt>
                <c:pt idx="1753">
                  <c:v>44421</c:v>
                </c:pt>
                <c:pt idx="1754">
                  <c:v>44424</c:v>
                </c:pt>
                <c:pt idx="1755">
                  <c:v>44425</c:v>
                </c:pt>
                <c:pt idx="1756">
                  <c:v>44426</c:v>
                </c:pt>
                <c:pt idx="1757">
                  <c:v>44427</c:v>
                </c:pt>
                <c:pt idx="1758">
                  <c:v>44428</c:v>
                </c:pt>
                <c:pt idx="1759">
                  <c:v>44431</c:v>
                </c:pt>
                <c:pt idx="1760">
                  <c:v>44432</c:v>
                </c:pt>
                <c:pt idx="1761">
                  <c:v>44433</c:v>
                </c:pt>
                <c:pt idx="1762">
                  <c:v>44434</c:v>
                </c:pt>
                <c:pt idx="1763">
                  <c:v>44435</c:v>
                </c:pt>
                <c:pt idx="1764">
                  <c:v>44438</c:v>
                </c:pt>
                <c:pt idx="1765">
                  <c:v>44439</c:v>
                </c:pt>
                <c:pt idx="1766">
                  <c:v>44440</c:v>
                </c:pt>
                <c:pt idx="1767">
                  <c:v>44441</c:v>
                </c:pt>
                <c:pt idx="1768">
                  <c:v>44442</c:v>
                </c:pt>
                <c:pt idx="1769">
                  <c:v>44445</c:v>
                </c:pt>
                <c:pt idx="1770">
                  <c:v>44446</c:v>
                </c:pt>
                <c:pt idx="1771">
                  <c:v>44447</c:v>
                </c:pt>
                <c:pt idx="1772">
                  <c:v>44448</c:v>
                </c:pt>
                <c:pt idx="1773">
                  <c:v>44449</c:v>
                </c:pt>
                <c:pt idx="1774">
                  <c:v>44452</c:v>
                </c:pt>
                <c:pt idx="1775">
                  <c:v>44453</c:v>
                </c:pt>
                <c:pt idx="1776">
                  <c:v>44454</c:v>
                </c:pt>
                <c:pt idx="1777">
                  <c:v>44455</c:v>
                </c:pt>
                <c:pt idx="1778">
                  <c:v>44456</c:v>
                </c:pt>
                <c:pt idx="1779">
                  <c:v>44459</c:v>
                </c:pt>
                <c:pt idx="1780">
                  <c:v>44460</c:v>
                </c:pt>
                <c:pt idx="1781">
                  <c:v>44461</c:v>
                </c:pt>
                <c:pt idx="1782">
                  <c:v>44462</c:v>
                </c:pt>
                <c:pt idx="1783">
                  <c:v>44463</c:v>
                </c:pt>
                <c:pt idx="1784">
                  <c:v>44466</c:v>
                </c:pt>
                <c:pt idx="1785">
                  <c:v>44467</c:v>
                </c:pt>
                <c:pt idx="1786">
                  <c:v>44468</c:v>
                </c:pt>
                <c:pt idx="1787">
                  <c:v>44469</c:v>
                </c:pt>
                <c:pt idx="1788">
                  <c:v>44470</c:v>
                </c:pt>
                <c:pt idx="1789">
                  <c:v>44473</c:v>
                </c:pt>
                <c:pt idx="1790">
                  <c:v>44474</c:v>
                </c:pt>
                <c:pt idx="1791">
                  <c:v>44475</c:v>
                </c:pt>
                <c:pt idx="1792">
                  <c:v>44476</c:v>
                </c:pt>
                <c:pt idx="1793">
                  <c:v>44477</c:v>
                </c:pt>
                <c:pt idx="1794">
                  <c:v>44480</c:v>
                </c:pt>
                <c:pt idx="1795">
                  <c:v>44481</c:v>
                </c:pt>
                <c:pt idx="1796">
                  <c:v>44482</c:v>
                </c:pt>
                <c:pt idx="1797">
                  <c:v>44483</c:v>
                </c:pt>
                <c:pt idx="1798">
                  <c:v>44484</c:v>
                </c:pt>
                <c:pt idx="1799">
                  <c:v>44487</c:v>
                </c:pt>
                <c:pt idx="1800">
                  <c:v>44488</c:v>
                </c:pt>
                <c:pt idx="1801">
                  <c:v>44489</c:v>
                </c:pt>
                <c:pt idx="1802">
                  <c:v>44490</c:v>
                </c:pt>
                <c:pt idx="1803">
                  <c:v>44491</c:v>
                </c:pt>
                <c:pt idx="1804">
                  <c:v>44494</c:v>
                </c:pt>
                <c:pt idx="1805">
                  <c:v>44495</c:v>
                </c:pt>
                <c:pt idx="1806">
                  <c:v>44496</c:v>
                </c:pt>
                <c:pt idx="1807">
                  <c:v>44497</c:v>
                </c:pt>
                <c:pt idx="1808">
                  <c:v>44498</c:v>
                </c:pt>
                <c:pt idx="1809">
                  <c:v>44501</c:v>
                </c:pt>
                <c:pt idx="1810">
                  <c:v>44502</c:v>
                </c:pt>
                <c:pt idx="1811">
                  <c:v>44503</c:v>
                </c:pt>
                <c:pt idx="1812">
                  <c:v>44504</c:v>
                </c:pt>
                <c:pt idx="1813">
                  <c:v>44505</c:v>
                </c:pt>
                <c:pt idx="1814">
                  <c:v>44508</c:v>
                </c:pt>
                <c:pt idx="1815">
                  <c:v>44509</c:v>
                </c:pt>
                <c:pt idx="1816">
                  <c:v>44510</c:v>
                </c:pt>
                <c:pt idx="1817">
                  <c:v>44511</c:v>
                </c:pt>
                <c:pt idx="1818">
                  <c:v>44512</c:v>
                </c:pt>
                <c:pt idx="1819">
                  <c:v>44515</c:v>
                </c:pt>
                <c:pt idx="1820">
                  <c:v>44516</c:v>
                </c:pt>
                <c:pt idx="1821">
                  <c:v>44517</c:v>
                </c:pt>
                <c:pt idx="1822">
                  <c:v>44518</c:v>
                </c:pt>
                <c:pt idx="1823">
                  <c:v>44519</c:v>
                </c:pt>
                <c:pt idx="1824">
                  <c:v>44522</c:v>
                </c:pt>
                <c:pt idx="1825">
                  <c:v>44523</c:v>
                </c:pt>
                <c:pt idx="1826">
                  <c:v>44524</c:v>
                </c:pt>
                <c:pt idx="1827">
                  <c:v>44525</c:v>
                </c:pt>
                <c:pt idx="1828">
                  <c:v>44526</c:v>
                </c:pt>
                <c:pt idx="1829">
                  <c:v>44529</c:v>
                </c:pt>
                <c:pt idx="1830">
                  <c:v>44530</c:v>
                </c:pt>
                <c:pt idx="1831">
                  <c:v>44531</c:v>
                </c:pt>
                <c:pt idx="1832">
                  <c:v>44532</c:v>
                </c:pt>
                <c:pt idx="1833">
                  <c:v>44533</c:v>
                </c:pt>
                <c:pt idx="1834">
                  <c:v>44536</c:v>
                </c:pt>
                <c:pt idx="1835">
                  <c:v>44537</c:v>
                </c:pt>
                <c:pt idx="1836">
                  <c:v>44538</c:v>
                </c:pt>
                <c:pt idx="1837">
                  <c:v>44539</c:v>
                </c:pt>
                <c:pt idx="1838">
                  <c:v>44540</c:v>
                </c:pt>
                <c:pt idx="1839">
                  <c:v>44543</c:v>
                </c:pt>
                <c:pt idx="1840">
                  <c:v>44544</c:v>
                </c:pt>
                <c:pt idx="1841">
                  <c:v>44545</c:v>
                </c:pt>
                <c:pt idx="1842">
                  <c:v>44546</c:v>
                </c:pt>
                <c:pt idx="1843">
                  <c:v>44547</c:v>
                </c:pt>
                <c:pt idx="1844">
                  <c:v>44550</c:v>
                </c:pt>
                <c:pt idx="1845">
                  <c:v>44551</c:v>
                </c:pt>
                <c:pt idx="1846">
                  <c:v>44552</c:v>
                </c:pt>
                <c:pt idx="1847">
                  <c:v>44553</c:v>
                </c:pt>
                <c:pt idx="1848">
                  <c:v>44554</c:v>
                </c:pt>
                <c:pt idx="1849">
                  <c:v>44557</c:v>
                </c:pt>
                <c:pt idx="1850">
                  <c:v>44558</c:v>
                </c:pt>
                <c:pt idx="1851">
                  <c:v>44559</c:v>
                </c:pt>
                <c:pt idx="1852">
                  <c:v>44560</c:v>
                </c:pt>
                <c:pt idx="1853">
                  <c:v>44561</c:v>
                </c:pt>
                <c:pt idx="1854">
                  <c:v>44564</c:v>
                </c:pt>
                <c:pt idx="1855">
                  <c:v>44565</c:v>
                </c:pt>
                <c:pt idx="1856">
                  <c:v>44566</c:v>
                </c:pt>
                <c:pt idx="1857">
                  <c:v>44567</c:v>
                </c:pt>
                <c:pt idx="1858">
                  <c:v>44568</c:v>
                </c:pt>
                <c:pt idx="1859">
                  <c:v>44571</c:v>
                </c:pt>
                <c:pt idx="1860">
                  <c:v>44572</c:v>
                </c:pt>
                <c:pt idx="1861">
                  <c:v>44573</c:v>
                </c:pt>
                <c:pt idx="1862">
                  <c:v>44574</c:v>
                </c:pt>
                <c:pt idx="1863">
                  <c:v>44575</c:v>
                </c:pt>
                <c:pt idx="1864">
                  <c:v>44578</c:v>
                </c:pt>
                <c:pt idx="1865">
                  <c:v>44579</c:v>
                </c:pt>
                <c:pt idx="1866">
                  <c:v>44580</c:v>
                </c:pt>
                <c:pt idx="1867">
                  <c:v>44581</c:v>
                </c:pt>
                <c:pt idx="1868">
                  <c:v>44582</c:v>
                </c:pt>
                <c:pt idx="1869">
                  <c:v>44585</c:v>
                </c:pt>
                <c:pt idx="1870">
                  <c:v>44586</c:v>
                </c:pt>
                <c:pt idx="1871">
                  <c:v>44587</c:v>
                </c:pt>
                <c:pt idx="1872">
                  <c:v>44588</c:v>
                </c:pt>
                <c:pt idx="1873">
                  <c:v>44589</c:v>
                </c:pt>
                <c:pt idx="1874">
                  <c:v>44592</c:v>
                </c:pt>
                <c:pt idx="1875">
                  <c:v>44593</c:v>
                </c:pt>
                <c:pt idx="1876">
                  <c:v>44594</c:v>
                </c:pt>
                <c:pt idx="1877">
                  <c:v>44595</c:v>
                </c:pt>
                <c:pt idx="1878">
                  <c:v>44596</c:v>
                </c:pt>
                <c:pt idx="1879">
                  <c:v>44599</c:v>
                </c:pt>
                <c:pt idx="1880">
                  <c:v>44600</c:v>
                </c:pt>
                <c:pt idx="1881">
                  <c:v>44601</c:v>
                </c:pt>
                <c:pt idx="1882">
                  <c:v>44602</c:v>
                </c:pt>
                <c:pt idx="1883">
                  <c:v>44603</c:v>
                </c:pt>
                <c:pt idx="1884">
                  <c:v>44606</c:v>
                </c:pt>
                <c:pt idx="1885">
                  <c:v>44607</c:v>
                </c:pt>
                <c:pt idx="1886">
                  <c:v>44608</c:v>
                </c:pt>
                <c:pt idx="1887">
                  <c:v>44609</c:v>
                </c:pt>
                <c:pt idx="1888">
                  <c:v>44610</c:v>
                </c:pt>
                <c:pt idx="1889">
                  <c:v>44613</c:v>
                </c:pt>
                <c:pt idx="1890">
                  <c:v>44614</c:v>
                </c:pt>
                <c:pt idx="1891">
                  <c:v>44615</c:v>
                </c:pt>
                <c:pt idx="1892">
                  <c:v>44616</c:v>
                </c:pt>
                <c:pt idx="1893">
                  <c:v>44617</c:v>
                </c:pt>
                <c:pt idx="1894">
                  <c:v>44620</c:v>
                </c:pt>
                <c:pt idx="1895">
                  <c:v>44621</c:v>
                </c:pt>
                <c:pt idx="1896">
                  <c:v>44622</c:v>
                </c:pt>
                <c:pt idx="1897">
                  <c:v>44623</c:v>
                </c:pt>
                <c:pt idx="1898">
                  <c:v>44624</c:v>
                </c:pt>
                <c:pt idx="1899">
                  <c:v>44627</c:v>
                </c:pt>
                <c:pt idx="1900">
                  <c:v>44628</c:v>
                </c:pt>
                <c:pt idx="1901">
                  <c:v>44629</c:v>
                </c:pt>
                <c:pt idx="1902">
                  <c:v>44630</c:v>
                </c:pt>
                <c:pt idx="1903">
                  <c:v>44631</c:v>
                </c:pt>
                <c:pt idx="1904">
                  <c:v>44634</c:v>
                </c:pt>
                <c:pt idx="1905">
                  <c:v>44635</c:v>
                </c:pt>
                <c:pt idx="1906">
                  <c:v>44636</c:v>
                </c:pt>
                <c:pt idx="1907">
                  <c:v>44637</c:v>
                </c:pt>
                <c:pt idx="1908">
                  <c:v>44638</c:v>
                </c:pt>
                <c:pt idx="1909">
                  <c:v>44641</c:v>
                </c:pt>
                <c:pt idx="1910">
                  <c:v>44642</c:v>
                </c:pt>
                <c:pt idx="1911">
                  <c:v>44643</c:v>
                </c:pt>
                <c:pt idx="1912">
                  <c:v>44644</c:v>
                </c:pt>
                <c:pt idx="1913">
                  <c:v>44645</c:v>
                </c:pt>
                <c:pt idx="1914">
                  <c:v>44648</c:v>
                </c:pt>
                <c:pt idx="1915">
                  <c:v>44649</c:v>
                </c:pt>
                <c:pt idx="1916">
                  <c:v>44650</c:v>
                </c:pt>
                <c:pt idx="1917">
                  <c:v>44651</c:v>
                </c:pt>
                <c:pt idx="1918">
                  <c:v>44652</c:v>
                </c:pt>
                <c:pt idx="1919">
                  <c:v>44655</c:v>
                </c:pt>
                <c:pt idx="1920">
                  <c:v>44656</c:v>
                </c:pt>
                <c:pt idx="1921">
                  <c:v>44657</c:v>
                </c:pt>
                <c:pt idx="1922">
                  <c:v>44658</c:v>
                </c:pt>
                <c:pt idx="1923">
                  <c:v>44659</c:v>
                </c:pt>
                <c:pt idx="1924">
                  <c:v>44662</c:v>
                </c:pt>
                <c:pt idx="1925">
                  <c:v>44663</c:v>
                </c:pt>
                <c:pt idx="1926">
                  <c:v>44664</c:v>
                </c:pt>
                <c:pt idx="1927">
                  <c:v>44665</c:v>
                </c:pt>
                <c:pt idx="1928">
                  <c:v>44666</c:v>
                </c:pt>
                <c:pt idx="1929">
                  <c:v>44669</c:v>
                </c:pt>
                <c:pt idx="1930">
                  <c:v>44670</c:v>
                </c:pt>
                <c:pt idx="1931">
                  <c:v>44671</c:v>
                </c:pt>
                <c:pt idx="1932">
                  <c:v>44672</c:v>
                </c:pt>
                <c:pt idx="1933">
                  <c:v>44673</c:v>
                </c:pt>
                <c:pt idx="1934">
                  <c:v>44676</c:v>
                </c:pt>
                <c:pt idx="1935">
                  <c:v>44677</c:v>
                </c:pt>
                <c:pt idx="1936">
                  <c:v>44678</c:v>
                </c:pt>
                <c:pt idx="1937">
                  <c:v>44679</c:v>
                </c:pt>
                <c:pt idx="1938">
                  <c:v>44680</c:v>
                </c:pt>
                <c:pt idx="1939">
                  <c:v>44683</c:v>
                </c:pt>
                <c:pt idx="1940">
                  <c:v>44684</c:v>
                </c:pt>
                <c:pt idx="1941">
                  <c:v>44685</c:v>
                </c:pt>
                <c:pt idx="1942">
                  <c:v>44686</c:v>
                </c:pt>
                <c:pt idx="1943">
                  <c:v>44687</c:v>
                </c:pt>
                <c:pt idx="1944">
                  <c:v>44690</c:v>
                </c:pt>
                <c:pt idx="1945">
                  <c:v>44691</c:v>
                </c:pt>
                <c:pt idx="1946">
                  <c:v>44692</c:v>
                </c:pt>
                <c:pt idx="1947">
                  <c:v>44693</c:v>
                </c:pt>
                <c:pt idx="1948">
                  <c:v>44694</c:v>
                </c:pt>
                <c:pt idx="1949">
                  <c:v>44697</c:v>
                </c:pt>
                <c:pt idx="1950">
                  <c:v>44698</c:v>
                </c:pt>
                <c:pt idx="1951">
                  <c:v>44699</c:v>
                </c:pt>
                <c:pt idx="1952">
                  <c:v>44700</c:v>
                </c:pt>
                <c:pt idx="1953">
                  <c:v>44701</c:v>
                </c:pt>
                <c:pt idx="1954">
                  <c:v>44704</c:v>
                </c:pt>
                <c:pt idx="1955">
                  <c:v>44705</c:v>
                </c:pt>
                <c:pt idx="1956">
                  <c:v>44706</c:v>
                </c:pt>
                <c:pt idx="1957">
                  <c:v>44707</c:v>
                </c:pt>
                <c:pt idx="1958">
                  <c:v>44708</c:v>
                </c:pt>
                <c:pt idx="1959">
                  <c:v>44711</c:v>
                </c:pt>
                <c:pt idx="1960">
                  <c:v>44712</c:v>
                </c:pt>
                <c:pt idx="1961">
                  <c:v>44713</c:v>
                </c:pt>
                <c:pt idx="1962">
                  <c:v>44714</c:v>
                </c:pt>
                <c:pt idx="1963">
                  <c:v>44715</c:v>
                </c:pt>
                <c:pt idx="1964">
                  <c:v>44718</c:v>
                </c:pt>
                <c:pt idx="1965">
                  <c:v>44719</c:v>
                </c:pt>
                <c:pt idx="1966">
                  <c:v>44720</c:v>
                </c:pt>
                <c:pt idx="1967">
                  <c:v>44721</c:v>
                </c:pt>
                <c:pt idx="1968">
                  <c:v>44722</c:v>
                </c:pt>
                <c:pt idx="1969">
                  <c:v>44725</c:v>
                </c:pt>
                <c:pt idx="1970">
                  <c:v>44726</c:v>
                </c:pt>
                <c:pt idx="1971">
                  <c:v>44727</c:v>
                </c:pt>
                <c:pt idx="1972">
                  <c:v>44728</c:v>
                </c:pt>
                <c:pt idx="1973">
                  <c:v>44729</c:v>
                </c:pt>
                <c:pt idx="1974">
                  <c:v>44732</c:v>
                </c:pt>
                <c:pt idx="1975">
                  <c:v>44733</c:v>
                </c:pt>
                <c:pt idx="1976">
                  <c:v>44734</c:v>
                </c:pt>
                <c:pt idx="1977">
                  <c:v>44735</c:v>
                </c:pt>
                <c:pt idx="1978">
                  <c:v>44736</c:v>
                </c:pt>
                <c:pt idx="1979">
                  <c:v>44739</c:v>
                </c:pt>
                <c:pt idx="1980">
                  <c:v>44740</c:v>
                </c:pt>
                <c:pt idx="1981">
                  <c:v>44741</c:v>
                </c:pt>
                <c:pt idx="1982">
                  <c:v>44742</c:v>
                </c:pt>
                <c:pt idx="1983">
                  <c:v>44743</c:v>
                </c:pt>
                <c:pt idx="1984">
                  <c:v>44746</c:v>
                </c:pt>
                <c:pt idx="1985">
                  <c:v>44747</c:v>
                </c:pt>
                <c:pt idx="1986">
                  <c:v>44748</c:v>
                </c:pt>
                <c:pt idx="1987">
                  <c:v>44749</c:v>
                </c:pt>
                <c:pt idx="1988">
                  <c:v>44750</c:v>
                </c:pt>
                <c:pt idx="1989">
                  <c:v>44753</c:v>
                </c:pt>
                <c:pt idx="1990">
                  <c:v>44754</c:v>
                </c:pt>
                <c:pt idx="1991">
                  <c:v>44755</c:v>
                </c:pt>
                <c:pt idx="1992">
                  <c:v>44756</c:v>
                </c:pt>
                <c:pt idx="1993">
                  <c:v>44757</c:v>
                </c:pt>
                <c:pt idx="1994">
                  <c:v>44760</c:v>
                </c:pt>
                <c:pt idx="1995">
                  <c:v>44761</c:v>
                </c:pt>
                <c:pt idx="1996">
                  <c:v>44762</c:v>
                </c:pt>
                <c:pt idx="1997">
                  <c:v>44763</c:v>
                </c:pt>
                <c:pt idx="1998">
                  <c:v>44764</c:v>
                </c:pt>
                <c:pt idx="1999">
                  <c:v>44767</c:v>
                </c:pt>
                <c:pt idx="2000">
                  <c:v>44768</c:v>
                </c:pt>
                <c:pt idx="2001">
                  <c:v>44769</c:v>
                </c:pt>
                <c:pt idx="2002">
                  <c:v>44770</c:v>
                </c:pt>
                <c:pt idx="2003">
                  <c:v>44771</c:v>
                </c:pt>
                <c:pt idx="2004">
                  <c:v>44774</c:v>
                </c:pt>
                <c:pt idx="2005">
                  <c:v>44775</c:v>
                </c:pt>
                <c:pt idx="2006">
                  <c:v>44776</c:v>
                </c:pt>
                <c:pt idx="2007">
                  <c:v>44777</c:v>
                </c:pt>
                <c:pt idx="2008">
                  <c:v>44778</c:v>
                </c:pt>
                <c:pt idx="2009">
                  <c:v>44781</c:v>
                </c:pt>
                <c:pt idx="2010">
                  <c:v>44782</c:v>
                </c:pt>
                <c:pt idx="2011">
                  <c:v>44783</c:v>
                </c:pt>
                <c:pt idx="2012">
                  <c:v>44784</c:v>
                </c:pt>
                <c:pt idx="2013">
                  <c:v>44785</c:v>
                </c:pt>
                <c:pt idx="2014">
                  <c:v>44788</c:v>
                </c:pt>
                <c:pt idx="2015">
                  <c:v>44789</c:v>
                </c:pt>
                <c:pt idx="2016">
                  <c:v>44790</c:v>
                </c:pt>
                <c:pt idx="2017">
                  <c:v>44791</c:v>
                </c:pt>
                <c:pt idx="2018">
                  <c:v>44792</c:v>
                </c:pt>
                <c:pt idx="2019">
                  <c:v>44795</c:v>
                </c:pt>
                <c:pt idx="2020">
                  <c:v>44796</c:v>
                </c:pt>
                <c:pt idx="2021">
                  <c:v>44797</c:v>
                </c:pt>
                <c:pt idx="2022">
                  <c:v>44798</c:v>
                </c:pt>
                <c:pt idx="2023">
                  <c:v>44799</c:v>
                </c:pt>
                <c:pt idx="2024">
                  <c:v>44802</c:v>
                </c:pt>
                <c:pt idx="2025">
                  <c:v>44803</c:v>
                </c:pt>
                <c:pt idx="2026">
                  <c:v>44804</c:v>
                </c:pt>
                <c:pt idx="2027">
                  <c:v>44805</c:v>
                </c:pt>
                <c:pt idx="2028">
                  <c:v>44806</c:v>
                </c:pt>
                <c:pt idx="2029">
                  <c:v>44809</c:v>
                </c:pt>
                <c:pt idx="2030">
                  <c:v>44810</c:v>
                </c:pt>
                <c:pt idx="2031">
                  <c:v>44811</c:v>
                </c:pt>
                <c:pt idx="2032">
                  <c:v>44812</c:v>
                </c:pt>
                <c:pt idx="2033">
                  <c:v>44813</c:v>
                </c:pt>
                <c:pt idx="2034">
                  <c:v>44816</c:v>
                </c:pt>
                <c:pt idx="2035">
                  <c:v>44817</c:v>
                </c:pt>
                <c:pt idx="2036">
                  <c:v>44818</c:v>
                </c:pt>
                <c:pt idx="2037">
                  <c:v>44819</c:v>
                </c:pt>
                <c:pt idx="2038">
                  <c:v>44820</c:v>
                </c:pt>
                <c:pt idx="2039">
                  <c:v>44823</c:v>
                </c:pt>
                <c:pt idx="2040">
                  <c:v>44824</c:v>
                </c:pt>
                <c:pt idx="2041">
                  <c:v>44825</c:v>
                </c:pt>
                <c:pt idx="2042">
                  <c:v>44826</c:v>
                </c:pt>
                <c:pt idx="2043">
                  <c:v>44827</c:v>
                </c:pt>
                <c:pt idx="2044">
                  <c:v>44830</c:v>
                </c:pt>
                <c:pt idx="2045">
                  <c:v>44831</c:v>
                </c:pt>
                <c:pt idx="2046">
                  <c:v>44832</c:v>
                </c:pt>
                <c:pt idx="2047">
                  <c:v>44833</c:v>
                </c:pt>
                <c:pt idx="2048">
                  <c:v>44834</c:v>
                </c:pt>
                <c:pt idx="2049">
                  <c:v>44837</c:v>
                </c:pt>
                <c:pt idx="2050">
                  <c:v>44838</c:v>
                </c:pt>
                <c:pt idx="2051">
                  <c:v>44839</c:v>
                </c:pt>
                <c:pt idx="2052">
                  <c:v>44840</c:v>
                </c:pt>
                <c:pt idx="2053">
                  <c:v>44841</c:v>
                </c:pt>
                <c:pt idx="2054">
                  <c:v>44844</c:v>
                </c:pt>
                <c:pt idx="2055">
                  <c:v>44845</c:v>
                </c:pt>
                <c:pt idx="2056">
                  <c:v>44846</c:v>
                </c:pt>
                <c:pt idx="2057">
                  <c:v>44847</c:v>
                </c:pt>
                <c:pt idx="2058">
                  <c:v>44848</c:v>
                </c:pt>
                <c:pt idx="2059">
                  <c:v>44851</c:v>
                </c:pt>
                <c:pt idx="2060">
                  <c:v>44852</c:v>
                </c:pt>
                <c:pt idx="2061">
                  <c:v>44853</c:v>
                </c:pt>
                <c:pt idx="2062">
                  <c:v>44854</c:v>
                </c:pt>
                <c:pt idx="2063">
                  <c:v>44855</c:v>
                </c:pt>
                <c:pt idx="2064">
                  <c:v>44858</c:v>
                </c:pt>
                <c:pt idx="2065">
                  <c:v>44859</c:v>
                </c:pt>
                <c:pt idx="2066">
                  <c:v>44860</c:v>
                </c:pt>
                <c:pt idx="2067">
                  <c:v>44861</c:v>
                </c:pt>
                <c:pt idx="2068">
                  <c:v>44862</c:v>
                </c:pt>
                <c:pt idx="2069">
                  <c:v>44865</c:v>
                </c:pt>
                <c:pt idx="2070">
                  <c:v>44866</c:v>
                </c:pt>
                <c:pt idx="2071">
                  <c:v>44867</c:v>
                </c:pt>
                <c:pt idx="2072">
                  <c:v>44868</c:v>
                </c:pt>
                <c:pt idx="2073">
                  <c:v>44869</c:v>
                </c:pt>
                <c:pt idx="2074">
                  <c:v>44872</c:v>
                </c:pt>
                <c:pt idx="2075">
                  <c:v>44873</c:v>
                </c:pt>
                <c:pt idx="2076">
                  <c:v>44874</c:v>
                </c:pt>
                <c:pt idx="2077">
                  <c:v>44875</c:v>
                </c:pt>
                <c:pt idx="2078">
                  <c:v>44876</c:v>
                </c:pt>
                <c:pt idx="2079">
                  <c:v>44879</c:v>
                </c:pt>
                <c:pt idx="2080">
                  <c:v>44880</c:v>
                </c:pt>
                <c:pt idx="2081">
                  <c:v>44881</c:v>
                </c:pt>
                <c:pt idx="2082">
                  <c:v>44882</c:v>
                </c:pt>
                <c:pt idx="2083">
                  <c:v>44883</c:v>
                </c:pt>
                <c:pt idx="2084">
                  <c:v>44886</c:v>
                </c:pt>
                <c:pt idx="2085">
                  <c:v>44887</c:v>
                </c:pt>
                <c:pt idx="2086">
                  <c:v>44888</c:v>
                </c:pt>
                <c:pt idx="2087">
                  <c:v>44889</c:v>
                </c:pt>
                <c:pt idx="2088">
                  <c:v>44890</c:v>
                </c:pt>
                <c:pt idx="2089">
                  <c:v>44893</c:v>
                </c:pt>
                <c:pt idx="2090">
                  <c:v>44894</c:v>
                </c:pt>
                <c:pt idx="2091">
                  <c:v>44895</c:v>
                </c:pt>
                <c:pt idx="2092">
                  <c:v>44896</c:v>
                </c:pt>
                <c:pt idx="2093">
                  <c:v>44897</c:v>
                </c:pt>
                <c:pt idx="2094">
                  <c:v>44900</c:v>
                </c:pt>
                <c:pt idx="2095">
                  <c:v>44901</c:v>
                </c:pt>
                <c:pt idx="2096">
                  <c:v>44902</c:v>
                </c:pt>
                <c:pt idx="2097">
                  <c:v>44903</c:v>
                </c:pt>
                <c:pt idx="2098">
                  <c:v>44904</c:v>
                </c:pt>
                <c:pt idx="2099">
                  <c:v>44907</c:v>
                </c:pt>
                <c:pt idx="2100">
                  <c:v>44908</c:v>
                </c:pt>
                <c:pt idx="2101">
                  <c:v>44909</c:v>
                </c:pt>
                <c:pt idx="2102">
                  <c:v>44910</c:v>
                </c:pt>
                <c:pt idx="2103">
                  <c:v>44911</c:v>
                </c:pt>
                <c:pt idx="2104">
                  <c:v>44914</c:v>
                </c:pt>
                <c:pt idx="2105">
                  <c:v>44915</c:v>
                </c:pt>
                <c:pt idx="2106">
                  <c:v>44916</c:v>
                </c:pt>
                <c:pt idx="2107">
                  <c:v>44917</c:v>
                </c:pt>
                <c:pt idx="2108">
                  <c:v>44918</c:v>
                </c:pt>
                <c:pt idx="2109">
                  <c:v>44921</c:v>
                </c:pt>
                <c:pt idx="2110">
                  <c:v>44922</c:v>
                </c:pt>
                <c:pt idx="2111">
                  <c:v>44923</c:v>
                </c:pt>
                <c:pt idx="2112">
                  <c:v>44924</c:v>
                </c:pt>
                <c:pt idx="2113">
                  <c:v>44925</c:v>
                </c:pt>
                <c:pt idx="2114">
                  <c:v>44928</c:v>
                </c:pt>
                <c:pt idx="2115">
                  <c:v>44929</c:v>
                </c:pt>
                <c:pt idx="2116">
                  <c:v>44930</c:v>
                </c:pt>
                <c:pt idx="2117">
                  <c:v>44931</c:v>
                </c:pt>
                <c:pt idx="2118">
                  <c:v>44932</c:v>
                </c:pt>
                <c:pt idx="2119">
                  <c:v>44935</c:v>
                </c:pt>
                <c:pt idx="2120">
                  <c:v>44936</c:v>
                </c:pt>
                <c:pt idx="2121">
                  <c:v>44937</c:v>
                </c:pt>
                <c:pt idx="2122">
                  <c:v>44938</c:v>
                </c:pt>
                <c:pt idx="2123">
                  <c:v>44939</c:v>
                </c:pt>
                <c:pt idx="2124">
                  <c:v>44942</c:v>
                </c:pt>
                <c:pt idx="2125">
                  <c:v>44943</c:v>
                </c:pt>
                <c:pt idx="2126">
                  <c:v>44944</c:v>
                </c:pt>
                <c:pt idx="2127">
                  <c:v>44945</c:v>
                </c:pt>
                <c:pt idx="2128">
                  <c:v>44946</c:v>
                </c:pt>
                <c:pt idx="2129">
                  <c:v>44949</c:v>
                </c:pt>
                <c:pt idx="2130">
                  <c:v>44950</c:v>
                </c:pt>
                <c:pt idx="2131">
                  <c:v>44951</c:v>
                </c:pt>
                <c:pt idx="2132">
                  <c:v>44952</c:v>
                </c:pt>
                <c:pt idx="2133">
                  <c:v>44953</c:v>
                </c:pt>
                <c:pt idx="2134">
                  <c:v>44956</c:v>
                </c:pt>
                <c:pt idx="2135">
                  <c:v>44957</c:v>
                </c:pt>
                <c:pt idx="2136">
                  <c:v>44958</c:v>
                </c:pt>
                <c:pt idx="2137">
                  <c:v>44959</c:v>
                </c:pt>
                <c:pt idx="2138">
                  <c:v>44960</c:v>
                </c:pt>
                <c:pt idx="2139">
                  <c:v>44963</c:v>
                </c:pt>
                <c:pt idx="2140">
                  <c:v>44964</c:v>
                </c:pt>
                <c:pt idx="2141">
                  <c:v>44965</c:v>
                </c:pt>
                <c:pt idx="2142">
                  <c:v>44966</c:v>
                </c:pt>
                <c:pt idx="2143">
                  <c:v>44967</c:v>
                </c:pt>
                <c:pt idx="2144">
                  <c:v>44970</c:v>
                </c:pt>
                <c:pt idx="2145">
                  <c:v>44971</c:v>
                </c:pt>
                <c:pt idx="2146">
                  <c:v>44972</c:v>
                </c:pt>
                <c:pt idx="2147">
                  <c:v>44973</c:v>
                </c:pt>
                <c:pt idx="2148">
                  <c:v>44974</c:v>
                </c:pt>
                <c:pt idx="2149">
                  <c:v>44977</c:v>
                </c:pt>
                <c:pt idx="2150">
                  <c:v>44978</c:v>
                </c:pt>
                <c:pt idx="2151">
                  <c:v>44979</c:v>
                </c:pt>
                <c:pt idx="2152">
                  <c:v>44980</c:v>
                </c:pt>
                <c:pt idx="2153">
                  <c:v>44981</c:v>
                </c:pt>
                <c:pt idx="2154">
                  <c:v>44984</c:v>
                </c:pt>
                <c:pt idx="2155">
                  <c:v>44985</c:v>
                </c:pt>
                <c:pt idx="2156">
                  <c:v>44986</c:v>
                </c:pt>
                <c:pt idx="2157">
                  <c:v>44987</c:v>
                </c:pt>
                <c:pt idx="2158">
                  <c:v>44988</c:v>
                </c:pt>
                <c:pt idx="2159">
                  <c:v>44991</c:v>
                </c:pt>
                <c:pt idx="2160">
                  <c:v>44992</c:v>
                </c:pt>
                <c:pt idx="2161">
                  <c:v>44993</c:v>
                </c:pt>
                <c:pt idx="2162">
                  <c:v>44994</c:v>
                </c:pt>
                <c:pt idx="2163">
                  <c:v>44995</c:v>
                </c:pt>
                <c:pt idx="2164">
                  <c:v>44998</c:v>
                </c:pt>
                <c:pt idx="2165">
                  <c:v>44999</c:v>
                </c:pt>
                <c:pt idx="2166">
                  <c:v>45000</c:v>
                </c:pt>
                <c:pt idx="2167">
                  <c:v>45001</c:v>
                </c:pt>
                <c:pt idx="2168">
                  <c:v>45002</c:v>
                </c:pt>
                <c:pt idx="2169">
                  <c:v>45005</c:v>
                </c:pt>
                <c:pt idx="2170">
                  <c:v>45006</c:v>
                </c:pt>
                <c:pt idx="2171">
                  <c:v>45007</c:v>
                </c:pt>
                <c:pt idx="2172">
                  <c:v>45008</c:v>
                </c:pt>
                <c:pt idx="2173">
                  <c:v>45009</c:v>
                </c:pt>
                <c:pt idx="2174">
                  <c:v>45012</c:v>
                </c:pt>
                <c:pt idx="2175">
                  <c:v>45013</c:v>
                </c:pt>
                <c:pt idx="2176">
                  <c:v>45014</c:v>
                </c:pt>
                <c:pt idx="2177">
                  <c:v>45015</c:v>
                </c:pt>
                <c:pt idx="2178">
                  <c:v>45016</c:v>
                </c:pt>
                <c:pt idx="2179">
                  <c:v>45019</c:v>
                </c:pt>
                <c:pt idx="2180">
                  <c:v>45020</c:v>
                </c:pt>
                <c:pt idx="2181">
                  <c:v>45021</c:v>
                </c:pt>
                <c:pt idx="2182">
                  <c:v>45022</c:v>
                </c:pt>
                <c:pt idx="2183">
                  <c:v>45023</c:v>
                </c:pt>
                <c:pt idx="2184">
                  <c:v>45026</c:v>
                </c:pt>
                <c:pt idx="2185">
                  <c:v>45027</c:v>
                </c:pt>
                <c:pt idx="2186">
                  <c:v>45028</c:v>
                </c:pt>
                <c:pt idx="2187">
                  <c:v>45029</c:v>
                </c:pt>
                <c:pt idx="2188">
                  <c:v>45030</c:v>
                </c:pt>
                <c:pt idx="2189">
                  <c:v>45033</c:v>
                </c:pt>
                <c:pt idx="2190">
                  <c:v>45034</c:v>
                </c:pt>
                <c:pt idx="2191">
                  <c:v>45035</c:v>
                </c:pt>
                <c:pt idx="2192">
                  <c:v>45036</c:v>
                </c:pt>
                <c:pt idx="2193">
                  <c:v>45037</c:v>
                </c:pt>
                <c:pt idx="2194">
                  <c:v>45040</c:v>
                </c:pt>
                <c:pt idx="2195">
                  <c:v>45041</c:v>
                </c:pt>
                <c:pt idx="2196">
                  <c:v>45042</c:v>
                </c:pt>
                <c:pt idx="2197">
                  <c:v>45043</c:v>
                </c:pt>
                <c:pt idx="2198">
                  <c:v>45044</c:v>
                </c:pt>
                <c:pt idx="2199">
                  <c:v>45047</c:v>
                </c:pt>
                <c:pt idx="2200">
                  <c:v>45048</c:v>
                </c:pt>
                <c:pt idx="2201">
                  <c:v>45049</c:v>
                </c:pt>
                <c:pt idx="2202">
                  <c:v>45050</c:v>
                </c:pt>
                <c:pt idx="2203">
                  <c:v>45051</c:v>
                </c:pt>
                <c:pt idx="2204">
                  <c:v>45054</c:v>
                </c:pt>
                <c:pt idx="2205">
                  <c:v>45055</c:v>
                </c:pt>
                <c:pt idx="2206">
                  <c:v>45056</c:v>
                </c:pt>
                <c:pt idx="2207">
                  <c:v>45057</c:v>
                </c:pt>
                <c:pt idx="2208">
                  <c:v>45058</c:v>
                </c:pt>
                <c:pt idx="2209">
                  <c:v>45061</c:v>
                </c:pt>
                <c:pt idx="2210">
                  <c:v>45062</c:v>
                </c:pt>
                <c:pt idx="2211">
                  <c:v>45063</c:v>
                </c:pt>
                <c:pt idx="2212">
                  <c:v>45064</c:v>
                </c:pt>
                <c:pt idx="2213">
                  <c:v>45065</c:v>
                </c:pt>
                <c:pt idx="2214">
                  <c:v>45068</c:v>
                </c:pt>
                <c:pt idx="2215">
                  <c:v>45069</c:v>
                </c:pt>
                <c:pt idx="2216">
                  <c:v>45070</c:v>
                </c:pt>
                <c:pt idx="2217">
                  <c:v>45071</c:v>
                </c:pt>
                <c:pt idx="2218">
                  <c:v>45072</c:v>
                </c:pt>
                <c:pt idx="2219">
                  <c:v>45075</c:v>
                </c:pt>
                <c:pt idx="2220">
                  <c:v>45076</c:v>
                </c:pt>
                <c:pt idx="2221">
                  <c:v>45077</c:v>
                </c:pt>
                <c:pt idx="2222">
                  <c:v>45078</c:v>
                </c:pt>
                <c:pt idx="2223">
                  <c:v>45079</c:v>
                </c:pt>
                <c:pt idx="2224">
                  <c:v>45082</c:v>
                </c:pt>
                <c:pt idx="2225">
                  <c:v>45083</c:v>
                </c:pt>
                <c:pt idx="2226">
                  <c:v>45084</c:v>
                </c:pt>
                <c:pt idx="2227">
                  <c:v>45085</c:v>
                </c:pt>
                <c:pt idx="2228">
                  <c:v>45086</c:v>
                </c:pt>
                <c:pt idx="2229">
                  <c:v>45089</c:v>
                </c:pt>
                <c:pt idx="2230">
                  <c:v>45090</c:v>
                </c:pt>
                <c:pt idx="2231">
                  <c:v>45091</c:v>
                </c:pt>
                <c:pt idx="2232">
                  <c:v>45092</c:v>
                </c:pt>
                <c:pt idx="2233">
                  <c:v>45093</c:v>
                </c:pt>
                <c:pt idx="2234">
                  <c:v>45096</c:v>
                </c:pt>
                <c:pt idx="2235">
                  <c:v>45097</c:v>
                </c:pt>
                <c:pt idx="2236">
                  <c:v>45098</c:v>
                </c:pt>
                <c:pt idx="2237">
                  <c:v>45099</c:v>
                </c:pt>
                <c:pt idx="2238">
                  <c:v>45100</c:v>
                </c:pt>
                <c:pt idx="2239">
                  <c:v>45103</c:v>
                </c:pt>
                <c:pt idx="2240">
                  <c:v>45104</c:v>
                </c:pt>
                <c:pt idx="2241">
                  <c:v>45105</c:v>
                </c:pt>
                <c:pt idx="2242">
                  <c:v>45106</c:v>
                </c:pt>
                <c:pt idx="2243">
                  <c:v>45107</c:v>
                </c:pt>
                <c:pt idx="2244">
                  <c:v>45110</c:v>
                </c:pt>
                <c:pt idx="2245">
                  <c:v>45111</c:v>
                </c:pt>
                <c:pt idx="2246">
                  <c:v>45112</c:v>
                </c:pt>
                <c:pt idx="2247">
                  <c:v>45113</c:v>
                </c:pt>
                <c:pt idx="2248">
                  <c:v>45114</c:v>
                </c:pt>
                <c:pt idx="2249">
                  <c:v>45117</c:v>
                </c:pt>
                <c:pt idx="2250">
                  <c:v>45118</c:v>
                </c:pt>
                <c:pt idx="2251">
                  <c:v>45119</c:v>
                </c:pt>
                <c:pt idx="2252">
                  <c:v>45120</c:v>
                </c:pt>
                <c:pt idx="2253">
                  <c:v>45121</c:v>
                </c:pt>
                <c:pt idx="2254">
                  <c:v>45124</c:v>
                </c:pt>
                <c:pt idx="2255">
                  <c:v>45125</c:v>
                </c:pt>
                <c:pt idx="2256">
                  <c:v>45126</c:v>
                </c:pt>
                <c:pt idx="2257">
                  <c:v>45127</c:v>
                </c:pt>
                <c:pt idx="2258">
                  <c:v>45128</c:v>
                </c:pt>
                <c:pt idx="2259">
                  <c:v>45131</c:v>
                </c:pt>
                <c:pt idx="2260">
                  <c:v>45132</c:v>
                </c:pt>
                <c:pt idx="2261">
                  <c:v>45133</c:v>
                </c:pt>
                <c:pt idx="2262">
                  <c:v>45134</c:v>
                </c:pt>
                <c:pt idx="2263">
                  <c:v>45135</c:v>
                </c:pt>
                <c:pt idx="2264">
                  <c:v>45138</c:v>
                </c:pt>
                <c:pt idx="2265">
                  <c:v>45139</c:v>
                </c:pt>
                <c:pt idx="2266">
                  <c:v>45140</c:v>
                </c:pt>
                <c:pt idx="2267">
                  <c:v>45141</c:v>
                </c:pt>
                <c:pt idx="2268">
                  <c:v>45142</c:v>
                </c:pt>
                <c:pt idx="2269">
                  <c:v>45145</c:v>
                </c:pt>
                <c:pt idx="2270">
                  <c:v>45146</c:v>
                </c:pt>
                <c:pt idx="2271">
                  <c:v>45147</c:v>
                </c:pt>
                <c:pt idx="2272">
                  <c:v>45148</c:v>
                </c:pt>
                <c:pt idx="2273">
                  <c:v>45149</c:v>
                </c:pt>
                <c:pt idx="2274">
                  <c:v>45152</c:v>
                </c:pt>
                <c:pt idx="2275">
                  <c:v>45153</c:v>
                </c:pt>
                <c:pt idx="2276">
                  <c:v>45154</c:v>
                </c:pt>
                <c:pt idx="2277">
                  <c:v>45155</c:v>
                </c:pt>
                <c:pt idx="2278">
                  <c:v>45156</c:v>
                </c:pt>
                <c:pt idx="2279">
                  <c:v>45159</c:v>
                </c:pt>
                <c:pt idx="2280">
                  <c:v>45160</c:v>
                </c:pt>
                <c:pt idx="2281">
                  <c:v>45161</c:v>
                </c:pt>
                <c:pt idx="2282">
                  <c:v>45162</c:v>
                </c:pt>
                <c:pt idx="2283">
                  <c:v>45163</c:v>
                </c:pt>
                <c:pt idx="2284">
                  <c:v>45166</c:v>
                </c:pt>
                <c:pt idx="2285">
                  <c:v>45167</c:v>
                </c:pt>
                <c:pt idx="2286">
                  <c:v>45168</c:v>
                </c:pt>
                <c:pt idx="2287">
                  <c:v>45169</c:v>
                </c:pt>
                <c:pt idx="2288">
                  <c:v>45170</c:v>
                </c:pt>
                <c:pt idx="2289">
                  <c:v>45173</c:v>
                </c:pt>
                <c:pt idx="2290">
                  <c:v>45174</c:v>
                </c:pt>
                <c:pt idx="2291">
                  <c:v>45175</c:v>
                </c:pt>
                <c:pt idx="2292">
                  <c:v>45176</c:v>
                </c:pt>
                <c:pt idx="2293">
                  <c:v>45177</c:v>
                </c:pt>
                <c:pt idx="2294">
                  <c:v>45180</c:v>
                </c:pt>
                <c:pt idx="2295">
                  <c:v>45181</c:v>
                </c:pt>
                <c:pt idx="2296">
                  <c:v>45182</c:v>
                </c:pt>
                <c:pt idx="2297">
                  <c:v>45183</c:v>
                </c:pt>
                <c:pt idx="2298">
                  <c:v>45184</c:v>
                </c:pt>
                <c:pt idx="2299">
                  <c:v>45187</c:v>
                </c:pt>
                <c:pt idx="2300">
                  <c:v>45188</c:v>
                </c:pt>
                <c:pt idx="2301">
                  <c:v>45189</c:v>
                </c:pt>
                <c:pt idx="2302">
                  <c:v>45190</c:v>
                </c:pt>
                <c:pt idx="2303">
                  <c:v>45191</c:v>
                </c:pt>
                <c:pt idx="2304">
                  <c:v>45194</c:v>
                </c:pt>
                <c:pt idx="2305">
                  <c:v>45195</c:v>
                </c:pt>
                <c:pt idx="2306">
                  <c:v>45196</c:v>
                </c:pt>
                <c:pt idx="2307">
                  <c:v>45197</c:v>
                </c:pt>
                <c:pt idx="2308">
                  <c:v>45198</c:v>
                </c:pt>
                <c:pt idx="2309">
                  <c:v>45201</c:v>
                </c:pt>
                <c:pt idx="2310">
                  <c:v>45202</c:v>
                </c:pt>
                <c:pt idx="2311">
                  <c:v>45203</c:v>
                </c:pt>
                <c:pt idx="2312">
                  <c:v>45204</c:v>
                </c:pt>
                <c:pt idx="2313">
                  <c:v>45205</c:v>
                </c:pt>
                <c:pt idx="2314">
                  <c:v>45208</c:v>
                </c:pt>
                <c:pt idx="2315">
                  <c:v>45209</c:v>
                </c:pt>
                <c:pt idx="2316">
                  <c:v>45210</c:v>
                </c:pt>
                <c:pt idx="2317">
                  <c:v>45211</c:v>
                </c:pt>
                <c:pt idx="2318">
                  <c:v>45212</c:v>
                </c:pt>
                <c:pt idx="2319">
                  <c:v>45215</c:v>
                </c:pt>
                <c:pt idx="2320">
                  <c:v>45216</c:v>
                </c:pt>
                <c:pt idx="2321">
                  <c:v>45217</c:v>
                </c:pt>
                <c:pt idx="2322">
                  <c:v>45218</c:v>
                </c:pt>
                <c:pt idx="2323">
                  <c:v>45219</c:v>
                </c:pt>
                <c:pt idx="2324">
                  <c:v>45222</c:v>
                </c:pt>
                <c:pt idx="2325">
                  <c:v>45223</c:v>
                </c:pt>
                <c:pt idx="2326">
                  <c:v>45224</c:v>
                </c:pt>
                <c:pt idx="2327">
                  <c:v>45225</c:v>
                </c:pt>
                <c:pt idx="2328">
                  <c:v>45226</c:v>
                </c:pt>
                <c:pt idx="2329">
                  <c:v>45229</c:v>
                </c:pt>
                <c:pt idx="2330">
                  <c:v>45230</c:v>
                </c:pt>
                <c:pt idx="2331">
                  <c:v>45231</c:v>
                </c:pt>
                <c:pt idx="2332">
                  <c:v>45232</c:v>
                </c:pt>
                <c:pt idx="2333">
                  <c:v>45233</c:v>
                </c:pt>
                <c:pt idx="2334">
                  <c:v>45236</c:v>
                </c:pt>
                <c:pt idx="2335">
                  <c:v>45237</c:v>
                </c:pt>
                <c:pt idx="2336">
                  <c:v>45238</c:v>
                </c:pt>
                <c:pt idx="2337">
                  <c:v>45239</c:v>
                </c:pt>
                <c:pt idx="2338">
                  <c:v>45240</c:v>
                </c:pt>
                <c:pt idx="2339">
                  <c:v>45243</c:v>
                </c:pt>
                <c:pt idx="2340">
                  <c:v>45244</c:v>
                </c:pt>
                <c:pt idx="2341">
                  <c:v>45245</c:v>
                </c:pt>
                <c:pt idx="2342">
                  <c:v>45246</c:v>
                </c:pt>
                <c:pt idx="2343">
                  <c:v>45247</c:v>
                </c:pt>
                <c:pt idx="2344">
                  <c:v>45250</c:v>
                </c:pt>
                <c:pt idx="2345">
                  <c:v>45251</c:v>
                </c:pt>
                <c:pt idx="2346">
                  <c:v>45252</c:v>
                </c:pt>
                <c:pt idx="2347">
                  <c:v>45253</c:v>
                </c:pt>
                <c:pt idx="2348">
                  <c:v>45254</c:v>
                </c:pt>
                <c:pt idx="2349">
                  <c:v>45257</c:v>
                </c:pt>
                <c:pt idx="2350">
                  <c:v>45258</c:v>
                </c:pt>
                <c:pt idx="2351">
                  <c:v>45259</c:v>
                </c:pt>
                <c:pt idx="2352">
                  <c:v>45260</c:v>
                </c:pt>
                <c:pt idx="2353">
                  <c:v>45261</c:v>
                </c:pt>
                <c:pt idx="2354">
                  <c:v>45264</c:v>
                </c:pt>
                <c:pt idx="2355">
                  <c:v>45265</c:v>
                </c:pt>
                <c:pt idx="2356">
                  <c:v>45266</c:v>
                </c:pt>
                <c:pt idx="2357">
                  <c:v>45267</c:v>
                </c:pt>
                <c:pt idx="2358">
                  <c:v>45268</c:v>
                </c:pt>
                <c:pt idx="2359">
                  <c:v>45271</c:v>
                </c:pt>
                <c:pt idx="2360">
                  <c:v>45272</c:v>
                </c:pt>
                <c:pt idx="2361">
                  <c:v>45273</c:v>
                </c:pt>
                <c:pt idx="2362">
                  <c:v>45274</c:v>
                </c:pt>
                <c:pt idx="2363">
                  <c:v>45275</c:v>
                </c:pt>
                <c:pt idx="2364">
                  <c:v>45278</c:v>
                </c:pt>
                <c:pt idx="2365">
                  <c:v>45279</c:v>
                </c:pt>
                <c:pt idx="2366">
                  <c:v>45280</c:v>
                </c:pt>
                <c:pt idx="2367">
                  <c:v>45281</c:v>
                </c:pt>
                <c:pt idx="2368">
                  <c:v>45282</c:v>
                </c:pt>
                <c:pt idx="2369">
                  <c:v>45285</c:v>
                </c:pt>
                <c:pt idx="2370">
                  <c:v>45286</c:v>
                </c:pt>
                <c:pt idx="2371">
                  <c:v>45287</c:v>
                </c:pt>
                <c:pt idx="2372">
                  <c:v>45288</c:v>
                </c:pt>
                <c:pt idx="2373">
                  <c:v>45289</c:v>
                </c:pt>
                <c:pt idx="2374">
                  <c:v>45292</c:v>
                </c:pt>
                <c:pt idx="2375">
                  <c:v>45293</c:v>
                </c:pt>
                <c:pt idx="2376">
                  <c:v>45294</c:v>
                </c:pt>
                <c:pt idx="2377">
                  <c:v>45295</c:v>
                </c:pt>
                <c:pt idx="2378">
                  <c:v>45296</c:v>
                </c:pt>
                <c:pt idx="2379">
                  <c:v>45299</c:v>
                </c:pt>
                <c:pt idx="2380">
                  <c:v>45300</c:v>
                </c:pt>
                <c:pt idx="2381">
                  <c:v>45301</c:v>
                </c:pt>
                <c:pt idx="2382">
                  <c:v>45302</c:v>
                </c:pt>
                <c:pt idx="2383">
                  <c:v>45303</c:v>
                </c:pt>
                <c:pt idx="2384">
                  <c:v>45306</c:v>
                </c:pt>
                <c:pt idx="2385">
                  <c:v>45307</c:v>
                </c:pt>
                <c:pt idx="2386">
                  <c:v>45308</c:v>
                </c:pt>
                <c:pt idx="2387">
                  <c:v>45309</c:v>
                </c:pt>
                <c:pt idx="2388">
                  <c:v>45310</c:v>
                </c:pt>
                <c:pt idx="2389">
                  <c:v>45313</c:v>
                </c:pt>
                <c:pt idx="2390">
                  <c:v>45314</c:v>
                </c:pt>
                <c:pt idx="2391">
                  <c:v>45315</c:v>
                </c:pt>
                <c:pt idx="2392">
                  <c:v>45316</c:v>
                </c:pt>
                <c:pt idx="2393">
                  <c:v>45317</c:v>
                </c:pt>
                <c:pt idx="2394">
                  <c:v>45320</c:v>
                </c:pt>
                <c:pt idx="2395">
                  <c:v>45321</c:v>
                </c:pt>
                <c:pt idx="2396">
                  <c:v>45322</c:v>
                </c:pt>
                <c:pt idx="2397">
                  <c:v>45323</c:v>
                </c:pt>
                <c:pt idx="2398">
                  <c:v>45324</c:v>
                </c:pt>
                <c:pt idx="2399">
                  <c:v>45327</c:v>
                </c:pt>
                <c:pt idx="2400">
                  <c:v>45328</c:v>
                </c:pt>
                <c:pt idx="2401">
                  <c:v>45329</c:v>
                </c:pt>
                <c:pt idx="2402">
                  <c:v>45330</c:v>
                </c:pt>
                <c:pt idx="2403">
                  <c:v>45331</c:v>
                </c:pt>
                <c:pt idx="2404">
                  <c:v>45334</c:v>
                </c:pt>
                <c:pt idx="2405">
                  <c:v>45335</c:v>
                </c:pt>
                <c:pt idx="2406">
                  <c:v>45336</c:v>
                </c:pt>
                <c:pt idx="2407">
                  <c:v>45337</c:v>
                </c:pt>
                <c:pt idx="2408">
                  <c:v>45338</c:v>
                </c:pt>
                <c:pt idx="2409">
                  <c:v>45341</c:v>
                </c:pt>
                <c:pt idx="2410">
                  <c:v>45342</c:v>
                </c:pt>
                <c:pt idx="2411">
                  <c:v>45343</c:v>
                </c:pt>
                <c:pt idx="2412">
                  <c:v>45344</c:v>
                </c:pt>
                <c:pt idx="2413">
                  <c:v>45345</c:v>
                </c:pt>
                <c:pt idx="2414">
                  <c:v>45348</c:v>
                </c:pt>
                <c:pt idx="2415">
                  <c:v>45349</c:v>
                </c:pt>
                <c:pt idx="2416">
                  <c:v>45350</c:v>
                </c:pt>
                <c:pt idx="2417">
                  <c:v>45351</c:v>
                </c:pt>
                <c:pt idx="2418">
                  <c:v>45352</c:v>
                </c:pt>
                <c:pt idx="2419">
                  <c:v>45355</c:v>
                </c:pt>
                <c:pt idx="2420">
                  <c:v>45356</c:v>
                </c:pt>
                <c:pt idx="2421">
                  <c:v>45357</c:v>
                </c:pt>
                <c:pt idx="2422">
                  <c:v>45358</c:v>
                </c:pt>
                <c:pt idx="2423">
                  <c:v>45359</c:v>
                </c:pt>
                <c:pt idx="2424">
                  <c:v>45362</c:v>
                </c:pt>
                <c:pt idx="2425">
                  <c:v>45363</c:v>
                </c:pt>
                <c:pt idx="2426">
                  <c:v>45364</c:v>
                </c:pt>
                <c:pt idx="2427">
                  <c:v>45365</c:v>
                </c:pt>
                <c:pt idx="2428">
                  <c:v>45366</c:v>
                </c:pt>
                <c:pt idx="2429">
                  <c:v>45369</c:v>
                </c:pt>
                <c:pt idx="2430">
                  <c:v>45370</c:v>
                </c:pt>
                <c:pt idx="2431">
                  <c:v>45371</c:v>
                </c:pt>
                <c:pt idx="2432">
                  <c:v>45372</c:v>
                </c:pt>
                <c:pt idx="2433">
                  <c:v>45373</c:v>
                </c:pt>
                <c:pt idx="2434">
                  <c:v>45376</c:v>
                </c:pt>
                <c:pt idx="2435">
                  <c:v>45377</c:v>
                </c:pt>
                <c:pt idx="2436">
                  <c:v>45378</c:v>
                </c:pt>
                <c:pt idx="2437">
                  <c:v>45379</c:v>
                </c:pt>
                <c:pt idx="2438">
                  <c:v>45380</c:v>
                </c:pt>
                <c:pt idx="2439">
                  <c:v>45383</c:v>
                </c:pt>
                <c:pt idx="2440">
                  <c:v>45384</c:v>
                </c:pt>
                <c:pt idx="2441">
                  <c:v>45385</c:v>
                </c:pt>
                <c:pt idx="2442">
                  <c:v>45386</c:v>
                </c:pt>
                <c:pt idx="2443">
                  <c:v>45387</c:v>
                </c:pt>
                <c:pt idx="2444">
                  <c:v>45390</c:v>
                </c:pt>
                <c:pt idx="2445">
                  <c:v>45391</c:v>
                </c:pt>
                <c:pt idx="2446">
                  <c:v>45392</c:v>
                </c:pt>
                <c:pt idx="2447">
                  <c:v>45393</c:v>
                </c:pt>
                <c:pt idx="2448">
                  <c:v>45394</c:v>
                </c:pt>
                <c:pt idx="2449">
                  <c:v>45397</c:v>
                </c:pt>
                <c:pt idx="2450">
                  <c:v>45398</c:v>
                </c:pt>
                <c:pt idx="2451">
                  <c:v>45399</c:v>
                </c:pt>
                <c:pt idx="2452">
                  <c:v>45400</c:v>
                </c:pt>
                <c:pt idx="2453">
                  <c:v>45401</c:v>
                </c:pt>
                <c:pt idx="2454">
                  <c:v>45404</c:v>
                </c:pt>
                <c:pt idx="2455">
                  <c:v>45405</c:v>
                </c:pt>
                <c:pt idx="2456">
                  <c:v>45406</c:v>
                </c:pt>
                <c:pt idx="2457">
                  <c:v>45407</c:v>
                </c:pt>
                <c:pt idx="2458">
                  <c:v>45408</c:v>
                </c:pt>
                <c:pt idx="2459">
                  <c:v>45411</c:v>
                </c:pt>
                <c:pt idx="2460">
                  <c:v>45412</c:v>
                </c:pt>
                <c:pt idx="2461">
                  <c:v>45413</c:v>
                </c:pt>
                <c:pt idx="2462">
                  <c:v>45414</c:v>
                </c:pt>
                <c:pt idx="2463">
                  <c:v>45415</c:v>
                </c:pt>
                <c:pt idx="2464">
                  <c:v>45418</c:v>
                </c:pt>
                <c:pt idx="2465">
                  <c:v>45419</c:v>
                </c:pt>
                <c:pt idx="2466">
                  <c:v>45420</c:v>
                </c:pt>
                <c:pt idx="2467">
                  <c:v>45421</c:v>
                </c:pt>
                <c:pt idx="2468">
                  <c:v>45422</c:v>
                </c:pt>
                <c:pt idx="2469">
                  <c:v>45425</c:v>
                </c:pt>
                <c:pt idx="2470">
                  <c:v>45426</c:v>
                </c:pt>
                <c:pt idx="2471">
                  <c:v>45427</c:v>
                </c:pt>
                <c:pt idx="2472">
                  <c:v>45428</c:v>
                </c:pt>
                <c:pt idx="2473">
                  <c:v>45429</c:v>
                </c:pt>
                <c:pt idx="2474">
                  <c:v>45432</c:v>
                </c:pt>
                <c:pt idx="2475">
                  <c:v>45433</c:v>
                </c:pt>
                <c:pt idx="2476">
                  <c:v>45434</c:v>
                </c:pt>
                <c:pt idx="2477">
                  <c:v>45435</c:v>
                </c:pt>
                <c:pt idx="2478">
                  <c:v>45436</c:v>
                </c:pt>
                <c:pt idx="2479">
                  <c:v>45439</c:v>
                </c:pt>
                <c:pt idx="2480">
                  <c:v>45440</c:v>
                </c:pt>
                <c:pt idx="2481">
                  <c:v>45441</c:v>
                </c:pt>
                <c:pt idx="2482">
                  <c:v>45442</c:v>
                </c:pt>
                <c:pt idx="2483">
                  <c:v>45443</c:v>
                </c:pt>
                <c:pt idx="2484">
                  <c:v>45446</c:v>
                </c:pt>
                <c:pt idx="2485">
                  <c:v>45447</c:v>
                </c:pt>
                <c:pt idx="2486">
                  <c:v>45448</c:v>
                </c:pt>
                <c:pt idx="2487">
                  <c:v>45449</c:v>
                </c:pt>
                <c:pt idx="2488">
                  <c:v>45450</c:v>
                </c:pt>
                <c:pt idx="2489">
                  <c:v>45453</c:v>
                </c:pt>
                <c:pt idx="2490">
                  <c:v>45454</c:v>
                </c:pt>
                <c:pt idx="2491">
                  <c:v>45455</c:v>
                </c:pt>
                <c:pt idx="2492">
                  <c:v>45456</c:v>
                </c:pt>
                <c:pt idx="2493">
                  <c:v>45457</c:v>
                </c:pt>
                <c:pt idx="2494">
                  <c:v>45460</c:v>
                </c:pt>
                <c:pt idx="2495">
                  <c:v>45461</c:v>
                </c:pt>
                <c:pt idx="2496">
                  <c:v>45462</c:v>
                </c:pt>
                <c:pt idx="2497">
                  <c:v>45463</c:v>
                </c:pt>
                <c:pt idx="2498">
                  <c:v>45464</c:v>
                </c:pt>
                <c:pt idx="2499">
                  <c:v>45467</c:v>
                </c:pt>
                <c:pt idx="2500">
                  <c:v>45468</c:v>
                </c:pt>
                <c:pt idx="2501">
                  <c:v>45469</c:v>
                </c:pt>
                <c:pt idx="2502">
                  <c:v>45470</c:v>
                </c:pt>
                <c:pt idx="2503">
                  <c:v>45471</c:v>
                </c:pt>
                <c:pt idx="2504">
                  <c:v>45474</c:v>
                </c:pt>
                <c:pt idx="2505">
                  <c:v>45475</c:v>
                </c:pt>
                <c:pt idx="2506">
                  <c:v>45476</c:v>
                </c:pt>
                <c:pt idx="2507">
                  <c:v>45477</c:v>
                </c:pt>
                <c:pt idx="2508">
                  <c:v>45478</c:v>
                </c:pt>
                <c:pt idx="2509">
                  <c:v>45481</c:v>
                </c:pt>
                <c:pt idx="2510">
                  <c:v>45482</c:v>
                </c:pt>
                <c:pt idx="2511">
                  <c:v>45483</c:v>
                </c:pt>
                <c:pt idx="2512">
                  <c:v>45484</c:v>
                </c:pt>
                <c:pt idx="2513">
                  <c:v>45485</c:v>
                </c:pt>
                <c:pt idx="2514">
                  <c:v>45488</c:v>
                </c:pt>
                <c:pt idx="2515">
                  <c:v>45489</c:v>
                </c:pt>
                <c:pt idx="2516">
                  <c:v>45490</c:v>
                </c:pt>
                <c:pt idx="2517">
                  <c:v>45491</c:v>
                </c:pt>
                <c:pt idx="2518">
                  <c:v>45492</c:v>
                </c:pt>
                <c:pt idx="2519">
                  <c:v>45495</c:v>
                </c:pt>
                <c:pt idx="2520">
                  <c:v>45496</c:v>
                </c:pt>
                <c:pt idx="2521">
                  <c:v>45497</c:v>
                </c:pt>
                <c:pt idx="2522">
                  <c:v>45498</c:v>
                </c:pt>
                <c:pt idx="2523">
                  <c:v>45499</c:v>
                </c:pt>
                <c:pt idx="2524">
                  <c:v>45502</c:v>
                </c:pt>
                <c:pt idx="2525">
                  <c:v>45503</c:v>
                </c:pt>
                <c:pt idx="2526">
                  <c:v>45504</c:v>
                </c:pt>
                <c:pt idx="2527">
                  <c:v>45505</c:v>
                </c:pt>
                <c:pt idx="2528">
                  <c:v>45506</c:v>
                </c:pt>
                <c:pt idx="2529">
                  <c:v>45509</c:v>
                </c:pt>
                <c:pt idx="2530">
                  <c:v>45510</c:v>
                </c:pt>
                <c:pt idx="2531">
                  <c:v>45511</c:v>
                </c:pt>
                <c:pt idx="2532">
                  <c:v>45512</c:v>
                </c:pt>
                <c:pt idx="2533">
                  <c:v>45513</c:v>
                </c:pt>
                <c:pt idx="2534">
                  <c:v>45516</c:v>
                </c:pt>
                <c:pt idx="2535">
                  <c:v>45517</c:v>
                </c:pt>
                <c:pt idx="2536">
                  <c:v>45518</c:v>
                </c:pt>
                <c:pt idx="2537">
                  <c:v>45519</c:v>
                </c:pt>
                <c:pt idx="2538">
                  <c:v>45520</c:v>
                </c:pt>
                <c:pt idx="2539">
                  <c:v>45523</c:v>
                </c:pt>
                <c:pt idx="2540">
                  <c:v>45524</c:v>
                </c:pt>
                <c:pt idx="2541">
                  <c:v>45525</c:v>
                </c:pt>
                <c:pt idx="2542">
                  <c:v>45526</c:v>
                </c:pt>
                <c:pt idx="2543">
                  <c:v>45527</c:v>
                </c:pt>
                <c:pt idx="2544">
                  <c:v>45530</c:v>
                </c:pt>
                <c:pt idx="2545">
                  <c:v>45531</c:v>
                </c:pt>
                <c:pt idx="2546">
                  <c:v>45532</c:v>
                </c:pt>
                <c:pt idx="2547">
                  <c:v>45533</c:v>
                </c:pt>
                <c:pt idx="2548">
                  <c:v>45534</c:v>
                </c:pt>
                <c:pt idx="2549">
                  <c:v>45537</c:v>
                </c:pt>
                <c:pt idx="2550">
                  <c:v>45538</c:v>
                </c:pt>
                <c:pt idx="2551">
                  <c:v>45539</c:v>
                </c:pt>
                <c:pt idx="2552">
                  <c:v>45540</c:v>
                </c:pt>
                <c:pt idx="2553">
                  <c:v>45541</c:v>
                </c:pt>
                <c:pt idx="2554">
                  <c:v>45544</c:v>
                </c:pt>
                <c:pt idx="2555">
                  <c:v>45545</c:v>
                </c:pt>
                <c:pt idx="2556">
                  <c:v>45546</c:v>
                </c:pt>
                <c:pt idx="2557">
                  <c:v>45547</c:v>
                </c:pt>
                <c:pt idx="2558">
                  <c:v>45548</c:v>
                </c:pt>
                <c:pt idx="2559">
                  <c:v>45551</c:v>
                </c:pt>
                <c:pt idx="2560">
                  <c:v>45552</c:v>
                </c:pt>
                <c:pt idx="2561">
                  <c:v>45553</c:v>
                </c:pt>
                <c:pt idx="2562">
                  <c:v>45554</c:v>
                </c:pt>
                <c:pt idx="2563">
                  <c:v>45555</c:v>
                </c:pt>
                <c:pt idx="2564">
                  <c:v>45558</c:v>
                </c:pt>
                <c:pt idx="2565">
                  <c:v>45559</c:v>
                </c:pt>
                <c:pt idx="2566">
                  <c:v>45560</c:v>
                </c:pt>
                <c:pt idx="2567">
                  <c:v>45561</c:v>
                </c:pt>
                <c:pt idx="2568">
                  <c:v>45562</c:v>
                </c:pt>
                <c:pt idx="2569">
                  <c:v>45565</c:v>
                </c:pt>
                <c:pt idx="2570">
                  <c:v>45566</c:v>
                </c:pt>
                <c:pt idx="2571">
                  <c:v>45567</c:v>
                </c:pt>
                <c:pt idx="2572">
                  <c:v>45568</c:v>
                </c:pt>
                <c:pt idx="2573">
                  <c:v>45569</c:v>
                </c:pt>
                <c:pt idx="2574">
                  <c:v>45572</c:v>
                </c:pt>
                <c:pt idx="2575">
                  <c:v>45573</c:v>
                </c:pt>
                <c:pt idx="2576">
                  <c:v>45574</c:v>
                </c:pt>
                <c:pt idx="2577">
                  <c:v>45575</c:v>
                </c:pt>
                <c:pt idx="2578">
                  <c:v>45576</c:v>
                </c:pt>
                <c:pt idx="2579">
                  <c:v>45579</c:v>
                </c:pt>
                <c:pt idx="2580">
                  <c:v>45580</c:v>
                </c:pt>
                <c:pt idx="2581">
                  <c:v>45581</c:v>
                </c:pt>
                <c:pt idx="2582">
                  <c:v>45582</c:v>
                </c:pt>
                <c:pt idx="2583">
                  <c:v>45583</c:v>
                </c:pt>
                <c:pt idx="2584">
                  <c:v>45586</c:v>
                </c:pt>
                <c:pt idx="2585">
                  <c:v>45587</c:v>
                </c:pt>
                <c:pt idx="2586">
                  <c:v>45588</c:v>
                </c:pt>
                <c:pt idx="2587">
                  <c:v>45589</c:v>
                </c:pt>
                <c:pt idx="2588">
                  <c:v>45590</c:v>
                </c:pt>
                <c:pt idx="2589">
                  <c:v>45593</c:v>
                </c:pt>
                <c:pt idx="2590">
                  <c:v>45594</c:v>
                </c:pt>
                <c:pt idx="2591">
                  <c:v>45595</c:v>
                </c:pt>
                <c:pt idx="2592">
                  <c:v>45596</c:v>
                </c:pt>
                <c:pt idx="2593">
                  <c:v>45597</c:v>
                </c:pt>
                <c:pt idx="2594">
                  <c:v>45600</c:v>
                </c:pt>
                <c:pt idx="2595">
                  <c:v>45601</c:v>
                </c:pt>
                <c:pt idx="2596">
                  <c:v>45602</c:v>
                </c:pt>
                <c:pt idx="2597">
                  <c:v>45603</c:v>
                </c:pt>
                <c:pt idx="2598">
                  <c:v>45604</c:v>
                </c:pt>
                <c:pt idx="2599">
                  <c:v>45607</c:v>
                </c:pt>
                <c:pt idx="2600">
                  <c:v>45608</c:v>
                </c:pt>
                <c:pt idx="2601">
                  <c:v>45609</c:v>
                </c:pt>
                <c:pt idx="2602">
                  <c:v>45610</c:v>
                </c:pt>
                <c:pt idx="2603">
                  <c:v>45611</c:v>
                </c:pt>
                <c:pt idx="2604">
                  <c:v>45614</c:v>
                </c:pt>
                <c:pt idx="2605">
                  <c:v>45615</c:v>
                </c:pt>
                <c:pt idx="2606">
                  <c:v>45616</c:v>
                </c:pt>
                <c:pt idx="2607">
                  <c:v>45617</c:v>
                </c:pt>
                <c:pt idx="2608">
                  <c:v>45618</c:v>
                </c:pt>
                <c:pt idx="2609">
                  <c:v>45621</c:v>
                </c:pt>
              </c:numCache>
            </c:numRef>
          </c:cat>
          <c:val>
            <c:numRef>
              <c:f>'Sheet1 (3)'!$AH$6:$AH$2615</c:f>
              <c:numCache>
                <c:formatCode>General</c:formatCode>
                <c:ptCount val="2610"/>
                <c:pt idx="0">
                  <c:v>100</c:v>
                </c:pt>
                <c:pt idx="1">
                  <c:v>100.55</c:v>
                </c:pt>
                <c:pt idx="2">
                  <c:v>101.15</c:v>
                </c:pt>
                <c:pt idx="3">
                  <c:v>101.21</c:v>
                </c:pt>
                <c:pt idx="4">
                  <c:v>101.04</c:v>
                </c:pt>
                <c:pt idx="5">
                  <c:v>100.74</c:v>
                </c:pt>
                <c:pt idx="6">
                  <c:v>101.12</c:v>
                </c:pt>
                <c:pt idx="7">
                  <c:v>99.9</c:v>
                </c:pt>
                <c:pt idx="8">
                  <c:v>102.29</c:v>
                </c:pt>
                <c:pt idx="9">
                  <c:v>101.56</c:v>
                </c:pt>
                <c:pt idx="10">
                  <c:v>99.32</c:v>
                </c:pt>
                <c:pt idx="11">
                  <c:v>99.38</c:v>
                </c:pt>
                <c:pt idx="12">
                  <c:v>100.01</c:v>
                </c:pt>
                <c:pt idx="13">
                  <c:v>97.3</c:v>
                </c:pt>
                <c:pt idx="14">
                  <c:v>94.65</c:v>
                </c:pt>
                <c:pt idx="15">
                  <c:v>96.98</c:v>
                </c:pt>
                <c:pt idx="16">
                  <c:v>96.79</c:v>
                </c:pt>
                <c:pt idx="17">
                  <c:v>99.49</c:v>
                </c:pt>
                <c:pt idx="18">
                  <c:v>99.25</c:v>
                </c:pt>
                <c:pt idx="19">
                  <c:v>100.05</c:v>
                </c:pt>
                <c:pt idx="20">
                  <c:v>100.62</c:v>
                </c:pt>
                <c:pt idx="21">
                  <c:v>100.62</c:v>
                </c:pt>
                <c:pt idx="22">
                  <c:v>100.62</c:v>
                </c:pt>
                <c:pt idx="23">
                  <c:v>100.62</c:v>
                </c:pt>
                <c:pt idx="24">
                  <c:v>100.67</c:v>
                </c:pt>
                <c:pt idx="25">
                  <c:v>99.44</c:v>
                </c:pt>
                <c:pt idx="26">
                  <c:v>99.44</c:v>
                </c:pt>
                <c:pt idx="27">
                  <c:v>99.44</c:v>
                </c:pt>
                <c:pt idx="28">
                  <c:v>99.02</c:v>
                </c:pt>
                <c:pt idx="29">
                  <c:v>96.06</c:v>
                </c:pt>
                <c:pt idx="30">
                  <c:v>96.03</c:v>
                </c:pt>
                <c:pt idx="31">
                  <c:v>96.52</c:v>
                </c:pt>
                <c:pt idx="32">
                  <c:v>99.76</c:v>
                </c:pt>
                <c:pt idx="33">
                  <c:v>97.84</c:v>
                </c:pt>
                <c:pt idx="34">
                  <c:v>99.2</c:v>
                </c:pt>
                <c:pt idx="35">
                  <c:v>100.81</c:v>
                </c:pt>
                <c:pt idx="36">
                  <c:v>99.55</c:v>
                </c:pt>
                <c:pt idx="37">
                  <c:v>101.74</c:v>
                </c:pt>
                <c:pt idx="38">
                  <c:v>103.11</c:v>
                </c:pt>
                <c:pt idx="39">
                  <c:v>103.87</c:v>
                </c:pt>
                <c:pt idx="40">
                  <c:v>104.01</c:v>
                </c:pt>
                <c:pt idx="41">
                  <c:v>104.44</c:v>
                </c:pt>
                <c:pt idx="42">
                  <c:v>105.82</c:v>
                </c:pt>
                <c:pt idx="43">
                  <c:v>107.99</c:v>
                </c:pt>
                <c:pt idx="44">
                  <c:v>109.5</c:v>
                </c:pt>
                <c:pt idx="45">
                  <c:v>107.78</c:v>
                </c:pt>
                <c:pt idx="46">
                  <c:v>108.62</c:v>
                </c:pt>
                <c:pt idx="47">
                  <c:v>108.89</c:v>
                </c:pt>
                <c:pt idx="48">
                  <c:v>108.45</c:v>
                </c:pt>
                <c:pt idx="49">
                  <c:v>109.8</c:v>
                </c:pt>
                <c:pt idx="50">
                  <c:v>110.44</c:v>
                </c:pt>
                <c:pt idx="51">
                  <c:v>110.65</c:v>
                </c:pt>
                <c:pt idx="52">
                  <c:v>110.59</c:v>
                </c:pt>
                <c:pt idx="53">
                  <c:v>109.99</c:v>
                </c:pt>
                <c:pt idx="54">
                  <c:v>108.14</c:v>
                </c:pt>
                <c:pt idx="55">
                  <c:v>109.05</c:v>
                </c:pt>
                <c:pt idx="56">
                  <c:v>109.03</c:v>
                </c:pt>
                <c:pt idx="57">
                  <c:v>110.73</c:v>
                </c:pt>
                <c:pt idx="58">
                  <c:v>111.18</c:v>
                </c:pt>
                <c:pt idx="59">
                  <c:v>110.77</c:v>
                </c:pt>
                <c:pt idx="60">
                  <c:v>110.49</c:v>
                </c:pt>
                <c:pt idx="61">
                  <c:v>111.15</c:v>
                </c:pt>
                <c:pt idx="62">
                  <c:v>111.57</c:v>
                </c:pt>
                <c:pt idx="63">
                  <c:v>112.06</c:v>
                </c:pt>
                <c:pt idx="64">
                  <c:v>112.88</c:v>
                </c:pt>
                <c:pt idx="65">
                  <c:v>113.63</c:v>
                </c:pt>
                <c:pt idx="66">
                  <c:v>113.68</c:v>
                </c:pt>
                <c:pt idx="67">
                  <c:v>114.87</c:v>
                </c:pt>
                <c:pt idx="68">
                  <c:v>115.62</c:v>
                </c:pt>
                <c:pt idx="69">
                  <c:v>115.71</c:v>
                </c:pt>
                <c:pt idx="70">
                  <c:v>114.39</c:v>
                </c:pt>
                <c:pt idx="71">
                  <c:v>115.51</c:v>
                </c:pt>
                <c:pt idx="72">
                  <c:v>116.66</c:v>
                </c:pt>
                <c:pt idx="73">
                  <c:v>117.14</c:v>
                </c:pt>
                <c:pt idx="74">
                  <c:v>117.45</c:v>
                </c:pt>
                <c:pt idx="75">
                  <c:v>116.62</c:v>
                </c:pt>
                <c:pt idx="76">
                  <c:v>119.72</c:v>
                </c:pt>
                <c:pt idx="77">
                  <c:v>119.65</c:v>
                </c:pt>
                <c:pt idx="78">
                  <c:v>120.69</c:v>
                </c:pt>
                <c:pt idx="79">
                  <c:v>123.39</c:v>
                </c:pt>
                <c:pt idx="80">
                  <c:v>121.49</c:v>
                </c:pt>
                <c:pt idx="81">
                  <c:v>120.91</c:v>
                </c:pt>
                <c:pt idx="82">
                  <c:v>120.67</c:v>
                </c:pt>
                <c:pt idx="83">
                  <c:v>122.09</c:v>
                </c:pt>
                <c:pt idx="84">
                  <c:v>120.63</c:v>
                </c:pt>
                <c:pt idx="85">
                  <c:v>121.75</c:v>
                </c:pt>
                <c:pt idx="86">
                  <c:v>120.32</c:v>
                </c:pt>
                <c:pt idx="87">
                  <c:v>120.1</c:v>
                </c:pt>
                <c:pt idx="88">
                  <c:v>120.35</c:v>
                </c:pt>
                <c:pt idx="89">
                  <c:v>122.56</c:v>
                </c:pt>
                <c:pt idx="90">
                  <c:v>121.35</c:v>
                </c:pt>
                <c:pt idx="91">
                  <c:v>121.7</c:v>
                </c:pt>
                <c:pt idx="92">
                  <c:v>121.36</c:v>
                </c:pt>
                <c:pt idx="93">
                  <c:v>121.36</c:v>
                </c:pt>
                <c:pt idx="94">
                  <c:v>121.36</c:v>
                </c:pt>
                <c:pt idx="95">
                  <c:v>122.94</c:v>
                </c:pt>
                <c:pt idx="96">
                  <c:v>122.05</c:v>
                </c:pt>
                <c:pt idx="97">
                  <c:v>123.38</c:v>
                </c:pt>
                <c:pt idx="98">
                  <c:v>125.49</c:v>
                </c:pt>
                <c:pt idx="99">
                  <c:v>125.12</c:v>
                </c:pt>
                <c:pt idx="100">
                  <c:v>124</c:v>
                </c:pt>
                <c:pt idx="101">
                  <c:v>124.03</c:v>
                </c:pt>
                <c:pt idx="102">
                  <c:v>121.68</c:v>
                </c:pt>
                <c:pt idx="103">
                  <c:v>118.53</c:v>
                </c:pt>
                <c:pt idx="104">
                  <c:v>120.59</c:v>
                </c:pt>
                <c:pt idx="105">
                  <c:v>121.08</c:v>
                </c:pt>
                <c:pt idx="106">
                  <c:v>120.34</c:v>
                </c:pt>
                <c:pt idx="107">
                  <c:v>118.89</c:v>
                </c:pt>
                <c:pt idx="108">
                  <c:v>119.77</c:v>
                </c:pt>
                <c:pt idx="109">
                  <c:v>122.09</c:v>
                </c:pt>
                <c:pt idx="110">
                  <c:v>119.78</c:v>
                </c:pt>
                <c:pt idx="111">
                  <c:v>115.94</c:v>
                </c:pt>
                <c:pt idx="112">
                  <c:v>116.16</c:v>
                </c:pt>
                <c:pt idx="113">
                  <c:v>116.16</c:v>
                </c:pt>
                <c:pt idx="114">
                  <c:v>117.83</c:v>
                </c:pt>
                <c:pt idx="115">
                  <c:v>114.87</c:v>
                </c:pt>
                <c:pt idx="116">
                  <c:v>115.1</c:v>
                </c:pt>
                <c:pt idx="117">
                  <c:v>115.69</c:v>
                </c:pt>
                <c:pt idx="118">
                  <c:v>118.75</c:v>
                </c:pt>
                <c:pt idx="119">
                  <c:v>118.38</c:v>
                </c:pt>
                <c:pt idx="120">
                  <c:v>116.34</c:v>
                </c:pt>
                <c:pt idx="121">
                  <c:v>115.11</c:v>
                </c:pt>
                <c:pt idx="122">
                  <c:v>117.23</c:v>
                </c:pt>
                <c:pt idx="123">
                  <c:v>116.08</c:v>
                </c:pt>
                <c:pt idx="124">
                  <c:v>117.57</c:v>
                </c:pt>
                <c:pt idx="125">
                  <c:v>120.2</c:v>
                </c:pt>
                <c:pt idx="126">
                  <c:v>120.15</c:v>
                </c:pt>
                <c:pt idx="127">
                  <c:v>120.32</c:v>
                </c:pt>
                <c:pt idx="128">
                  <c:v>119.81</c:v>
                </c:pt>
                <c:pt idx="129">
                  <c:v>119.81</c:v>
                </c:pt>
                <c:pt idx="130">
                  <c:v>117.89</c:v>
                </c:pt>
                <c:pt idx="131">
                  <c:v>119.37</c:v>
                </c:pt>
                <c:pt idx="132">
                  <c:v>118.42</c:v>
                </c:pt>
                <c:pt idx="133">
                  <c:v>115.74</c:v>
                </c:pt>
                <c:pt idx="134">
                  <c:v>115.97</c:v>
                </c:pt>
                <c:pt idx="135">
                  <c:v>114.88</c:v>
                </c:pt>
                <c:pt idx="136">
                  <c:v>115.8</c:v>
                </c:pt>
                <c:pt idx="137">
                  <c:v>115</c:v>
                </c:pt>
                <c:pt idx="138">
                  <c:v>113.55</c:v>
                </c:pt>
                <c:pt idx="139">
                  <c:v>112.21</c:v>
                </c:pt>
                <c:pt idx="140">
                  <c:v>111.56</c:v>
                </c:pt>
                <c:pt idx="141">
                  <c:v>114.24</c:v>
                </c:pt>
                <c:pt idx="142">
                  <c:v>114.92</c:v>
                </c:pt>
                <c:pt idx="143">
                  <c:v>113.54</c:v>
                </c:pt>
                <c:pt idx="144">
                  <c:v>111.4</c:v>
                </c:pt>
                <c:pt idx="145">
                  <c:v>111.99</c:v>
                </c:pt>
                <c:pt idx="146">
                  <c:v>111.33</c:v>
                </c:pt>
                <c:pt idx="147">
                  <c:v>112.57</c:v>
                </c:pt>
                <c:pt idx="148">
                  <c:v>111.95</c:v>
                </c:pt>
                <c:pt idx="149">
                  <c:v>116.22</c:v>
                </c:pt>
                <c:pt idx="150">
                  <c:v>117.05</c:v>
                </c:pt>
                <c:pt idx="151">
                  <c:v>116.33</c:v>
                </c:pt>
                <c:pt idx="152">
                  <c:v>116.35</c:v>
                </c:pt>
                <c:pt idx="153">
                  <c:v>116.54</c:v>
                </c:pt>
                <c:pt idx="154">
                  <c:v>112.39</c:v>
                </c:pt>
                <c:pt idx="155">
                  <c:v>110.99</c:v>
                </c:pt>
                <c:pt idx="156">
                  <c:v>113.38</c:v>
                </c:pt>
                <c:pt idx="157">
                  <c:v>112.56</c:v>
                </c:pt>
                <c:pt idx="158">
                  <c:v>112.14</c:v>
                </c:pt>
                <c:pt idx="159">
                  <c:v>110.44</c:v>
                </c:pt>
                <c:pt idx="160">
                  <c:v>108.27</c:v>
                </c:pt>
                <c:pt idx="161">
                  <c:v>108.99</c:v>
                </c:pt>
                <c:pt idx="162">
                  <c:v>111.51</c:v>
                </c:pt>
                <c:pt idx="163">
                  <c:v>114.75</c:v>
                </c:pt>
                <c:pt idx="164">
                  <c:v>116.46</c:v>
                </c:pt>
                <c:pt idx="165">
                  <c:v>116.79</c:v>
                </c:pt>
                <c:pt idx="166">
                  <c:v>117.02</c:v>
                </c:pt>
                <c:pt idx="167">
                  <c:v>118.82</c:v>
                </c:pt>
                <c:pt idx="168">
                  <c:v>118.38</c:v>
                </c:pt>
                <c:pt idx="169">
                  <c:v>119.01</c:v>
                </c:pt>
                <c:pt idx="170">
                  <c:v>117.68</c:v>
                </c:pt>
                <c:pt idx="171">
                  <c:v>116.83</c:v>
                </c:pt>
                <c:pt idx="172">
                  <c:v>116.74</c:v>
                </c:pt>
                <c:pt idx="173">
                  <c:v>115.07</c:v>
                </c:pt>
                <c:pt idx="174">
                  <c:v>112.12</c:v>
                </c:pt>
                <c:pt idx="175">
                  <c:v>113.31</c:v>
                </c:pt>
                <c:pt idx="176">
                  <c:v>113.7</c:v>
                </c:pt>
                <c:pt idx="177">
                  <c:v>114.16</c:v>
                </c:pt>
                <c:pt idx="178">
                  <c:v>114.68</c:v>
                </c:pt>
                <c:pt idx="179">
                  <c:v>116.05</c:v>
                </c:pt>
                <c:pt idx="180">
                  <c:v>116.17</c:v>
                </c:pt>
                <c:pt idx="181">
                  <c:v>118</c:v>
                </c:pt>
                <c:pt idx="182">
                  <c:v>117.48</c:v>
                </c:pt>
                <c:pt idx="183">
                  <c:v>116.53</c:v>
                </c:pt>
                <c:pt idx="184">
                  <c:v>117.68</c:v>
                </c:pt>
                <c:pt idx="185">
                  <c:v>114.53</c:v>
                </c:pt>
                <c:pt idx="186">
                  <c:v>110.78</c:v>
                </c:pt>
                <c:pt idx="187">
                  <c:v>111.7</c:v>
                </c:pt>
                <c:pt idx="188">
                  <c:v>111.4</c:v>
                </c:pt>
                <c:pt idx="189">
                  <c:v>110.94</c:v>
                </c:pt>
                <c:pt idx="190">
                  <c:v>110.7</c:v>
                </c:pt>
                <c:pt idx="191">
                  <c:v>108.32</c:v>
                </c:pt>
                <c:pt idx="192">
                  <c:v>105.79</c:v>
                </c:pt>
                <c:pt idx="193">
                  <c:v>102.67</c:v>
                </c:pt>
                <c:pt idx="194">
                  <c:v>97.84</c:v>
                </c:pt>
                <c:pt idx="195">
                  <c:v>102.71</c:v>
                </c:pt>
                <c:pt idx="196">
                  <c:v>101.38</c:v>
                </c:pt>
                <c:pt idx="197">
                  <c:v>104.61</c:v>
                </c:pt>
                <c:pt idx="198">
                  <c:v>104.43</c:v>
                </c:pt>
                <c:pt idx="199">
                  <c:v>104.04</c:v>
                </c:pt>
                <c:pt idx="200">
                  <c:v>101.57</c:v>
                </c:pt>
                <c:pt idx="201">
                  <c:v>101.89</c:v>
                </c:pt>
                <c:pt idx="202">
                  <c:v>104.63</c:v>
                </c:pt>
                <c:pt idx="203">
                  <c:v>101.79</c:v>
                </c:pt>
                <c:pt idx="204">
                  <c:v>102.51</c:v>
                </c:pt>
                <c:pt idx="205">
                  <c:v>104.16</c:v>
                </c:pt>
                <c:pt idx="206">
                  <c:v>104.48</c:v>
                </c:pt>
                <c:pt idx="207">
                  <c:v>103.54</c:v>
                </c:pt>
                <c:pt idx="208">
                  <c:v>102.66</c:v>
                </c:pt>
                <c:pt idx="209">
                  <c:v>102.74</c:v>
                </c:pt>
                <c:pt idx="210">
                  <c:v>103.32</c:v>
                </c:pt>
                <c:pt idx="211">
                  <c:v>103.71</c:v>
                </c:pt>
                <c:pt idx="212">
                  <c:v>103.74</c:v>
                </c:pt>
                <c:pt idx="213">
                  <c:v>100.56</c:v>
                </c:pt>
                <c:pt idx="214">
                  <c:v>100.89</c:v>
                </c:pt>
                <c:pt idx="215">
                  <c:v>97.05</c:v>
                </c:pt>
                <c:pt idx="216">
                  <c:v>97.48</c:v>
                </c:pt>
                <c:pt idx="217">
                  <c:v>95.6</c:v>
                </c:pt>
                <c:pt idx="218">
                  <c:v>98.25</c:v>
                </c:pt>
                <c:pt idx="219">
                  <c:v>96.17</c:v>
                </c:pt>
                <c:pt idx="220">
                  <c:v>95.83</c:v>
                </c:pt>
                <c:pt idx="221">
                  <c:v>97.96</c:v>
                </c:pt>
                <c:pt idx="222">
                  <c:v>96.43</c:v>
                </c:pt>
                <c:pt idx="223">
                  <c:v>96.88</c:v>
                </c:pt>
                <c:pt idx="224">
                  <c:v>99.53</c:v>
                </c:pt>
                <c:pt idx="225">
                  <c:v>100.42</c:v>
                </c:pt>
                <c:pt idx="226">
                  <c:v>101.11</c:v>
                </c:pt>
                <c:pt idx="227">
                  <c:v>101.34</c:v>
                </c:pt>
                <c:pt idx="228">
                  <c:v>102.39</c:v>
                </c:pt>
                <c:pt idx="229">
                  <c:v>102.62</c:v>
                </c:pt>
                <c:pt idx="230">
                  <c:v>101.74</c:v>
                </c:pt>
                <c:pt idx="231">
                  <c:v>100.55</c:v>
                </c:pt>
                <c:pt idx="232">
                  <c:v>102.06</c:v>
                </c:pt>
                <c:pt idx="233">
                  <c:v>102.47</c:v>
                </c:pt>
                <c:pt idx="234">
                  <c:v>103.07</c:v>
                </c:pt>
                <c:pt idx="235">
                  <c:v>102.91</c:v>
                </c:pt>
                <c:pt idx="236">
                  <c:v>103.82</c:v>
                </c:pt>
                <c:pt idx="237">
                  <c:v>106.4</c:v>
                </c:pt>
                <c:pt idx="238">
                  <c:v>109.46</c:v>
                </c:pt>
                <c:pt idx="239">
                  <c:v>109.53</c:v>
                </c:pt>
                <c:pt idx="240">
                  <c:v>108.43</c:v>
                </c:pt>
                <c:pt idx="241">
                  <c:v>109.84</c:v>
                </c:pt>
                <c:pt idx="242">
                  <c:v>109.53</c:v>
                </c:pt>
                <c:pt idx="243">
                  <c:v>110.03</c:v>
                </c:pt>
                <c:pt idx="244">
                  <c:v>111.05</c:v>
                </c:pt>
                <c:pt idx="245">
                  <c:v>111.05</c:v>
                </c:pt>
                <c:pt idx="246">
                  <c:v>109.98</c:v>
                </c:pt>
                <c:pt idx="247">
                  <c:v>110.41</c:v>
                </c:pt>
                <c:pt idx="248">
                  <c:v>111.43</c:v>
                </c:pt>
                <c:pt idx="249">
                  <c:v>109.68</c:v>
                </c:pt>
                <c:pt idx="250">
                  <c:v>109.85</c:v>
                </c:pt>
                <c:pt idx="251">
                  <c:v>110.61</c:v>
                </c:pt>
                <c:pt idx="252">
                  <c:v>109.34</c:v>
                </c:pt>
                <c:pt idx="253">
                  <c:v>108.59</c:v>
                </c:pt>
                <c:pt idx="254">
                  <c:v>108.64</c:v>
                </c:pt>
                <c:pt idx="255">
                  <c:v>111.25</c:v>
                </c:pt>
                <c:pt idx="256">
                  <c:v>111.14</c:v>
                </c:pt>
                <c:pt idx="257">
                  <c:v>112.41</c:v>
                </c:pt>
                <c:pt idx="258">
                  <c:v>112.76</c:v>
                </c:pt>
                <c:pt idx="259">
                  <c:v>112.48</c:v>
                </c:pt>
                <c:pt idx="260">
                  <c:v>110.88</c:v>
                </c:pt>
                <c:pt idx="261">
                  <c:v>113.27</c:v>
                </c:pt>
                <c:pt idx="262">
                  <c:v>114.8</c:v>
                </c:pt>
                <c:pt idx="263">
                  <c:v>114.53</c:v>
                </c:pt>
                <c:pt idx="264">
                  <c:v>115.42</c:v>
                </c:pt>
                <c:pt idx="265">
                  <c:v>114.2</c:v>
                </c:pt>
                <c:pt idx="266">
                  <c:v>113.48</c:v>
                </c:pt>
                <c:pt idx="267">
                  <c:v>109.41</c:v>
                </c:pt>
                <c:pt idx="268">
                  <c:v>109.03</c:v>
                </c:pt>
                <c:pt idx="269">
                  <c:v>110.39</c:v>
                </c:pt>
                <c:pt idx="270">
                  <c:v>108.24</c:v>
                </c:pt>
                <c:pt idx="271">
                  <c:v>107.42</c:v>
                </c:pt>
                <c:pt idx="272">
                  <c:v>107.48</c:v>
                </c:pt>
                <c:pt idx="273">
                  <c:v>104.86</c:v>
                </c:pt>
                <c:pt idx="274">
                  <c:v>102.82</c:v>
                </c:pt>
                <c:pt idx="275">
                  <c:v>105.97</c:v>
                </c:pt>
                <c:pt idx="276">
                  <c:v>106.17</c:v>
                </c:pt>
                <c:pt idx="277">
                  <c:v>108.89</c:v>
                </c:pt>
                <c:pt idx="278">
                  <c:v>107.57</c:v>
                </c:pt>
                <c:pt idx="279">
                  <c:v>106.46</c:v>
                </c:pt>
                <c:pt idx="280">
                  <c:v>106.36</c:v>
                </c:pt>
                <c:pt idx="281">
                  <c:v>108.79</c:v>
                </c:pt>
                <c:pt idx="282">
                  <c:v>108.79</c:v>
                </c:pt>
                <c:pt idx="283">
                  <c:v>108.79</c:v>
                </c:pt>
                <c:pt idx="284">
                  <c:v>108.04</c:v>
                </c:pt>
                <c:pt idx="285">
                  <c:v>110.13</c:v>
                </c:pt>
                <c:pt idx="286">
                  <c:v>108.94</c:v>
                </c:pt>
                <c:pt idx="287">
                  <c:v>108.94</c:v>
                </c:pt>
                <c:pt idx="288">
                  <c:v>108.94</c:v>
                </c:pt>
                <c:pt idx="289">
                  <c:v>104.28</c:v>
                </c:pt>
                <c:pt idx="290">
                  <c:v>104.55</c:v>
                </c:pt>
                <c:pt idx="291">
                  <c:v>103.58</c:v>
                </c:pt>
                <c:pt idx="292">
                  <c:v>101.2</c:v>
                </c:pt>
                <c:pt idx="293">
                  <c:v>99.88</c:v>
                </c:pt>
                <c:pt idx="294">
                  <c:v>99.63</c:v>
                </c:pt>
                <c:pt idx="295">
                  <c:v>101.26</c:v>
                </c:pt>
                <c:pt idx="296">
                  <c:v>101.01</c:v>
                </c:pt>
                <c:pt idx="297">
                  <c:v>99.32</c:v>
                </c:pt>
                <c:pt idx="298">
                  <c:v>96.8</c:v>
                </c:pt>
                <c:pt idx="299">
                  <c:v>96.56</c:v>
                </c:pt>
                <c:pt idx="300">
                  <c:v>98</c:v>
                </c:pt>
                <c:pt idx="301">
                  <c:v>95.24</c:v>
                </c:pt>
                <c:pt idx="302">
                  <c:v>97.09</c:v>
                </c:pt>
                <c:pt idx="303">
                  <c:v>99.02</c:v>
                </c:pt>
                <c:pt idx="304">
                  <c:v>98.73</c:v>
                </c:pt>
                <c:pt idx="305">
                  <c:v>99.61</c:v>
                </c:pt>
                <c:pt idx="306">
                  <c:v>100.2</c:v>
                </c:pt>
                <c:pt idx="307">
                  <c:v>97.75</c:v>
                </c:pt>
                <c:pt idx="308">
                  <c:v>99.36</c:v>
                </c:pt>
                <c:pt idx="309">
                  <c:v>98.95</c:v>
                </c:pt>
                <c:pt idx="310">
                  <c:v>97.16</c:v>
                </c:pt>
                <c:pt idx="311">
                  <c:v>95.68</c:v>
                </c:pt>
                <c:pt idx="312">
                  <c:v>95.26</c:v>
                </c:pt>
                <c:pt idx="313">
                  <c:v>94.17</c:v>
                </c:pt>
                <c:pt idx="314">
                  <c:v>91.06</c:v>
                </c:pt>
                <c:pt idx="315">
                  <c:v>90.04</c:v>
                </c:pt>
                <c:pt idx="316">
                  <c:v>91.44</c:v>
                </c:pt>
                <c:pt idx="317">
                  <c:v>88.76</c:v>
                </c:pt>
                <c:pt idx="318">
                  <c:v>90.94</c:v>
                </c:pt>
                <c:pt idx="319">
                  <c:v>93.36</c:v>
                </c:pt>
                <c:pt idx="320">
                  <c:v>92.64</c:v>
                </c:pt>
                <c:pt idx="321">
                  <c:v>95.09</c:v>
                </c:pt>
                <c:pt idx="322">
                  <c:v>95.97</c:v>
                </c:pt>
                <c:pt idx="323">
                  <c:v>95.2</c:v>
                </c:pt>
                <c:pt idx="324">
                  <c:v>97.08</c:v>
                </c:pt>
                <c:pt idx="325">
                  <c:v>95.49</c:v>
                </c:pt>
                <c:pt idx="326">
                  <c:v>92.97</c:v>
                </c:pt>
                <c:pt idx="327">
                  <c:v>94.63</c:v>
                </c:pt>
                <c:pt idx="328">
                  <c:v>96.47</c:v>
                </c:pt>
                <c:pt idx="329">
                  <c:v>96.29</c:v>
                </c:pt>
                <c:pt idx="330">
                  <c:v>98.54</c:v>
                </c:pt>
                <c:pt idx="331">
                  <c:v>99.14</c:v>
                </c:pt>
                <c:pt idx="332">
                  <c:v>98.89</c:v>
                </c:pt>
                <c:pt idx="333">
                  <c:v>99.62</c:v>
                </c:pt>
                <c:pt idx="334">
                  <c:v>99.17</c:v>
                </c:pt>
                <c:pt idx="335">
                  <c:v>98.29</c:v>
                </c:pt>
                <c:pt idx="336">
                  <c:v>98.6</c:v>
                </c:pt>
                <c:pt idx="337">
                  <c:v>96.32</c:v>
                </c:pt>
                <c:pt idx="338">
                  <c:v>99.69</c:v>
                </c:pt>
                <c:pt idx="339">
                  <c:v>101.31</c:v>
                </c:pt>
                <c:pt idx="340">
                  <c:v>100.74</c:v>
                </c:pt>
                <c:pt idx="341">
                  <c:v>101.24</c:v>
                </c:pt>
                <c:pt idx="342">
                  <c:v>100.31</c:v>
                </c:pt>
                <c:pt idx="343">
                  <c:v>100.91</c:v>
                </c:pt>
                <c:pt idx="344">
                  <c:v>100.89</c:v>
                </c:pt>
                <c:pt idx="345">
                  <c:v>101.31</c:v>
                </c:pt>
                <c:pt idx="346">
                  <c:v>101.64</c:v>
                </c:pt>
                <c:pt idx="347">
                  <c:v>99.9</c:v>
                </c:pt>
                <c:pt idx="348">
                  <c:v>99.9</c:v>
                </c:pt>
                <c:pt idx="349">
                  <c:v>99.9</c:v>
                </c:pt>
                <c:pt idx="350">
                  <c:v>100.27</c:v>
                </c:pt>
                <c:pt idx="351">
                  <c:v>101.88</c:v>
                </c:pt>
                <c:pt idx="352">
                  <c:v>101.06</c:v>
                </c:pt>
                <c:pt idx="353">
                  <c:v>99.32</c:v>
                </c:pt>
                <c:pt idx="354">
                  <c:v>99.6</c:v>
                </c:pt>
                <c:pt idx="355">
                  <c:v>96.98</c:v>
                </c:pt>
                <c:pt idx="356">
                  <c:v>97.6</c:v>
                </c:pt>
                <c:pt idx="357">
                  <c:v>96.65</c:v>
                </c:pt>
                <c:pt idx="358">
                  <c:v>97.58</c:v>
                </c:pt>
                <c:pt idx="359">
                  <c:v>98.19</c:v>
                </c:pt>
                <c:pt idx="360">
                  <c:v>98.99</c:v>
                </c:pt>
                <c:pt idx="361">
                  <c:v>101.67</c:v>
                </c:pt>
                <c:pt idx="362">
                  <c:v>102.36</c:v>
                </c:pt>
                <c:pt idx="363">
                  <c:v>101.93</c:v>
                </c:pt>
                <c:pt idx="364">
                  <c:v>102.63</c:v>
                </c:pt>
                <c:pt idx="365">
                  <c:v>104.95</c:v>
                </c:pt>
                <c:pt idx="366">
                  <c:v>105.68</c:v>
                </c:pt>
                <c:pt idx="367">
                  <c:v>105.83</c:v>
                </c:pt>
                <c:pt idx="368">
                  <c:v>105.19</c:v>
                </c:pt>
                <c:pt idx="369">
                  <c:v>104.39</c:v>
                </c:pt>
                <c:pt idx="370">
                  <c:v>104.04</c:v>
                </c:pt>
                <c:pt idx="371">
                  <c:v>104.45</c:v>
                </c:pt>
                <c:pt idx="372">
                  <c:v>104.66</c:v>
                </c:pt>
                <c:pt idx="373">
                  <c:v>101.8</c:v>
                </c:pt>
                <c:pt idx="374">
                  <c:v>102.66</c:v>
                </c:pt>
                <c:pt idx="375">
                  <c:v>100.66</c:v>
                </c:pt>
                <c:pt idx="376">
                  <c:v>99.67</c:v>
                </c:pt>
                <c:pt idx="377">
                  <c:v>99.91</c:v>
                </c:pt>
                <c:pt idx="378">
                  <c:v>100.09</c:v>
                </c:pt>
                <c:pt idx="379">
                  <c:v>101.21</c:v>
                </c:pt>
                <c:pt idx="380">
                  <c:v>101.87</c:v>
                </c:pt>
                <c:pt idx="381">
                  <c:v>101.16</c:v>
                </c:pt>
                <c:pt idx="382">
                  <c:v>100.01</c:v>
                </c:pt>
                <c:pt idx="383">
                  <c:v>100.93</c:v>
                </c:pt>
                <c:pt idx="384">
                  <c:v>100.93</c:v>
                </c:pt>
                <c:pt idx="385">
                  <c:v>100.29</c:v>
                </c:pt>
                <c:pt idx="386">
                  <c:v>100.83</c:v>
                </c:pt>
                <c:pt idx="387">
                  <c:v>99.34</c:v>
                </c:pt>
                <c:pt idx="388">
                  <c:v>100.56</c:v>
                </c:pt>
                <c:pt idx="389">
                  <c:v>99.81</c:v>
                </c:pt>
                <c:pt idx="390">
                  <c:v>101.99</c:v>
                </c:pt>
                <c:pt idx="391">
                  <c:v>103.49</c:v>
                </c:pt>
                <c:pt idx="392">
                  <c:v>104.17</c:v>
                </c:pt>
                <c:pt idx="393">
                  <c:v>104.31</c:v>
                </c:pt>
                <c:pt idx="394">
                  <c:v>104.79</c:v>
                </c:pt>
                <c:pt idx="395">
                  <c:v>104.07</c:v>
                </c:pt>
                <c:pt idx="396">
                  <c:v>103.48</c:v>
                </c:pt>
                <c:pt idx="397">
                  <c:v>103.52</c:v>
                </c:pt>
                <c:pt idx="398">
                  <c:v>102.45</c:v>
                </c:pt>
                <c:pt idx="399">
                  <c:v>102.64</c:v>
                </c:pt>
                <c:pt idx="400">
                  <c:v>104.32</c:v>
                </c:pt>
                <c:pt idx="401">
                  <c:v>103.61</c:v>
                </c:pt>
                <c:pt idx="402">
                  <c:v>102.31</c:v>
                </c:pt>
                <c:pt idx="403">
                  <c:v>99.73</c:v>
                </c:pt>
                <c:pt idx="404">
                  <c:v>97.93</c:v>
                </c:pt>
                <c:pt idx="405">
                  <c:v>96.53</c:v>
                </c:pt>
                <c:pt idx="406">
                  <c:v>97.42</c:v>
                </c:pt>
                <c:pt idx="407">
                  <c:v>96.85</c:v>
                </c:pt>
                <c:pt idx="408">
                  <c:v>97.67</c:v>
                </c:pt>
                <c:pt idx="409">
                  <c:v>101.02</c:v>
                </c:pt>
                <c:pt idx="410">
                  <c:v>101.57</c:v>
                </c:pt>
                <c:pt idx="411">
                  <c:v>102.13</c:v>
                </c:pt>
                <c:pt idx="412">
                  <c:v>104.01</c:v>
                </c:pt>
                <c:pt idx="413">
                  <c:v>96.92</c:v>
                </c:pt>
                <c:pt idx="414">
                  <c:v>93.99</c:v>
                </c:pt>
                <c:pt idx="415">
                  <c:v>95.8</c:v>
                </c:pt>
                <c:pt idx="416">
                  <c:v>97.48</c:v>
                </c:pt>
                <c:pt idx="417">
                  <c:v>98.16</c:v>
                </c:pt>
                <c:pt idx="418">
                  <c:v>99.14</c:v>
                </c:pt>
                <c:pt idx="419">
                  <c:v>98.46</c:v>
                </c:pt>
                <c:pt idx="420">
                  <c:v>96.67</c:v>
                </c:pt>
                <c:pt idx="421">
                  <c:v>95.05</c:v>
                </c:pt>
                <c:pt idx="422">
                  <c:v>95.51</c:v>
                </c:pt>
                <c:pt idx="423">
                  <c:v>97.65</c:v>
                </c:pt>
                <c:pt idx="424">
                  <c:v>99.72</c:v>
                </c:pt>
                <c:pt idx="425">
                  <c:v>101.04</c:v>
                </c:pt>
                <c:pt idx="426">
                  <c:v>100.7</c:v>
                </c:pt>
                <c:pt idx="427">
                  <c:v>102.1</c:v>
                </c:pt>
                <c:pt idx="428">
                  <c:v>102.09</c:v>
                </c:pt>
                <c:pt idx="429">
                  <c:v>102.05</c:v>
                </c:pt>
                <c:pt idx="430">
                  <c:v>101.22</c:v>
                </c:pt>
                <c:pt idx="431">
                  <c:v>102.85</c:v>
                </c:pt>
                <c:pt idx="432">
                  <c:v>102.99</c:v>
                </c:pt>
                <c:pt idx="433">
                  <c:v>102.9</c:v>
                </c:pt>
                <c:pt idx="434">
                  <c:v>103.42</c:v>
                </c:pt>
                <c:pt idx="435">
                  <c:v>103.92</c:v>
                </c:pt>
                <c:pt idx="436">
                  <c:v>104.65</c:v>
                </c:pt>
                <c:pt idx="437">
                  <c:v>104.2</c:v>
                </c:pt>
                <c:pt idx="438">
                  <c:v>104.83</c:v>
                </c:pt>
                <c:pt idx="439">
                  <c:v>104.76</c:v>
                </c:pt>
                <c:pt idx="440">
                  <c:v>102.87</c:v>
                </c:pt>
                <c:pt idx="441">
                  <c:v>103.13</c:v>
                </c:pt>
                <c:pt idx="442">
                  <c:v>103.72</c:v>
                </c:pt>
                <c:pt idx="443">
                  <c:v>105.13</c:v>
                </c:pt>
                <c:pt idx="444">
                  <c:v>105.79</c:v>
                </c:pt>
                <c:pt idx="445">
                  <c:v>108.43</c:v>
                </c:pt>
                <c:pt idx="446">
                  <c:v>108.01</c:v>
                </c:pt>
                <c:pt idx="447">
                  <c:v>108.94</c:v>
                </c:pt>
                <c:pt idx="448">
                  <c:v>108.64</c:v>
                </c:pt>
                <c:pt idx="449">
                  <c:v>108.9</c:v>
                </c:pt>
                <c:pt idx="450">
                  <c:v>108.27</c:v>
                </c:pt>
                <c:pt idx="451">
                  <c:v>106.86</c:v>
                </c:pt>
                <c:pt idx="452">
                  <c:v>107.52</c:v>
                </c:pt>
                <c:pt idx="453">
                  <c:v>106.93</c:v>
                </c:pt>
                <c:pt idx="454">
                  <c:v>106.42</c:v>
                </c:pt>
                <c:pt idx="455">
                  <c:v>107.42</c:v>
                </c:pt>
                <c:pt idx="456">
                  <c:v>107.72</c:v>
                </c:pt>
                <c:pt idx="457">
                  <c:v>106.78</c:v>
                </c:pt>
                <c:pt idx="458">
                  <c:v>107.37</c:v>
                </c:pt>
                <c:pt idx="459">
                  <c:v>106.93</c:v>
                </c:pt>
                <c:pt idx="460">
                  <c:v>108.08</c:v>
                </c:pt>
                <c:pt idx="461">
                  <c:v>107.42</c:v>
                </c:pt>
                <c:pt idx="462">
                  <c:v>106.83</c:v>
                </c:pt>
                <c:pt idx="463">
                  <c:v>108.34</c:v>
                </c:pt>
                <c:pt idx="464">
                  <c:v>108.22</c:v>
                </c:pt>
                <c:pt idx="465">
                  <c:v>108.38</c:v>
                </c:pt>
                <c:pt idx="466">
                  <c:v>109.04</c:v>
                </c:pt>
                <c:pt idx="467">
                  <c:v>108.26</c:v>
                </c:pt>
                <c:pt idx="468">
                  <c:v>107.22</c:v>
                </c:pt>
                <c:pt idx="469">
                  <c:v>105.79</c:v>
                </c:pt>
                <c:pt idx="470">
                  <c:v>105.33</c:v>
                </c:pt>
                <c:pt idx="471">
                  <c:v>105.24</c:v>
                </c:pt>
                <c:pt idx="472">
                  <c:v>105.78</c:v>
                </c:pt>
                <c:pt idx="473">
                  <c:v>104.21</c:v>
                </c:pt>
                <c:pt idx="474">
                  <c:v>105.2</c:v>
                </c:pt>
                <c:pt idx="475">
                  <c:v>105.4</c:v>
                </c:pt>
                <c:pt idx="476">
                  <c:v>105.83</c:v>
                </c:pt>
                <c:pt idx="477">
                  <c:v>108.24</c:v>
                </c:pt>
                <c:pt idx="478">
                  <c:v>107.77</c:v>
                </c:pt>
                <c:pt idx="479">
                  <c:v>105.4</c:v>
                </c:pt>
                <c:pt idx="480">
                  <c:v>105.07</c:v>
                </c:pt>
                <c:pt idx="481">
                  <c:v>105.85</c:v>
                </c:pt>
                <c:pt idx="482">
                  <c:v>105.52</c:v>
                </c:pt>
                <c:pt idx="483">
                  <c:v>106.59</c:v>
                </c:pt>
                <c:pt idx="484">
                  <c:v>106.59</c:v>
                </c:pt>
                <c:pt idx="485">
                  <c:v>107.69</c:v>
                </c:pt>
                <c:pt idx="486">
                  <c:v>107.35</c:v>
                </c:pt>
                <c:pt idx="487">
                  <c:v>107.18</c:v>
                </c:pt>
                <c:pt idx="488">
                  <c:v>106.39</c:v>
                </c:pt>
                <c:pt idx="489">
                  <c:v>107.74</c:v>
                </c:pt>
                <c:pt idx="490">
                  <c:v>107.26</c:v>
                </c:pt>
                <c:pt idx="491">
                  <c:v>106.71</c:v>
                </c:pt>
                <c:pt idx="492">
                  <c:v>105.61</c:v>
                </c:pt>
                <c:pt idx="493">
                  <c:v>107.29</c:v>
                </c:pt>
                <c:pt idx="494">
                  <c:v>106.51</c:v>
                </c:pt>
                <c:pt idx="495">
                  <c:v>107.81</c:v>
                </c:pt>
                <c:pt idx="496">
                  <c:v>107.96</c:v>
                </c:pt>
                <c:pt idx="497">
                  <c:v>108.52</c:v>
                </c:pt>
                <c:pt idx="498">
                  <c:v>108.61</c:v>
                </c:pt>
                <c:pt idx="499">
                  <c:v>109.13</c:v>
                </c:pt>
                <c:pt idx="500">
                  <c:v>109.09</c:v>
                </c:pt>
                <c:pt idx="501">
                  <c:v>108.6</c:v>
                </c:pt>
                <c:pt idx="502">
                  <c:v>108.68</c:v>
                </c:pt>
                <c:pt idx="503">
                  <c:v>108.47</c:v>
                </c:pt>
                <c:pt idx="504">
                  <c:v>108.15</c:v>
                </c:pt>
                <c:pt idx="505">
                  <c:v>106.74</c:v>
                </c:pt>
                <c:pt idx="506">
                  <c:v>105.17</c:v>
                </c:pt>
                <c:pt idx="507">
                  <c:v>104.71</c:v>
                </c:pt>
                <c:pt idx="508">
                  <c:v>104.04</c:v>
                </c:pt>
                <c:pt idx="509">
                  <c:v>106.04</c:v>
                </c:pt>
                <c:pt idx="510">
                  <c:v>106.3</c:v>
                </c:pt>
                <c:pt idx="511">
                  <c:v>107.96</c:v>
                </c:pt>
                <c:pt idx="512">
                  <c:v>107.8</c:v>
                </c:pt>
                <c:pt idx="513">
                  <c:v>108.18</c:v>
                </c:pt>
                <c:pt idx="514">
                  <c:v>108.44</c:v>
                </c:pt>
                <c:pt idx="515">
                  <c:v>108.86</c:v>
                </c:pt>
                <c:pt idx="516">
                  <c:v>108.14</c:v>
                </c:pt>
                <c:pt idx="517">
                  <c:v>108.36</c:v>
                </c:pt>
                <c:pt idx="518">
                  <c:v>108.15</c:v>
                </c:pt>
                <c:pt idx="519">
                  <c:v>108.36</c:v>
                </c:pt>
                <c:pt idx="520">
                  <c:v>108.65</c:v>
                </c:pt>
                <c:pt idx="521">
                  <c:v>108.13</c:v>
                </c:pt>
                <c:pt idx="522">
                  <c:v>108.4</c:v>
                </c:pt>
                <c:pt idx="523">
                  <c:v>108.5</c:v>
                </c:pt>
                <c:pt idx="524">
                  <c:v>107.32</c:v>
                </c:pt>
                <c:pt idx="525">
                  <c:v>107.7</c:v>
                </c:pt>
                <c:pt idx="526">
                  <c:v>107.9</c:v>
                </c:pt>
                <c:pt idx="527">
                  <c:v>106.82</c:v>
                </c:pt>
                <c:pt idx="528">
                  <c:v>106.61</c:v>
                </c:pt>
                <c:pt idx="529">
                  <c:v>108.35</c:v>
                </c:pt>
                <c:pt idx="530">
                  <c:v>109.27</c:v>
                </c:pt>
                <c:pt idx="531">
                  <c:v>111.41</c:v>
                </c:pt>
                <c:pt idx="532">
                  <c:v>113.37</c:v>
                </c:pt>
                <c:pt idx="533">
                  <c:v>113.61</c:v>
                </c:pt>
                <c:pt idx="534">
                  <c:v>113.48</c:v>
                </c:pt>
                <c:pt idx="535">
                  <c:v>114.43</c:v>
                </c:pt>
                <c:pt idx="536">
                  <c:v>114.03</c:v>
                </c:pt>
                <c:pt idx="537">
                  <c:v>115.26</c:v>
                </c:pt>
                <c:pt idx="538">
                  <c:v>115.65</c:v>
                </c:pt>
                <c:pt idx="539">
                  <c:v>115.88</c:v>
                </c:pt>
                <c:pt idx="540">
                  <c:v>116.26</c:v>
                </c:pt>
                <c:pt idx="541">
                  <c:v>116.3</c:v>
                </c:pt>
                <c:pt idx="542">
                  <c:v>116.17</c:v>
                </c:pt>
                <c:pt idx="543">
                  <c:v>116.11</c:v>
                </c:pt>
                <c:pt idx="544">
                  <c:v>116.11</c:v>
                </c:pt>
                <c:pt idx="545">
                  <c:v>116.34</c:v>
                </c:pt>
                <c:pt idx="546">
                  <c:v>116.36</c:v>
                </c:pt>
                <c:pt idx="547">
                  <c:v>116.12</c:v>
                </c:pt>
                <c:pt idx="548">
                  <c:v>116.43</c:v>
                </c:pt>
                <c:pt idx="549">
                  <c:v>117.62</c:v>
                </c:pt>
                <c:pt idx="550">
                  <c:v>117.47</c:v>
                </c:pt>
                <c:pt idx="551">
                  <c:v>117.47</c:v>
                </c:pt>
                <c:pt idx="552">
                  <c:v>117.48</c:v>
                </c:pt>
                <c:pt idx="553">
                  <c:v>117.62</c:v>
                </c:pt>
                <c:pt idx="554">
                  <c:v>117.27</c:v>
                </c:pt>
                <c:pt idx="555">
                  <c:v>117.46</c:v>
                </c:pt>
                <c:pt idx="556">
                  <c:v>118.1</c:v>
                </c:pt>
                <c:pt idx="557">
                  <c:v>116.83</c:v>
                </c:pt>
                <c:pt idx="558">
                  <c:v>117.93</c:v>
                </c:pt>
                <c:pt idx="559">
                  <c:v>117.17</c:v>
                </c:pt>
                <c:pt idx="560">
                  <c:v>117.02</c:v>
                </c:pt>
                <c:pt idx="561">
                  <c:v>117.63</c:v>
                </c:pt>
                <c:pt idx="562">
                  <c:v>117.6</c:v>
                </c:pt>
                <c:pt idx="563">
                  <c:v>117.94</c:v>
                </c:pt>
                <c:pt idx="564">
                  <c:v>117.08</c:v>
                </c:pt>
                <c:pt idx="565">
                  <c:v>117.58</c:v>
                </c:pt>
                <c:pt idx="566">
                  <c:v>119.72</c:v>
                </c:pt>
                <c:pt idx="567">
                  <c:v>120.15</c:v>
                </c:pt>
                <c:pt idx="568">
                  <c:v>119.81</c:v>
                </c:pt>
                <c:pt idx="569">
                  <c:v>118.46</c:v>
                </c:pt>
                <c:pt idx="570">
                  <c:v>116.98</c:v>
                </c:pt>
                <c:pt idx="571">
                  <c:v>118.24</c:v>
                </c:pt>
                <c:pt idx="572">
                  <c:v>117.92</c:v>
                </c:pt>
                <c:pt idx="573">
                  <c:v>118.15</c:v>
                </c:pt>
                <c:pt idx="574">
                  <c:v>116.72</c:v>
                </c:pt>
                <c:pt idx="575">
                  <c:v>117.12</c:v>
                </c:pt>
                <c:pt idx="576">
                  <c:v>117.06</c:v>
                </c:pt>
                <c:pt idx="577">
                  <c:v>118.07</c:v>
                </c:pt>
                <c:pt idx="578">
                  <c:v>118.31</c:v>
                </c:pt>
                <c:pt idx="579">
                  <c:v>119.4</c:v>
                </c:pt>
                <c:pt idx="580">
                  <c:v>119.37</c:v>
                </c:pt>
                <c:pt idx="581">
                  <c:v>119.6</c:v>
                </c:pt>
                <c:pt idx="582">
                  <c:v>119.23</c:v>
                </c:pt>
                <c:pt idx="583">
                  <c:v>119.22</c:v>
                </c:pt>
                <c:pt idx="584">
                  <c:v>119.94</c:v>
                </c:pt>
                <c:pt idx="585">
                  <c:v>121.36</c:v>
                </c:pt>
                <c:pt idx="586">
                  <c:v>121.67</c:v>
                </c:pt>
                <c:pt idx="587">
                  <c:v>121.16</c:v>
                </c:pt>
                <c:pt idx="588">
                  <c:v>119.7</c:v>
                </c:pt>
                <c:pt idx="589">
                  <c:v>119.89</c:v>
                </c:pt>
                <c:pt idx="590">
                  <c:v>120.01</c:v>
                </c:pt>
                <c:pt idx="591">
                  <c:v>122.37</c:v>
                </c:pt>
                <c:pt idx="592">
                  <c:v>122.29</c:v>
                </c:pt>
                <c:pt idx="593">
                  <c:v>121.97</c:v>
                </c:pt>
                <c:pt idx="594">
                  <c:v>121.27</c:v>
                </c:pt>
                <c:pt idx="595">
                  <c:v>121.35</c:v>
                </c:pt>
                <c:pt idx="596">
                  <c:v>121.36</c:v>
                </c:pt>
                <c:pt idx="597">
                  <c:v>121.47</c:v>
                </c:pt>
                <c:pt idx="598">
                  <c:v>121.32</c:v>
                </c:pt>
                <c:pt idx="599">
                  <c:v>121.59</c:v>
                </c:pt>
                <c:pt idx="600">
                  <c:v>121.58</c:v>
                </c:pt>
                <c:pt idx="601">
                  <c:v>121.79</c:v>
                </c:pt>
                <c:pt idx="602">
                  <c:v>122.53</c:v>
                </c:pt>
                <c:pt idx="603">
                  <c:v>122.65</c:v>
                </c:pt>
                <c:pt idx="604">
                  <c:v>122.23</c:v>
                </c:pt>
                <c:pt idx="605">
                  <c:v>121.3</c:v>
                </c:pt>
                <c:pt idx="606">
                  <c:v>120.72</c:v>
                </c:pt>
                <c:pt idx="607">
                  <c:v>122.09</c:v>
                </c:pt>
                <c:pt idx="608">
                  <c:v>122.34</c:v>
                </c:pt>
                <c:pt idx="609">
                  <c:v>121.65</c:v>
                </c:pt>
                <c:pt idx="610">
                  <c:v>123.2</c:v>
                </c:pt>
                <c:pt idx="611">
                  <c:v>123.75</c:v>
                </c:pt>
                <c:pt idx="612">
                  <c:v>124.29</c:v>
                </c:pt>
                <c:pt idx="613">
                  <c:v>124.86</c:v>
                </c:pt>
                <c:pt idx="614">
                  <c:v>124.3</c:v>
                </c:pt>
                <c:pt idx="615">
                  <c:v>124.55</c:v>
                </c:pt>
                <c:pt idx="616">
                  <c:v>123.89</c:v>
                </c:pt>
                <c:pt idx="617">
                  <c:v>124.03</c:v>
                </c:pt>
                <c:pt idx="618">
                  <c:v>123.97</c:v>
                </c:pt>
                <c:pt idx="619">
                  <c:v>123.72</c:v>
                </c:pt>
                <c:pt idx="620">
                  <c:v>123.1</c:v>
                </c:pt>
                <c:pt idx="621">
                  <c:v>123.26</c:v>
                </c:pt>
                <c:pt idx="622">
                  <c:v>122.79</c:v>
                </c:pt>
                <c:pt idx="623">
                  <c:v>122.79</c:v>
                </c:pt>
                <c:pt idx="624">
                  <c:v>122.79</c:v>
                </c:pt>
                <c:pt idx="625">
                  <c:v>121.69</c:v>
                </c:pt>
                <c:pt idx="626">
                  <c:v>121.86</c:v>
                </c:pt>
                <c:pt idx="627">
                  <c:v>121.97</c:v>
                </c:pt>
                <c:pt idx="628">
                  <c:v>122.18</c:v>
                </c:pt>
                <c:pt idx="629">
                  <c:v>126.3</c:v>
                </c:pt>
                <c:pt idx="630">
                  <c:v>126.43</c:v>
                </c:pt>
                <c:pt idx="631">
                  <c:v>126.48</c:v>
                </c:pt>
                <c:pt idx="632">
                  <c:v>126.19</c:v>
                </c:pt>
                <c:pt idx="633">
                  <c:v>126.13</c:v>
                </c:pt>
                <c:pt idx="634">
                  <c:v>126.13</c:v>
                </c:pt>
                <c:pt idx="635">
                  <c:v>126.84</c:v>
                </c:pt>
                <c:pt idx="636">
                  <c:v>127.04</c:v>
                </c:pt>
                <c:pt idx="637">
                  <c:v>128.26</c:v>
                </c:pt>
                <c:pt idx="638">
                  <c:v>128.96</c:v>
                </c:pt>
                <c:pt idx="639">
                  <c:v>128.72999999999999</c:v>
                </c:pt>
                <c:pt idx="640">
                  <c:v>129.29</c:v>
                </c:pt>
                <c:pt idx="641">
                  <c:v>129.37</c:v>
                </c:pt>
                <c:pt idx="642">
                  <c:v>128.9</c:v>
                </c:pt>
                <c:pt idx="643">
                  <c:v>129.5</c:v>
                </c:pt>
                <c:pt idx="644">
                  <c:v>129.87</c:v>
                </c:pt>
                <c:pt idx="645">
                  <c:v>129.85</c:v>
                </c:pt>
                <c:pt idx="646">
                  <c:v>128.09</c:v>
                </c:pt>
                <c:pt idx="647">
                  <c:v>127.67</c:v>
                </c:pt>
                <c:pt idx="648">
                  <c:v>128.16999999999999</c:v>
                </c:pt>
                <c:pt idx="649">
                  <c:v>127.97</c:v>
                </c:pt>
                <c:pt idx="650">
                  <c:v>128.37</c:v>
                </c:pt>
                <c:pt idx="651">
                  <c:v>128.21</c:v>
                </c:pt>
                <c:pt idx="652">
                  <c:v>127.99</c:v>
                </c:pt>
                <c:pt idx="653">
                  <c:v>127.8</c:v>
                </c:pt>
                <c:pt idx="654">
                  <c:v>128.07</c:v>
                </c:pt>
                <c:pt idx="655">
                  <c:v>127.76</c:v>
                </c:pt>
                <c:pt idx="656">
                  <c:v>127.93</c:v>
                </c:pt>
                <c:pt idx="657">
                  <c:v>128.43</c:v>
                </c:pt>
                <c:pt idx="658">
                  <c:v>130.03</c:v>
                </c:pt>
                <c:pt idx="659">
                  <c:v>130.03</c:v>
                </c:pt>
                <c:pt idx="660">
                  <c:v>128.69</c:v>
                </c:pt>
                <c:pt idx="661">
                  <c:v>128.51</c:v>
                </c:pt>
                <c:pt idx="662">
                  <c:v>128.93</c:v>
                </c:pt>
                <c:pt idx="663">
                  <c:v>129.96</c:v>
                </c:pt>
                <c:pt idx="664">
                  <c:v>128.69</c:v>
                </c:pt>
                <c:pt idx="665">
                  <c:v>129.44999999999999</c:v>
                </c:pt>
                <c:pt idx="666">
                  <c:v>129.86000000000001</c:v>
                </c:pt>
                <c:pt idx="667">
                  <c:v>128.69999999999999</c:v>
                </c:pt>
                <c:pt idx="668">
                  <c:v>129.32</c:v>
                </c:pt>
                <c:pt idx="669">
                  <c:v>130.69999999999999</c:v>
                </c:pt>
                <c:pt idx="670">
                  <c:v>129.94999999999999</c:v>
                </c:pt>
                <c:pt idx="671">
                  <c:v>129.54</c:v>
                </c:pt>
                <c:pt idx="672">
                  <c:v>129.74</c:v>
                </c:pt>
                <c:pt idx="673">
                  <c:v>129.13</c:v>
                </c:pt>
                <c:pt idx="674">
                  <c:v>129.51</c:v>
                </c:pt>
                <c:pt idx="675">
                  <c:v>128.49</c:v>
                </c:pt>
                <c:pt idx="676">
                  <c:v>128.25</c:v>
                </c:pt>
                <c:pt idx="677">
                  <c:v>125.91</c:v>
                </c:pt>
                <c:pt idx="678">
                  <c:v>124.99</c:v>
                </c:pt>
                <c:pt idx="679">
                  <c:v>126.51</c:v>
                </c:pt>
                <c:pt idx="680">
                  <c:v>126.12</c:v>
                </c:pt>
                <c:pt idx="681">
                  <c:v>126.29</c:v>
                </c:pt>
                <c:pt idx="682">
                  <c:v>125.56</c:v>
                </c:pt>
                <c:pt idx="683">
                  <c:v>125.63</c:v>
                </c:pt>
                <c:pt idx="684">
                  <c:v>126.21</c:v>
                </c:pt>
                <c:pt idx="685">
                  <c:v>126.12</c:v>
                </c:pt>
                <c:pt idx="686">
                  <c:v>128.04</c:v>
                </c:pt>
                <c:pt idx="687">
                  <c:v>128.19</c:v>
                </c:pt>
                <c:pt idx="688">
                  <c:v>128.1</c:v>
                </c:pt>
                <c:pt idx="689">
                  <c:v>127.64</c:v>
                </c:pt>
                <c:pt idx="690">
                  <c:v>126.05</c:v>
                </c:pt>
                <c:pt idx="691">
                  <c:v>126.27</c:v>
                </c:pt>
                <c:pt idx="692">
                  <c:v>126.22</c:v>
                </c:pt>
                <c:pt idx="693">
                  <c:v>124.12</c:v>
                </c:pt>
                <c:pt idx="694">
                  <c:v>123.81</c:v>
                </c:pt>
                <c:pt idx="695">
                  <c:v>124.37</c:v>
                </c:pt>
                <c:pt idx="696">
                  <c:v>124.78</c:v>
                </c:pt>
                <c:pt idx="697">
                  <c:v>123.84</c:v>
                </c:pt>
                <c:pt idx="698">
                  <c:v>123.34</c:v>
                </c:pt>
                <c:pt idx="699">
                  <c:v>122.89</c:v>
                </c:pt>
                <c:pt idx="700">
                  <c:v>124.24</c:v>
                </c:pt>
                <c:pt idx="701">
                  <c:v>123.53</c:v>
                </c:pt>
                <c:pt idx="702">
                  <c:v>123.26</c:v>
                </c:pt>
                <c:pt idx="703">
                  <c:v>124.71</c:v>
                </c:pt>
                <c:pt idx="704">
                  <c:v>124.3</c:v>
                </c:pt>
                <c:pt idx="705">
                  <c:v>124.65</c:v>
                </c:pt>
                <c:pt idx="706">
                  <c:v>123.25</c:v>
                </c:pt>
                <c:pt idx="707">
                  <c:v>121.83</c:v>
                </c:pt>
                <c:pt idx="708">
                  <c:v>121.83</c:v>
                </c:pt>
                <c:pt idx="709">
                  <c:v>123.36</c:v>
                </c:pt>
                <c:pt idx="710">
                  <c:v>123.48</c:v>
                </c:pt>
                <c:pt idx="711">
                  <c:v>124.36</c:v>
                </c:pt>
                <c:pt idx="712">
                  <c:v>123.75</c:v>
                </c:pt>
                <c:pt idx="713">
                  <c:v>123.36</c:v>
                </c:pt>
                <c:pt idx="714">
                  <c:v>122.36</c:v>
                </c:pt>
                <c:pt idx="715">
                  <c:v>124.01</c:v>
                </c:pt>
                <c:pt idx="716">
                  <c:v>123.46</c:v>
                </c:pt>
                <c:pt idx="717">
                  <c:v>123.52</c:v>
                </c:pt>
                <c:pt idx="718">
                  <c:v>123.39</c:v>
                </c:pt>
                <c:pt idx="719">
                  <c:v>122.94</c:v>
                </c:pt>
                <c:pt idx="720">
                  <c:v>121.14</c:v>
                </c:pt>
                <c:pt idx="721">
                  <c:v>121.71</c:v>
                </c:pt>
                <c:pt idx="722">
                  <c:v>122.26</c:v>
                </c:pt>
                <c:pt idx="723">
                  <c:v>123.14</c:v>
                </c:pt>
                <c:pt idx="724">
                  <c:v>122.73</c:v>
                </c:pt>
                <c:pt idx="725">
                  <c:v>122.94</c:v>
                </c:pt>
                <c:pt idx="726">
                  <c:v>123.86</c:v>
                </c:pt>
                <c:pt idx="727">
                  <c:v>124.7</c:v>
                </c:pt>
                <c:pt idx="728">
                  <c:v>124.77</c:v>
                </c:pt>
                <c:pt idx="729">
                  <c:v>126.51</c:v>
                </c:pt>
                <c:pt idx="730">
                  <c:v>127.01</c:v>
                </c:pt>
                <c:pt idx="731">
                  <c:v>127.3</c:v>
                </c:pt>
                <c:pt idx="732">
                  <c:v>127.17</c:v>
                </c:pt>
                <c:pt idx="733">
                  <c:v>126.95</c:v>
                </c:pt>
                <c:pt idx="734">
                  <c:v>127.36</c:v>
                </c:pt>
                <c:pt idx="735">
                  <c:v>127.39</c:v>
                </c:pt>
                <c:pt idx="736">
                  <c:v>127.46</c:v>
                </c:pt>
                <c:pt idx="737">
                  <c:v>127.77</c:v>
                </c:pt>
                <c:pt idx="738">
                  <c:v>127.7</c:v>
                </c:pt>
                <c:pt idx="739">
                  <c:v>127.72</c:v>
                </c:pt>
                <c:pt idx="740">
                  <c:v>127.83</c:v>
                </c:pt>
                <c:pt idx="741">
                  <c:v>128.36000000000001</c:v>
                </c:pt>
                <c:pt idx="742">
                  <c:v>128.83000000000001</c:v>
                </c:pt>
                <c:pt idx="743">
                  <c:v>130.09</c:v>
                </c:pt>
                <c:pt idx="744">
                  <c:v>130.84</c:v>
                </c:pt>
                <c:pt idx="745">
                  <c:v>130.84</c:v>
                </c:pt>
                <c:pt idx="746">
                  <c:v>131.53</c:v>
                </c:pt>
                <c:pt idx="747">
                  <c:v>131.51</c:v>
                </c:pt>
                <c:pt idx="748">
                  <c:v>131.38</c:v>
                </c:pt>
                <c:pt idx="749">
                  <c:v>131.59</c:v>
                </c:pt>
                <c:pt idx="750">
                  <c:v>131.32</c:v>
                </c:pt>
                <c:pt idx="751">
                  <c:v>131.53</c:v>
                </c:pt>
                <c:pt idx="752">
                  <c:v>131.66</c:v>
                </c:pt>
                <c:pt idx="753">
                  <c:v>131.75</c:v>
                </c:pt>
                <c:pt idx="754">
                  <c:v>131.87</c:v>
                </c:pt>
                <c:pt idx="755">
                  <c:v>131.78</c:v>
                </c:pt>
                <c:pt idx="756">
                  <c:v>132.27000000000001</c:v>
                </c:pt>
                <c:pt idx="757">
                  <c:v>131.72999999999999</c:v>
                </c:pt>
                <c:pt idx="758">
                  <c:v>131.74</c:v>
                </c:pt>
                <c:pt idx="759">
                  <c:v>131.86000000000001</c:v>
                </c:pt>
                <c:pt idx="760">
                  <c:v>131.96</c:v>
                </c:pt>
                <c:pt idx="761">
                  <c:v>131.36000000000001</c:v>
                </c:pt>
                <c:pt idx="762">
                  <c:v>133.18</c:v>
                </c:pt>
                <c:pt idx="763">
                  <c:v>134.04</c:v>
                </c:pt>
                <c:pt idx="764">
                  <c:v>134.16</c:v>
                </c:pt>
                <c:pt idx="765">
                  <c:v>134.16</c:v>
                </c:pt>
                <c:pt idx="766">
                  <c:v>136.55000000000001</c:v>
                </c:pt>
                <c:pt idx="767">
                  <c:v>136.30000000000001</c:v>
                </c:pt>
                <c:pt idx="768">
                  <c:v>136.69</c:v>
                </c:pt>
                <c:pt idx="769">
                  <c:v>136.58000000000001</c:v>
                </c:pt>
                <c:pt idx="770">
                  <c:v>135.68</c:v>
                </c:pt>
                <c:pt idx="771">
                  <c:v>135.71</c:v>
                </c:pt>
                <c:pt idx="772">
                  <c:v>133.68</c:v>
                </c:pt>
                <c:pt idx="773">
                  <c:v>133.12</c:v>
                </c:pt>
                <c:pt idx="774">
                  <c:v>132.58000000000001</c:v>
                </c:pt>
                <c:pt idx="775">
                  <c:v>132.16999999999999</c:v>
                </c:pt>
                <c:pt idx="776">
                  <c:v>131.59</c:v>
                </c:pt>
                <c:pt idx="777">
                  <c:v>132.31</c:v>
                </c:pt>
                <c:pt idx="778">
                  <c:v>131.77000000000001</c:v>
                </c:pt>
                <c:pt idx="779">
                  <c:v>132.41999999999999</c:v>
                </c:pt>
                <c:pt idx="780">
                  <c:v>133.53</c:v>
                </c:pt>
                <c:pt idx="781">
                  <c:v>131.97999999999999</c:v>
                </c:pt>
                <c:pt idx="782">
                  <c:v>131.91999999999999</c:v>
                </c:pt>
                <c:pt idx="783">
                  <c:v>132.44</c:v>
                </c:pt>
                <c:pt idx="784">
                  <c:v>131.83000000000001</c:v>
                </c:pt>
                <c:pt idx="785">
                  <c:v>132.43</c:v>
                </c:pt>
                <c:pt idx="786">
                  <c:v>132.46</c:v>
                </c:pt>
                <c:pt idx="787">
                  <c:v>132.07</c:v>
                </c:pt>
                <c:pt idx="788">
                  <c:v>130.43</c:v>
                </c:pt>
                <c:pt idx="789">
                  <c:v>132.41999999999999</c:v>
                </c:pt>
                <c:pt idx="790">
                  <c:v>132.32</c:v>
                </c:pt>
                <c:pt idx="791">
                  <c:v>131.82</c:v>
                </c:pt>
                <c:pt idx="792">
                  <c:v>132.29</c:v>
                </c:pt>
                <c:pt idx="793">
                  <c:v>133.38999999999999</c:v>
                </c:pt>
                <c:pt idx="794">
                  <c:v>133.08000000000001</c:v>
                </c:pt>
                <c:pt idx="795">
                  <c:v>133.69</c:v>
                </c:pt>
                <c:pt idx="796">
                  <c:v>133.1</c:v>
                </c:pt>
                <c:pt idx="797">
                  <c:v>132.52000000000001</c:v>
                </c:pt>
                <c:pt idx="798">
                  <c:v>132.88</c:v>
                </c:pt>
                <c:pt idx="799">
                  <c:v>135</c:v>
                </c:pt>
                <c:pt idx="800">
                  <c:v>134.02000000000001</c:v>
                </c:pt>
                <c:pt idx="801">
                  <c:v>132.53</c:v>
                </c:pt>
                <c:pt idx="802">
                  <c:v>132.94</c:v>
                </c:pt>
                <c:pt idx="803">
                  <c:v>132.57</c:v>
                </c:pt>
                <c:pt idx="804">
                  <c:v>132.57</c:v>
                </c:pt>
                <c:pt idx="805">
                  <c:v>132.57</c:v>
                </c:pt>
                <c:pt idx="806">
                  <c:v>132.54</c:v>
                </c:pt>
                <c:pt idx="807">
                  <c:v>131.63</c:v>
                </c:pt>
                <c:pt idx="808">
                  <c:v>130.99</c:v>
                </c:pt>
                <c:pt idx="809">
                  <c:v>130.99</c:v>
                </c:pt>
                <c:pt idx="810">
                  <c:v>130.53</c:v>
                </c:pt>
                <c:pt idx="811">
                  <c:v>131.61000000000001</c:v>
                </c:pt>
                <c:pt idx="812">
                  <c:v>133.53</c:v>
                </c:pt>
                <c:pt idx="813">
                  <c:v>135.07</c:v>
                </c:pt>
                <c:pt idx="814">
                  <c:v>135.56</c:v>
                </c:pt>
                <c:pt idx="815">
                  <c:v>135.74</c:v>
                </c:pt>
                <c:pt idx="816">
                  <c:v>134.68</c:v>
                </c:pt>
                <c:pt idx="817">
                  <c:v>133.88999999999999</c:v>
                </c:pt>
                <c:pt idx="818">
                  <c:v>134.31</c:v>
                </c:pt>
                <c:pt idx="819">
                  <c:v>133.86000000000001</c:v>
                </c:pt>
                <c:pt idx="820">
                  <c:v>134.33000000000001</c:v>
                </c:pt>
                <c:pt idx="821">
                  <c:v>133.69999999999999</c:v>
                </c:pt>
                <c:pt idx="822">
                  <c:v>134.68</c:v>
                </c:pt>
                <c:pt idx="823">
                  <c:v>136.24</c:v>
                </c:pt>
                <c:pt idx="824">
                  <c:v>136.53</c:v>
                </c:pt>
                <c:pt idx="825">
                  <c:v>137.5</c:v>
                </c:pt>
                <c:pt idx="826">
                  <c:v>136.04</c:v>
                </c:pt>
                <c:pt idx="827">
                  <c:v>134.86000000000001</c:v>
                </c:pt>
                <c:pt idx="828">
                  <c:v>135.28</c:v>
                </c:pt>
                <c:pt idx="829">
                  <c:v>135.12</c:v>
                </c:pt>
                <c:pt idx="830">
                  <c:v>133.83000000000001</c:v>
                </c:pt>
                <c:pt idx="831">
                  <c:v>133.75</c:v>
                </c:pt>
                <c:pt idx="832">
                  <c:v>131.87</c:v>
                </c:pt>
                <c:pt idx="833">
                  <c:v>129.65</c:v>
                </c:pt>
                <c:pt idx="834">
                  <c:v>128.66</c:v>
                </c:pt>
                <c:pt idx="835">
                  <c:v>125.67</c:v>
                </c:pt>
                <c:pt idx="836">
                  <c:v>127.68</c:v>
                </c:pt>
                <c:pt idx="837">
                  <c:v>124.33</c:v>
                </c:pt>
                <c:pt idx="838">
                  <c:v>122.78</c:v>
                </c:pt>
                <c:pt idx="839">
                  <c:v>124.56</c:v>
                </c:pt>
                <c:pt idx="840">
                  <c:v>123.68</c:v>
                </c:pt>
                <c:pt idx="841">
                  <c:v>125.13</c:v>
                </c:pt>
                <c:pt idx="842">
                  <c:v>125.2</c:v>
                </c:pt>
                <c:pt idx="843">
                  <c:v>126.27</c:v>
                </c:pt>
                <c:pt idx="844">
                  <c:v>125.6</c:v>
                </c:pt>
                <c:pt idx="845">
                  <c:v>126.64</c:v>
                </c:pt>
                <c:pt idx="846">
                  <c:v>126.46</c:v>
                </c:pt>
                <c:pt idx="847">
                  <c:v>126.37</c:v>
                </c:pt>
                <c:pt idx="848">
                  <c:v>126.59</c:v>
                </c:pt>
                <c:pt idx="849">
                  <c:v>127.03</c:v>
                </c:pt>
                <c:pt idx="850">
                  <c:v>126.67</c:v>
                </c:pt>
                <c:pt idx="851">
                  <c:v>126.11</c:v>
                </c:pt>
                <c:pt idx="852">
                  <c:v>123.63</c:v>
                </c:pt>
                <c:pt idx="853">
                  <c:v>120.81</c:v>
                </c:pt>
                <c:pt idx="854">
                  <c:v>122.61</c:v>
                </c:pt>
                <c:pt idx="855">
                  <c:v>122.84</c:v>
                </c:pt>
                <c:pt idx="856">
                  <c:v>124.18</c:v>
                </c:pt>
                <c:pt idx="857">
                  <c:v>125.29</c:v>
                </c:pt>
                <c:pt idx="858">
                  <c:v>125.2</c:v>
                </c:pt>
                <c:pt idx="859">
                  <c:v>125.93</c:v>
                </c:pt>
                <c:pt idx="860">
                  <c:v>123.93</c:v>
                </c:pt>
                <c:pt idx="861">
                  <c:v>124.1</c:v>
                </c:pt>
                <c:pt idx="862">
                  <c:v>125.19</c:v>
                </c:pt>
                <c:pt idx="863">
                  <c:v>125.64</c:v>
                </c:pt>
                <c:pt idx="864">
                  <c:v>123.89</c:v>
                </c:pt>
                <c:pt idx="865">
                  <c:v>124.81</c:v>
                </c:pt>
                <c:pt idx="866">
                  <c:v>124.82</c:v>
                </c:pt>
                <c:pt idx="867">
                  <c:v>122.7</c:v>
                </c:pt>
                <c:pt idx="868">
                  <c:v>120.54</c:v>
                </c:pt>
                <c:pt idx="869">
                  <c:v>119.53</c:v>
                </c:pt>
                <c:pt idx="870">
                  <c:v>121.39</c:v>
                </c:pt>
                <c:pt idx="871">
                  <c:v>121.09</c:v>
                </c:pt>
                <c:pt idx="872">
                  <c:v>122.67</c:v>
                </c:pt>
                <c:pt idx="873">
                  <c:v>122.67</c:v>
                </c:pt>
                <c:pt idx="874">
                  <c:v>122.67</c:v>
                </c:pt>
                <c:pt idx="875">
                  <c:v>121.71</c:v>
                </c:pt>
                <c:pt idx="876">
                  <c:v>121.26</c:v>
                </c:pt>
                <c:pt idx="877">
                  <c:v>124.78</c:v>
                </c:pt>
                <c:pt idx="878">
                  <c:v>124.14</c:v>
                </c:pt>
                <c:pt idx="879">
                  <c:v>124.34</c:v>
                </c:pt>
                <c:pt idx="880">
                  <c:v>125.72</c:v>
                </c:pt>
                <c:pt idx="881">
                  <c:v>124.67</c:v>
                </c:pt>
                <c:pt idx="882">
                  <c:v>125.9</c:v>
                </c:pt>
                <c:pt idx="883">
                  <c:v>126.18</c:v>
                </c:pt>
                <c:pt idx="884">
                  <c:v>125.66</c:v>
                </c:pt>
                <c:pt idx="885">
                  <c:v>127.63</c:v>
                </c:pt>
                <c:pt idx="886">
                  <c:v>127.68</c:v>
                </c:pt>
                <c:pt idx="887">
                  <c:v>127.44</c:v>
                </c:pt>
                <c:pt idx="888">
                  <c:v>127.17</c:v>
                </c:pt>
                <c:pt idx="889">
                  <c:v>127.49</c:v>
                </c:pt>
                <c:pt idx="890">
                  <c:v>127.27</c:v>
                </c:pt>
                <c:pt idx="891">
                  <c:v>125.97</c:v>
                </c:pt>
                <c:pt idx="892">
                  <c:v>126.76</c:v>
                </c:pt>
                <c:pt idx="893">
                  <c:v>127.58</c:v>
                </c:pt>
                <c:pt idx="894">
                  <c:v>127.9</c:v>
                </c:pt>
                <c:pt idx="895">
                  <c:v>127.9</c:v>
                </c:pt>
                <c:pt idx="896">
                  <c:v>129.82</c:v>
                </c:pt>
                <c:pt idx="897">
                  <c:v>128.69</c:v>
                </c:pt>
                <c:pt idx="898">
                  <c:v>130</c:v>
                </c:pt>
                <c:pt idx="899">
                  <c:v>131.30000000000001</c:v>
                </c:pt>
                <c:pt idx="900">
                  <c:v>130.94</c:v>
                </c:pt>
                <c:pt idx="901">
                  <c:v>131.25</c:v>
                </c:pt>
                <c:pt idx="902">
                  <c:v>132.06</c:v>
                </c:pt>
                <c:pt idx="903">
                  <c:v>131.84</c:v>
                </c:pt>
                <c:pt idx="904">
                  <c:v>131.6</c:v>
                </c:pt>
                <c:pt idx="905">
                  <c:v>131.53</c:v>
                </c:pt>
                <c:pt idx="906">
                  <c:v>131.79</c:v>
                </c:pt>
                <c:pt idx="907">
                  <c:v>132.99</c:v>
                </c:pt>
                <c:pt idx="908">
                  <c:v>132.62</c:v>
                </c:pt>
                <c:pt idx="909">
                  <c:v>132.62</c:v>
                </c:pt>
                <c:pt idx="910">
                  <c:v>133.55000000000001</c:v>
                </c:pt>
                <c:pt idx="911">
                  <c:v>131.59</c:v>
                </c:pt>
                <c:pt idx="912">
                  <c:v>130.36000000000001</c:v>
                </c:pt>
                <c:pt idx="913">
                  <c:v>131.19999999999999</c:v>
                </c:pt>
                <c:pt idx="914">
                  <c:v>130.44999999999999</c:v>
                </c:pt>
                <c:pt idx="915">
                  <c:v>128.44999999999999</c:v>
                </c:pt>
                <c:pt idx="916">
                  <c:v>129.63999999999999</c:v>
                </c:pt>
                <c:pt idx="917">
                  <c:v>127.82</c:v>
                </c:pt>
                <c:pt idx="918">
                  <c:v>129.03</c:v>
                </c:pt>
                <c:pt idx="919">
                  <c:v>129.5</c:v>
                </c:pt>
                <c:pt idx="920">
                  <c:v>129.66999999999999</c:v>
                </c:pt>
                <c:pt idx="921">
                  <c:v>130.11000000000001</c:v>
                </c:pt>
                <c:pt idx="922">
                  <c:v>129.91</c:v>
                </c:pt>
                <c:pt idx="923">
                  <c:v>129.46</c:v>
                </c:pt>
                <c:pt idx="924">
                  <c:v>130.24</c:v>
                </c:pt>
                <c:pt idx="925">
                  <c:v>130.22999999999999</c:v>
                </c:pt>
                <c:pt idx="926">
                  <c:v>130.72</c:v>
                </c:pt>
                <c:pt idx="927">
                  <c:v>132.91999999999999</c:v>
                </c:pt>
                <c:pt idx="928">
                  <c:v>131.94</c:v>
                </c:pt>
                <c:pt idx="929">
                  <c:v>130.15</c:v>
                </c:pt>
                <c:pt idx="930">
                  <c:v>128.56</c:v>
                </c:pt>
                <c:pt idx="931">
                  <c:v>128.74</c:v>
                </c:pt>
                <c:pt idx="932">
                  <c:v>126.88</c:v>
                </c:pt>
                <c:pt idx="933">
                  <c:v>127.57</c:v>
                </c:pt>
                <c:pt idx="934">
                  <c:v>124.43</c:v>
                </c:pt>
                <c:pt idx="935">
                  <c:v>124.07</c:v>
                </c:pt>
                <c:pt idx="936">
                  <c:v>125.22</c:v>
                </c:pt>
                <c:pt idx="937">
                  <c:v>123.49</c:v>
                </c:pt>
                <c:pt idx="938">
                  <c:v>124.79</c:v>
                </c:pt>
                <c:pt idx="939">
                  <c:v>124.1</c:v>
                </c:pt>
                <c:pt idx="940">
                  <c:v>125.23</c:v>
                </c:pt>
                <c:pt idx="941">
                  <c:v>124.91</c:v>
                </c:pt>
                <c:pt idx="942">
                  <c:v>126.4</c:v>
                </c:pt>
                <c:pt idx="943">
                  <c:v>126.72</c:v>
                </c:pt>
                <c:pt idx="944">
                  <c:v>127.2</c:v>
                </c:pt>
                <c:pt idx="945">
                  <c:v>127.87</c:v>
                </c:pt>
                <c:pt idx="946">
                  <c:v>125.92</c:v>
                </c:pt>
                <c:pt idx="947">
                  <c:v>126.69</c:v>
                </c:pt>
                <c:pt idx="948">
                  <c:v>127.17</c:v>
                </c:pt>
                <c:pt idx="949">
                  <c:v>127.38</c:v>
                </c:pt>
                <c:pt idx="950">
                  <c:v>128.4</c:v>
                </c:pt>
                <c:pt idx="951">
                  <c:v>129.46</c:v>
                </c:pt>
                <c:pt idx="952">
                  <c:v>128.65</c:v>
                </c:pt>
                <c:pt idx="953">
                  <c:v>127.38</c:v>
                </c:pt>
                <c:pt idx="954">
                  <c:v>127.25</c:v>
                </c:pt>
                <c:pt idx="955">
                  <c:v>128.68</c:v>
                </c:pt>
                <c:pt idx="956">
                  <c:v>127.56</c:v>
                </c:pt>
                <c:pt idx="957">
                  <c:v>129.9</c:v>
                </c:pt>
                <c:pt idx="958">
                  <c:v>130.41</c:v>
                </c:pt>
                <c:pt idx="959">
                  <c:v>129.78</c:v>
                </c:pt>
                <c:pt idx="960">
                  <c:v>129.86000000000001</c:v>
                </c:pt>
                <c:pt idx="961">
                  <c:v>129.16</c:v>
                </c:pt>
                <c:pt idx="962">
                  <c:v>127.23</c:v>
                </c:pt>
                <c:pt idx="963">
                  <c:v>127.93</c:v>
                </c:pt>
                <c:pt idx="964">
                  <c:v>127.76</c:v>
                </c:pt>
                <c:pt idx="965">
                  <c:v>128.26</c:v>
                </c:pt>
                <c:pt idx="966">
                  <c:v>128.11000000000001</c:v>
                </c:pt>
                <c:pt idx="967">
                  <c:v>128.55000000000001</c:v>
                </c:pt>
                <c:pt idx="968">
                  <c:v>125.99</c:v>
                </c:pt>
                <c:pt idx="969">
                  <c:v>125.33</c:v>
                </c:pt>
                <c:pt idx="970">
                  <c:v>125.33</c:v>
                </c:pt>
                <c:pt idx="971">
                  <c:v>123.34</c:v>
                </c:pt>
                <c:pt idx="972">
                  <c:v>124.09</c:v>
                </c:pt>
                <c:pt idx="973">
                  <c:v>123.82</c:v>
                </c:pt>
                <c:pt idx="974">
                  <c:v>125.05</c:v>
                </c:pt>
                <c:pt idx="975">
                  <c:v>125.59</c:v>
                </c:pt>
                <c:pt idx="976">
                  <c:v>125.6</c:v>
                </c:pt>
                <c:pt idx="977">
                  <c:v>125.4</c:v>
                </c:pt>
                <c:pt idx="978">
                  <c:v>125.69</c:v>
                </c:pt>
                <c:pt idx="979">
                  <c:v>127.15</c:v>
                </c:pt>
                <c:pt idx="980">
                  <c:v>127.04</c:v>
                </c:pt>
                <c:pt idx="981">
                  <c:v>127.38</c:v>
                </c:pt>
                <c:pt idx="982">
                  <c:v>126.7</c:v>
                </c:pt>
                <c:pt idx="983">
                  <c:v>125.38</c:v>
                </c:pt>
                <c:pt idx="984">
                  <c:v>125.2</c:v>
                </c:pt>
                <c:pt idx="985">
                  <c:v>123.82</c:v>
                </c:pt>
                <c:pt idx="986">
                  <c:v>122.1</c:v>
                </c:pt>
                <c:pt idx="987">
                  <c:v>121.24</c:v>
                </c:pt>
                <c:pt idx="988">
                  <c:v>121.28</c:v>
                </c:pt>
                <c:pt idx="989">
                  <c:v>121.55</c:v>
                </c:pt>
                <c:pt idx="990">
                  <c:v>121.39</c:v>
                </c:pt>
                <c:pt idx="991">
                  <c:v>122.02</c:v>
                </c:pt>
                <c:pt idx="992">
                  <c:v>122.25</c:v>
                </c:pt>
                <c:pt idx="993">
                  <c:v>122.95</c:v>
                </c:pt>
                <c:pt idx="994">
                  <c:v>122.67</c:v>
                </c:pt>
                <c:pt idx="995">
                  <c:v>123.29</c:v>
                </c:pt>
                <c:pt idx="996">
                  <c:v>123.91</c:v>
                </c:pt>
                <c:pt idx="997">
                  <c:v>125</c:v>
                </c:pt>
                <c:pt idx="998">
                  <c:v>126.06</c:v>
                </c:pt>
                <c:pt idx="999">
                  <c:v>125.25</c:v>
                </c:pt>
                <c:pt idx="1000">
                  <c:v>125.49</c:v>
                </c:pt>
                <c:pt idx="1001">
                  <c:v>125.6</c:v>
                </c:pt>
                <c:pt idx="1002">
                  <c:v>126.11</c:v>
                </c:pt>
                <c:pt idx="1003">
                  <c:v>124.19</c:v>
                </c:pt>
                <c:pt idx="1004">
                  <c:v>125.13</c:v>
                </c:pt>
                <c:pt idx="1005">
                  <c:v>124.61</c:v>
                </c:pt>
                <c:pt idx="1006">
                  <c:v>124.61</c:v>
                </c:pt>
                <c:pt idx="1007">
                  <c:v>124.16</c:v>
                </c:pt>
                <c:pt idx="1008">
                  <c:v>122.82</c:v>
                </c:pt>
                <c:pt idx="1009">
                  <c:v>121.15</c:v>
                </c:pt>
                <c:pt idx="1010">
                  <c:v>121.46</c:v>
                </c:pt>
                <c:pt idx="1011">
                  <c:v>118.77</c:v>
                </c:pt>
                <c:pt idx="1012">
                  <c:v>117.02</c:v>
                </c:pt>
                <c:pt idx="1013">
                  <c:v>116.86</c:v>
                </c:pt>
                <c:pt idx="1014">
                  <c:v>117.78</c:v>
                </c:pt>
                <c:pt idx="1015">
                  <c:v>119.42</c:v>
                </c:pt>
                <c:pt idx="1016">
                  <c:v>118.8</c:v>
                </c:pt>
                <c:pt idx="1017">
                  <c:v>117.52</c:v>
                </c:pt>
                <c:pt idx="1018">
                  <c:v>117.16</c:v>
                </c:pt>
                <c:pt idx="1019">
                  <c:v>116.87</c:v>
                </c:pt>
                <c:pt idx="1020">
                  <c:v>114.33</c:v>
                </c:pt>
                <c:pt idx="1021">
                  <c:v>113.49</c:v>
                </c:pt>
                <c:pt idx="1022">
                  <c:v>114.66</c:v>
                </c:pt>
                <c:pt idx="1023">
                  <c:v>113.58</c:v>
                </c:pt>
                <c:pt idx="1024">
                  <c:v>114.95</c:v>
                </c:pt>
                <c:pt idx="1025">
                  <c:v>114.46</c:v>
                </c:pt>
                <c:pt idx="1026">
                  <c:v>116.09</c:v>
                </c:pt>
                <c:pt idx="1027">
                  <c:v>116.3</c:v>
                </c:pt>
                <c:pt idx="1028">
                  <c:v>116.81</c:v>
                </c:pt>
                <c:pt idx="1029">
                  <c:v>116.57</c:v>
                </c:pt>
                <c:pt idx="1030">
                  <c:v>116.46</c:v>
                </c:pt>
                <c:pt idx="1031">
                  <c:v>117.42</c:v>
                </c:pt>
                <c:pt idx="1032">
                  <c:v>116.9</c:v>
                </c:pt>
                <c:pt idx="1033">
                  <c:v>116.91</c:v>
                </c:pt>
                <c:pt idx="1034">
                  <c:v>114.85</c:v>
                </c:pt>
                <c:pt idx="1035">
                  <c:v>116.34</c:v>
                </c:pt>
                <c:pt idx="1036">
                  <c:v>115.73</c:v>
                </c:pt>
                <c:pt idx="1037">
                  <c:v>115.13</c:v>
                </c:pt>
                <c:pt idx="1038">
                  <c:v>115.01</c:v>
                </c:pt>
                <c:pt idx="1039">
                  <c:v>114.03</c:v>
                </c:pt>
                <c:pt idx="1040">
                  <c:v>112.22</c:v>
                </c:pt>
                <c:pt idx="1041">
                  <c:v>114.02</c:v>
                </c:pt>
                <c:pt idx="1042">
                  <c:v>112.95</c:v>
                </c:pt>
                <c:pt idx="1043">
                  <c:v>113.5</c:v>
                </c:pt>
                <c:pt idx="1044">
                  <c:v>115.15</c:v>
                </c:pt>
                <c:pt idx="1045">
                  <c:v>114.68</c:v>
                </c:pt>
                <c:pt idx="1046">
                  <c:v>114.58</c:v>
                </c:pt>
                <c:pt idx="1047">
                  <c:v>114.57</c:v>
                </c:pt>
                <c:pt idx="1048">
                  <c:v>114.16</c:v>
                </c:pt>
                <c:pt idx="1049">
                  <c:v>116.27</c:v>
                </c:pt>
                <c:pt idx="1050">
                  <c:v>114.95</c:v>
                </c:pt>
                <c:pt idx="1051">
                  <c:v>113.58</c:v>
                </c:pt>
                <c:pt idx="1052">
                  <c:v>109.63</c:v>
                </c:pt>
                <c:pt idx="1053">
                  <c:v>109.4</c:v>
                </c:pt>
                <c:pt idx="1054">
                  <c:v>107.72</c:v>
                </c:pt>
                <c:pt idx="1055">
                  <c:v>109.32</c:v>
                </c:pt>
                <c:pt idx="1056">
                  <c:v>110.83</c:v>
                </c:pt>
                <c:pt idx="1057">
                  <c:v>110.78</c:v>
                </c:pt>
                <c:pt idx="1058">
                  <c:v>110.19</c:v>
                </c:pt>
                <c:pt idx="1059">
                  <c:v>109.24</c:v>
                </c:pt>
                <c:pt idx="1060">
                  <c:v>108.92</c:v>
                </c:pt>
                <c:pt idx="1061">
                  <c:v>109.18</c:v>
                </c:pt>
                <c:pt idx="1062">
                  <c:v>107.6</c:v>
                </c:pt>
                <c:pt idx="1063">
                  <c:v>107.83</c:v>
                </c:pt>
                <c:pt idx="1064">
                  <c:v>107.83</c:v>
                </c:pt>
                <c:pt idx="1065">
                  <c:v>107.83</c:v>
                </c:pt>
                <c:pt idx="1066">
                  <c:v>107.83</c:v>
                </c:pt>
                <c:pt idx="1067">
                  <c:v>105.28</c:v>
                </c:pt>
                <c:pt idx="1068">
                  <c:v>107.08</c:v>
                </c:pt>
                <c:pt idx="1069">
                  <c:v>107.08</c:v>
                </c:pt>
                <c:pt idx="1070">
                  <c:v>107.08</c:v>
                </c:pt>
                <c:pt idx="1071">
                  <c:v>107.29</c:v>
                </c:pt>
                <c:pt idx="1072">
                  <c:v>105.63</c:v>
                </c:pt>
                <c:pt idx="1073">
                  <c:v>109.19</c:v>
                </c:pt>
                <c:pt idx="1074">
                  <c:v>108.99</c:v>
                </c:pt>
                <c:pt idx="1075">
                  <c:v>109.56</c:v>
                </c:pt>
                <c:pt idx="1076">
                  <c:v>110.47</c:v>
                </c:pt>
                <c:pt idx="1077">
                  <c:v>110.75</c:v>
                </c:pt>
                <c:pt idx="1078">
                  <c:v>110.41</c:v>
                </c:pt>
                <c:pt idx="1079">
                  <c:v>110.09</c:v>
                </c:pt>
                <c:pt idx="1080">
                  <c:v>110.45</c:v>
                </c:pt>
                <c:pt idx="1081">
                  <c:v>110.85</c:v>
                </c:pt>
                <c:pt idx="1082">
                  <c:v>110.72</c:v>
                </c:pt>
                <c:pt idx="1083">
                  <c:v>113.63</c:v>
                </c:pt>
                <c:pt idx="1084">
                  <c:v>112.93</c:v>
                </c:pt>
                <c:pt idx="1085">
                  <c:v>112.46</c:v>
                </c:pt>
                <c:pt idx="1086">
                  <c:v>112.27</c:v>
                </c:pt>
                <c:pt idx="1087">
                  <c:v>112.87</c:v>
                </c:pt>
                <c:pt idx="1088">
                  <c:v>114.41</c:v>
                </c:pt>
                <c:pt idx="1089">
                  <c:v>113.68</c:v>
                </c:pt>
                <c:pt idx="1090">
                  <c:v>113.77</c:v>
                </c:pt>
                <c:pt idx="1091">
                  <c:v>113.39</c:v>
                </c:pt>
                <c:pt idx="1092">
                  <c:v>113.3</c:v>
                </c:pt>
                <c:pt idx="1093">
                  <c:v>113.38</c:v>
                </c:pt>
                <c:pt idx="1094">
                  <c:v>113.34</c:v>
                </c:pt>
                <c:pt idx="1095">
                  <c:v>115.28</c:v>
                </c:pt>
                <c:pt idx="1096">
                  <c:v>114.84</c:v>
                </c:pt>
                <c:pt idx="1097">
                  <c:v>111.77</c:v>
                </c:pt>
                <c:pt idx="1098">
                  <c:v>110.6</c:v>
                </c:pt>
                <c:pt idx="1099">
                  <c:v>111.7</c:v>
                </c:pt>
                <c:pt idx="1100">
                  <c:v>112.83</c:v>
                </c:pt>
                <c:pt idx="1101">
                  <c:v>113.24</c:v>
                </c:pt>
                <c:pt idx="1102">
                  <c:v>112.46</c:v>
                </c:pt>
                <c:pt idx="1103">
                  <c:v>114.59</c:v>
                </c:pt>
                <c:pt idx="1104">
                  <c:v>114.58</c:v>
                </c:pt>
                <c:pt idx="1105">
                  <c:v>114.68</c:v>
                </c:pt>
                <c:pt idx="1106">
                  <c:v>115.62</c:v>
                </c:pt>
                <c:pt idx="1107">
                  <c:v>115.84</c:v>
                </c:pt>
                <c:pt idx="1108">
                  <c:v>116.19</c:v>
                </c:pt>
                <c:pt idx="1109">
                  <c:v>116.67</c:v>
                </c:pt>
                <c:pt idx="1110">
                  <c:v>117.03</c:v>
                </c:pt>
                <c:pt idx="1111">
                  <c:v>116.49</c:v>
                </c:pt>
                <c:pt idx="1112">
                  <c:v>116.78</c:v>
                </c:pt>
                <c:pt idx="1113">
                  <c:v>117.65</c:v>
                </c:pt>
                <c:pt idx="1114">
                  <c:v>117.56</c:v>
                </c:pt>
                <c:pt idx="1115">
                  <c:v>117.84</c:v>
                </c:pt>
                <c:pt idx="1116">
                  <c:v>117.51</c:v>
                </c:pt>
                <c:pt idx="1117">
                  <c:v>116.8</c:v>
                </c:pt>
                <c:pt idx="1118">
                  <c:v>116.19</c:v>
                </c:pt>
                <c:pt idx="1119">
                  <c:v>117.06</c:v>
                </c:pt>
                <c:pt idx="1120">
                  <c:v>116.86</c:v>
                </c:pt>
                <c:pt idx="1121">
                  <c:v>117.35</c:v>
                </c:pt>
                <c:pt idx="1122">
                  <c:v>117.51</c:v>
                </c:pt>
                <c:pt idx="1123">
                  <c:v>118.5</c:v>
                </c:pt>
                <c:pt idx="1124">
                  <c:v>118.21</c:v>
                </c:pt>
                <c:pt idx="1125">
                  <c:v>119.54</c:v>
                </c:pt>
                <c:pt idx="1126">
                  <c:v>117.67</c:v>
                </c:pt>
                <c:pt idx="1127">
                  <c:v>117.13</c:v>
                </c:pt>
                <c:pt idx="1128">
                  <c:v>115.24</c:v>
                </c:pt>
                <c:pt idx="1129">
                  <c:v>115.06</c:v>
                </c:pt>
                <c:pt idx="1130">
                  <c:v>115.8</c:v>
                </c:pt>
                <c:pt idx="1131">
                  <c:v>115.8</c:v>
                </c:pt>
                <c:pt idx="1132">
                  <c:v>115.89</c:v>
                </c:pt>
                <c:pt idx="1133">
                  <c:v>116.88</c:v>
                </c:pt>
                <c:pt idx="1134">
                  <c:v>118.46</c:v>
                </c:pt>
                <c:pt idx="1135">
                  <c:v>119.2</c:v>
                </c:pt>
                <c:pt idx="1136">
                  <c:v>121.23</c:v>
                </c:pt>
                <c:pt idx="1137">
                  <c:v>121.57</c:v>
                </c:pt>
                <c:pt idx="1138">
                  <c:v>121.79</c:v>
                </c:pt>
                <c:pt idx="1139">
                  <c:v>121.32</c:v>
                </c:pt>
                <c:pt idx="1140">
                  <c:v>120.17</c:v>
                </c:pt>
                <c:pt idx="1141">
                  <c:v>120.73</c:v>
                </c:pt>
                <c:pt idx="1142">
                  <c:v>121.03</c:v>
                </c:pt>
                <c:pt idx="1143">
                  <c:v>121.69</c:v>
                </c:pt>
                <c:pt idx="1144">
                  <c:v>121.89</c:v>
                </c:pt>
                <c:pt idx="1145">
                  <c:v>122.72</c:v>
                </c:pt>
                <c:pt idx="1146">
                  <c:v>123.24</c:v>
                </c:pt>
                <c:pt idx="1147">
                  <c:v>123.94</c:v>
                </c:pt>
                <c:pt idx="1148">
                  <c:v>123.94</c:v>
                </c:pt>
                <c:pt idx="1149">
                  <c:v>123.94</c:v>
                </c:pt>
                <c:pt idx="1150">
                  <c:v>124.08</c:v>
                </c:pt>
                <c:pt idx="1151">
                  <c:v>124.86</c:v>
                </c:pt>
                <c:pt idx="1152">
                  <c:v>124.55</c:v>
                </c:pt>
                <c:pt idx="1153">
                  <c:v>124.89</c:v>
                </c:pt>
                <c:pt idx="1154">
                  <c:v>125.02</c:v>
                </c:pt>
                <c:pt idx="1155">
                  <c:v>125.18</c:v>
                </c:pt>
                <c:pt idx="1156">
                  <c:v>125.18</c:v>
                </c:pt>
                <c:pt idx="1157">
                  <c:v>125.19</c:v>
                </c:pt>
                <c:pt idx="1158">
                  <c:v>125.87</c:v>
                </c:pt>
                <c:pt idx="1159">
                  <c:v>124.6</c:v>
                </c:pt>
                <c:pt idx="1160">
                  <c:v>122.63</c:v>
                </c:pt>
                <c:pt idx="1161">
                  <c:v>123.51</c:v>
                </c:pt>
                <c:pt idx="1162">
                  <c:v>121.42</c:v>
                </c:pt>
                <c:pt idx="1163">
                  <c:v>122.3</c:v>
                </c:pt>
                <c:pt idx="1164">
                  <c:v>120.44</c:v>
                </c:pt>
                <c:pt idx="1165">
                  <c:v>121.6</c:v>
                </c:pt>
                <c:pt idx="1166">
                  <c:v>122.7</c:v>
                </c:pt>
                <c:pt idx="1167">
                  <c:v>124.84</c:v>
                </c:pt>
                <c:pt idx="1168">
                  <c:v>124.11</c:v>
                </c:pt>
                <c:pt idx="1169">
                  <c:v>122.11</c:v>
                </c:pt>
                <c:pt idx="1170">
                  <c:v>123.14</c:v>
                </c:pt>
                <c:pt idx="1171">
                  <c:v>123.4</c:v>
                </c:pt>
                <c:pt idx="1172">
                  <c:v>121.21</c:v>
                </c:pt>
                <c:pt idx="1173">
                  <c:v>121.8</c:v>
                </c:pt>
                <c:pt idx="1174">
                  <c:v>122.41</c:v>
                </c:pt>
                <c:pt idx="1175">
                  <c:v>121.96</c:v>
                </c:pt>
                <c:pt idx="1176">
                  <c:v>120.04</c:v>
                </c:pt>
                <c:pt idx="1177">
                  <c:v>120.7</c:v>
                </c:pt>
                <c:pt idx="1178">
                  <c:v>118.92</c:v>
                </c:pt>
                <c:pt idx="1179">
                  <c:v>119.59</c:v>
                </c:pt>
                <c:pt idx="1180">
                  <c:v>121.4</c:v>
                </c:pt>
                <c:pt idx="1181">
                  <c:v>121.49</c:v>
                </c:pt>
                <c:pt idx="1182">
                  <c:v>121.21</c:v>
                </c:pt>
                <c:pt idx="1183">
                  <c:v>122.15</c:v>
                </c:pt>
                <c:pt idx="1184">
                  <c:v>122.15</c:v>
                </c:pt>
                <c:pt idx="1185">
                  <c:v>123.27</c:v>
                </c:pt>
                <c:pt idx="1186">
                  <c:v>122.86</c:v>
                </c:pt>
                <c:pt idx="1187">
                  <c:v>123.4</c:v>
                </c:pt>
                <c:pt idx="1188">
                  <c:v>122.67</c:v>
                </c:pt>
                <c:pt idx="1189">
                  <c:v>122.56</c:v>
                </c:pt>
                <c:pt idx="1190">
                  <c:v>125.05</c:v>
                </c:pt>
                <c:pt idx="1191">
                  <c:v>124.82</c:v>
                </c:pt>
                <c:pt idx="1192">
                  <c:v>125.29</c:v>
                </c:pt>
                <c:pt idx="1193">
                  <c:v>125.14</c:v>
                </c:pt>
                <c:pt idx="1194">
                  <c:v>124.47</c:v>
                </c:pt>
                <c:pt idx="1195">
                  <c:v>124.01</c:v>
                </c:pt>
                <c:pt idx="1196">
                  <c:v>124.18</c:v>
                </c:pt>
                <c:pt idx="1197">
                  <c:v>124.44</c:v>
                </c:pt>
                <c:pt idx="1198">
                  <c:v>125.73</c:v>
                </c:pt>
                <c:pt idx="1199">
                  <c:v>126.98</c:v>
                </c:pt>
                <c:pt idx="1200">
                  <c:v>127.03</c:v>
                </c:pt>
                <c:pt idx="1201">
                  <c:v>127.94</c:v>
                </c:pt>
                <c:pt idx="1202">
                  <c:v>128.08000000000001</c:v>
                </c:pt>
                <c:pt idx="1203">
                  <c:v>127.45</c:v>
                </c:pt>
                <c:pt idx="1204">
                  <c:v>127.2</c:v>
                </c:pt>
                <c:pt idx="1205">
                  <c:v>126.12</c:v>
                </c:pt>
                <c:pt idx="1206">
                  <c:v>125.48</c:v>
                </c:pt>
                <c:pt idx="1207">
                  <c:v>125.06</c:v>
                </c:pt>
                <c:pt idx="1208">
                  <c:v>124.97</c:v>
                </c:pt>
                <c:pt idx="1209">
                  <c:v>125.62</c:v>
                </c:pt>
                <c:pt idx="1210">
                  <c:v>126.06</c:v>
                </c:pt>
                <c:pt idx="1211">
                  <c:v>125.15</c:v>
                </c:pt>
                <c:pt idx="1212">
                  <c:v>124</c:v>
                </c:pt>
                <c:pt idx="1213">
                  <c:v>124.33</c:v>
                </c:pt>
                <c:pt idx="1214">
                  <c:v>124.62</c:v>
                </c:pt>
                <c:pt idx="1215">
                  <c:v>126.67</c:v>
                </c:pt>
                <c:pt idx="1216">
                  <c:v>126.99</c:v>
                </c:pt>
                <c:pt idx="1217">
                  <c:v>125.36</c:v>
                </c:pt>
                <c:pt idx="1218">
                  <c:v>125.95</c:v>
                </c:pt>
                <c:pt idx="1219">
                  <c:v>125.92</c:v>
                </c:pt>
                <c:pt idx="1220">
                  <c:v>123.18</c:v>
                </c:pt>
                <c:pt idx="1221">
                  <c:v>123.61</c:v>
                </c:pt>
                <c:pt idx="1222">
                  <c:v>124.26</c:v>
                </c:pt>
                <c:pt idx="1223">
                  <c:v>120.4</c:v>
                </c:pt>
                <c:pt idx="1224">
                  <c:v>118.23</c:v>
                </c:pt>
                <c:pt idx="1225">
                  <c:v>117.31</c:v>
                </c:pt>
                <c:pt idx="1226">
                  <c:v>118.14</c:v>
                </c:pt>
                <c:pt idx="1227">
                  <c:v>120.12</c:v>
                </c:pt>
                <c:pt idx="1228">
                  <c:v>118.58</c:v>
                </c:pt>
                <c:pt idx="1229">
                  <c:v>118.44</c:v>
                </c:pt>
                <c:pt idx="1230">
                  <c:v>119.16</c:v>
                </c:pt>
                <c:pt idx="1231">
                  <c:v>116.54</c:v>
                </c:pt>
                <c:pt idx="1232">
                  <c:v>115.73</c:v>
                </c:pt>
                <c:pt idx="1233">
                  <c:v>117.25</c:v>
                </c:pt>
                <c:pt idx="1234">
                  <c:v>118.8</c:v>
                </c:pt>
                <c:pt idx="1235">
                  <c:v>118.15</c:v>
                </c:pt>
                <c:pt idx="1236">
                  <c:v>119.69</c:v>
                </c:pt>
                <c:pt idx="1237">
                  <c:v>119.12</c:v>
                </c:pt>
                <c:pt idx="1238">
                  <c:v>117.75</c:v>
                </c:pt>
                <c:pt idx="1239">
                  <c:v>118.22</c:v>
                </c:pt>
                <c:pt idx="1240">
                  <c:v>118.95</c:v>
                </c:pt>
                <c:pt idx="1241">
                  <c:v>118.66</c:v>
                </c:pt>
                <c:pt idx="1242">
                  <c:v>120.06</c:v>
                </c:pt>
                <c:pt idx="1243">
                  <c:v>121.07</c:v>
                </c:pt>
                <c:pt idx="1244">
                  <c:v>121.22</c:v>
                </c:pt>
                <c:pt idx="1245">
                  <c:v>120.79</c:v>
                </c:pt>
                <c:pt idx="1246">
                  <c:v>121.94</c:v>
                </c:pt>
                <c:pt idx="1247">
                  <c:v>122.97</c:v>
                </c:pt>
                <c:pt idx="1248">
                  <c:v>123.63</c:v>
                </c:pt>
                <c:pt idx="1249">
                  <c:v>123.98</c:v>
                </c:pt>
                <c:pt idx="1250">
                  <c:v>124.41</c:v>
                </c:pt>
                <c:pt idx="1251">
                  <c:v>125.33</c:v>
                </c:pt>
                <c:pt idx="1252">
                  <c:v>125.85</c:v>
                </c:pt>
                <c:pt idx="1253">
                  <c:v>126.44</c:v>
                </c:pt>
                <c:pt idx="1254">
                  <c:v>125.55</c:v>
                </c:pt>
                <c:pt idx="1255">
                  <c:v>125.47</c:v>
                </c:pt>
                <c:pt idx="1256">
                  <c:v>125.64</c:v>
                </c:pt>
                <c:pt idx="1257">
                  <c:v>126.33</c:v>
                </c:pt>
                <c:pt idx="1258">
                  <c:v>126.43</c:v>
                </c:pt>
                <c:pt idx="1259">
                  <c:v>125.16</c:v>
                </c:pt>
                <c:pt idx="1260">
                  <c:v>124.8</c:v>
                </c:pt>
                <c:pt idx="1261">
                  <c:v>124.06</c:v>
                </c:pt>
                <c:pt idx="1262">
                  <c:v>124.61</c:v>
                </c:pt>
                <c:pt idx="1263">
                  <c:v>125.55</c:v>
                </c:pt>
                <c:pt idx="1264">
                  <c:v>126.03</c:v>
                </c:pt>
                <c:pt idx="1265">
                  <c:v>124.36</c:v>
                </c:pt>
                <c:pt idx="1266">
                  <c:v>120.93</c:v>
                </c:pt>
                <c:pt idx="1267">
                  <c:v>120.93</c:v>
                </c:pt>
                <c:pt idx="1268">
                  <c:v>121.82</c:v>
                </c:pt>
                <c:pt idx="1269">
                  <c:v>122.68</c:v>
                </c:pt>
                <c:pt idx="1270">
                  <c:v>121.39</c:v>
                </c:pt>
                <c:pt idx="1271">
                  <c:v>122.64</c:v>
                </c:pt>
                <c:pt idx="1272">
                  <c:v>123.35</c:v>
                </c:pt>
                <c:pt idx="1273">
                  <c:v>126.88</c:v>
                </c:pt>
                <c:pt idx="1274">
                  <c:v>126.62</c:v>
                </c:pt>
                <c:pt idx="1275">
                  <c:v>128.08000000000001</c:v>
                </c:pt>
                <c:pt idx="1276">
                  <c:v>128.47999999999999</c:v>
                </c:pt>
                <c:pt idx="1277">
                  <c:v>128.33000000000001</c:v>
                </c:pt>
                <c:pt idx="1278">
                  <c:v>128.11000000000001</c:v>
                </c:pt>
                <c:pt idx="1279">
                  <c:v>129.27000000000001</c:v>
                </c:pt>
                <c:pt idx="1280">
                  <c:v>129.34</c:v>
                </c:pt>
                <c:pt idx="1281">
                  <c:v>129.78</c:v>
                </c:pt>
                <c:pt idx="1282">
                  <c:v>130.53</c:v>
                </c:pt>
                <c:pt idx="1283">
                  <c:v>130.76</c:v>
                </c:pt>
                <c:pt idx="1284">
                  <c:v>131.24</c:v>
                </c:pt>
                <c:pt idx="1285">
                  <c:v>131.22</c:v>
                </c:pt>
                <c:pt idx="1286">
                  <c:v>130.91999999999999</c:v>
                </c:pt>
                <c:pt idx="1287">
                  <c:v>130.47999999999999</c:v>
                </c:pt>
                <c:pt idx="1288">
                  <c:v>131.43</c:v>
                </c:pt>
                <c:pt idx="1289">
                  <c:v>133.21</c:v>
                </c:pt>
                <c:pt idx="1290">
                  <c:v>133.34</c:v>
                </c:pt>
                <c:pt idx="1291">
                  <c:v>133.65</c:v>
                </c:pt>
                <c:pt idx="1292">
                  <c:v>134.77000000000001</c:v>
                </c:pt>
                <c:pt idx="1293">
                  <c:v>134.15</c:v>
                </c:pt>
                <c:pt idx="1294">
                  <c:v>133.84</c:v>
                </c:pt>
                <c:pt idx="1295">
                  <c:v>134.69999999999999</c:v>
                </c:pt>
                <c:pt idx="1296">
                  <c:v>134.16</c:v>
                </c:pt>
                <c:pt idx="1297">
                  <c:v>133.66</c:v>
                </c:pt>
                <c:pt idx="1298">
                  <c:v>134.28</c:v>
                </c:pt>
                <c:pt idx="1299">
                  <c:v>133.93</c:v>
                </c:pt>
                <c:pt idx="1300">
                  <c:v>134.07</c:v>
                </c:pt>
                <c:pt idx="1301">
                  <c:v>133.43</c:v>
                </c:pt>
                <c:pt idx="1302">
                  <c:v>133.22999999999999</c:v>
                </c:pt>
                <c:pt idx="1303">
                  <c:v>133.49</c:v>
                </c:pt>
                <c:pt idx="1304">
                  <c:v>134.33000000000001</c:v>
                </c:pt>
                <c:pt idx="1305">
                  <c:v>134.22999999999999</c:v>
                </c:pt>
                <c:pt idx="1306">
                  <c:v>134.74</c:v>
                </c:pt>
                <c:pt idx="1307">
                  <c:v>134.32</c:v>
                </c:pt>
                <c:pt idx="1308">
                  <c:v>134.22999999999999</c:v>
                </c:pt>
                <c:pt idx="1309">
                  <c:v>131.47</c:v>
                </c:pt>
                <c:pt idx="1310">
                  <c:v>131.72</c:v>
                </c:pt>
                <c:pt idx="1311">
                  <c:v>133.26</c:v>
                </c:pt>
                <c:pt idx="1312">
                  <c:v>132.38999999999999</c:v>
                </c:pt>
                <c:pt idx="1313">
                  <c:v>133.52000000000001</c:v>
                </c:pt>
                <c:pt idx="1314">
                  <c:v>132.9</c:v>
                </c:pt>
                <c:pt idx="1315">
                  <c:v>132.55000000000001</c:v>
                </c:pt>
                <c:pt idx="1316">
                  <c:v>133.32</c:v>
                </c:pt>
                <c:pt idx="1317">
                  <c:v>134.08000000000001</c:v>
                </c:pt>
                <c:pt idx="1318">
                  <c:v>134.69999999999999</c:v>
                </c:pt>
                <c:pt idx="1319">
                  <c:v>135.96</c:v>
                </c:pt>
                <c:pt idx="1320">
                  <c:v>134.75</c:v>
                </c:pt>
                <c:pt idx="1321">
                  <c:v>134.08000000000001</c:v>
                </c:pt>
                <c:pt idx="1322">
                  <c:v>133.97999999999999</c:v>
                </c:pt>
                <c:pt idx="1323">
                  <c:v>135.06</c:v>
                </c:pt>
                <c:pt idx="1324">
                  <c:v>134.88</c:v>
                </c:pt>
                <c:pt idx="1325">
                  <c:v>134.88</c:v>
                </c:pt>
                <c:pt idx="1326">
                  <c:v>134.88</c:v>
                </c:pt>
                <c:pt idx="1327">
                  <c:v>134.88</c:v>
                </c:pt>
                <c:pt idx="1328">
                  <c:v>135.25</c:v>
                </c:pt>
                <c:pt idx="1329">
                  <c:v>134.35</c:v>
                </c:pt>
                <c:pt idx="1330">
                  <c:v>134.35</c:v>
                </c:pt>
                <c:pt idx="1331">
                  <c:v>134.35</c:v>
                </c:pt>
                <c:pt idx="1332">
                  <c:v>135.74</c:v>
                </c:pt>
                <c:pt idx="1333">
                  <c:v>134.05000000000001</c:v>
                </c:pt>
                <c:pt idx="1334">
                  <c:v>133.12</c:v>
                </c:pt>
                <c:pt idx="1335">
                  <c:v>134.13</c:v>
                </c:pt>
                <c:pt idx="1336">
                  <c:v>135.08000000000001</c:v>
                </c:pt>
                <c:pt idx="1337">
                  <c:v>136.85</c:v>
                </c:pt>
                <c:pt idx="1338">
                  <c:v>136.72999999999999</c:v>
                </c:pt>
                <c:pt idx="1339">
                  <c:v>136.41</c:v>
                </c:pt>
                <c:pt idx="1340">
                  <c:v>136.46</c:v>
                </c:pt>
                <c:pt idx="1341">
                  <c:v>136.21</c:v>
                </c:pt>
                <c:pt idx="1342">
                  <c:v>136.18</c:v>
                </c:pt>
                <c:pt idx="1343">
                  <c:v>137.16999999999999</c:v>
                </c:pt>
                <c:pt idx="1344">
                  <c:v>137.4</c:v>
                </c:pt>
                <c:pt idx="1345">
                  <c:v>137.47</c:v>
                </c:pt>
                <c:pt idx="1346">
                  <c:v>137.06</c:v>
                </c:pt>
                <c:pt idx="1347">
                  <c:v>135.77000000000001</c:v>
                </c:pt>
                <c:pt idx="1348">
                  <c:v>137.68</c:v>
                </c:pt>
                <c:pt idx="1349">
                  <c:v>133.91</c:v>
                </c:pt>
                <c:pt idx="1350">
                  <c:v>135.11000000000001</c:v>
                </c:pt>
                <c:pt idx="1351">
                  <c:v>135.33000000000001</c:v>
                </c:pt>
                <c:pt idx="1352">
                  <c:v>133.41999999999999</c:v>
                </c:pt>
                <c:pt idx="1353">
                  <c:v>131.65</c:v>
                </c:pt>
                <c:pt idx="1354">
                  <c:v>132.29</c:v>
                </c:pt>
                <c:pt idx="1355">
                  <c:v>134.69</c:v>
                </c:pt>
                <c:pt idx="1356">
                  <c:v>136.68</c:v>
                </c:pt>
                <c:pt idx="1357">
                  <c:v>137.66</c:v>
                </c:pt>
                <c:pt idx="1358">
                  <c:v>137.04</c:v>
                </c:pt>
                <c:pt idx="1359">
                  <c:v>136.84</c:v>
                </c:pt>
                <c:pt idx="1360">
                  <c:v>138.19999999999999</c:v>
                </c:pt>
                <c:pt idx="1361">
                  <c:v>139.43</c:v>
                </c:pt>
                <c:pt idx="1362">
                  <c:v>139.38999999999999</c:v>
                </c:pt>
                <c:pt idx="1363">
                  <c:v>139.38</c:v>
                </c:pt>
                <c:pt idx="1364">
                  <c:v>139.78</c:v>
                </c:pt>
                <c:pt idx="1365">
                  <c:v>138.74</c:v>
                </c:pt>
                <c:pt idx="1366">
                  <c:v>139.83000000000001</c:v>
                </c:pt>
                <c:pt idx="1367">
                  <c:v>138.56</c:v>
                </c:pt>
                <c:pt idx="1368">
                  <c:v>137.69999999999999</c:v>
                </c:pt>
                <c:pt idx="1369">
                  <c:v>132.19</c:v>
                </c:pt>
                <c:pt idx="1370">
                  <c:v>129.71</c:v>
                </c:pt>
                <c:pt idx="1371">
                  <c:v>129.55000000000001</c:v>
                </c:pt>
                <c:pt idx="1372">
                  <c:v>125.42</c:v>
                </c:pt>
                <c:pt idx="1373">
                  <c:v>120.58</c:v>
                </c:pt>
                <c:pt idx="1374">
                  <c:v>120.25</c:v>
                </c:pt>
                <c:pt idx="1375">
                  <c:v>121.54</c:v>
                </c:pt>
                <c:pt idx="1376">
                  <c:v>122.98</c:v>
                </c:pt>
                <c:pt idx="1377">
                  <c:v>121.13</c:v>
                </c:pt>
                <c:pt idx="1378">
                  <c:v>117.04</c:v>
                </c:pt>
                <c:pt idx="1379">
                  <c:v>107.75</c:v>
                </c:pt>
                <c:pt idx="1380">
                  <c:v>106.23</c:v>
                </c:pt>
                <c:pt idx="1381">
                  <c:v>105.86</c:v>
                </c:pt>
                <c:pt idx="1382">
                  <c:v>92.9</c:v>
                </c:pt>
                <c:pt idx="1383">
                  <c:v>93.62</c:v>
                </c:pt>
                <c:pt idx="1384">
                  <c:v>88.65</c:v>
                </c:pt>
                <c:pt idx="1385">
                  <c:v>90.65</c:v>
                </c:pt>
                <c:pt idx="1386">
                  <c:v>85.61</c:v>
                </c:pt>
                <c:pt idx="1387">
                  <c:v>87.32</c:v>
                </c:pt>
                <c:pt idx="1388">
                  <c:v>90.55</c:v>
                </c:pt>
                <c:pt idx="1389">
                  <c:v>88.64</c:v>
                </c:pt>
                <c:pt idx="1390">
                  <c:v>98.37</c:v>
                </c:pt>
                <c:pt idx="1391">
                  <c:v>100.13</c:v>
                </c:pt>
                <c:pt idx="1392">
                  <c:v>101.42</c:v>
                </c:pt>
                <c:pt idx="1393">
                  <c:v>97.68</c:v>
                </c:pt>
                <c:pt idx="1394">
                  <c:v>99.54</c:v>
                </c:pt>
                <c:pt idx="1395">
                  <c:v>100.76</c:v>
                </c:pt>
                <c:pt idx="1396">
                  <c:v>96.79</c:v>
                </c:pt>
                <c:pt idx="1397">
                  <c:v>97.06</c:v>
                </c:pt>
                <c:pt idx="1398">
                  <c:v>96.6</c:v>
                </c:pt>
                <c:pt idx="1399">
                  <c:v>102.17</c:v>
                </c:pt>
                <c:pt idx="1400">
                  <c:v>105.02</c:v>
                </c:pt>
                <c:pt idx="1401">
                  <c:v>104.78</c:v>
                </c:pt>
                <c:pt idx="1402">
                  <c:v>107.13</c:v>
                </c:pt>
                <c:pt idx="1403">
                  <c:v>107.13</c:v>
                </c:pt>
                <c:pt idx="1404">
                  <c:v>107.13</c:v>
                </c:pt>
                <c:pt idx="1405">
                  <c:v>108.47</c:v>
                </c:pt>
                <c:pt idx="1406">
                  <c:v>104.24</c:v>
                </c:pt>
                <c:pt idx="1407">
                  <c:v>104.47</c:v>
                </c:pt>
                <c:pt idx="1408">
                  <c:v>107.75</c:v>
                </c:pt>
                <c:pt idx="1409">
                  <c:v>108.26</c:v>
                </c:pt>
                <c:pt idx="1410">
                  <c:v>103.94</c:v>
                </c:pt>
                <c:pt idx="1411">
                  <c:v>105.62</c:v>
                </c:pt>
                <c:pt idx="1412">
                  <c:v>106.62</c:v>
                </c:pt>
                <c:pt idx="1413">
                  <c:v>104.82</c:v>
                </c:pt>
                <c:pt idx="1414">
                  <c:v>108.1</c:v>
                </c:pt>
                <c:pt idx="1415">
                  <c:v>109.48</c:v>
                </c:pt>
                <c:pt idx="1416">
                  <c:v>112.64</c:v>
                </c:pt>
                <c:pt idx="1417">
                  <c:v>110.15</c:v>
                </c:pt>
                <c:pt idx="1418">
                  <c:v>110.15</c:v>
                </c:pt>
                <c:pt idx="1419">
                  <c:v>106.14</c:v>
                </c:pt>
                <c:pt idx="1420">
                  <c:v>108.8</c:v>
                </c:pt>
                <c:pt idx="1421">
                  <c:v>107.55</c:v>
                </c:pt>
                <c:pt idx="1422">
                  <c:v>109.11</c:v>
                </c:pt>
                <c:pt idx="1423">
                  <c:v>110.58</c:v>
                </c:pt>
                <c:pt idx="1424">
                  <c:v>109.77</c:v>
                </c:pt>
                <c:pt idx="1425">
                  <c:v>109.72</c:v>
                </c:pt>
                <c:pt idx="1426">
                  <c:v>106.91</c:v>
                </c:pt>
                <c:pt idx="1427">
                  <c:v>104.83</c:v>
                </c:pt>
                <c:pt idx="1428">
                  <c:v>106.12</c:v>
                </c:pt>
                <c:pt idx="1429">
                  <c:v>112.15</c:v>
                </c:pt>
                <c:pt idx="1430">
                  <c:v>112.31</c:v>
                </c:pt>
                <c:pt idx="1431">
                  <c:v>113.82</c:v>
                </c:pt>
                <c:pt idx="1432">
                  <c:v>112.22</c:v>
                </c:pt>
                <c:pt idx="1433">
                  <c:v>112.3</c:v>
                </c:pt>
                <c:pt idx="1434">
                  <c:v>115.52</c:v>
                </c:pt>
                <c:pt idx="1435">
                  <c:v>116.67</c:v>
                </c:pt>
                <c:pt idx="1436">
                  <c:v>118.22</c:v>
                </c:pt>
                <c:pt idx="1437">
                  <c:v>119.47</c:v>
                </c:pt>
                <c:pt idx="1438">
                  <c:v>117.5</c:v>
                </c:pt>
                <c:pt idx="1439">
                  <c:v>117.5</c:v>
                </c:pt>
                <c:pt idx="1440">
                  <c:v>121.9</c:v>
                </c:pt>
                <c:pt idx="1441">
                  <c:v>126.63</c:v>
                </c:pt>
                <c:pt idx="1442">
                  <c:v>126.06</c:v>
                </c:pt>
                <c:pt idx="1443">
                  <c:v>130.29</c:v>
                </c:pt>
                <c:pt idx="1444">
                  <c:v>130</c:v>
                </c:pt>
                <c:pt idx="1445">
                  <c:v>127.96</c:v>
                </c:pt>
                <c:pt idx="1446">
                  <c:v>127.07</c:v>
                </c:pt>
                <c:pt idx="1447">
                  <c:v>121.39</c:v>
                </c:pt>
                <c:pt idx="1448">
                  <c:v>121.17</c:v>
                </c:pt>
                <c:pt idx="1449">
                  <c:v>120.79</c:v>
                </c:pt>
                <c:pt idx="1450">
                  <c:v>124.89</c:v>
                </c:pt>
                <c:pt idx="1451">
                  <c:v>125.56</c:v>
                </c:pt>
                <c:pt idx="1452">
                  <c:v>124.54</c:v>
                </c:pt>
                <c:pt idx="1453">
                  <c:v>125.04</c:v>
                </c:pt>
                <c:pt idx="1454">
                  <c:v>124.36</c:v>
                </c:pt>
                <c:pt idx="1455">
                  <c:v>127</c:v>
                </c:pt>
                <c:pt idx="1456">
                  <c:v>122.64</c:v>
                </c:pt>
                <c:pt idx="1457">
                  <c:v>123.49</c:v>
                </c:pt>
                <c:pt idx="1458">
                  <c:v>122.6</c:v>
                </c:pt>
                <c:pt idx="1459">
                  <c:v>124.04</c:v>
                </c:pt>
                <c:pt idx="1460">
                  <c:v>124.84</c:v>
                </c:pt>
                <c:pt idx="1461">
                  <c:v>124.33</c:v>
                </c:pt>
                <c:pt idx="1462">
                  <c:v>127.86</c:v>
                </c:pt>
                <c:pt idx="1463">
                  <c:v>127.05</c:v>
                </c:pt>
                <c:pt idx="1464">
                  <c:v>129.13</c:v>
                </c:pt>
                <c:pt idx="1465">
                  <c:v>127.94</c:v>
                </c:pt>
                <c:pt idx="1466">
                  <c:v>126.71</c:v>
                </c:pt>
                <c:pt idx="1467">
                  <c:v>126.65</c:v>
                </c:pt>
                <c:pt idx="1468">
                  <c:v>128.12</c:v>
                </c:pt>
                <c:pt idx="1469">
                  <c:v>129.80000000000001</c:v>
                </c:pt>
                <c:pt idx="1470">
                  <c:v>128.76</c:v>
                </c:pt>
                <c:pt idx="1471">
                  <c:v>131.13</c:v>
                </c:pt>
                <c:pt idx="1472">
                  <c:v>130.56</c:v>
                </c:pt>
                <c:pt idx="1473">
                  <c:v>131.01</c:v>
                </c:pt>
                <c:pt idx="1474">
                  <c:v>132.31</c:v>
                </c:pt>
                <c:pt idx="1475">
                  <c:v>133.57</c:v>
                </c:pt>
                <c:pt idx="1476">
                  <c:v>132.88999999999999</c:v>
                </c:pt>
                <c:pt idx="1477">
                  <c:v>132.88</c:v>
                </c:pt>
                <c:pt idx="1478">
                  <c:v>130.19</c:v>
                </c:pt>
                <c:pt idx="1479">
                  <c:v>130.19</c:v>
                </c:pt>
                <c:pt idx="1480">
                  <c:v>130.16</c:v>
                </c:pt>
                <c:pt idx="1481">
                  <c:v>130.03</c:v>
                </c:pt>
                <c:pt idx="1482">
                  <c:v>125.54</c:v>
                </c:pt>
                <c:pt idx="1483">
                  <c:v>124.87</c:v>
                </c:pt>
                <c:pt idx="1484">
                  <c:v>128.25</c:v>
                </c:pt>
                <c:pt idx="1485">
                  <c:v>127.78</c:v>
                </c:pt>
                <c:pt idx="1486">
                  <c:v>128.38</c:v>
                </c:pt>
                <c:pt idx="1487">
                  <c:v>127.69</c:v>
                </c:pt>
                <c:pt idx="1488">
                  <c:v>128.53</c:v>
                </c:pt>
                <c:pt idx="1489">
                  <c:v>128.66</c:v>
                </c:pt>
                <c:pt idx="1490">
                  <c:v>131.29</c:v>
                </c:pt>
                <c:pt idx="1491">
                  <c:v>132.41999999999999</c:v>
                </c:pt>
                <c:pt idx="1492">
                  <c:v>131.77000000000001</c:v>
                </c:pt>
                <c:pt idx="1493">
                  <c:v>130.83000000000001</c:v>
                </c:pt>
                <c:pt idx="1494">
                  <c:v>131.03</c:v>
                </c:pt>
                <c:pt idx="1495">
                  <c:v>130.63</c:v>
                </c:pt>
                <c:pt idx="1496">
                  <c:v>131.6</c:v>
                </c:pt>
                <c:pt idx="1497">
                  <c:v>130.11000000000001</c:v>
                </c:pt>
                <c:pt idx="1498">
                  <c:v>129.44</c:v>
                </c:pt>
                <c:pt idx="1499">
                  <c:v>132.5</c:v>
                </c:pt>
                <c:pt idx="1500">
                  <c:v>132.44999999999999</c:v>
                </c:pt>
                <c:pt idx="1501">
                  <c:v>133.76</c:v>
                </c:pt>
                <c:pt idx="1502">
                  <c:v>132.81</c:v>
                </c:pt>
                <c:pt idx="1503">
                  <c:v>132.16999999999999</c:v>
                </c:pt>
                <c:pt idx="1504">
                  <c:v>131.28</c:v>
                </c:pt>
                <c:pt idx="1505">
                  <c:v>131.57</c:v>
                </c:pt>
                <c:pt idx="1506">
                  <c:v>134.30000000000001</c:v>
                </c:pt>
                <c:pt idx="1507">
                  <c:v>132.41999999999999</c:v>
                </c:pt>
                <c:pt idx="1508">
                  <c:v>130.22999999999999</c:v>
                </c:pt>
                <c:pt idx="1509">
                  <c:v>132.85</c:v>
                </c:pt>
                <c:pt idx="1510">
                  <c:v>131.51</c:v>
                </c:pt>
                <c:pt idx="1511">
                  <c:v>134.24</c:v>
                </c:pt>
                <c:pt idx="1512">
                  <c:v>133.94999999999999</c:v>
                </c:pt>
                <c:pt idx="1513">
                  <c:v>133.88999999999999</c:v>
                </c:pt>
                <c:pt idx="1514">
                  <c:v>133.79</c:v>
                </c:pt>
                <c:pt idx="1515">
                  <c:v>134.04</c:v>
                </c:pt>
                <c:pt idx="1516">
                  <c:v>134.41999999999999</c:v>
                </c:pt>
                <c:pt idx="1517">
                  <c:v>133.94</c:v>
                </c:pt>
                <c:pt idx="1518">
                  <c:v>133.01</c:v>
                </c:pt>
                <c:pt idx="1519">
                  <c:v>127.19</c:v>
                </c:pt>
                <c:pt idx="1520">
                  <c:v>127.72</c:v>
                </c:pt>
                <c:pt idx="1521">
                  <c:v>128.21</c:v>
                </c:pt>
                <c:pt idx="1522">
                  <c:v>127.84</c:v>
                </c:pt>
                <c:pt idx="1523">
                  <c:v>126.45</c:v>
                </c:pt>
                <c:pt idx="1524">
                  <c:v>130.52000000000001</c:v>
                </c:pt>
                <c:pt idx="1525">
                  <c:v>130.06</c:v>
                </c:pt>
                <c:pt idx="1526">
                  <c:v>129.4</c:v>
                </c:pt>
                <c:pt idx="1527">
                  <c:v>129.1</c:v>
                </c:pt>
                <c:pt idx="1528">
                  <c:v>128.68</c:v>
                </c:pt>
                <c:pt idx="1529">
                  <c:v>130.09</c:v>
                </c:pt>
                <c:pt idx="1530">
                  <c:v>130.88</c:v>
                </c:pt>
                <c:pt idx="1531">
                  <c:v>131.11000000000001</c:v>
                </c:pt>
                <c:pt idx="1532">
                  <c:v>132.26</c:v>
                </c:pt>
                <c:pt idx="1533">
                  <c:v>132.35</c:v>
                </c:pt>
                <c:pt idx="1534">
                  <c:v>133.22999999999999</c:v>
                </c:pt>
                <c:pt idx="1535">
                  <c:v>132.02000000000001</c:v>
                </c:pt>
                <c:pt idx="1536">
                  <c:v>132.11000000000001</c:v>
                </c:pt>
                <c:pt idx="1537">
                  <c:v>128.83000000000001</c:v>
                </c:pt>
                <c:pt idx="1538">
                  <c:v>130.91</c:v>
                </c:pt>
                <c:pt idx="1539">
                  <c:v>130.36000000000001</c:v>
                </c:pt>
                <c:pt idx="1540">
                  <c:v>129.16</c:v>
                </c:pt>
                <c:pt idx="1541">
                  <c:v>127.34</c:v>
                </c:pt>
                <c:pt idx="1542">
                  <c:v>127.2</c:v>
                </c:pt>
                <c:pt idx="1543">
                  <c:v>128.24</c:v>
                </c:pt>
                <c:pt idx="1544">
                  <c:v>123.49</c:v>
                </c:pt>
                <c:pt idx="1545">
                  <c:v>122.33</c:v>
                </c:pt>
                <c:pt idx="1546">
                  <c:v>117.23</c:v>
                </c:pt>
                <c:pt idx="1547">
                  <c:v>117.61</c:v>
                </c:pt>
                <c:pt idx="1548">
                  <c:v>117.19</c:v>
                </c:pt>
                <c:pt idx="1549">
                  <c:v>119.54</c:v>
                </c:pt>
                <c:pt idx="1550">
                  <c:v>122.59</c:v>
                </c:pt>
                <c:pt idx="1551">
                  <c:v>124.98</c:v>
                </c:pt>
                <c:pt idx="1552">
                  <c:v>127.45</c:v>
                </c:pt>
                <c:pt idx="1553">
                  <c:v>126.56</c:v>
                </c:pt>
                <c:pt idx="1554">
                  <c:v>132.80000000000001</c:v>
                </c:pt>
                <c:pt idx="1555">
                  <c:v>133.47999999999999</c:v>
                </c:pt>
                <c:pt idx="1556">
                  <c:v>134.02000000000001</c:v>
                </c:pt>
                <c:pt idx="1557">
                  <c:v>132.37</c:v>
                </c:pt>
                <c:pt idx="1558">
                  <c:v>132.61000000000001</c:v>
                </c:pt>
                <c:pt idx="1559">
                  <c:v>133.24</c:v>
                </c:pt>
                <c:pt idx="1560">
                  <c:v>133.18</c:v>
                </c:pt>
                <c:pt idx="1561">
                  <c:v>133.88</c:v>
                </c:pt>
                <c:pt idx="1562">
                  <c:v>132.69999999999999</c:v>
                </c:pt>
                <c:pt idx="1563">
                  <c:v>133.22</c:v>
                </c:pt>
                <c:pt idx="1564">
                  <c:v>133.12</c:v>
                </c:pt>
                <c:pt idx="1565">
                  <c:v>134.80000000000001</c:v>
                </c:pt>
                <c:pt idx="1566">
                  <c:v>134.77000000000001</c:v>
                </c:pt>
                <c:pt idx="1567">
                  <c:v>134.74</c:v>
                </c:pt>
                <c:pt idx="1568">
                  <c:v>135.22999999999999</c:v>
                </c:pt>
                <c:pt idx="1569">
                  <c:v>134.78</c:v>
                </c:pt>
                <c:pt idx="1570">
                  <c:v>135.71</c:v>
                </c:pt>
                <c:pt idx="1571">
                  <c:v>135.01</c:v>
                </c:pt>
                <c:pt idx="1572">
                  <c:v>134.38999999999999</c:v>
                </c:pt>
                <c:pt idx="1573">
                  <c:v>134.86000000000001</c:v>
                </c:pt>
                <c:pt idx="1574">
                  <c:v>134.58000000000001</c:v>
                </c:pt>
                <c:pt idx="1575">
                  <c:v>134.65</c:v>
                </c:pt>
                <c:pt idx="1576">
                  <c:v>135.28</c:v>
                </c:pt>
                <c:pt idx="1577">
                  <c:v>134.83000000000001</c:v>
                </c:pt>
                <c:pt idx="1578">
                  <c:v>132.99</c:v>
                </c:pt>
                <c:pt idx="1579">
                  <c:v>134.09</c:v>
                </c:pt>
                <c:pt idx="1580">
                  <c:v>135.51</c:v>
                </c:pt>
                <c:pt idx="1581">
                  <c:v>137.57</c:v>
                </c:pt>
                <c:pt idx="1582">
                  <c:v>138.6</c:v>
                </c:pt>
                <c:pt idx="1583">
                  <c:v>138.22</c:v>
                </c:pt>
                <c:pt idx="1584">
                  <c:v>134.33000000000001</c:v>
                </c:pt>
                <c:pt idx="1585">
                  <c:v>136.07</c:v>
                </c:pt>
                <c:pt idx="1586">
                  <c:v>137.78</c:v>
                </c:pt>
                <c:pt idx="1587">
                  <c:v>137.78</c:v>
                </c:pt>
                <c:pt idx="1588">
                  <c:v>137.78</c:v>
                </c:pt>
                <c:pt idx="1589">
                  <c:v>139.84</c:v>
                </c:pt>
                <c:pt idx="1590">
                  <c:v>139.55000000000001</c:v>
                </c:pt>
                <c:pt idx="1591">
                  <c:v>139.12</c:v>
                </c:pt>
                <c:pt idx="1592">
                  <c:v>139.12</c:v>
                </c:pt>
                <c:pt idx="1593">
                  <c:v>139.12</c:v>
                </c:pt>
                <c:pt idx="1594">
                  <c:v>139.19999999999999</c:v>
                </c:pt>
                <c:pt idx="1595">
                  <c:v>138.43</c:v>
                </c:pt>
                <c:pt idx="1596">
                  <c:v>140.87</c:v>
                </c:pt>
                <c:pt idx="1597">
                  <c:v>141.65</c:v>
                </c:pt>
                <c:pt idx="1598">
                  <c:v>142.47</c:v>
                </c:pt>
                <c:pt idx="1599">
                  <c:v>141.33000000000001</c:v>
                </c:pt>
                <c:pt idx="1600">
                  <c:v>141.21</c:v>
                </c:pt>
                <c:pt idx="1601">
                  <c:v>141.36000000000001</c:v>
                </c:pt>
                <c:pt idx="1602">
                  <c:v>141.86000000000001</c:v>
                </c:pt>
                <c:pt idx="1603">
                  <c:v>139.82</c:v>
                </c:pt>
                <c:pt idx="1604">
                  <c:v>140.43</c:v>
                </c:pt>
                <c:pt idx="1605">
                  <c:v>140.1</c:v>
                </c:pt>
                <c:pt idx="1606">
                  <c:v>141.16999999999999</c:v>
                </c:pt>
                <c:pt idx="1607">
                  <c:v>141.02000000000001</c:v>
                </c:pt>
                <c:pt idx="1608">
                  <c:v>140.69</c:v>
                </c:pt>
                <c:pt idx="1609">
                  <c:v>138.36000000000001</c:v>
                </c:pt>
                <c:pt idx="1610">
                  <c:v>140.66</c:v>
                </c:pt>
                <c:pt idx="1611">
                  <c:v>138.12</c:v>
                </c:pt>
                <c:pt idx="1612">
                  <c:v>138.58000000000001</c:v>
                </c:pt>
                <c:pt idx="1613">
                  <c:v>136.22</c:v>
                </c:pt>
                <c:pt idx="1614">
                  <c:v>138.13999999999999</c:v>
                </c:pt>
                <c:pt idx="1615">
                  <c:v>140.30000000000001</c:v>
                </c:pt>
                <c:pt idx="1616">
                  <c:v>141.30000000000001</c:v>
                </c:pt>
                <c:pt idx="1617">
                  <c:v>142.58000000000001</c:v>
                </c:pt>
                <c:pt idx="1618">
                  <c:v>142.55000000000001</c:v>
                </c:pt>
                <c:pt idx="1619">
                  <c:v>142.58000000000001</c:v>
                </c:pt>
                <c:pt idx="1620">
                  <c:v>142.09</c:v>
                </c:pt>
                <c:pt idx="1621">
                  <c:v>141.29</c:v>
                </c:pt>
                <c:pt idx="1622">
                  <c:v>142.38999999999999</c:v>
                </c:pt>
                <c:pt idx="1623">
                  <c:v>142.47999999999999</c:v>
                </c:pt>
                <c:pt idx="1624">
                  <c:v>143.08000000000001</c:v>
                </c:pt>
                <c:pt idx="1625">
                  <c:v>142.63</c:v>
                </c:pt>
                <c:pt idx="1626">
                  <c:v>141.05000000000001</c:v>
                </c:pt>
                <c:pt idx="1627">
                  <c:v>140.82</c:v>
                </c:pt>
                <c:pt idx="1628">
                  <c:v>141.9</c:v>
                </c:pt>
                <c:pt idx="1629">
                  <c:v>141.46</c:v>
                </c:pt>
                <c:pt idx="1630">
                  <c:v>140.6</c:v>
                </c:pt>
                <c:pt idx="1631">
                  <c:v>141.72999999999999</c:v>
                </c:pt>
                <c:pt idx="1632">
                  <c:v>140.75</c:v>
                </c:pt>
                <c:pt idx="1633">
                  <c:v>139.80000000000001</c:v>
                </c:pt>
                <c:pt idx="1634">
                  <c:v>142.1</c:v>
                </c:pt>
                <c:pt idx="1635">
                  <c:v>142.37</c:v>
                </c:pt>
                <c:pt idx="1636">
                  <c:v>142.78</c:v>
                </c:pt>
                <c:pt idx="1637">
                  <c:v>142.54</c:v>
                </c:pt>
                <c:pt idx="1638">
                  <c:v>141.16999999999999</c:v>
                </c:pt>
                <c:pt idx="1639">
                  <c:v>145.83000000000001</c:v>
                </c:pt>
                <c:pt idx="1640">
                  <c:v>146.41</c:v>
                </c:pt>
                <c:pt idx="1641">
                  <c:v>147.44999999999999</c:v>
                </c:pt>
                <c:pt idx="1642">
                  <c:v>147.74</c:v>
                </c:pt>
                <c:pt idx="1643">
                  <c:v>147.07</c:v>
                </c:pt>
                <c:pt idx="1644">
                  <c:v>146.65</c:v>
                </c:pt>
                <c:pt idx="1645">
                  <c:v>147.62</c:v>
                </c:pt>
                <c:pt idx="1646">
                  <c:v>148.02000000000001</c:v>
                </c:pt>
                <c:pt idx="1647">
                  <c:v>149.83000000000001</c:v>
                </c:pt>
                <c:pt idx="1648">
                  <c:v>148.27000000000001</c:v>
                </c:pt>
                <c:pt idx="1649">
                  <c:v>148.63999999999999</c:v>
                </c:pt>
                <c:pt idx="1650">
                  <c:v>148.68</c:v>
                </c:pt>
                <c:pt idx="1651">
                  <c:v>148.16</c:v>
                </c:pt>
                <c:pt idx="1652">
                  <c:v>148.27000000000001</c:v>
                </c:pt>
                <c:pt idx="1653">
                  <c:v>149.57</c:v>
                </c:pt>
                <c:pt idx="1654">
                  <c:v>150.26</c:v>
                </c:pt>
                <c:pt idx="1655">
                  <c:v>152.19999999999999</c:v>
                </c:pt>
                <c:pt idx="1656">
                  <c:v>152.19999999999999</c:v>
                </c:pt>
                <c:pt idx="1657">
                  <c:v>153.19999999999999</c:v>
                </c:pt>
                <c:pt idx="1658">
                  <c:v>153.19999999999999</c:v>
                </c:pt>
                <c:pt idx="1659">
                  <c:v>153.19999999999999</c:v>
                </c:pt>
                <c:pt idx="1660">
                  <c:v>154.27000000000001</c:v>
                </c:pt>
                <c:pt idx="1661">
                  <c:v>153.9</c:v>
                </c:pt>
                <c:pt idx="1662">
                  <c:v>154.16999999999999</c:v>
                </c:pt>
                <c:pt idx="1663">
                  <c:v>154.49</c:v>
                </c:pt>
                <c:pt idx="1664">
                  <c:v>154.29</c:v>
                </c:pt>
                <c:pt idx="1665">
                  <c:v>154.49</c:v>
                </c:pt>
                <c:pt idx="1666">
                  <c:v>154.22999999999999</c:v>
                </c:pt>
                <c:pt idx="1667">
                  <c:v>154.69999999999999</c:v>
                </c:pt>
                <c:pt idx="1668">
                  <c:v>156.77000000000001</c:v>
                </c:pt>
                <c:pt idx="1669">
                  <c:v>155.85</c:v>
                </c:pt>
                <c:pt idx="1670">
                  <c:v>153.41999999999999</c:v>
                </c:pt>
                <c:pt idx="1671">
                  <c:v>154.1</c:v>
                </c:pt>
                <c:pt idx="1672">
                  <c:v>155.36000000000001</c:v>
                </c:pt>
                <c:pt idx="1673">
                  <c:v>154.94999999999999</c:v>
                </c:pt>
                <c:pt idx="1674">
                  <c:v>155.12</c:v>
                </c:pt>
                <c:pt idx="1675">
                  <c:v>154.63999999999999</c:v>
                </c:pt>
                <c:pt idx="1676">
                  <c:v>155.07</c:v>
                </c:pt>
                <c:pt idx="1677">
                  <c:v>153.66999999999999</c:v>
                </c:pt>
                <c:pt idx="1678">
                  <c:v>153.49</c:v>
                </c:pt>
                <c:pt idx="1679">
                  <c:v>154.51</c:v>
                </c:pt>
                <c:pt idx="1680">
                  <c:v>150.66</c:v>
                </c:pt>
                <c:pt idx="1681">
                  <c:v>153.84</c:v>
                </c:pt>
                <c:pt idx="1682">
                  <c:v>154.11000000000001</c:v>
                </c:pt>
                <c:pt idx="1683">
                  <c:v>156.16</c:v>
                </c:pt>
                <c:pt idx="1684">
                  <c:v>156.16999999999999</c:v>
                </c:pt>
                <c:pt idx="1685">
                  <c:v>153.33000000000001</c:v>
                </c:pt>
                <c:pt idx="1686">
                  <c:v>153.63</c:v>
                </c:pt>
                <c:pt idx="1687">
                  <c:v>154.13999999999999</c:v>
                </c:pt>
                <c:pt idx="1688">
                  <c:v>156.34</c:v>
                </c:pt>
                <c:pt idx="1689">
                  <c:v>156.13</c:v>
                </c:pt>
                <c:pt idx="1690">
                  <c:v>156.03</c:v>
                </c:pt>
                <c:pt idx="1691">
                  <c:v>153.26</c:v>
                </c:pt>
                <c:pt idx="1692">
                  <c:v>155.87</c:v>
                </c:pt>
                <c:pt idx="1693">
                  <c:v>156.55000000000001</c:v>
                </c:pt>
                <c:pt idx="1694">
                  <c:v>156.55000000000001</c:v>
                </c:pt>
                <c:pt idx="1695">
                  <c:v>156.83000000000001</c:v>
                </c:pt>
                <c:pt idx="1696">
                  <c:v>156.68</c:v>
                </c:pt>
                <c:pt idx="1697">
                  <c:v>156.24</c:v>
                </c:pt>
                <c:pt idx="1698">
                  <c:v>157.38</c:v>
                </c:pt>
                <c:pt idx="1699">
                  <c:v>156.38</c:v>
                </c:pt>
                <c:pt idx="1700">
                  <c:v>157.86000000000001</c:v>
                </c:pt>
                <c:pt idx="1701">
                  <c:v>158.22</c:v>
                </c:pt>
                <c:pt idx="1702">
                  <c:v>158.53</c:v>
                </c:pt>
                <c:pt idx="1703">
                  <c:v>159.13999999999999</c:v>
                </c:pt>
                <c:pt idx="1704">
                  <c:v>158.97999999999999</c:v>
                </c:pt>
                <c:pt idx="1705">
                  <c:v>158.61000000000001</c:v>
                </c:pt>
                <c:pt idx="1706">
                  <c:v>158</c:v>
                </c:pt>
                <c:pt idx="1707">
                  <c:v>157.9</c:v>
                </c:pt>
                <c:pt idx="1708">
                  <c:v>159.13999999999999</c:v>
                </c:pt>
                <c:pt idx="1709">
                  <c:v>158.94</c:v>
                </c:pt>
                <c:pt idx="1710">
                  <c:v>159.51</c:v>
                </c:pt>
                <c:pt idx="1711">
                  <c:v>159.32</c:v>
                </c:pt>
                <c:pt idx="1712">
                  <c:v>159.49</c:v>
                </c:pt>
                <c:pt idx="1713">
                  <c:v>156.65</c:v>
                </c:pt>
                <c:pt idx="1714">
                  <c:v>158.22999999999999</c:v>
                </c:pt>
                <c:pt idx="1715">
                  <c:v>158.56</c:v>
                </c:pt>
                <c:pt idx="1716">
                  <c:v>156.74</c:v>
                </c:pt>
                <c:pt idx="1717">
                  <c:v>158.09</c:v>
                </c:pt>
                <c:pt idx="1718">
                  <c:v>158.28</c:v>
                </c:pt>
                <c:pt idx="1719">
                  <c:v>157.72999999999999</c:v>
                </c:pt>
                <c:pt idx="1720">
                  <c:v>159.11000000000001</c:v>
                </c:pt>
                <c:pt idx="1721">
                  <c:v>157.5</c:v>
                </c:pt>
                <c:pt idx="1722">
                  <c:v>158.22999999999999</c:v>
                </c:pt>
                <c:pt idx="1723">
                  <c:v>158.69999999999999</c:v>
                </c:pt>
                <c:pt idx="1724">
                  <c:v>158.82</c:v>
                </c:pt>
                <c:pt idx="1725">
                  <c:v>157.30000000000001</c:v>
                </c:pt>
                <c:pt idx="1726">
                  <c:v>159.13999999999999</c:v>
                </c:pt>
                <c:pt idx="1727">
                  <c:v>156.38</c:v>
                </c:pt>
                <c:pt idx="1728">
                  <c:v>159.09</c:v>
                </c:pt>
                <c:pt idx="1729">
                  <c:v>160.13</c:v>
                </c:pt>
                <c:pt idx="1730">
                  <c:v>160.12</c:v>
                </c:pt>
                <c:pt idx="1731">
                  <c:v>160.11000000000001</c:v>
                </c:pt>
                <c:pt idx="1732">
                  <c:v>158.5</c:v>
                </c:pt>
                <c:pt idx="1733">
                  <c:v>157.59</c:v>
                </c:pt>
                <c:pt idx="1734">
                  <c:v>153.46</c:v>
                </c:pt>
                <c:pt idx="1735">
                  <c:v>154.30000000000001</c:v>
                </c:pt>
                <c:pt idx="1736">
                  <c:v>156.4</c:v>
                </c:pt>
                <c:pt idx="1737">
                  <c:v>157.33000000000001</c:v>
                </c:pt>
                <c:pt idx="1738">
                  <c:v>158.9</c:v>
                </c:pt>
                <c:pt idx="1739">
                  <c:v>158.38999999999999</c:v>
                </c:pt>
                <c:pt idx="1740">
                  <c:v>157.38</c:v>
                </c:pt>
                <c:pt idx="1741">
                  <c:v>157.9</c:v>
                </c:pt>
                <c:pt idx="1742">
                  <c:v>158.61000000000001</c:v>
                </c:pt>
                <c:pt idx="1743">
                  <c:v>157.63</c:v>
                </c:pt>
                <c:pt idx="1744">
                  <c:v>157.88</c:v>
                </c:pt>
                <c:pt idx="1745">
                  <c:v>157.74</c:v>
                </c:pt>
                <c:pt idx="1746">
                  <c:v>159.13</c:v>
                </c:pt>
                <c:pt idx="1747">
                  <c:v>159.66</c:v>
                </c:pt>
                <c:pt idx="1748">
                  <c:v>159.83000000000001</c:v>
                </c:pt>
                <c:pt idx="1749">
                  <c:v>159.66999999999999</c:v>
                </c:pt>
                <c:pt idx="1750">
                  <c:v>159.93</c:v>
                </c:pt>
                <c:pt idx="1751">
                  <c:v>160.49</c:v>
                </c:pt>
                <c:pt idx="1752">
                  <c:v>161.62</c:v>
                </c:pt>
                <c:pt idx="1753">
                  <c:v>162.02000000000001</c:v>
                </c:pt>
                <c:pt idx="1754">
                  <c:v>161.5</c:v>
                </c:pt>
                <c:pt idx="1755">
                  <c:v>161.46</c:v>
                </c:pt>
                <c:pt idx="1756">
                  <c:v>161.91</c:v>
                </c:pt>
                <c:pt idx="1757">
                  <c:v>159.88</c:v>
                </c:pt>
                <c:pt idx="1758">
                  <c:v>160.31</c:v>
                </c:pt>
                <c:pt idx="1759">
                  <c:v>160.76</c:v>
                </c:pt>
                <c:pt idx="1760">
                  <c:v>161.30000000000001</c:v>
                </c:pt>
                <c:pt idx="1761">
                  <c:v>160.84</c:v>
                </c:pt>
                <c:pt idx="1762">
                  <c:v>160.16</c:v>
                </c:pt>
                <c:pt idx="1763">
                  <c:v>160.75</c:v>
                </c:pt>
                <c:pt idx="1764">
                  <c:v>161.11000000000001</c:v>
                </c:pt>
                <c:pt idx="1765">
                  <c:v>160.58000000000001</c:v>
                </c:pt>
                <c:pt idx="1766">
                  <c:v>160.47</c:v>
                </c:pt>
                <c:pt idx="1767">
                  <c:v>160.63999999999999</c:v>
                </c:pt>
                <c:pt idx="1768">
                  <c:v>160.03</c:v>
                </c:pt>
                <c:pt idx="1769">
                  <c:v>161.56</c:v>
                </c:pt>
                <c:pt idx="1770">
                  <c:v>160.66</c:v>
                </c:pt>
                <c:pt idx="1771">
                  <c:v>158.30000000000001</c:v>
                </c:pt>
                <c:pt idx="1772">
                  <c:v>158.43</c:v>
                </c:pt>
                <c:pt idx="1773">
                  <c:v>158.30000000000001</c:v>
                </c:pt>
                <c:pt idx="1774">
                  <c:v>159.22</c:v>
                </c:pt>
                <c:pt idx="1775">
                  <c:v>159.44</c:v>
                </c:pt>
                <c:pt idx="1776">
                  <c:v>158.36000000000001</c:v>
                </c:pt>
                <c:pt idx="1777">
                  <c:v>158.72</c:v>
                </c:pt>
                <c:pt idx="1778">
                  <c:v>157.08000000000001</c:v>
                </c:pt>
                <c:pt idx="1779">
                  <c:v>153.44999999999999</c:v>
                </c:pt>
                <c:pt idx="1780">
                  <c:v>155.65</c:v>
                </c:pt>
                <c:pt idx="1781">
                  <c:v>157.25</c:v>
                </c:pt>
                <c:pt idx="1782">
                  <c:v>158.63999999999999</c:v>
                </c:pt>
                <c:pt idx="1783">
                  <c:v>157.5</c:v>
                </c:pt>
                <c:pt idx="1784">
                  <c:v>157.93</c:v>
                </c:pt>
                <c:pt idx="1785">
                  <c:v>154.63</c:v>
                </c:pt>
                <c:pt idx="1786">
                  <c:v>155.82</c:v>
                </c:pt>
                <c:pt idx="1787">
                  <c:v>154.75</c:v>
                </c:pt>
                <c:pt idx="1788">
                  <c:v>153.69999999999999</c:v>
                </c:pt>
                <c:pt idx="1789">
                  <c:v>152.47999999999999</c:v>
                </c:pt>
                <c:pt idx="1790">
                  <c:v>154.08000000000001</c:v>
                </c:pt>
                <c:pt idx="1791">
                  <c:v>151.84</c:v>
                </c:pt>
                <c:pt idx="1792">
                  <c:v>154.66</c:v>
                </c:pt>
                <c:pt idx="1793">
                  <c:v>154.19999999999999</c:v>
                </c:pt>
                <c:pt idx="1794">
                  <c:v>154.13</c:v>
                </c:pt>
                <c:pt idx="1795">
                  <c:v>153.6</c:v>
                </c:pt>
                <c:pt idx="1796">
                  <c:v>154.63999999999999</c:v>
                </c:pt>
                <c:pt idx="1797">
                  <c:v>156.80000000000001</c:v>
                </c:pt>
                <c:pt idx="1798">
                  <c:v>158.07</c:v>
                </c:pt>
                <c:pt idx="1799">
                  <c:v>156.91999999999999</c:v>
                </c:pt>
                <c:pt idx="1800">
                  <c:v>157.34</c:v>
                </c:pt>
                <c:pt idx="1801">
                  <c:v>157.41</c:v>
                </c:pt>
                <c:pt idx="1802">
                  <c:v>156.9</c:v>
                </c:pt>
                <c:pt idx="1803">
                  <c:v>157.62</c:v>
                </c:pt>
                <c:pt idx="1804">
                  <c:v>158.19</c:v>
                </c:pt>
                <c:pt idx="1805">
                  <c:v>159.79</c:v>
                </c:pt>
                <c:pt idx="1806">
                  <c:v>159.27000000000001</c:v>
                </c:pt>
                <c:pt idx="1807">
                  <c:v>159.16999999999999</c:v>
                </c:pt>
                <c:pt idx="1808">
                  <c:v>159.1</c:v>
                </c:pt>
                <c:pt idx="1809">
                  <c:v>160.29</c:v>
                </c:pt>
                <c:pt idx="1810">
                  <c:v>161.79</c:v>
                </c:pt>
                <c:pt idx="1811">
                  <c:v>161.85</c:v>
                </c:pt>
                <c:pt idx="1812">
                  <c:v>162.55000000000001</c:v>
                </c:pt>
                <c:pt idx="1813">
                  <c:v>162.80000000000001</c:v>
                </c:pt>
                <c:pt idx="1814">
                  <c:v>162.72</c:v>
                </c:pt>
                <c:pt idx="1815">
                  <c:v>162.66</c:v>
                </c:pt>
                <c:pt idx="1816">
                  <c:v>162.94</c:v>
                </c:pt>
                <c:pt idx="1817">
                  <c:v>163.09</c:v>
                </c:pt>
                <c:pt idx="1818">
                  <c:v>163.21</c:v>
                </c:pt>
                <c:pt idx="1819">
                  <c:v>163.76</c:v>
                </c:pt>
                <c:pt idx="1820">
                  <c:v>164.77</c:v>
                </c:pt>
                <c:pt idx="1821">
                  <c:v>164.8</c:v>
                </c:pt>
                <c:pt idx="1822">
                  <c:v>164.5</c:v>
                </c:pt>
                <c:pt idx="1823">
                  <c:v>163.87</c:v>
                </c:pt>
                <c:pt idx="1824">
                  <c:v>163.43</c:v>
                </c:pt>
                <c:pt idx="1825">
                  <c:v>161.61000000000001</c:v>
                </c:pt>
                <c:pt idx="1826">
                  <c:v>161.02000000000001</c:v>
                </c:pt>
                <c:pt idx="1827">
                  <c:v>161.41999999999999</c:v>
                </c:pt>
                <c:pt idx="1828">
                  <c:v>154.72</c:v>
                </c:pt>
                <c:pt idx="1829">
                  <c:v>154.96</c:v>
                </c:pt>
                <c:pt idx="1830">
                  <c:v>153.13</c:v>
                </c:pt>
                <c:pt idx="1831">
                  <c:v>156.9</c:v>
                </c:pt>
                <c:pt idx="1832">
                  <c:v>154.78</c:v>
                </c:pt>
                <c:pt idx="1833">
                  <c:v>153.83000000000001</c:v>
                </c:pt>
                <c:pt idx="1834">
                  <c:v>155.97</c:v>
                </c:pt>
                <c:pt idx="1835">
                  <c:v>160.37</c:v>
                </c:pt>
                <c:pt idx="1836">
                  <c:v>159.08000000000001</c:v>
                </c:pt>
                <c:pt idx="1837">
                  <c:v>158.59</c:v>
                </c:pt>
                <c:pt idx="1838">
                  <c:v>158.43</c:v>
                </c:pt>
                <c:pt idx="1839">
                  <c:v>158.41999999999999</c:v>
                </c:pt>
                <c:pt idx="1840">
                  <c:v>156.71</c:v>
                </c:pt>
                <c:pt idx="1841">
                  <c:v>156.94</c:v>
                </c:pt>
                <c:pt idx="1842">
                  <c:v>158.56</c:v>
                </c:pt>
                <c:pt idx="1843">
                  <c:v>157.5</c:v>
                </c:pt>
                <c:pt idx="1844">
                  <c:v>154.54</c:v>
                </c:pt>
                <c:pt idx="1845">
                  <c:v>156.65</c:v>
                </c:pt>
                <c:pt idx="1846">
                  <c:v>158.13</c:v>
                </c:pt>
                <c:pt idx="1847">
                  <c:v>159.78</c:v>
                </c:pt>
                <c:pt idx="1848">
                  <c:v>159.78</c:v>
                </c:pt>
                <c:pt idx="1849">
                  <c:v>160.58000000000001</c:v>
                </c:pt>
                <c:pt idx="1850">
                  <c:v>161.88</c:v>
                </c:pt>
                <c:pt idx="1851">
                  <c:v>160.75</c:v>
                </c:pt>
                <c:pt idx="1852">
                  <c:v>161.08000000000001</c:v>
                </c:pt>
                <c:pt idx="1853">
                  <c:v>161.08000000000001</c:v>
                </c:pt>
                <c:pt idx="1854">
                  <c:v>162.46</c:v>
                </c:pt>
                <c:pt idx="1855">
                  <c:v>163.80000000000001</c:v>
                </c:pt>
                <c:pt idx="1856">
                  <c:v>165.01</c:v>
                </c:pt>
                <c:pt idx="1857">
                  <c:v>162.78</c:v>
                </c:pt>
                <c:pt idx="1858">
                  <c:v>161.72</c:v>
                </c:pt>
                <c:pt idx="1859">
                  <c:v>159.9</c:v>
                </c:pt>
                <c:pt idx="1860">
                  <c:v>161.66</c:v>
                </c:pt>
                <c:pt idx="1861">
                  <c:v>162.36000000000001</c:v>
                </c:pt>
                <c:pt idx="1862">
                  <c:v>162.57</c:v>
                </c:pt>
                <c:pt idx="1863">
                  <c:v>161.07</c:v>
                </c:pt>
                <c:pt idx="1864">
                  <c:v>161.58000000000001</c:v>
                </c:pt>
                <c:pt idx="1865">
                  <c:v>159.94999999999999</c:v>
                </c:pt>
                <c:pt idx="1866">
                  <c:v>160.32</c:v>
                </c:pt>
                <c:pt idx="1867">
                  <c:v>161.36000000000001</c:v>
                </c:pt>
                <c:pt idx="1868">
                  <c:v>158.22999999999999</c:v>
                </c:pt>
                <c:pt idx="1869">
                  <c:v>152.22</c:v>
                </c:pt>
                <c:pt idx="1870">
                  <c:v>153.37</c:v>
                </c:pt>
                <c:pt idx="1871">
                  <c:v>156.77000000000001</c:v>
                </c:pt>
                <c:pt idx="1872">
                  <c:v>157.43</c:v>
                </c:pt>
                <c:pt idx="1873">
                  <c:v>155.35</c:v>
                </c:pt>
                <c:pt idx="1874">
                  <c:v>156.88999999999999</c:v>
                </c:pt>
                <c:pt idx="1875">
                  <c:v>158.38999999999999</c:v>
                </c:pt>
                <c:pt idx="1876">
                  <c:v>158.34</c:v>
                </c:pt>
                <c:pt idx="1877">
                  <c:v>155.85</c:v>
                </c:pt>
                <c:pt idx="1878">
                  <c:v>153.12</c:v>
                </c:pt>
                <c:pt idx="1879">
                  <c:v>154.21</c:v>
                </c:pt>
                <c:pt idx="1880">
                  <c:v>154.57</c:v>
                </c:pt>
                <c:pt idx="1881">
                  <c:v>157</c:v>
                </c:pt>
                <c:pt idx="1882">
                  <c:v>157.08000000000001</c:v>
                </c:pt>
                <c:pt idx="1883">
                  <c:v>156.41999999999999</c:v>
                </c:pt>
                <c:pt idx="1884">
                  <c:v>153.27000000000001</c:v>
                </c:pt>
                <c:pt idx="1885">
                  <c:v>156.30000000000001</c:v>
                </c:pt>
                <c:pt idx="1886">
                  <c:v>155.87</c:v>
                </c:pt>
                <c:pt idx="1887">
                  <c:v>154.83000000000001</c:v>
                </c:pt>
                <c:pt idx="1888">
                  <c:v>152.54</c:v>
                </c:pt>
                <c:pt idx="1889">
                  <c:v>149.38</c:v>
                </c:pt>
                <c:pt idx="1890">
                  <c:v>149</c:v>
                </c:pt>
                <c:pt idx="1891">
                  <c:v>148.37</c:v>
                </c:pt>
                <c:pt idx="1892">
                  <c:v>142.5</c:v>
                </c:pt>
                <c:pt idx="1893">
                  <c:v>147.72</c:v>
                </c:pt>
                <c:pt idx="1894">
                  <c:v>146.65</c:v>
                </c:pt>
                <c:pt idx="1895">
                  <c:v>141.01</c:v>
                </c:pt>
                <c:pt idx="1896">
                  <c:v>141.97</c:v>
                </c:pt>
                <c:pt idx="1897">
                  <c:v>138.91</c:v>
                </c:pt>
                <c:pt idx="1898">
                  <c:v>132.79</c:v>
                </c:pt>
                <c:pt idx="1899">
                  <c:v>130.15</c:v>
                </c:pt>
                <c:pt idx="1900">
                  <c:v>130.12</c:v>
                </c:pt>
                <c:pt idx="1901">
                  <c:v>140.43</c:v>
                </c:pt>
                <c:pt idx="1902">
                  <c:v>136.31</c:v>
                </c:pt>
                <c:pt idx="1903">
                  <c:v>138.19999999999999</c:v>
                </c:pt>
                <c:pt idx="1904">
                  <c:v>141.25</c:v>
                </c:pt>
                <c:pt idx="1905">
                  <c:v>141.13</c:v>
                </c:pt>
                <c:pt idx="1906">
                  <c:v>146.44</c:v>
                </c:pt>
                <c:pt idx="1907">
                  <c:v>145.91</c:v>
                </c:pt>
                <c:pt idx="1908">
                  <c:v>146.16</c:v>
                </c:pt>
                <c:pt idx="1909">
                  <c:v>145.29</c:v>
                </c:pt>
                <c:pt idx="1910">
                  <c:v>146.77000000000001</c:v>
                </c:pt>
                <c:pt idx="1911">
                  <c:v>144.85</c:v>
                </c:pt>
                <c:pt idx="1912">
                  <c:v>144.75</c:v>
                </c:pt>
                <c:pt idx="1913">
                  <c:v>145.07</c:v>
                </c:pt>
                <c:pt idx="1914">
                  <c:v>146.19999999999999</c:v>
                </c:pt>
                <c:pt idx="1915">
                  <c:v>150.29</c:v>
                </c:pt>
                <c:pt idx="1916">
                  <c:v>148.12</c:v>
                </c:pt>
                <c:pt idx="1917">
                  <c:v>146.18</c:v>
                </c:pt>
                <c:pt idx="1918">
                  <c:v>146.5</c:v>
                </c:pt>
                <c:pt idx="1919">
                  <c:v>147.22</c:v>
                </c:pt>
                <c:pt idx="1920">
                  <c:v>146.27000000000001</c:v>
                </c:pt>
                <c:pt idx="1921">
                  <c:v>143.51</c:v>
                </c:pt>
                <c:pt idx="1922">
                  <c:v>142.76</c:v>
                </c:pt>
                <c:pt idx="1923">
                  <c:v>144.85</c:v>
                </c:pt>
                <c:pt idx="1924">
                  <c:v>143.93</c:v>
                </c:pt>
                <c:pt idx="1925">
                  <c:v>143.24</c:v>
                </c:pt>
                <c:pt idx="1926">
                  <c:v>142.75</c:v>
                </c:pt>
                <c:pt idx="1927">
                  <c:v>143.63</c:v>
                </c:pt>
                <c:pt idx="1928">
                  <c:v>143.63</c:v>
                </c:pt>
                <c:pt idx="1929">
                  <c:v>143.63</c:v>
                </c:pt>
                <c:pt idx="1930">
                  <c:v>143.53</c:v>
                </c:pt>
                <c:pt idx="1931">
                  <c:v>145.63999999999999</c:v>
                </c:pt>
                <c:pt idx="1932">
                  <c:v>147.07</c:v>
                </c:pt>
                <c:pt idx="1933">
                  <c:v>143.41</c:v>
                </c:pt>
                <c:pt idx="1934">
                  <c:v>141.19999999999999</c:v>
                </c:pt>
                <c:pt idx="1935">
                  <c:v>139.5</c:v>
                </c:pt>
                <c:pt idx="1936">
                  <c:v>139.88</c:v>
                </c:pt>
                <c:pt idx="1937">
                  <c:v>141.77000000000001</c:v>
                </c:pt>
                <c:pt idx="1938">
                  <c:v>142.96</c:v>
                </c:pt>
                <c:pt idx="1939">
                  <c:v>141.35</c:v>
                </c:pt>
                <c:pt idx="1940">
                  <c:v>142.37</c:v>
                </c:pt>
                <c:pt idx="1941">
                  <c:v>141.66999999999999</c:v>
                </c:pt>
                <c:pt idx="1942">
                  <c:v>140.97999999999999</c:v>
                </c:pt>
                <c:pt idx="1943">
                  <c:v>138.66999999999999</c:v>
                </c:pt>
                <c:pt idx="1944">
                  <c:v>135.69</c:v>
                </c:pt>
                <c:pt idx="1945">
                  <c:v>137.25</c:v>
                </c:pt>
                <c:pt idx="1946">
                  <c:v>140.22999999999999</c:v>
                </c:pt>
                <c:pt idx="1947">
                  <c:v>139.33000000000001</c:v>
                </c:pt>
                <c:pt idx="1948">
                  <c:v>142.25</c:v>
                </c:pt>
                <c:pt idx="1949">
                  <c:v>141.61000000000001</c:v>
                </c:pt>
                <c:pt idx="1950">
                  <c:v>143.86000000000001</c:v>
                </c:pt>
                <c:pt idx="1951">
                  <c:v>142.05000000000001</c:v>
                </c:pt>
                <c:pt idx="1952">
                  <c:v>140.78</c:v>
                </c:pt>
                <c:pt idx="1953">
                  <c:v>141.79</c:v>
                </c:pt>
                <c:pt idx="1954">
                  <c:v>143.75</c:v>
                </c:pt>
                <c:pt idx="1955">
                  <c:v>141.16</c:v>
                </c:pt>
                <c:pt idx="1956">
                  <c:v>142.05000000000001</c:v>
                </c:pt>
                <c:pt idx="1957">
                  <c:v>144.32</c:v>
                </c:pt>
                <c:pt idx="1958">
                  <c:v>146.66</c:v>
                </c:pt>
                <c:pt idx="1959">
                  <c:v>147.81</c:v>
                </c:pt>
                <c:pt idx="1960">
                  <c:v>145.91</c:v>
                </c:pt>
                <c:pt idx="1961">
                  <c:v>145.41999999999999</c:v>
                </c:pt>
                <c:pt idx="1962">
                  <c:v>146.88999999999999</c:v>
                </c:pt>
                <c:pt idx="1963">
                  <c:v>146.63999999999999</c:v>
                </c:pt>
                <c:pt idx="1964">
                  <c:v>148.6</c:v>
                </c:pt>
                <c:pt idx="1965">
                  <c:v>147.62</c:v>
                </c:pt>
                <c:pt idx="1966">
                  <c:v>146.49</c:v>
                </c:pt>
                <c:pt idx="1967">
                  <c:v>143.99</c:v>
                </c:pt>
                <c:pt idx="1968">
                  <c:v>139.56</c:v>
                </c:pt>
                <c:pt idx="1969">
                  <c:v>136.16</c:v>
                </c:pt>
                <c:pt idx="1970">
                  <c:v>134.91999999999999</c:v>
                </c:pt>
                <c:pt idx="1971">
                  <c:v>136.75</c:v>
                </c:pt>
                <c:pt idx="1972">
                  <c:v>132.22</c:v>
                </c:pt>
                <c:pt idx="1973">
                  <c:v>133.11000000000001</c:v>
                </c:pt>
                <c:pt idx="1974">
                  <c:v>134.52000000000001</c:v>
                </c:pt>
                <c:pt idx="1975">
                  <c:v>134.79</c:v>
                </c:pt>
                <c:pt idx="1976">
                  <c:v>133.29</c:v>
                </c:pt>
                <c:pt idx="1977">
                  <c:v>130.94</c:v>
                </c:pt>
                <c:pt idx="1978">
                  <c:v>133.03</c:v>
                </c:pt>
                <c:pt idx="1979">
                  <c:v>133.72</c:v>
                </c:pt>
                <c:pt idx="1980">
                  <c:v>134.18</c:v>
                </c:pt>
                <c:pt idx="1981">
                  <c:v>131.86000000000001</c:v>
                </c:pt>
                <c:pt idx="1982">
                  <c:v>129.63999999999999</c:v>
                </c:pt>
                <c:pt idx="1983">
                  <c:v>129.93</c:v>
                </c:pt>
                <c:pt idx="1984">
                  <c:v>129.53</c:v>
                </c:pt>
                <c:pt idx="1985">
                  <c:v>125.76</c:v>
                </c:pt>
                <c:pt idx="1986">
                  <c:v>127.72</c:v>
                </c:pt>
                <c:pt idx="1987">
                  <c:v>130.24</c:v>
                </c:pt>
                <c:pt idx="1988">
                  <c:v>131.97999999999999</c:v>
                </c:pt>
                <c:pt idx="1989">
                  <c:v>130.13</c:v>
                </c:pt>
                <c:pt idx="1990">
                  <c:v>130.87</c:v>
                </c:pt>
                <c:pt idx="1991">
                  <c:v>129.36000000000001</c:v>
                </c:pt>
                <c:pt idx="1992">
                  <c:v>126.96</c:v>
                </c:pt>
                <c:pt idx="1993">
                  <c:v>130.46</c:v>
                </c:pt>
                <c:pt idx="1994">
                  <c:v>131.41999999999999</c:v>
                </c:pt>
                <c:pt idx="1995">
                  <c:v>134.96</c:v>
                </c:pt>
                <c:pt idx="1996">
                  <c:v>134.69</c:v>
                </c:pt>
                <c:pt idx="1997">
                  <c:v>134.33000000000001</c:v>
                </c:pt>
                <c:pt idx="1998">
                  <c:v>134.4</c:v>
                </c:pt>
                <c:pt idx="1999">
                  <c:v>133.96</c:v>
                </c:pt>
                <c:pt idx="2000">
                  <c:v>132.81</c:v>
                </c:pt>
                <c:pt idx="2001">
                  <c:v>133.52000000000001</c:v>
                </c:pt>
                <c:pt idx="2002">
                  <c:v>134.69</c:v>
                </c:pt>
                <c:pt idx="2003">
                  <c:v>136.74</c:v>
                </c:pt>
                <c:pt idx="2004">
                  <c:v>136.69</c:v>
                </c:pt>
                <c:pt idx="2005">
                  <c:v>136.38</c:v>
                </c:pt>
                <c:pt idx="2006">
                  <c:v>137.79</c:v>
                </c:pt>
                <c:pt idx="2007">
                  <c:v>138.55000000000001</c:v>
                </c:pt>
                <c:pt idx="2008">
                  <c:v>137.65</c:v>
                </c:pt>
                <c:pt idx="2009">
                  <c:v>138.80000000000001</c:v>
                </c:pt>
                <c:pt idx="2010">
                  <c:v>137.25</c:v>
                </c:pt>
                <c:pt idx="2011">
                  <c:v>138.94</c:v>
                </c:pt>
                <c:pt idx="2012">
                  <c:v>138.87</c:v>
                </c:pt>
                <c:pt idx="2013">
                  <c:v>139.9</c:v>
                </c:pt>
                <c:pt idx="2014">
                  <c:v>140.11000000000001</c:v>
                </c:pt>
                <c:pt idx="2015">
                  <c:v>141.06</c:v>
                </c:pt>
                <c:pt idx="2016">
                  <c:v>138.19</c:v>
                </c:pt>
                <c:pt idx="2017">
                  <c:v>138.9</c:v>
                </c:pt>
                <c:pt idx="2018">
                  <c:v>137.35</c:v>
                </c:pt>
                <c:pt idx="2019">
                  <c:v>134.16999999999999</c:v>
                </c:pt>
                <c:pt idx="2020">
                  <c:v>133.80000000000001</c:v>
                </c:pt>
                <c:pt idx="2021">
                  <c:v>134.06</c:v>
                </c:pt>
                <c:pt idx="2022">
                  <c:v>134.59</c:v>
                </c:pt>
                <c:pt idx="2023">
                  <c:v>131.54</c:v>
                </c:pt>
                <c:pt idx="2024">
                  <c:v>130.74</c:v>
                </c:pt>
                <c:pt idx="2025">
                  <c:v>131.44</c:v>
                </c:pt>
                <c:pt idx="2026">
                  <c:v>130.16</c:v>
                </c:pt>
                <c:pt idx="2027">
                  <c:v>128.08000000000001</c:v>
                </c:pt>
                <c:pt idx="2028">
                  <c:v>132.34</c:v>
                </c:pt>
                <c:pt idx="2029">
                  <c:v>129.4</c:v>
                </c:pt>
                <c:pt idx="2030">
                  <c:v>130.53</c:v>
                </c:pt>
                <c:pt idx="2031">
                  <c:v>130.97999999999999</c:v>
                </c:pt>
                <c:pt idx="2032">
                  <c:v>130.86000000000001</c:v>
                </c:pt>
                <c:pt idx="2033">
                  <c:v>132.72</c:v>
                </c:pt>
                <c:pt idx="2034">
                  <c:v>135.91</c:v>
                </c:pt>
                <c:pt idx="2035">
                  <c:v>133.75</c:v>
                </c:pt>
                <c:pt idx="2036">
                  <c:v>132.11000000000001</c:v>
                </c:pt>
                <c:pt idx="2037">
                  <c:v>131.38999999999999</c:v>
                </c:pt>
                <c:pt idx="2038">
                  <c:v>129.21</c:v>
                </c:pt>
                <c:pt idx="2039">
                  <c:v>129.83000000000001</c:v>
                </c:pt>
                <c:pt idx="2040">
                  <c:v>128.49</c:v>
                </c:pt>
                <c:pt idx="2041">
                  <c:v>129.47</c:v>
                </c:pt>
                <c:pt idx="2042">
                  <c:v>127.08</c:v>
                </c:pt>
                <c:pt idx="2043">
                  <c:v>124.57</c:v>
                </c:pt>
                <c:pt idx="2044">
                  <c:v>124</c:v>
                </c:pt>
                <c:pt idx="2045">
                  <c:v>123.11</c:v>
                </c:pt>
                <c:pt idx="2046">
                  <c:v>123.55</c:v>
                </c:pt>
                <c:pt idx="2047">
                  <c:v>121.44</c:v>
                </c:pt>
                <c:pt idx="2048">
                  <c:v>122.85</c:v>
                </c:pt>
                <c:pt idx="2049">
                  <c:v>123.81</c:v>
                </c:pt>
                <c:pt idx="2050">
                  <c:v>128.49</c:v>
                </c:pt>
                <c:pt idx="2051">
                  <c:v>126.93</c:v>
                </c:pt>
                <c:pt idx="2052">
                  <c:v>126.46</c:v>
                </c:pt>
                <c:pt idx="2053">
                  <c:v>124.46</c:v>
                </c:pt>
                <c:pt idx="2054">
                  <c:v>124.46</c:v>
                </c:pt>
                <c:pt idx="2055">
                  <c:v>123.92</c:v>
                </c:pt>
                <c:pt idx="2056">
                  <c:v>123.44</c:v>
                </c:pt>
                <c:pt idx="2057">
                  <c:v>125.29</c:v>
                </c:pt>
                <c:pt idx="2058">
                  <c:v>126.13</c:v>
                </c:pt>
                <c:pt idx="2059">
                  <c:v>128.27000000000001</c:v>
                </c:pt>
                <c:pt idx="2060">
                  <c:v>129.44999999999999</c:v>
                </c:pt>
                <c:pt idx="2061">
                  <c:v>129.21</c:v>
                </c:pt>
                <c:pt idx="2062">
                  <c:v>129.47</c:v>
                </c:pt>
                <c:pt idx="2063">
                  <c:v>129.1</c:v>
                </c:pt>
                <c:pt idx="2064">
                  <c:v>131.13</c:v>
                </c:pt>
                <c:pt idx="2065">
                  <c:v>132.37</c:v>
                </c:pt>
                <c:pt idx="2066">
                  <c:v>133.82</c:v>
                </c:pt>
                <c:pt idx="2067">
                  <c:v>133.97</c:v>
                </c:pt>
                <c:pt idx="2068">
                  <c:v>134.30000000000001</c:v>
                </c:pt>
                <c:pt idx="2069">
                  <c:v>134.4</c:v>
                </c:pt>
                <c:pt idx="2070">
                  <c:v>135.26</c:v>
                </c:pt>
                <c:pt idx="2071">
                  <c:v>134.43</c:v>
                </c:pt>
                <c:pt idx="2072">
                  <c:v>133.15</c:v>
                </c:pt>
                <c:pt idx="2073">
                  <c:v>136.49</c:v>
                </c:pt>
                <c:pt idx="2074">
                  <c:v>137.24</c:v>
                </c:pt>
                <c:pt idx="2075">
                  <c:v>138.81</c:v>
                </c:pt>
                <c:pt idx="2076">
                  <c:v>138.59</c:v>
                </c:pt>
                <c:pt idx="2077">
                  <c:v>143.44999999999999</c:v>
                </c:pt>
                <c:pt idx="2078">
                  <c:v>144.25</c:v>
                </c:pt>
                <c:pt idx="2079">
                  <c:v>145.15</c:v>
                </c:pt>
                <c:pt idx="2080">
                  <c:v>145.81</c:v>
                </c:pt>
                <c:pt idx="2081">
                  <c:v>144.34</c:v>
                </c:pt>
                <c:pt idx="2082">
                  <c:v>144.66999999999999</c:v>
                </c:pt>
                <c:pt idx="2083">
                  <c:v>146.35</c:v>
                </c:pt>
                <c:pt idx="2084">
                  <c:v>145.82</c:v>
                </c:pt>
                <c:pt idx="2085">
                  <c:v>146.25</c:v>
                </c:pt>
                <c:pt idx="2086">
                  <c:v>146.31</c:v>
                </c:pt>
                <c:pt idx="2087">
                  <c:v>147.44</c:v>
                </c:pt>
                <c:pt idx="2088">
                  <c:v>147.46</c:v>
                </c:pt>
                <c:pt idx="2089">
                  <c:v>145.86000000000001</c:v>
                </c:pt>
                <c:pt idx="2090">
                  <c:v>145.57</c:v>
                </c:pt>
                <c:pt idx="2091">
                  <c:v>146</c:v>
                </c:pt>
                <c:pt idx="2092">
                  <c:v>146.94</c:v>
                </c:pt>
                <c:pt idx="2093">
                  <c:v>147.34</c:v>
                </c:pt>
                <c:pt idx="2094">
                  <c:v>146.51</c:v>
                </c:pt>
                <c:pt idx="2095">
                  <c:v>145.44999999999999</c:v>
                </c:pt>
                <c:pt idx="2096">
                  <c:v>144.62</c:v>
                </c:pt>
                <c:pt idx="2097">
                  <c:v>144.65</c:v>
                </c:pt>
                <c:pt idx="2098">
                  <c:v>145.72999999999999</c:v>
                </c:pt>
                <c:pt idx="2099">
                  <c:v>145.08000000000001</c:v>
                </c:pt>
                <c:pt idx="2100">
                  <c:v>147.02000000000001</c:v>
                </c:pt>
                <c:pt idx="2101">
                  <c:v>146.63999999999999</c:v>
                </c:pt>
                <c:pt idx="2102">
                  <c:v>141.83000000000001</c:v>
                </c:pt>
                <c:pt idx="2103">
                  <c:v>140.88999999999999</c:v>
                </c:pt>
                <c:pt idx="2104">
                  <c:v>141.38999999999999</c:v>
                </c:pt>
                <c:pt idx="2105">
                  <c:v>140.80000000000001</c:v>
                </c:pt>
                <c:pt idx="2106">
                  <c:v>142.96</c:v>
                </c:pt>
                <c:pt idx="2107">
                  <c:v>141.1</c:v>
                </c:pt>
                <c:pt idx="2108">
                  <c:v>141.37</c:v>
                </c:pt>
                <c:pt idx="2109">
                  <c:v>141.37</c:v>
                </c:pt>
                <c:pt idx="2110">
                  <c:v>141.91999999999999</c:v>
                </c:pt>
                <c:pt idx="2111">
                  <c:v>141.22</c:v>
                </c:pt>
                <c:pt idx="2112">
                  <c:v>142.69999999999999</c:v>
                </c:pt>
                <c:pt idx="2113">
                  <c:v>141.19999999999999</c:v>
                </c:pt>
                <c:pt idx="2114">
                  <c:v>142.66999999999999</c:v>
                </c:pt>
                <c:pt idx="2115">
                  <c:v>143.81</c:v>
                </c:pt>
                <c:pt idx="2116">
                  <c:v>146.94999999999999</c:v>
                </c:pt>
                <c:pt idx="2117">
                  <c:v>146.38999999999999</c:v>
                </c:pt>
                <c:pt idx="2118">
                  <c:v>148.16</c:v>
                </c:pt>
                <c:pt idx="2119">
                  <c:v>150.01</c:v>
                </c:pt>
                <c:pt idx="2120">
                  <c:v>149.83000000000001</c:v>
                </c:pt>
                <c:pt idx="2121">
                  <c:v>151.58000000000001</c:v>
                </c:pt>
                <c:pt idx="2122">
                  <c:v>152.69999999999999</c:v>
                </c:pt>
                <c:pt idx="2123">
                  <c:v>152.99</c:v>
                </c:pt>
                <c:pt idx="2124">
                  <c:v>153.47</c:v>
                </c:pt>
                <c:pt idx="2125">
                  <c:v>154.01</c:v>
                </c:pt>
                <c:pt idx="2126">
                  <c:v>153.94999999999999</c:v>
                </c:pt>
                <c:pt idx="2127">
                  <c:v>151.30000000000001</c:v>
                </c:pt>
                <c:pt idx="2128">
                  <c:v>152.44999999999999</c:v>
                </c:pt>
                <c:pt idx="2129">
                  <c:v>153.16</c:v>
                </c:pt>
                <c:pt idx="2130">
                  <c:v>153.06</c:v>
                </c:pt>
                <c:pt idx="2131">
                  <c:v>152.94</c:v>
                </c:pt>
                <c:pt idx="2132">
                  <c:v>153.46</c:v>
                </c:pt>
                <c:pt idx="2133">
                  <c:v>153.63</c:v>
                </c:pt>
                <c:pt idx="2134">
                  <c:v>153.38999999999999</c:v>
                </c:pt>
                <c:pt idx="2135">
                  <c:v>153.41</c:v>
                </c:pt>
                <c:pt idx="2136">
                  <c:v>153.94</c:v>
                </c:pt>
                <c:pt idx="2137">
                  <c:v>157.27000000000001</c:v>
                </c:pt>
                <c:pt idx="2138">
                  <c:v>156.94</c:v>
                </c:pt>
                <c:pt idx="2139">
                  <c:v>155.62</c:v>
                </c:pt>
                <c:pt idx="2140">
                  <c:v>155.37</c:v>
                </c:pt>
                <c:pt idx="2141">
                  <c:v>156.29</c:v>
                </c:pt>
                <c:pt idx="2142">
                  <c:v>157.41999999999999</c:v>
                </c:pt>
                <c:pt idx="2143">
                  <c:v>155.22999999999999</c:v>
                </c:pt>
                <c:pt idx="2144">
                  <c:v>156.13999999999999</c:v>
                </c:pt>
                <c:pt idx="2145">
                  <c:v>155.97</c:v>
                </c:pt>
                <c:pt idx="2146">
                  <c:v>157.25</c:v>
                </c:pt>
                <c:pt idx="2147">
                  <c:v>157.52000000000001</c:v>
                </c:pt>
                <c:pt idx="2148">
                  <c:v>157</c:v>
                </c:pt>
                <c:pt idx="2149">
                  <c:v>156.94999999999999</c:v>
                </c:pt>
                <c:pt idx="2150">
                  <c:v>156.13999999999999</c:v>
                </c:pt>
                <c:pt idx="2151">
                  <c:v>156.16999999999999</c:v>
                </c:pt>
                <c:pt idx="2152">
                  <c:v>156.94</c:v>
                </c:pt>
                <c:pt idx="2153">
                  <c:v>154.24</c:v>
                </c:pt>
                <c:pt idx="2154">
                  <c:v>155.97999999999999</c:v>
                </c:pt>
                <c:pt idx="2155">
                  <c:v>155.81</c:v>
                </c:pt>
                <c:pt idx="2156">
                  <c:v>155.19999999999999</c:v>
                </c:pt>
                <c:pt idx="2157">
                  <c:v>155.43</c:v>
                </c:pt>
                <c:pt idx="2158">
                  <c:v>157.97999999999999</c:v>
                </c:pt>
                <c:pt idx="2159">
                  <c:v>158.74</c:v>
                </c:pt>
                <c:pt idx="2160">
                  <c:v>157.79</c:v>
                </c:pt>
                <c:pt idx="2161">
                  <c:v>158.52000000000001</c:v>
                </c:pt>
                <c:pt idx="2162">
                  <c:v>158.53</c:v>
                </c:pt>
                <c:pt idx="2163">
                  <c:v>156.44999999999999</c:v>
                </c:pt>
                <c:pt idx="2164">
                  <c:v>151.69999999999999</c:v>
                </c:pt>
                <c:pt idx="2165">
                  <c:v>154.47</c:v>
                </c:pt>
                <c:pt idx="2166">
                  <c:v>149.43</c:v>
                </c:pt>
                <c:pt idx="2167">
                  <c:v>151.78</c:v>
                </c:pt>
                <c:pt idx="2168">
                  <c:v>149.76</c:v>
                </c:pt>
                <c:pt idx="2169">
                  <c:v>151.44</c:v>
                </c:pt>
                <c:pt idx="2170">
                  <c:v>154.09</c:v>
                </c:pt>
                <c:pt idx="2171">
                  <c:v>154.30000000000001</c:v>
                </c:pt>
                <c:pt idx="2172">
                  <c:v>154.24</c:v>
                </c:pt>
                <c:pt idx="2173">
                  <c:v>151.68</c:v>
                </c:pt>
                <c:pt idx="2174">
                  <c:v>153.41</c:v>
                </c:pt>
                <c:pt idx="2175">
                  <c:v>153.55000000000001</c:v>
                </c:pt>
                <c:pt idx="2176">
                  <c:v>155.44999999999999</c:v>
                </c:pt>
                <c:pt idx="2177">
                  <c:v>157.41</c:v>
                </c:pt>
                <c:pt idx="2178">
                  <c:v>158.49</c:v>
                </c:pt>
                <c:pt idx="2179">
                  <c:v>158</c:v>
                </c:pt>
                <c:pt idx="2180">
                  <c:v>158.22999999999999</c:v>
                </c:pt>
                <c:pt idx="2181">
                  <c:v>157.38999999999999</c:v>
                </c:pt>
                <c:pt idx="2182">
                  <c:v>158.16999999999999</c:v>
                </c:pt>
                <c:pt idx="2183">
                  <c:v>158.16999999999999</c:v>
                </c:pt>
                <c:pt idx="2184">
                  <c:v>158.16999999999999</c:v>
                </c:pt>
                <c:pt idx="2185">
                  <c:v>158.76</c:v>
                </c:pt>
                <c:pt idx="2186">
                  <c:v>159.25</c:v>
                </c:pt>
                <c:pt idx="2187">
                  <c:v>159.51</c:v>
                </c:pt>
                <c:pt idx="2188">
                  <c:v>160.30000000000001</c:v>
                </c:pt>
                <c:pt idx="2189">
                  <c:v>160.12</c:v>
                </c:pt>
                <c:pt idx="2190">
                  <c:v>161.06</c:v>
                </c:pt>
                <c:pt idx="2191">
                  <c:v>161.19</c:v>
                </c:pt>
                <c:pt idx="2192">
                  <c:v>160.18</c:v>
                </c:pt>
                <c:pt idx="2193">
                  <c:v>161.05000000000001</c:v>
                </c:pt>
                <c:pt idx="2194">
                  <c:v>160.87</c:v>
                </c:pt>
                <c:pt idx="2195">
                  <c:v>160.96</c:v>
                </c:pt>
                <c:pt idx="2196">
                  <c:v>160.18</c:v>
                </c:pt>
                <c:pt idx="2197">
                  <c:v>160.22999999999999</c:v>
                </c:pt>
                <c:pt idx="2198">
                  <c:v>161.46</c:v>
                </c:pt>
                <c:pt idx="2199">
                  <c:v>161.46</c:v>
                </c:pt>
                <c:pt idx="2200">
                  <c:v>159.47999999999999</c:v>
                </c:pt>
                <c:pt idx="2201">
                  <c:v>160.38</c:v>
                </c:pt>
                <c:pt idx="2202">
                  <c:v>159.56</c:v>
                </c:pt>
                <c:pt idx="2203">
                  <c:v>161.86000000000001</c:v>
                </c:pt>
                <c:pt idx="2204">
                  <c:v>161.77000000000001</c:v>
                </c:pt>
                <c:pt idx="2205">
                  <c:v>161.80000000000001</c:v>
                </c:pt>
                <c:pt idx="2206">
                  <c:v>161.19999999999999</c:v>
                </c:pt>
                <c:pt idx="2207">
                  <c:v>160.58000000000001</c:v>
                </c:pt>
                <c:pt idx="2208">
                  <c:v>161.38</c:v>
                </c:pt>
                <c:pt idx="2209">
                  <c:v>161.41</c:v>
                </c:pt>
                <c:pt idx="2210">
                  <c:v>161.22</c:v>
                </c:pt>
                <c:pt idx="2211">
                  <c:v>161.76</c:v>
                </c:pt>
                <c:pt idx="2212">
                  <c:v>163.91</c:v>
                </c:pt>
                <c:pt idx="2213">
                  <c:v>165.04</c:v>
                </c:pt>
                <c:pt idx="2214">
                  <c:v>164.52</c:v>
                </c:pt>
                <c:pt idx="2215">
                  <c:v>163.80000000000001</c:v>
                </c:pt>
                <c:pt idx="2216">
                  <c:v>160.65</c:v>
                </c:pt>
                <c:pt idx="2217">
                  <c:v>160.16</c:v>
                </c:pt>
                <c:pt idx="2218">
                  <c:v>162.09</c:v>
                </c:pt>
                <c:pt idx="2219">
                  <c:v>161.77000000000001</c:v>
                </c:pt>
                <c:pt idx="2220">
                  <c:v>161.33000000000001</c:v>
                </c:pt>
                <c:pt idx="2221">
                  <c:v>158.84</c:v>
                </c:pt>
                <c:pt idx="2222">
                  <c:v>160.77000000000001</c:v>
                </c:pt>
                <c:pt idx="2223">
                  <c:v>162.77000000000001</c:v>
                </c:pt>
                <c:pt idx="2224">
                  <c:v>161.88999999999999</c:v>
                </c:pt>
                <c:pt idx="2225">
                  <c:v>162.18</c:v>
                </c:pt>
                <c:pt idx="2226">
                  <c:v>161.85</c:v>
                </c:pt>
                <c:pt idx="2227">
                  <c:v>162.15</c:v>
                </c:pt>
                <c:pt idx="2228">
                  <c:v>161.74</c:v>
                </c:pt>
                <c:pt idx="2229">
                  <c:v>163.24</c:v>
                </c:pt>
                <c:pt idx="2230">
                  <c:v>164.59</c:v>
                </c:pt>
                <c:pt idx="2231">
                  <c:v>165.4</c:v>
                </c:pt>
                <c:pt idx="2232">
                  <c:v>165.19</c:v>
                </c:pt>
                <c:pt idx="2233">
                  <c:v>165.88</c:v>
                </c:pt>
                <c:pt idx="2234">
                  <c:v>164.29</c:v>
                </c:pt>
                <c:pt idx="2235">
                  <c:v>163.38</c:v>
                </c:pt>
                <c:pt idx="2236">
                  <c:v>162.49</c:v>
                </c:pt>
                <c:pt idx="2237">
                  <c:v>162.13</c:v>
                </c:pt>
                <c:pt idx="2238">
                  <c:v>160.53</c:v>
                </c:pt>
                <c:pt idx="2239">
                  <c:v>160.36000000000001</c:v>
                </c:pt>
                <c:pt idx="2240">
                  <c:v>160.69999999999999</c:v>
                </c:pt>
                <c:pt idx="2241">
                  <c:v>161.72999999999999</c:v>
                </c:pt>
                <c:pt idx="2242">
                  <c:v>161.71</c:v>
                </c:pt>
                <c:pt idx="2243">
                  <c:v>163.75</c:v>
                </c:pt>
                <c:pt idx="2244">
                  <c:v>163.07</c:v>
                </c:pt>
                <c:pt idx="2245">
                  <c:v>162.65</c:v>
                </c:pt>
                <c:pt idx="2246">
                  <c:v>161.62</c:v>
                </c:pt>
                <c:pt idx="2247">
                  <c:v>157.47</c:v>
                </c:pt>
                <c:pt idx="2248">
                  <c:v>158.22999999999999</c:v>
                </c:pt>
                <c:pt idx="2249">
                  <c:v>158.94</c:v>
                </c:pt>
                <c:pt idx="2250">
                  <c:v>160.13</c:v>
                </c:pt>
                <c:pt idx="2251">
                  <c:v>162.49</c:v>
                </c:pt>
                <c:pt idx="2252">
                  <c:v>163.68</c:v>
                </c:pt>
                <c:pt idx="2253">
                  <c:v>163.32</c:v>
                </c:pt>
                <c:pt idx="2254">
                  <c:v>162.94999999999999</c:v>
                </c:pt>
                <c:pt idx="2255">
                  <c:v>163.52000000000001</c:v>
                </c:pt>
                <c:pt idx="2256">
                  <c:v>163.36000000000001</c:v>
                </c:pt>
                <c:pt idx="2257">
                  <c:v>164.32</c:v>
                </c:pt>
                <c:pt idx="2258">
                  <c:v>164.05</c:v>
                </c:pt>
                <c:pt idx="2259">
                  <c:v>164.19</c:v>
                </c:pt>
                <c:pt idx="2260">
                  <c:v>164.4</c:v>
                </c:pt>
                <c:pt idx="2261">
                  <c:v>163.59</c:v>
                </c:pt>
                <c:pt idx="2262">
                  <c:v>166.37</c:v>
                </c:pt>
                <c:pt idx="2263">
                  <c:v>167.02</c:v>
                </c:pt>
                <c:pt idx="2264">
                  <c:v>166.78</c:v>
                </c:pt>
                <c:pt idx="2265">
                  <c:v>164.69</c:v>
                </c:pt>
                <c:pt idx="2266">
                  <c:v>162.44999999999999</c:v>
                </c:pt>
                <c:pt idx="2267">
                  <c:v>161.16999999999999</c:v>
                </c:pt>
                <c:pt idx="2268">
                  <c:v>161.76</c:v>
                </c:pt>
                <c:pt idx="2269">
                  <c:v>161.75</c:v>
                </c:pt>
                <c:pt idx="2270">
                  <c:v>159.97</c:v>
                </c:pt>
                <c:pt idx="2271">
                  <c:v>160.76</c:v>
                </c:pt>
                <c:pt idx="2272">
                  <c:v>162.22</c:v>
                </c:pt>
                <c:pt idx="2273">
                  <c:v>160.55000000000001</c:v>
                </c:pt>
                <c:pt idx="2274">
                  <c:v>161.28</c:v>
                </c:pt>
                <c:pt idx="2275">
                  <c:v>159.88999999999999</c:v>
                </c:pt>
                <c:pt idx="2276">
                  <c:v>160.12</c:v>
                </c:pt>
                <c:pt idx="2277">
                  <c:v>158.97999999999999</c:v>
                </c:pt>
                <c:pt idx="2278">
                  <c:v>157.93</c:v>
                </c:pt>
                <c:pt idx="2279">
                  <c:v>158.22999999999999</c:v>
                </c:pt>
                <c:pt idx="2280">
                  <c:v>159.27000000000001</c:v>
                </c:pt>
                <c:pt idx="2281">
                  <c:v>159.5</c:v>
                </c:pt>
                <c:pt idx="2282">
                  <c:v>158.41</c:v>
                </c:pt>
                <c:pt idx="2283">
                  <c:v>158.52000000000001</c:v>
                </c:pt>
                <c:pt idx="2284">
                  <c:v>160.15</c:v>
                </c:pt>
                <c:pt idx="2285">
                  <c:v>161.55000000000001</c:v>
                </c:pt>
                <c:pt idx="2286">
                  <c:v>161.16</c:v>
                </c:pt>
                <c:pt idx="2287">
                  <c:v>161.72</c:v>
                </c:pt>
                <c:pt idx="2288">
                  <c:v>160.63</c:v>
                </c:pt>
                <c:pt idx="2289">
                  <c:v>160.47999999999999</c:v>
                </c:pt>
                <c:pt idx="2290">
                  <c:v>159.94</c:v>
                </c:pt>
                <c:pt idx="2291">
                  <c:v>159.63</c:v>
                </c:pt>
                <c:pt idx="2292">
                  <c:v>159.4</c:v>
                </c:pt>
                <c:pt idx="2293">
                  <c:v>159.66</c:v>
                </c:pt>
                <c:pt idx="2294">
                  <c:v>160.22999999999999</c:v>
                </c:pt>
                <c:pt idx="2295">
                  <c:v>159.37</c:v>
                </c:pt>
                <c:pt idx="2296">
                  <c:v>158.74</c:v>
                </c:pt>
                <c:pt idx="2297">
                  <c:v>160.28</c:v>
                </c:pt>
                <c:pt idx="2298">
                  <c:v>161.16999999999999</c:v>
                </c:pt>
                <c:pt idx="2299">
                  <c:v>159.47999999999999</c:v>
                </c:pt>
                <c:pt idx="2300">
                  <c:v>158.85</c:v>
                </c:pt>
                <c:pt idx="2301">
                  <c:v>160.04</c:v>
                </c:pt>
                <c:pt idx="2302">
                  <c:v>157.91</c:v>
                </c:pt>
                <c:pt idx="2303">
                  <c:v>157.76</c:v>
                </c:pt>
                <c:pt idx="2304">
                  <c:v>156.22</c:v>
                </c:pt>
                <c:pt idx="2305">
                  <c:v>154.71</c:v>
                </c:pt>
                <c:pt idx="2306">
                  <c:v>154.32</c:v>
                </c:pt>
                <c:pt idx="2307">
                  <c:v>155.38999999999999</c:v>
                </c:pt>
                <c:pt idx="2308">
                  <c:v>156.03</c:v>
                </c:pt>
                <c:pt idx="2309">
                  <c:v>154.62</c:v>
                </c:pt>
                <c:pt idx="2310">
                  <c:v>152.97999999999999</c:v>
                </c:pt>
                <c:pt idx="2311">
                  <c:v>153.12</c:v>
                </c:pt>
                <c:pt idx="2312">
                  <c:v>152.82</c:v>
                </c:pt>
                <c:pt idx="2313">
                  <c:v>154.44</c:v>
                </c:pt>
                <c:pt idx="2314">
                  <c:v>153.41</c:v>
                </c:pt>
                <c:pt idx="2315">
                  <c:v>156.41</c:v>
                </c:pt>
                <c:pt idx="2316">
                  <c:v>156.78</c:v>
                </c:pt>
                <c:pt idx="2317">
                  <c:v>156.41999999999999</c:v>
                </c:pt>
                <c:pt idx="2318">
                  <c:v>154</c:v>
                </c:pt>
                <c:pt idx="2319">
                  <c:v>154.52000000000001</c:v>
                </c:pt>
                <c:pt idx="2320">
                  <c:v>154.66</c:v>
                </c:pt>
                <c:pt idx="2321">
                  <c:v>153.07</c:v>
                </c:pt>
                <c:pt idx="2322">
                  <c:v>152.57</c:v>
                </c:pt>
                <c:pt idx="2323">
                  <c:v>150.07</c:v>
                </c:pt>
                <c:pt idx="2324">
                  <c:v>150.09</c:v>
                </c:pt>
                <c:pt idx="2325">
                  <c:v>150.88999999999999</c:v>
                </c:pt>
                <c:pt idx="2326">
                  <c:v>151.02000000000001</c:v>
                </c:pt>
                <c:pt idx="2327">
                  <c:v>149.38</c:v>
                </c:pt>
                <c:pt idx="2328">
                  <c:v>148.94</c:v>
                </c:pt>
                <c:pt idx="2329">
                  <c:v>149.24</c:v>
                </c:pt>
                <c:pt idx="2330">
                  <c:v>150.19</c:v>
                </c:pt>
                <c:pt idx="2331">
                  <c:v>151.33000000000001</c:v>
                </c:pt>
                <c:pt idx="2332">
                  <c:v>153.57</c:v>
                </c:pt>
                <c:pt idx="2333">
                  <c:v>154.03</c:v>
                </c:pt>
                <c:pt idx="2334">
                  <c:v>153.49</c:v>
                </c:pt>
                <c:pt idx="2335">
                  <c:v>153.66</c:v>
                </c:pt>
                <c:pt idx="2336">
                  <c:v>154.44</c:v>
                </c:pt>
                <c:pt idx="2337">
                  <c:v>155.69</c:v>
                </c:pt>
                <c:pt idx="2338">
                  <c:v>154.49</c:v>
                </c:pt>
                <c:pt idx="2339">
                  <c:v>155.61000000000001</c:v>
                </c:pt>
                <c:pt idx="2340">
                  <c:v>158.34</c:v>
                </c:pt>
                <c:pt idx="2341">
                  <c:v>159.69999999999999</c:v>
                </c:pt>
                <c:pt idx="2342">
                  <c:v>160.09</c:v>
                </c:pt>
                <c:pt idx="2343">
                  <c:v>161.43</c:v>
                </c:pt>
                <c:pt idx="2344">
                  <c:v>161.25</c:v>
                </c:pt>
                <c:pt idx="2345">
                  <c:v>161.24</c:v>
                </c:pt>
                <c:pt idx="2346">
                  <c:v>161.82</c:v>
                </c:pt>
                <c:pt idx="2347">
                  <c:v>162.19999999999999</c:v>
                </c:pt>
                <c:pt idx="2348">
                  <c:v>162.55000000000001</c:v>
                </c:pt>
                <c:pt idx="2349">
                  <c:v>161.91</c:v>
                </c:pt>
                <c:pt idx="2350">
                  <c:v>162.18</c:v>
                </c:pt>
                <c:pt idx="2351">
                  <c:v>163.94</c:v>
                </c:pt>
                <c:pt idx="2352">
                  <c:v>164.44</c:v>
                </c:pt>
                <c:pt idx="2353">
                  <c:v>166.28</c:v>
                </c:pt>
                <c:pt idx="2354">
                  <c:v>166.36</c:v>
                </c:pt>
                <c:pt idx="2355">
                  <c:v>167.66</c:v>
                </c:pt>
                <c:pt idx="2356">
                  <c:v>168.91</c:v>
                </c:pt>
                <c:pt idx="2357">
                  <c:v>168.63</c:v>
                </c:pt>
                <c:pt idx="2358">
                  <c:v>169.95</c:v>
                </c:pt>
                <c:pt idx="2359">
                  <c:v>170.31</c:v>
                </c:pt>
                <c:pt idx="2360">
                  <c:v>170.28</c:v>
                </c:pt>
                <c:pt idx="2361">
                  <c:v>170.02</c:v>
                </c:pt>
                <c:pt idx="2362">
                  <c:v>169.88</c:v>
                </c:pt>
                <c:pt idx="2363">
                  <c:v>169.87</c:v>
                </c:pt>
                <c:pt idx="2364">
                  <c:v>168.85</c:v>
                </c:pt>
                <c:pt idx="2365">
                  <c:v>169.8</c:v>
                </c:pt>
                <c:pt idx="2366">
                  <c:v>169.69</c:v>
                </c:pt>
                <c:pt idx="2367">
                  <c:v>169.22</c:v>
                </c:pt>
                <c:pt idx="2368">
                  <c:v>169.41</c:v>
                </c:pt>
                <c:pt idx="2369">
                  <c:v>169.41</c:v>
                </c:pt>
                <c:pt idx="2370">
                  <c:v>169.41</c:v>
                </c:pt>
                <c:pt idx="2371">
                  <c:v>169.78</c:v>
                </c:pt>
                <c:pt idx="2372">
                  <c:v>169.37</c:v>
                </c:pt>
                <c:pt idx="2373">
                  <c:v>169.87</c:v>
                </c:pt>
                <c:pt idx="2374">
                  <c:v>169.87</c:v>
                </c:pt>
                <c:pt idx="2375">
                  <c:v>170.05</c:v>
                </c:pt>
                <c:pt idx="2376">
                  <c:v>167.71</c:v>
                </c:pt>
                <c:pt idx="2377">
                  <c:v>168.51</c:v>
                </c:pt>
                <c:pt idx="2378">
                  <c:v>168.28</c:v>
                </c:pt>
                <c:pt idx="2379">
                  <c:v>169.52</c:v>
                </c:pt>
                <c:pt idx="2380">
                  <c:v>169.23</c:v>
                </c:pt>
                <c:pt idx="2381">
                  <c:v>169.25</c:v>
                </c:pt>
                <c:pt idx="2382">
                  <c:v>167.8</c:v>
                </c:pt>
                <c:pt idx="2383">
                  <c:v>169.4</c:v>
                </c:pt>
                <c:pt idx="2384">
                  <c:v>168.56</c:v>
                </c:pt>
                <c:pt idx="2385">
                  <c:v>168.05</c:v>
                </c:pt>
                <c:pt idx="2386">
                  <c:v>166.63</c:v>
                </c:pt>
                <c:pt idx="2387">
                  <c:v>168.01</c:v>
                </c:pt>
                <c:pt idx="2388">
                  <c:v>167.88</c:v>
                </c:pt>
                <c:pt idx="2389">
                  <c:v>169.18</c:v>
                </c:pt>
                <c:pt idx="2390">
                  <c:v>168.61</c:v>
                </c:pt>
                <c:pt idx="2391">
                  <c:v>171.28</c:v>
                </c:pt>
                <c:pt idx="2392">
                  <c:v>171.45</c:v>
                </c:pt>
                <c:pt idx="2393">
                  <c:v>172</c:v>
                </c:pt>
                <c:pt idx="2394">
                  <c:v>171.8</c:v>
                </c:pt>
                <c:pt idx="2395">
                  <c:v>172.11</c:v>
                </c:pt>
                <c:pt idx="2396">
                  <c:v>171.42</c:v>
                </c:pt>
                <c:pt idx="2397">
                  <c:v>170.96</c:v>
                </c:pt>
                <c:pt idx="2398">
                  <c:v>171.56</c:v>
                </c:pt>
                <c:pt idx="2399">
                  <c:v>171.42</c:v>
                </c:pt>
                <c:pt idx="2400">
                  <c:v>172.73</c:v>
                </c:pt>
                <c:pt idx="2401">
                  <c:v>171.6</c:v>
                </c:pt>
                <c:pt idx="2402">
                  <c:v>172.03</c:v>
                </c:pt>
                <c:pt idx="2403">
                  <c:v>171.65</c:v>
                </c:pt>
                <c:pt idx="2404">
                  <c:v>172.77</c:v>
                </c:pt>
                <c:pt idx="2405">
                  <c:v>171.18</c:v>
                </c:pt>
                <c:pt idx="2406">
                  <c:v>171.84</c:v>
                </c:pt>
                <c:pt idx="2407">
                  <c:v>172.87</c:v>
                </c:pt>
                <c:pt idx="2408">
                  <c:v>173.58</c:v>
                </c:pt>
                <c:pt idx="2409">
                  <c:v>173.33</c:v>
                </c:pt>
                <c:pt idx="2410">
                  <c:v>173.09</c:v>
                </c:pt>
                <c:pt idx="2411">
                  <c:v>173.59</c:v>
                </c:pt>
                <c:pt idx="2412">
                  <c:v>176.15</c:v>
                </c:pt>
                <c:pt idx="2413">
                  <c:v>176.64</c:v>
                </c:pt>
                <c:pt idx="2414">
                  <c:v>176.68</c:v>
                </c:pt>
                <c:pt idx="2415">
                  <c:v>178.04</c:v>
                </c:pt>
                <c:pt idx="2416">
                  <c:v>178.49</c:v>
                </c:pt>
                <c:pt idx="2417">
                  <c:v>179.27</c:v>
                </c:pt>
                <c:pt idx="2418">
                  <c:v>179.85</c:v>
                </c:pt>
                <c:pt idx="2419">
                  <c:v>179.66</c:v>
                </c:pt>
                <c:pt idx="2420">
                  <c:v>179.47</c:v>
                </c:pt>
                <c:pt idx="2421">
                  <c:v>179.66</c:v>
                </c:pt>
                <c:pt idx="2422">
                  <c:v>180.94</c:v>
                </c:pt>
                <c:pt idx="2423">
                  <c:v>180.65</c:v>
                </c:pt>
                <c:pt idx="2424">
                  <c:v>179.96</c:v>
                </c:pt>
                <c:pt idx="2425">
                  <c:v>182.18</c:v>
                </c:pt>
                <c:pt idx="2426">
                  <c:v>182.14</c:v>
                </c:pt>
                <c:pt idx="2427">
                  <c:v>181.95</c:v>
                </c:pt>
                <c:pt idx="2428">
                  <c:v>181.89</c:v>
                </c:pt>
                <c:pt idx="2429">
                  <c:v>181.85</c:v>
                </c:pt>
                <c:pt idx="2430">
                  <c:v>182.41</c:v>
                </c:pt>
                <c:pt idx="2431">
                  <c:v>182.69</c:v>
                </c:pt>
                <c:pt idx="2432">
                  <c:v>184.35</c:v>
                </c:pt>
                <c:pt idx="2433">
                  <c:v>184.62</c:v>
                </c:pt>
                <c:pt idx="2434">
                  <c:v>185.18</c:v>
                </c:pt>
                <c:pt idx="2435">
                  <c:v>186.43</c:v>
                </c:pt>
                <c:pt idx="2436">
                  <c:v>187.37</c:v>
                </c:pt>
                <c:pt idx="2437">
                  <c:v>187.53</c:v>
                </c:pt>
                <c:pt idx="2438">
                  <c:v>187.53</c:v>
                </c:pt>
                <c:pt idx="2439">
                  <c:v>187.53</c:v>
                </c:pt>
                <c:pt idx="2440">
                  <c:v>185.4</c:v>
                </c:pt>
                <c:pt idx="2441">
                  <c:v>186.26</c:v>
                </c:pt>
                <c:pt idx="2442">
                  <c:v>186.62</c:v>
                </c:pt>
                <c:pt idx="2443">
                  <c:v>184.31</c:v>
                </c:pt>
                <c:pt idx="2444">
                  <c:v>185.77</c:v>
                </c:pt>
                <c:pt idx="2445">
                  <c:v>183.31</c:v>
                </c:pt>
                <c:pt idx="2446">
                  <c:v>183.52</c:v>
                </c:pt>
                <c:pt idx="2447">
                  <c:v>182.07</c:v>
                </c:pt>
                <c:pt idx="2448">
                  <c:v>181.83</c:v>
                </c:pt>
                <c:pt idx="2449">
                  <c:v>182.8</c:v>
                </c:pt>
                <c:pt idx="2450">
                  <c:v>180.16</c:v>
                </c:pt>
                <c:pt idx="2451">
                  <c:v>180.2</c:v>
                </c:pt>
                <c:pt idx="2452">
                  <c:v>180.88</c:v>
                </c:pt>
                <c:pt idx="2453">
                  <c:v>179.87</c:v>
                </c:pt>
                <c:pt idx="2454">
                  <c:v>181.12</c:v>
                </c:pt>
                <c:pt idx="2455">
                  <c:v>183.93</c:v>
                </c:pt>
                <c:pt idx="2456">
                  <c:v>183.43</c:v>
                </c:pt>
                <c:pt idx="2457">
                  <c:v>181.69</c:v>
                </c:pt>
                <c:pt idx="2458">
                  <c:v>184.17</c:v>
                </c:pt>
                <c:pt idx="2459">
                  <c:v>183.73</c:v>
                </c:pt>
                <c:pt idx="2460">
                  <c:v>181.85</c:v>
                </c:pt>
                <c:pt idx="2461">
                  <c:v>181.85</c:v>
                </c:pt>
                <c:pt idx="2462">
                  <c:v>181.48</c:v>
                </c:pt>
                <c:pt idx="2463">
                  <c:v>182.55</c:v>
                </c:pt>
                <c:pt idx="2464">
                  <c:v>184.31</c:v>
                </c:pt>
                <c:pt idx="2465">
                  <c:v>186.89</c:v>
                </c:pt>
                <c:pt idx="2466">
                  <c:v>187.59</c:v>
                </c:pt>
                <c:pt idx="2467">
                  <c:v>189.5</c:v>
                </c:pt>
                <c:pt idx="2468">
                  <c:v>190.37</c:v>
                </c:pt>
                <c:pt idx="2469">
                  <c:v>190.06</c:v>
                </c:pt>
                <c:pt idx="2470">
                  <c:v>189.8</c:v>
                </c:pt>
                <c:pt idx="2471">
                  <c:v>191.35</c:v>
                </c:pt>
                <c:pt idx="2472">
                  <c:v>190.03</c:v>
                </c:pt>
                <c:pt idx="2473">
                  <c:v>189.68</c:v>
                </c:pt>
                <c:pt idx="2474">
                  <c:v>190.33</c:v>
                </c:pt>
                <c:pt idx="2475">
                  <c:v>189.9</c:v>
                </c:pt>
                <c:pt idx="2476">
                  <c:v>189.43</c:v>
                </c:pt>
                <c:pt idx="2477">
                  <c:v>189.54</c:v>
                </c:pt>
                <c:pt idx="2478">
                  <c:v>189.56</c:v>
                </c:pt>
                <c:pt idx="2479">
                  <c:v>190.39</c:v>
                </c:pt>
                <c:pt idx="2480">
                  <c:v>189.41</c:v>
                </c:pt>
                <c:pt idx="2481">
                  <c:v>187.33</c:v>
                </c:pt>
                <c:pt idx="2482">
                  <c:v>187.57</c:v>
                </c:pt>
                <c:pt idx="2483">
                  <c:v>187.58</c:v>
                </c:pt>
                <c:pt idx="2484">
                  <c:v>188.7</c:v>
                </c:pt>
                <c:pt idx="2485">
                  <c:v>186.65</c:v>
                </c:pt>
                <c:pt idx="2486">
                  <c:v>188.37</c:v>
                </c:pt>
                <c:pt idx="2487">
                  <c:v>189.15</c:v>
                </c:pt>
                <c:pt idx="2488">
                  <c:v>188.18</c:v>
                </c:pt>
                <c:pt idx="2489">
                  <c:v>187.55</c:v>
                </c:pt>
                <c:pt idx="2490">
                  <c:v>186.28</c:v>
                </c:pt>
                <c:pt idx="2491">
                  <c:v>188.93</c:v>
                </c:pt>
                <c:pt idx="2492">
                  <c:v>185.23</c:v>
                </c:pt>
                <c:pt idx="2493">
                  <c:v>182.55</c:v>
                </c:pt>
                <c:pt idx="2494">
                  <c:v>183.23</c:v>
                </c:pt>
                <c:pt idx="2495">
                  <c:v>183.87</c:v>
                </c:pt>
                <c:pt idx="2496">
                  <c:v>183.22</c:v>
                </c:pt>
                <c:pt idx="2497">
                  <c:v>185.11</c:v>
                </c:pt>
                <c:pt idx="2498">
                  <c:v>184.19</c:v>
                </c:pt>
                <c:pt idx="2499">
                  <c:v>185.84</c:v>
                </c:pt>
                <c:pt idx="2500">
                  <c:v>184.33</c:v>
                </c:pt>
                <c:pt idx="2501">
                  <c:v>184.11</c:v>
                </c:pt>
                <c:pt idx="2502">
                  <c:v>184.67</c:v>
                </c:pt>
                <c:pt idx="2503">
                  <c:v>184.92</c:v>
                </c:pt>
                <c:pt idx="2504">
                  <c:v>185.48</c:v>
                </c:pt>
                <c:pt idx="2505">
                  <c:v>184.2</c:v>
                </c:pt>
                <c:pt idx="2506">
                  <c:v>186.33</c:v>
                </c:pt>
                <c:pt idx="2507">
                  <c:v>187.1</c:v>
                </c:pt>
                <c:pt idx="2508">
                  <c:v>187.35</c:v>
                </c:pt>
                <c:pt idx="2509">
                  <c:v>187.32</c:v>
                </c:pt>
                <c:pt idx="2510">
                  <c:v>184.93</c:v>
                </c:pt>
                <c:pt idx="2511">
                  <c:v>186.66</c:v>
                </c:pt>
                <c:pt idx="2512">
                  <c:v>187.95</c:v>
                </c:pt>
                <c:pt idx="2513">
                  <c:v>190.12</c:v>
                </c:pt>
                <c:pt idx="2514">
                  <c:v>188.53</c:v>
                </c:pt>
                <c:pt idx="2515">
                  <c:v>187.79</c:v>
                </c:pt>
                <c:pt idx="2516">
                  <c:v>186.97</c:v>
                </c:pt>
                <c:pt idx="2517">
                  <c:v>186.13</c:v>
                </c:pt>
                <c:pt idx="2518">
                  <c:v>184.28</c:v>
                </c:pt>
                <c:pt idx="2519">
                  <c:v>186.66</c:v>
                </c:pt>
                <c:pt idx="2520">
                  <c:v>188.19</c:v>
                </c:pt>
                <c:pt idx="2521">
                  <c:v>186.46</c:v>
                </c:pt>
                <c:pt idx="2522">
                  <c:v>185.56</c:v>
                </c:pt>
                <c:pt idx="2523">
                  <c:v>186.77</c:v>
                </c:pt>
                <c:pt idx="2524">
                  <c:v>185.79</c:v>
                </c:pt>
                <c:pt idx="2525">
                  <c:v>186.7</c:v>
                </c:pt>
                <c:pt idx="2526">
                  <c:v>187.69</c:v>
                </c:pt>
                <c:pt idx="2527">
                  <c:v>183.38</c:v>
                </c:pt>
                <c:pt idx="2528">
                  <c:v>179.1</c:v>
                </c:pt>
                <c:pt idx="2529">
                  <c:v>175.83</c:v>
                </c:pt>
                <c:pt idx="2530">
                  <c:v>175.99</c:v>
                </c:pt>
                <c:pt idx="2531">
                  <c:v>178.63</c:v>
                </c:pt>
                <c:pt idx="2532">
                  <c:v>179.29</c:v>
                </c:pt>
                <c:pt idx="2533">
                  <c:v>179.72</c:v>
                </c:pt>
                <c:pt idx="2534">
                  <c:v>179.76</c:v>
                </c:pt>
                <c:pt idx="2535">
                  <c:v>180.63</c:v>
                </c:pt>
                <c:pt idx="2536">
                  <c:v>181.37</c:v>
                </c:pt>
                <c:pt idx="2537">
                  <c:v>184.39</c:v>
                </c:pt>
                <c:pt idx="2538">
                  <c:v>185.8</c:v>
                </c:pt>
                <c:pt idx="2539">
                  <c:v>186.81</c:v>
                </c:pt>
                <c:pt idx="2540">
                  <c:v>186.16</c:v>
                </c:pt>
                <c:pt idx="2541">
                  <c:v>187.09</c:v>
                </c:pt>
                <c:pt idx="2542">
                  <c:v>187.54</c:v>
                </c:pt>
                <c:pt idx="2543">
                  <c:v>188.95</c:v>
                </c:pt>
                <c:pt idx="2544">
                  <c:v>188.79</c:v>
                </c:pt>
                <c:pt idx="2545">
                  <c:v>189.45</c:v>
                </c:pt>
                <c:pt idx="2546">
                  <c:v>190.47</c:v>
                </c:pt>
                <c:pt idx="2547">
                  <c:v>191.79</c:v>
                </c:pt>
                <c:pt idx="2548">
                  <c:v>191.73</c:v>
                </c:pt>
                <c:pt idx="2549">
                  <c:v>191.97</c:v>
                </c:pt>
                <c:pt idx="2550">
                  <c:v>190.11</c:v>
                </c:pt>
                <c:pt idx="2551">
                  <c:v>188.54</c:v>
                </c:pt>
                <c:pt idx="2552">
                  <c:v>188.38</c:v>
                </c:pt>
                <c:pt idx="2553">
                  <c:v>185.59</c:v>
                </c:pt>
                <c:pt idx="2554">
                  <c:v>187.03</c:v>
                </c:pt>
                <c:pt idx="2555">
                  <c:v>185.23</c:v>
                </c:pt>
                <c:pt idx="2556">
                  <c:v>185.88</c:v>
                </c:pt>
                <c:pt idx="2557">
                  <c:v>187.79</c:v>
                </c:pt>
                <c:pt idx="2558">
                  <c:v>189.63</c:v>
                </c:pt>
                <c:pt idx="2559">
                  <c:v>188.95</c:v>
                </c:pt>
                <c:pt idx="2560">
                  <c:v>189.9</c:v>
                </c:pt>
                <c:pt idx="2561">
                  <c:v>189.75</c:v>
                </c:pt>
                <c:pt idx="2562">
                  <c:v>192.7</c:v>
                </c:pt>
                <c:pt idx="2563">
                  <c:v>189.83</c:v>
                </c:pt>
                <c:pt idx="2564">
                  <c:v>191.12</c:v>
                </c:pt>
                <c:pt idx="2565">
                  <c:v>192.64</c:v>
                </c:pt>
                <c:pt idx="2566">
                  <c:v>191.85</c:v>
                </c:pt>
                <c:pt idx="2567">
                  <c:v>195.09</c:v>
                </c:pt>
                <c:pt idx="2568">
                  <c:v>197.48</c:v>
                </c:pt>
                <c:pt idx="2569">
                  <c:v>195.97</c:v>
                </c:pt>
                <c:pt idx="2570">
                  <c:v>194.84</c:v>
                </c:pt>
                <c:pt idx="2571">
                  <c:v>194.34</c:v>
                </c:pt>
                <c:pt idx="2572">
                  <c:v>192.83</c:v>
                </c:pt>
                <c:pt idx="2573">
                  <c:v>193.9</c:v>
                </c:pt>
                <c:pt idx="2574">
                  <c:v>193.73</c:v>
                </c:pt>
                <c:pt idx="2575">
                  <c:v>193.35</c:v>
                </c:pt>
                <c:pt idx="2576">
                  <c:v>195.26</c:v>
                </c:pt>
                <c:pt idx="2577">
                  <c:v>194.81</c:v>
                </c:pt>
                <c:pt idx="2578">
                  <c:v>196.47</c:v>
                </c:pt>
                <c:pt idx="2579">
                  <c:v>197.83</c:v>
                </c:pt>
                <c:pt idx="2580">
                  <c:v>197.6</c:v>
                </c:pt>
                <c:pt idx="2581">
                  <c:v>197.06</c:v>
                </c:pt>
                <c:pt idx="2582">
                  <c:v>198.59</c:v>
                </c:pt>
                <c:pt idx="2583">
                  <c:v>199.34</c:v>
                </c:pt>
                <c:pt idx="2584">
                  <c:v>197.35</c:v>
                </c:pt>
                <c:pt idx="2585">
                  <c:v>196.95</c:v>
                </c:pt>
                <c:pt idx="2586">
                  <c:v>196.5</c:v>
                </c:pt>
                <c:pt idx="2587">
                  <c:v>197.17</c:v>
                </c:pt>
                <c:pt idx="2588">
                  <c:v>197.38</c:v>
                </c:pt>
                <c:pt idx="2589">
                  <c:v>198.07</c:v>
                </c:pt>
                <c:pt idx="2590">
                  <c:v>197.52</c:v>
                </c:pt>
                <c:pt idx="2591">
                  <c:v>195.28</c:v>
                </c:pt>
                <c:pt idx="2592">
                  <c:v>193.46</c:v>
                </c:pt>
                <c:pt idx="2593">
                  <c:v>195.26</c:v>
                </c:pt>
                <c:pt idx="2594">
                  <c:v>194.17</c:v>
                </c:pt>
                <c:pt idx="2595">
                  <c:v>195.27</c:v>
                </c:pt>
                <c:pt idx="2596">
                  <c:v>193.07</c:v>
                </c:pt>
                <c:pt idx="2597">
                  <c:v>196.35</c:v>
                </c:pt>
                <c:pt idx="2598">
                  <c:v>194.86</c:v>
                </c:pt>
                <c:pt idx="2599">
                  <c:v>197.22</c:v>
                </c:pt>
                <c:pt idx="2600">
                  <c:v>193.02</c:v>
                </c:pt>
                <c:pt idx="2601">
                  <c:v>192.71</c:v>
                </c:pt>
                <c:pt idx="2602">
                  <c:v>195.35</c:v>
                </c:pt>
                <c:pt idx="2603">
                  <c:v>194.81</c:v>
                </c:pt>
                <c:pt idx="2604">
                  <c:v>194.59</c:v>
                </c:pt>
                <c:pt idx="2605">
                  <c:v>193.29</c:v>
                </c:pt>
                <c:pt idx="2606">
                  <c:v>192.72</c:v>
                </c:pt>
                <c:pt idx="2607">
                  <c:v>194.16</c:v>
                </c:pt>
                <c:pt idx="2608">
                  <c:v>195.95</c:v>
                </c:pt>
                <c:pt idx="2609">
                  <c:v>196.78</c:v>
                </c:pt>
              </c:numCache>
            </c:numRef>
          </c:val>
          <c:smooth val="0"/>
          <c:extLst>
            <c:ext xmlns:c16="http://schemas.microsoft.com/office/drawing/2014/chart" uri="{C3380CC4-5D6E-409C-BE32-E72D297353CC}">
              <c16:uniqueId val="{00000000-594D-4EB4-B7F6-7DE69FC38A72}"/>
            </c:ext>
          </c:extLst>
        </c:ser>
        <c:ser>
          <c:idx val="1"/>
          <c:order val="1"/>
          <c:tx>
            <c:strRef>
              <c:f>'Sheet1 (3)'!$AI$4</c:f>
              <c:strCache>
                <c:ptCount val="1"/>
                <c:pt idx="0">
                  <c:v>Deutsche Industrieproduktion (indexiert: Nov. 2014 = 100)</c:v>
                </c:pt>
              </c:strCache>
            </c:strRef>
          </c:tx>
          <c:spPr>
            <a:ln w="28575" cap="rnd">
              <a:solidFill>
                <a:schemeClr val="accent2"/>
              </a:solidFill>
              <a:round/>
            </a:ln>
            <a:effectLst/>
          </c:spPr>
          <c:marker>
            <c:symbol val="none"/>
          </c:marker>
          <c:cat>
            <c:numRef>
              <c:f>'Sheet1 (3)'!$AG$6:$AG$2615</c:f>
              <c:numCache>
                <c:formatCode>m/d/yyyy</c:formatCode>
                <c:ptCount val="2610"/>
                <c:pt idx="0">
                  <c:v>41968</c:v>
                </c:pt>
                <c:pt idx="1">
                  <c:v>41969</c:v>
                </c:pt>
                <c:pt idx="2">
                  <c:v>41970</c:v>
                </c:pt>
                <c:pt idx="3">
                  <c:v>41971</c:v>
                </c:pt>
                <c:pt idx="4">
                  <c:v>41974</c:v>
                </c:pt>
                <c:pt idx="5">
                  <c:v>41975</c:v>
                </c:pt>
                <c:pt idx="6">
                  <c:v>41976</c:v>
                </c:pt>
                <c:pt idx="7">
                  <c:v>41977</c:v>
                </c:pt>
                <c:pt idx="8">
                  <c:v>41978</c:v>
                </c:pt>
                <c:pt idx="9">
                  <c:v>41981</c:v>
                </c:pt>
                <c:pt idx="10">
                  <c:v>41982</c:v>
                </c:pt>
                <c:pt idx="11">
                  <c:v>41983</c:v>
                </c:pt>
                <c:pt idx="12">
                  <c:v>41984</c:v>
                </c:pt>
                <c:pt idx="13">
                  <c:v>41985</c:v>
                </c:pt>
                <c:pt idx="14">
                  <c:v>41988</c:v>
                </c:pt>
                <c:pt idx="15">
                  <c:v>41989</c:v>
                </c:pt>
                <c:pt idx="16">
                  <c:v>41990</c:v>
                </c:pt>
                <c:pt idx="17">
                  <c:v>41991</c:v>
                </c:pt>
                <c:pt idx="18">
                  <c:v>41992</c:v>
                </c:pt>
                <c:pt idx="19">
                  <c:v>41995</c:v>
                </c:pt>
                <c:pt idx="20">
                  <c:v>41996</c:v>
                </c:pt>
                <c:pt idx="21">
                  <c:v>41997</c:v>
                </c:pt>
                <c:pt idx="22">
                  <c:v>41998</c:v>
                </c:pt>
                <c:pt idx="23">
                  <c:v>41999</c:v>
                </c:pt>
                <c:pt idx="24">
                  <c:v>42002</c:v>
                </c:pt>
                <c:pt idx="25">
                  <c:v>42003</c:v>
                </c:pt>
                <c:pt idx="26">
                  <c:v>42004</c:v>
                </c:pt>
                <c:pt idx="27">
                  <c:v>42005</c:v>
                </c:pt>
                <c:pt idx="28">
                  <c:v>42006</c:v>
                </c:pt>
                <c:pt idx="29">
                  <c:v>42009</c:v>
                </c:pt>
                <c:pt idx="30">
                  <c:v>42010</c:v>
                </c:pt>
                <c:pt idx="31">
                  <c:v>42011</c:v>
                </c:pt>
                <c:pt idx="32">
                  <c:v>42012</c:v>
                </c:pt>
                <c:pt idx="33">
                  <c:v>42013</c:v>
                </c:pt>
                <c:pt idx="34">
                  <c:v>42016</c:v>
                </c:pt>
                <c:pt idx="35">
                  <c:v>42017</c:v>
                </c:pt>
                <c:pt idx="36">
                  <c:v>42018</c:v>
                </c:pt>
                <c:pt idx="37">
                  <c:v>42019</c:v>
                </c:pt>
                <c:pt idx="38">
                  <c:v>42020</c:v>
                </c:pt>
                <c:pt idx="39">
                  <c:v>42023</c:v>
                </c:pt>
                <c:pt idx="40">
                  <c:v>42024</c:v>
                </c:pt>
                <c:pt idx="41">
                  <c:v>42025</c:v>
                </c:pt>
                <c:pt idx="42">
                  <c:v>42026</c:v>
                </c:pt>
                <c:pt idx="43">
                  <c:v>42027</c:v>
                </c:pt>
                <c:pt idx="44">
                  <c:v>42030</c:v>
                </c:pt>
                <c:pt idx="45">
                  <c:v>42031</c:v>
                </c:pt>
                <c:pt idx="46">
                  <c:v>42032</c:v>
                </c:pt>
                <c:pt idx="47">
                  <c:v>42033</c:v>
                </c:pt>
                <c:pt idx="48">
                  <c:v>42034</c:v>
                </c:pt>
                <c:pt idx="49">
                  <c:v>42037</c:v>
                </c:pt>
                <c:pt idx="50">
                  <c:v>42038</c:v>
                </c:pt>
                <c:pt idx="51">
                  <c:v>42039</c:v>
                </c:pt>
                <c:pt idx="52">
                  <c:v>42040</c:v>
                </c:pt>
                <c:pt idx="53">
                  <c:v>42041</c:v>
                </c:pt>
                <c:pt idx="54">
                  <c:v>42044</c:v>
                </c:pt>
                <c:pt idx="55">
                  <c:v>42045</c:v>
                </c:pt>
                <c:pt idx="56">
                  <c:v>42046</c:v>
                </c:pt>
                <c:pt idx="57">
                  <c:v>42047</c:v>
                </c:pt>
                <c:pt idx="58">
                  <c:v>42048</c:v>
                </c:pt>
                <c:pt idx="59">
                  <c:v>42051</c:v>
                </c:pt>
                <c:pt idx="60">
                  <c:v>42052</c:v>
                </c:pt>
                <c:pt idx="61">
                  <c:v>42053</c:v>
                </c:pt>
                <c:pt idx="62">
                  <c:v>42054</c:v>
                </c:pt>
                <c:pt idx="63">
                  <c:v>42055</c:v>
                </c:pt>
                <c:pt idx="64">
                  <c:v>42058</c:v>
                </c:pt>
                <c:pt idx="65">
                  <c:v>42059</c:v>
                </c:pt>
                <c:pt idx="66">
                  <c:v>42060</c:v>
                </c:pt>
                <c:pt idx="67">
                  <c:v>42061</c:v>
                </c:pt>
                <c:pt idx="68">
                  <c:v>42062</c:v>
                </c:pt>
                <c:pt idx="69">
                  <c:v>42065</c:v>
                </c:pt>
                <c:pt idx="70">
                  <c:v>42066</c:v>
                </c:pt>
                <c:pt idx="71">
                  <c:v>42067</c:v>
                </c:pt>
                <c:pt idx="72">
                  <c:v>42068</c:v>
                </c:pt>
                <c:pt idx="73">
                  <c:v>42069</c:v>
                </c:pt>
                <c:pt idx="74">
                  <c:v>42072</c:v>
                </c:pt>
                <c:pt idx="75">
                  <c:v>42073</c:v>
                </c:pt>
                <c:pt idx="76">
                  <c:v>42074</c:v>
                </c:pt>
                <c:pt idx="77">
                  <c:v>42075</c:v>
                </c:pt>
                <c:pt idx="78">
                  <c:v>42076</c:v>
                </c:pt>
                <c:pt idx="79">
                  <c:v>42079</c:v>
                </c:pt>
                <c:pt idx="80">
                  <c:v>42080</c:v>
                </c:pt>
                <c:pt idx="81">
                  <c:v>42081</c:v>
                </c:pt>
                <c:pt idx="82">
                  <c:v>42082</c:v>
                </c:pt>
                <c:pt idx="83">
                  <c:v>42083</c:v>
                </c:pt>
                <c:pt idx="84">
                  <c:v>42086</c:v>
                </c:pt>
                <c:pt idx="85">
                  <c:v>42087</c:v>
                </c:pt>
                <c:pt idx="86">
                  <c:v>42088</c:v>
                </c:pt>
                <c:pt idx="87">
                  <c:v>42089</c:v>
                </c:pt>
                <c:pt idx="88">
                  <c:v>42090</c:v>
                </c:pt>
                <c:pt idx="89">
                  <c:v>42093</c:v>
                </c:pt>
                <c:pt idx="90">
                  <c:v>42094</c:v>
                </c:pt>
                <c:pt idx="91">
                  <c:v>42095</c:v>
                </c:pt>
                <c:pt idx="92">
                  <c:v>42096</c:v>
                </c:pt>
                <c:pt idx="93">
                  <c:v>42097</c:v>
                </c:pt>
                <c:pt idx="94">
                  <c:v>42100</c:v>
                </c:pt>
                <c:pt idx="95">
                  <c:v>42101</c:v>
                </c:pt>
                <c:pt idx="96">
                  <c:v>42102</c:v>
                </c:pt>
                <c:pt idx="97">
                  <c:v>42103</c:v>
                </c:pt>
                <c:pt idx="98">
                  <c:v>42104</c:v>
                </c:pt>
                <c:pt idx="99">
                  <c:v>42107</c:v>
                </c:pt>
                <c:pt idx="100">
                  <c:v>42108</c:v>
                </c:pt>
                <c:pt idx="101">
                  <c:v>42109</c:v>
                </c:pt>
                <c:pt idx="102">
                  <c:v>42110</c:v>
                </c:pt>
                <c:pt idx="103">
                  <c:v>42111</c:v>
                </c:pt>
                <c:pt idx="104">
                  <c:v>42114</c:v>
                </c:pt>
                <c:pt idx="105">
                  <c:v>42115</c:v>
                </c:pt>
                <c:pt idx="106">
                  <c:v>42116</c:v>
                </c:pt>
                <c:pt idx="107">
                  <c:v>42117</c:v>
                </c:pt>
                <c:pt idx="108">
                  <c:v>42118</c:v>
                </c:pt>
                <c:pt idx="109">
                  <c:v>42121</c:v>
                </c:pt>
                <c:pt idx="110">
                  <c:v>42122</c:v>
                </c:pt>
                <c:pt idx="111">
                  <c:v>42123</c:v>
                </c:pt>
                <c:pt idx="112">
                  <c:v>42124</c:v>
                </c:pt>
                <c:pt idx="113">
                  <c:v>42125</c:v>
                </c:pt>
                <c:pt idx="114">
                  <c:v>42128</c:v>
                </c:pt>
                <c:pt idx="115">
                  <c:v>42129</c:v>
                </c:pt>
                <c:pt idx="116">
                  <c:v>42130</c:v>
                </c:pt>
                <c:pt idx="117">
                  <c:v>42131</c:v>
                </c:pt>
                <c:pt idx="118">
                  <c:v>42132</c:v>
                </c:pt>
                <c:pt idx="119">
                  <c:v>42135</c:v>
                </c:pt>
                <c:pt idx="120">
                  <c:v>42136</c:v>
                </c:pt>
                <c:pt idx="121">
                  <c:v>42137</c:v>
                </c:pt>
                <c:pt idx="122">
                  <c:v>42138</c:v>
                </c:pt>
                <c:pt idx="123">
                  <c:v>42139</c:v>
                </c:pt>
                <c:pt idx="124">
                  <c:v>42142</c:v>
                </c:pt>
                <c:pt idx="125">
                  <c:v>42143</c:v>
                </c:pt>
                <c:pt idx="126">
                  <c:v>42144</c:v>
                </c:pt>
                <c:pt idx="127">
                  <c:v>42145</c:v>
                </c:pt>
                <c:pt idx="128">
                  <c:v>42146</c:v>
                </c:pt>
                <c:pt idx="129">
                  <c:v>42149</c:v>
                </c:pt>
                <c:pt idx="130">
                  <c:v>42150</c:v>
                </c:pt>
                <c:pt idx="131">
                  <c:v>42151</c:v>
                </c:pt>
                <c:pt idx="132">
                  <c:v>42152</c:v>
                </c:pt>
                <c:pt idx="133">
                  <c:v>42153</c:v>
                </c:pt>
                <c:pt idx="134">
                  <c:v>42156</c:v>
                </c:pt>
                <c:pt idx="135">
                  <c:v>42157</c:v>
                </c:pt>
                <c:pt idx="136">
                  <c:v>42158</c:v>
                </c:pt>
                <c:pt idx="137">
                  <c:v>42159</c:v>
                </c:pt>
                <c:pt idx="138">
                  <c:v>42160</c:v>
                </c:pt>
                <c:pt idx="139">
                  <c:v>42163</c:v>
                </c:pt>
                <c:pt idx="140">
                  <c:v>42164</c:v>
                </c:pt>
                <c:pt idx="141">
                  <c:v>42165</c:v>
                </c:pt>
                <c:pt idx="142">
                  <c:v>42166</c:v>
                </c:pt>
                <c:pt idx="143">
                  <c:v>42167</c:v>
                </c:pt>
                <c:pt idx="144">
                  <c:v>42170</c:v>
                </c:pt>
                <c:pt idx="145">
                  <c:v>42171</c:v>
                </c:pt>
                <c:pt idx="146">
                  <c:v>42172</c:v>
                </c:pt>
                <c:pt idx="147">
                  <c:v>42173</c:v>
                </c:pt>
                <c:pt idx="148">
                  <c:v>42174</c:v>
                </c:pt>
                <c:pt idx="149">
                  <c:v>42177</c:v>
                </c:pt>
                <c:pt idx="150">
                  <c:v>42178</c:v>
                </c:pt>
                <c:pt idx="151">
                  <c:v>42179</c:v>
                </c:pt>
                <c:pt idx="152">
                  <c:v>42180</c:v>
                </c:pt>
                <c:pt idx="153">
                  <c:v>42181</c:v>
                </c:pt>
                <c:pt idx="154">
                  <c:v>42184</c:v>
                </c:pt>
                <c:pt idx="155">
                  <c:v>42185</c:v>
                </c:pt>
                <c:pt idx="156">
                  <c:v>42186</c:v>
                </c:pt>
                <c:pt idx="157">
                  <c:v>42187</c:v>
                </c:pt>
                <c:pt idx="158">
                  <c:v>42188</c:v>
                </c:pt>
                <c:pt idx="159">
                  <c:v>42191</c:v>
                </c:pt>
                <c:pt idx="160">
                  <c:v>42192</c:v>
                </c:pt>
                <c:pt idx="161">
                  <c:v>42193</c:v>
                </c:pt>
                <c:pt idx="162">
                  <c:v>42194</c:v>
                </c:pt>
                <c:pt idx="163">
                  <c:v>42195</c:v>
                </c:pt>
                <c:pt idx="164">
                  <c:v>42198</c:v>
                </c:pt>
                <c:pt idx="165">
                  <c:v>42199</c:v>
                </c:pt>
                <c:pt idx="166">
                  <c:v>42200</c:v>
                </c:pt>
                <c:pt idx="167">
                  <c:v>42201</c:v>
                </c:pt>
                <c:pt idx="168">
                  <c:v>42202</c:v>
                </c:pt>
                <c:pt idx="169">
                  <c:v>42205</c:v>
                </c:pt>
                <c:pt idx="170">
                  <c:v>42206</c:v>
                </c:pt>
                <c:pt idx="171">
                  <c:v>42207</c:v>
                </c:pt>
                <c:pt idx="172">
                  <c:v>42208</c:v>
                </c:pt>
                <c:pt idx="173">
                  <c:v>42209</c:v>
                </c:pt>
                <c:pt idx="174">
                  <c:v>42212</c:v>
                </c:pt>
                <c:pt idx="175">
                  <c:v>42213</c:v>
                </c:pt>
                <c:pt idx="176">
                  <c:v>42214</c:v>
                </c:pt>
                <c:pt idx="177">
                  <c:v>42215</c:v>
                </c:pt>
                <c:pt idx="178">
                  <c:v>42216</c:v>
                </c:pt>
                <c:pt idx="179">
                  <c:v>42219</c:v>
                </c:pt>
                <c:pt idx="180">
                  <c:v>42220</c:v>
                </c:pt>
                <c:pt idx="181">
                  <c:v>42221</c:v>
                </c:pt>
                <c:pt idx="182">
                  <c:v>42222</c:v>
                </c:pt>
                <c:pt idx="183">
                  <c:v>42223</c:v>
                </c:pt>
                <c:pt idx="184">
                  <c:v>42226</c:v>
                </c:pt>
                <c:pt idx="185">
                  <c:v>42227</c:v>
                </c:pt>
                <c:pt idx="186">
                  <c:v>42228</c:v>
                </c:pt>
                <c:pt idx="187">
                  <c:v>42229</c:v>
                </c:pt>
                <c:pt idx="188">
                  <c:v>42230</c:v>
                </c:pt>
                <c:pt idx="189">
                  <c:v>42233</c:v>
                </c:pt>
                <c:pt idx="190">
                  <c:v>42234</c:v>
                </c:pt>
                <c:pt idx="191">
                  <c:v>42235</c:v>
                </c:pt>
                <c:pt idx="192">
                  <c:v>42236</c:v>
                </c:pt>
                <c:pt idx="193">
                  <c:v>42237</c:v>
                </c:pt>
                <c:pt idx="194">
                  <c:v>42240</c:v>
                </c:pt>
                <c:pt idx="195">
                  <c:v>42241</c:v>
                </c:pt>
                <c:pt idx="196">
                  <c:v>42242</c:v>
                </c:pt>
                <c:pt idx="197">
                  <c:v>42243</c:v>
                </c:pt>
                <c:pt idx="198">
                  <c:v>42244</c:v>
                </c:pt>
                <c:pt idx="199">
                  <c:v>42247</c:v>
                </c:pt>
                <c:pt idx="200">
                  <c:v>42248</c:v>
                </c:pt>
                <c:pt idx="201">
                  <c:v>42249</c:v>
                </c:pt>
                <c:pt idx="202">
                  <c:v>42250</c:v>
                </c:pt>
                <c:pt idx="203">
                  <c:v>42251</c:v>
                </c:pt>
                <c:pt idx="204">
                  <c:v>42254</c:v>
                </c:pt>
                <c:pt idx="205">
                  <c:v>42255</c:v>
                </c:pt>
                <c:pt idx="206">
                  <c:v>42256</c:v>
                </c:pt>
                <c:pt idx="207">
                  <c:v>42257</c:v>
                </c:pt>
                <c:pt idx="208">
                  <c:v>42258</c:v>
                </c:pt>
                <c:pt idx="209">
                  <c:v>42261</c:v>
                </c:pt>
                <c:pt idx="210">
                  <c:v>42262</c:v>
                </c:pt>
                <c:pt idx="211">
                  <c:v>42263</c:v>
                </c:pt>
                <c:pt idx="212">
                  <c:v>42264</c:v>
                </c:pt>
                <c:pt idx="213">
                  <c:v>42265</c:v>
                </c:pt>
                <c:pt idx="214">
                  <c:v>42268</c:v>
                </c:pt>
                <c:pt idx="215">
                  <c:v>42269</c:v>
                </c:pt>
                <c:pt idx="216">
                  <c:v>42270</c:v>
                </c:pt>
                <c:pt idx="217">
                  <c:v>42271</c:v>
                </c:pt>
                <c:pt idx="218">
                  <c:v>42272</c:v>
                </c:pt>
                <c:pt idx="219">
                  <c:v>42275</c:v>
                </c:pt>
                <c:pt idx="220">
                  <c:v>42276</c:v>
                </c:pt>
                <c:pt idx="221">
                  <c:v>42277</c:v>
                </c:pt>
                <c:pt idx="222">
                  <c:v>42278</c:v>
                </c:pt>
                <c:pt idx="223">
                  <c:v>42279</c:v>
                </c:pt>
                <c:pt idx="224">
                  <c:v>42282</c:v>
                </c:pt>
                <c:pt idx="225">
                  <c:v>42283</c:v>
                </c:pt>
                <c:pt idx="226">
                  <c:v>42284</c:v>
                </c:pt>
                <c:pt idx="227">
                  <c:v>42285</c:v>
                </c:pt>
                <c:pt idx="228">
                  <c:v>42286</c:v>
                </c:pt>
                <c:pt idx="229">
                  <c:v>42289</c:v>
                </c:pt>
                <c:pt idx="230">
                  <c:v>42290</c:v>
                </c:pt>
                <c:pt idx="231">
                  <c:v>42291</c:v>
                </c:pt>
                <c:pt idx="232">
                  <c:v>42292</c:v>
                </c:pt>
                <c:pt idx="233">
                  <c:v>42293</c:v>
                </c:pt>
                <c:pt idx="234">
                  <c:v>42296</c:v>
                </c:pt>
                <c:pt idx="235">
                  <c:v>42297</c:v>
                </c:pt>
                <c:pt idx="236">
                  <c:v>42298</c:v>
                </c:pt>
                <c:pt idx="237">
                  <c:v>42299</c:v>
                </c:pt>
                <c:pt idx="238">
                  <c:v>42300</c:v>
                </c:pt>
                <c:pt idx="239">
                  <c:v>42303</c:v>
                </c:pt>
                <c:pt idx="240">
                  <c:v>42304</c:v>
                </c:pt>
                <c:pt idx="241">
                  <c:v>42305</c:v>
                </c:pt>
                <c:pt idx="242">
                  <c:v>42306</c:v>
                </c:pt>
                <c:pt idx="243">
                  <c:v>42307</c:v>
                </c:pt>
                <c:pt idx="244">
                  <c:v>42310</c:v>
                </c:pt>
                <c:pt idx="245">
                  <c:v>42311</c:v>
                </c:pt>
                <c:pt idx="246">
                  <c:v>42312</c:v>
                </c:pt>
                <c:pt idx="247">
                  <c:v>42313</c:v>
                </c:pt>
                <c:pt idx="248">
                  <c:v>42314</c:v>
                </c:pt>
                <c:pt idx="249">
                  <c:v>42317</c:v>
                </c:pt>
                <c:pt idx="250">
                  <c:v>42318</c:v>
                </c:pt>
                <c:pt idx="251">
                  <c:v>42319</c:v>
                </c:pt>
                <c:pt idx="252">
                  <c:v>42320</c:v>
                </c:pt>
                <c:pt idx="253">
                  <c:v>42321</c:v>
                </c:pt>
                <c:pt idx="254">
                  <c:v>42324</c:v>
                </c:pt>
                <c:pt idx="255">
                  <c:v>42325</c:v>
                </c:pt>
                <c:pt idx="256">
                  <c:v>42326</c:v>
                </c:pt>
                <c:pt idx="257">
                  <c:v>42327</c:v>
                </c:pt>
                <c:pt idx="258">
                  <c:v>42328</c:v>
                </c:pt>
                <c:pt idx="259">
                  <c:v>42331</c:v>
                </c:pt>
                <c:pt idx="260">
                  <c:v>42332</c:v>
                </c:pt>
                <c:pt idx="261">
                  <c:v>42333</c:v>
                </c:pt>
                <c:pt idx="262">
                  <c:v>42334</c:v>
                </c:pt>
                <c:pt idx="263">
                  <c:v>42335</c:v>
                </c:pt>
                <c:pt idx="264">
                  <c:v>42338</c:v>
                </c:pt>
                <c:pt idx="265">
                  <c:v>42339</c:v>
                </c:pt>
                <c:pt idx="266">
                  <c:v>42340</c:v>
                </c:pt>
                <c:pt idx="267">
                  <c:v>42341</c:v>
                </c:pt>
                <c:pt idx="268">
                  <c:v>42342</c:v>
                </c:pt>
                <c:pt idx="269">
                  <c:v>42345</c:v>
                </c:pt>
                <c:pt idx="270">
                  <c:v>42346</c:v>
                </c:pt>
                <c:pt idx="271">
                  <c:v>42347</c:v>
                </c:pt>
                <c:pt idx="272">
                  <c:v>42348</c:v>
                </c:pt>
                <c:pt idx="273">
                  <c:v>42349</c:v>
                </c:pt>
                <c:pt idx="274">
                  <c:v>42352</c:v>
                </c:pt>
                <c:pt idx="275">
                  <c:v>42353</c:v>
                </c:pt>
                <c:pt idx="276">
                  <c:v>42354</c:v>
                </c:pt>
                <c:pt idx="277">
                  <c:v>42355</c:v>
                </c:pt>
                <c:pt idx="278">
                  <c:v>42356</c:v>
                </c:pt>
                <c:pt idx="279">
                  <c:v>42359</c:v>
                </c:pt>
                <c:pt idx="280">
                  <c:v>42360</c:v>
                </c:pt>
                <c:pt idx="281">
                  <c:v>42361</c:v>
                </c:pt>
                <c:pt idx="282">
                  <c:v>42362</c:v>
                </c:pt>
                <c:pt idx="283">
                  <c:v>42363</c:v>
                </c:pt>
                <c:pt idx="284">
                  <c:v>42366</c:v>
                </c:pt>
                <c:pt idx="285">
                  <c:v>42367</c:v>
                </c:pt>
                <c:pt idx="286">
                  <c:v>42368</c:v>
                </c:pt>
                <c:pt idx="287">
                  <c:v>42369</c:v>
                </c:pt>
                <c:pt idx="288">
                  <c:v>42370</c:v>
                </c:pt>
                <c:pt idx="289">
                  <c:v>42373</c:v>
                </c:pt>
                <c:pt idx="290">
                  <c:v>42374</c:v>
                </c:pt>
                <c:pt idx="291">
                  <c:v>42375</c:v>
                </c:pt>
                <c:pt idx="292">
                  <c:v>42376</c:v>
                </c:pt>
                <c:pt idx="293">
                  <c:v>42377</c:v>
                </c:pt>
                <c:pt idx="294">
                  <c:v>42380</c:v>
                </c:pt>
                <c:pt idx="295">
                  <c:v>42381</c:v>
                </c:pt>
                <c:pt idx="296">
                  <c:v>42382</c:v>
                </c:pt>
                <c:pt idx="297">
                  <c:v>42383</c:v>
                </c:pt>
                <c:pt idx="298">
                  <c:v>42384</c:v>
                </c:pt>
                <c:pt idx="299">
                  <c:v>42387</c:v>
                </c:pt>
                <c:pt idx="300">
                  <c:v>42388</c:v>
                </c:pt>
                <c:pt idx="301">
                  <c:v>42389</c:v>
                </c:pt>
                <c:pt idx="302">
                  <c:v>42390</c:v>
                </c:pt>
                <c:pt idx="303">
                  <c:v>42391</c:v>
                </c:pt>
                <c:pt idx="304">
                  <c:v>42394</c:v>
                </c:pt>
                <c:pt idx="305">
                  <c:v>42395</c:v>
                </c:pt>
                <c:pt idx="306">
                  <c:v>42396</c:v>
                </c:pt>
                <c:pt idx="307">
                  <c:v>42397</c:v>
                </c:pt>
                <c:pt idx="308">
                  <c:v>42398</c:v>
                </c:pt>
                <c:pt idx="309">
                  <c:v>42401</c:v>
                </c:pt>
                <c:pt idx="310">
                  <c:v>42402</c:v>
                </c:pt>
                <c:pt idx="311">
                  <c:v>42403</c:v>
                </c:pt>
                <c:pt idx="312">
                  <c:v>42404</c:v>
                </c:pt>
                <c:pt idx="313">
                  <c:v>42405</c:v>
                </c:pt>
                <c:pt idx="314">
                  <c:v>42408</c:v>
                </c:pt>
                <c:pt idx="315">
                  <c:v>42409</c:v>
                </c:pt>
                <c:pt idx="316">
                  <c:v>42410</c:v>
                </c:pt>
                <c:pt idx="317">
                  <c:v>42411</c:v>
                </c:pt>
                <c:pt idx="318">
                  <c:v>42412</c:v>
                </c:pt>
                <c:pt idx="319">
                  <c:v>42415</c:v>
                </c:pt>
                <c:pt idx="320">
                  <c:v>42416</c:v>
                </c:pt>
                <c:pt idx="321">
                  <c:v>42417</c:v>
                </c:pt>
                <c:pt idx="322">
                  <c:v>42418</c:v>
                </c:pt>
                <c:pt idx="323">
                  <c:v>42419</c:v>
                </c:pt>
                <c:pt idx="324">
                  <c:v>42422</c:v>
                </c:pt>
                <c:pt idx="325">
                  <c:v>42423</c:v>
                </c:pt>
                <c:pt idx="326">
                  <c:v>42424</c:v>
                </c:pt>
                <c:pt idx="327">
                  <c:v>42425</c:v>
                </c:pt>
                <c:pt idx="328">
                  <c:v>42426</c:v>
                </c:pt>
                <c:pt idx="329">
                  <c:v>42429</c:v>
                </c:pt>
                <c:pt idx="330">
                  <c:v>42430</c:v>
                </c:pt>
                <c:pt idx="331">
                  <c:v>42431</c:v>
                </c:pt>
                <c:pt idx="332">
                  <c:v>42432</c:v>
                </c:pt>
                <c:pt idx="333">
                  <c:v>42433</c:v>
                </c:pt>
                <c:pt idx="334">
                  <c:v>42436</c:v>
                </c:pt>
                <c:pt idx="335">
                  <c:v>42437</c:v>
                </c:pt>
                <c:pt idx="336">
                  <c:v>42438</c:v>
                </c:pt>
                <c:pt idx="337">
                  <c:v>42439</c:v>
                </c:pt>
                <c:pt idx="338">
                  <c:v>42440</c:v>
                </c:pt>
                <c:pt idx="339">
                  <c:v>42443</c:v>
                </c:pt>
                <c:pt idx="340">
                  <c:v>42444</c:v>
                </c:pt>
                <c:pt idx="341">
                  <c:v>42445</c:v>
                </c:pt>
                <c:pt idx="342">
                  <c:v>42446</c:v>
                </c:pt>
                <c:pt idx="343">
                  <c:v>42447</c:v>
                </c:pt>
                <c:pt idx="344">
                  <c:v>42450</c:v>
                </c:pt>
                <c:pt idx="345">
                  <c:v>42451</c:v>
                </c:pt>
                <c:pt idx="346">
                  <c:v>42452</c:v>
                </c:pt>
                <c:pt idx="347">
                  <c:v>42453</c:v>
                </c:pt>
                <c:pt idx="348">
                  <c:v>42454</c:v>
                </c:pt>
                <c:pt idx="349">
                  <c:v>42457</c:v>
                </c:pt>
                <c:pt idx="350">
                  <c:v>42458</c:v>
                </c:pt>
                <c:pt idx="351">
                  <c:v>42459</c:v>
                </c:pt>
                <c:pt idx="352">
                  <c:v>42460</c:v>
                </c:pt>
                <c:pt idx="353">
                  <c:v>42461</c:v>
                </c:pt>
                <c:pt idx="354">
                  <c:v>42464</c:v>
                </c:pt>
                <c:pt idx="355">
                  <c:v>42465</c:v>
                </c:pt>
                <c:pt idx="356">
                  <c:v>42466</c:v>
                </c:pt>
                <c:pt idx="357">
                  <c:v>42467</c:v>
                </c:pt>
                <c:pt idx="358">
                  <c:v>42468</c:v>
                </c:pt>
                <c:pt idx="359">
                  <c:v>42471</c:v>
                </c:pt>
                <c:pt idx="360">
                  <c:v>42472</c:v>
                </c:pt>
                <c:pt idx="361">
                  <c:v>42473</c:v>
                </c:pt>
                <c:pt idx="362">
                  <c:v>42474</c:v>
                </c:pt>
                <c:pt idx="363">
                  <c:v>42475</c:v>
                </c:pt>
                <c:pt idx="364">
                  <c:v>42478</c:v>
                </c:pt>
                <c:pt idx="365">
                  <c:v>42479</c:v>
                </c:pt>
                <c:pt idx="366">
                  <c:v>42480</c:v>
                </c:pt>
                <c:pt idx="367">
                  <c:v>42481</c:v>
                </c:pt>
                <c:pt idx="368">
                  <c:v>42482</c:v>
                </c:pt>
                <c:pt idx="369">
                  <c:v>42485</c:v>
                </c:pt>
                <c:pt idx="370">
                  <c:v>42486</c:v>
                </c:pt>
                <c:pt idx="371">
                  <c:v>42487</c:v>
                </c:pt>
                <c:pt idx="372">
                  <c:v>42488</c:v>
                </c:pt>
                <c:pt idx="373">
                  <c:v>42489</c:v>
                </c:pt>
                <c:pt idx="374">
                  <c:v>42492</c:v>
                </c:pt>
                <c:pt idx="375">
                  <c:v>42493</c:v>
                </c:pt>
                <c:pt idx="376">
                  <c:v>42494</c:v>
                </c:pt>
                <c:pt idx="377">
                  <c:v>42495</c:v>
                </c:pt>
                <c:pt idx="378">
                  <c:v>42496</c:v>
                </c:pt>
                <c:pt idx="379">
                  <c:v>42499</c:v>
                </c:pt>
                <c:pt idx="380">
                  <c:v>42500</c:v>
                </c:pt>
                <c:pt idx="381">
                  <c:v>42501</c:v>
                </c:pt>
                <c:pt idx="382">
                  <c:v>42502</c:v>
                </c:pt>
                <c:pt idx="383">
                  <c:v>42503</c:v>
                </c:pt>
                <c:pt idx="384">
                  <c:v>42506</c:v>
                </c:pt>
                <c:pt idx="385">
                  <c:v>42507</c:v>
                </c:pt>
                <c:pt idx="386">
                  <c:v>42508</c:v>
                </c:pt>
                <c:pt idx="387">
                  <c:v>42509</c:v>
                </c:pt>
                <c:pt idx="388">
                  <c:v>42510</c:v>
                </c:pt>
                <c:pt idx="389">
                  <c:v>42513</c:v>
                </c:pt>
                <c:pt idx="390">
                  <c:v>42514</c:v>
                </c:pt>
                <c:pt idx="391">
                  <c:v>42515</c:v>
                </c:pt>
                <c:pt idx="392">
                  <c:v>42516</c:v>
                </c:pt>
                <c:pt idx="393">
                  <c:v>42517</c:v>
                </c:pt>
                <c:pt idx="394">
                  <c:v>42520</c:v>
                </c:pt>
                <c:pt idx="395">
                  <c:v>42521</c:v>
                </c:pt>
                <c:pt idx="396">
                  <c:v>42522</c:v>
                </c:pt>
                <c:pt idx="397">
                  <c:v>42523</c:v>
                </c:pt>
                <c:pt idx="398">
                  <c:v>42524</c:v>
                </c:pt>
                <c:pt idx="399">
                  <c:v>42527</c:v>
                </c:pt>
                <c:pt idx="400">
                  <c:v>42528</c:v>
                </c:pt>
                <c:pt idx="401">
                  <c:v>42529</c:v>
                </c:pt>
                <c:pt idx="402">
                  <c:v>42530</c:v>
                </c:pt>
                <c:pt idx="403">
                  <c:v>42531</c:v>
                </c:pt>
                <c:pt idx="404">
                  <c:v>42534</c:v>
                </c:pt>
                <c:pt idx="405">
                  <c:v>42535</c:v>
                </c:pt>
                <c:pt idx="406">
                  <c:v>42536</c:v>
                </c:pt>
                <c:pt idx="407">
                  <c:v>42537</c:v>
                </c:pt>
                <c:pt idx="408">
                  <c:v>42538</c:v>
                </c:pt>
                <c:pt idx="409">
                  <c:v>42541</c:v>
                </c:pt>
                <c:pt idx="410">
                  <c:v>42542</c:v>
                </c:pt>
                <c:pt idx="411">
                  <c:v>42543</c:v>
                </c:pt>
                <c:pt idx="412">
                  <c:v>42544</c:v>
                </c:pt>
                <c:pt idx="413">
                  <c:v>42545</c:v>
                </c:pt>
                <c:pt idx="414">
                  <c:v>42548</c:v>
                </c:pt>
                <c:pt idx="415">
                  <c:v>42549</c:v>
                </c:pt>
                <c:pt idx="416">
                  <c:v>42550</c:v>
                </c:pt>
                <c:pt idx="417">
                  <c:v>42551</c:v>
                </c:pt>
                <c:pt idx="418">
                  <c:v>42552</c:v>
                </c:pt>
                <c:pt idx="419">
                  <c:v>42555</c:v>
                </c:pt>
                <c:pt idx="420">
                  <c:v>42556</c:v>
                </c:pt>
                <c:pt idx="421">
                  <c:v>42557</c:v>
                </c:pt>
                <c:pt idx="422">
                  <c:v>42558</c:v>
                </c:pt>
                <c:pt idx="423">
                  <c:v>42559</c:v>
                </c:pt>
                <c:pt idx="424">
                  <c:v>42562</c:v>
                </c:pt>
                <c:pt idx="425">
                  <c:v>42563</c:v>
                </c:pt>
                <c:pt idx="426">
                  <c:v>42564</c:v>
                </c:pt>
                <c:pt idx="427">
                  <c:v>42565</c:v>
                </c:pt>
                <c:pt idx="428">
                  <c:v>42566</c:v>
                </c:pt>
                <c:pt idx="429">
                  <c:v>42569</c:v>
                </c:pt>
                <c:pt idx="430">
                  <c:v>42570</c:v>
                </c:pt>
                <c:pt idx="431">
                  <c:v>42571</c:v>
                </c:pt>
                <c:pt idx="432">
                  <c:v>42572</c:v>
                </c:pt>
                <c:pt idx="433">
                  <c:v>42573</c:v>
                </c:pt>
                <c:pt idx="434">
                  <c:v>42576</c:v>
                </c:pt>
                <c:pt idx="435">
                  <c:v>42577</c:v>
                </c:pt>
                <c:pt idx="436">
                  <c:v>42578</c:v>
                </c:pt>
                <c:pt idx="437">
                  <c:v>42579</c:v>
                </c:pt>
                <c:pt idx="438">
                  <c:v>42580</c:v>
                </c:pt>
                <c:pt idx="439">
                  <c:v>42583</c:v>
                </c:pt>
                <c:pt idx="440">
                  <c:v>42584</c:v>
                </c:pt>
                <c:pt idx="441">
                  <c:v>42585</c:v>
                </c:pt>
                <c:pt idx="442">
                  <c:v>42586</c:v>
                </c:pt>
                <c:pt idx="443">
                  <c:v>42587</c:v>
                </c:pt>
                <c:pt idx="444">
                  <c:v>42590</c:v>
                </c:pt>
                <c:pt idx="445">
                  <c:v>42591</c:v>
                </c:pt>
                <c:pt idx="446">
                  <c:v>42592</c:v>
                </c:pt>
                <c:pt idx="447">
                  <c:v>42593</c:v>
                </c:pt>
                <c:pt idx="448">
                  <c:v>42594</c:v>
                </c:pt>
                <c:pt idx="449">
                  <c:v>42597</c:v>
                </c:pt>
                <c:pt idx="450">
                  <c:v>42598</c:v>
                </c:pt>
                <c:pt idx="451">
                  <c:v>42599</c:v>
                </c:pt>
                <c:pt idx="452">
                  <c:v>42600</c:v>
                </c:pt>
                <c:pt idx="453">
                  <c:v>42601</c:v>
                </c:pt>
                <c:pt idx="454">
                  <c:v>42604</c:v>
                </c:pt>
                <c:pt idx="455">
                  <c:v>42605</c:v>
                </c:pt>
                <c:pt idx="456">
                  <c:v>42606</c:v>
                </c:pt>
                <c:pt idx="457">
                  <c:v>42607</c:v>
                </c:pt>
                <c:pt idx="458">
                  <c:v>42608</c:v>
                </c:pt>
                <c:pt idx="459">
                  <c:v>42611</c:v>
                </c:pt>
                <c:pt idx="460">
                  <c:v>42612</c:v>
                </c:pt>
                <c:pt idx="461">
                  <c:v>42613</c:v>
                </c:pt>
                <c:pt idx="462">
                  <c:v>42614</c:v>
                </c:pt>
                <c:pt idx="463">
                  <c:v>42615</c:v>
                </c:pt>
                <c:pt idx="464">
                  <c:v>42618</c:v>
                </c:pt>
                <c:pt idx="465">
                  <c:v>42619</c:v>
                </c:pt>
                <c:pt idx="466">
                  <c:v>42620</c:v>
                </c:pt>
                <c:pt idx="467">
                  <c:v>42621</c:v>
                </c:pt>
                <c:pt idx="468">
                  <c:v>42622</c:v>
                </c:pt>
                <c:pt idx="469">
                  <c:v>42625</c:v>
                </c:pt>
                <c:pt idx="470">
                  <c:v>42626</c:v>
                </c:pt>
                <c:pt idx="471">
                  <c:v>42627</c:v>
                </c:pt>
                <c:pt idx="472">
                  <c:v>42628</c:v>
                </c:pt>
                <c:pt idx="473">
                  <c:v>42629</c:v>
                </c:pt>
                <c:pt idx="474">
                  <c:v>42632</c:v>
                </c:pt>
                <c:pt idx="475">
                  <c:v>42633</c:v>
                </c:pt>
                <c:pt idx="476">
                  <c:v>42634</c:v>
                </c:pt>
                <c:pt idx="477">
                  <c:v>42635</c:v>
                </c:pt>
                <c:pt idx="478">
                  <c:v>42636</c:v>
                </c:pt>
                <c:pt idx="479">
                  <c:v>42639</c:v>
                </c:pt>
                <c:pt idx="480">
                  <c:v>42640</c:v>
                </c:pt>
                <c:pt idx="481">
                  <c:v>42641</c:v>
                </c:pt>
                <c:pt idx="482">
                  <c:v>42642</c:v>
                </c:pt>
                <c:pt idx="483">
                  <c:v>42643</c:v>
                </c:pt>
                <c:pt idx="484">
                  <c:v>42646</c:v>
                </c:pt>
                <c:pt idx="485">
                  <c:v>42647</c:v>
                </c:pt>
                <c:pt idx="486">
                  <c:v>42648</c:v>
                </c:pt>
                <c:pt idx="487">
                  <c:v>42649</c:v>
                </c:pt>
                <c:pt idx="488">
                  <c:v>42650</c:v>
                </c:pt>
                <c:pt idx="489">
                  <c:v>42653</c:v>
                </c:pt>
                <c:pt idx="490">
                  <c:v>42654</c:v>
                </c:pt>
                <c:pt idx="491">
                  <c:v>42655</c:v>
                </c:pt>
                <c:pt idx="492">
                  <c:v>42656</c:v>
                </c:pt>
                <c:pt idx="493">
                  <c:v>42657</c:v>
                </c:pt>
                <c:pt idx="494">
                  <c:v>42660</c:v>
                </c:pt>
                <c:pt idx="495">
                  <c:v>42661</c:v>
                </c:pt>
                <c:pt idx="496">
                  <c:v>42662</c:v>
                </c:pt>
                <c:pt idx="497">
                  <c:v>42663</c:v>
                </c:pt>
                <c:pt idx="498">
                  <c:v>42664</c:v>
                </c:pt>
                <c:pt idx="499">
                  <c:v>42667</c:v>
                </c:pt>
                <c:pt idx="500">
                  <c:v>42668</c:v>
                </c:pt>
                <c:pt idx="501">
                  <c:v>42669</c:v>
                </c:pt>
                <c:pt idx="502">
                  <c:v>42670</c:v>
                </c:pt>
                <c:pt idx="503">
                  <c:v>42671</c:v>
                </c:pt>
                <c:pt idx="504">
                  <c:v>42674</c:v>
                </c:pt>
                <c:pt idx="505">
                  <c:v>42675</c:v>
                </c:pt>
                <c:pt idx="506">
                  <c:v>42676</c:v>
                </c:pt>
                <c:pt idx="507">
                  <c:v>42677</c:v>
                </c:pt>
                <c:pt idx="508">
                  <c:v>42678</c:v>
                </c:pt>
                <c:pt idx="509">
                  <c:v>42681</c:v>
                </c:pt>
                <c:pt idx="510">
                  <c:v>42682</c:v>
                </c:pt>
                <c:pt idx="511">
                  <c:v>42683</c:v>
                </c:pt>
                <c:pt idx="512">
                  <c:v>42684</c:v>
                </c:pt>
                <c:pt idx="513">
                  <c:v>42685</c:v>
                </c:pt>
                <c:pt idx="514">
                  <c:v>42688</c:v>
                </c:pt>
                <c:pt idx="515">
                  <c:v>42689</c:v>
                </c:pt>
                <c:pt idx="516">
                  <c:v>42690</c:v>
                </c:pt>
                <c:pt idx="517">
                  <c:v>42691</c:v>
                </c:pt>
                <c:pt idx="518">
                  <c:v>42692</c:v>
                </c:pt>
                <c:pt idx="519">
                  <c:v>42695</c:v>
                </c:pt>
                <c:pt idx="520">
                  <c:v>42696</c:v>
                </c:pt>
                <c:pt idx="521">
                  <c:v>42697</c:v>
                </c:pt>
                <c:pt idx="522">
                  <c:v>42698</c:v>
                </c:pt>
                <c:pt idx="523">
                  <c:v>42699</c:v>
                </c:pt>
                <c:pt idx="524">
                  <c:v>42702</c:v>
                </c:pt>
                <c:pt idx="525">
                  <c:v>42703</c:v>
                </c:pt>
                <c:pt idx="526">
                  <c:v>42704</c:v>
                </c:pt>
                <c:pt idx="527">
                  <c:v>42705</c:v>
                </c:pt>
                <c:pt idx="528">
                  <c:v>42706</c:v>
                </c:pt>
                <c:pt idx="529">
                  <c:v>42709</c:v>
                </c:pt>
                <c:pt idx="530">
                  <c:v>42710</c:v>
                </c:pt>
                <c:pt idx="531">
                  <c:v>42711</c:v>
                </c:pt>
                <c:pt idx="532">
                  <c:v>42712</c:v>
                </c:pt>
                <c:pt idx="533">
                  <c:v>42713</c:v>
                </c:pt>
                <c:pt idx="534">
                  <c:v>42716</c:v>
                </c:pt>
                <c:pt idx="535">
                  <c:v>42717</c:v>
                </c:pt>
                <c:pt idx="536">
                  <c:v>42718</c:v>
                </c:pt>
                <c:pt idx="537">
                  <c:v>42719</c:v>
                </c:pt>
                <c:pt idx="538">
                  <c:v>42720</c:v>
                </c:pt>
                <c:pt idx="539">
                  <c:v>42723</c:v>
                </c:pt>
                <c:pt idx="540">
                  <c:v>42724</c:v>
                </c:pt>
                <c:pt idx="541">
                  <c:v>42725</c:v>
                </c:pt>
                <c:pt idx="542">
                  <c:v>42726</c:v>
                </c:pt>
                <c:pt idx="543">
                  <c:v>42727</c:v>
                </c:pt>
                <c:pt idx="544">
                  <c:v>42730</c:v>
                </c:pt>
                <c:pt idx="545">
                  <c:v>42731</c:v>
                </c:pt>
                <c:pt idx="546">
                  <c:v>42732</c:v>
                </c:pt>
                <c:pt idx="547">
                  <c:v>42733</c:v>
                </c:pt>
                <c:pt idx="548">
                  <c:v>42734</c:v>
                </c:pt>
                <c:pt idx="549">
                  <c:v>42737</c:v>
                </c:pt>
                <c:pt idx="550">
                  <c:v>42738</c:v>
                </c:pt>
                <c:pt idx="551">
                  <c:v>42739</c:v>
                </c:pt>
                <c:pt idx="552">
                  <c:v>42740</c:v>
                </c:pt>
                <c:pt idx="553">
                  <c:v>42741</c:v>
                </c:pt>
                <c:pt idx="554">
                  <c:v>42744</c:v>
                </c:pt>
                <c:pt idx="555">
                  <c:v>42745</c:v>
                </c:pt>
                <c:pt idx="556">
                  <c:v>42746</c:v>
                </c:pt>
                <c:pt idx="557">
                  <c:v>42747</c:v>
                </c:pt>
                <c:pt idx="558">
                  <c:v>42748</c:v>
                </c:pt>
                <c:pt idx="559">
                  <c:v>42751</c:v>
                </c:pt>
                <c:pt idx="560">
                  <c:v>42752</c:v>
                </c:pt>
                <c:pt idx="561">
                  <c:v>42753</c:v>
                </c:pt>
                <c:pt idx="562">
                  <c:v>42754</c:v>
                </c:pt>
                <c:pt idx="563">
                  <c:v>42755</c:v>
                </c:pt>
                <c:pt idx="564">
                  <c:v>42758</c:v>
                </c:pt>
                <c:pt idx="565">
                  <c:v>42759</c:v>
                </c:pt>
                <c:pt idx="566">
                  <c:v>42760</c:v>
                </c:pt>
                <c:pt idx="567">
                  <c:v>42761</c:v>
                </c:pt>
                <c:pt idx="568">
                  <c:v>42762</c:v>
                </c:pt>
                <c:pt idx="569">
                  <c:v>42765</c:v>
                </c:pt>
                <c:pt idx="570">
                  <c:v>42766</c:v>
                </c:pt>
                <c:pt idx="571">
                  <c:v>42767</c:v>
                </c:pt>
                <c:pt idx="572">
                  <c:v>42768</c:v>
                </c:pt>
                <c:pt idx="573">
                  <c:v>42769</c:v>
                </c:pt>
                <c:pt idx="574">
                  <c:v>42772</c:v>
                </c:pt>
                <c:pt idx="575">
                  <c:v>42773</c:v>
                </c:pt>
                <c:pt idx="576">
                  <c:v>42774</c:v>
                </c:pt>
                <c:pt idx="577">
                  <c:v>42775</c:v>
                </c:pt>
                <c:pt idx="578">
                  <c:v>42776</c:v>
                </c:pt>
                <c:pt idx="579">
                  <c:v>42779</c:v>
                </c:pt>
                <c:pt idx="580">
                  <c:v>42780</c:v>
                </c:pt>
                <c:pt idx="581">
                  <c:v>42781</c:v>
                </c:pt>
                <c:pt idx="582">
                  <c:v>42782</c:v>
                </c:pt>
                <c:pt idx="583">
                  <c:v>42783</c:v>
                </c:pt>
                <c:pt idx="584">
                  <c:v>42786</c:v>
                </c:pt>
                <c:pt idx="585">
                  <c:v>42787</c:v>
                </c:pt>
                <c:pt idx="586">
                  <c:v>42788</c:v>
                </c:pt>
                <c:pt idx="587">
                  <c:v>42789</c:v>
                </c:pt>
                <c:pt idx="588">
                  <c:v>42790</c:v>
                </c:pt>
                <c:pt idx="589">
                  <c:v>42793</c:v>
                </c:pt>
                <c:pt idx="590">
                  <c:v>42794</c:v>
                </c:pt>
                <c:pt idx="591">
                  <c:v>42795</c:v>
                </c:pt>
                <c:pt idx="592">
                  <c:v>42796</c:v>
                </c:pt>
                <c:pt idx="593">
                  <c:v>42797</c:v>
                </c:pt>
                <c:pt idx="594">
                  <c:v>42800</c:v>
                </c:pt>
                <c:pt idx="595">
                  <c:v>42801</c:v>
                </c:pt>
                <c:pt idx="596">
                  <c:v>42802</c:v>
                </c:pt>
                <c:pt idx="597">
                  <c:v>42803</c:v>
                </c:pt>
                <c:pt idx="598">
                  <c:v>42804</c:v>
                </c:pt>
                <c:pt idx="599">
                  <c:v>42807</c:v>
                </c:pt>
                <c:pt idx="600">
                  <c:v>42808</c:v>
                </c:pt>
                <c:pt idx="601">
                  <c:v>42809</c:v>
                </c:pt>
                <c:pt idx="602">
                  <c:v>42810</c:v>
                </c:pt>
                <c:pt idx="603">
                  <c:v>42811</c:v>
                </c:pt>
                <c:pt idx="604">
                  <c:v>42814</c:v>
                </c:pt>
                <c:pt idx="605">
                  <c:v>42815</c:v>
                </c:pt>
                <c:pt idx="606">
                  <c:v>42816</c:v>
                </c:pt>
                <c:pt idx="607">
                  <c:v>42817</c:v>
                </c:pt>
                <c:pt idx="608">
                  <c:v>42818</c:v>
                </c:pt>
                <c:pt idx="609">
                  <c:v>42821</c:v>
                </c:pt>
                <c:pt idx="610">
                  <c:v>42822</c:v>
                </c:pt>
                <c:pt idx="611">
                  <c:v>42823</c:v>
                </c:pt>
                <c:pt idx="612">
                  <c:v>42824</c:v>
                </c:pt>
                <c:pt idx="613">
                  <c:v>42825</c:v>
                </c:pt>
                <c:pt idx="614">
                  <c:v>42828</c:v>
                </c:pt>
                <c:pt idx="615">
                  <c:v>42829</c:v>
                </c:pt>
                <c:pt idx="616">
                  <c:v>42830</c:v>
                </c:pt>
                <c:pt idx="617">
                  <c:v>42831</c:v>
                </c:pt>
                <c:pt idx="618">
                  <c:v>42832</c:v>
                </c:pt>
                <c:pt idx="619">
                  <c:v>42835</c:v>
                </c:pt>
                <c:pt idx="620">
                  <c:v>42836</c:v>
                </c:pt>
                <c:pt idx="621">
                  <c:v>42837</c:v>
                </c:pt>
                <c:pt idx="622">
                  <c:v>42838</c:v>
                </c:pt>
                <c:pt idx="623">
                  <c:v>42839</c:v>
                </c:pt>
                <c:pt idx="624">
                  <c:v>42842</c:v>
                </c:pt>
                <c:pt idx="625">
                  <c:v>42843</c:v>
                </c:pt>
                <c:pt idx="626">
                  <c:v>42844</c:v>
                </c:pt>
                <c:pt idx="627">
                  <c:v>42845</c:v>
                </c:pt>
                <c:pt idx="628">
                  <c:v>42846</c:v>
                </c:pt>
                <c:pt idx="629">
                  <c:v>42849</c:v>
                </c:pt>
                <c:pt idx="630">
                  <c:v>42850</c:v>
                </c:pt>
                <c:pt idx="631">
                  <c:v>42851</c:v>
                </c:pt>
                <c:pt idx="632">
                  <c:v>42852</c:v>
                </c:pt>
                <c:pt idx="633">
                  <c:v>42853</c:v>
                </c:pt>
                <c:pt idx="634">
                  <c:v>42856</c:v>
                </c:pt>
                <c:pt idx="635">
                  <c:v>42857</c:v>
                </c:pt>
                <c:pt idx="636">
                  <c:v>42858</c:v>
                </c:pt>
                <c:pt idx="637">
                  <c:v>42859</c:v>
                </c:pt>
                <c:pt idx="638">
                  <c:v>42860</c:v>
                </c:pt>
                <c:pt idx="639">
                  <c:v>42863</c:v>
                </c:pt>
                <c:pt idx="640">
                  <c:v>42864</c:v>
                </c:pt>
                <c:pt idx="641">
                  <c:v>42865</c:v>
                </c:pt>
                <c:pt idx="642">
                  <c:v>42866</c:v>
                </c:pt>
                <c:pt idx="643">
                  <c:v>42867</c:v>
                </c:pt>
                <c:pt idx="644">
                  <c:v>42870</c:v>
                </c:pt>
                <c:pt idx="645">
                  <c:v>42871</c:v>
                </c:pt>
                <c:pt idx="646">
                  <c:v>42872</c:v>
                </c:pt>
                <c:pt idx="647">
                  <c:v>42873</c:v>
                </c:pt>
                <c:pt idx="648">
                  <c:v>42874</c:v>
                </c:pt>
                <c:pt idx="649">
                  <c:v>42877</c:v>
                </c:pt>
                <c:pt idx="650">
                  <c:v>42878</c:v>
                </c:pt>
                <c:pt idx="651">
                  <c:v>42879</c:v>
                </c:pt>
                <c:pt idx="652">
                  <c:v>42880</c:v>
                </c:pt>
                <c:pt idx="653">
                  <c:v>42881</c:v>
                </c:pt>
                <c:pt idx="654">
                  <c:v>42884</c:v>
                </c:pt>
                <c:pt idx="655">
                  <c:v>42885</c:v>
                </c:pt>
                <c:pt idx="656">
                  <c:v>42886</c:v>
                </c:pt>
                <c:pt idx="657">
                  <c:v>42887</c:v>
                </c:pt>
                <c:pt idx="658">
                  <c:v>42888</c:v>
                </c:pt>
                <c:pt idx="659">
                  <c:v>42891</c:v>
                </c:pt>
                <c:pt idx="660">
                  <c:v>42892</c:v>
                </c:pt>
                <c:pt idx="661">
                  <c:v>42893</c:v>
                </c:pt>
                <c:pt idx="662">
                  <c:v>42894</c:v>
                </c:pt>
                <c:pt idx="663">
                  <c:v>42895</c:v>
                </c:pt>
                <c:pt idx="664">
                  <c:v>42898</c:v>
                </c:pt>
                <c:pt idx="665">
                  <c:v>42899</c:v>
                </c:pt>
                <c:pt idx="666">
                  <c:v>42900</c:v>
                </c:pt>
                <c:pt idx="667">
                  <c:v>42901</c:v>
                </c:pt>
                <c:pt idx="668">
                  <c:v>42902</c:v>
                </c:pt>
                <c:pt idx="669">
                  <c:v>42905</c:v>
                </c:pt>
                <c:pt idx="670">
                  <c:v>42906</c:v>
                </c:pt>
                <c:pt idx="671">
                  <c:v>42907</c:v>
                </c:pt>
                <c:pt idx="672">
                  <c:v>42908</c:v>
                </c:pt>
                <c:pt idx="673">
                  <c:v>42909</c:v>
                </c:pt>
                <c:pt idx="674">
                  <c:v>42912</c:v>
                </c:pt>
                <c:pt idx="675">
                  <c:v>42913</c:v>
                </c:pt>
                <c:pt idx="676">
                  <c:v>42914</c:v>
                </c:pt>
                <c:pt idx="677">
                  <c:v>42915</c:v>
                </c:pt>
                <c:pt idx="678">
                  <c:v>42916</c:v>
                </c:pt>
                <c:pt idx="679">
                  <c:v>42919</c:v>
                </c:pt>
                <c:pt idx="680">
                  <c:v>42920</c:v>
                </c:pt>
                <c:pt idx="681">
                  <c:v>42921</c:v>
                </c:pt>
                <c:pt idx="682">
                  <c:v>42922</c:v>
                </c:pt>
                <c:pt idx="683">
                  <c:v>42923</c:v>
                </c:pt>
                <c:pt idx="684">
                  <c:v>42926</c:v>
                </c:pt>
                <c:pt idx="685">
                  <c:v>42927</c:v>
                </c:pt>
                <c:pt idx="686">
                  <c:v>42928</c:v>
                </c:pt>
                <c:pt idx="687">
                  <c:v>42929</c:v>
                </c:pt>
                <c:pt idx="688">
                  <c:v>42930</c:v>
                </c:pt>
                <c:pt idx="689">
                  <c:v>42933</c:v>
                </c:pt>
                <c:pt idx="690">
                  <c:v>42934</c:v>
                </c:pt>
                <c:pt idx="691">
                  <c:v>42935</c:v>
                </c:pt>
                <c:pt idx="692">
                  <c:v>42936</c:v>
                </c:pt>
                <c:pt idx="693">
                  <c:v>42937</c:v>
                </c:pt>
                <c:pt idx="694">
                  <c:v>42940</c:v>
                </c:pt>
                <c:pt idx="695">
                  <c:v>42941</c:v>
                </c:pt>
                <c:pt idx="696">
                  <c:v>42942</c:v>
                </c:pt>
                <c:pt idx="697">
                  <c:v>42943</c:v>
                </c:pt>
                <c:pt idx="698">
                  <c:v>42944</c:v>
                </c:pt>
                <c:pt idx="699">
                  <c:v>42947</c:v>
                </c:pt>
                <c:pt idx="700">
                  <c:v>42948</c:v>
                </c:pt>
                <c:pt idx="701">
                  <c:v>42949</c:v>
                </c:pt>
                <c:pt idx="702">
                  <c:v>42950</c:v>
                </c:pt>
                <c:pt idx="703">
                  <c:v>42951</c:v>
                </c:pt>
                <c:pt idx="704">
                  <c:v>42954</c:v>
                </c:pt>
                <c:pt idx="705">
                  <c:v>42955</c:v>
                </c:pt>
                <c:pt idx="706">
                  <c:v>42956</c:v>
                </c:pt>
                <c:pt idx="707">
                  <c:v>42957</c:v>
                </c:pt>
                <c:pt idx="708">
                  <c:v>42958</c:v>
                </c:pt>
                <c:pt idx="709">
                  <c:v>42961</c:v>
                </c:pt>
                <c:pt idx="710">
                  <c:v>42962</c:v>
                </c:pt>
                <c:pt idx="711">
                  <c:v>42963</c:v>
                </c:pt>
                <c:pt idx="712">
                  <c:v>42964</c:v>
                </c:pt>
                <c:pt idx="713">
                  <c:v>42965</c:v>
                </c:pt>
                <c:pt idx="714">
                  <c:v>42968</c:v>
                </c:pt>
                <c:pt idx="715">
                  <c:v>42969</c:v>
                </c:pt>
                <c:pt idx="716">
                  <c:v>42970</c:v>
                </c:pt>
                <c:pt idx="717">
                  <c:v>42971</c:v>
                </c:pt>
                <c:pt idx="718">
                  <c:v>42972</c:v>
                </c:pt>
                <c:pt idx="719">
                  <c:v>42975</c:v>
                </c:pt>
                <c:pt idx="720">
                  <c:v>42976</c:v>
                </c:pt>
                <c:pt idx="721">
                  <c:v>42977</c:v>
                </c:pt>
                <c:pt idx="722">
                  <c:v>42978</c:v>
                </c:pt>
                <c:pt idx="723">
                  <c:v>42979</c:v>
                </c:pt>
                <c:pt idx="724">
                  <c:v>42982</c:v>
                </c:pt>
                <c:pt idx="725">
                  <c:v>42983</c:v>
                </c:pt>
                <c:pt idx="726">
                  <c:v>42984</c:v>
                </c:pt>
                <c:pt idx="727">
                  <c:v>42985</c:v>
                </c:pt>
                <c:pt idx="728">
                  <c:v>42986</c:v>
                </c:pt>
                <c:pt idx="729">
                  <c:v>42989</c:v>
                </c:pt>
                <c:pt idx="730">
                  <c:v>42990</c:v>
                </c:pt>
                <c:pt idx="731">
                  <c:v>42991</c:v>
                </c:pt>
                <c:pt idx="732">
                  <c:v>42992</c:v>
                </c:pt>
                <c:pt idx="733">
                  <c:v>42993</c:v>
                </c:pt>
                <c:pt idx="734">
                  <c:v>42996</c:v>
                </c:pt>
                <c:pt idx="735">
                  <c:v>42997</c:v>
                </c:pt>
                <c:pt idx="736">
                  <c:v>42998</c:v>
                </c:pt>
                <c:pt idx="737">
                  <c:v>42999</c:v>
                </c:pt>
                <c:pt idx="738">
                  <c:v>43000</c:v>
                </c:pt>
                <c:pt idx="739">
                  <c:v>43003</c:v>
                </c:pt>
                <c:pt idx="740">
                  <c:v>43004</c:v>
                </c:pt>
                <c:pt idx="741">
                  <c:v>43005</c:v>
                </c:pt>
                <c:pt idx="742">
                  <c:v>43006</c:v>
                </c:pt>
                <c:pt idx="743">
                  <c:v>43007</c:v>
                </c:pt>
                <c:pt idx="744">
                  <c:v>43010</c:v>
                </c:pt>
                <c:pt idx="745">
                  <c:v>43011</c:v>
                </c:pt>
                <c:pt idx="746">
                  <c:v>43012</c:v>
                </c:pt>
                <c:pt idx="747">
                  <c:v>43013</c:v>
                </c:pt>
                <c:pt idx="748">
                  <c:v>43014</c:v>
                </c:pt>
                <c:pt idx="749">
                  <c:v>43017</c:v>
                </c:pt>
                <c:pt idx="750">
                  <c:v>43018</c:v>
                </c:pt>
                <c:pt idx="751">
                  <c:v>43019</c:v>
                </c:pt>
                <c:pt idx="752">
                  <c:v>43020</c:v>
                </c:pt>
                <c:pt idx="753">
                  <c:v>43021</c:v>
                </c:pt>
                <c:pt idx="754">
                  <c:v>43024</c:v>
                </c:pt>
                <c:pt idx="755">
                  <c:v>43025</c:v>
                </c:pt>
                <c:pt idx="756">
                  <c:v>43026</c:v>
                </c:pt>
                <c:pt idx="757">
                  <c:v>43027</c:v>
                </c:pt>
                <c:pt idx="758">
                  <c:v>43028</c:v>
                </c:pt>
                <c:pt idx="759">
                  <c:v>43031</c:v>
                </c:pt>
                <c:pt idx="760">
                  <c:v>43032</c:v>
                </c:pt>
                <c:pt idx="761">
                  <c:v>43033</c:v>
                </c:pt>
                <c:pt idx="762">
                  <c:v>43034</c:v>
                </c:pt>
                <c:pt idx="763">
                  <c:v>43035</c:v>
                </c:pt>
                <c:pt idx="764">
                  <c:v>43038</c:v>
                </c:pt>
                <c:pt idx="765">
                  <c:v>43039</c:v>
                </c:pt>
                <c:pt idx="766">
                  <c:v>43040</c:v>
                </c:pt>
                <c:pt idx="767">
                  <c:v>43041</c:v>
                </c:pt>
                <c:pt idx="768">
                  <c:v>43042</c:v>
                </c:pt>
                <c:pt idx="769">
                  <c:v>43045</c:v>
                </c:pt>
                <c:pt idx="770">
                  <c:v>43046</c:v>
                </c:pt>
                <c:pt idx="771">
                  <c:v>43047</c:v>
                </c:pt>
                <c:pt idx="772">
                  <c:v>43048</c:v>
                </c:pt>
                <c:pt idx="773">
                  <c:v>43049</c:v>
                </c:pt>
                <c:pt idx="774">
                  <c:v>43052</c:v>
                </c:pt>
                <c:pt idx="775">
                  <c:v>43053</c:v>
                </c:pt>
                <c:pt idx="776">
                  <c:v>43054</c:v>
                </c:pt>
                <c:pt idx="777">
                  <c:v>43055</c:v>
                </c:pt>
                <c:pt idx="778">
                  <c:v>43056</c:v>
                </c:pt>
                <c:pt idx="779">
                  <c:v>43059</c:v>
                </c:pt>
                <c:pt idx="780">
                  <c:v>43060</c:v>
                </c:pt>
                <c:pt idx="781">
                  <c:v>43061</c:v>
                </c:pt>
                <c:pt idx="782">
                  <c:v>43062</c:v>
                </c:pt>
                <c:pt idx="783">
                  <c:v>43063</c:v>
                </c:pt>
                <c:pt idx="784">
                  <c:v>43066</c:v>
                </c:pt>
                <c:pt idx="785">
                  <c:v>43067</c:v>
                </c:pt>
                <c:pt idx="786">
                  <c:v>43068</c:v>
                </c:pt>
                <c:pt idx="787">
                  <c:v>43069</c:v>
                </c:pt>
                <c:pt idx="788">
                  <c:v>43070</c:v>
                </c:pt>
                <c:pt idx="789">
                  <c:v>43073</c:v>
                </c:pt>
                <c:pt idx="790">
                  <c:v>43074</c:v>
                </c:pt>
                <c:pt idx="791">
                  <c:v>43075</c:v>
                </c:pt>
                <c:pt idx="792">
                  <c:v>43076</c:v>
                </c:pt>
                <c:pt idx="793">
                  <c:v>43077</c:v>
                </c:pt>
                <c:pt idx="794">
                  <c:v>43080</c:v>
                </c:pt>
                <c:pt idx="795">
                  <c:v>43081</c:v>
                </c:pt>
                <c:pt idx="796">
                  <c:v>43082</c:v>
                </c:pt>
                <c:pt idx="797">
                  <c:v>43083</c:v>
                </c:pt>
                <c:pt idx="798">
                  <c:v>43084</c:v>
                </c:pt>
                <c:pt idx="799">
                  <c:v>43087</c:v>
                </c:pt>
                <c:pt idx="800">
                  <c:v>43088</c:v>
                </c:pt>
                <c:pt idx="801">
                  <c:v>43089</c:v>
                </c:pt>
                <c:pt idx="802">
                  <c:v>43090</c:v>
                </c:pt>
                <c:pt idx="803">
                  <c:v>43091</c:v>
                </c:pt>
                <c:pt idx="804">
                  <c:v>43094</c:v>
                </c:pt>
                <c:pt idx="805">
                  <c:v>43095</c:v>
                </c:pt>
                <c:pt idx="806">
                  <c:v>43096</c:v>
                </c:pt>
                <c:pt idx="807">
                  <c:v>43097</c:v>
                </c:pt>
                <c:pt idx="808">
                  <c:v>43098</c:v>
                </c:pt>
                <c:pt idx="809">
                  <c:v>43101</c:v>
                </c:pt>
                <c:pt idx="810">
                  <c:v>43102</c:v>
                </c:pt>
                <c:pt idx="811">
                  <c:v>43103</c:v>
                </c:pt>
                <c:pt idx="812">
                  <c:v>43104</c:v>
                </c:pt>
                <c:pt idx="813">
                  <c:v>43105</c:v>
                </c:pt>
                <c:pt idx="814">
                  <c:v>43108</c:v>
                </c:pt>
                <c:pt idx="815">
                  <c:v>43109</c:v>
                </c:pt>
                <c:pt idx="816">
                  <c:v>43110</c:v>
                </c:pt>
                <c:pt idx="817">
                  <c:v>43111</c:v>
                </c:pt>
                <c:pt idx="818">
                  <c:v>43112</c:v>
                </c:pt>
                <c:pt idx="819">
                  <c:v>43115</c:v>
                </c:pt>
                <c:pt idx="820">
                  <c:v>43116</c:v>
                </c:pt>
                <c:pt idx="821">
                  <c:v>43117</c:v>
                </c:pt>
                <c:pt idx="822">
                  <c:v>43118</c:v>
                </c:pt>
                <c:pt idx="823">
                  <c:v>43119</c:v>
                </c:pt>
                <c:pt idx="824">
                  <c:v>43122</c:v>
                </c:pt>
                <c:pt idx="825">
                  <c:v>43123</c:v>
                </c:pt>
                <c:pt idx="826">
                  <c:v>43124</c:v>
                </c:pt>
                <c:pt idx="827">
                  <c:v>43125</c:v>
                </c:pt>
                <c:pt idx="828">
                  <c:v>43126</c:v>
                </c:pt>
                <c:pt idx="829">
                  <c:v>43129</c:v>
                </c:pt>
                <c:pt idx="830">
                  <c:v>43130</c:v>
                </c:pt>
                <c:pt idx="831">
                  <c:v>43131</c:v>
                </c:pt>
                <c:pt idx="832">
                  <c:v>43132</c:v>
                </c:pt>
                <c:pt idx="833">
                  <c:v>43133</c:v>
                </c:pt>
                <c:pt idx="834">
                  <c:v>43136</c:v>
                </c:pt>
                <c:pt idx="835">
                  <c:v>43137</c:v>
                </c:pt>
                <c:pt idx="836">
                  <c:v>43138</c:v>
                </c:pt>
                <c:pt idx="837">
                  <c:v>43139</c:v>
                </c:pt>
                <c:pt idx="838">
                  <c:v>43140</c:v>
                </c:pt>
                <c:pt idx="839">
                  <c:v>43143</c:v>
                </c:pt>
                <c:pt idx="840">
                  <c:v>43144</c:v>
                </c:pt>
                <c:pt idx="841">
                  <c:v>43145</c:v>
                </c:pt>
                <c:pt idx="842">
                  <c:v>43146</c:v>
                </c:pt>
                <c:pt idx="843">
                  <c:v>43147</c:v>
                </c:pt>
                <c:pt idx="844">
                  <c:v>43150</c:v>
                </c:pt>
                <c:pt idx="845">
                  <c:v>43151</c:v>
                </c:pt>
                <c:pt idx="846">
                  <c:v>43152</c:v>
                </c:pt>
                <c:pt idx="847">
                  <c:v>43153</c:v>
                </c:pt>
                <c:pt idx="848">
                  <c:v>43154</c:v>
                </c:pt>
                <c:pt idx="849">
                  <c:v>43157</c:v>
                </c:pt>
                <c:pt idx="850">
                  <c:v>43158</c:v>
                </c:pt>
                <c:pt idx="851">
                  <c:v>43159</c:v>
                </c:pt>
                <c:pt idx="852">
                  <c:v>43160</c:v>
                </c:pt>
                <c:pt idx="853">
                  <c:v>43161</c:v>
                </c:pt>
                <c:pt idx="854">
                  <c:v>43164</c:v>
                </c:pt>
                <c:pt idx="855">
                  <c:v>43165</c:v>
                </c:pt>
                <c:pt idx="856">
                  <c:v>43166</c:v>
                </c:pt>
                <c:pt idx="857">
                  <c:v>43167</c:v>
                </c:pt>
                <c:pt idx="858">
                  <c:v>43168</c:v>
                </c:pt>
                <c:pt idx="859">
                  <c:v>43171</c:v>
                </c:pt>
                <c:pt idx="860">
                  <c:v>43172</c:v>
                </c:pt>
                <c:pt idx="861">
                  <c:v>43173</c:v>
                </c:pt>
                <c:pt idx="862">
                  <c:v>43174</c:v>
                </c:pt>
                <c:pt idx="863">
                  <c:v>43175</c:v>
                </c:pt>
                <c:pt idx="864">
                  <c:v>43178</c:v>
                </c:pt>
                <c:pt idx="865">
                  <c:v>43179</c:v>
                </c:pt>
                <c:pt idx="866">
                  <c:v>43180</c:v>
                </c:pt>
                <c:pt idx="867">
                  <c:v>43181</c:v>
                </c:pt>
                <c:pt idx="868">
                  <c:v>43182</c:v>
                </c:pt>
                <c:pt idx="869">
                  <c:v>43185</c:v>
                </c:pt>
                <c:pt idx="870">
                  <c:v>43186</c:v>
                </c:pt>
                <c:pt idx="871">
                  <c:v>43187</c:v>
                </c:pt>
                <c:pt idx="872">
                  <c:v>43188</c:v>
                </c:pt>
                <c:pt idx="873">
                  <c:v>43189</c:v>
                </c:pt>
                <c:pt idx="874">
                  <c:v>43192</c:v>
                </c:pt>
                <c:pt idx="875">
                  <c:v>43193</c:v>
                </c:pt>
                <c:pt idx="876">
                  <c:v>43194</c:v>
                </c:pt>
                <c:pt idx="877">
                  <c:v>43195</c:v>
                </c:pt>
                <c:pt idx="878">
                  <c:v>43196</c:v>
                </c:pt>
                <c:pt idx="879">
                  <c:v>43199</c:v>
                </c:pt>
                <c:pt idx="880">
                  <c:v>43200</c:v>
                </c:pt>
                <c:pt idx="881">
                  <c:v>43201</c:v>
                </c:pt>
                <c:pt idx="882">
                  <c:v>43202</c:v>
                </c:pt>
                <c:pt idx="883">
                  <c:v>43203</c:v>
                </c:pt>
                <c:pt idx="884">
                  <c:v>43206</c:v>
                </c:pt>
                <c:pt idx="885">
                  <c:v>43207</c:v>
                </c:pt>
                <c:pt idx="886">
                  <c:v>43208</c:v>
                </c:pt>
                <c:pt idx="887">
                  <c:v>43209</c:v>
                </c:pt>
                <c:pt idx="888">
                  <c:v>43210</c:v>
                </c:pt>
                <c:pt idx="889">
                  <c:v>43213</c:v>
                </c:pt>
                <c:pt idx="890">
                  <c:v>43214</c:v>
                </c:pt>
                <c:pt idx="891">
                  <c:v>43215</c:v>
                </c:pt>
                <c:pt idx="892">
                  <c:v>43216</c:v>
                </c:pt>
                <c:pt idx="893">
                  <c:v>43217</c:v>
                </c:pt>
                <c:pt idx="894">
                  <c:v>43220</c:v>
                </c:pt>
                <c:pt idx="895">
                  <c:v>43221</c:v>
                </c:pt>
                <c:pt idx="896">
                  <c:v>43222</c:v>
                </c:pt>
                <c:pt idx="897">
                  <c:v>43223</c:v>
                </c:pt>
                <c:pt idx="898">
                  <c:v>43224</c:v>
                </c:pt>
                <c:pt idx="899">
                  <c:v>43227</c:v>
                </c:pt>
                <c:pt idx="900">
                  <c:v>43228</c:v>
                </c:pt>
                <c:pt idx="901">
                  <c:v>43229</c:v>
                </c:pt>
                <c:pt idx="902">
                  <c:v>43230</c:v>
                </c:pt>
                <c:pt idx="903">
                  <c:v>43231</c:v>
                </c:pt>
                <c:pt idx="904">
                  <c:v>43234</c:v>
                </c:pt>
                <c:pt idx="905">
                  <c:v>43235</c:v>
                </c:pt>
                <c:pt idx="906">
                  <c:v>43236</c:v>
                </c:pt>
                <c:pt idx="907">
                  <c:v>43237</c:v>
                </c:pt>
                <c:pt idx="908">
                  <c:v>43238</c:v>
                </c:pt>
                <c:pt idx="909">
                  <c:v>43241</c:v>
                </c:pt>
                <c:pt idx="910">
                  <c:v>43242</c:v>
                </c:pt>
                <c:pt idx="911">
                  <c:v>43243</c:v>
                </c:pt>
                <c:pt idx="912">
                  <c:v>43244</c:v>
                </c:pt>
                <c:pt idx="913">
                  <c:v>43245</c:v>
                </c:pt>
                <c:pt idx="914">
                  <c:v>43248</c:v>
                </c:pt>
                <c:pt idx="915">
                  <c:v>43249</c:v>
                </c:pt>
                <c:pt idx="916">
                  <c:v>43250</c:v>
                </c:pt>
                <c:pt idx="917">
                  <c:v>43251</c:v>
                </c:pt>
                <c:pt idx="918">
                  <c:v>43252</c:v>
                </c:pt>
                <c:pt idx="919">
                  <c:v>43255</c:v>
                </c:pt>
                <c:pt idx="920">
                  <c:v>43256</c:v>
                </c:pt>
                <c:pt idx="921">
                  <c:v>43257</c:v>
                </c:pt>
                <c:pt idx="922">
                  <c:v>43258</c:v>
                </c:pt>
                <c:pt idx="923">
                  <c:v>43259</c:v>
                </c:pt>
                <c:pt idx="924">
                  <c:v>43262</c:v>
                </c:pt>
                <c:pt idx="925">
                  <c:v>43263</c:v>
                </c:pt>
                <c:pt idx="926">
                  <c:v>43264</c:v>
                </c:pt>
                <c:pt idx="927">
                  <c:v>43265</c:v>
                </c:pt>
                <c:pt idx="928">
                  <c:v>43266</c:v>
                </c:pt>
                <c:pt idx="929">
                  <c:v>43269</c:v>
                </c:pt>
                <c:pt idx="930">
                  <c:v>43270</c:v>
                </c:pt>
                <c:pt idx="931">
                  <c:v>43271</c:v>
                </c:pt>
                <c:pt idx="932">
                  <c:v>43272</c:v>
                </c:pt>
                <c:pt idx="933">
                  <c:v>43273</c:v>
                </c:pt>
                <c:pt idx="934">
                  <c:v>43276</c:v>
                </c:pt>
                <c:pt idx="935">
                  <c:v>43277</c:v>
                </c:pt>
                <c:pt idx="936">
                  <c:v>43278</c:v>
                </c:pt>
                <c:pt idx="937">
                  <c:v>43279</c:v>
                </c:pt>
                <c:pt idx="938">
                  <c:v>43280</c:v>
                </c:pt>
                <c:pt idx="939">
                  <c:v>43283</c:v>
                </c:pt>
                <c:pt idx="940">
                  <c:v>43284</c:v>
                </c:pt>
                <c:pt idx="941">
                  <c:v>43285</c:v>
                </c:pt>
                <c:pt idx="942">
                  <c:v>43286</c:v>
                </c:pt>
                <c:pt idx="943">
                  <c:v>43287</c:v>
                </c:pt>
                <c:pt idx="944">
                  <c:v>43290</c:v>
                </c:pt>
                <c:pt idx="945">
                  <c:v>43291</c:v>
                </c:pt>
                <c:pt idx="946">
                  <c:v>43292</c:v>
                </c:pt>
                <c:pt idx="947">
                  <c:v>43293</c:v>
                </c:pt>
                <c:pt idx="948">
                  <c:v>43294</c:v>
                </c:pt>
                <c:pt idx="949">
                  <c:v>43297</c:v>
                </c:pt>
                <c:pt idx="950">
                  <c:v>43298</c:v>
                </c:pt>
                <c:pt idx="951">
                  <c:v>43299</c:v>
                </c:pt>
                <c:pt idx="952">
                  <c:v>43300</c:v>
                </c:pt>
                <c:pt idx="953">
                  <c:v>43301</c:v>
                </c:pt>
                <c:pt idx="954">
                  <c:v>43304</c:v>
                </c:pt>
                <c:pt idx="955">
                  <c:v>43305</c:v>
                </c:pt>
                <c:pt idx="956">
                  <c:v>43306</c:v>
                </c:pt>
                <c:pt idx="957">
                  <c:v>43307</c:v>
                </c:pt>
                <c:pt idx="958">
                  <c:v>43308</c:v>
                </c:pt>
                <c:pt idx="959">
                  <c:v>43311</c:v>
                </c:pt>
                <c:pt idx="960">
                  <c:v>43312</c:v>
                </c:pt>
                <c:pt idx="961">
                  <c:v>43313</c:v>
                </c:pt>
                <c:pt idx="962">
                  <c:v>43314</c:v>
                </c:pt>
                <c:pt idx="963">
                  <c:v>43315</c:v>
                </c:pt>
                <c:pt idx="964">
                  <c:v>43318</c:v>
                </c:pt>
                <c:pt idx="965">
                  <c:v>43319</c:v>
                </c:pt>
                <c:pt idx="966">
                  <c:v>43320</c:v>
                </c:pt>
                <c:pt idx="967">
                  <c:v>43321</c:v>
                </c:pt>
                <c:pt idx="968">
                  <c:v>43322</c:v>
                </c:pt>
                <c:pt idx="969">
                  <c:v>43325</c:v>
                </c:pt>
                <c:pt idx="970">
                  <c:v>43326</c:v>
                </c:pt>
                <c:pt idx="971">
                  <c:v>43327</c:v>
                </c:pt>
                <c:pt idx="972">
                  <c:v>43328</c:v>
                </c:pt>
                <c:pt idx="973">
                  <c:v>43329</c:v>
                </c:pt>
                <c:pt idx="974">
                  <c:v>43332</c:v>
                </c:pt>
                <c:pt idx="975">
                  <c:v>43333</c:v>
                </c:pt>
                <c:pt idx="976">
                  <c:v>43334</c:v>
                </c:pt>
                <c:pt idx="977">
                  <c:v>43335</c:v>
                </c:pt>
                <c:pt idx="978">
                  <c:v>43336</c:v>
                </c:pt>
                <c:pt idx="979">
                  <c:v>43339</c:v>
                </c:pt>
                <c:pt idx="980">
                  <c:v>43340</c:v>
                </c:pt>
                <c:pt idx="981">
                  <c:v>43341</c:v>
                </c:pt>
                <c:pt idx="982">
                  <c:v>43342</c:v>
                </c:pt>
                <c:pt idx="983">
                  <c:v>43343</c:v>
                </c:pt>
                <c:pt idx="984">
                  <c:v>43346</c:v>
                </c:pt>
                <c:pt idx="985">
                  <c:v>43347</c:v>
                </c:pt>
                <c:pt idx="986">
                  <c:v>43348</c:v>
                </c:pt>
                <c:pt idx="987">
                  <c:v>43349</c:v>
                </c:pt>
                <c:pt idx="988">
                  <c:v>43350</c:v>
                </c:pt>
                <c:pt idx="989">
                  <c:v>43353</c:v>
                </c:pt>
                <c:pt idx="990">
                  <c:v>43354</c:v>
                </c:pt>
                <c:pt idx="991">
                  <c:v>43355</c:v>
                </c:pt>
                <c:pt idx="992">
                  <c:v>43356</c:v>
                </c:pt>
                <c:pt idx="993">
                  <c:v>43357</c:v>
                </c:pt>
                <c:pt idx="994">
                  <c:v>43360</c:v>
                </c:pt>
                <c:pt idx="995">
                  <c:v>43361</c:v>
                </c:pt>
                <c:pt idx="996">
                  <c:v>43362</c:v>
                </c:pt>
                <c:pt idx="997">
                  <c:v>43363</c:v>
                </c:pt>
                <c:pt idx="998">
                  <c:v>43364</c:v>
                </c:pt>
                <c:pt idx="999">
                  <c:v>43367</c:v>
                </c:pt>
                <c:pt idx="1000">
                  <c:v>43368</c:v>
                </c:pt>
                <c:pt idx="1001">
                  <c:v>43369</c:v>
                </c:pt>
                <c:pt idx="1002">
                  <c:v>43370</c:v>
                </c:pt>
                <c:pt idx="1003">
                  <c:v>43371</c:v>
                </c:pt>
                <c:pt idx="1004">
                  <c:v>43374</c:v>
                </c:pt>
                <c:pt idx="1005">
                  <c:v>43375</c:v>
                </c:pt>
                <c:pt idx="1006">
                  <c:v>43376</c:v>
                </c:pt>
                <c:pt idx="1007">
                  <c:v>43377</c:v>
                </c:pt>
                <c:pt idx="1008">
                  <c:v>43378</c:v>
                </c:pt>
                <c:pt idx="1009">
                  <c:v>43381</c:v>
                </c:pt>
                <c:pt idx="1010">
                  <c:v>43382</c:v>
                </c:pt>
                <c:pt idx="1011">
                  <c:v>43383</c:v>
                </c:pt>
                <c:pt idx="1012">
                  <c:v>43384</c:v>
                </c:pt>
                <c:pt idx="1013">
                  <c:v>43385</c:v>
                </c:pt>
                <c:pt idx="1014">
                  <c:v>43388</c:v>
                </c:pt>
                <c:pt idx="1015">
                  <c:v>43389</c:v>
                </c:pt>
                <c:pt idx="1016">
                  <c:v>43390</c:v>
                </c:pt>
                <c:pt idx="1017">
                  <c:v>43391</c:v>
                </c:pt>
                <c:pt idx="1018">
                  <c:v>43392</c:v>
                </c:pt>
                <c:pt idx="1019">
                  <c:v>43395</c:v>
                </c:pt>
                <c:pt idx="1020">
                  <c:v>43396</c:v>
                </c:pt>
                <c:pt idx="1021">
                  <c:v>43397</c:v>
                </c:pt>
                <c:pt idx="1022">
                  <c:v>43398</c:v>
                </c:pt>
                <c:pt idx="1023">
                  <c:v>43399</c:v>
                </c:pt>
                <c:pt idx="1024">
                  <c:v>43402</c:v>
                </c:pt>
                <c:pt idx="1025">
                  <c:v>43403</c:v>
                </c:pt>
                <c:pt idx="1026">
                  <c:v>43404</c:v>
                </c:pt>
                <c:pt idx="1027">
                  <c:v>43405</c:v>
                </c:pt>
                <c:pt idx="1028">
                  <c:v>43406</c:v>
                </c:pt>
                <c:pt idx="1029">
                  <c:v>43409</c:v>
                </c:pt>
                <c:pt idx="1030">
                  <c:v>43410</c:v>
                </c:pt>
                <c:pt idx="1031">
                  <c:v>43411</c:v>
                </c:pt>
                <c:pt idx="1032">
                  <c:v>43412</c:v>
                </c:pt>
                <c:pt idx="1033">
                  <c:v>43413</c:v>
                </c:pt>
                <c:pt idx="1034">
                  <c:v>43416</c:v>
                </c:pt>
                <c:pt idx="1035">
                  <c:v>43417</c:v>
                </c:pt>
                <c:pt idx="1036">
                  <c:v>43418</c:v>
                </c:pt>
                <c:pt idx="1037">
                  <c:v>43419</c:v>
                </c:pt>
                <c:pt idx="1038">
                  <c:v>43420</c:v>
                </c:pt>
                <c:pt idx="1039">
                  <c:v>43423</c:v>
                </c:pt>
                <c:pt idx="1040">
                  <c:v>43424</c:v>
                </c:pt>
                <c:pt idx="1041">
                  <c:v>43425</c:v>
                </c:pt>
                <c:pt idx="1042">
                  <c:v>43426</c:v>
                </c:pt>
                <c:pt idx="1043">
                  <c:v>43427</c:v>
                </c:pt>
                <c:pt idx="1044">
                  <c:v>43430</c:v>
                </c:pt>
                <c:pt idx="1045">
                  <c:v>43431</c:v>
                </c:pt>
                <c:pt idx="1046">
                  <c:v>43432</c:v>
                </c:pt>
                <c:pt idx="1047">
                  <c:v>43433</c:v>
                </c:pt>
                <c:pt idx="1048">
                  <c:v>43434</c:v>
                </c:pt>
                <c:pt idx="1049">
                  <c:v>43437</c:v>
                </c:pt>
                <c:pt idx="1050">
                  <c:v>43438</c:v>
                </c:pt>
                <c:pt idx="1051">
                  <c:v>43439</c:v>
                </c:pt>
                <c:pt idx="1052">
                  <c:v>43440</c:v>
                </c:pt>
                <c:pt idx="1053">
                  <c:v>43441</c:v>
                </c:pt>
                <c:pt idx="1054">
                  <c:v>43444</c:v>
                </c:pt>
                <c:pt idx="1055">
                  <c:v>43445</c:v>
                </c:pt>
                <c:pt idx="1056">
                  <c:v>43446</c:v>
                </c:pt>
                <c:pt idx="1057">
                  <c:v>43447</c:v>
                </c:pt>
                <c:pt idx="1058">
                  <c:v>43448</c:v>
                </c:pt>
                <c:pt idx="1059">
                  <c:v>43451</c:v>
                </c:pt>
                <c:pt idx="1060">
                  <c:v>43452</c:v>
                </c:pt>
                <c:pt idx="1061">
                  <c:v>43453</c:v>
                </c:pt>
                <c:pt idx="1062">
                  <c:v>43454</c:v>
                </c:pt>
                <c:pt idx="1063">
                  <c:v>43455</c:v>
                </c:pt>
                <c:pt idx="1064">
                  <c:v>43458</c:v>
                </c:pt>
                <c:pt idx="1065">
                  <c:v>43459</c:v>
                </c:pt>
                <c:pt idx="1066">
                  <c:v>43460</c:v>
                </c:pt>
                <c:pt idx="1067">
                  <c:v>43461</c:v>
                </c:pt>
                <c:pt idx="1068">
                  <c:v>43462</c:v>
                </c:pt>
                <c:pt idx="1069">
                  <c:v>43465</c:v>
                </c:pt>
                <c:pt idx="1070">
                  <c:v>43466</c:v>
                </c:pt>
                <c:pt idx="1071">
                  <c:v>43467</c:v>
                </c:pt>
                <c:pt idx="1072">
                  <c:v>43468</c:v>
                </c:pt>
                <c:pt idx="1073">
                  <c:v>43469</c:v>
                </c:pt>
                <c:pt idx="1074">
                  <c:v>43472</c:v>
                </c:pt>
                <c:pt idx="1075">
                  <c:v>43473</c:v>
                </c:pt>
                <c:pt idx="1076">
                  <c:v>43474</c:v>
                </c:pt>
                <c:pt idx="1077">
                  <c:v>43475</c:v>
                </c:pt>
                <c:pt idx="1078">
                  <c:v>43476</c:v>
                </c:pt>
                <c:pt idx="1079">
                  <c:v>43479</c:v>
                </c:pt>
                <c:pt idx="1080">
                  <c:v>43480</c:v>
                </c:pt>
                <c:pt idx="1081">
                  <c:v>43481</c:v>
                </c:pt>
                <c:pt idx="1082">
                  <c:v>43482</c:v>
                </c:pt>
                <c:pt idx="1083">
                  <c:v>43483</c:v>
                </c:pt>
                <c:pt idx="1084">
                  <c:v>43486</c:v>
                </c:pt>
                <c:pt idx="1085">
                  <c:v>43487</c:v>
                </c:pt>
                <c:pt idx="1086">
                  <c:v>43488</c:v>
                </c:pt>
                <c:pt idx="1087">
                  <c:v>43489</c:v>
                </c:pt>
                <c:pt idx="1088">
                  <c:v>43490</c:v>
                </c:pt>
                <c:pt idx="1089">
                  <c:v>43493</c:v>
                </c:pt>
                <c:pt idx="1090">
                  <c:v>43494</c:v>
                </c:pt>
                <c:pt idx="1091">
                  <c:v>43495</c:v>
                </c:pt>
                <c:pt idx="1092">
                  <c:v>43496</c:v>
                </c:pt>
                <c:pt idx="1093">
                  <c:v>43497</c:v>
                </c:pt>
                <c:pt idx="1094">
                  <c:v>43500</c:v>
                </c:pt>
                <c:pt idx="1095">
                  <c:v>43501</c:v>
                </c:pt>
                <c:pt idx="1096">
                  <c:v>43502</c:v>
                </c:pt>
                <c:pt idx="1097">
                  <c:v>43503</c:v>
                </c:pt>
                <c:pt idx="1098">
                  <c:v>43504</c:v>
                </c:pt>
                <c:pt idx="1099">
                  <c:v>43507</c:v>
                </c:pt>
                <c:pt idx="1100">
                  <c:v>43508</c:v>
                </c:pt>
                <c:pt idx="1101">
                  <c:v>43509</c:v>
                </c:pt>
                <c:pt idx="1102">
                  <c:v>43510</c:v>
                </c:pt>
                <c:pt idx="1103">
                  <c:v>43511</c:v>
                </c:pt>
                <c:pt idx="1104">
                  <c:v>43514</c:v>
                </c:pt>
                <c:pt idx="1105">
                  <c:v>43515</c:v>
                </c:pt>
                <c:pt idx="1106">
                  <c:v>43516</c:v>
                </c:pt>
                <c:pt idx="1107">
                  <c:v>43517</c:v>
                </c:pt>
                <c:pt idx="1108">
                  <c:v>43518</c:v>
                </c:pt>
                <c:pt idx="1109">
                  <c:v>43521</c:v>
                </c:pt>
                <c:pt idx="1110">
                  <c:v>43522</c:v>
                </c:pt>
                <c:pt idx="1111">
                  <c:v>43523</c:v>
                </c:pt>
                <c:pt idx="1112">
                  <c:v>43524</c:v>
                </c:pt>
                <c:pt idx="1113">
                  <c:v>43525</c:v>
                </c:pt>
                <c:pt idx="1114">
                  <c:v>43528</c:v>
                </c:pt>
                <c:pt idx="1115">
                  <c:v>43529</c:v>
                </c:pt>
                <c:pt idx="1116">
                  <c:v>43530</c:v>
                </c:pt>
                <c:pt idx="1117">
                  <c:v>43531</c:v>
                </c:pt>
                <c:pt idx="1118">
                  <c:v>43532</c:v>
                </c:pt>
                <c:pt idx="1119">
                  <c:v>43535</c:v>
                </c:pt>
                <c:pt idx="1120">
                  <c:v>43536</c:v>
                </c:pt>
                <c:pt idx="1121">
                  <c:v>43537</c:v>
                </c:pt>
                <c:pt idx="1122">
                  <c:v>43538</c:v>
                </c:pt>
                <c:pt idx="1123">
                  <c:v>43539</c:v>
                </c:pt>
                <c:pt idx="1124">
                  <c:v>43542</c:v>
                </c:pt>
                <c:pt idx="1125">
                  <c:v>43543</c:v>
                </c:pt>
                <c:pt idx="1126">
                  <c:v>43544</c:v>
                </c:pt>
                <c:pt idx="1127">
                  <c:v>43545</c:v>
                </c:pt>
                <c:pt idx="1128">
                  <c:v>43546</c:v>
                </c:pt>
                <c:pt idx="1129">
                  <c:v>43549</c:v>
                </c:pt>
                <c:pt idx="1130">
                  <c:v>43550</c:v>
                </c:pt>
                <c:pt idx="1131">
                  <c:v>43551</c:v>
                </c:pt>
                <c:pt idx="1132">
                  <c:v>43552</c:v>
                </c:pt>
                <c:pt idx="1133">
                  <c:v>43553</c:v>
                </c:pt>
                <c:pt idx="1134">
                  <c:v>43556</c:v>
                </c:pt>
                <c:pt idx="1135">
                  <c:v>43557</c:v>
                </c:pt>
                <c:pt idx="1136">
                  <c:v>43558</c:v>
                </c:pt>
                <c:pt idx="1137">
                  <c:v>43559</c:v>
                </c:pt>
                <c:pt idx="1138">
                  <c:v>43560</c:v>
                </c:pt>
                <c:pt idx="1139">
                  <c:v>43563</c:v>
                </c:pt>
                <c:pt idx="1140">
                  <c:v>43564</c:v>
                </c:pt>
                <c:pt idx="1141">
                  <c:v>43565</c:v>
                </c:pt>
                <c:pt idx="1142">
                  <c:v>43566</c:v>
                </c:pt>
                <c:pt idx="1143">
                  <c:v>43567</c:v>
                </c:pt>
                <c:pt idx="1144">
                  <c:v>43570</c:v>
                </c:pt>
                <c:pt idx="1145">
                  <c:v>43571</c:v>
                </c:pt>
                <c:pt idx="1146">
                  <c:v>43572</c:v>
                </c:pt>
                <c:pt idx="1147">
                  <c:v>43573</c:v>
                </c:pt>
                <c:pt idx="1148">
                  <c:v>43574</c:v>
                </c:pt>
                <c:pt idx="1149">
                  <c:v>43577</c:v>
                </c:pt>
                <c:pt idx="1150">
                  <c:v>43578</c:v>
                </c:pt>
                <c:pt idx="1151">
                  <c:v>43579</c:v>
                </c:pt>
                <c:pt idx="1152">
                  <c:v>43580</c:v>
                </c:pt>
                <c:pt idx="1153">
                  <c:v>43581</c:v>
                </c:pt>
                <c:pt idx="1154">
                  <c:v>43584</c:v>
                </c:pt>
                <c:pt idx="1155">
                  <c:v>43585</c:v>
                </c:pt>
                <c:pt idx="1156">
                  <c:v>43586</c:v>
                </c:pt>
                <c:pt idx="1157">
                  <c:v>43587</c:v>
                </c:pt>
                <c:pt idx="1158">
                  <c:v>43588</c:v>
                </c:pt>
                <c:pt idx="1159">
                  <c:v>43591</c:v>
                </c:pt>
                <c:pt idx="1160">
                  <c:v>43592</c:v>
                </c:pt>
                <c:pt idx="1161">
                  <c:v>43593</c:v>
                </c:pt>
                <c:pt idx="1162">
                  <c:v>43594</c:v>
                </c:pt>
                <c:pt idx="1163">
                  <c:v>43595</c:v>
                </c:pt>
                <c:pt idx="1164">
                  <c:v>43598</c:v>
                </c:pt>
                <c:pt idx="1165">
                  <c:v>43599</c:v>
                </c:pt>
                <c:pt idx="1166">
                  <c:v>43600</c:v>
                </c:pt>
                <c:pt idx="1167">
                  <c:v>43601</c:v>
                </c:pt>
                <c:pt idx="1168">
                  <c:v>43602</c:v>
                </c:pt>
                <c:pt idx="1169">
                  <c:v>43605</c:v>
                </c:pt>
                <c:pt idx="1170">
                  <c:v>43606</c:v>
                </c:pt>
                <c:pt idx="1171">
                  <c:v>43607</c:v>
                </c:pt>
                <c:pt idx="1172">
                  <c:v>43608</c:v>
                </c:pt>
                <c:pt idx="1173">
                  <c:v>43609</c:v>
                </c:pt>
                <c:pt idx="1174">
                  <c:v>43612</c:v>
                </c:pt>
                <c:pt idx="1175">
                  <c:v>43613</c:v>
                </c:pt>
                <c:pt idx="1176">
                  <c:v>43614</c:v>
                </c:pt>
                <c:pt idx="1177">
                  <c:v>43615</c:v>
                </c:pt>
                <c:pt idx="1178">
                  <c:v>43616</c:v>
                </c:pt>
                <c:pt idx="1179">
                  <c:v>43619</c:v>
                </c:pt>
                <c:pt idx="1180">
                  <c:v>43620</c:v>
                </c:pt>
                <c:pt idx="1181">
                  <c:v>43621</c:v>
                </c:pt>
                <c:pt idx="1182">
                  <c:v>43622</c:v>
                </c:pt>
                <c:pt idx="1183">
                  <c:v>43623</c:v>
                </c:pt>
                <c:pt idx="1184">
                  <c:v>43626</c:v>
                </c:pt>
                <c:pt idx="1185">
                  <c:v>43627</c:v>
                </c:pt>
                <c:pt idx="1186">
                  <c:v>43628</c:v>
                </c:pt>
                <c:pt idx="1187">
                  <c:v>43629</c:v>
                </c:pt>
                <c:pt idx="1188">
                  <c:v>43630</c:v>
                </c:pt>
                <c:pt idx="1189">
                  <c:v>43633</c:v>
                </c:pt>
                <c:pt idx="1190">
                  <c:v>43634</c:v>
                </c:pt>
                <c:pt idx="1191">
                  <c:v>43635</c:v>
                </c:pt>
                <c:pt idx="1192">
                  <c:v>43636</c:v>
                </c:pt>
                <c:pt idx="1193">
                  <c:v>43637</c:v>
                </c:pt>
                <c:pt idx="1194">
                  <c:v>43640</c:v>
                </c:pt>
                <c:pt idx="1195">
                  <c:v>43641</c:v>
                </c:pt>
                <c:pt idx="1196">
                  <c:v>43642</c:v>
                </c:pt>
                <c:pt idx="1197">
                  <c:v>43643</c:v>
                </c:pt>
                <c:pt idx="1198">
                  <c:v>43644</c:v>
                </c:pt>
                <c:pt idx="1199">
                  <c:v>43647</c:v>
                </c:pt>
                <c:pt idx="1200">
                  <c:v>43648</c:v>
                </c:pt>
                <c:pt idx="1201">
                  <c:v>43649</c:v>
                </c:pt>
                <c:pt idx="1202">
                  <c:v>43650</c:v>
                </c:pt>
                <c:pt idx="1203">
                  <c:v>43651</c:v>
                </c:pt>
                <c:pt idx="1204">
                  <c:v>43654</c:v>
                </c:pt>
                <c:pt idx="1205">
                  <c:v>43655</c:v>
                </c:pt>
                <c:pt idx="1206">
                  <c:v>43656</c:v>
                </c:pt>
                <c:pt idx="1207">
                  <c:v>43657</c:v>
                </c:pt>
                <c:pt idx="1208">
                  <c:v>43658</c:v>
                </c:pt>
                <c:pt idx="1209">
                  <c:v>43661</c:v>
                </c:pt>
                <c:pt idx="1210">
                  <c:v>43662</c:v>
                </c:pt>
                <c:pt idx="1211">
                  <c:v>43663</c:v>
                </c:pt>
                <c:pt idx="1212">
                  <c:v>43664</c:v>
                </c:pt>
                <c:pt idx="1213">
                  <c:v>43665</c:v>
                </c:pt>
                <c:pt idx="1214">
                  <c:v>43668</c:v>
                </c:pt>
                <c:pt idx="1215">
                  <c:v>43669</c:v>
                </c:pt>
                <c:pt idx="1216">
                  <c:v>43670</c:v>
                </c:pt>
                <c:pt idx="1217">
                  <c:v>43671</c:v>
                </c:pt>
                <c:pt idx="1218">
                  <c:v>43672</c:v>
                </c:pt>
                <c:pt idx="1219">
                  <c:v>43675</c:v>
                </c:pt>
                <c:pt idx="1220">
                  <c:v>43676</c:v>
                </c:pt>
                <c:pt idx="1221">
                  <c:v>43677</c:v>
                </c:pt>
                <c:pt idx="1222">
                  <c:v>43678</c:v>
                </c:pt>
                <c:pt idx="1223">
                  <c:v>43679</c:v>
                </c:pt>
                <c:pt idx="1224">
                  <c:v>43682</c:v>
                </c:pt>
                <c:pt idx="1225">
                  <c:v>43683</c:v>
                </c:pt>
                <c:pt idx="1226">
                  <c:v>43684</c:v>
                </c:pt>
                <c:pt idx="1227">
                  <c:v>43685</c:v>
                </c:pt>
                <c:pt idx="1228">
                  <c:v>43686</c:v>
                </c:pt>
                <c:pt idx="1229">
                  <c:v>43689</c:v>
                </c:pt>
                <c:pt idx="1230">
                  <c:v>43690</c:v>
                </c:pt>
                <c:pt idx="1231">
                  <c:v>43691</c:v>
                </c:pt>
                <c:pt idx="1232">
                  <c:v>43692</c:v>
                </c:pt>
                <c:pt idx="1233">
                  <c:v>43693</c:v>
                </c:pt>
                <c:pt idx="1234">
                  <c:v>43696</c:v>
                </c:pt>
                <c:pt idx="1235">
                  <c:v>43697</c:v>
                </c:pt>
                <c:pt idx="1236">
                  <c:v>43698</c:v>
                </c:pt>
                <c:pt idx="1237">
                  <c:v>43699</c:v>
                </c:pt>
                <c:pt idx="1238">
                  <c:v>43700</c:v>
                </c:pt>
                <c:pt idx="1239">
                  <c:v>43703</c:v>
                </c:pt>
                <c:pt idx="1240">
                  <c:v>43704</c:v>
                </c:pt>
                <c:pt idx="1241">
                  <c:v>43705</c:v>
                </c:pt>
                <c:pt idx="1242">
                  <c:v>43706</c:v>
                </c:pt>
                <c:pt idx="1243">
                  <c:v>43707</c:v>
                </c:pt>
                <c:pt idx="1244">
                  <c:v>43710</c:v>
                </c:pt>
                <c:pt idx="1245">
                  <c:v>43711</c:v>
                </c:pt>
                <c:pt idx="1246">
                  <c:v>43712</c:v>
                </c:pt>
                <c:pt idx="1247">
                  <c:v>43713</c:v>
                </c:pt>
                <c:pt idx="1248">
                  <c:v>43714</c:v>
                </c:pt>
                <c:pt idx="1249">
                  <c:v>43717</c:v>
                </c:pt>
                <c:pt idx="1250">
                  <c:v>43718</c:v>
                </c:pt>
                <c:pt idx="1251">
                  <c:v>43719</c:v>
                </c:pt>
                <c:pt idx="1252">
                  <c:v>43720</c:v>
                </c:pt>
                <c:pt idx="1253">
                  <c:v>43721</c:v>
                </c:pt>
                <c:pt idx="1254">
                  <c:v>43724</c:v>
                </c:pt>
                <c:pt idx="1255">
                  <c:v>43725</c:v>
                </c:pt>
                <c:pt idx="1256">
                  <c:v>43726</c:v>
                </c:pt>
                <c:pt idx="1257">
                  <c:v>43727</c:v>
                </c:pt>
                <c:pt idx="1258">
                  <c:v>43728</c:v>
                </c:pt>
                <c:pt idx="1259">
                  <c:v>43731</c:v>
                </c:pt>
                <c:pt idx="1260">
                  <c:v>43732</c:v>
                </c:pt>
                <c:pt idx="1261">
                  <c:v>43733</c:v>
                </c:pt>
                <c:pt idx="1262">
                  <c:v>43734</c:v>
                </c:pt>
                <c:pt idx="1263">
                  <c:v>43735</c:v>
                </c:pt>
                <c:pt idx="1264">
                  <c:v>43738</c:v>
                </c:pt>
                <c:pt idx="1265">
                  <c:v>43739</c:v>
                </c:pt>
                <c:pt idx="1266">
                  <c:v>43740</c:v>
                </c:pt>
                <c:pt idx="1267">
                  <c:v>43741</c:v>
                </c:pt>
                <c:pt idx="1268">
                  <c:v>43742</c:v>
                </c:pt>
                <c:pt idx="1269">
                  <c:v>43745</c:v>
                </c:pt>
                <c:pt idx="1270">
                  <c:v>43746</c:v>
                </c:pt>
                <c:pt idx="1271">
                  <c:v>43747</c:v>
                </c:pt>
                <c:pt idx="1272">
                  <c:v>43748</c:v>
                </c:pt>
                <c:pt idx="1273">
                  <c:v>43749</c:v>
                </c:pt>
                <c:pt idx="1274">
                  <c:v>43752</c:v>
                </c:pt>
                <c:pt idx="1275">
                  <c:v>43753</c:v>
                </c:pt>
                <c:pt idx="1276">
                  <c:v>43754</c:v>
                </c:pt>
                <c:pt idx="1277">
                  <c:v>43755</c:v>
                </c:pt>
                <c:pt idx="1278">
                  <c:v>43756</c:v>
                </c:pt>
                <c:pt idx="1279">
                  <c:v>43759</c:v>
                </c:pt>
                <c:pt idx="1280">
                  <c:v>43760</c:v>
                </c:pt>
                <c:pt idx="1281">
                  <c:v>43761</c:v>
                </c:pt>
                <c:pt idx="1282">
                  <c:v>43762</c:v>
                </c:pt>
                <c:pt idx="1283">
                  <c:v>43763</c:v>
                </c:pt>
                <c:pt idx="1284">
                  <c:v>43766</c:v>
                </c:pt>
                <c:pt idx="1285">
                  <c:v>43767</c:v>
                </c:pt>
                <c:pt idx="1286">
                  <c:v>43768</c:v>
                </c:pt>
                <c:pt idx="1287">
                  <c:v>43769</c:v>
                </c:pt>
                <c:pt idx="1288">
                  <c:v>43770</c:v>
                </c:pt>
                <c:pt idx="1289">
                  <c:v>43773</c:v>
                </c:pt>
                <c:pt idx="1290">
                  <c:v>43774</c:v>
                </c:pt>
                <c:pt idx="1291">
                  <c:v>43775</c:v>
                </c:pt>
                <c:pt idx="1292">
                  <c:v>43776</c:v>
                </c:pt>
                <c:pt idx="1293">
                  <c:v>43777</c:v>
                </c:pt>
                <c:pt idx="1294">
                  <c:v>43780</c:v>
                </c:pt>
                <c:pt idx="1295">
                  <c:v>43781</c:v>
                </c:pt>
                <c:pt idx="1296">
                  <c:v>43782</c:v>
                </c:pt>
                <c:pt idx="1297">
                  <c:v>43783</c:v>
                </c:pt>
                <c:pt idx="1298">
                  <c:v>43784</c:v>
                </c:pt>
                <c:pt idx="1299">
                  <c:v>43787</c:v>
                </c:pt>
                <c:pt idx="1300">
                  <c:v>43788</c:v>
                </c:pt>
                <c:pt idx="1301">
                  <c:v>43789</c:v>
                </c:pt>
                <c:pt idx="1302">
                  <c:v>43790</c:v>
                </c:pt>
                <c:pt idx="1303">
                  <c:v>43791</c:v>
                </c:pt>
                <c:pt idx="1304">
                  <c:v>43794</c:v>
                </c:pt>
                <c:pt idx="1305">
                  <c:v>43795</c:v>
                </c:pt>
                <c:pt idx="1306">
                  <c:v>43796</c:v>
                </c:pt>
                <c:pt idx="1307">
                  <c:v>43797</c:v>
                </c:pt>
                <c:pt idx="1308">
                  <c:v>43798</c:v>
                </c:pt>
                <c:pt idx="1309">
                  <c:v>43801</c:v>
                </c:pt>
                <c:pt idx="1310">
                  <c:v>43802</c:v>
                </c:pt>
                <c:pt idx="1311">
                  <c:v>43803</c:v>
                </c:pt>
                <c:pt idx="1312">
                  <c:v>43804</c:v>
                </c:pt>
                <c:pt idx="1313">
                  <c:v>43805</c:v>
                </c:pt>
                <c:pt idx="1314">
                  <c:v>43808</c:v>
                </c:pt>
                <c:pt idx="1315">
                  <c:v>43809</c:v>
                </c:pt>
                <c:pt idx="1316">
                  <c:v>43810</c:v>
                </c:pt>
                <c:pt idx="1317">
                  <c:v>43811</c:v>
                </c:pt>
                <c:pt idx="1318">
                  <c:v>43812</c:v>
                </c:pt>
                <c:pt idx="1319">
                  <c:v>43815</c:v>
                </c:pt>
                <c:pt idx="1320">
                  <c:v>43816</c:v>
                </c:pt>
                <c:pt idx="1321">
                  <c:v>43817</c:v>
                </c:pt>
                <c:pt idx="1322">
                  <c:v>43818</c:v>
                </c:pt>
                <c:pt idx="1323">
                  <c:v>43819</c:v>
                </c:pt>
                <c:pt idx="1324">
                  <c:v>43822</c:v>
                </c:pt>
                <c:pt idx="1325">
                  <c:v>43823</c:v>
                </c:pt>
                <c:pt idx="1326">
                  <c:v>43824</c:v>
                </c:pt>
                <c:pt idx="1327">
                  <c:v>43825</c:v>
                </c:pt>
                <c:pt idx="1328">
                  <c:v>43826</c:v>
                </c:pt>
                <c:pt idx="1329">
                  <c:v>43829</c:v>
                </c:pt>
                <c:pt idx="1330">
                  <c:v>43830</c:v>
                </c:pt>
                <c:pt idx="1331">
                  <c:v>43831</c:v>
                </c:pt>
                <c:pt idx="1332">
                  <c:v>43832</c:v>
                </c:pt>
                <c:pt idx="1333">
                  <c:v>43833</c:v>
                </c:pt>
                <c:pt idx="1334">
                  <c:v>43836</c:v>
                </c:pt>
                <c:pt idx="1335">
                  <c:v>43837</c:v>
                </c:pt>
                <c:pt idx="1336">
                  <c:v>43838</c:v>
                </c:pt>
                <c:pt idx="1337">
                  <c:v>43839</c:v>
                </c:pt>
                <c:pt idx="1338">
                  <c:v>43840</c:v>
                </c:pt>
                <c:pt idx="1339">
                  <c:v>43843</c:v>
                </c:pt>
                <c:pt idx="1340">
                  <c:v>43844</c:v>
                </c:pt>
                <c:pt idx="1341">
                  <c:v>43845</c:v>
                </c:pt>
                <c:pt idx="1342">
                  <c:v>43846</c:v>
                </c:pt>
                <c:pt idx="1343">
                  <c:v>43847</c:v>
                </c:pt>
                <c:pt idx="1344">
                  <c:v>43850</c:v>
                </c:pt>
                <c:pt idx="1345">
                  <c:v>43851</c:v>
                </c:pt>
                <c:pt idx="1346">
                  <c:v>43852</c:v>
                </c:pt>
                <c:pt idx="1347">
                  <c:v>43853</c:v>
                </c:pt>
                <c:pt idx="1348">
                  <c:v>43854</c:v>
                </c:pt>
                <c:pt idx="1349">
                  <c:v>43857</c:v>
                </c:pt>
                <c:pt idx="1350">
                  <c:v>43858</c:v>
                </c:pt>
                <c:pt idx="1351">
                  <c:v>43859</c:v>
                </c:pt>
                <c:pt idx="1352">
                  <c:v>43860</c:v>
                </c:pt>
                <c:pt idx="1353">
                  <c:v>43861</c:v>
                </c:pt>
                <c:pt idx="1354">
                  <c:v>43864</c:v>
                </c:pt>
                <c:pt idx="1355">
                  <c:v>43865</c:v>
                </c:pt>
                <c:pt idx="1356">
                  <c:v>43866</c:v>
                </c:pt>
                <c:pt idx="1357">
                  <c:v>43867</c:v>
                </c:pt>
                <c:pt idx="1358">
                  <c:v>43868</c:v>
                </c:pt>
                <c:pt idx="1359">
                  <c:v>43871</c:v>
                </c:pt>
                <c:pt idx="1360">
                  <c:v>43872</c:v>
                </c:pt>
                <c:pt idx="1361">
                  <c:v>43873</c:v>
                </c:pt>
                <c:pt idx="1362">
                  <c:v>43874</c:v>
                </c:pt>
                <c:pt idx="1363">
                  <c:v>43875</c:v>
                </c:pt>
                <c:pt idx="1364">
                  <c:v>43878</c:v>
                </c:pt>
                <c:pt idx="1365">
                  <c:v>43879</c:v>
                </c:pt>
                <c:pt idx="1366">
                  <c:v>43880</c:v>
                </c:pt>
                <c:pt idx="1367">
                  <c:v>43881</c:v>
                </c:pt>
                <c:pt idx="1368">
                  <c:v>43882</c:v>
                </c:pt>
                <c:pt idx="1369">
                  <c:v>43885</c:v>
                </c:pt>
                <c:pt idx="1370">
                  <c:v>43886</c:v>
                </c:pt>
                <c:pt idx="1371">
                  <c:v>43887</c:v>
                </c:pt>
                <c:pt idx="1372">
                  <c:v>43888</c:v>
                </c:pt>
                <c:pt idx="1373">
                  <c:v>43889</c:v>
                </c:pt>
                <c:pt idx="1374">
                  <c:v>43892</c:v>
                </c:pt>
                <c:pt idx="1375">
                  <c:v>43893</c:v>
                </c:pt>
                <c:pt idx="1376">
                  <c:v>43894</c:v>
                </c:pt>
                <c:pt idx="1377">
                  <c:v>43895</c:v>
                </c:pt>
                <c:pt idx="1378">
                  <c:v>43896</c:v>
                </c:pt>
                <c:pt idx="1379">
                  <c:v>43899</c:v>
                </c:pt>
                <c:pt idx="1380">
                  <c:v>43900</c:v>
                </c:pt>
                <c:pt idx="1381">
                  <c:v>43901</c:v>
                </c:pt>
                <c:pt idx="1382">
                  <c:v>43902</c:v>
                </c:pt>
                <c:pt idx="1383">
                  <c:v>43903</c:v>
                </c:pt>
                <c:pt idx="1384">
                  <c:v>43906</c:v>
                </c:pt>
                <c:pt idx="1385">
                  <c:v>43907</c:v>
                </c:pt>
                <c:pt idx="1386">
                  <c:v>43908</c:v>
                </c:pt>
                <c:pt idx="1387">
                  <c:v>43909</c:v>
                </c:pt>
                <c:pt idx="1388">
                  <c:v>43910</c:v>
                </c:pt>
                <c:pt idx="1389">
                  <c:v>43913</c:v>
                </c:pt>
                <c:pt idx="1390">
                  <c:v>43914</c:v>
                </c:pt>
                <c:pt idx="1391">
                  <c:v>43915</c:v>
                </c:pt>
                <c:pt idx="1392">
                  <c:v>43916</c:v>
                </c:pt>
                <c:pt idx="1393">
                  <c:v>43917</c:v>
                </c:pt>
                <c:pt idx="1394">
                  <c:v>43920</c:v>
                </c:pt>
                <c:pt idx="1395">
                  <c:v>43921</c:v>
                </c:pt>
                <c:pt idx="1396">
                  <c:v>43922</c:v>
                </c:pt>
                <c:pt idx="1397">
                  <c:v>43923</c:v>
                </c:pt>
                <c:pt idx="1398">
                  <c:v>43924</c:v>
                </c:pt>
                <c:pt idx="1399">
                  <c:v>43927</c:v>
                </c:pt>
                <c:pt idx="1400">
                  <c:v>43928</c:v>
                </c:pt>
                <c:pt idx="1401">
                  <c:v>43929</c:v>
                </c:pt>
                <c:pt idx="1402">
                  <c:v>43930</c:v>
                </c:pt>
                <c:pt idx="1403">
                  <c:v>43931</c:v>
                </c:pt>
                <c:pt idx="1404">
                  <c:v>43934</c:v>
                </c:pt>
                <c:pt idx="1405">
                  <c:v>43935</c:v>
                </c:pt>
                <c:pt idx="1406">
                  <c:v>43936</c:v>
                </c:pt>
                <c:pt idx="1407">
                  <c:v>43937</c:v>
                </c:pt>
                <c:pt idx="1408">
                  <c:v>43938</c:v>
                </c:pt>
                <c:pt idx="1409">
                  <c:v>43941</c:v>
                </c:pt>
                <c:pt idx="1410">
                  <c:v>43942</c:v>
                </c:pt>
                <c:pt idx="1411">
                  <c:v>43943</c:v>
                </c:pt>
                <c:pt idx="1412">
                  <c:v>43944</c:v>
                </c:pt>
                <c:pt idx="1413">
                  <c:v>43945</c:v>
                </c:pt>
                <c:pt idx="1414">
                  <c:v>43948</c:v>
                </c:pt>
                <c:pt idx="1415">
                  <c:v>43949</c:v>
                </c:pt>
                <c:pt idx="1416">
                  <c:v>43950</c:v>
                </c:pt>
                <c:pt idx="1417">
                  <c:v>43951</c:v>
                </c:pt>
                <c:pt idx="1418">
                  <c:v>43952</c:v>
                </c:pt>
                <c:pt idx="1419">
                  <c:v>43955</c:v>
                </c:pt>
                <c:pt idx="1420">
                  <c:v>43956</c:v>
                </c:pt>
                <c:pt idx="1421">
                  <c:v>43957</c:v>
                </c:pt>
                <c:pt idx="1422">
                  <c:v>43958</c:v>
                </c:pt>
                <c:pt idx="1423">
                  <c:v>43959</c:v>
                </c:pt>
                <c:pt idx="1424">
                  <c:v>43962</c:v>
                </c:pt>
                <c:pt idx="1425">
                  <c:v>43963</c:v>
                </c:pt>
                <c:pt idx="1426">
                  <c:v>43964</c:v>
                </c:pt>
                <c:pt idx="1427">
                  <c:v>43965</c:v>
                </c:pt>
                <c:pt idx="1428">
                  <c:v>43966</c:v>
                </c:pt>
                <c:pt idx="1429">
                  <c:v>43969</c:v>
                </c:pt>
                <c:pt idx="1430">
                  <c:v>43970</c:v>
                </c:pt>
                <c:pt idx="1431">
                  <c:v>43971</c:v>
                </c:pt>
                <c:pt idx="1432">
                  <c:v>43972</c:v>
                </c:pt>
                <c:pt idx="1433">
                  <c:v>43973</c:v>
                </c:pt>
                <c:pt idx="1434">
                  <c:v>43976</c:v>
                </c:pt>
                <c:pt idx="1435">
                  <c:v>43977</c:v>
                </c:pt>
                <c:pt idx="1436">
                  <c:v>43978</c:v>
                </c:pt>
                <c:pt idx="1437">
                  <c:v>43979</c:v>
                </c:pt>
                <c:pt idx="1438">
                  <c:v>43980</c:v>
                </c:pt>
                <c:pt idx="1439">
                  <c:v>43983</c:v>
                </c:pt>
                <c:pt idx="1440">
                  <c:v>43984</c:v>
                </c:pt>
                <c:pt idx="1441">
                  <c:v>43985</c:v>
                </c:pt>
                <c:pt idx="1442">
                  <c:v>43986</c:v>
                </c:pt>
                <c:pt idx="1443">
                  <c:v>43987</c:v>
                </c:pt>
                <c:pt idx="1444">
                  <c:v>43990</c:v>
                </c:pt>
                <c:pt idx="1445">
                  <c:v>43991</c:v>
                </c:pt>
                <c:pt idx="1446">
                  <c:v>43992</c:v>
                </c:pt>
                <c:pt idx="1447">
                  <c:v>43993</c:v>
                </c:pt>
                <c:pt idx="1448">
                  <c:v>43994</c:v>
                </c:pt>
                <c:pt idx="1449">
                  <c:v>43997</c:v>
                </c:pt>
                <c:pt idx="1450">
                  <c:v>43998</c:v>
                </c:pt>
                <c:pt idx="1451">
                  <c:v>43999</c:v>
                </c:pt>
                <c:pt idx="1452">
                  <c:v>44000</c:v>
                </c:pt>
                <c:pt idx="1453">
                  <c:v>44001</c:v>
                </c:pt>
                <c:pt idx="1454">
                  <c:v>44004</c:v>
                </c:pt>
                <c:pt idx="1455">
                  <c:v>44005</c:v>
                </c:pt>
                <c:pt idx="1456">
                  <c:v>44006</c:v>
                </c:pt>
                <c:pt idx="1457">
                  <c:v>44007</c:v>
                </c:pt>
                <c:pt idx="1458">
                  <c:v>44008</c:v>
                </c:pt>
                <c:pt idx="1459">
                  <c:v>44011</c:v>
                </c:pt>
                <c:pt idx="1460">
                  <c:v>44012</c:v>
                </c:pt>
                <c:pt idx="1461">
                  <c:v>44013</c:v>
                </c:pt>
                <c:pt idx="1462">
                  <c:v>44014</c:v>
                </c:pt>
                <c:pt idx="1463">
                  <c:v>44015</c:v>
                </c:pt>
                <c:pt idx="1464">
                  <c:v>44018</c:v>
                </c:pt>
                <c:pt idx="1465">
                  <c:v>44019</c:v>
                </c:pt>
                <c:pt idx="1466">
                  <c:v>44020</c:v>
                </c:pt>
                <c:pt idx="1467">
                  <c:v>44021</c:v>
                </c:pt>
                <c:pt idx="1468">
                  <c:v>44022</c:v>
                </c:pt>
                <c:pt idx="1469">
                  <c:v>44025</c:v>
                </c:pt>
                <c:pt idx="1470">
                  <c:v>44026</c:v>
                </c:pt>
                <c:pt idx="1471">
                  <c:v>44027</c:v>
                </c:pt>
                <c:pt idx="1472">
                  <c:v>44028</c:v>
                </c:pt>
                <c:pt idx="1473">
                  <c:v>44029</c:v>
                </c:pt>
                <c:pt idx="1474">
                  <c:v>44032</c:v>
                </c:pt>
                <c:pt idx="1475">
                  <c:v>44033</c:v>
                </c:pt>
                <c:pt idx="1476">
                  <c:v>44034</c:v>
                </c:pt>
                <c:pt idx="1477">
                  <c:v>44035</c:v>
                </c:pt>
                <c:pt idx="1478">
                  <c:v>44036</c:v>
                </c:pt>
                <c:pt idx="1479">
                  <c:v>44039</c:v>
                </c:pt>
                <c:pt idx="1480">
                  <c:v>44040</c:v>
                </c:pt>
                <c:pt idx="1481">
                  <c:v>44041</c:v>
                </c:pt>
                <c:pt idx="1482">
                  <c:v>44042</c:v>
                </c:pt>
                <c:pt idx="1483">
                  <c:v>44043</c:v>
                </c:pt>
                <c:pt idx="1484">
                  <c:v>44046</c:v>
                </c:pt>
                <c:pt idx="1485">
                  <c:v>44047</c:v>
                </c:pt>
                <c:pt idx="1486">
                  <c:v>44048</c:v>
                </c:pt>
                <c:pt idx="1487">
                  <c:v>44049</c:v>
                </c:pt>
                <c:pt idx="1488">
                  <c:v>44050</c:v>
                </c:pt>
                <c:pt idx="1489">
                  <c:v>44053</c:v>
                </c:pt>
                <c:pt idx="1490">
                  <c:v>44054</c:v>
                </c:pt>
                <c:pt idx="1491">
                  <c:v>44055</c:v>
                </c:pt>
                <c:pt idx="1492">
                  <c:v>44056</c:v>
                </c:pt>
                <c:pt idx="1493">
                  <c:v>44057</c:v>
                </c:pt>
                <c:pt idx="1494">
                  <c:v>44060</c:v>
                </c:pt>
                <c:pt idx="1495">
                  <c:v>44061</c:v>
                </c:pt>
                <c:pt idx="1496">
                  <c:v>44062</c:v>
                </c:pt>
                <c:pt idx="1497">
                  <c:v>44063</c:v>
                </c:pt>
                <c:pt idx="1498">
                  <c:v>44064</c:v>
                </c:pt>
                <c:pt idx="1499">
                  <c:v>44067</c:v>
                </c:pt>
                <c:pt idx="1500">
                  <c:v>44068</c:v>
                </c:pt>
                <c:pt idx="1501">
                  <c:v>44069</c:v>
                </c:pt>
                <c:pt idx="1502">
                  <c:v>44070</c:v>
                </c:pt>
                <c:pt idx="1503">
                  <c:v>44071</c:v>
                </c:pt>
                <c:pt idx="1504">
                  <c:v>44074</c:v>
                </c:pt>
                <c:pt idx="1505">
                  <c:v>44075</c:v>
                </c:pt>
                <c:pt idx="1506">
                  <c:v>44076</c:v>
                </c:pt>
                <c:pt idx="1507">
                  <c:v>44077</c:v>
                </c:pt>
                <c:pt idx="1508">
                  <c:v>44078</c:v>
                </c:pt>
                <c:pt idx="1509">
                  <c:v>44081</c:v>
                </c:pt>
                <c:pt idx="1510">
                  <c:v>44082</c:v>
                </c:pt>
                <c:pt idx="1511">
                  <c:v>44083</c:v>
                </c:pt>
                <c:pt idx="1512">
                  <c:v>44084</c:v>
                </c:pt>
                <c:pt idx="1513">
                  <c:v>44085</c:v>
                </c:pt>
                <c:pt idx="1514">
                  <c:v>44088</c:v>
                </c:pt>
                <c:pt idx="1515">
                  <c:v>44089</c:v>
                </c:pt>
                <c:pt idx="1516">
                  <c:v>44090</c:v>
                </c:pt>
                <c:pt idx="1517">
                  <c:v>44091</c:v>
                </c:pt>
                <c:pt idx="1518">
                  <c:v>44092</c:v>
                </c:pt>
                <c:pt idx="1519">
                  <c:v>44095</c:v>
                </c:pt>
                <c:pt idx="1520">
                  <c:v>44096</c:v>
                </c:pt>
                <c:pt idx="1521">
                  <c:v>44097</c:v>
                </c:pt>
                <c:pt idx="1522">
                  <c:v>44098</c:v>
                </c:pt>
                <c:pt idx="1523">
                  <c:v>44099</c:v>
                </c:pt>
                <c:pt idx="1524">
                  <c:v>44102</c:v>
                </c:pt>
                <c:pt idx="1525">
                  <c:v>44103</c:v>
                </c:pt>
                <c:pt idx="1526">
                  <c:v>44104</c:v>
                </c:pt>
                <c:pt idx="1527">
                  <c:v>44105</c:v>
                </c:pt>
                <c:pt idx="1528">
                  <c:v>44106</c:v>
                </c:pt>
                <c:pt idx="1529">
                  <c:v>44109</c:v>
                </c:pt>
                <c:pt idx="1530">
                  <c:v>44110</c:v>
                </c:pt>
                <c:pt idx="1531">
                  <c:v>44111</c:v>
                </c:pt>
                <c:pt idx="1532">
                  <c:v>44112</c:v>
                </c:pt>
                <c:pt idx="1533">
                  <c:v>44113</c:v>
                </c:pt>
                <c:pt idx="1534">
                  <c:v>44116</c:v>
                </c:pt>
                <c:pt idx="1535">
                  <c:v>44117</c:v>
                </c:pt>
                <c:pt idx="1536">
                  <c:v>44118</c:v>
                </c:pt>
                <c:pt idx="1537">
                  <c:v>44119</c:v>
                </c:pt>
                <c:pt idx="1538">
                  <c:v>44120</c:v>
                </c:pt>
                <c:pt idx="1539">
                  <c:v>44123</c:v>
                </c:pt>
                <c:pt idx="1540">
                  <c:v>44124</c:v>
                </c:pt>
                <c:pt idx="1541">
                  <c:v>44125</c:v>
                </c:pt>
                <c:pt idx="1542">
                  <c:v>44126</c:v>
                </c:pt>
                <c:pt idx="1543">
                  <c:v>44127</c:v>
                </c:pt>
                <c:pt idx="1544">
                  <c:v>44130</c:v>
                </c:pt>
                <c:pt idx="1545">
                  <c:v>44131</c:v>
                </c:pt>
                <c:pt idx="1546">
                  <c:v>44132</c:v>
                </c:pt>
                <c:pt idx="1547">
                  <c:v>44133</c:v>
                </c:pt>
                <c:pt idx="1548">
                  <c:v>44134</c:v>
                </c:pt>
                <c:pt idx="1549">
                  <c:v>44137</c:v>
                </c:pt>
                <c:pt idx="1550">
                  <c:v>44138</c:v>
                </c:pt>
                <c:pt idx="1551">
                  <c:v>44139</c:v>
                </c:pt>
                <c:pt idx="1552">
                  <c:v>44140</c:v>
                </c:pt>
                <c:pt idx="1553">
                  <c:v>44141</c:v>
                </c:pt>
                <c:pt idx="1554">
                  <c:v>44144</c:v>
                </c:pt>
                <c:pt idx="1555">
                  <c:v>44145</c:v>
                </c:pt>
                <c:pt idx="1556">
                  <c:v>44146</c:v>
                </c:pt>
                <c:pt idx="1557">
                  <c:v>44147</c:v>
                </c:pt>
                <c:pt idx="1558">
                  <c:v>44148</c:v>
                </c:pt>
                <c:pt idx="1559">
                  <c:v>44151</c:v>
                </c:pt>
                <c:pt idx="1560">
                  <c:v>44152</c:v>
                </c:pt>
                <c:pt idx="1561">
                  <c:v>44153</c:v>
                </c:pt>
                <c:pt idx="1562">
                  <c:v>44154</c:v>
                </c:pt>
                <c:pt idx="1563">
                  <c:v>44155</c:v>
                </c:pt>
                <c:pt idx="1564">
                  <c:v>44158</c:v>
                </c:pt>
                <c:pt idx="1565">
                  <c:v>44159</c:v>
                </c:pt>
                <c:pt idx="1566">
                  <c:v>44160</c:v>
                </c:pt>
                <c:pt idx="1567">
                  <c:v>44161</c:v>
                </c:pt>
                <c:pt idx="1568">
                  <c:v>44162</c:v>
                </c:pt>
                <c:pt idx="1569">
                  <c:v>44165</c:v>
                </c:pt>
                <c:pt idx="1570">
                  <c:v>44166</c:v>
                </c:pt>
                <c:pt idx="1571">
                  <c:v>44167</c:v>
                </c:pt>
                <c:pt idx="1572">
                  <c:v>44168</c:v>
                </c:pt>
                <c:pt idx="1573">
                  <c:v>44169</c:v>
                </c:pt>
                <c:pt idx="1574">
                  <c:v>44172</c:v>
                </c:pt>
                <c:pt idx="1575">
                  <c:v>44173</c:v>
                </c:pt>
                <c:pt idx="1576">
                  <c:v>44174</c:v>
                </c:pt>
                <c:pt idx="1577">
                  <c:v>44175</c:v>
                </c:pt>
                <c:pt idx="1578">
                  <c:v>44176</c:v>
                </c:pt>
                <c:pt idx="1579">
                  <c:v>44179</c:v>
                </c:pt>
                <c:pt idx="1580">
                  <c:v>44180</c:v>
                </c:pt>
                <c:pt idx="1581">
                  <c:v>44181</c:v>
                </c:pt>
                <c:pt idx="1582">
                  <c:v>44182</c:v>
                </c:pt>
                <c:pt idx="1583">
                  <c:v>44183</c:v>
                </c:pt>
                <c:pt idx="1584">
                  <c:v>44186</c:v>
                </c:pt>
                <c:pt idx="1585">
                  <c:v>44187</c:v>
                </c:pt>
                <c:pt idx="1586">
                  <c:v>44188</c:v>
                </c:pt>
                <c:pt idx="1587">
                  <c:v>44189</c:v>
                </c:pt>
                <c:pt idx="1588">
                  <c:v>44190</c:v>
                </c:pt>
                <c:pt idx="1589">
                  <c:v>44193</c:v>
                </c:pt>
                <c:pt idx="1590">
                  <c:v>44194</c:v>
                </c:pt>
                <c:pt idx="1591">
                  <c:v>44195</c:v>
                </c:pt>
                <c:pt idx="1592">
                  <c:v>44196</c:v>
                </c:pt>
                <c:pt idx="1593">
                  <c:v>44197</c:v>
                </c:pt>
                <c:pt idx="1594">
                  <c:v>44200</c:v>
                </c:pt>
                <c:pt idx="1595">
                  <c:v>44201</c:v>
                </c:pt>
                <c:pt idx="1596">
                  <c:v>44202</c:v>
                </c:pt>
                <c:pt idx="1597">
                  <c:v>44203</c:v>
                </c:pt>
                <c:pt idx="1598">
                  <c:v>44204</c:v>
                </c:pt>
                <c:pt idx="1599">
                  <c:v>44207</c:v>
                </c:pt>
                <c:pt idx="1600">
                  <c:v>44208</c:v>
                </c:pt>
                <c:pt idx="1601">
                  <c:v>44209</c:v>
                </c:pt>
                <c:pt idx="1602">
                  <c:v>44210</c:v>
                </c:pt>
                <c:pt idx="1603">
                  <c:v>44211</c:v>
                </c:pt>
                <c:pt idx="1604">
                  <c:v>44214</c:v>
                </c:pt>
                <c:pt idx="1605">
                  <c:v>44215</c:v>
                </c:pt>
                <c:pt idx="1606">
                  <c:v>44216</c:v>
                </c:pt>
                <c:pt idx="1607">
                  <c:v>44217</c:v>
                </c:pt>
                <c:pt idx="1608">
                  <c:v>44218</c:v>
                </c:pt>
                <c:pt idx="1609">
                  <c:v>44221</c:v>
                </c:pt>
                <c:pt idx="1610">
                  <c:v>44222</c:v>
                </c:pt>
                <c:pt idx="1611">
                  <c:v>44223</c:v>
                </c:pt>
                <c:pt idx="1612">
                  <c:v>44224</c:v>
                </c:pt>
                <c:pt idx="1613">
                  <c:v>44225</c:v>
                </c:pt>
                <c:pt idx="1614">
                  <c:v>44228</c:v>
                </c:pt>
                <c:pt idx="1615">
                  <c:v>44229</c:v>
                </c:pt>
                <c:pt idx="1616">
                  <c:v>44230</c:v>
                </c:pt>
                <c:pt idx="1617">
                  <c:v>44231</c:v>
                </c:pt>
                <c:pt idx="1618">
                  <c:v>44232</c:v>
                </c:pt>
                <c:pt idx="1619">
                  <c:v>44235</c:v>
                </c:pt>
                <c:pt idx="1620">
                  <c:v>44236</c:v>
                </c:pt>
                <c:pt idx="1621">
                  <c:v>44237</c:v>
                </c:pt>
                <c:pt idx="1622">
                  <c:v>44238</c:v>
                </c:pt>
                <c:pt idx="1623">
                  <c:v>44239</c:v>
                </c:pt>
                <c:pt idx="1624">
                  <c:v>44242</c:v>
                </c:pt>
                <c:pt idx="1625">
                  <c:v>44243</c:v>
                </c:pt>
                <c:pt idx="1626">
                  <c:v>44244</c:v>
                </c:pt>
                <c:pt idx="1627">
                  <c:v>44245</c:v>
                </c:pt>
                <c:pt idx="1628">
                  <c:v>44246</c:v>
                </c:pt>
                <c:pt idx="1629">
                  <c:v>44249</c:v>
                </c:pt>
                <c:pt idx="1630">
                  <c:v>44250</c:v>
                </c:pt>
                <c:pt idx="1631">
                  <c:v>44251</c:v>
                </c:pt>
                <c:pt idx="1632">
                  <c:v>44252</c:v>
                </c:pt>
                <c:pt idx="1633">
                  <c:v>44253</c:v>
                </c:pt>
                <c:pt idx="1634">
                  <c:v>44256</c:v>
                </c:pt>
                <c:pt idx="1635">
                  <c:v>44257</c:v>
                </c:pt>
                <c:pt idx="1636">
                  <c:v>44258</c:v>
                </c:pt>
                <c:pt idx="1637">
                  <c:v>44259</c:v>
                </c:pt>
                <c:pt idx="1638">
                  <c:v>44260</c:v>
                </c:pt>
                <c:pt idx="1639">
                  <c:v>44263</c:v>
                </c:pt>
                <c:pt idx="1640">
                  <c:v>44264</c:v>
                </c:pt>
                <c:pt idx="1641">
                  <c:v>44265</c:v>
                </c:pt>
                <c:pt idx="1642">
                  <c:v>44266</c:v>
                </c:pt>
                <c:pt idx="1643">
                  <c:v>44267</c:v>
                </c:pt>
                <c:pt idx="1644">
                  <c:v>44270</c:v>
                </c:pt>
                <c:pt idx="1645">
                  <c:v>44271</c:v>
                </c:pt>
                <c:pt idx="1646">
                  <c:v>44272</c:v>
                </c:pt>
                <c:pt idx="1647">
                  <c:v>44273</c:v>
                </c:pt>
                <c:pt idx="1648">
                  <c:v>44274</c:v>
                </c:pt>
                <c:pt idx="1649">
                  <c:v>44277</c:v>
                </c:pt>
                <c:pt idx="1650">
                  <c:v>44278</c:v>
                </c:pt>
                <c:pt idx="1651">
                  <c:v>44279</c:v>
                </c:pt>
                <c:pt idx="1652">
                  <c:v>44280</c:v>
                </c:pt>
                <c:pt idx="1653">
                  <c:v>44281</c:v>
                </c:pt>
                <c:pt idx="1654">
                  <c:v>44284</c:v>
                </c:pt>
                <c:pt idx="1655">
                  <c:v>44285</c:v>
                </c:pt>
                <c:pt idx="1656">
                  <c:v>44286</c:v>
                </c:pt>
                <c:pt idx="1657">
                  <c:v>44287</c:v>
                </c:pt>
                <c:pt idx="1658">
                  <c:v>44288</c:v>
                </c:pt>
                <c:pt idx="1659">
                  <c:v>44291</c:v>
                </c:pt>
                <c:pt idx="1660">
                  <c:v>44292</c:v>
                </c:pt>
                <c:pt idx="1661">
                  <c:v>44293</c:v>
                </c:pt>
                <c:pt idx="1662">
                  <c:v>44294</c:v>
                </c:pt>
                <c:pt idx="1663">
                  <c:v>44295</c:v>
                </c:pt>
                <c:pt idx="1664">
                  <c:v>44298</c:v>
                </c:pt>
                <c:pt idx="1665">
                  <c:v>44299</c:v>
                </c:pt>
                <c:pt idx="1666">
                  <c:v>44300</c:v>
                </c:pt>
                <c:pt idx="1667">
                  <c:v>44301</c:v>
                </c:pt>
                <c:pt idx="1668">
                  <c:v>44302</c:v>
                </c:pt>
                <c:pt idx="1669">
                  <c:v>44305</c:v>
                </c:pt>
                <c:pt idx="1670">
                  <c:v>44306</c:v>
                </c:pt>
                <c:pt idx="1671">
                  <c:v>44307</c:v>
                </c:pt>
                <c:pt idx="1672">
                  <c:v>44308</c:v>
                </c:pt>
                <c:pt idx="1673">
                  <c:v>44309</c:v>
                </c:pt>
                <c:pt idx="1674">
                  <c:v>44312</c:v>
                </c:pt>
                <c:pt idx="1675">
                  <c:v>44313</c:v>
                </c:pt>
                <c:pt idx="1676">
                  <c:v>44314</c:v>
                </c:pt>
                <c:pt idx="1677">
                  <c:v>44315</c:v>
                </c:pt>
                <c:pt idx="1678">
                  <c:v>44316</c:v>
                </c:pt>
                <c:pt idx="1679">
                  <c:v>44319</c:v>
                </c:pt>
                <c:pt idx="1680">
                  <c:v>44320</c:v>
                </c:pt>
                <c:pt idx="1681">
                  <c:v>44321</c:v>
                </c:pt>
                <c:pt idx="1682">
                  <c:v>44322</c:v>
                </c:pt>
                <c:pt idx="1683">
                  <c:v>44323</c:v>
                </c:pt>
                <c:pt idx="1684">
                  <c:v>44326</c:v>
                </c:pt>
                <c:pt idx="1685">
                  <c:v>44327</c:v>
                </c:pt>
                <c:pt idx="1686">
                  <c:v>44328</c:v>
                </c:pt>
                <c:pt idx="1687">
                  <c:v>44329</c:v>
                </c:pt>
                <c:pt idx="1688">
                  <c:v>44330</c:v>
                </c:pt>
                <c:pt idx="1689">
                  <c:v>44333</c:v>
                </c:pt>
                <c:pt idx="1690">
                  <c:v>44334</c:v>
                </c:pt>
                <c:pt idx="1691">
                  <c:v>44335</c:v>
                </c:pt>
                <c:pt idx="1692">
                  <c:v>44336</c:v>
                </c:pt>
                <c:pt idx="1693">
                  <c:v>44337</c:v>
                </c:pt>
                <c:pt idx="1694">
                  <c:v>44340</c:v>
                </c:pt>
                <c:pt idx="1695">
                  <c:v>44341</c:v>
                </c:pt>
                <c:pt idx="1696">
                  <c:v>44342</c:v>
                </c:pt>
                <c:pt idx="1697">
                  <c:v>44343</c:v>
                </c:pt>
                <c:pt idx="1698">
                  <c:v>44344</c:v>
                </c:pt>
                <c:pt idx="1699">
                  <c:v>44347</c:v>
                </c:pt>
                <c:pt idx="1700">
                  <c:v>44348</c:v>
                </c:pt>
                <c:pt idx="1701">
                  <c:v>44349</c:v>
                </c:pt>
                <c:pt idx="1702">
                  <c:v>44350</c:v>
                </c:pt>
                <c:pt idx="1703">
                  <c:v>44351</c:v>
                </c:pt>
                <c:pt idx="1704">
                  <c:v>44354</c:v>
                </c:pt>
                <c:pt idx="1705">
                  <c:v>44355</c:v>
                </c:pt>
                <c:pt idx="1706">
                  <c:v>44356</c:v>
                </c:pt>
                <c:pt idx="1707">
                  <c:v>44357</c:v>
                </c:pt>
                <c:pt idx="1708">
                  <c:v>44358</c:v>
                </c:pt>
                <c:pt idx="1709">
                  <c:v>44361</c:v>
                </c:pt>
                <c:pt idx="1710">
                  <c:v>44362</c:v>
                </c:pt>
                <c:pt idx="1711">
                  <c:v>44363</c:v>
                </c:pt>
                <c:pt idx="1712">
                  <c:v>44364</c:v>
                </c:pt>
                <c:pt idx="1713">
                  <c:v>44365</c:v>
                </c:pt>
                <c:pt idx="1714">
                  <c:v>44368</c:v>
                </c:pt>
                <c:pt idx="1715">
                  <c:v>44369</c:v>
                </c:pt>
                <c:pt idx="1716">
                  <c:v>44370</c:v>
                </c:pt>
                <c:pt idx="1717">
                  <c:v>44371</c:v>
                </c:pt>
                <c:pt idx="1718">
                  <c:v>44372</c:v>
                </c:pt>
                <c:pt idx="1719">
                  <c:v>44375</c:v>
                </c:pt>
                <c:pt idx="1720">
                  <c:v>44376</c:v>
                </c:pt>
                <c:pt idx="1721">
                  <c:v>44377</c:v>
                </c:pt>
                <c:pt idx="1722">
                  <c:v>44378</c:v>
                </c:pt>
                <c:pt idx="1723">
                  <c:v>44379</c:v>
                </c:pt>
                <c:pt idx="1724">
                  <c:v>44382</c:v>
                </c:pt>
                <c:pt idx="1725">
                  <c:v>44383</c:v>
                </c:pt>
                <c:pt idx="1726">
                  <c:v>44384</c:v>
                </c:pt>
                <c:pt idx="1727">
                  <c:v>44385</c:v>
                </c:pt>
                <c:pt idx="1728">
                  <c:v>44386</c:v>
                </c:pt>
                <c:pt idx="1729">
                  <c:v>44389</c:v>
                </c:pt>
                <c:pt idx="1730">
                  <c:v>44390</c:v>
                </c:pt>
                <c:pt idx="1731">
                  <c:v>44391</c:v>
                </c:pt>
                <c:pt idx="1732">
                  <c:v>44392</c:v>
                </c:pt>
                <c:pt idx="1733">
                  <c:v>44393</c:v>
                </c:pt>
                <c:pt idx="1734">
                  <c:v>44396</c:v>
                </c:pt>
                <c:pt idx="1735">
                  <c:v>44397</c:v>
                </c:pt>
                <c:pt idx="1736">
                  <c:v>44398</c:v>
                </c:pt>
                <c:pt idx="1737">
                  <c:v>44399</c:v>
                </c:pt>
                <c:pt idx="1738">
                  <c:v>44400</c:v>
                </c:pt>
                <c:pt idx="1739">
                  <c:v>44403</c:v>
                </c:pt>
                <c:pt idx="1740">
                  <c:v>44404</c:v>
                </c:pt>
                <c:pt idx="1741">
                  <c:v>44405</c:v>
                </c:pt>
                <c:pt idx="1742">
                  <c:v>44406</c:v>
                </c:pt>
                <c:pt idx="1743">
                  <c:v>44407</c:v>
                </c:pt>
                <c:pt idx="1744">
                  <c:v>44410</c:v>
                </c:pt>
                <c:pt idx="1745">
                  <c:v>44411</c:v>
                </c:pt>
                <c:pt idx="1746">
                  <c:v>44412</c:v>
                </c:pt>
                <c:pt idx="1747">
                  <c:v>44413</c:v>
                </c:pt>
                <c:pt idx="1748">
                  <c:v>44414</c:v>
                </c:pt>
                <c:pt idx="1749">
                  <c:v>44417</c:v>
                </c:pt>
                <c:pt idx="1750">
                  <c:v>44418</c:v>
                </c:pt>
                <c:pt idx="1751">
                  <c:v>44419</c:v>
                </c:pt>
                <c:pt idx="1752">
                  <c:v>44420</c:v>
                </c:pt>
                <c:pt idx="1753">
                  <c:v>44421</c:v>
                </c:pt>
                <c:pt idx="1754">
                  <c:v>44424</c:v>
                </c:pt>
                <c:pt idx="1755">
                  <c:v>44425</c:v>
                </c:pt>
                <c:pt idx="1756">
                  <c:v>44426</c:v>
                </c:pt>
                <c:pt idx="1757">
                  <c:v>44427</c:v>
                </c:pt>
                <c:pt idx="1758">
                  <c:v>44428</c:v>
                </c:pt>
                <c:pt idx="1759">
                  <c:v>44431</c:v>
                </c:pt>
                <c:pt idx="1760">
                  <c:v>44432</c:v>
                </c:pt>
                <c:pt idx="1761">
                  <c:v>44433</c:v>
                </c:pt>
                <c:pt idx="1762">
                  <c:v>44434</c:v>
                </c:pt>
                <c:pt idx="1763">
                  <c:v>44435</c:v>
                </c:pt>
                <c:pt idx="1764">
                  <c:v>44438</c:v>
                </c:pt>
                <c:pt idx="1765">
                  <c:v>44439</c:v>
                </c:pt>
                <c:pt idx="1766">
                  <c:v>44440</c:v>
                </c:pt>
                <c:pt idx="1767">
                  <c:v>44441</c:v>
                </c:pt>
                <c:pt idx="1768">
                  <c:v>44442</c:v>
                </c:pt>
                <c:pt idx="1769">
                  <c:v>44445</c:v>
                </c:pt>
                <c:pt idx="1770">
                  <c:v>44446</c:v>
                </c:pt>
                <c:pt idx="1771">
                  <c:v>44447</c:v>
                </c:pt>
                <c:pt idx="1772">
                  <c:v>44448</c:v>
                </c:pt>
                <c:pt idx="1773">
                  <c:v>44449</c:v>
                </c:pt>
                <c:pt idx="1774">
                  <c:v>44452</c:v>
                </c:pt>
                <c:pt idx="1775">
                  <c:v>44453</c:v>
                </c:pt>
                <c:pt idx="1776">
                  <c:v>44454</c:v>
                </c:pt>
                <c:pt idx="1777">
                  <c:v>44455</c:v>
                </c:pt>
                <c:pt idx="1778">
                  <c:v>44456</c:v>
                </c:pt>
                <c:pt idx="1779">
                  <c:v>44459</c:v>
                </c:pt>
                <c:pt idx="1780">
                  <c:v>44460</c:v>
                </c:pt>
                <c:pt idx="1781">
                  <c:v>44461</c:v>
                </c:pt>
                <c:pt idx="1782">
                  <c:v>44462</c:v>
                </c:pt>
                <c:pt idx="1783">
                  <c:v>44463</c:v>
                </c:pt>
                <c:pt idx="1784">
                  <c:v>44466</c:v>
                </c:pt>
                <c:pt idx="1785">
                  <c:v>44467</c:v>
                </c:pt>
                <c:pt idx="1786">
                  <c:v>44468</c:v>
                </c:pt>
                <c:pt idx="1787">
                  <c:v>44469</c:v>
                </c:pt>
                <c:pt idx="1788">
                  <c:v>44470</c:v>
                </c:pt>
                <c:pt idx="1789">
                  <c:v>44473</c:v>
                </c:pt>
                <c:pt idx="1790">
                  <c:v>44474</c:v>
                </c:pt>
                <c:pt idx="1791">
                  <c:v>44475</c:v>
                </c:pt>
                <c:pt idx="1792">
                  <c:v>44476</c:v>
                </c:pt>
                <c:pt idx="1793">
                  <c:v>44477</c:v>
                </c:pt>
                <c:pt idx="1794">
                  <c:v>44480</c:v>
                </c:pt>
                <c:pt idx="1795">
                  <c:v>44481</c:v>
                </c:pt>
                <c:pt idx="1796">
                  <c:v>44482</c:v>
                </c:pt>
                <c:pt idx="1797">
                  <c:v>44483</c:v>
                </c:pt>
                <c:pt idx="1798">
                  <c:v>44484</c:v>
                </c:pt>
                <c:pt idx="1799">
                  <c:v>44487</c:v>
                </c:pt>
                <c:pt idx="1800">
                  <c:v>44488</c:v>
                </c:pt>
                <c:pt idx="1801">
                  <c:v>44489</c:v>
                </c:pt>
                <c:pt idx="1802">
                  <c:v>44490</c:v>
                </c:pt>
                <c:pt idx="1803">
                  <c:v>44491</c:v>
                </c:pt>
                <c:pt idx="1804">
                  <c:v>44494</c:v>
                </c:pt>
                <c:pt idx="1805">
                  <c:v>44495</c:v>
                </c:pt>
                <c:pt idx="1806">
                  <c:v>44496</c:v>
                </c:pt>
                <c:pt idx="1807">
                  <c:v>44497</c:v>
                </c:pt>
                <c:pt idx="1808">
                  <c:v>44498</c:v>
                </c:pt>
                <c:pt idx="1809">
                  <c:v>44501</c:v>
                </c:pt>
                <c:pt idx="1810">
                  <c:v>44502</c:v>
                </c:pt>
                <c:pt idx="1811">
                  <c:v>44503</c:v>
                </c:pt>
                <c:pt idx="1812">
                  <c:v>44504</c:v>
                </c:pt>
                <c:pt idx="1813">
                  <c:v>44505</c:v>
                </c:pt>
                <c:pt idx="1814">
                  <c:v>44508</c:v>
                </c:pt>
                <c:pt idx="1815">
                  <c:v>44509</c:v>
                </c:pt>
                <c:pt idx="1816">
                  <c:v>44510</c:v>
                </c:pt>
                <c:pt idx="1817">
                  <c:v>44511</c:v>
                </c:pt>
                <c:pt idx="1818">
                  <c:v>44512</c:v>
                </c:pt>
                <c:pt idx="1819">
                  <c:v>44515</c:v>
                </c:pt>
                <c:pt idx="1820">
                  <c:v>44516</c:v>
                </c:pt>
                <c:pt idx="1821">
                  <c:v>44517</c:v>
                </c:pt>
                <c:pt idx="1822">
                  <c:v>44518</c:v>
                </c:pt>
                <c:pt idx="1823">
                  <c:v>44519</c:v>
                </c:pt>
                <c:pt idx="1824">
                  <c:v>44522</c:v>
                </c:pt>
                <c:pt idx="1825">
                  <c:v>44523</c:v>
                </c:pt>
                <c:pt idx="1826">
                  <c:v>44524</c:v>
                </c:pt>
                <c:pt idx="1827">
                  <c:v>44525</c:v>
                </c:pt>
                <c:pt idx="1828">
                  <c:v>44526</c:v>
                </c:pt>
                <c:pt idx="1829">
                  <c:v>44529</c:v>
                </c:pt>
                <c:pt idx="1830">
                  <c:v>44530</c:v>
                </c:pt>
                <c:pt idx="1831">
                  <c:v>44531</c:v>
                </c:pt>
                <c:pt idx="1832">
                  <c:v>44532</c:v>
                </c:pt>
                <c:pt idx="1833">
                  <c:v>44533</c:v>
                </c:pt>
                <c:pt idx="1834">
                  <c:v>44536</c:v>
                </c:pt>
                <c:pt idx="1835">
                  <c:v>44537</c:v>
                </c:pt>
                <c:pt idx="1836">
                  <c:v>44538</c:v>
                </c:pt>
                <c:pt idx="1837">
                  <c:v>44539</c:v>
                </c:pt>
                <c:pt idx="1838">
                  <c:v>44540</c:v>
                </c:pt>
                <c:pt idx="1839">
                  <c:v>44543</c:v>
                </c:pt>
                <c:pt idx="1840">
                  <c:v>44544</c:v>
                </c:pt>
                <c:pt idx="1841">
                  <c:v>44545</c:v>
                </c:pt>
                <c:pt idx="1842">
                  <c:v>44546</c:v>
                </c:pt>
                <c:pt idx="1843">
                  <c:v>44547</c:v>
                </c:pt>
                <c:pt idx="1844">
                  <c:v>44550</c:v>
                </c:pt>
                <c:pt idx="1845">
                  <c:v>44551</c:v>
                </c:pt>
                <c:pt idx="1846">
                  <c:v>44552</c:v>
                </c:pt>
                <c:pt idx="1847">
                  <c:v>44553</c:v>
                </c:pt>
                <c:pt idx="1848">
                  <c:v>44554</c:v>
                </c:pt>
                <c:pt idx="1849">
                  <c:v>44557</c:v>
                </c:pt>
                <c:pt idx="1850">
                  <c:v>44558</c:v>
                </c:pt>
                <c:pt idx="1851">
                  <c:v>44559</c:v>
                </c:pt>
                <c:pt idx="1852">
                  <c:v>44560</c:v>
                </c:pt>
                <c:pt idx="1853">
                  <c:v>44561</c:v>
                </c:pt>
                <c:pt idx="1854">
                  <c:v>44564</c:v>
                </c:pt>
                <c:pt idx="1855">
                  <c:v>44565</c:v>
                </c:pt>
                <c:pt idx="1856">
                  <c:v>44566</c:v>
                </c:pt>
                <c:pt idx="1857">
                  <c:v>44567</c:v>
                </c:pt>
                <c:pt idx="1858">
                  <c:v>44568</c:v>
                </c:pt>
                <c:pt idx="1859">
                  <c:v>44571</c:v>
                </c:pt>
                <c:pt idx="1860">
                  <c:v>44572</c:v>
                </c:pt>
                <c:pt idx="1861">
                  <c:v>44573</c:v>
                </c:pt>
                <c:pt idx="1862">
                  <c:v>44574</c:v>
                </c:pt>
                <c:pt idx="1863">
                  <c:v>44575</c:v>
                </c:pt>
                <c:pt idx="1864">
                  <c:v>44578</c:v>
                </c:pt>
                <c:pt idx="1865">
                  <c:v>44579</c:v>
                </c:pt>
                <c:pt idx="1866">
                  <c:v>44580</c:v>
                </c:pt>
                <c:pt idx="1867">
                  <c:v>44581</c:v>
                </c:pt>
                <c:pt idx="1868">
                  <c:v>44582</c:v>
                </c:pt>
                <c:pt idx="1869">
                  <c:v>44585</c:v>
                </c:pt>
                <c:pt idx="1870">
                  <c:v>44586</c:v>
                </c:pt>
                <c:pt idx="1871">
                  <c:v>44587</c:v>
                </c:pt>
                <c:pt idx="1872">
                  <c:v>44588</c:v>
                </c:pt>
                <c:pt idx="1873">
                  <c:v>44589</c:v>
                </c:pt>
                <c:pt idx="1874">
                  <c:v>44592</c:v>
                </c:pt>
                <c:pt idx="1875">
                  <c:v>44593</c:v>
                </c:pt>
                <c:pt idx="1876">
                  <c:v>44594</c:v>
                </c:pt>
                <c:pt idx="1877">
                  <c:v>44595</c:v>
                </c:pt>
                <c:pt idx="1878">
                  <c:v>44596</c:v>
                </c:pt>
                <c:pt idx="1879">
                  <c:v>44599</c:v>
                </c:pt>
                <c:pt idx="1880">
                  <c:v>44600</c:v>
                </c:pt>
                <c:pt idx="1881">
                  <c:v>44601</c:v>
                </c:pt>
                <c:pt idx="1882">
                  <c:v>44602</c:v>
                </c:pt>
                <c:pt idx="1883">
                  <c:v>44603</c:v>
                </c:pt>
                <c:pt idx="1884">
                  <c:v>44606</c:v>
                </c:pt>
                <c:pt idx="1885">
                  <c:v>44607</c:v>
                </c:pt>
                <c:pt idx="1886">
                  <c:v>44608</c:v>
                </c:pt>
                <c:pt idx="1887">
                  <c:v>44609</c:v>
                </c:pt>
                <c:pt idx="1888">
                  <c:v>44610</c:v>
                </c:pt>
                <c:pt idx="1889">
                  <c:v>44613</c:v>
                </c:pt>
                <c:pt idx="1890">
                  <c:v>44614</c:v>
                </c:pt>
                <c:pt idx="1891">
                  <c:v>44615</c:v>
                </c:pt>
                <c:pt idx="1892">
                  <c:v>44616</c:v>
                </c:pt>
                <c:pt idx="1893">
                  <c:v>44617</c:v>
                </c:pt>
                <c:pt idx="1894">
                  <c:v>44620</c:v>
                </c:pt>
                <c:pt idx="1895">
                  <c:v>44621</c:v>
                </c:pt>
                <c:pt idx="1896">
                  <c:v>44622</c:v>
                </c:pt>
                <c:pt idx="1897">
                  <c:v>44623</c:v>
                </c:pt>
                <c:pt idx="1898">
                  <c:v>44624</c:v>
                </c:pt>
                <c:pt idx="1899">
                  <c:v>44627</c:v>
                </c:pt>
                <c:pt idx="1900">
                  <c:v>44628</c:v>
                </c:pt>
                <c:pt idx="1901">
                  <c:v>44629</c:v>
                </c:pt>
                <c:pt idx="1902">
                  <c:v>44630</c:v>
                </c:pt>
                <c:pt idx="1903">
                  <c:v>44631</c:v>
                </c:pt>
                <c:pt idx="1904">
                  <c:v>44634</c:v>
                </c:pt>
                <c:pt idx="1905">
                  <c:v>44635</c:v>
                </c:pt>
                <c:pt idx="1906">
                  <c:v>44636</c:v>
                </c:pt>
                <c:pt idx="1907">
                  <c:v>44637</c:v>
                </c:pt>
                <c:pt idx="1908">
                  <c:v>44638</c:v>
                </c:pt>
                <c:pt idx="1909">
                  <c:v>44641</c:v>
                </c:pt>
                <c:pt idx="1910">
                  <c:v>44642</c:v>
                </c:pt>
                <c:pt idx="1911">
                  <c:v>44643</c:v>
                </c:pt>
                <c:pt idx="1912">
                  <c:v>44644</c:v>
                </c:pt>
                <c:pt idx="1913">
                  <c:v>44645</c:v>
                </c:pt>
                <c:pt idx="1914">
                  <c:v>44648</c:v>
                </c:pt>
                <c:pt idx="1915">
                  <c:v>44649</c:v>
                </c:pt>
                <c:pt idx="1916">
                  <c:v>44650</c:v>
                </c:pt>
                <c:pt idx="1917">
                  <c:v>44651</c:v>
                </c:pt>
                <c:pt idx="1918">
                  <c:v>44652</c:v>
                </c:pt>
                <c:pt idx="1919">
                  <c:v>44655</c:v>
                </c:pt>
                <c:pt idx="1920">
                  <c:v>44656</c:v>
                </c:pt>
                <c:pt idx="1921">
                  <c:v>44657</c:v>
                </c:pt>
                <c:pt idx="1922">
                  <c:v>44658</c:v>
                </c:pt>
                <c:pt idx="1923">
                  <c:v>44659</c:v>
                </c:pt>
                <c:pt idx="1924">
                  <c:v>44662</c:v>
                </c:pt>
                <c:pt idx="1925">
                  <c:v>44663</c:v>
                </c:pt>
                <c:pt idx="1926">
                  <c:v>44664</c:v>
                </c:pt>
                <c:pt idx="1927">
                  <c:v>44665</c:v>
                </c:pt>
                <c:pt idx="1928">
                  <c:v>44666</c:v>
                </c:pt>
                <c:pt idx="1929">
                  <c:v>44669</c:v>
                </c:pt>
                <c:pt idx="1930">
                  <c:v>44670</c:v>
                </c:pt>
                <c:pt idx="1931">
                  <c:v>44671</c:v>
                </c:pt>
                <c:pt idx="1932">
                  <c:v>44672</c:v>
                </c:pt>
                <c:pt idx="1933">
                  <c:v>44673</c:v>
                </c:pt>
                <c:pt idx="1934">
                  <c:v>44676</c:v>
                </c:pt>
                <c:pt idx="1935">
                  <c:v>44677</c:v>
                </c:pt>
                <c:pt idx="1936">
                  <c:v>44678</c:v>
                </c:pt>
                <c:pt idx="1937">
                  <c:v>44679</c:v>
                </c:pt>
                <c:pt idx="1938">
                  <c:v>44680</c:v>
                </c:pt>
                <c:pt idx="1939">
                  <c:v>44683</c:v>
                </c:pt>
                <c:pt idx="1940">
                  <c:v>44684</c:v>
                </c:pt>
                <c:pt idx="1941">
                  <c:v>44685</c:v>
                </c:pt>
                <c:pt idx="1942">
                  <c:v>44686</c:v>
                </c:pt>
                <c:pt idx="1943">
                  <c:v>44687</c:v>
                </c:pt>
                <c:pt idx="1944">
                  <c:v>44690</c:v>
                </c:pt>
                <c:pt idx="1945">
                  <c:v>44691</c:v>
                </c:pt>
                <c:pt idx="1946">
                  <c:v>44692</c:v>
                </c:pt>
                <c:pt idx="1947">
                  <c:v>44693</c:v>
                </c:pt>
                <c:pt idx="1948">
                  <c:v>44694</c:v>
                </c:pt>
                <c:pt idx="1949">
                  <c:v>44697</c:v>
                </c:pt>
                <c:pt idx="1950">
                  <c:v>44698</c:v>
                </c:pt>
                <c:pt idx="1951">
                  <c:v>44699</c:v>
                </c:pt>
                <c:pt idx="1952">
                  <c:v>44700</c:v>
                </c:pt>
                <c:pt idx="1953">
                  <c:v>44701</c:v>
                </c:pt>
                <c:pt idx="1954">
                  <c:v>44704</c:v>
                </c:pt>
                <c:pt idx="1955">
                  <c:v>44705</c:v>
                </c:pt>
                <c:pt idx="1956">
                  <c:v>44706</c:v>
                </c:pt>
                <c:pt idx="1957">
                  <c:v>44707</c:v>
                </c:pt>
                <c:pt idx="1958">
                  <c:v>44708</c:v>
                </c:pt>
                <c:pt idx="1959">
                  <c:v>44711</c:v>
                </c:pt>
                <c:pt idx="1960">
                  <c:v>44712</c:v>
                </c:pt>
                <c:pt idx="1961">
                  <c:v>44713</c:v>
                </c:pt>
                <c:pt idx="1962">
                  <c:v>44714</c:v>
                </c:pt>
                <c:pt idx="1963">
                  <c:v>44715</c:v>
                </c:pt>
                <c:pt idx="1964">
                  <c:v>44718</c:v>
                </c:pt>
                <c:pt idx="1965">
                  <c:v>44719</c:v>
                </c:pt>
                <c:pt idx="1966">
                  <c:v>44720</c:v>
                </c:pt>
                <c:pt idx="1967">
                  <c:v>44721</c:v>
                </c:pt>
                <c:pt idx="1968">
                  <c:v>44722</c:v>
                </c:pt>
                <c:pt idx="1969">
                  <c:v>44725</c:v>
                </c:pt>
                <c:pt idx="1970">
                  <c:v>44726</c:v>
                </c:pt>
                <c:pt idx="1971">
                  <c:v>44727</c:v>
                </c:pt>
                <c:pt idx="1972">
                  <c:v>44728</c:v>
                </c:pt>
                <c:pt idx="1973">
                  <c:v>44729</c:v>
                </c:pt>
                <c:pt idx="1974">
                  <c:v>44732</c:v>
                </c:pt>
                <c:pt idx="1975">
                  <c:v>44733</c:v>
                </c:pt>
                <c:pt idx="1976">
                  <c:v>44734</c:v>
                </c:pt>
                <c:pt idx="1977">
                  <c:v>44735</c:v>
                </c:pt>
                <c:pt idx="1978">
                  <c:v>44736</c:v>
                </c:pt>
                <c:pt idx="1979">
                  <c:v>44739</c:v>
                </c:pt>
                <c:pt idx="1980">
                  <c:v>44740</c:v>
                </c:pt>
                <c:pt idx="1981">
                  <c:v>44741</c:v>
                </c:pt>
                <c:pt idx="1982">
                  <c:v>44742</c:v>
                </c:pt>
                <c:pt idx="1983">
                  <c:v>44743</c:v>
                </c:pt>
                <c:pt idx="1984">
                  <c:v>44746</c:v>
                </c:pt>
                <c:pt idx="1985">
                  <c:v>44747</c:v>
                </c:pt>
                <c:pt idx="1986">
                  <c:v>44748</c:v>
                </c:pt>
                <c:pt idx="1987">
                  <c:v>44749</c:v>
                </c:pt>
                <c:pt idx="1988">
                  <c:v>44750</c:v>
                </c:pt>
                <c:pt idx="1989">
                  <c:v>44753</c:v>
                </c:pt>
                <c:pt idx="1990">
                  <c:v>44754</c:v>
                </c:pt>
                <c:pt idx="1991">
                  <c:v>44755</c:v>
                </c:pt>
                <c:pt idx="1992">
                  <c:v>44756</c:v>
                </c:pt>
                <c:pt idx="1993">
                  <c:v>44757</c:v>
                </c:pt>
                <c:pt idx="1994">
                  <c:v>44760</c:v>
                </c:pt>
                <c:pt idx="1995">
                  <c:v>44761</c:v>
                </c:pt>
                <c:pt idx="1996">
                  <c:v>44762</c:v>
                </c:pt>
                <c:pt idx="1997">
                  <c:v>44763</c:v>
                </c:pt>
                <c:pt idx="1998">
                  <c:v>44764</c:v>
                </c:pt>
                <c:pt idx="1999">
                  <c:v>44767</c:v>
                </c:pt>
                <c:pt idx="2000">
                  <c:v>44768</c:v>
                </c:pt>
                <c:pt idx="2001">
                  <c:v>44769</c:v>
                </c:pt>
                <c:pt idx="2002">
                  <c:v>44770</c:v>
                </c:pt>
                <c:pt idx="2003">
                  <c:v>44771</c:v>
                </c:pt>
                <c:pt idx="2004">
                  <c:v>44774</c:v>
                </c:pt>
                <c:pt idx="2005">
                  <c:v>44775</c:v>
                </c:pt>
                <c:pt idx="2006">
                  <c:v>44776</c:v>
                </c:pt>
                <c:pt idx="2007">
                  <c:v>44777</c:v>
                </c:pt>
                <c:pt idx="2008">
                  <c:v>44778</c:v>
                </c:pt>
                <c:pt idx="2009">
                  <c:v>44781</c:v>
                </c:pt>
                <c:pt idx="2010">
                  <c:v>44782</c:v>
                </c:pt>
                <c:pt idx="2011">
                  <c:v>44783</c:v>
                </c:pt>
                <c:pt idx="2012">
                  <c:v>44784</c:v>
                </c:pt>
                <c:pt idx="2013">
                  <c:v>44785</c:v>
                </c:pt>
                <c:pt idx="2014">
                  <c:v>44788</c:v>
                </c:pt>
                <c:pt idx="2015">
                  <c:v>44789</c:v>
                </c:pt>
                <c:pt idx="2016">
                  <c:v>44790</c:v>
                </c:pt>
                <c:pt idx="2017">
                  <c:v>44791</c:v>
                </c:pt>
                <c:pt idx="2018">
                  <c:v>44792</c:v>
                </c:pt>
                <c:pt idx="2019">
                  <c:v>44795</c:v>
                </c:pt>
                <c:pt idx="2020">
                  <c:v>44796</c:v>
                </c:pt>
                <c:pt idx="2021">
                  <c:v>44797</c:v>
                </c:pt>
                <c:pt idx="2022">
                  <c:v>44798</c:v>
                </c:pt>
                <c:pt idx="2023">
                  <c:v>44799</c:v>
                </c:pt>
                <c:pt idx="2024">
                  <c:v>44802</c:v>
                </c:pt>
                <c:pt idx="2025">
                  <c:v>44803</c:v>
                </c:pt>
                <c:pt idx="2026">
                  <c:v>44804</c:v>
                </c:pt>
                <c:pt idx="2027">
                  <c:v>44805</c:v>
                </c:pt>
                <c:pt idx="2028">
                  <c:v>44806</c:v>
                </c:pt>
                <c:pt idx="2029">
                  <c:v>44809</c:v>
                </c:pt>
                <c:pt idx="2030">
                  <c:v>44810</c:v>
                </c:pt>
                <c:pt idx="2031">
                  <c:v>44811</c:v>
                </c:pt>
                <c:pt idx="2032">
                  <c:v>44812</c:v>
                </c:pt>
                <c:pt idx="2033">
                  <c:v>44813</c:v>
                </c:pt>
                <c:pt idx="2034">
                  <c:v>44816</c:v>
                </c:pt>
                <c:pt idx="2035">
                  <c:v>44817</c:v>
                </c:pt>
                <c:pt idx="2036">
                  <c:v>44818</c:v>
                </c:pt>
                <c:pt idx="2037">
                  <c:v>44819</c:v>
                </c:pt>
                <c:pt idx="2038">
                  <c:v>44820</c:v>
                </c:pt>
                <c:pt idx="2039">
                  <c:v>44823</c:v>
                </c:pt>
                <c:pt idx="2040">
                  <c:v>44824</c:v>
                </c:pt>
                <c:pt idx="2041">
                  <c:v>44825</c:v>
                </c:pt>
                <c:pt idx="2042">
                  <c:v>44826</c:v>
                </c:pt>
                <c:pt idx="2043">
                  <c:v>44827</c:v>
                </c:pt>
                <c:pt idx="2044">
                  <c:v>44830</c:v>
                </c:pt>
                <c:pt idx="2045">
                  <c:v>44831</c:v>
                </c:pt>
                <c:pt idx="2046">
                  <c:v>44832</c:v>
                </c:pt>
                <c:pt idx="2047">
                  <c:v>44833</c:v>
                </c:pt>
                <c:pt idx="2048">
                  <c:v>44834</c:v>
                </c:pt>
                <c:pt idx="2049">
                  <c:v>44837</c:v>
                </c:pt>
                <c:pt idx="2050">
                  <c:v>44838</c:v>
                </c:pt>
                <c:pt idx="2051">
                  <c:v>44839</c:v>
                </c:pt>
                <c:pt idx="2052">
                  <c:v>44840</c:v>
                </c:pt>
                <c:pt idx="2053">
                  <c:v>44841</c:v>
                </c:pt>
                <c:pt idx="2054">
                  <c:v>44844</c:v>
                </c:pt>
                <c:pt idx="2055">
                  <c:v>44845</c:v>
                </c:pt>
                <c:pt idx="2056">
                  <c:v>44846</c:v>
                </c:pt>
                <c:pt idx="2057">
                  <c:v>44847</c:v>
                </c:pt>
                <c:pt idx="2058">
                  <c:v>44848</c:v>
                </c:pt>
                <c:pt idx="2059">
                  <c:v>44851</c:v>
                </c:pt>
                <c:pt idx="2060">
                  <c:v>44852</c:v>
                </c:pt>
                <c:pt idx="2061">
                  <c:v>44853</c:v>
                </c:pt>
                <c:pt idx="2062">
                  <c:v>44854</c:v>
                </c:pt>
                <c:pt idx="2063">
                  <c:v>44855</c:v>
                </c:pt>
                <c:pt idx="2064">
                  <c:v>44858</c:v>
                </c:pt>
                <c:pt idx="2065">
                  <c:v>44859</c:v>
                </c:pt>
                <c:pt idx="2066">
                  <c:v>44860</c:v>
                </c:pt>
                <c:pt idx="2067">
                  <c:v>44861</c:v>
                </c:pt>
                <c:pt idx="2068">
                  <c:v>44862</c:v>
                </c:pt>
                <c:pt idx="2069">
                  <c:v>44865</c:v>
                </c:pt>
                <c:pt idx="2070">
                  <c:v>44866</c:v>
                </c:pt>
                <c:pt idx="2071">
                  <c:v>44867</c:v>
                </c:pt>
                <c:pt idx="2072">
                  <c:v>44868</c:v>
                </c:pt>
                <c:pt idx="2073">
                  <c:v>44869</c:v>
                </c:pt>
                <c:pt idx="2074">
                  <c:v>44872</c:v>
                </c:pt>
                <c:pt idx="2075">
                  <c:v>44873</c:v>
                </c:pt>
                <c:pt idx="2076">
                  <c:v>44874</c:v>
                </c:pt>
                <c:pt idx="2077">
                  <c:v>44875</c:v>
                </c:pt>
                <c:pt idx="2078">
                  <c:v>44876</c:v>
                </c:pt>
                <c:pt idx="2079">
                  <c:v>44879</c:v>
                </c:pt>
                <c:pt idx="2080">
                  <c:v>44880</c:v>
                </c:pt>
                <c:pt idx="2081">
                  <c:v>44881</c:v>
                </c:pt>
                <c:pt idx="2082">
                  <c:v>44882</c:v>
                </c:pt>
                <c:pt idx="2083">
                  <c:v>44883</c:v>
                </c:pt>
                <c:pt idx="2084">
                  <c:v>44886</c:v>
                </c:pt>
                <c:pt idx="2085">
                  <c:v>44887</c:v>
                </c:pt>
                <c:pt idx="2086">
                  <c:v>44888</c:v>
                </c:pt>
                <c:pt idx="2087">
                  <c:v>44889</c:v>
                </c:pt>
                <c:pt idx="2088">
                  <c:v>44890</c:v>
                </c:pt>
                <c:pt idx="2089">
                  <c:v>44893</c:v>
                </c:pt>
                <c:pt idx="2090">
                  <c:v>44894</c:v>
                </c:pt>
                <c:pt idx="2091">
                  <c:v>44895</c:v>
                </c:pt>
                <c:pt idx="2092">
                  <c:v>44896</c:v>
                </c:pt>
                <c:pt idx="2093">
                  <c:v>44897</c:v>
                </c:pt>
                <c:pt idx="2094">
                  <c:v>44900</c:v>
                </c:pt>
                <c:pt idx="2095">
                  <c:v>44901</c:v>
                </c:pt>
                <c:pt idx="2096">
                  <c:v>44902</c:v>
                </c:pt>
                <c:pt idx="2097">
                  <c:v>44903</c:v>
                </c:pt>
                <c:pt idx="2098">
                  <c:v>44904</c:v>
                </c:pt>
                <c:pt idx="2099">
                  <c:v>44907</c:v>
                </c:pt>
                <c:pt idx="2100">
                  <c:v>44908</c:v>
                </c:pt>
                <c:pt idx="2101">
                  <c:v>44909</c:v>
                </c:pt>
                <c:pt idx="2102">
                  <c:v>44910</c:v>
                </c:pt>
                <c:pt idx="2103">
                  <c:v>44911</c:v>
                </c:pt>
                <c:pt idx="2104">
                  <c:v>44914</c:v>
                </c:pt>
                <c:pt idx="2105">
                  <c:v>44915</c:v>
                </c:pt>
                <c:pt idx="2106">
                  <c:v>44916</c:v>
                </c:pt>
                <c:pt idx="2107">
                  <c:v>44917</c:v>
                </c:pt>
                <c:pt idx="2108">
                  <c:v>44918</c:v>
                </c:pt>
                <c:pt idx="2109">
                  <c:v>44921</c:v>
                </c:pt>
                <c:pt idx="2110">
                  <c:v>44922</c:v>
                </c:pt>
                <c:pt idx="2111">
                  <c:v>44923</c:v>
                </c:pt>
                <c:pt idx="2112">
                  <c:v>44924</c:v>
                </c:pt>
                <c:pt idx="2113">
                  <c:v>44925</c:v>
                </c:pt>
                <c:pt idx="2114">
                  <c:v>44928</c:v>
                </c:pt>
                <c:pt idx="2115">
                  <c:v>44929</c:v>
                </c:pt>
                <c:pt idx="2116">
                  <c:v>44930</c:v>
                </c:pt>
                <c:pt idx="2117">
                  <c:v>44931</c:v>
                </c:pt>
                <c:pt idx="2118">
                  <c:v>44932</c:v>
                </c:pt>
                <c:pt idx="2119">
                  <c:v>44935</c:v>
                </c:pt>
                <c:pt idx="2120">
                  <c:v>44936</c:v>
                </c:pt>
                <c:pt idx="2121">
                  <c:v>44937</c:v>
                </c:pt>
                <c:pt idx="2122">
                  <c:v>44938</c:v>
                </c:pt>
                <c:pt idx="2123">
                  <c:v>44939</c:v>
                </c:pt>
                <c:pt idx="2124">
                  <c:v>44942</c:v>
                </c:pt>
                <c:pt idx="2125">
                  <c:v>44943</c:v>
                </c:pt>
                <c:pt idx="2126">
                  <c:v>44944</c:v>
                </c:pt>
                <c:pt idx="2127">
                  <c:v>44945</c:v>
                </c:pt>
                <c:pt idx="2128">
                  <c:v>44946</c:v>
                </c:pt>
                <c:pt idx="2129">
                  <c:v>44949</c:v>
                </c:pt>
                <c:pt idx="2130">
                  <c:v>44950</c:v>
                </c:pt>
                <c:pt idx="2131">
                  <c:v>44951</c:v>
                </c:pt>
                <c:pt idx="2132">
                  <c:v>44952</c:v>
                </c:pt>
                <c:pt idx="2133">
                  <c:v>44953</c:v>
                </c:pt>
                <c:pt idx="2134">
                  <c:v>44956</c:v>
                </c:pt>
                <c:pt idx="2135">
                  <c:v>44957</c:v>
                </c:pt>
                <c:pt idx="2136">
                  <c:v>44958</c:v>
                </c:pt>
                <c:pt idx="2137">
                  <c:v>44959</c:v>
                </c:pt>
                <c:pt idx="2138">
                  <c:v>44960</c:v>
                </c:pt>
                <c:pt idx="2139">
                  <c:v>44963</c:v>
                </c:pt>
                <c:pt idx="2140">
                  <c:v>44964</c:v>
                </c:pt>
                <c:pt idx="2141">
                  <c:v>44965</c:v>
                </c:pt>
                <c:pt idx="2142">
                  <c:v>44966</c:v>
                </c:pt>
                <c:pt idx="2143">
                  <c:v>44967</c:v>
                </c:pt>
                <c:pt idx="2144">
                  <c:v>44970</c:v>
                </c:pt>
                <c:pt idx="2145">
                  <c:v>44971</c:v>
                </c:pt>
                <c:pt idx="2146">
                  <c:v>44972</c:v>
                </c:pt>
                <c:pt idx="2147">
                  <c:v>44973</c:v>
                </c:pt>
                <c:pt idx="2148">
                  <c:v>44974</c:v>
                </c:pt>
                <c:pt idx="2149">
                  <c:v>44977</c:v>
                </c:pt>
                <c:pt idx="2150">
                  <c:v>44978</c:v>
                </c:pt>
                <c:pt idx="2151">
                  <c:v>44979</c:v>
                </c:pt>
                <c:pt idx="2152">
                  <c:v>44980</c:v>
                </c:pt>
                <c:pt idx="2153">
                  <c:v>44981</c:v>
                </c:pt>
                <c:pt idx="2154">
                  <c:v>44984</c:v>
                </c:pt>
                <c:pt idx="2155">
                  <c:v>44985</c:v>
                </c:pt>
                <c:pt idx="2156">
                  <c:v>44986</c:v>
                </c:pt>
                <c:pt idx="2157">
                  <c:v>44987</c:v>
                </c:pt>
                <c:pt idx="2158">
                  <c:v>44988</c:v>
                </c:pt>
                <c:pt idx="2159">
                  <c:v>44991</c:v>
                </c:pt>
                <c:pt idx="2160">
                  <c:v>44992</c:v>
                </c:pt>
                <c:pt idx="2161">
                  <c:v>44993</c:v>
                </c:pt>
                <c:pt idx="2162">
                  <c:v>44994</c:v>
                </c:pt>
                <c:pt idx="2163">
                  <c:v>44995</c:v>
                </c:pt>
                <c:pt idx="2164">
                  <c:v>44998</c:v>
                </c:pt>
                <c:pt idx="2165">
                  <c:v>44999</c:v>
                </c:pt>
                <c:pt idx="2166">
                  <c:v>45000</c:v>
                </c:pt>
                <c:pt idx="2167">
                  <c:v>45001</c:v>
                </c:pt>
                <c:pt idx="2168">
                  <c:v>45002</c:v>
                </c:pt>
                <c:pt idx="2169">
                  <c:v>45005</c:v>
                </c:pt>
                <c:pt idx="2170">
                  <c:v>45006</c:v>
                </c:pt>
                <c:pt idx="2171">
                  <c:v>45007</c:v>
                </c:pt>
                <c:pt idx="2172">
                  <c:v>45008</c:v>
                </c:pt>
                <c:pt idx="2173">
                  <c:v>45009</c:v>
                </c:pt>
                <c:pt idx="2174">
                  <c:v>45012</c:v>
                </c:pt>
                <c:pt idx="2175">
                  <c:v>45013</c:v>
                </c:pt>
                <c:pt idx="2176">
                  <c:v>45014</c:v>
                </c:pt>
                <c:pt idx="2177">
                  <c:v>45015</c:v>
                </c:pt>
                <c:pt idx="2178">
                  <c:v>45016</c:v>
                </c:pt>
                <c:pt idx="2179">
                  <c:v>45019</c:v>
                </c:pt>
                <c:pt idx="2180">
                  <c:v>45020</c:v>
                </c:pt>
                <c:pt idx="2181">
                  <c:v>45021</c:v>
                </c:pt>
                <c:pt idx="2182">
                  <c:v>45022</c:v>
                </c:pt>
                <c:pt idx="2183">
                  <c:v>45023</c:v>
                </c:pt>
                <c:pt idx="2184">
                  <c:v>45026</c:v>
                </c:pt>
                <c:pt idx="2185">
                  <c:v>45027</c:v>
                </c:pt>
                <c:pt idx="2186">
                  <c:v>45028</c:v>
                </c:pt>
                <c:pt idx="2187">
                  <c:v>45029</c:v>
                </c:pt>
                <c:pt idx="2188">
                  <c:v>45030</c:v>
                </c:pt>
                <c:pt idx="2189">
                  <c:v>45033</c:v>
                </c:pt>
                <c:pt idx="2190">
                  <c:v>45034</c:v>
                </c:pt>
                <c:pt idx="2191">
                  <c:v>45035</c:v>
                </c:pt>
                <c:pt idx="2192">
                  <c:v>45036</c:v>
                </c:pt>
                <c:pt idx="2193">
                  <c:v>45037</c:v>
                </c:pt>
                <c:pt idx="2194">
                  <c:v>45040</c:v>
                </c:pt>
                <c:pt idx="2195">
                  <c:v>45041</c:v>
                </c:pt>
                <c:pt idx="2196">
                  <c:v>45042</c:v>
                </c:pt>
                <c:pt idx="2197">
                  <c:v>45043</c:v>
                </c:pt>
                <c:pt idx="2198">
                  <c:v>45044</c:v>
                </c:pt>
                <c:pt idx="2199">
                  <c:v>45047</c:v>
                </c:pt>
                <c:pt idx="2200">
                  <c:v>45048</c:v>
                </c:pt>
                <c:pt idx="2201">
                  <c:v>45049</c:v>
                </c:pt>
                <c:pt idx="2202">
                  <c:v>45050</c:v>
                </c:pt>
                <c:pt idx="2203">
                  <c:v>45051</c:v>
                </c:pt>
                <c:pt idx="2204">
                  <c:v>45054</c:v>
                </c:pt>
                <c:pt idx="2205">
                  <c:v>45055</c:v>
                </c:pt>
                <c:pt idx="2206">
                  <c:v>45056</c:v>
                </c:pt>
                <c:pt idx="2207">
                  <c:v>45057</c:v>
                </c:pt>
                <c:pt idx="2208">
                  <c:v>45058</c:v>
                </c:pt>
                <c:pt idx="2209">
                  <c:v>45061</c:v>
                </c:pt>
                <c:pt idx="2210">
                  <c:v>45062</c:v>
                </c:pt>
                <c:pt idx="2211">
                  <c:v>45063</c:v>
                </c:pt>
                <c:pt idx="2212">
                  <c:v>45064</c:v>
                </c:pt>
                <c:pt idx="2213">
                  <c:v>45065</c:v>
                </c:pt>
                <c:pt idx="2214">
                  <c:v>45068</c:v>
                </c:pt>
                <c:pt idx="2215">
                  <c:v>45069</c:v>
                </c:pt>
                <c:pt idx="2216">
                  <c:v>45070</c:v>
                </c:pt>
                <c:pt idx="2217">
                  <c:v>45071</c:v>
                </c:pt>
                <c:pt idx="2218">
                  <c:v>45072</c:v>
                </c:pt>
                <c:pt idx="2219">
                  <c:v>45075</c:v>
                </c:pt>
                <c:pt idx="2220">
                  <c:v>45076</c:v>
                </c:pt>
                <c:pt idx="2221">
                  <c:v>45077</c:v>
                </c:pt>
                <c:pt idx="2222">
                  <c:v>45078</c:v>
                </c:pt>
                <c:pt idx="2223">
                  <c:v>45079</c:v>
                </c:pt>
                <c:pt idx="2224">
                  <c:v>45082</c:v>
                </c:pt>
                <c:pt idx="2225">
                  <c:v>45083</c:v>
                </c:pt>
                <c:pt idx="2226">
                  <c:v>45084</c:v>
                </c:pt>
                <c:pt idx="2227">
                  <c:v>45085</c:v>
                </c:pt>
                <c:pt idx="2228">
                  <c:v>45086</c:v>
                </c:pt>
                <c:pt idx="2229">
                  <c:v>45089</c:v>
                </c:pt>
                <c:pt idx="2230">
                  <c:v>45090</c:v>
                </c:pt>
                <c:pt idx="2231">
                  <c:v>45091</c:v>
                </c:pt>
                <c:pt idx="2232">
                  <c:v>45092</c:v>
                </c:pt>
                <c:pt idx="2233">
                  <c:v>45093</c:v>
                </c:pt>
                <c:pt idx="2234">
                  <c:v>45096</c:v>
                </c:pt>
                <c:pt idx="2235">
                  <c:v>45097</c:v>
                </c:pt>
                <c:pt idx="2236">
                  <c:v>45098</c:v>
                </c:pt>
                <c:pt idx="2237">
                  <c:v>45099</c:v>
                </c:pt>
                <c:pt idx="2238">
                  <c:v>45100</c:v>
                </c:pt>
                <c:pt idx="2239">
                  <c:v>45103</c:v>
                </c:pt>
                <c:pt idx="2240">
                  <c:v>45104</c:v>
                </c:pt>
                <c:pt idx="2241">
                  <c:v>45105</c:v>
                </c:pt>
                <c:pt idx="2242">
                  <c:v>45106</c:v>
                </c:pt>
                <c:pt idx="2243">
                  <c:v>45107</c:v>
                </c:pt>
                <c:pt idx="2244">
                  <c:v>45110</c:v>
                </c:pt>
                <c:pt idx="2245">
                  <c:v>45111</c:v>
                </c:pt>
                <c:pt idx="2246">
                  <c:v>45112</c:v>
                </c:pt>
                <c:pt idx="2247">
                  <c:v>45113</c:v>
                </c:pt>
                <c:pt idx="2248">
                  <c:v>45114</c:v>
                </c:pt>
                <c:pt idx="2249">
                  <c:v>45117</c:v>
                </c:pt>
                <c:pt idx="2250">
                  <c:v>45118</c:v>
                </c:pt>
                <c:pt idx="2251">
                  <c:v>45119</c:v>
                </c:pt>
                <c:pt idx="2252">
                  <c:v>45120</c:v>
                </c:pt>
                <c:pt idx="2253">
                  <c:v>45121</c:v>
                </c:pt>
                <c:pt idx="2254">
                  <c:v>45124</c:v>
                </c:pt>
                <c:pt idx="2255">
                  <c:v>45125</c:v>
                </c:pt>
                <c:pt idx="2256">
                  <c:v>45126</c:v>
                </c:pt>
                <c:pt idx="2257">
                  <c:v>45127</c:v>
                </c:pt>
                <c:pt idx="2258">
                  <c:v>45128</c:v>
                </c:pt>
                <c:pt idx="2259">
                  <c:v>45131</c:v>
                </c:pt>
                <c:pt idx="2260">
                  <c:v>45132</c:v>
                </c:pt>
                <c:pt idx="2261">
                  <c:v>45133</c:v>
                </c:pt>
                <c:pt idx="2262">
                  <c:v>45134</c:v>
                </c:pt>
                <c:pt idx="2263">
                  <c:v>45135</c:v>
                </c:pt>
                <c:pt idx="2264">
                  <c:v>45138</c:v>
                </c:pt>
                <c:pt idx="2265">
                  <c:v>45139</c:v>
                </c:pt>
                <c:pt idx="2266">
                  <c:v>45140</c:v>
                </c:pt>
                <c:pt idx="2267">
                  <c:v>45141</c:v>
                </c:pt>
                <c:pt idx="2268">
                  <c:v>45142</c:v>
                </c:pt>
                <c:pt idx="2269">
                  <c:v>45145</c:v>
                </c:pt>
                <c:pt idx="2270">
                  <c:v>45146</c:v>
                </c:pt>
                <c:pt idx="2271">
                  <c:v>45147</c:v>
                </c:pt>
                <c:pt idx="2272">
                  <c:v>45148</c:v>
                </c:pt>
                <c:pt idx="2273">
                  <c:v>45149</c:v>
                </c:pt>
                <c:pt idx="2274">
                  <c:v>45152</c:v>
                </c:pt>
                <c:pt idx="2275">
                  <c:v>45153</c:v>
                </c:pt>
                <c:pt idx="2276">
                  <c:v>45154</c:v>
                </c:pt>
                <c:pt idx="2277">
                  <c:v>45155</c:v>
                </c:pt>
                <c:pt idx="2278">
                  <c:v>45156</c:v>
                </c:pt>
                <c:pt idx="2279">
                  <c:v>45159</c:v>
                </c:pt>
                <c:pt idx="2280">
                  <c:v>45160</c:v>
                </c:pt>
                <c:pt idx="2281">
                  <c:v>45161</c:v>
                </c:pt>
                <c:pt idx="2282">
                  <c:v>45162</c:v>
                </c:pt>
                <c:pt idx="2283">
                  <c:v>45163</c:v>
                </c:pt>
                <c:pt idx="2284">
                  <c:v>45166</c:v>
                </c:pt>
                <c:pt idx="2285">
                  <c:v>45167</c:v>
                </c:pt>
                <c:pt idx="2286">
                  <c:v>45168</c:v>
                </c:pt>
                <c:pt idx="2287">
                  <c:v>45169</c:v>
                </c:pt>
                <c:pt idx="2288">
                  <c:v>45170</c:v>
                </c:pt>
                <c:pt idx="2289">
                  <c:v>45173</c:v>
                </c:pt>
                <c:pt idx="2290">
                  <c:v>45174</c:v>
                </c:pt>
                <c:pt idx="2291">
                  <c:v>45175</c:v>
                </c:pt>
                <c:pt idx="2292">
                  <c:v>45176</c:v>
                </c:pt>
                <c:pt idx="2293">
                  <c:v>45177</c:v>
                </c:pt>
                <c:pt idx="2294">
                  <c:v>45180</c:v>
                </c:pt>
                <c:pt idx="2295">
                  <c:v>45181</c:v>
                </c:pt>
                <c:pt idx="2296">
                  <c:v>45182</c:v>
                </c:pt>
                <c:pt idx="2297">
                  <c:v>45183</c:v>
                </c:pt>
                <c:pt idx="2298">
                  <c:v>45184</c:v>
                </c:pt>
                <c:pt idx="2299">
                  <c:v>45187</c:v>
                </c:pt>
                <c:pt idx="2300">
                  <c:v>45188</c:v>
                </c:pt>
                <c:pt idx="2301">
                  <c:v>45189</c:v>
                </c:pt>
                <c:pt idx="2302">
                  <c:v>45190</c:v>
                </c:pt>
                <c:pt idx="2303">
                  <c:v>45191</c:v>
                </c:pt>
                <c:pt idx="2304">
                  <c:v>45194</c:v>
                </c:pt>
                <c:pt idx="2305">
                  <c:v>45195</c:v>
                </c:pt>
                <c:pt idx="2306">
                  <c:v>45196</c:v>
                </c:pt>
                <c:pt idx="2307">
                  <c:v>45197</c:v>
                </c:pt>
                <c:pt idx="2308">
                  <c:v>45198</c:v>
                </c:pt>
                <c:pt idx="2309">
                  <c:v>45201</c:v>
                </c:pt>
                <c:pt idx="2310">
                  <c:v>45202</c:v>
                </c:pt>
                <c:pt idx="2311">
                  <c:v>45203</c:v>
                </c:pt>
                <c:pt idx="2312">
                  <c:v>45204</c:v>
                </c:pt>
                <c:pt idx="2313">
                  <c:v>45205</c:v>
                </c:pt>
                <c:pt idx="2314">
                  <c:v>45208</c:v>
                </c:pt>
                <c:pt idx="2315">
                  <c:v>45209</c:v>
                </c:pt>
                <c:pt idx="2316">
                  <c:v>45210</c:v>
                </c:pt>
                <c:pt idx="2317">
                  <c:v>45211</c:v>
                </c:pt>
                <c:pt idx="2318">
                  <c:v>45212</c:v>
                </c:pt>
                <c:pt idx="2319">
                  <c:v>45215</c:v>
                </c:pt>
                <c:pt idx="2320">
                  <c:v>45216</c:v>
                </c:pt>
                <c:pt idx="2321">
                  <c:v>45217</c:v>
                </c:pt>
                <c:pt idx="2322">
                  <c:v>45218</c:v>
                </c:pt>
                <c:pt idx="2323">
                  <c:v>45219</c:v>
                </c:pt>
                <c:pt idx="2324">
                  <c:v>45222</c:v>
                </c:pt>
                <c:pt idx="2325">
                  <c:v>45223</c:v>
                </c:pt>
                <c:pt idx="2326">
                  <c:v>45224</c:v>
                </c:pt>
                <c:pt idx="2327">
                  <c:v>45225</c:v>
                </c:pt>
                <c:pt idx="2328">
                  <c:v>45226</c:v>
                </c:pt>
                <c:pt idx="2329">
                  <c:v>45229</c:v>
                </c:pt>
                <c:pt idx="2330">
                  <c:v>45230</c:v>
                </c:pt>
                <c:pt idx="2331">
                  <c:v>45231</c:v>
                </c:pt>
                <c:pt idx="2332">
                  <c:v>45232</c:v>
                </c:pt>
                <c:pt idx="2333">
                  <c:v>45233</c:v>
                </c:pt>
                <c:pt idx="2334">
                  <c:v>45236</c:v>
                </c:pt>
                <c:pt idx="2335">
                  <c:v>45237</c:v>
                </c:pt>
                <c:pt idx="2336">
                  <c:v>45238</c:v>
                </c:pt>
                <c:pt idx="2337">
                  <c:v>45239</c:v>
                </c:pt>
                <c:pt idx="2338">
                  <c:v>45240</c:v>
                </c:pt>
                <c:pt idx="2339">
                  <c:v>45243</c:v>
                </c:pt>
                <c:pt idx="2340">
                  <c:v>45244</c:v>
                </c:pt>
                <c:pt idx="2341">
                  <c:v>45245</c:v>
                </c:pt>
                <c:pt idx="2342">
                  <c:v>45246</c:v>
                </c:pt>
                <c:pt idx="2343">
                  <c:v>45247</c:v>
                </c:pt>
                <c:pt idx="2344">
                  <c:v>45250</c:v>
                </c:pt>
                <c:pt idx="2345">
                  <c:v>45251</c:v>
                </c:pt>
                <c:pt idx="2346">
                  <c:v>45252</c:v>
                </c:pt>
                <c:pt idx="2347">
                  <c:v>45253</c:v>
                </c:pt>
                <c:pt idx="2348">
                  <c:v>45254</c:v>
                </c:pt>
                <c:pt idx="2349">
                  <c:v>45257</c:v>
                </c:pt>
                <c:pt idx="2350">
                  <c:v>45258</c:v>
                </c:pt>
                <c:pt idx="2351">
                  <c:v>45259</c:v>
                </c:pt>
                <c:pt idx="2352">
                  <c:v>45260</c:v>
                </c:pt>
                <c:pt idx="2353">
                  <c:v>45261</c:v>
                </c:pt>
                <c:pt idx="2354">
                  <c:v>45264</c:v>
                </c:pt>
                <c:pt idx="2355">
                  <c:v>45265</c:v>
                </c:pt>
                <c:pt idx="2356">
                  <c:v>45266</c:v>
                </c:pt>
                <c:pt idx="2357">
                  <c:v>45267</c:v>
                </c:pt>
                <c:pt idx="2358">
                  <c:v>45268</c:v>
                </c:pt>
                <c:pt idx="2359">
                  <c:v>45271</c:v>
                </c:pt>
                <c:pt idx="2360">
                  <c:v>45272</c:v>
                </c:pt>
                <c:pt idx="2361">
                  <c:v>45273</c:v>
                </c:pt>
                <c:pt idx="2362">
                  <c:v>45274</c:v>
                </c:pt>
                <c:pt idx="2363">
                  <c:v>45275</c:v>
                </c:pt>
                <c:pt idx="2364">
                  <c:v>45278</c:v>
                </c:pt>
                <c:pt idx="2365">
                  <c:v>45279</c:v>
                </c:pt>
                <c:pt idx="2366">
                  <c:v>45280</c:v>
                </c:pt>
                <c:pt idx="2367">
                  <c:v>45281</c:v>
                </c:pt>
                <c:pt idx="2368">
                  <c:v>45282</c:v>
                </c:pt>
                <c:pt idx="2369">
                  <c:v>45285</c:v>
                </c:pt>
                <c:pt idx="2370">
                  <c:v>45286</c:v>
                </c:pt>
                <c:pt idx="2371">
                  <c:v>45287</c:v>
                </c:pt>
                <c:pt idx="2372">
                  <c:v>45288</c:v>
                </c:pt>
                <c:pt idx="2373">
                  <c:v>45289</c:v>
                </c:pt>
                <c:pt idx="2374">
                  <c:v>45292</c:v>
                </c:pt>
                <c:pt idx="2375">
                  <c:v>45293</c:v>
                </c:pt>
                <c:pt idx="2376">
                  <c:v>45294</c:v>
                </c:pt>
                <c:pt idx="2377">
                  <c:v>45295</c:v>
                </c:pt>
                <c:pt idx="2378">
                  <c:v>45296</c:v>
                </c:pt>
                <c:pt idx="2379">
                  <c:v>45299</c:v>
                </c:pt>
                <c:pt idx="2380">
                  <c:v>45300</c:v>
                </c:pt>
                <c:pt idx="2381">
                  <c:v>45301</c:v>
                </c:pt>
                <c:pt idx="2382">
                  <c:v>45302</c:v>
                </c:pt>
                <c:pt idx="2383">
                  <c:v>45303</c:v>
                </c:pt>
                <c:pt idx="2384">
                  <c:v>45306</c:v>
                </c:pt>
                <c:pt idx="2385">
                  <c:v>45307</c:v>
                </c:pt>
                <c:pt idx="2386">
                  <c:v>45308</c:v>
                </c:pt>
                <c:pt idx="2387">
                  <c:v>45309</c:v>
                </c:pt>
                <c:pt idx="2388">
                  <c:v>45310</c:v>
                </c:pt>
                <c:pt idx="2389">
                  <c:v>45313</c:v>
                </c:pt>
                <c:pt idx="2390">
                  <c:v>45314</c:v>
                </c:pt>
                <c:pt idx="2391">
                  <c:v>45315</c:v>
                </c:pt>
                <c:pt idx="2392">
                  <c:v>45316</c:v>
                </c:pt>
                <c:pt idx="2393">
                  <c:v>45317</c:v>
                </c:pt>
                <c:pt idx="2394">
                  <c:v>45320</c:v>
                </c:pt>
                <c:pt idx="2395">
                  <c:v>45321</c:v>
                </c:pt>
                <c:pt idx="2396">
                  <c:v>45322</c:v>
                </c:pt>
                <c:pt idx="2397">
                  <c:v>45323</c:v>
                </c:pt>
                <c:pt idx="2398">
                  <c:v>45324</c:v>
                </c:pt>
                <c:pt idx="2399">
                  <c:v>45327</c:v>
                </c:pt>
                <c:pt idx="2400">
                  <c:v>45328</c:v>
                </c:pt>
                <c:pt idx="2401">
                  <c:v>45329</c:v>
                </c:pt>
                <c:pt idx="2402">
                  <c:v>45330</c:v>
                </c:pt>
                <c:pt idx="2403">
                  <c:v>45331</c:v>
                </c:pt>
                <c:pt idx="2404">
                  <c:v>45334</c:v>
                </c:pt>
                <c:pt idx="2405">
                  <c:v>45335</c:v>
                </c:pt>
                <c:pt idx="2406">
                  <c:v>45336</c:v>
                </c:pt>
                <c:pt idx="2407">
                  <c:v>45337</c:v>
                </c:pt>
                <c:pt idx="2408">
                  <c:v>45338</c:v>
                </c:pt>
                <c:pt idx="2409">
                  <c:v>45341</c:v>
                </c:pt>
                <c:pt idx="2410">
                  <c:v>45342</c:v>
                </c:pt>
                <c:pt idx="2411">
                  <c:v>45343</c:v>
                </c:pt>
                <c:pt idx="2412">
                  <c:v>45344</c:v>
                </c:pt>
                <c:pt idx="2413">
                  <c:v>45345</c:v>
                </c:pt>
                <c:pt idx="2414">
                  <c:v>45348</c:v>
                </c:pt>
                <c:pt idx="2415">
                  <c:v>45349</c:v>
                </c:pt>
                <c:pt idx="2416">
                  <c:v>45350</c:v>
                </c:pt>
                <c:pt idx="2417">
                  <c:v>45351</c:v>
                </c:pt>
                <c:pt idx="2418">
                  <c:v>45352</c:v>
                </c:pt>
                <c:pt idx="2419">
                  <c:v>45355</c:v>
                </c:pt>
                <c:pt idx="2420">
                  <c:v>45356</c:v>
                </c:pt>
                <c:pt idx="2421">
                  <c:v>45357</c:v>
                </c:pt>
                <c:pt idx="2422">
                  <c:v>45358</c:v>
                </c:pt>
                <c:pt idx="2423">
                  <c:v>45359</c:v>
                </c:pt>
                <c:pt idx="2424">
                  <c:v>45362</c:v>
                </c:pt>
                <c:pt idx="2425">
                  <c:v>45363</c:v>
                </c:pt>
                <c:pt idx="2426">
                  <c:v>45364</c:v>
                </c:pt>
                <c:pt idx="2427">
                  <c:v>45365</c:v>
                </c:pt>
                <c:pt idx="2428">
                  <c:v>45366</c:v>
                </c:pt>
                <c:pt idx="2429">
                  <c:v>45369</c:v>
                </c:pt>
                <c:pt idx="2430">
                  <c:v>45370</c:v>
                </c:pt>
                <c:pt idx="2431">
                  <c:v>45371</c:v>
                </c:pt>
                <c:pt idx="2432">
                  <c:v>45372</c:v>
                </c:pt>
                <c:pt idx="2433">
                  <c:v>45373</c:v>
                </c:pt>
                <c:pt idx="2434">
                  <c:v>45376</c:v>
                </c:pt>
                <c:pt idx="2435">
                  <c:v>45377</c:v>
                </c:pt>
                <c:pt idx="2436">
                  <c:v>45378</c:v>
                </c:pt>
                <c:pt idx="2437">
                  <c:v>45379</c:v>
                </c:pt>
                <c:pt idx="2438">
                  <c:v>45380</c:v>
                </c:pt>
                <c:pt idx="2439">
                  <c:v>45383</c:v>
                </c:pt>
                <c:pt idx="2440">
                  <c:v>45384</c:v>
                </c:pt>
                <c:pt idx="2441">
                  <c:v>45385</c:v>
                </c:pt>
                <c:pt idx="2442">
                  <c:v>45386</c:v>
                </c:pt>
                <c:pt idx="2443">
                  <c:v>45387</c:v>
                </c:pt>
                <c:pt idx="2444">
                  <c:v>45390</c:v>
                </c:pt>
                <c:pt idx="2445">
                  <c:v>45391</c:v>
                </c:pt>
                <c:pt idx="2446">
                  <c:v>45392</c:v>
                </c:pt>
                <c:pt idx="2447">
                  <c:v>45393</c:v>
                </c:pt>
                <c:pt idx="2448">
                  <c:v>45394</c:v>
                </c:pt>
                <c:pt idx="2449">
                  <c:v>45397</c:v>
                </c:pt>
                <c:pt idx="2450">
                  <c:v>45398</c:v>
                </c:pt>
                <c:pt idx="2451">
                  <c:v>45399</c:v>
                </c:pt>
                <c:pt idx="2452">
                  <c:v>45400</c:v>
                </c:pt>
                <c:pt idx="2453">
                  <c:v>45401</c:v>
                </c:pt>
                <c:pt idx="2454">
                  <c:v>45404</c:v>
                </c:pt>
                <c:pt idx="2455">
                  <c:v>45405</c:v>
                </c:pt>
                <c:pt idx="2456">
                  <c:v>45406</c:v>
                </c:pt>
                <c:pt idx="2457">
                  <c:v>45407</c:v>
                </c:pt>
                <c:pt idx="2458">
                  <c:v>45408</c:v>
                </c:pt>
                <c:pt idx="2459">
                  <c:v>45411</c:v>
                </c:pt>
                <c:pt idx="2460">
                  <c:v>45412</c:v>
                </c:pt>
                <c:pt idx="2461">
                  <c:v>45413</c:v>
                </c:pt>
                <c:pt idx="2462">
                  <c:v>45414</c:v>
                </c:pt>
                <c:pt idx="2463">
                  <c:v>45415</c:v>
                </c:pt>
                <c:pt idx="2464">
                  <c:v>45418</c:v>
                </c:pt>
                <c:pt idx="2465">
                  <c:v>45419</c:v>
                </c:pt>
                <c:pt idx="2466">
                  <c:v>45420</c:v>
                </c:pt>
                <c:pt idx="2467">
                  <c:v>45421</c:v>
                </c:pt>
                <c:pt idx="2468">
                  <c:v>45422</c:v>
                </c:pt>
                <c:pt idx="2469">
                  <c:v>45425</c:v>
                </c:pt>
                <c:pt idx="2470">
                  <c:v>45426</c:v>
                </c:pt>
                <c:pt idx="2471">
                  <c:v>45427</c:v>
                </c:pt>
                <c:pt idx="2472">
                  <c:v>45428</c:v>
                </c:pt>
                <c:pt idx="2473">
                  <c:v>45429</c:v>
                </c:pt>
                <c:pt idx="2474">
                  <c:v>45432</c:v>
                </c:pt>
                <c:pt idx="2475">
                  <c:v>45433</c:v>
                </c:pt>
                <c:pt idx="2476">
                  <c:v>45434</c:v>
                </c:pt>
                <c:pt idx="2477">
                  <c:v>45435</c:v>
                </c:pt>
                <c:pt idx="2478">
                  <c:v>45436</c:v>
                </c:pt>
                <c:pt idx="2479">
                  <c:v>45439</c:v>
                </c:pt>
                <c:pt idx="2480">
                  <c:v>45440</c:v>
                </c:pt>
                <c:pt idx="2481">
                  <c:v>45441</c:v>
                </c:pt>
                <c:pt idx="2482">
                  <c:v>45442</c:v>
                </c:pt>
                <c:pt idx="2483">
                  <c:v>45443</c:v>
                </c:pt>
                <c:pt idx="2484">
                  <c:v>45446</c:v>
                </c:pt>
                <c:pt idx="2485">
                  <c:v>45447</c:v>
                </c:pt>
                <c:pt idx="2486">
                  <c:v>45448</c:v>
                </c:pt>
                <c:pt idx="2487">
                  <c:v>45449</c:v>
                </c:pt>
                <c:pt idx="2488">
                  <c:v>45450</c:v>
                </c:pt>
                <c:pt idx="2489">
                  <c:v>45453</c:v>
                </c:pt>
                <c:pt idx="2490">
                  <c:v>45454</c:v>
                </c:pt>
                <c:pt idx="2491">
                  <c:v>45455</c:v>
                </c:pt>
                <c:pt idx="2492">
                  <c:v>45456</c:v>
                </c:pt>
                <c:pt idx="2493">
                  <c:v>45457</c:v>
                </c:pt>
                <c:pt idx="2494">
                  <c:v>45460</c:v>
                </c:pt>
                <c:pt idx="2495">
                  <c:v>45461</c:v>
                </c:pt>
                <c:pt idx="2496">
                  <c:v>45462</c:v>
                </c:pt>
                <c:pt idx="2497">
                  <c:v>45463</c:v>
                </c:pt>
                <c:pt idx="2498">
                  <c:v>45464</c:v>
                </c:pt>
                <c:pt idx="2499">
                  <c:v>45467</c:v>
                </c:pt>
                <c:pt idx="2500">
                  <c:v>45468</c:v>
                </c:pt>
                <c:pt idx="2501">
                  <c:v>45469</c:v>
                </c:pt>
                <c:pt idx="2502">
                  <c:v>45470</c:v>
                </c:pt>
                <c:pt idx="2503">
                  <c:v>45471</c:v>
                </c:pt>
                <c:pt idx="2504">
                  <c:v>45474</c:v>
                </c:pt>
                <c:pt idx="2505">
                  <c:v>45475</c:v>
                </c:pt>
                <c:pt idx="2506">
                  <c:v>45476</c:v>
                </c:pt>
                <c:pt idx="2507">
                  <c:v>45477</c:v>
                </c:pt>
                <c:pt idx="2508">
                  <c:v>45478</c:v>
                </c:pt>
                <c:pt idx="2509">
                  <c:v>45481</c:v>
                </c:pt>
                <c:pt idx="2510">
                  <c:v>45482</c:v>
                </c:pt>
                <c:pt idx="2511">
                  <c:v>45483</c:v>
                </c:pt>
                <c:pt idx="2512">
                  <c:v>45484</c:v>
                </c:pt>
                <c:pt idx="2513">
                  <c:v>45485</c:v>
                </c:pt>
                <c:pt idx="2514">
                  <c:v>45488</c:v>
                </c:pt>
                <c:pt idx="2515">
                  <c:v>45489</c:v>
                </c:pt>
                <c:pt idx="2516">
                  <c:v>45490</c:v>
                </c:pt>
                <c:pt idx="2517">
                  <c:v>45491</c:v>
                </c:pt>
                <c:pt idx="2518">
                  <c:v>45492</c:v>
                </c:pt>
                <c:pt idx="2519">
                  <c:v>45495</c:v>
                </c:pt>
                <c:pt idx="2520">
                  <c:v>45496</c:v>
                </c:pt>
                <c:pt idx="2521">
                  <c:v>45497</c:v>
                </c:pt>
                <c:pt idx="2522">
                  <c:v>45498</c:v>
                </c:pt>
                <c:pt idx="2523">
                  <c:v>45499</c:v>
                </c:pt>
                <c:pt idx="2524">
                  <c:v>45502</c:v>
                </c:pt>
                <c:pt idx="2525">
                  <c:v>45503</c:v>
                </c:pt>
                <c:pt idx="2526">
                  <c:v>45504</c:v>
                </c:pt>
                <c:pt idx="2527">
                  <c:v>45505</c:v>
                </c:pt>
                <c:pt idx="2528">
                  <c:v>45506</c:v>
                </c:pt>
                <c:pt idx="2529">
                  <c:v>45509</c:v>
                </c:pt>
                <c:pt idx="2530">
                  <c:v>45510</c:v>
                </c:pt>
                <c:pt idx="2531">
                  <c:v>45511</c:v>
                </c:pt>
                <c:pt idx="2532">
                  <c:v>45512</c:v>
                </c:pt>
                <c:pt idx="2533">
                  <c:v>45513</c:v>
                </c:pt>
                <c:pt idx="2534">
                  <c:v>45516</c:v>
                </c:pt>
                <c:pt idx="2535">
                  <c:v>45517</c:v>
                </c:pt>
                <c:pt idx="2536">
                  <c:v>45518</c:v>
                </c:pt>
                <c:pt idx="2537">
                  <c:v>45519</c:v>
                </c:pt>
                <c:pt idx="2538">
                  <c:v>45520</c:v>
                </c:pt>
                <c:pt idx="2539">
                  <c:v>45523</c:v>
                </c:pt>
                <c:pt idx="2540">
                  <c:v>45524</c:v>
                </c:pt>
                <c:pt idx="2541">
                  <c:v>45525</c:v>
                </c:pt>
                <c:pt idx="2542">
                  <c:v>45526</c:v>
                </c:pt>
                <c:pt idx="2543">
                  <c:v>45527</c:v>
                </c:pt>
                <c:pt idx="2544">
                  <c:v>45530</c:v>
                </c:pt>
                <c:pt idx="2545">
                  <c:v>45531</c:v>
                </c:pt>
                <c:pt idx="2546">
                  <c:v>45532</c:v>
                </c:pt>
                <c:pt idx="2547">
                  <c:v>45533</c:v>
                </c:pt>
                <c:pt idx="2548">
                  <c:v>45534</c:v>
                </c:pt>
                <c:pt idx="2549">
                  <c:v>45537</c:v>
                </c:pt>
                <c:pt idx="2550">
                  <c:v>45538</c:v>
                </c:pt>
                <c:pt idx="2551">
                  <c:v>45539</c:v>
                </c:pt>
                <c:pt idx="2552">
                  <c:v>45540</c:v>
                </c:pt>
                <c:pt idx="2553">
                  <c:v>45541</c:v>
                </c:pt>
                <c:pt idx="2554">
                  <c:v>45544</c:v>
                </c:pt>
                <c:pt idx="2555">
                  <c:v>45545</c:v>
                </c:pt>
                <c:pt idx="2556">
                  <c:v>45546</c:v>
                </c:pt>
                <c:pt idx="2557">
                  <c:v>45547</c:v>
                </c:pt>
                <c:pt idx="2558">
                  <c:v>45548</c:v>
                </c:pt>
                <c:pt idx="2559">
                  <c:v>45551</c:v>
                </c:pt>
                <c:pt idx="2560">
                  <c:v>45552</c:v>
                </c:pt>
                <c:pt idx="2561">
                  <c:v>45553</c:v>
                </c:pt>
                <c:pt idx="2562">
                  <c:v>45554</c:v>
                </c:pt>
                <c:pt idx="2563">
                  <c:v>45555</c:v>
                </c:pt>
                <c:pt idx="2564">
                  <c:v>45558</c:v>
                </c:pt>
                <c:pt idx="2565">
                  <c:v>45559</c:v>
                </c:pt>
                <c:pt idx="2566">
                  <c:v>45560</c:v>
                </c:pt>
                <c:pt idx="2567">
                  <c:v>45561</c:v>
                </c:pt>
                <c:pt idx="2568">
                  <c:v>45562</c:v>
                </c:pt>
                <c:pt idx="2569">
                  <c:v>45565</c:v>
                </c:pt>
                <c:pt idx="2570">
                  <c:v>45566</c:v>
                </c:pt>
                <c:pt idx="2571">
                  <c:v>45567</c:v>
                </c:pt>
                <c:pt idx="2572">
                  <c:v>45568</c:v>
                </c:pt>
                <c:pt idx="2573">
                  <c:v>45569</c:v>
                </c:pt>
                <c:pt idx="2574">
                  <c:v>45572</c:v>
                </c:pt>
                <c:pt idx="2575">
                  <c:v>45573</c:v>
                </c:pt>
                <c:pt idx="2576">
                  <c:v>45574</c:v>
                </c:pt>
                <c:pt idx="2577">
                  <c:v>45575</c:v>
                </c:pt>
                <c:pt idx="2578">
                  <c:v>45576</c:v>
                </c:pt>
                <c:pt idx="2579">
                  <c:v>45579</c:v>
                </c:pt>
                <c:pt idx="2580">
                  <c:v>45580</c:v>
                </c:pt>
                <c:pt idx="2581">
                  <c:v>45581</c:v>
                </c:pt>
                <c:pt idx="2582">
                  <c:v>45582</c:v>
                </c:pt>
                <c:pt idx="2583">
                  <c:v>45583</c:v>
                </c:pt>
                <c:pt idx="2584">
                  <c:v>45586</c:v>
                </c:pt>
                <c:pt idx="2585">
                  <c:v>45587</c:v>
                </c:pt>
                <c:pt idx="2586">
                  <c:v>45588</c:v>
                </c:pt>
                <c:pt idx="2587">
                  <c:v>45589</c:v>
                </c:pt>
                <c:pt idx="2588">
                  <c:v>45590</c:v>
                </c:pt>
                <c:pt idx="2589">
                  <c:v>45593</c:v>
                </c:pt>
                <c:pt idx="2590">
                  <c:v>45594</c:v>
                </c:pt>
                <c:pt idx="2591">
                  <c:v>45595</c:v>
                </c:pt>
                <c:pt idx="2592">
                  <c:v>45596</c:v>
                </c:pt>
                <c:pt idx="2593">
                  <c:v>45597</c:v>
                </c:pt>
                <c:pt idx="2594">
                  <c:v>45600</c:v>
                </c:pt>
                <c:pt idx="2595">
                  <c:v>45601</c:v>
                </c:pt>
                <c:pt idx="2596">
                  <c:v>45602</c:v>
                </c:pt>
                <c:pt idx="2597">
                  <c:v>45603</c:v>
                </c:pt>
                <c:pt idx="2598">
                  <c:v>45604</c:v>
                </c:pt>
                <c:pt idx="2599">
                  <c:v>45607</c:v>
                </c:pt>
                <c:pt idx="2600">
                  <c:v>45608</c:v>
                </c:pt>
                <c:pt idx="2601">
                  <c:v>45609</c:v>
                </c:pt>
                <c:pt idx="2602">
                  <c:v>45610</c:v>
                </c:pt>
                <c:pt idx="2603">
                  <c:v>45611</c:v>
                </c:pt>
                <c:pt idx="2604">
                  <c:v>45614</c:v>
                </c:pt>
                <c:pt idx="2605">
                  <c:v>45615</c:v>
                </c:pt>
                <c:pt idx="2606">
                  <c:v>45616</c:v>
                </c:pt>
                <c:pt idx="2607">
                  <c:v>45617</c:v>
                </c:pt>
                <c:pt idx="2608">
                  <c:v>45618</c:v>
                </c:pt>
                <c:pt idx="2609">
                  <c:v>45621</c:v>
                </c:pt>
              </c:numCache>
            </c:numRef>
          </c:cat>
          <c:val>
            <c:numRef>
              <c:f>'Sheet1 (3)'!$AI$6:$AI$2615</c:f>
              <c:numCache>
                <c:formatCode>General</c:formatCode>
                <c:ptCount val="2610"/>
                <c:pt idx="0">
                  <c:v>#N/A</c:v>
                </c:pt>
                <c:pt idx="1">
                  <c:v>#N/A</c:v>
                </c:pt>
                <c:pt idx="2">
                  <c:v>#N/A</c:v>
                </c:pt>
                <c:pt idx="3">
                  <c:v>100</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101.6</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100</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100.4</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100.5</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101.2</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101.4</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101.1</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102.5</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100.5</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100.4</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101.1</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100.2</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100.9</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102.8</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102.8</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101.9</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pt idx="366">
                  <c:v>#N/A</c:v>
                </c:pt>
                <c:pt idx="367">
                  <c:v>#N/A</c:v>
                </c:pt>
                <c:pt idx="368">
                  <c:v>#N/A</c:v>
                </c:pt>
                <c:pt idx="369">
                  <c:v>#N/A</c:v>
                </c:pt>
                <c:pt idx="370">
                  <c:v>#N/A</c:v>
                </c:pt>
                <c:pt idx="371">
                  <c:v>#N/A</c:v>
                </c:pt>
                <c:pt idx="372">
                  <c:v>#N/A</c:v>
                </c:pt>
                <c:pt idx="373">
                  <c:v>102.3</c:v>
                </c:pt>
                <c:pt idx="374">
                  <c:v>#N/A</c:v>
                </c:pt>
                <c:pt idx="375">
                  <c:v>#N/A</c:v>
                </c:pt>
                <c:pt idx="376">
                  <c:v>#N/A</c:v>
                </c:pt>
                <c:pt idx="377">
                  <c:v>#N/A</c:v>
                </c:pt>
                <c:pt idx="378">
                  <c:v>#N/A</c:v>
                </c:pt>
                <c:pt idx="379">
                  <c:v>#N/A</c:v>
                </c:pt>
                <c:pt idx="380">
                  <c:v>#N/A</c:v>
                </c:pt>
                <c:pt idx="381">
                  <c:v>#N/A</c:v>
                </c:pt>
                <c:pt idx="382">
                  <c:v>#N/A</c:v>
                </c:pt>
                <c:pt idx="383">
                  <c:v>#N/A</c:v>
                </c:pt>
                <c:pt idx="384">
                  <c:v>#N/A</c:v>
                </c:pt>
                <c:pt idx="385">
                  <c:v>#N/A</c:v>
                </c:pt>
                <c:pt idx="386">
                  <c:v>#N/A</c:v>
                </c:pt>
                <c:pt idx="387">
                  <c:v>#N/A</c:v>
                </c:pt>
                <c:pt idx="388">
                  <c:v>#N/A</c:v>
                </c:pt>
                <c:pt idx="389">
                  <c:v>#N/A</c:v>
                </c:pt>
                <c:pt idx="390">
                  <c:v>#N/A</c:v>
                </c:pt>
                <c:pt idx="391">
                  <c:v>#N/A</c:v>
                </c:pt>
                <c:pt idx="392">
                  <c:v>#N/A</c:v>
                </c:pt>
                <c:pt idx="393">
                  <c:v>#N/A</c:v>
                </c:pt>
                <c:pt idx="394">
                  <c:v>#N/A</c:v>
                </c:pt>
                <c:pt idx="395">
                  <c:v>100.9</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102.5</c:v>
                </c:pt>
                <c:pt idx="418">
                  <c:v>#N/A</c:v>
                </c:pt>
                <c:pt idx="419">
                  <c:v>#N/A</c:v>
                </c:pt>
                <c:pt idx="420">
                  <c:v>#N/A</c:v>
                </c:pt>
                <c:pt idx="421">
                  <c:v>#N/A</c:v>
                </c:pt>
                <c:pt idx="422">
                  <c:v>#N/A</c:v>
                </c:pt>
                <c:pt idx="423">
                  <c:v>#N/A</c:v>
                </c:pt>
                <c:pt idx="424">
                  <c:v>#N/A</c:v>
                </c:pt>
                <c:pt idx="425">
                  <c:v>#N/A</c:v>
                </c:pt>
                <c:pt idx="426">
                  <c:v>#N/A</c:v>
                </c:pt>
                <c:pt idx="427">
                  <c:v>#N/A</c:v>
                </c:pt>
                <c:pt idx="428">
                  <c:v>#N/A</c:v>
                </c:pt>
                <c:pt idx="429">
                  <c:v>#N/A</c:v>
                </c:pt>
                <c:pt idx="430">
                  <c:v>#N/A</c:v>
                </c:pt>
                <c:pt idx="431">
                  <c:v>#N/A</c:v>
                </c:pt>
                <c:pt idx="432">
                  <c:v>#N/A</c:v>
                </c:pt>
                <c:pt idx="433">
                  <c:v>#N/A</c:v>
                </c:pt>
                <c:pt idx="434">
                  <c:v>#N/A</c:v>
                </c:pt>
                <c:pt idx="435">
                  <c:v>#N/A</c:v>
                </c:pt>
                <c:pt idx="436">
                  <c:v>#N/A</c:v>
                </c:pt>
                <c:pt idx="437">
                  <c:v>#N/A</c:v>
                </c:pt>
                <c:pt idx="438">
                  <c:v>101.7</c:v>
                </c:pt>
                <c:pt idx="439">
                  <c:v>#N/A</c:v>
                </c:pt>
                <c:pt idx="440">
                  <c:v>#N/A</c:v>
                </c:pt>
                <c:pt idx="441">
                  <c:v>#N/A</c:v>
                </c:pt>
                <c:pt idx="442">
                  <c:v>#N/A</c:v>
                </c:pt>
                <c:pt idx="443">
                  <c:v>#N/A</c:v>
                </c:pt>
                <c:pt idx="444">
                  <c:v>#N/A</c:v>
                </c:pt>
                <c:pt idx="445">
                  <c:v>#N/A</c:v>
                </c:pt>
                <c:pt idx="446">
                  <c:v>#N/A</c:v>
                </c:pt>
                <c:pt idx="447">
                  <c:v>#N/A</c:v>
                </c:pt>
                <c:pt idx="448">
                  <c:v>#N/A</c:v>
                </c:pt>
                <c:pt idx="449">
                  <c:v>#N/A</c:v>
                </c:pt>
                <c:pt idx="450">
                  <c:v>#N/A</c:v>
                </c:pt>
                <c:pt idx="451">
                  <c:v>#N/A</c:v>
                </c:pt>
                <c:pt idx="452">
                  <c:v>#N/A</c:v>
                </c:pt>
                <c:pt idx="453">
                  <c:v>#N/A</c:v>
                </c:pt>
                <c:pt idx="454">
                  <c:v>#N/A</c:v>
                </c:pt>
                <c:pt idx="455">
                  <c:v>#N/A</c:v>
                </c:pt>
                <c:pt idx="456">
                  <c:v>#N/A</c:v>
                </c:pt>
                <c:pt idx="457">
                  <c:v>#N/A</c:v>
                </c:pt>
                <c:pt idx="458">
                  <c:v>#N/A</c:v>
                </c:pt>
                <c:pt idx="459">
                  <c:v>#N/A</c:v>
                </c:pt>
                <c:pt idx="460">
                  <c:v>#N/A</c:v>
                </c:pt>
                <c:pt idx="461">
                  <c:v>103</c:v>
                </c:pt>
                <c:pt idx="462">
                  <c:v>#N/A</c:v>
                </c:pt>
                <c:pt idx="463">
                  <c:v>#N/A</c:v>
                </c:pt>
                <c:pt idx="464">
                  <c:v>#N/A</c:v>
                </c:pt>
                <c:pt idx="465">
                  <c:v>#N/A</c:v>
                </c:pt>
                <c:pt idx="466">
                  <c:v>#N/A</c:v>
                </c:pt>
                <c:pt idx="467">
                  <c:v>#N/A</c:v>
                </c:pt>
                <c:pt idx="468">
                  <c:v>#N/A</c:v>
                </c:pt>
                <c:pt idx="469">
                  <c:v>#N/A</c:v>
                </c:pt>
                <c:pt idx="470">
                  <c:v>#N/A</c:v>
                </c:pt>
                <c:pt idx="471">
                  <c:v>#N/A</c:v>
                </c:pt>
                <c:pt idx="472">
                  <c:v>#N/A</c:v>
                </c:pt>
                <c:pt idx="473">
                  <c:v>#N/A</c:v>
                </c:pt>
                <c:pt idx="474">
                  <c:v>#N/A</c:v>
                </c:pt>
                <c:pt idx="475">
                  <c:v>#N/A</c:v>
                </c:pt>
                <c:pt idx="476">
                  <c:v>#N/A</c:v>
                </c:pt>
                <c:pt idx="477">
                  <c:v>#N/A</c:v>
                </c:pt>
                <c:pt idx="478">
                  <c:v>#N/A</c:v>
                </c:pt>
                <c:pt idx="479">
                  <c:v>#N/A</c:v>
                </c:pt>
                <c:pt idx="480">
                  <c:v>#N/A</c:v>
                </c:pt>
                <c:pt idx="481">
                  <c:v>#N/A</c:v>
                </c:pt>
                <c:pt idx="482">
                  <c:v>#N/A</c:v>
                </c:pt>
                <c:pt idx="483">
                  <c:v>102.7</c:v>
                </c:pt>
                <c:pt idx="484">
                  <c:v>#N/A</c:v>
                </c:pt>
                <c:pt idx="485">
                  <c:v>#N/A</c:v>
                </c:pt>
                <c:pt idx="486">
                  <c:v>#N/A</c:v>
                </c:pt>
                <c:pt idx="487">
                  <c:v>#N/A</c:v>
                </c:pt>
                <c:pt idx="488">
                  <c:v>#N/A</c:v>
                </c:pt>
                <c:pt idx="489">
                  <c:v>#N/A</c:v>
                </c:pt>
                <c:pt idx="490">
                  <c:v>#N/A</c:v>
                </c:pt>
                <c:pt idx="491">
                  <c:v>#N/A</c:v>
                </c:pt>
                <c:pt idx="492">
                  <c:v>#N/A</c:v>
                </c:pt>
                <c:pt idx="493">
                  <c:v>#N/A</c:v>
                </c:pt>
                <c:pt idx="494">
                  <c:v>#N/A</c:v>
                </c:pt>
                <c:pt idx="495">
                  <c:v>#N/A</c:v>
                </c:pt>
                <c:pt idx="496">
                  <c:v>#N/A</c:v>
                </c:pt>
                <c:pt idx="497">
                  <c:v>#N/A</c:v>
                </c:pt>
                <c:pt idx="498">
                  <c:v>#N/A</c:v>
                </c:pt>
                <c:pt idx="499">
                  <c:v>#N/A</c:v>
                </c:pt>
                <c:pt idx="500">
                  <c:v>#N/A</c:v>
                </c:pt>
                <c:pt idx="501">
                  <c:v>#N/A</c:v>
                </c:pt>
                <c:pt idx="502">
                  <c:v>#N/A</c:v>
                </c:pt>
                <c:pt idx="503">
                  <c:v>#N/A</c:v>
                </c:pt>
                <c:pt idx="504">
                  <c:v>103.2</c:v>
                </c:pt>
                <c:pt idx="505">
                  <c:v>#N/A</c:v>
                </c:pt>
                <c:pt idx="506">
                  <c:v>#N/A</c:v>
                </c:pt>
                <c:pt idx="507">
                  <c:v>#N/A</c:v>
                </c:pt>
                <c:pt idx="508">
                  <c:v>#N/A</c:v>
                </c:pt>
                <c:pt idx="509">
                  <c:v>#N/A</c:v>
                </c:pt>
                <c:pt idx="510">
                  <c:v>#N/A</c:v>
                </c:pt>
                <c:pt idx="511">
                  <c:v>#N/A</c:v>
                </c:pt>
                <c:pt idx="512">
                  <c:v>#N/A</c:v>
                </c:pt>
                <c:pt idx="513">
                  <c:v>#N/A</c:v>
                </c:pt>
                <c:pt idx="514">
                  <c:v>#N/A</c:v>
                </c:pt>
                <c:pt idx="515">
                  <c:v>#N/A</c:v>
                </c:pt>
                <c:pt idx="516">
                  <c:v>#N/A</c:v>
                </c:pt>
                <c:pt idx="517">
                  <c:v>#N/A</c:v>
                </c:pt>
                <c:pt idx="518">
                  <c:v>#N/A</c:v>
                </c:pt>
                <c:pt idx="519">
                  <c:v>#N/A</c:v>
                </c:pt>
                <c:pt idx="520">
                  <c:v>#N/A</c:v>
                </c:pt>
                <c:pt idx="521">
                  <c:v>#N/A</c:v>
                </c:pt>
                <c:pt idx="522">
                  <c:v>#N/A</c:v>
                </c:pt>
                <c:pt idx="523">
                  <c:v>#N/A</c:v>
                </c:pt>
                <c:pt idx="524">
                  <c:v>#N/A</c:v>
                </c:pt>
                <c:pt idx="525">
                  <c:v>#N/A</c:v>
                </c:pt>
                <c:pt idx="526">
                  <c:v>103.1</c:v>
                </c:pt>
                <c:pt idx="527">
                  <c:v>#N/A</c:v>
                </c:pt>
                <c:pt idx="528">
                  <c:v>#N/A</c:v>
                </c:pt>
                <c:pt idx="529">
                  <c:v>#N/A</c:v>
                </c:pt>
                <c:pt idx="530">
                  <c:v>#N/A</c:v>
                </c:pt>
                <c:pt idx="531">
                  <c:v>#N/A</c:v>
                </c:pt>
                <c:pt idx="532">
                  <c:v>#N/A</c:v>
                </c:pt>
                <c:pt idx="533">
                  <c:v>#N/A</c:v>
                </c:pt>
                <c:pt idx="534">
                  <c:v>#N/A</c:v>
                </c:pt>
                <c:pt idx="535">
                  <c:v>#N/A</c:v>
                </c:pt>
                <c:pt idx="536">
                  <c:v>#N/A</c:v>
                </c:pt>
                <c:pt idx="537">
                  <c:v>#N/A</c:v>
                </c:pt>
                <c:pt idx="538">
                  <c:v>#N/A</c:v>
                </c:pt>
                <c:pt idx="539">
                  <c:v>#N/A</c:v>
                </c:pt>
                <c:pt idx="540">
                  <c:v>#N/A</c:v>
                </c:pt>
                <c:pt idx="541">
                  <c:v>#N/A</c:v>
                </c:pt>
                <c:pt idx="542">
                  <c:v>#N/A</c:v>
                </c:pt>
                <c:pt idx="543">
                  <c:v>#N/A</c:v>
                </c:pt>
                <c:pt idx="544">
                  <c:v>#N/A</c:v>
                </c:pt>
                <c:pt idx="545">
                  <c:v>#N/A</c:v>
                </c:pt>
                <c:pt idx="546">
                  <c:v>#N/A</c:v>
                </c:pt>
                <c:pt idx="547">
                  <c:v>#N/A</c:v>
                </c:pt>
                <c:pt idx="548">
                  <c:v>101.3</c:v>
                </c:pt>
                <c:pt idx="549">
                  <c:v>#N/A</c:v>
                </c:pt>
                <c:pt idx="550">
                  <c:v>#N/A</c:v>
                </c:pt>
                <c:pt idx="551">
                  <c:v>#N/A</c:v>
                </c:pt>
                <c:pt idx="552">
                  <c:v>#N/A</c:v>
                </c:pt>
                <c:pt idx="553">
                  <c:v>#N/A</c:v>
                </c:pt>
                <c:pt idx="554">
                  <c:v>#N/A</c:v>
                </c:pt>
                <c:pt idx="555">
                  <c:v>#N/A</c:v>
                </c:pt>
                <c:pt idx="556">
                  <c:v>#N/A</c:v>
                </c:pt>
                <c:pt idx="557">
                  <c:v>#N/A</c:v>
                </c:pt>
                <c:pt idx="558">
                  <c:v>#N/A</c:v>
                </c:pt>
                <c:pt idx="559">
                  <c:v>#N/A</c:v>
                </c:pt>
                <c:pt idx="560">
                  <c:v>#N/A</c:v>
                </c:pt>
                <c:pt idx="561">
                  <c:v>#N/A</c:v>
                </c:pt>
                <c:pt idx="562">
                  <c:v>#N/A</c:v>
                </c:pt>
                <c:pt idx="563">
                  <c:v>#N/A</c:v>
                </c:pt>
                <c:pt idx="564">
                  <c:v>#N/A</c:v>
                </c:pt>
                <c:pt idx="565">
                  <c:v>#N/A</c:v>
                </c:pt>
                <c:pt idx="566">
                  <c:v>#N/A</c:v>
                </c:pt>
                <c:pt idx="567">
                  <c:v>#N/A</c:v>
                </c:pt>
                <c:pt idx="568">
                  <c:v>#N/A</c:v>
                </c:pt>
                <c:pt idx="569">
                  <c:v>#N/A</c:v>
                </c:pt>
                <c:pt idx="570">
                  <c:v>102</c:v>
                </c:pt>
                <c:pt idx="571">
                  <c:v>#N/A</c:v>
                </c:pt>
                <c:pt idx="572">
                  <c:v>#N/A</c:v>
                </c:pt>
                <c:pt idx="573">
                  <c:v>#N/A</c:v>
                </c:pt>
                <c:pt idx="574">
                  <c:v>#N/A</c:v>
                </c:pt>
                <c:pt idx="575">
                  <c:v>#N/A</c:v>
                </c:pt>
                <c:pt idx="576">
                  <c:v>#N/A</c:v>
                </c:pt>
                <c:pt idx="577">
                  <c:v>#N/A</c:v>
                </c:pt>
                <c:pt idx="578">
                  <c:v>#N/A</c:v>
                </c:pt>
                <c:pt idx="579">
                  <c:v>#N/A</c:v>
                </c:pt>
                <c:pt idx="580">
                  <c:v>#N/A</c:v>
                </c:pt>
                <c:pt idx="581">
                  <c:v>#N/A</c:v>
                </c:pt>
                <c:pt idx="582">
                  <c:v>#N/A</c:v>
                </c:pt>
                <c:pt idx="583">
                  <c:v>#N/A</c:v>
                </c:pt>
                <c:pt idx="584">
                  <c:v>#N/A</c:v>
                </c:pt>
                <c:pt idx="585">
                  <c:v>#N/A</c:v>
                </c:pt>
                <c:pt idx="586">
                  <c:v>#N/A</c:v>
                </c:pt>
                <c:pt idx="587">
                  <c:v>#N/A</c:v>
                </c:pt>
                <c:pt idx="588">
                  <c:v>#N/A</c:v>
                </c:pt>
                <c:pt idx="589">
                  <c:v>#N/A</c:v>
                </c:pt>
                <c:pt idx="590">
                  <c:v>103.7</c:v>
                </c:pt>
                <c:pt idx="591">
                  <c:v>#N/A</c:v>
                </c:pt>
                <c:pt idx="592">
                  <c:v>#N/A</c:v>
                </c:pt>
                <c:pt idx="593">
                  <c:v>#N/A</c:v>
                </c:pt>
                <c:pt idx="594">
                  <c:v>#N/A</c:v>
                </c:pt>
                <c:pt idx="595">
                  <c:v>#N/A</c:v>
                </c:pt>
                <c:pt idx="596">
                  <c:v>#N/A</c:v>
                </c:pt>
                <c:pt idx="597">
                  <c:v>#N/A</c:v>
                </c:pt>
                <c:pt idx="598">
                  <c:v>#N/A</c:v>
                </c:pt>
                <c:pt idx="599">
                  <c:v>#N/A</c:v>
                </c:pt>
                <c:pt idx="600">
                  <c:v>#N/A</c:v>
                </c:pt>
                <c:pt idx="601">
                  <c:v>#N/A</c:v>
                </c:pt>
                <c:pt idx="602">
                  <c:v>#N/A</c:v>
                </c:pt>
                <c:pt idx="603">
                  <c:v>#N/A</c:v>
                </c:pt>
                <c:pt idx="604">
                  <c:v>#N/A</c:v>
                </c:pt>
                <c:pt idx="605">
                  <c:v>#N/A</c:v>
                </c:pt>
                <c:pt idx="606">
                  <c:v>#N/A</c:v>
                </c:pt>
                <c:pt idx="607">
                  <c:v>#N/A</c:v>
                </c:pt>
                <c:pt idx="608">
                  <c:v>#N/A</c:v>
                </c:pt>
                <c:pt idx="609">
                  <c:v>#N/A</c:v>
                </c:pt>
                <c:pt idx="610">
                  <c:v>#N/A</c:v>
                </c:pt>
                <c:pt idx="611">
                  <c:v>#N/A</c:v>
                </c:pt>
                <c:pt idx="612">
                  <c:v>#N/A</c:v>
                </c:pt>
                <c:pt idx="613">
                  <c:v>103.2</c:v>
                </c:pt>
                <c:pt idx="614">
                  <c:v>#N/A</c:v>
                </c:pt>
                <c:pt idx="615">
                  <c:v>#N/A</c:v>
                </c:pt>
                <c:pt idx="616">
                  <c:v>#N/A</c:v>
                </c:pt>
                <c:pt idx="617">
                  <c:v>#N/A</c:v>
                </c:pt>
                <c:pt idx="618">
                  <c:v>#N/A</c:v>
                </c:pt>
                <c:pt idx="619">
                  <c:v>#N/A</c:v>
                </c:pt>
                <c:pt idx="620">
                  <c:v>#N/A</c:v>
                </c:pt>
                <c:pt idx="621">
                  <c:v>#N/A</c:v>
                </c:pt>
                <c:pt idx="622">
                  <c:v>#N/A</c:v>
                </c:pt>
                <c:pt idx="623">
                  <c:v>#N/A</c:v>
                </c:pt>
                <c:pt idx="624">
                  <c:v>#N/A</c:v>
                </c:pt>
                <c:pt idx="625">
                  <c:v>#N/A</c:v>
                </c:pt>
                <c:pt idx="626">
                  <c:v>#N/A</c:v>
                </c:pt>
                <c:pt idx="627">
                  <c:v>#N/A</c:v>
                </c:pt>
                <c:pt idx="628">
                  <c:v>#N/A</c:v>
                </c:pt>
                <c:pt idx="629">
                  <c:v>#N/A</c:v>
                </c:pt>
                <c:pt idx="630">
                  <c:v>#N/A</c:v>
                </c:pt>
                <c:pt idx="631">
                  <c:v>#N/A</c:v>
                </c:pt>
                <c:pt idx="632">
                  <c:v>#N/A</c:v>
                </c:pt>
                <c:pt idx="633">
                  <c:v>105.2</c:v>
                </c:pt>
                <c:pt idx="634">
                  <c:v>#N/A</c:v>
                </c:pt>
                <c:pt idx="635">
                  <c:v>#N/A</c:v>
                </c:pt>
                <c:pt idx="636">
                  <c:v>#N/A</c:v>
                </c:pt>
                <c:pt idx="637">
                  <c:v>#N/A</c:v>
                </c:pt>
                <c:pt idx="638">
                  <c:v>#N/A</c:v>
                </c:pt>
                <c:pt idx="639">
                  <c:v>#N/A</c:v>
                </c:pt>
                <c:pt idx="640">
                  <c:v>#N/A</c:v>
                </c:pt>
                <c:pt idx="641">
                  <c:v>#N/A</c:v>
                </c:pt>
                <c:pt idx="642">
                  <c:v>#N/A</c:v>
                </c:pt>
                <c:pt idx="643">
                  <c:v>#N/A</c:v>
                </c:pt>
                <c:pt idx="644">
                  <c:v>#N/A</c:v>
                </c:pt>
                <c:pt idx="645">
                  <c:v>#N/A</c:v>
                </c:pt>
                <c:pt idx="646">
                  <c:v>#N/A</c:v>
                </c:pt>
                <c:pt idx="647">
                  <c:v>#N/A</c:v>
                </c:pt>
                <c:pt idx="648">
                  <c:v>#N/A</c:v>
                </c:pt>
                <c:pt idx="649">
                  <c:v>#N/A</c:v>
                </c:pt>
                <c:pt idx="650">
                  <c:v>#N/A</c:v>
                </c:pt>
                <c:pt idx="651">
                  <c:v>#N/A</c:v>
                </c:pt>
                <c:pt idx="652">
                  <c:v>#N/A</c:v>
                </c:pt>
                <c:pt idx="653">
                  <c:v>#N/A</c:v>
                </c:pt>
                <c:pt idx="654">
                  <c:v>#N/A</c:v>
                </c:pt>
                <c:pt idx="655">
                  <c:v>#N/A</c:v>
                </c:pt>
                <c:pt idx="656">
                  <c:v>105.3</c:v>
                </c:pt>
                <c:pt idx="657">
                  <c:v>#N/A</c:v>
                </c:pt>
                <c:pt idx="658">
                  <c:v>#N/A</c:v>
                </c:pt>
                <c:pt idx="659">
                  <c:v>#N/A</c:v>
                </c:pt>
                <c:pt idx="660">
                  <c:v>#N/A</c:v>
                </c:pt>
                <c:pt idx="661">
                  <c:v>#N/A</c:v>
                </c:pt>
                <c:pt idx="662">
                  <c:v>#N/A</c:v>
                </c:pt>
                <c:pt idx="663">
                  <c:v>#N/A</c:v>
                </c:pt>
                <c:pt idx="664">
                  <c:v>#N/A</c:v>
                </c:pt>
                <c:pt idx="665">
                  <c:v>#N/A</c:v>
                </c:pt>
                <c:pt idx="666">
                  <c:v>#N/A</c:v>
                </c:pt>
                <c:pt idx="667">
                  <c:v>#N/A</c:v>
                </c:pt>
                <c:pt idx="668">
                  <c:v>#N/A</c:v>
                </c:pt>
                <c:pt idx="669">
                  <c:v>#N/A</c:v>
                </c:pt>
                <c:pt idx="670">
                  <c:v>#N/A</c:v>
                </c:pt>
                <c:pt idx="671">
                  <c:v>#N/A</c:v>
                </c:pt>
                <c:pt idx="672">
                  <c:v>#N/A</c:v>
                </c:pt>
                <c:pt idx="673">
                  <c:v>#N/A</c:v>
                </c:pt>
                <c:pt idx="674">
                  <c:v>#N/A</c:v>
                </c:pt>
                <c:pt idx="675">
                  <c:v>#N/A</c:v>
                </c:pt>
                <c:pt idx="676">
                  <c:v>#N/A</c:v>
                </c:pt>
                <c:pt idx="677">
                  <c:v>#N/A</c:v>
                </c:pt>
                <c:pt idx="678">
                  <c:v>105.2</c:v>
                </c:pt>
                <c:pt idx="679">
                  <c:v>#N/A</c:v>
                </c:pt>
                <c:pt idx="680">
                  <c:v>#N/A</c:v>
                </c:pt>
                <c:pt idx="681">
                  <c:v>#N/A</c:v>
                </c:pt>
                <c:pt idx="682">
                  <c:v>#N/A</c:v>
                </c:pt>
                <c:pt idx="683">
                  <c:v>#N/A</c:v>
                </c:pt>
                <c:pt idx="684">
                  <c:v>#N/A</c:v>
                </c:pt>
                <c:pt idx="685">
                  <c:v>#N/A</c:v>
                </c:pt>
                <c:pt idx="686">
                  <c:v>#N/A</c:v>
                </c:pt>
                <c:pt idx="687">
                  <c:v>#N/A</c:v>
                </c:pt>
                <c:pt idx="688">
                  <c:v>#N/A</c:v>
                </c:pt>
                <c:pt idx="689">
                  <c:v>#N/A</c:v>
                </c:pt>
                <c:pt idx="690">
                  <c:v>#N/A</c:v>
                </c:pt>
                <c:pt idx="691">
                  <c:v>#N/A</c:v>
                </c:pt>
                <c:pt idx="692">
                  <c:v>#N/A</c:v>
                </c:pt>
                <c:pt idx="693">
                  <c:v>#N/A</c:v>
                </c:pt>
                <c:pt idx="694">
                  <c:v>#N/A</c:v>
                </c:pt>
                <c:pt idx="695">
                  <c:v>#N/A</c:v>
                </c:pt>
                <c:pt idx="696">
                  <c:v>#N/A</c:v>
                </c:pt>
                <c:pt idx="697">
                  <c:v>#N/A</c:v>
                </c:pt>
                <c:pt idx="698">
                  <c:v>#N/A</c:v>
                </c:pt>
                <c:pt idx="699">
                  <c:v>105.6</c:v>
                </c:pt>
                <c:pt idx="700">
                  <c:v>#N/A</c:v>
                </c:pt>
                <c:pt idx="701">
                  <c:v>#N/A</c:v>
                </c:pt>
                <c:pt idx="702">
                  <c:v>#N/A</c:v>
                </c:pt>
                <c:pt idx="703">
                  <c:v>#N/A</c:v>
                </c:pt>
                <c:pt idx="704">
                  <c:v>#N/A</c:v>
                </c:pt>
                <c:pt idx="705">
                  <c:v>#N/A</c:v>
                </c:pt>
                <c:pt idx="706">
                  <c:v>#N/A</c:v>
                </c:pt>
                <c:pt idx="707">
                  <c:v>#N/A</c:v>
                </c:pt>
                <c:pt idx="708">
                  <c:v>#N/A</c:v>
                </c:pt>
                <c:pt idx="709">
                  <c:v>#N/A</c:v>
                </c:pt>
                <c:pt idx="710">
                  <c:v>#N/A</c:v>
                </c:pt>
                <c:pt idx="711">
                  <c:v>#N/A</c:v>
                </c:pt>
                <c:pt idx="712">
                  <c:v>#N/A</c:v>
                </c:pt>
                <c:pt idx="713">
                  <c:v>#N/A</c:v>
                </c:pt>
                <c:pt idx="714">
                  <c:v>#N/A</c:v>
                </c:pt>
                <c:pt idx="715">
                  <c:v>#N/A</c:v>
                </c:pt>
                <c:pt idx="716">
                  <c:v>#N/A</c:v>
                </c:pt>
                <c:pt idx="717">
                  <c:v>#N/A</c:v>
                </c:pt>
                <c:pt idx="718">
                  <c:v>#N/A</c:v>
                </c:pt>
                <c:pt idx="719">
                  <c:v>#N/A</c:v>
                </c:pt>
                <c:pt idx="720">
                  <c:v>#N/A</c:v>
                </c:pt>
                <c:pt idx="721">
                  <c:v>#N/A</c:v>
                </c:pt>
                <c:pt idx="722">
                  <c:v>107.6</c:v>
                </c:pt>
                <c:pt idx="723">
                  <c:v>#N/A</c:v>
                </c:pt>
                <c:pt idx="724">
                  <c:v>#N/A</c:v>
                </c:pt>
                <c:pt idx="725">
                  <c:v>#N/A</c:v>
                </c:pt>
                <c:pt idx="726">
                  <c:v>#N/A</c:v>
                </c:pt>
                <c:pt idx="727">
                  <c:v>#N/A</c:v>
                </c:pt>
                <c:pt idx="728">
                  <c:v>#N/A</c:v>
                </c:pt>
                <c:pt idx="729">
                  <c:v>#N/A</c:v>
                </c:pt>
                <c:pt idx="730">
                  <c:v>#N/A</c:v>
                </c:pt>
                <c:pt idx="731">
                  <c:v>#N/A</c:v>
                </c:pt>
                <c:pt idx="732">
                  <c:v>#N/A</c:v>
                </c:pt>
                <c:pt idx="733">
                  <c:v>#N/A</c:v>
                </c:pt>
                <c:pt idx="734">
                  <c:v>#N/A</c:v>
                </c:pt>
                <c:pt idx="735">
                  <c:v>#N/A</c:v>
                </c:pt>
                <c:pt idx="736">
                  <c:v>#N/A</c:v>
                </c:pt>
                <c:pt idx="737">
                  <c:v>#N/A</c:v>
                </c:pt>
                <c:pt idx="738">
                  <c:v>#N/A</c:v>
                </c:pt>
                <c:pt idx="739">
                  <c:v>#N/A</c:v>
                </c:pt>
                <c:pt idx="740">
                  <c:v>#N/A</c:v>
                </c:pt>
                <c:pt idx="741">
                  <c:v>#N/A</c:v>
                </c:pt>
                <c:pt idx="742">
                  <c:v>#N/A</c:v>
                </c:pt>
                <c:pt idx="743">
                  <c:v>106.8</c:v>
                </c:pt>
                <c:pt idx="744">
                  <c:v>#N/A</c:v>
                </c:pt>
                <c:pt idx="745">
                  <c:v>#N/A</c:v>
                </c:pt>
                <c:pt idx="746">
                  <c:v>#N/A</c:v>
                </c:pt>
                <c:pt idx="747">
                  <c:v>#N/A</c:v>
                </c:pt>
                <c:pt idx="748">
                  <c:v>#N/A</c:v>
                </c:pt>
                <c:pt idx="749">
                  <c:v>#N/A</c:v>
                </c:pt>
                <c:pt idx="750">
                  <c:v>#N/A</c:v>
                </c:pt>
                <c:pt idx="751">
                  <c:v>#N/A</c:v>
                </c:pt>
                <c:pt idx="752">
                  <c:v>#N/A</c:v>
                </c:pt>
                <c:pt idx="753">
                  <c:v>#N/A</c:v>
                </c:pt>
                <c:pt idx="754">
                  <c:v>#N/A</c:v>
                </c:pt>
                <c:pt idx="755">
                  <c:v>#N/A</c:v>
                </c:pt>
                <c:pt idx="756">
                  <c:v>#N/A</c:v>
                </c:pt>
                <c:pt idx="757">
                  <c:v>#N/A</c:v>
                </c:pt>
                <c:pt idx="758">
                  <c:v>#N/A</c:v>
                </c:pt>
                <c:pt idx="759">
                  <c:v>#N/A</c:v>
                </c:pt>
                <c:pt idx="760">
                  <c:v>#N/A</c:v>
                </c:pt>
                <c:pt idx="761">
                  <c:v>#N/A</c:v>
                </c:pt>
                <c:pt idx="762">
                  <c:v>#N/A</c:v>
                </c:pt>
                <c:pt idx="763">
                  <c:v>#N/A</c:v>
                </c:pt>
                <c:pt idx="764">
                  <c:v>#N/A</c:v>
                </c:pt>
                <c:pt idx="765">
                  <c:v>105.5</c:v>
                </c:pt>
                <c:pt idx="766">
                  <c:v>#N/A</c:v>
                </c:pt>
                <c:pt idx="767">
                  <c:v>#N/A</c:v>
                </c:pt>
                <c:pt idx="768">
                  <c:v>#N/A</c:v>
                </c:pt>
                <c:pt idx="769">
                  <c:v>#N/A</c:v>
                </c:pt>
                <c:pt idx="770">
                  <c:v>#N/A</c:v>
                </c:pt>
                <c:pt idx="771">
                  <c:v>#N/A</c:v>
                </c:pt>
                <c:pt idx="772">
                  <c:v>#N/A</c:v>
                </c:pt>
                <c:pt idx="773">
                  <c:v>#N/A</c:v>
                </c:pt>
                <c:pt idx="774">
                  <c:v>#N/A</c:v>
                </c:pt>
                <c:pt idx="775">
                  <c:v>#N/A</c:v>
                </c:pt>
                <c:pt idx="776">
                  <c:v>#N/A</c:v>
                </c:pt>
                <c:pt idx="777">
                  <c:v>#N/A</c:v>
                </c:pt>
                <c:pt idx="778">
                  <c:v>#N/A</c:v>
                </c:pt>
                <c:pt idx="779">
                  <c:v>#N/A</c:v>
                </c:pt>
                <c:pt idx="780">
                  <c:v>#N/A</c:v>
                </c:pt>
                <c:pt idx="781">
                  <c:v>#N/A</c:v>
                </c:pt>
                <c:pt idx="782">
                  <c:v>#N/A</c:v>
                </c:pt>
                <c:pt idx="783">
                  <c:v>#N/A</c:v>
                </c:pt>
                <c:pt idx="784">
                  <c:v>#N/A</c:v>
                </c:pt>
                <c:pt idx="785">
                  <c:v>#N/A</c:v>
                </c:pt>
                <c:pt idx="786">
                  <c:v>#N/A</c:v>
                </c:pt>
                <c:pt idx="787">
                  <c:v>108.7</c:v>
                </c:pt>
                <c:pt idx="788">
                  <c:v>#N/A</c:v>
                </c:pt>
                <c:pt idx="789">
                  <c:v>#N/A</c:v>
                </c:pt>
                <c:pt idx="790">
                  <c:v>#N/A</c:v>
                </c:pt>
                <c:pt idx="791">
                  <c:v>#N/A</c:v>
                </c:pt>
                <c:pt idx="792">
                  <c:v>#N/A</c:v>
                </c:pt>
                <c:pt idx="793">
                  <c:v>#N/A</c:v>
                </c:pt>
                <c:pt idx="794">
                  <c:v>#N/A</c:v>
                </c:pt>
                <c:pt idx="795">
                  <c:v>#N/A</c:v>
                </c:pt>
                <c:pt idx="796">
                  <c:v>#N/A</c:v>
                </c:pt>
                <c:pt idx="797">
                  <c:v>#N/A</c:v>
                </c:pt>
                <c:pt idx="798">
                  <c:v>#N/A</c:v>
                </c:pt>
                <c:pt idx="799">
                  <c:v>#N/A</c:v>
                </c:pt>
                <c:pt idx="800">
                  <c:v>#N/A</c:v>
                </c:pt>
                <c:pt idx="801">
                  <c:v>#N/A</c:v>
                </c:pt>
                <c:pt idx="802">
                  <c:v>#N/A</c:v>
                </c:pt>
                <c:pt idx="803">
                  <c:v>#N/A</c:v>
                </c:pt>
                <c:pt idx="804">
                  <c:v>#N/A</c:v>
                </c:pt>
                <c:pt idx="805">
                  <c:v>#N/A</c:v>
                </c:pt>
                <c:pt idx="806">
                  <c:v>#N/A</c:v>
                </c:pt>
                <c:pt idx="807">
                  <c:v>#N/A</c:v>
                </c:pt>
                <c:pt idx="808">
                  <c:v>108.1</c:v>
                </c:pt>
                <c:pt idx="809">
                  <c:v>#N/A</c:v>
                </c:pt>
                <c:pt idx="810">
                  <c:v>#N/A</c:v>
                </c:pt>
                <c:pt idx="811">
                  <c:v>#N/A</c:v>
                </c:pt>
                <c:pt idx="812">
                  <c:v>#N/A</c:v>
                </c:pt>
                <c:pt idx="813">
                  <c:v>#N/A</c:v>
                </c:pt>
                <c:pt idx="814">
                  <c:v>#N/A</c:v>
                </c:pt>
                <c:pt idx="815">
                  <c:v>#N/A</c:v>
                </c:pt>
                <c:pt idx="816">
                  <c:v>#N/A</c:v>
                </c:pt>
                <c:pt idx="817">
                  <c:v>#N/A</c:v>
                </c:pt>
                <c:pt idx="818">
                  <c:v>#N/A</c:v>
                </c:pt>
                <c:pt idx="819">
                  <c:v>#N/A</c:v>
                </c:pt>
                <c:pt idx="820">
                  <c:v>#N/A</c:v>
                </c:pt>
                <c:pt idx="821">
                  <c:v>#N/A</c:v>
                </c:pt>
                <c:pt idx="822">
                  <c:v>#N/A</c:v>
                </c:pt>
                <c:pt idx="823">
                  <c:v>#N/A</c:v>
                </c:pt>
                <c:pt idx="824">
                  <c:v>#N/A</c:v>
                </c:pt>
                <c:pt idx="825">
                  <c:v>#N/A</c:v>
                </c:pt>
                <c:pt idx="826">
                  <c:v>#N/A</c:v>
                </c:pt>
                <c:pt idx="827">
                  <c:v>#N/A</c:v>
                </c:pt>
                <c:pt idx="828">
                  <c:v>#N/A</c:v>
                </c:pt>
                <c:pt idx="829">
                  <c:v>#N/A</c:v>
                </c:pt>
                <c:pt idx="830">
                  <c:v>#N/A</c:v>
                </c:pt>
                <c:pt idx="831">
                  <c:v>107.4</c:v>
                </c:pt>
                <c:pt idx="832">
                  <c:v>#N/A</c:v>
                </c:pt>
                <c:pt idx="833">
                  <c:v>#N/A</c:v>
                </c:pt>
                <c:pt idx="834">
                  <c:v>#N/A</c:v>
                </c:pt>
                <c:pt idx="835">
                  <c:v>#N/A</c:v>
                </c:pt>
                <c:pt idx="836">
                  <c:v>#N/A</c:v>
                </c:pt>
                <c:pt idx="837">
                  <c:v>#N/A</c:v>
                </c:pt>
                <c:pt idx="838">
                  <c:v>#N/A</c:v>
                </c:pt>
                <c:pt idx="839">
                  <c:v>#N/A</c:v>
                </c:pt>
                <c:pt idx="840">
                  <c:v>#N/A</c:v>
                </c:pt>
                <c:pt idx="841">
                  <c:v>#N/A</c:v>
                </c:pt>
                <c:pt idx="842">
                  <c:v>#N/A</c:v>
                </c:pt>
                <c:pt idx="843">
                  <c:v>#N/A</c:v>
                </c:pt>
                <c:pt idx="844">
                  <c:v>#N/A</c:v>
                </c:pt>
                <c:pt idx="845">
                  <c:v>#N/A</c:v>
                </c:pt>
                <c:pt idx="846">
                  <c:v>#N/A</c:v>
                </c:pt>
                <c:pt idx="847">
                  <c:v>#N/A</c:v>
                </c:pt>
                <c:pt idx="848">
                  <c:v>#N/A</c:v>
                </c:pt>
                <c:pt idx="849">
                  <c:v>#N/A</c:v>
                </c:pt>
                <c:pt idx="850">
                  <c:v>#N/A</c:v>
                </c:pt>
                <c:pt idx="851">
                  <c:v>105.1</c:v>
                </c:pt>
                <c:pt idx="852">
                  <c:v>#N/A</c:v>
                </c:pt>
                <c:pt idx="853">
                  <c:v>#N/A</c:v>
                </c:pt>
                <c:pt idx="854">
                  <c:v>#N/A</c:v>
                </c:pt>
                <c:pt idx="855">
                  <c:v>#N/A</c:v>
                </c:pt>
                <c:pt idx="856">
                  <c:v>#N/A</c:v>
                </c:pt>
                <c:pt idx="857">
                  <c:v>#N/A</c:v>
                </c:pt>
                <c:pt idx="858">
                  <c:v>#N/A</c:v>
                </c:pt>
                <c:pt idx="859">
                  <c:v>#N/A</c:v>
                </c:pt>
                <c:pt idx="860">
                  <c:v>#N/A</c:v>
                </c:pt>
                <c:pt idx="861">
                  <c:v>#N/A</c:v>
                </c:pt>
                <c:pt idx="862">
                  <c:v>#N/A</c:v>
                </c:pt>
                <c:pt idx="863">
                  <c:v>#N/A</c:v>
                </c:pt>
                <c:pt idx="864">
                  <c:v>#N/A</c:v>
                </c:pt>
                <c:pt idx="865">
                  <c:v>#N/A</c:v>
                </c:pt>
                <c:pt idx="866">
                  <c:v>#N/A</c:v>
                </c:pt>
                <c:pt idx="867">
                  <c:v>#N/A</c:v>
                </c:pt>
                <c:pt idx="868">
                  <c:v>#N/A</c:v>
                </c:pt>
                <c:pt idx="869">
                  <c:v>#N/A</c:v>
                </c:pt>
                <c:pt idx="870">
                  <c:v>#N/A</c:v>
                </c:pt>
                <c:pt idx="871">
                  <c:v>#N/A</c:v>
                </c:pt>
                <c:pt idx="872">
                  <c:v>#N/A</c:v>
                </c:pt>
                <c:pt idx="873">
                  <c:v>106.6</c:v>
                </c:pt>
                <c:pt idx="874">
                  <c:v>#N/A</c:v>
                </c:pt>
                <c:pt idx="875">
                  <c:v>#N/A</c:v>
                </c:pt>
                <c:pt idx="876">
                  <c:v>#N/A</c:v>
                </c:pt>
                <c:pt idx="877">
                  <c:v>#N/A</c:v>
                </c:pt>
                <c:pt idx="878">
                  <c:v>#N/A</c:v>
                </c:pt>
                <c:pt idx="879">
                  <c:v>#N/A</c:v>
                </c:pt>
                <c:pt idx="880">
                  <c:v>#N/A</c:v>
                </c:pt>
                <c:pt idx="881">
                  <c:v>#N/A</c:v>
                </c:pt>
                <c:pt idx="882">
                  <c:v>#N/A</c:v>
                </c:pt>
                <c:pt idx="883">
                  <c:v>#N/A</c:v>
                </c:pt>
                <c:pt idx="884">
                  <c:v>#N/A</c:v>
                </c:pt>
                <c:pt idx="885">
                  <c:v>#N/A</c:v>
                </c:pt>
                <c:pt idx="886">
                  <c:v>#N/A</c:v>
                </c:pt>
                <c:pt idx="887">
                  <c:v>#N/A</c:v>
                </c:pt>
                <c:pt idx="888">
                  <c:v>#N/A</c:v>
                </c:pt>
                <c:pt idx="889">
                  <c:v>#N/A</c:v>
                </c:pt>
                <c:pt idx="890">
                  <c:v>#N/A</c:v>
                </c:pt>
                <c:pt idx="891">
                  <c:v>#N/A</c:v>
                </c:pt>
                <c:pt idx="892">
                  <c:v>#N/A</c:v>
                </c:pt>
                <c:pt idx="893">
                  <c:v>#N/A</c:v>
                </c:pt>
                <c:pt idx="894">
                  <c:v>106.4</c:v>
                </c:pt>
                <c:pt idx="895">
                  <c:v>#N/A</c:v>
                </c:pt>
                <c:pt idx="896">
                  <c:v>#N/A</c:v>
                </c:pt>
                <c:pt idx="897">
                  <c:v>#N/A</c:v>
                </c:pt>
                <c:pt idx="898">
                  <c:v>#N/A</c:v>
                </c:pt>
                <c:pt idx="899">
                  <c:v>#N/A</c:v>
                </c:pt>
                <c:pt idx="900">
                  <c:v>#N/A</c:v>
                </c:pt>
                <c:pt idx="901">
                  <c:v>#N/A</c:v>
                </c:pt>
                <c:pt idx="902">
                  <c:v>#N/A</c:v>
                </c:pt>
                <c:pt idx="903">
                  <c:v>#N/A</c:v>
                </c:pt>
                <c:pt idx="904">
                  <c:v>#N/A</c:v>
                </c:pt>
                <c:pt idx="905">
                  <c:v>#N/A</c:v>
                </c:pt>
                <c:pt idx="906">
                  <c:v>#N/A</c:v>
                </c:pt>
                <c:pt idx="907">
                  <c:v>#N/A</c:v>
                </c:pt>
                <c:pt idx="908">
                  <c:v>#N/A</c:v>
                </c:pt>
                <c:pt idx="909">
                  <c:v>#N/A</c:v>
                </c:pt>
                <c:pt idx="910">
                  <c:v>#N/A</c:v>
                </c:pt>
                <c:pt idx="911">
                  <c:v>#N/A</c:v>
                </c:pt>
                <c:pt idx="912">
                  <c:v>#N/A</c:v>
                </c:pt>
                <c:pt idx="913">
                  <c:v>#N/A</c:v>
                </c:pt>
                <c:pt idx="914">
                  <c:v>#N/A</c:v>
                </c:pt>
                <c:pt idx="915">
                  <c:v>#N/A</c:v>
                </c:pt>
                <c:pt idx="916">
                  <c:v>#N/A</c:v>
                </c:pt>
                <c:pt idx="917">
                  <c:v>108.2</c:v>
                </c:pt>
                <c:pt idx="918">
                  <c:v>#N/A</c:v>
                </c:pt>
                <c:pt idx="919">
                  <c:v>#N/A</c:v>
                </c:pt>
                <c:pt idx="920">
                  <c:v>#N/A</c:v>
                </c:pt>
                <c:pt idx="921">
                  <c:v>#N/A</c:v>
                </c:pt>
                <c:pt idx="922">
                  <c:v>#N/A</c:v>
                </c:pt>
                <c:pt idx="923">
                  <c:v>#N/A</c:v>
                </c:pt>
                <c:pt idx="924">
                  <c:v>#N/A</c:v>
                </c:pt>
                <c:pt idx="925">
                  <c:v>#N/A</c:v>
                </c:pt>
                <c:pt idx="926">
                  <c:v>#N/A</c:v>
                </c:pt>
                <c:pt idx="927">
                  <c:v>#N/A</c:v>
                </c:pt>
                <c:pt idx="928">
                  <c:v>#N/A</c:v>
                </c:pt>
                <c:pt idx="929">
                  <c:v>#N/A</c:v>
                </c:pt>
                <c:pt idx="930">
                  <c:v>#N/A</c:v>
                </c:pt>
                <c:pt idx="931">
                  <c:v>#N/A</c:v>
                </c:pt>
                <c:pt idx="932">
                  <c:v>#N/A</c:v>
                </c:pt>
                <c:pt idx="933">
                  <c:v>#N/A</c:v>
                </c:pt>
                <c:pt idx="934">
                  <c:v>#N/A</c:v>
                </c:pt>
                <c:pt idx="935">
                  <c:v>#N/A</c:v>
                </c:pt>
                <c:pt idx="936">
                  <c:v>#N/A</c:v>
                </c:pt>
                <c:pt idx="937">
                  <c:v>#N/A</c:v>
                </c:pt>
                <c:pt idx="938">
                  <c:v>107.7</c:v>
                </c:pt>
                <c:pt idx="939">
                  <c:v>#N/A</c:v>
                </c:pt>
                <c:pt idx="940">
                  <c:v>#N/A</c:v>
                </c:pt>
                <c:pt idx="941">
                  <c:v>#N/A</c:v>
                </c:pt>
                <c:pt idx="942">
                  <c:v>#N/A</c:v>
                </c:pt>
                <c:pt idx="943">
                  <c:v>#N/A</c:v>
                </c:pt>
                <c:pt idx="944">
                  <c:v>#N/A</c:v>
                </c:pt>
                <c:pt idx="945">
                  <c:v>#N/A</c:v>
                </c:pt>
                <c:pt idx="946">
                  <c:v>#N/A</c:v>
                </c:pt>
                <c:pt idx="947">
                  <c:v>#N/A</c:v>
                </c:pt>
                <c:pt idx="948">
                  <c:v>#N/A</c:v>
                </c:pt>
                <c:pt idx="949">
                  <c:v>#N/A</c:v>
                </c:pt>
                <c:pt idx="950">
                  <c:v>#N/A</c:v>
                </c:pt>
                <c:pt idx="951">
                  <c:v>#N/A</c:v>
                </c:pt>
                <c:pt idx="952">
                  <c:v>#N/A</c:v>
                </c:pt>
                <c:pt idx="953">
                  <c:v>#N/A</c:v>
                </c:pt>
                <c:pt idx="954">
                  <c:v>#N/A</c:v>
                </c:pt>
                <c:pt idx="955">
                  <c:v>#N/A</c:v>
                </c:pt>
                <c:pt idx="956">
                  <c:v>#N/A</c:v>
                </c:pt>
                <c:pt idx="957">
                  <c:v>#N/A</c:v>
                </c:pt>
                <c:pt idx="958">
                  <c:v>#N/A</c:v>
                </c:pt>
                <c:pt idx="959">
                  <c:v>#N/A</c:v>
                </c:pt>
                <c:pt idx="960">
                  <c:v>106.2</c:v>
                </c:pt>
                <c:pt idx="961">
                  <c:v>#N/A</c:v>
                </c:pt>
                <c:pt idx="962">
                  <c:v>#N/A</c:v>
                </c:pt>
                <c:pt idx="963">
                  <c:v>#N/A</c:v>
                </c:pt>
                <c:pt idx="964">
                  <c:v>#N/A</c:v>
                </c:pt>
                <c:pt idx="965">
                  <c:v>#N/A</c:v>
                </c:pt>
                <c:pt idx="966">
                  <c:v>#N/A</c:v>
                </c:pt>
                <c:pt idx="967">
                  <c:v>#N/A</c:v>
                </c:pt>
                <c:pt idx="968">
                  <c:v>#N/A</c:v>
                </c:pt>
                <c:pt idx="969">
                  <c:v>#N/A</c:v>
                </c:pt>
                <c:pt idx="970">
                  <c:v>#N/A</c:v>
                </c:pt>
                <c:pt idx="971">
                  <c:v>#N/A</c:v>
                </c:pt>
                <c:pt idx="972">
                  <c:v>#N/A</c:v>
                </c:pt>
                <c:pt idx="973">
                  <c:v>#N/A</c:v>
                </c:pt>
                <c:pt idx="974">
                  <c:v>#N/A</c:v>
                </c:pt>
                <c:pt idx="975">
                  <c:v>#N/A</c:v>
                </c:pt>
                <c:pt idx="976">
                  <c:v>#N/A</c:v>
                </c:pt>
                <c:pt idx="977">
                  <c:v>#N/A</c:v>
                </c:pt>
                <c:pt idx="978">
                  <c:v>#N/A</c:v>
                </c:pt>
                <c:pt idx="979">
                  <c:v>#N/A</c:v>
                </c:pt>
                <c:pt idx="980">
                  <c:v>#N/A</c:v>
                </c:pt>
                <c:pt idx="981">
                  <c:v>#N/A</c:v>
                </c:pt>
                <c:pt idx="982">
                  <c:v>#N/A</c:v>
                </c:pt>
                <c:pt idx="983">
                  <c:v>107.4</c:v>
                </c:pt>
                <c:pt idx="984">
                  <c:v>#N/A</c:v>
                </c:pt>
                <c:pt idx="985">
                  <c:v>#N/A</c:v>
                </c:pt>
                <c:pt idx="986">
                  <c:v>#N/A</c:v>
                </c:pt>
                <c:pt idx="987">
                  <c:v>#N/A</c:v>
                </c:pt>
                <c:pt idx="988">
                  <c:v>#N/A</c:v>
                </c:pt>
                <c:pt idx="989">
                  <c:v>#N/A</c:v>
                </c:pt>
                <c:pt idx="990">
                  <c:v>#N/A</c:v>
                </c:pt>
                <c:pt idx="991">
                  <c:v>#N/A</c:v>
                </c:pt>
                <c:pt idx="992">
                  <c:v>#N/A</c:v>
                </c:pt>
                <c:pt idx="993">
                  <c:v>#N/A</c:v>
                </c:pt>
                <c:pt idx="994">
                  <c:v>#N/A</c:v>
                </c:pt>
                <c:pt idx="995">
                  <c:v>#N/A</c:v>
                </c:pt>
                <c:pt idx="996">
                  <c:v>#N/A</c:v>
                </c:pt>
                <c:pt idx="997">
                  <c:v>#N/A</c:v>
                </c:pt>
                <c:pt idx="998">
                  <c:v>#N/A</c:v>
                </c:pt>
                <c:pt idx="999">
                  <c:v>#N/A</c:v>
                </c:pt>
                <c:pt idx="1000">
                  <c:v>#N/A</c:v>
                </c:pt>
                <c:pt idx="1001">
                  <c:v>#N/A</c:v>
                </c:pt>
                <c:pt idx="1002">
                  <c:v>#N/A</c:v>
                </c:pt>
                <c:pt idx="1003">
                  <c:v>106.7</c:v>
                </c:pt>
                <c:pt idx="1004">
                  <c:v>#N/A</c:v>
                </c:pt>
                <c:pt idx="1005">
                  <c:v>#N/A</c:v>
                </c:pt>
                <c:pt idx="1006">
                  <c:v>#N/A</c:v>
                </c:pt>
                <c:pt idx="1007">
                  <c:v>#N/A</c:v>
                </c:pt>
                <c:pt idx="1008">
                  <c:v>#N/A</c:v>
                </c:pt>
                <c:pt idx="1009">
                  <c:v>#N/A</c:v>
                </c:pt>
                <c:pt idx="1010">
                  <c:v>#N/A</c:v>
                </c:pt>
                <c:pt idx="1011">
                  <c:v>#N/A</c:v>
                </c:pt>
                <c:pt idx="1012">
                  <c:v>#N/A</c:v>
                </c:pt>
                <c:pt idx="1013">
                  <c:v>#N/A</c:v>
                </c:pt>
                <c:pt idx="1014">
                  <c:v>#N/A</c:v>
                </c:pt>
                <c:pt idx="1015">
                  <c:v>#N/A</c:v>
                </c:pt>
                <c:pt idx="1016">
                  <c:v>#N/A</c:v>
                </c:pt>
                <c:pt idx="1017">
                  <c:v>#N/A</c:v>
                </c:pt>
                <c:pt idx="1018">
                  <c:v>#N/A</c:v>
                </c:pt>
                <c:pt idx="1019">
                  <c:v>#N/A</c:v>
                </c:pt>
                <c:pt idx="1020">
                  <c:v>#N/A</c:v>
                </c:pt>
                <c:pt idx="1021">
                  <c:v>#N/A</c:v>
                </c:pt>
                <c:pt idx="1022">
                  <c:v>#N/A</c:v>
                </c:pt>
                <c:pt idx="1023">
                  <c:v>#N/A</c:v>
                </c:pt>
                <c:pt idx="1024">
                  <c:v>#N/A</c:v>
                </c:pt>
                <c:pt idx="1025">
                  <c:v>#N/A</c:v>
                </c:pt>
                <c:pt idx="1026">
                  <c:v>106.2</c:v>
                </c:pt>
                <c:pt idx="1027">
                  <c:v>#N/A</c:v>
                </c:pt>
                <c:pt idx="1028">
                  <c:v>#N/A</c:v>
                </c:pt>
                <c:pt idx="1029">
                  <c:v>#N/A</c:v>
                </c:pt>
                <c:pt idx="1030">
                  <c:v>#N/A</c:v>
                </c:pt>
                <c:pt idx="1031">
                  <c:v>#N/A</c:v>
                </c:pt>
                <c:pt idx="1032">
                  <c:v>#N/A</c:v>
                </c:pt>
                <c:pt idx="1033">
                  <c:v>#N/A</c:v>
                </c:pt>
                <c:pt idx="1034">
                  <c:v>#N/A</c:v>
                </c:pt>
                <c:pt idx="1035">
                  <c:v>#N/A</c:v>
                </c:pt>
                <c:pt idx="1036">
                  <c:v>#N/A</c:v>
                </c:pt>
                <c:pt idx="1037">
                  <c:v>#N/A</c:v>
                </c:pt>
                <c:pt idx="1038">
                  <c:v>#N/A</c:v>
                </c:pt>
                <c:pt idx="1039">
                  <c:v>#N/A</c:v>
                </c:pt>
                <c:pt idx="1040">
                  <c:v>#N/A</c:v>
                </c:pt>
                <c:pt idx="1041">
                  <c:v>#N/A</c:v>
                </c:pt>
                <c:pt idx="1042">
                  <c:v>#N/A</c:v>
                </c:pt>
                <c:pt idx="1043">
                  <c:v>#N/A</c:v>
                </c:pt>
                <c:pt idx="1044">
                  <c:v>#N/A</c:v>
                </c:pt>
                <c:pt idx="1045">
                  <c:v>#N/A</c:v>
                </c:pt>
                <c:pt idx="1046">
                  <c:v>#N/A</c:v>
                </c:pt>
                <c:pt idx="1047">
                  <c:v>#N/A</c:v>
                </c:pt>
                <c:pt idx="1048">
                  <c:v>104.4</c:v>
                </c:pt>
                <c:pt idx="1049">
                  <c:v>#N/A</c:v>
                </c:pt>
                <c:pt idx="1050">
                  <c:v>#N/A</c:v>
                </c:pt>
                <c:pt idx="1051">
                  <c:v>#N/A</c:v>
                </c:pt>
                <c:pt idx="1052">
                  <c:v>#N/A</c:v>
                </c:pt>
                <c:pt idx="1053">
                  <c:v>#N/A</c:v>
                </c:pt>
                <c:pt idx="1054">
                  <c:v>#N/A</c:v>
                </c:pt>
                <c:pt idx="1055">
                  <c:v>#N/A</c:v>
                </c:pt>
                <c:pt idx="1056">
                  <c:v>#N/A</c:v>
                </c:pt>
                <c:pt idx="1057">
                  <c:v>#N/A</c:v>
                </c:pt>
                <c:pt idx="1058">
                  <c:v>#N/A</c:v>
                </c:pt>
                <c:pt idx="1059">
                  <c:v>#N/A</c:v>
                </c:pt>
                <c:pt idx="1060">
                  <c:v>#N/A</c:v>
                </c:pt>
                <c:pt idx="1061">
                  <c:v>#N/A</c:v>
                </c:pt>
                <c:pt idx="1062">
                  <c:v>#N/A</c:v>
                </c:pt>
                <c:pt idx="1063">
                  <c:v>#N/A</c:v>
                </c:pt>
                <c:pt idx="1064">
                  <c:v>#N/A</c:v>
                </c:pt>
                <c:pt idx="1065">
                  <c:v>#N/A</c:v>
                </c:pt>
                <c:pt idx="1066">
                  <c:v>#N/A</c:v>
                </c:pt>
                <c:pt idx="1067">
                  <c:v>#N/A</c:v>
                </c:pt>
                <c:pt idx="1068">
                  <c:v>#N/A</c:v>
                </c:pt>
                <c:pt idx="1069">
                  <c:v>105.8</c:v>
                </c:pt>
                <c:pt idx="1070">
                  <c:v>#N/A</c:v>
                </c:pt>
                <c:pt idx="1071">
                  <c:v>#N/A</c:v>
                </c:pt>
                <c:pt idx="1072">
                  <c:v>#N/A</c:v>
                </c:pt>
                <c:pt idx="1073">
                  <c:v>#N/A</c:v>
                </c:pt>
                <c:pt idx="1074">
                  <c:v>#N/A</c:v>
                </c:pt>
                <c:pt idx="1075">
                  <c:v>#N/A</c:v>
                </c:pt>
                <c:pt idx="1076">
                  <c:v>#N/A</c:v>
                </c:pt>
                <c:pt idx="1077">
                  <c:v>#N/A</c:v>
                </c:pt>
                <c:pt idx="1078">
                  <c:v>#N/A</c:v>
                </c:pt>
                <c:pt idx="1079">
                  <c:v>#N/A</c:v>
                </c:pt>
                <c:pt idx="1080">
                  <c:v>#N/A</c:v>
                </c:pt>
                <c:pt idx="1081">
                  <c:v>#N/A</c:v>
                </c:pt>
                <c:pt idx="1082">
                  <c:v>#N/A</c:v>
                </c:pt>
                <c:pt idx="1083">
                  <c:v>#N/A</c:v>
                </c:pt>
                <c:pt idx="1084">
                  <c:v>#N/A</c:v>
                </c:pt>
                <c:pt idx="1085">
                  <c:v>#N/A</c:v>
                </c:pt>
                <c:pt idx="1086">
                  <c:v>#N/A</c:v>
                </c:pt>
                <c:pt idx="1087">
                  <c:v>#N/A</c:v>
                </c:pt>
                <c:pt idx="1088">
                  <c:v>#N/A</c:v>
                </c:pt>
                <c:pt idx="1089">
                  <c:v>#N/A</c:v>
                </c:pt>
                <c:pt idx="1090">
                  <c:v>#N/A</c:v>
                </c:pt>
                <c:pt idx="1091">
                  <c:v>#N/A</c:v>
                </c:pt>
                <c:pt idx="1092">
                  <c:v>105.3</c:v>
                </c:pt>
                <c:pt idx="1093">
                  <c:v>#N/A</c:v>
                </c:pt>
                <c:pt idx="1094">
                  <c:v>#N/A</c:v>
                </c:pt>
                <c:pt idx="1095">
                  <c:v>#N/A</c:v>
                </c:pt>
                <c:pt idx="1096">
                  <c:v>#N/A</c:v>
                </c:pt>
                <c:pt idx="1097">
                  <c:v>#N/A</c:v>
                </c:pt>
                <c:pt idx="1098">
                  <c:v>#N/A</c:v>
                </c:pt>
                <c:pt idx="1099">
                  <c:v>#N/A</c:v>
                </c:pt>
                <c:pt idx="1100">
                  <c:v>#N/A</c:v>
                </c:pt>
                <c:pt idx="1101">
                  <c:v>#N/A</c:v>
                </c:pt>
                <c:pt idx="1102">
                  <c:v>#N/A</c:v>
                </c:pt>
                <c:pt idx="1103">
                  <c:v>#N/A</c:v>
                </c:pt>
                <c:pt idx="1104">
                  <c:v>#N/A</c:v>
                </c:pt>
                <c:pt idx="1105">
                  <c:v>#N/A</c:v>
                </c:pt>
                <c:pt idx="1106">
                  <c:v>#N/A</c:v>
                </c:pt>
                <c:pt idx="1107">
                  <c:v>#N/A</c:v>
                </c:pt>
                <c:pt idx="1108">
                  <c:v>#N/A</c:v>
                </c:pt>
                <c:pt idx="1109">
                  <c:v>#N/A</c:v>
                </c:pt>
                <c:pt idx="1110">
                  <c:v>#N/A</c:v>
                </c:pt>
                <c:pt idx="1111">
                  <c:v>#N/A</c:v>
                </c:pt>
                <c:pt idx="1112">
                  <c:v>105.2</c:v>
                </c:pt>
                <c:pt idx="1113">
                  <c:v>#N/A</c:v>
                </c:pt>
                <c:pt idx="1114">
                  <c:v>#N/A</c:v>
                </c:pt>
                <c:pt idx="1115">
                  <c:v>#N/A</c:v>
                </c:pt>
                <c:pt idx="1116">
                  <c:v>#N/A</c:v>
                </c:pt>
                <c:pt idx="1117">
                  <c:v>#N/A</c:v>
                </c:pt>
                <c:pt idx="1118">
                  <c:v>#N/A</c:v>
                </c:pt>
                <c:pt idx="1119">
                  <c:v>#N/A</c:v>
                </c:pt>
                <c:pt idx="1120">
                  <c:v>#N/A</c:v>
                </c:pt>
                <c:pt idx="1121">
                  <c:v>#N/A</c:v>
                </c:pt>
                <c:pt idx="1122">
                  <c:v>#N/A</c:v>
                </c:pt>
                <c:pt idx="1123">
                  <c:v>#N/A</c:v>
                </c:pt>
                <c:pt idx="1124">
                  <c:v>#N/A</c:v>
                </c:pt>
                <c:pt idx="1125">
                  <c:v>#N/A</c:v>
                </c:pt>
                <c:pt idx="1126">
                  <c:v>#N/A</c:v>
                </c:pt>
                <c:pt idx="1127">
                  <c:v>#N/A</c:v>
                </c:pt>
                <c:pt idx="1128">
                  <c:v>#N/A</c:v>
                </c:pt>
                <c:pt idx="1129">
                  <c:v>#N/A</c:v>
                </c:pt>
                <c:pt idx="1130">
                  <c:v>#N/A</c:v>
                </c:pt>
                <c:pt idx="1131">
                  <c:v>#N/A</c:v>
                </c:pt>
                <c:pt idx="1132">
                  <c:v>#N/A</c:v>
                </c:pt>
                <c:pt idx="1133">
                  <c:v>106.2</c:v>
                </c:pt>
                <c:pt idx="1134">
                  <c:v>#N/A</c:v>
                </c:pt>
                <c:pt idx="1135">
                  <c:v>#N/A</c:v>
                </c:pt>
                <c:pt idx="1136">
                  <c:v>#N/A</c:v>
                </c:pt>
                <c:pt idx="1137">
                  <c:v>#N/A</c:v>
                </c:pt>
                <c:pt idx="1138">
                  <c:v>#N/A</c:v>
                </c:pt>
                <c:pt idx="1139">
                  <c:v>#N/A</c:v>
                </c:pt>
                <c:pt idx="1140">
                  <c:v>#N/A</c:v>
                </c:pt>
                <c:pt idx="1141">
                  <c:v>#N/A</c:v>
                </c:pt>
                <c:pt idx="1142">
                  <c:v>#N/A</c:v>
                </c:pt>
                <c:pt idx="1143">
                  <c:v>#N/A</c:v>
                </c:pt>
                <c:pt idx="1144">
                  <c:v>#N/A</c:v>
                </c:pt>
                <c:pt idx="1145">
                  <c:v>#N/A</c:v>
                </c:pt>
                <c:pt idx="1146">
                  <c:v>#N/A</c:v>
                </c:pt>
                <c:pt idx="1147">
                  <c:v>#N/A</c:v>
                </c:pt>
                <c:pt idx="1148">
                  <c:v>#N/A</c:v>
                </c:pt>
                <c:pt idx="1149">
                  <c:v>#N/A</c:v>
                </c:pt>
                <c:pt idx="1150">
                  <c:v>#N/A</c:v>
                </c:pt>
                <c:pt idx="1151">
                  <c:v>#N/A</c:v>
                </c:pt>
                <c:pt idx="1152">
                  <c:v>#N/A</c:v>
                </c:pt>
                <c:pt idx="1153">
                  <c:v>#N/A</c:v>
                </c:pt>
                <c:pt idx="1154">
                  <c:v>#N/A</c:v>
                </c:pt>
                <c:pt idx="1155">
                  <c:v>104.9</c:v>
                </c:pt>
                <c:pt idx="1156">
                  <c:v>#N/A</c:v>
                </c:pt>
                <c:pt idx="1157">
                  <c:v>#N/A</c:v>
                </c:pt>
                <c:pt idx="1158">
                  <c:v>#N/A</c:v>
                </c:pt>
                <c:pt idx="1159">
                  <c:v>#N/A</c:v>
                </c:pt>
                <c:pt idx="1160">
                  <c:v>#N/A</c:v>
                </c:pt>
                <c:pt idx="1161">
                  <c:v>#N/A</c:v>
                </c:pt>
                <c:pt idx="1162">
                  <c:v>#N/A</c:v>
                </c:pt>
                <c:pt idx="1163">
                  <c:v>#N/A</c:v>
                </c:pt>
                <c:pt idx="1164">
                  <c:v>#N/A</c:v>
                </c:pt>
                <c:pt idx="1165">
                  <c:v>#N/A</c:v>
                </c:pt>
                <c:pt idx="1166">
                  <c:v>#N/A</c:v>
                </c:pt>
                <c:pt idx="1167">
                  <c:v>#N/A</c:v>
                </c:pt>
                <c:pt idx="1168">
                  <c:v>#N/A</c:v>
                </c:pt>
                <c:pt idx="1169">
                  <c:v>#N/A</c:v>
                </c:pt>
                <c:pt idx="1170">
                  <c:v>#N/A</c:v>
                </c:pt>
                <c:pt idx="1171">
                  <c:v>#N/A</c:v>
                </c:pt>
                <c:pt idx="1172">
                  <c:v>#N/A</c:v>
                </c:pt>
                <c:pt idx="1173">
                  <c:v>#N/A</c:v>
                </c:pt>
                <c:pt idx="1174">
                  <c:v>#N/A</c:v>
                </c:pt>
                <c:pt idx="1175">
                  <c:v>#N/A</c:v>
                </c:pt>
                <c:pt idx="1176">
                  <c:v>#N/A</c:v>
                </c:pt>
                <c:pt idx="1177">
                  <c:v>#N/A</c:v>
                </c:pt>
                <c:pt idx="1178">
                  <c:v>105</c:v>
                </c:pt>
                <c:pt idx="1179">
                  <c:v>#N/A</c:v>
                </c:pt>
                <c:pt idx="1180">
                  <c:v>#N/A</c:v>
                </c:pt>
                <c:pt idx="1181">
                  <c:v>#N/A</c:v>
                </c:pt>
                <c:pt idx="1182">
                  <c:v>#N/A</c:v>
                </c:pt>
                <c:pt idx="1183">
                  <c:v>#N/A</c:v>
                </c:pt>
                <c:pt idx="1184">
                  <c:v>#N/A</c:v>
                </c:pt>
                <c:pt idx="1185">
                  <c:v>#N/A</c:v>
                </c:pt>
                <c:pt idx="1186">
                  <c:v>#N/A</c:v>
                </c:pt>
                <c:pt idx="1187">
                  <c:v>#N/A</c:v>
                </c:pt>
                <c:pt idx="1188">
                  <c:v>#N/A</c:v>
                </c:pt>
                <c:pt idx="1189">
                  <c:v>#N/A</c:v>
                </c:pt>
                <c:pt idx="1190">
                  <c:v>#N/A</c:v>
                </c:pt>
                <c:pt idx="1191">
                  <c:v>#N/A</c:v>
                </c:pt>
                <c:pt idx="1192">
                  <c:v>#N/A</c:v>
                </c:pt>
                <c:pt idx="1193">
                  <c:v>#N/A</c:v>
                </c:pt>
                <c:pt idx="1194">
                  <c:v>#N/A</c:v>
                </c:pt>
                <c:pt idx="1195">
                  <c:v>#N/A</c:v>
                </c:pt>
                <c:pt idx="1196">
                  <c:v>#N/A</c:v>
                </c:pt>
                <c:pt idx="1197">
                  <c:v>#N/A</c:v>
                </c:pt>
                <c:pt idx="1198">
                  <c:v>103.9</c:v>
                </c:pt>
                <c:pt idx="1199">
                  <c:v>#N/A</c:v>
                </c:pt>
                <c:pt idx="1200">
                  <c:v>#N/A</c:v>
                </c:pt>
                <c:pt idx="1201">
                  <c:v>#N/A</c:v>
                </c:pt>
                <c:pt idx="1202">
                  <c:v>#N/A</c:v>
                </c:pt>
                <c:pt idx="1203">
                  <c:v>#N/A</c:v>
                </c:pt>
                <c:pt idx="1204">
                  <c:v>#N/A</c:v>
                </c:pt>
                <c:pt idx="1205">
                  <c:v>#N/A</c:v>
                </c:pt>
                <c:pt idx="1206">
                  <c:v>#N/A</c:v>
                </c:pt>
                <c:pt idx="1207">
                  <c:v>#N/A</c:v>
                </c:pt>
                <c:pt idx="1208">
                  <c:v>#N/A</c:v>
                </c:pt>
                <c:pt idx="1209">
                  <c:v>#N/A</c:v>
                </c:pt>
                <c:pt idx="1210">
                  <c:v>#N/A</c:v>
                </c:pt>
                <c:pt idx="1211">
                  <c:v>#N/A</c:v>
                </c:pt>
                <c:pt idx="1212">
                  <c:v>#N/A</c:v>
                </c:pt>
                <c:pt idx="1213">
                  <c:v>#N/A</c:v>
                </c:pt>
                <c:pt idx="1214">
                  <c:v>#N/A</c:v>
                </c:pt>
                <c:pt idx="1215">
                  <c:v>#N/A</c:v>
                </c:pt>
                <c:pt idx="1216">
                  <c:v>#N/A</c:v>
                </c:pt>
                <c:pt idx="1217">
                  <c:v>#N/A</c:v>
                </c:pt>
                <c:pt idx="1218">
                  <c:v>#N/A</c:v>
                </c:pt>
                <c:pt idx="1219">
                  <c:v>#N/A</c:v>
                </c:pt>
                <c:pt idx="1220">
                  <c:v>#N/A</c:v>
                </c:pt>
                <c:pt idx="1221">
                  <c:v>103.8</c:v>
                </c:pt>
                <c:pt idx="1222">
                  <c:v>#N/A</c:v>
                </c:pt>
                <c:pt idx="1223">
                  <c:v>#N/A</c:v>
                </c:pt>
                <c:pt idx="1224">
                  <c:v>#N/A</c:v>
                </c:pt>
                <c:pt idx="1225">
                  <c:v>#N/A</c:v>
                </c:pt>
                <c:pt idx="1226">
                  <c:v>#N/A</c:v>
                </c:pt>
                <c:pt idx="1227">
                  <c:v>#N/A</c:v>
                </c:pt>
                <c:pt idx="1228">
                  <c:v>#N/A</c:v>
                </c:pt>
                <c:pt idx="1229">
                  <c:v>#N/A</c:v>
                </c:pt>
                <c:pt idx="1230">
                  <c:v>#N/A</c:v>
                </c:pt>
                <c:pt idx="1231">
                  <c:v>#N/A</c:v>
                </c:pt>
                <c:pt idx="1232">
                  <c:v>#N/A</c:v>
                </c:pt>
                <c:pt idx="1233">
                  <c:v>#N/A</c:v>
                </c:pt>
                <c:pt idx="1234">
                  <c:v>#N/A</c:v>
                </c:pt>
                <c:pt idx="1235">
                  <c:v>#N/A</c:v>
                </c:pt>
                <c:pt idx="1236">
                  <c:v>#N/A</c:v>
                </c:pt>
                <c:pt idx="1237">
                  <c:v>#N/A</c:v>
                </c:pt>
                <c:pt idx="1238">
                  <c:v>#N/A</c:v>
                </c:pt>
                <c:pt idx="1239">
                  <c:v>#N/A</c:v>
                </c:pt>
                <c:pt idx="1240">
                  <c:v>#N/A</c:v>
                </c:pt>
                <c:pt idx="1241">
                  <c:v>#N/A</c:v>
                </c:pt>
                <c:pt idx="1242">
                  <c:v>#N/A</c:v>
                </c:pt>
                <c:pt idx="1243">
                  <c:v>104.2</c:v>
                </c:pt>
                <c:pt idx="1244">
                  <c:v>#N/A</c:v>
                </c:pt>
                <c:pt idx="1245">
                  <c:v>#N/A</c:v>
                </c:pt>
                <c:pt idx="1246">
                  <c:v>#N/A</c:v>
                </c:pt>
                <c:pt idx="1247">
                  <c:v>#N/A</c:v>
                </c:pt>
                <c:pt idx="1248">
                  <c:v>#N/A</c:v>
                </c:pt>
                <c:pt idx="1249">
                  <c:v>#N/A</c:v>
                </c:pt>
                <c:pt idx="1250">
                  <c:v>#N/A</c:v>
                </c:pt>
                <c:pt idx="1251">
                  <c:v>#N/A</c:v>
                </c:pt>
                <c:pt idx="1252">
                  <c:v>#N/A</c:v>
                </c:pt>
                <c:pt idx="1253">
                  <c:v>#N/A</c:v>
                </c:pt>
                <c:pt idx="1254">
                  <c:v>#N/A</c:v>
                </c:pt>
                <c:pt idx="1255">
                  <c:v>#N/A</c:v>
                </c:pt>
                <c:pt idx="1256">
                  <c:v>#N/A</c:v>
                </c:pt>
                <c:pt idx="1257">
                  <c:v>#N/A</c:v>
                </c:pt>
                <c:pt idx="1258">
                  <c:v>#N/A</c:v>
                </c:pt>
                <c:pt idx="1259">
                  <c:v>#N/A</c:v>
                </c:pt>
                <c:pt idx="1260">
                  <c:v>#N/A</c:v>
                </c:pt>
                <c:pt idx="1261">
                  <c:v>#N/A</c:v>
                </c:pt>
                <c:pt idx="1262">
                  <c:v>#N/A</c:v>
                </c:pt>
                <c:pt idx="1263">
                  <c:v>#N/A</c:v>
                </c:pt>
                <c:pt idx="1264">
                  <c:v>103.4</c:v>
                </c:pt>
                <c:pt idx="1265">
                  <c:v>#N/A</c:v>
                </c:pt>
                <c:pt idx="1266">
                  <c:v>#N/A</c:v>
                </c:pt>
                <c:pt idx="1267">
                  <c:v>#N/A</c:v>
                </c:pt>
                <c:pt idx="1268">
                  <c:v>#N/A</c:v>
                </c:pt>
                <c:pt idx="1269">
                  <c:v>#N/A</c:v>
                </c:pt>
                <c:pt idx="1270">
                  <c:v>#N/A</c:v>
                </c:pt>
                <c:pt idx="1271">
                  <c:v>#N/A</c:v>
                </c:pt>
                <c:pt idx="1272">
                  <c:v>#N/A</c:v>
                </c:pt>
                <c:pt idx="1273">
                  <c:v>#N/A</c:v>
                </c:pt>
                <c:pt idx="1274">
                  <c:v>#N/A</c:v>
                </c:pt>
                <c:pt idx="1275">
                  <c:v>#N/A</c:v>
                </c:pt>
                <c:pt idx="1276">
                  <c:v>#N/A</c:v>
                </c:pt>
                <c:pt idx="1277">
                  <c:v>#N/A</c:v>
                </c:pt>
                <c:pt idx="1278">
                  <c:v>#N/A</c:v>
                </c:pt>
                <c:pt idx="1279">
                  <c:v>#N/A</c:v>
                </c:pt>
                <c:pt idx="1280">
                  <c:v>#N/A</c:v>
                </c:pt>
                <c:pt idx="1281">
                  <c:v>#N/A</c:v>
                </c:pt>
                <c:pt idx="1282">
                  <c:v>#N/A</c:v>
                </c:pt>
                <c:pt idx="1283">
                  <c:v>#N/A</c:v>
                </c:pt>
                <c:pt idx="1284">
                  <c:v>#N/A</c:v>
                </c:pt>
                <c:pt idx="1285">
                  <c:v>#N/A</c:v>
                </c:pt>
                <c:pt idx="1286">
                  <c:v>#N/A</c:v>
                </c:pt>
                <c:pt idx="1287">
                  <c:v>102.6</c:v>
                </c:pt>
                <c:pt idx="1288">
                  <c:v>#N/A</c:v>
                </c:pt>
                <c:pt idx="1289">
                  <c:v>#N/A</c:v>
                </c:pt>
                <c:pt idx="1290">
                  <c:v>#N/A</c:v>
                </c:pt>
                <c:pt idx="1291">
                  <c:v>#N/A</c:v>
                </c:pt>
                <c:pt idx="1292">
                  <c:v>#N/A</c:v>
                </c:pt>
                <c:pt idx="1293">
                  <c:v>#N/A</c:v>
                </c:pt>
                <c:pt idx="1294">
                  <c:v>#N/A</c:v>
                </c:pt>
                <c:pt idx="1295">
                  <c:v>#N/A</c:v>
                </c:pt>
                <c:pt idx="1296">
                  <c:v>#N/A</c:v>
                </c:pt>
                <c:pt idx="1297">
                  <c:v>#N/A</c:v>
                </c:pt>
                <c:pt idx="1298">
                  <c:v>#N/A</c:v>
                </c:pt>
                <c:pt idx="1299">
                  <c:v>#N/A</c:v>
                </c:pt>
                <c:pt idx="1300">
                  <c:v>#N/A</c:v>
                </c:pt>
                <c:pt idx="1301">
                  <c:v>#N/A</c:v>
                </c:pt>
                <c:pt idx="1302">
                  <c:v>#N/A</c:v>
                </c:pt>
                <c:pt idx="1303">
                  <c:v>#N/A</c:v>
                </c:pt>
                <c:pt idx="1304">
                  <c:v>#N/A</c:v>
                </c:pt>
                <c:pt idx="1305">
                  <c:v>#N/A</c:v>
                </c:pt>
                <c:pt idx="1306">
                  <c:v>#N/A</c:v>
                </c:pt>
                <c:pt idx="1307">
                  <c:v>#N/A</c:v>
                </c:pt>
                <c:pt idx="1308">
                  <c:v>103.3</c:v>
                </c:pt>
                <c:pt idx="1309">
                  <c:v>#N/A</c:v>
                </c:pt>
                <c:pt idx="1310">
                  <c:v>#N/A</c:v>
                </c:pt>
                <c:pt idx="1311">
                  <c:v>#N/A</c:v>
                </c:pt>
                <c:pt idx="1312">
                  <c:v>#N/A</c:v>
                </c:pt>
                <c:pt idx="1313">
                  <c:v>#N/A</c:v>
                </c:pt>
                <c:pt idx="1314">
                  <c:v>#N/A</c:v>
                </c:pt>
                <c:pt idx="1315">
                  <c:v>#N/A</c:v>
                </c:pt>
                <c:pt idx="1316">
                  <c:v>#N/A</c:v>
                </c:pt>
                <c:pt idx="1317">
                  <c:v>#N/A</c:v>
                </c:pt>
                <c:pt idx="1318">
                  <c:v>#N/A</c:v>
                </c:pt>
                <c:pt idx="1319">
                  <c:v>#N/A</c:v>
                </c:pt>
                <c:pt idx="1320">
                  <c:v>#N/A</c:v>
                </c:pt>
                <c:pt idx="1321">
                  <c:v>#N/A</c:v>
                </c:pt>
                <c:pt idx="1322">
                  <c:v>#N/A</c:v>
                </c:pt>
                <c:pt idx="1323">
                  <c:v>#N/A</c:v>
                </c:pt>
                <c:pt idx="1324">
                  <c:v>#N/A</c:v>
                </c:pt>
                <c:pt idx="1325">
                  <c:v>#N/A</c:v>
                </c:pt>
                <c:pt idx="1326">
                  <c:v>#N/A</c:v>
                </c:pt>
                <c:pt idx="1327">
                  <c:v>#N/A</c:v>
                </c:pt>
                <c:pt idx="1328">
                  <c:v>#N/A</c:v>
                </c:pt>
                <c:pt idx="1329">
                  <c:v>#N/A</c:v>
                </c:pt>
                <c:pt idx="1330">
                  <c:v>101</c:v>
                </c:pt>
                <c:pt idx="1331">
                  <c:v>#N/A</c:v>
                </c:pt>
                <c:pt idx="1332">
                  <c:v>#N/A</c:v>
                </c:pt>
                <c:pt idx="1333">
                  <c:v>#N/A</c:v>
                </c:pt>
                <c:pt idx="1334">
                  <c:v>#N/A</c:v>
                </c:pt>
                <c:pt idx="1335">
                  <c:v>#N/A</c:v>
                </c:pt>
                <c:pt idx="1336">
                  <c:v>#N/A</c:v>
                </c:pt>
                <c:pt idx="1337">
                  <c:v>#N/A</c:v>
                </c:pt>
                <c:pt idx="1338">
                  <c:v>#N/A</c:v>
                </c:pt>
                <c:pt idx="1339">
                  <c:v>#N/A</c:v>
                </c:pt>
                <c:pt idx="1340">
                  <c:v>#N/A</c:v>
                </c:pt>
                <c:pt idx="1341">
                  <c:v>#N/A</c:v>
                </c:pt>
                <c:pt idx="1342">
                  <c:v>#N/A</c:v>
                </c:pt>
                <c:pt idx="1343">
                  <c:v>#N/A</c:v>
                </c:pt>
                <c:pt idx="1344">
                  <c:v>#N/A</c:v>
                </c:pt>
                <c:pt idx="1345">
                  <c:v>#N/A</c:v>
                </c:pt>
                <c:pt idx="1346">
                  <c:v>#N/A</c:v>
                </c:pt>
                <c:pt idx="1347">
                  <c:v>#N/A</c:v>
                </c:pt>
                <c:pt idx="1348">
                  <c:v>#N/A</c:v>
                </c:pt>
                <c:pt idx="1349">
                  <c:v>#N/A</c:v>
                </c:pt>
                <c:pt idx="1350">
                  <c:v>#N/A</c:v>
                </c:pt>
                <c:pt idx="1351">
                  <c:v>#N/A</c:v>
                </c:pt>
                <c:pt idx="1352">
                  <c:v>#N/A</c:v>
                </c:pt>
                <c:pt idx="1353">
                  <c:v>104.5</c:v>
                </c:pt>
                <c:pt idx="1354">
                  <c:v>#N/A</c:v>
                </c:pt>
                <c:pt idx="1355">
                  <c:v>#N/A</c:v>
                </c:pt>
                <c:pt idx="1356">
                  <c:v>#N/A</c:v>
                </c:pt>
                <c:pt idx="1357">
                  <c:v>#N/A</c:v>
                </c:pt>
                <c:pt idx="1358">
                  <c:v>#N/A</c:v>
                </c:pt>
                <c:pt idx="1359">
                  <c:v>#N/A</c:v>
                </c:pt>
                <c:pt idx="1360">
                  <c:v>#N/A</c:v>
                </c:pt>
                <c:pt idx="1361">
                  <c:v>#N/A</c:v>
                </c:pt>
                <c:pt idx="1362">
                  <c:v>#N/A</c:v>
                </c:pt>
                <c:pt idx="1363">
                  <c:v>#N/A</c:v>
                </c:pt>
                <c:pt idx="1364">
                  <c:v>#N/A</c:v>
                </c:pt>
                <c:pt idx="1365">
                  <c:v>#N/A</c:v>
                </c:pt>
                <c:pt idx="1366">
                  <c:v>#N/A</c:v>
                </c:pt>
                <c:pt idx="1367">
                  <c:v>#N/A</c:v>
                </c:pt>
                <c:pt idx="1368">
                  <c:v>#N/A</c:v>
                </c:pt>
                <c:pt idx="1369">
                  <c:v>#N/A</c:v>
                </c:pt>
                <c:pt idx="1370">
                  <c:v>#N/A</c:v>
                </c:pt>
                <c:pt idx="1371">
                  <c:v>#N/A</c:v>
                </c:pt>
                <c:pt idx="1372">
                  <c:v>#N/A</c:v>
                </c:pt>
                <c:pt idx="1373">
                  <c:v>104.6</c:v>
                </c:pt>
                <c:pt idx="1374">
                  <c:v>#N/A</c:v>
                </c:pt>
                <c:pt idx="1375">
                  <c:v>#N/A</c:v>
                </c:pt>
                <c:pt idx="1376">
                  <c:v>#N/A</c:v>
                </c:pt>
                <c:pt idx="1377">
                  <c:v>#N/A</c:v>
                </c:pt>
                <c:pt idx="1378">
                  <c:v>#N/A</c:v>
                </c:pt>
                <c:pt idx="1379">
                  <c:v>#N/A</c:v>
                </c:pt>
                <c:pt idx="1380">
                  <c:v>#N/A</c:v>
                </c:pt>
                <c:pt idx="1381">
                  <c:v>#N/A</c:v>
                </c:pt>
                <c:pt idx="1382">
                  <c:v>#N/A</c:v>
                </c:pt>
                <c:pt idx="1383">
                  <c:v>#N/A</c:v>
                </c:pt>
                <c:pt idx="1384">
                  <c:v>#N/A</c:v>
                </c:pt>
                <c:pt idx="1385">
                  <c:v>#N/A</c:v>
                </c:pt>
                <c:pt idx="1386">
                  <c:v>#N/A</c:v>
                </c:pt>
                <c:pt idx="1387">
                  <c:v>#N/A</c:v>
                </c:pt>
                <c:pt idx="1388">
                  <c:v>#N/A</c:v>
                </c:pt>
                <c:pt idx="1389">
                  <c:v>#N/A</c:v>
                </c:pt>
                <c:pt idx="1390">
                  <c:v>#N/A</c:v>
                </c:pt>
                <c:pt idx="1391">
                  <c:v>#N/A</c:v>
                </c:pt>
                <c:pt idx="1392">
                  <c:v>#N/A</c:v>
                </c:pt>
                <c:pt idx="1393">
                  <c:v>#N/A</c:v>
                </c:pt>
                <c:pt idx="1394">
                  <c:v>#N/A</c:v>
                </c:pt>
                <c:pt idx="1395">
                  <c:v>95.7</c:v>
                </c:pt>
                <c:pt idx="1396">
                  <c:v>#N/A</c:v>
                </c:pt>
                <c:pt idx="1397">
                  <c:v>#N/A</c:v>
                </c:pt>
                <c:pt idx="1398">
                  <c:v>#N/A</c:v>
                </c:pt>
                <c:pt idx="1399">
                  <c:v>#N/A</c:v>
                </c:pt>
                <c:pt idx="1400">
                  <c:v>#N/A</c:v>
                </c:pt>
                <c:pt idx="1401">
                  <c:v>#N/A</c:v>
                </c:pt>
                <c:pt idx="1402">
                  <c:v>#N/A</c:v>
                </c:pt>
                <c:pt idx="1403">
                  <c:v>#N/A</c:v>
                </c:pt>
                <c:pt idx="1404">
                  <c:v>#N/A</c:v>
                </c:pt>
                <c:pt idx="1405">
                  <c:v>#N/A</c:v>
                </c:pt>
                <c:pt idx="1406">
                  <c:v>#N/A</c:v>
                </c:pt>
                <c:pt idx="1407">
                  <c:v>#N/A</c:v>
                </c:pt>
                <c:pt idx="1408">
                  <c:v>#N/A</c:v>
                </c:pt>
                <c:pt idx="1409">
                  <c:v>#N/A</c:v>
                </c:pt>
                <c:pt idx="1410">
                  <c:v>#N/A</c:v>
                </c:pt>
                <c:pt idx="1411">
                  <c:v>#N/A</c:v>
                </c:pt>
                <c:pt idx="1412">
                  <c:v>#N/A</c:v>
                </c:pt>
                <c:pt idx="1413">
                  <c:v>#N/A</c:v>
                </c:pt>
                <c:pt idx="1414">
                  <c:v>#N/A</c:v>
                </c:pt>
                <c:pt idx="1415">
                  <c:v>#N/A</c:v>
                </c:pt>
                <c:pt idx="1416">
                  <c:v>#N/A</c:v>
                </c:pt>
                <c:pt idx="1417">
                  <c:v>78.3</c:v>
                </c:pt>
                <c:pt idx="1418">
                  <c:v>#N/A</c:v>
                </c:pt>
                <c:pt idx="1419">
                  <c:v>#N/A</c:v>
                </c:pt>
                <c:pt idx="1420">
                  <c:v>#N/A</c:v>
                </c:pt>
                <c:pt idx="1421">
                  <c:v>#N/A</c:v>
                </c:pt>
                <c:pt idx="1422">
                  <c:v>#N/A</c:v>
                </c:pt>
                <c:pt idx="1423">
                  <c:v>#N/A</c:v>
                </c:pt>
                <c:pt idx="1424">
                  <c:v>#N/A</c:v>
                </c:pt>
                <c:pt idx="1425">
                  <c:v>#N/A</c:v>
                </c:pt>
                <c:pt idx="1426">
                  <c:v>#N/A</c:v>
                </c:pt>
                <c:pt idx="1427">
                  <c:v>#N/A</c:v>
                </c:pt>
                <c:pt idx="1428">
                  <c:v>#N/A</c:v>
                </c:pt>
                <c:pt idx="1429">
                  <c:v>#N/A</c:v>
                </c:pt>
                <c:pt idx="1430">
                  <c:v>#N/A</c:v>
                </c:pt>
                <c:pt idx="1431">
                  <c:v>#N/A</c:v>
                </c:pt>
                <c:pt idx="1432">
                  <c:v>#N/A</c:v>
                </c:pt>
                <c:pt idx="1433">
                  <c:v>#N/A</c:v>
                </c:pt>
                <c:pt idx="1434">
                  <c:v>#N/A</c:v>
                </c:pt>
                <c:pt idx="1435">
                  <c:v>#N/A</c:v>
                </c:pt>
                <c:pt idx="1436">
                  <c:v>#N/A</c:v>
                </c:pt>
                <c:pt idx="1437">
                  <c:v>#N/A</c:v>
                </c:pt>
                <c:pt idx="1438">
                  <c:v>85.2</c:v>
                </c:pt>
                <c:pt idx="1439">
                  <c:v>#N/A</c:v>
                </c:pt>
                <c:pt idx="1440">
                  <c:v>#N/A</c:v>
                </c:pt>
                <c:pt idx="1441">
                  <c:v>#N/A</c:v>
                </c:pt>
                <c:pt idx="1442">
                  <c:v>#N/A</c:v>
                </c:pt>
                <c:pt idx="1443">
                  <c:v>#N/A</c:v>
                </c:pt>
                <c:pt idx="1444">
                  <c:v>#N/A</c:v>
                </c:pt>
                <c:pt idx="1445">
                  <c:v>#N/A</c:v>
                </c:pt>
                <c:pt idx="1446">
                  <c:v>#N/A</c:v>
                </c:pt>
                <c:pt idx="1447">
                  <c:v>#N/A</c:v>
                </c:pt>
                <c:pt idx="1448">
                  <c:v>#N/A</c:v>
                </c:pt>
                <c:pt idx="1449">
                  <c:v>#N/A</c:v>
                </c:pt>
                <c:pt idx="1450">
                  <c:v>#N/A</c:v>
                </c:pt>
                <c:pt idx="1451">
                  <c:v>#N/A</c:v>
                </c:pt>
                <c:pt idx="1452">
                  <c:v>#N/A</c:v>
                </c:pt>
                <c:pt idx="1453">
                  <c:v>#N/A</c:v>
                </c:pt>
                <c:pt idx="1454">
                  <c:v>#N/A</c:v>
                </c:pt>
                <c:pt idx="1455">
                  <c:v>#N/A</c:v>
                </c:pt>
                <c:pt idx="1456">
                  <c:v>#N/A</c:v>
                </c:pt>
                <c:pt idx="1457">
                  <c:v>#N/A</c:v>
                </c:pt>
                <c:pt idx="1458">
                  <c:v>#N/A</c:v>
                </c:pt>
                <c:pt idx="1459">
                  <c:v>#N/A</c:v>
                </c:pt>
                <c:pt idx="1460">
                  <c:v>93.7</c:v>
                </c:pt>
                <c:pt idx="1461">
                  <c:v>#N/A</c:v>
                </c:pt>
                <c:pt idx="1462">
                  <c:v>#N/A</c:v>
                </c:pt>
                <c:pt idx="1463">
                  <c:v>#N/A</c:v>
                </c:pt>
                <c:pt idx="1464">
                  <c:v>#N/A</c:v>
                </c:pt>
                <c:pt idx="1465">
                  <c:v>#N/A</c:v>
                </c:pt>
                <c:pt idx="1466">
                  <c:v>#N/A</c:v>
                </c:pt>
                <c:pt idx="1467">
                  <c:v>#N/A</c:v>
                </c:pt>
                <c:pt idx="1468">
                  <c:v>#N/A</c:v>
                </c:pt>
                <c:pt idx="1469">
                  <c:v>#N/A</c:v>
                </c:pt>
                <c:pt idx="1470">
                  <c:v>#N/A</c:v>
                </c:pt>
                <c:pt idx="1471">
                  <c:v>#N/A</c:v>
                </c:pt>
                <c:pt idx="1472">
                  <c:v>#N/A</c:v>
                </c:pt>
                <c:pt idx="1473">
                  <c:v>#N/A</c:v>
                </c:pt>
                <c:pt idx="1474">
                  <c:v>#N/A</c:v>
                </c:pt>
                <c:pt idx="1475">
                  <c:v>#N/A</c:v>
                </c:pt>
                <c:pt idx="1476">
                  <c:v>#N/A</c:v>
                </c:pt>
                <c:pt idx="1477">
                  <c:v>#N/A</c:v>
                </c:pt>
                <c:pt idx="1478">
                  <c:v>#N/A</c:v>
                </c:pt>
                <c:pt idx="1479">
                  <c:v>#N/A</c:v>
                </c:pt>
                <c:pt idx="1480">
                  <c:v>#N/A</c:v>
                </c:pt>
                <c:pt idx="1481">
                  <c:v>#N/A</c:v>
                </c:pt>
                <c:pt idx="1482">
                  <c:v>#N/A</c:v>
                </c:pt>
                <c:pt idx="1483">
                  <c:v>94.7</c:v>
                </c:pt>
                <c:pt idx="1484">
                  <c:v>#N/A</c:v>
                </c:pt>
                <c:pt idx="1485">
                  <c:v>#N/A</c:v>
                </c:pt>
                <c:pt idx="1486">
                  <c:v>#N/A</c:v>
                </c:pt>
                <c:pt idx="1487">
                  <c:v>#N/A</c:v>
                </c:pt>
                <c:pt idx="1488">
                  <c:v>#N/A</c:v>
                </c:pt>
                <c:pt idx="1489">
                  <c:v>#N/A</c:v>
                </c:pt>
                <c:pt idx="1490">
                  <c:v>#N/A</c:v>
                </c:pt>
                <c:pt idx="1491">
                  <c:v>#N/A</c:v>
                </c:pt>
                <c:pt idx="1492">
                  <c:v>#N/A</c:v>
                </c:pt>
                <c:pt idx="1493">
                  <c:v>#N/A</c:v>
                </c:pt>
                <c:pt idx="1494">
                  <c:v>#N/A</c:v>
                </c:pt>
                <c:pt idx="1495">
                  <c:v>#N/A</c:v>
                </c:pt>
                <c:pt idx="1496">
                  <c:v>#N/A</c:v>
                </c:pt>
                <c:pt idx="1497">
                  <c:v>#N/A</c:v>
                </c:pt>
                <c:pt idx="1498">
                  <c:v>#N/A</c:v>
                </c:pt>
                <c:pt idx="1499">
                  <c:v>#N/A</c:v>
                </c:pt>
                <c:pt idx="1500">
                  <c:v>#N/A</c:v>
                </c:pt>
                <c:pt idx="1501">
                  <c:v>#N/A</c:v>
                </c:pt>
                <c:pt idx="1502">
                  <c:v>#N/A</c:v>
                </c:pt>
                <c:pt idx="1503">
                  <c:v>#N/A</c:v>
                </c:pt>
                <c:pt idx="1504">
                  <c:v>95</c:v>
                </c:pt>
                <c:pt idx="1505">
                  <c:v>#N/A</c:v>
                </c:pt>
                <c:pt idx="1506">
                  <c:v>#N/A</c:v>
                </c:pt>
                <c:pt idx="1507">
                  <c:v>#N/A</c:v>
                </c:pt>
                <c:pt idx="1508">
                  <c:v>#N/A</c:v>
                </c:pt>
                <c:pt idx="1509">
                  <c:v>#N/A</c:v>
                </c:pt>
                <c:pt idx="1510">
                  <c:v>#N/A</c:v>
                </c:pt>
                <c:pt idx="1511">
                  <c:v>#N/A</c:v>
                </c:pt>
                <c:pt idx="1512">
                  <c:v>#N/A</c:v>
                </c:pt>
                <c:pt idx="1513">
                  <c:v>#N/A</c:v>
                </c:pt>
                <c:pt idx="1514">
                  <c:v>#N/A</c:v>
                </c:pt>
                <c:pt idx="1515">
                  <c:v>#N/A</c:v>
                </c:pt>
                <c:pt idx="1516">
                  <c:v>#N/A</c:v>
                </c:pt>
                <c:pt idx="1517">
                  <c:v>#N/A</c:v>
                </c:pt>
                <c:pt idx="1518">
                  <c:v>#N/A</c:v>
                </c:pt>
                <c:pt idx="1519">
                  <c:v>#N/A</c:v>
                </c:pt>
                <c:pt idx="1520">
                  <c:v>#N/A</c:v>
                </c:pt>
                <c:pt idx="1521">
                  <c:v>#N/A</c:v>
                </c:pt>
                <c:pt idx="1522">
                  <c:v>#N/A</c:v>
                </c:pt>
                <c:pt idx="1523">
                  <c:v>#N/A</c:v>
                </c:pt>
                <c:pt idx="1524">
                  <c:v>#N/A</c:v>
                </c:pt>
                <c:pt idx="1525">
                  <c:v>#N/A</c:v>
                </c:pt>
                <c:pt idx="1526">
                  <c:v>96.9</c:v>
                </c:pt>
                <c:pt idx="1527">
                  <c:v>#N/A</c:v>
                </c:pt>
                <c:pt idx="1528">
                  <c:v>#N/A</c:v>
                </c:pt>
                <c:pt idx="1529">
                  <c:v>#N/A</c:v>
                </c:pt>
                <c:pt idx="1530">
                  <c:v>#N/A</c:v>
                </c:pt>
                <c:pt idx="1531">
                  <c:v>#N/A</c:v>
                </c:pt>
                <c:pt idx="1532">
                  <c:v>#N/A</c:v>
                </c:pt>
                <c:pt idx="1533">
                  <c:v>#N/A</c:v>
                </c:pt>
                <c:pt idx="1534">
                  <c:v>#N/A</c:v>
                </c:pt>
                <c:pt idx="1535">
                  <c:v>#N/A</c:v>
                </c:pt>
                <c:pt idx="1536">
                  <c:v>#N/A</c:v>
                </c:pt>
                <c:pt idx="1537">
                  <c:v>#N/A</c:v>
                </c:pt>
                <c:pt idx="1538">
                  <c:v>#N/A</c:v>
                </c:pt>
                <c:pt idx="1539">
                  <c:v>#N/A</c:v>
                </c:pt>
                <c:pt idx="1540">
                  <c:v>#N/A</c:v>
                </c:pt>
                <c:pt idx="1541">
                  <c:v>#N/A</c:v>
                </c:pt>
                <c:pt idx="1542">
                  <c:v>#N/A</c:v>
                </c:pt>
                <c:pt idx="1543">
                  <c:v>#N/A</c:v>
                </c:pt>
                <c:pt idx="1544">
                  <c:v>#N/A</c:v>
                </c:pt>
                <c:pt idx="1545">
                  <c:v>#N/A</c:v>
                </c:pt>
                <c:pt idx="1546">
                  <c:v>#N/A</c:v>
                </c:pt>
                <c:pt idx="1547">
                  <c:v>#N/A</c:v>
                </c:pt>
                <c:pt idx="1548">
                  <c:v>100.2</c:v>
                </c:pt>
                <c:pt idx="1549">
                  <c:v>#N/A</c:v>
                </c:pt>
                <c:pt idx="1550">
                  <c:v>#N/A</c:v>
                </c:pt>
                <c:pt idx="1551">
                  <c:v>#N/A</c:v>
                </c:pt>
                <c:pt idx="1552">
                  <c:v>#N/A</c:v>
                </c:pt>
                <c:pt idx="1553">
                  <c:v>#N/A</c:v>
                </c:pt>
                <c:pt idx="1554">
                  <c:v>#N/A</c:v>
                </c:pt>
                <c:pt idx="1555">
                  <c:v>#N/A</c:v>
                </c:pt>
                <c:pt idx="1556">
                  <c:v>#N/A</c:v>
                </c:pt>
                <c:pt idx="1557">
                  <c:v>#N/A</c:v>
                </c:pt>
                <c:pt idx="1558">
                  <c:v>#N/A</c:v>
                </c:pt>
                <c:pt idx="1559">
                  <c:v>#N/A</c:v>
                </c:pt>
                <c:pt idx="1560">
                  <c:v>#N/A</c:v>
                </c:pt>
                <c:pt idx="1561">
                  <c:v>#N/A</c:v>
                </c:pt>
                <c:pt idx="1562">
                  <c:v>#N/A</c:v>
                </c:pt>
                <c:pt idx="1563">
                  <c:v>#N/A</c:v>
                </c:pt>
                <c:pt idx="1564">
                  <c:v>#N/A</c:v>
                </c:pt>
                <c:pt idx="1565">
                  <c:v>#N/A</c:v>
                </c:pt>
                <c:pt idx="1566">
                  <c:v>#N/A</c:v>
                </c:pt>
                <c:pt idx="1567">
                  <c:v>#N/A</c:v>
                </c:pt>
                <c:pt idx="1568">
                  <c:v>#N/A</c:v>
                </c:pt>
                <c:pt idx="1569">
                  <c:v>101.6</c:v>
                </c:pt>
                <c:pt idx="1570">
                  <c:v>#N/A</c:v>
                </c:pt>
                <c:pt idx="1571">
                  <c:v>#N/A</c:v>
                </c:pt>
                <c:pt idx="1572">
                  <c:v>#N/A</c:v>
                </c:pt>
                <c:pt idx="1573">
                  <c:v>#N/A</c:v>
                </c:pt>
                <c:pt idx="1574">
                  <c:v>#N/A</c:v>
                </c:pt>
                <c:pt idx="1575">
                  <c:v>#N/A</c:v>
                </c:pt>
                <c:pt idx="1576">
                  <c:v>#N/A</c:v>
                </c:pt>
                <c:pt idx="1577">
                  <c:v>#N/A</c:v>
                </c:pt>
                <c:pt idx="1578">
                  <c:v>#N/A</c:v>
                </c:pt>
                <c:pt idx="1579">
                  <c:v>#N/A</c:v>
                </c:pt>
                <c:pt idx="1580">
                  <c:v>#N/A</c:v>
                </c:pt>
                <c:pt idx="1581">
                  <c:v>#N/A</c:v>
                </c:pt>
                <c:pt idx="1582">
                  <c:v>#N/A</c:v>
                </c:pt>
                <c:pt idx="1583">
                  <c:v>#N/A</c:v>
                </c:pt>
                <c:pt idx="1584">
                  <c:v>#N/A</c:v>
                </c:pt>
                <c:pt idx="1585">
                  <c:v>#N/A</c:v>
                </c:pt>
                <c:pt idx="1586">
                  <c:v>#N/A</c:v>
                </c:pt>
                <c:pt idx="1587">
                  <c:v>#N/A</c:v>
                </c:pt>
                <c:pt idx="1588">
                  <c:v>#N/A</c:v>
                </c:pt>
                <c:pt idx="1589">
                  <c:v>#N/A</c:v>
                </c:pt>
                <c:pt idx="1590">
                  <c:v>#N/A</c:v>
                </c:pt>
                <c:pt idx="1591">
                  <c:v>#N/A</c:v>
                </c:pt>
                <c:pt idx="1592">
                  <c:v>102.9</c:v>
                </c:pt>
                <c:pt idx="1593">
                  <c:v>#N/A</c:v>
                </c:pt>
                <c:pt idx="1594">
                  <c:v>#N/A</c:v>
                </c:pt>
                <c:pt idx="1595">
                  <c:v>#N/A</c:v>
                </c:pt>
                <c:pt idx="1596">
                  <c:v>#N/A</c:v>
                </c:pt>
                <c:pt idx="1597">
                  <c:v>#N/A</c:v>
                </c:pt>
                <c:pt idx="1598">
                  <c:v>#N/A</c:v>
                </c:pt>
                <c:pt idx="1599">
                  <c:v>#N/A</c:v>
                </c:pt>
                <c:pt idx="1600">
                  <c:v>#N/A</c:v>
                </c:pt>
                <c:pt idx="1601">
                  <c:v>#N/A</c:v>
                </c:pt>
                <c:pt idx="1602">
                  <c:v>#N/A</c:v>
                </c:pt>
                <c:pt idx="1603">
                  <c:v>#N/A</c:v>
                </c:pt>
                <c:pt idx="1604">
                  <c:v>#N/A</c:v>
                </c:pt>
                <c:pt idx="1605">
                  <c:v>#N/A</c:v>
                </c:pt>
                <c:pt idx="1606">
                  <c:v>#N/A</c:v>
                </c:pt>
                <c:pt idx="1607">
                  <c:v>#N/A</c:v>
                </c:pt>
                <c:pt idx="1608">
                  <c:v>#N/A</c:v>
                </c:pt>
                <c:pt idx="1609">
                  <c:v>#N/A</c:v>
                </c:pt>
                <c:pt idx="1610">
                  <c:v>#N/A</c:v>
                </c:pt>
                <c:pt idx="1611">
                  <c:v>#N/A</c:v>
                </c:pt>
                <c:pt idx="1612">
                  <c:v>#N/A</c:v>
                </c:pt>
                <c:pt idx="1613">
                  <c:v>100.7</c:v>
                </c:pt>
                <c:pt idx="1614">
                  <c:v>#N/A</c:v>
                </c:pt>
                <c:pt idx="1615">
                  <c:v>#N/A</c:v>
                </c:pt>
                <c:pt idx="1616">
                  <c:v>#N/A</c:v>
                </c:pt>
                <c:pt idx="1617">
                  <c:v>#N/A</c:v>
                </c:pt>
                <c:pt idx="1618">
                  <c:v>#N/A</c:v>
                </c:pt>
                <c:pt idx="1619">
                  <c:v>#N/A</c:v>
                </c:pt>
                <c:pt idx="1620">
                  <c:v>#N/A</c:v>
                </c:pt>
                <c:pt idx="1621">
                  <c:v>#N/A</c:v>
                </c:pt>
                <c:pt idx="1622">
                  <c:v>#N/A</c:v>
                </c:pt>
                <c:pt idx="1623">
                  <c:v>#N/A</c:v>
                </c:pt>
                <c:pt idx="1624">
                  <c:v>#N/A</c:v>
                </c:pt>
                <c:pt idx="1625">
                  <c:v>#N/A</c:v>
                </c:pt>
                <c:pt idx="1626">
                  <c:v>#N/A</c:v>
                </c:pt>
                <c:pt idx="1627">
                  <c:v>#N/A</c:v>
                </c:pt>
                <c:pt idx="1628">
                  <c:v>#N/A</c:v>
                </c:pt>
                <c:pt idx="1629">
                  <c:v>#N/A</c:v>
                </c:pt>
                <c:pt idx="1630">
                  <c:v>#N/A</c:v>
                </c:pt>
                <c:pt idx="1631">
                  <c:v>#N/A</c:v>
                </c:pt>
                <c:pt idx="1632">
                  <c:v>#N/A</c:v>
                </c:pt>
                <c:pt idx="1633">
                  <c:v>98.5</c:v>
                </c:pt>
                <c:pt idx="1634">
                  <c:v>#N/A</c:v>
                </c:pt>
                <c:pt idx="1635">
                  <c:v>#N/A</c:v>
                </c:pt>
                <c:pt idx="1636">
                  <c:v>#N/A</c:v>
                </c:pt>
                <c:pt idx="1637">
                  <c:v>#N/A</c:v>
                </c:pt>
                <c:pt idx="1638">
                  <c:v>#N/A</c:v>
                </c:pt>
                <c:pt idx="1639">
                  <c:v>#N/A</c:v>
                </c:pt>
                <c:pt idx="1640">
                  <c:v>#N/A</c:v>
                </c:pt>
                <c:pt idx="1641">
                  <c:v>#N/A</c:v>
                </c:pt>
                <c:pt idx="1642">
                  <c:v>#N/A</c:v>
                </c:pt>
                <c:pt idx="1643">
                  <c:v>#N/A</c:v>
                </c:pt>
                <c:pt idx="1644">
                  <c:v>#N/A</c:v>
                </c:pt>
                <c:pt idx="1645">
                  <c:v>#N/A</c:v>
                </c:pt>
                <c:pt idx="1646">
                  <c:v>#N/A</c:v>
                </c:pt>
                <c:pt idx="1647">
                  <c:v>#N/A</c:v>
                </c:pt>
                <c:pt idx="1648">
                  <c:v>#N/A</c:v>
                </c:pt>
                <c:pt idx="1649">
                  <c:v>#N/A</c:v>
                </c:pt>
                <c:pt idx="1650">
                  <c:v>#N/A</c:v>
                </c:pt>
                <c:pt idx="1651">
                  <c:v>#N/A</c:v>
                </c:pt>
                <c:pt idx="1652">
                  <c:v>#N/A</c:v>
                </c:pt>
                <c:pt idx="1653">
                  <c:v>#N/A</c:v>
                </c:pt>
                <c:pt idx="1654">
                  <c:v>#N/A</c:v>
                </c:pt>
                <c:pt idx="1655">
                  <c:v>#N/A</c:v>
                </c:pt>
                <c:pt idx="1656">
                  <c:v>101.9</c:v>
                </c:pt>
                <c:pt idx="1657">
                  <c:v>#N/A</c:v>
                </c:pt>
                <c:pt idx="1658">
                  <c:v>#N/A</c:v>
                </c:pt>
                <c:pt idx="1659">
                  <c:v>#N/A</c:v>
                </c:pt>
                <c:pt idx="1660">
                  <c:v>#N/A</c:v>
                </c:pt>
                <c:pt idx="1661">
                  <c:v>#N/A</c:v>
                </c:pt>
                <c:pt idx="1662">
                  <c:v>#N/A</c:v>
                </c:pt>
                <c:pt idx="1663">
                  <c:v>#N/A</c:v>
                </c:pt>
                <c:pt idx="1664">
                  <c:v>#N/A</c:v>
                </c:pt>
                <c:pt idx="1665">
                  <c:v>#N/A</c:v>
                </c:pt>
                <c:pt idx="1666">
                  <c:v>#N/A</c:v>
                </c:pt>
                <c:pt idx="1667">
                  <c:v>#N/A</c:v>
                </c:pt>
                <c:pt idx="1668">
                  <c:v>#N/A</c:v>
                </c:pt>
                <c:pt idx="1669">
                  <c:v>#N/A</c:v>
                </c:pt>
                <c:pt idx="1670">
                  <c:v>#N/A</c:v>
                </c:pt>
                <c:pt idx="1671">
                  <c:v>#N/A</c:v>
                </c:pt>
                <c:pt idx="1672">
                  <c:v>#N/A</c:v>
                </c:pt>
                <c:pt idx="1673">
                  <c:v>#N/A</c:v>
                </c:pt>
                <c:pt idx="1674">
                  <c:v>#N/A</c:v>
                </c:pt>
                <c:pt idx="1675">
                  <c:v>#N/A</c:v>
                </c:pt>
                <c:pt idx="1676">
                  <c:v>#N/A</c:v>
                </c:pt>
                <c:pt idx="1677">
                  <c:v>#N/A</c:v>
                </c:pt>
                <c:pt idx="1678">
                  <c:v>101.6</c:v>
                </c:pt>
                <c:pt idx="1679">
                  <c:v>#N/A</c:v>
                </c:pt>
                <c:pt idx="1680">
                  <c:v>#N/A</c:v>
                </c:pt>
                <c:pt idx="1681">
                  <c:v>#N/A</c:v>
                </c:pt>
                <c:pt idx="1682">
                  <c:v>#N/A</c:v>
                </c:pt>
                <c:pt idx="1683">
                  <c:v>#N/A</c:v>
                </c:pt>
                <c:pt idx="1684">
                  <c:v>#N/A</c:v>
                </c:pt>
                <c:pt idx="1685">
                  <c:v>#N/A</c:v>
                </c:pt>
                <c:pt idx="1686">
                  <c:v>#N/A</c:v>
                </c:pt>
                <c:pt idx="1687">
                  <c:v>#N/A</c:v>
                </c:pt>
                <c:pt idx="1688">
                  <c:v>#N/A</c:v>
                </c:pt>
                <c:pt idx="1689">
                  <c:v>#N/A</c:v>
                </c:pt>
                <c:pt idx="1690">
                  <c:v>#N/A</c:v>
                </c:pt>
                <c:pt idx="1691">
                  <c:v>#N/A</c:v>
                </c:pt>
                <c:pt idx="1692">
                  <c:v>#N/A</c:v>
                </c:pt>
                <c:pt idx="1693">
                  <c:v>#N/A</c:v>
                </c:pt>
                <c:pt idx="1694">
                  <c:v>#N/A</c:v>
                </c:pt>
                <c:pt idx="1695">
                  <c:v>#N/A</c:v>
                </c:pt>
                <c:pt idx="1696">
                  <c:v>#N/A</c:v>
                </c:pt>
                <c:pt idx="1697">
                  <c:v>#N/A</c:v>
                </c:pt>
                <c:pt idx="1698">
                  <c:v>#N/A</c:v>
                </c:pt>
                <c:pt idx="1699">
                  <c:v>100.4</c:v>
                </c:pt>
                <c:pt idx="1700">
                  <c:v>#N/A</c:v>
                </c:pt>
                <c:pt idx="1701">
                  <c:v>#N/A</c:v>
                </c:pt>
                <c:pt idx="1702">
                  <c:v>#N/A</c:v>
                </c:pt>
                <c:pt idx="1703">
                  <c:v>#N/A</c:v>
                </c:pt>
                <c:pt idx="1704">
                  <c:v>#N/A</c:v>
                </c:pt>
                <c:pt idx="1705">
                  <c:v>#N/A</c:v>
                </c:pt>
                <c:pt idx="1706">
                  <c:v>#N/A</c:v>
                </c:pt>
                <c:pt idx="1707">
                  <c:v>#N/A</c:v>
                </c:pt>
                <c:pt idx="1708">
                  <c:v>#N/A</c:v>
                </c:pt>
                <c:pt idx="1709">
                  <c:v>#N/A</c:v>
                </c:pt>
                <c:pt idx="1710">
                  <c:v>#N/A</c:v>
                </c:pt>
                <c:pt idx="1711">
                  <c:v>#N/A</c:v>
                </c:pt>
                <c:pt idx="1712">
                  <c:v>#N/A</c:v>
                </c:pt>
                <c:pt idx="1713">
                  <c:v>#N/A</c:v>
                </c:pt>
                <c:pt idx="1714">
                  <c:v>#N/A</c:v>
                </c:pt>
                <c:pt idx="1715">
                  <c:v>#N/A</c:v>
                </c:pt>
                <c:pt idx="1716">
                  <c:v>#N/A</c:v>
                </c:pt>
                <c:pt idx="1717">
                  <c:v>#N/A</c:v>
                </c:pt>
                <c:pt idx="1718">
                  <c:v>#N/A</c:v>
                </c:pt>
                <c:pt idx="1719">
                  <c:v>#N/A</c:v>
                </c:pt>
                <c:pt idx="1720">
                  <c:v>#N/A</c:v>
                </c:pt>
                <c:pt idx="1721">
                  <c:v>99</c:v>
                </c:pt>
                <c:pt idx="1722">
                  <c:v>#N/A</c:v>
                </c:pt>
                <c:pt idx="1723">
                  <c:v>#N/A</c:v>
                </c:pt>
                <c:pt idx="1724">
                  <c:v>#N/A</c:v>
                </c:pt>
                <c:pt idx="1725">
                  <c:v>#N/A</c:v>
                </c:pt>
                <c:pt idx="1726">
                  <c:v>#N/A</c:v>
                </c:pt>
                <c:pt idx="1727">
                  <c:v>#N/A</c:v>
                </c:pt>
                <c:pt idx="1728">
                  <c:v>#N/A</c:v>
                </c:pt>
                <c:pt idx="1729">
                  <c:v>#N/A</c:v>
                </c:pt>
                <c:pt idx="1730">
                  <c:v>#N/A</c:v>
                </c:pt>
                <c:pt idx="1731">
                  <c:v>#N/A</c:v>
                </c:pt>
                <c:pt idx="1732">
                  <c:v>#N/A</c:v>
                </c:pt>
                <c:pt idx="1733">
                  <c:v>#N/A</c:v>
                </c:pt>
                <c:pt idx="1734">
                  <c:v>#N/A</c:v>
                </c:pt>
                <c:pt idx="1735">
                  <c:v>#N/A</c:v>
                </c:pt>
                <c:pt idx="1736">
                  <c:v>#N/A</c:v>
                </c:pt>
                <c:pt idx="1737">
                  <c:v>#N/A</c:v>
                </c:pt>
                <c:pt idx="1738">
                  <c:v>#N/A</c:v>
                </c:pt>
                <c:pt idx="1739">
                  <c:v>#N/A</c:v>
                </c:pt>
                <c:pt idx="1740">
                  <c:v>#N/A</c:v>
                </c:pt>
                <c:pt idx="1741">
                  <c:v>#N/A</c:v>
                </c:pt>
                <c:pt idx="1742">
                  <c:v>#N/A</c:v>
                </c:pt>
                <c:pt idx="1743">
                  <c:v>100.2</c:v>
                </c:pt>
                <c:pt idx="1744">
                  <c:v>#N/A</c:v>
                </c:pt>
                <c:pt idx="1745">
                  <c:v>#N/A</c:v>
                </c:pt>
                <c:pt idx="1746">
                  <c:v>#N/A</c:v>
                </c:pt>
                <c:pt idx="1747">
                  <c:v>#N/A</c:v>
                </c:pt>
                <c:pt idx="1748">
                  <c:v>#N/A</c:v>
                </c:pt>
                <c:pt idx="1749">
                  <c:v>#N/A</c:v>
                </c:pt>
                <c:pt idx="1750">
                  <c:v>#N/A</c:v>
                </c:pt>
                <c:pt idx="1751">
                  <c:v>#N/A</c:v>
                </c:pt>
                <c:pt idx="1752">
                  <c:v>#N/A</c:v>
                </c:pt>
                <c:pt idx="1753">
                  <c:v>#N/A</c:v>
                </c:pt>
                <c:pt idx="1754">
                  <c:v>#N/A</c:v>
                </c:pt>
                <c:pt idx="1755">
                  <c:v>#N/A</c:v>
                </c:pt>
                <c:pt idx="1756">
                  <c:v>#N/A</c:v>
                </c:pt>
                <c:pt idx="1757">
                  <c:v>#N/A</c:v>
                </c:pt>
                <c:pt idx="1758">
                  <c:v>#N/A</c:v>
                </c:pt>
                <c:pt idx="1759">
                  <c:v>#N/A</c:v>
                </c:pt>
                <c:pt idx="1760">
                  <c:v>#N/A</c:v>
                </c:pt>
                <c:pt idx="1761">
                  <c:v>#N/A</c:v>
                </c:pt>
                <c:pt idx="1762">
                  <c:v>#N/A</c:v>
                </c:pt>
                <c:pt idx="1763">
                  <c:v>#N/A</c:v>
                </c:pt>
                <c:pt idx="1764">
                  <c:v>#N/A</c:v>
                </c:pt>
                <c:pt idx="1765">
                  <c:v>95.7</c:v>
                </c:pt>
                <c:pt idx="1766">
                  <c:v>#N/A</c:v>
                </c:pt>
                <c:pt idx="1767">
                  <c:v>#N/A</c:v>
                </c:pt>
                <c:pt idx="1768">
                  <c:v>#N/A</c:v>
                </c:pt>
                <c:pt idx="1769">
                  <c:v>#N/A</c:v>
                </c:pt>
                <c:pt idx="1770">
                  <c:v>#N/A</c:v>
                </c:pt>
                <c:pt idx="1771">
                  <c:v>#N/A</c:v>
                </c:pt>
                <c:pt idx="1772">
                  <c:v>#N/A</c:v>
                </c:pt>
                <c:pt idx="1773">
                  <c:v>#N/A</c:v>
                </c:pt>
                <c:pt idx="1774">
                  <c:v>#N/A</c:v>
                </c:pt>
                <c:pt idx="1775">
                  <c:v>#N/A</c:v>
                </c:pt>
                <c:pt idx="1776">
                  <c:v>#N/A</c:v>
                </c:pt>
                <c:pt idx="1777">
                  <c:v>#N/A</c:v>
                </c:pt>
                <c:pt idx="1778">
                  <c:v>#N/A</c:v>
                </c:pt>
                <c:pt idx="1779">
                  <c:v>#N/A</c:v>
                </c:pt>
                <c:pt idx="1780">
                  <c:v>#N/A</c:v>
                </c:pt>
                <c:pt idx="1781">
                  <c:v>#N/A</c:v>
                </c:pt>
                <c:pt idx="1782">
                  <c:v>#N/A</c:v>
                </c:pt>
                <c:pt idx="1783">
                  <c:v>#N/A</c:v>
                </c:pt>
                <c:pt idx="1784">
                  <c:v>#N/A</c:v>
                </c:pt>
                <c:pt idx="1785">
                  <c:v>#N/A</c:v>
                </c:pt>
                <c:pt idx="1786">
                  <c:v>#N/A</c:v>
                </c:pt>
                <c:pt idx="1787">
                  <c:v>96.3</c:v>
                </c:pt>
                <c:pt idx="1788">
                  <c:v>#N/A</c:v>
                </c:pt>
                <c:pt idx="1789">
                  <c:v>#N/A</c:v>
                </c:pt>
                <c:pt idx="1790">
                  <c:v>#N/A</c:v>
                </c:pt>
                <c:pt idx="1791">
                  <c:v>#N/A</c:v>
                </c:pt>
                <c:pt idx="1792">
                  <c:v>#N/A</c:v>
                </c:pt>
                <c:pt idx="1793">
                  <c:v>#N/A</c:v>
                </c:pt>
                <c:pt idx="1794">
                  <c:v>#N/A</c:v>
                </c:pt>
                <c:pt idx="1795">
                  <c:v>#N/A</c:v>
                </c:pt>
                <c:pt idx="1796">
                  <c:v>#N/A</c:v>
                </c:pt>
                <c:pt idx="1797">
                  <c:v>#N/A</c:v>
                </c:pt>
                <c:pt idx="1798">
                  <c:v>#N/A</c:v>
                </c:pt>
                <c:pt idx="1799">
                  <c:v>#N/A</c:v>
                </c:pt>
                <c:pt idx="1800">
                  <c:v>#N/A</c:v>
                </c:pt>
                <c:pt idx="1801">
                  <c:v>#N/A</c:v>
                </c:pt>
                <c:pt idx="1802">
                  <c:v>#N/A</c:v>
                </c:pt>
                <c:pt idx="1803">
                  <c:v>#N/A</c:v>
                </c:pt>
                <c:pt idx="1804">
                  <c:v>#N/A</c:v>
                </c:pt>
                <c:pt idx="1805">
                  <c:v>#N/A</c:v>
                </c:pt>
                <c:pt idx="1806">
                  <c:v>#N/A</c:v>
                </c:pt>
                <c:pt idx="1807">
                  <c:v>#N/A</c:v>
                </c:pt>
                <c:pt idx="1808">
                  <c:v>99.3</c:v>
                </c:pt>
                <c:pt idx="1809">
                  <c:v>#N/A</c:v>
                </c:pt>
                <c:pt idx="1810">
                  <c:v>#N/A</c:v>
                </c:pt>
                <c:pt idx="1811">
                  <c:v>#N/A</c:v>
                </c:pt>
                <c:pt idx="1812">
                  <c:v>#N/A</c:v>
                </c:pt>
                <c:pt idx="1813">
                  <c:v>#N/A</c:v>
                </c:pt>
                <c:pt idx="1814">
                  <c:v>#N/A</c:v>
                </c:pt>
                <c:pt idx="1815">
                  <c:v>#N/A</c:v>
                </c:pt>
                <c:pt idx="1816">
                  <c:v>#N/A</c:v>
                </c:pt>
                <c:pt idx="1817">
                  <c:v>#N/A</c:v>
                </c:pt>
                <c:pt idx="1818">
                  <c:v>#N/A</c:v>
                </c:pt>
                <c:pt idx="1819">
                  <c:v>#N/A</c:v>
                </c:pt>
                <c:pt idx="1820">
                  <c:v>#N/A</c:v>
                </c:pt>
                <c:pt idx="1821">
                  <c:v>#N/A</c:v>
                </c:pt>
                <c:pt idx="1822">
                  <c:v>#N/A</c:v>
                </c:pt>
                <c:pt idx="1823">
                  <c:v>#N/A</c:v>
                </c:pt>
                <c:pt idx="1824">
                  <c:v>#N/A</c:v>
                </c:pt>
                <c:pt idx="1825">
                  <c:v>#N/A</c:v>
                </c:pt>
                <c:pt idx="1826">
                  <c:v>#N/A</c:v>
                </c:pt>
                <c:pt idx="1827">
                  <c:v>#N/A</c:v>
                </c:pt>
                <c:pt idx="1828">
                  <c:v>#N/A</c:v>
                </c:pt>
                <c:pt idx="1829">
                  <c:v>#N/A</c:v>
                </c:pt>
                <c:pt idx="1830">
                  <c:v>100.1</c:v>
                </c:pt>
                <c:pt idx="1831">
                  <c:v>#N/A</c:v>
                </c:pt>
                <c:pt idx="1832">
                  <c:v>#N/A</c:v>
                </c:pt>
                <c:pt idx="1833">
                  <c:v>#N/A</c:v>
                </c:pt>
                <c:pt idx="1834">
                  <c:v>#N/A</c:v>
                </c:pt>
                <c:pt idx="1835">
                  <c:v>#N/A</c:v>
                </c:pt>
                <c:pt idx="1836">
                  <c:v>#N/A</c:v>
                </c:pt>
                <c:pt idx="1837">
                  <c:v>#N/A</c:v>
                </c:pt>
                <c:pt idx="1838">
                  <c:v>#N/A</c:v>
                </c:pt>
                <c:pt idx="1839">
                  <c:v>#N/A</c:v>
                </c:pt>
                <c:pt idx="1840">
                  <c:v>#N/A</c:v>
                </c:pt>
                <c:pt idx="1841">
                  <c:v>#N/A</c:v>
                </c:pt>
                <c:pt idx="1842">
                  <c:v>#N/A</c:v>
                </c:pt>
                <c:pt idx="1843">
                  <c:v>#N/A</c:v>
                </c:pt>
                <c:pt idx="1844">
                  <c:v>#N/A</c:v>
                </c:pt>
                <c:pt idx="1845">
                  <c:v>#N/A</c:v>
                </c:pt>
                <c:pt idx="1846">
                  <c:v>#N/A</c:v>
                </c:pt>
                <c:pt idx="1847">
                  <c:v>#N/A</c:v>
                </c:pt>
                <c:pt idx="1848">
                  <c:v>#N/A</c:v>
                </c:pt>
                <c:pt idx="1849">
                  <c:v>#N/A</c:v>
                </c:pt>
                <c:pt idx="1850">
                  <c:v>#N/A</c:v>
                </c:pt>
                <c:pt idx="1851">
                  <c:v>#N/A</c:v>
                </c:pt>
                <c:pt idx="1852">
                  <c:v>#N/A</c:v>
                </c:pt>
                <c:pt idx="1853">
                  <c:v>100.9</c:v>
                </c:pt>
                <c:pt idx="1854">
                  <c:v>#N/A</c:v>
                </c:pt>
                <c:pt idx="1855">
                  <c:v>#N/A</c:v>
                </c:pt>
                <c:pt idx="1856">
                  <c:v>#N/A</c:v>
                </c:pt>
                <c:pt idx="1857">
                  <c:v>#N/A</c:v>
                </c:pt>
                <c:pt idx="1858">
                  <c:v>#N/A</c:v>
                </c:pt>
                <c:pt idx="1859">
                  <c:v>#N/A</c:v>
                </c:pt>
                <c:pt idx="1860">
                  <c:v>#N/A</c:v>
                </c:pt>
                <c:pt idx="1861">
                  <c:v>#N/A</c:v>
                </c:pt>
                <c:pt idx="1862">
                  <c:v>#N/A</c:v>
                </c:pt>
                <c:pt idx="1863">
                  <c:v>#N/A</c:v>
                </c:pt>
                <c:pt idx="1864">
                  <c:v>#N/A</c:v>
                </c:pt>
                <c:pt idx="1865">
                  <c:v>#N/A</c:v>
                </c:pt>
                <c:pt idx="1866">
                  <c:v>#N/A</c:v>
                </c:pt>
                <c:pt idx="1867">
                  <c:v>#N/A</c:v>
                </c:pt>
                <c:pt idx="1868">
                  <c:v>#N/A</c:v>
                </c:pt>
                <c:pt idx="1869">
                  <c:v>#N/A</c:v>
                </c:pt>
                <c:pt idx="1870">
                  <c:v>#N/A</c:v>
                </c:pt>
                <c:pt idx="1871">
                  <c:v>#N/A</c:v>
                </c:pt>
                <c:pt idx="1872">
                  <c:v>#N/A</c:v>
                </c:pt>
                <c:pt idx="1873">
                  <c:v>#N/A</c:v>
                </c:pt>
                <c:pt idx="1874">
                  <c:v>100.9</c:v>
                </c:pt>
                <c:pt idx="1875">
                  <c:v>#N/A</c:v>
                </c:pt>
                <c:pt idx="1876">
                  <c:v>#N/A</c:v>
                </c:pt>
                <c:pt idx="1877">
                  <c:v>#N/A</c:v>
                </c:pt>
                <c:pt idx="1878">
                  <c:v>#N/A</c:v>
                </c:pt>
                <c:pt idx="1879">
                  <c:v>#N/A</c:v>
                </c:pt>
                <c:pt idx="1880">
                  <c:v>#N/A</c:v>
                </c:pt>
                <c:pt idx="1881">
                  <c:v>#N/A</c:v>
                </c:pt>
                <c:pt idx="1882">
                  <c:v>#N/A</c:v>
                </c:pt>
                <c:pt idx="1883">
                  <c:v>#N/A</c:v>
                </c:pt>
                <c:pt idx="1884">
                  <c:v>#N/A</c:v>
                </c:pt>
                <c:pt idx="1885">
                  <c:v>#N/A</c:v>
                </c:pt>
                <c:pt idx="1886">
                  <c:v>#N/A</c:v>
                </c:pt>
                <c:pt idx="1887">
                  <c:v>#N/A</c:v>
                </c:pt>
                <c:pt idx="1888">
                  <c:v>#N/A</c:v>
                </c:pt>
                <c:pt idx="1889">
                  <c:v>#N/A</c:v>
                </c:pt>
                <c:pt idx="1890">
                  <c:v>#N/A</c:v>
                </c:pt>
                <c:pt idx="1891">
                  <c:v>#N/A</c:v>
                </c:pt>
                <c:pt idx="1892">
                  <c:v>#N/A</c:v>
                </c:pt>
                <c:pt idx="1893">
                  <c:v>#N/A</c:v>
                </c:pt>
                <c:pt idx="1894">
                  <c:v>100.8</c:v>
                </c:pt>
                <c:pt idx="1895">
                  <c:v>#N/A</c:v>
                </c:pt>
                <c:pt idx="1896">
                  <c:v>#N/A</c:v>
                </c:pt>
                <c:pt idx="1897">
                  <c:v>#N/A</c:v>
                </c:pt>
                <c:pt idx="1898">
                  <c:v>#N/A</c:v>
                </c:pt>
                <c:pt idx="1899">
                  <c:v>#N/A</c:v>
                </c:pt>
                <c:pt idx="1900">
                  <c:v>#N/A</c:v>
                </c:pt>
                <c:pt idx="1901">
                  <c:v>#N/A</c:v>
                </c:pt>
                <c:pt idx="1902">
                  <c:v>#N/A</c:v>
                </c:pt>
                <c:pt idx="1903">
                  <c:v>#N/A</c:v>
                </c:pt>
                <c:pt idx="1904">
                  <c:v>#N/A</c:v>
                </c:pt>
                <c:pt idx="1905">
                  <c:v>#N/A</c:v>
                </c:pt>
                <c:pt idx="1906">
                  <c:v>#N/A</c:v>
                </c:pt>
                <c:pt idx="1907">
                  <c:v>#N/A</c:v>
                </c:pt>
                <c:pt idx="1908">
                  <c:v>#N/A</c:v>
                </c:pt>
                <c:pt idx="1909">
                  <c:v>#N/A</c:v>
                </c:pt>
                <c:pt idx="1910">
                  <c:v>#N/A</c:v>
                </c:pt>
                <c:pt idx="1911">
                  <c:v>#N/A</c:v>
                </c:pt>
                <c:pt idx="1912">
                  <c:v>#N/A</c:v>
                </c:pt>
                <c:pt idx="1913">
                  <c:v>#N/A</c:v>
                </c:pt>
                <c:pt idx="1914">
                  <c:v>#N/A</c:v>
                </c:pt>
                <c:pt idx="1915">
                  <c:v>#N/A</c:v>
                </c:pt>
                <c:pt idx="1916">
                  <c:v>#N/A</c:v>
                </c:pt>
                <c:pt idx="1917">
                  <c:v>96.9</c:v>
                </c:pt>
                <c:pt idx="1918">
                  <c:v>#N/A</c:v>
                </c:pt>
                <c:pt idx="1919">
                  <c:v>#N/A</c:v>
                </c:pt>
                <c:pt idx="1920">
                  <c:v>#N/A</c:v>
                </c:pt>
                <c:pt idx="1921">
                  <c:v>#N/A</c:v>
                </c:pt>
                <c:pt idx="1922">
                  <c:v>#N/A</c:v>
                </c:pt>
                <c:pt idx="1923">
                  <c:v>#N/A</c:v>
                </c:pt>
                <c:pt idx="1924">
                  <c:v>#N/A</c:v>
                </c:pt>
                <c:pt idx="1925">
                  <c:v>#N/A</c:v>
                </c:pt>
                <c:pt idx="1926">
                  <c:v>#N/A</c:v>
                </c:pt>
                <c:pt idx="1927">
                  <c:v>#N/A</c:v>
                </c:pt>
                <c:pt idx="1928">
                  <c:v>#N/A</c:v>
                </c:pt>
                <c:pt idx="1929">
                  <c:v>#N/A</c:v>
                </c:pt>
                <c:pt idx="1930">
                  <c:v>#N/A</c:v>
                </c:pt>
                <c:pt idx="1931">
                  <c:v>#N/A</c:v>
                </c:pt>
                <c:pt idx="1932">
                  <c:v>#N/A</c:v>
                </c:pt>
                <c:pt idx="1933">
                  <c:v>#N/A</c:v>
                </c:pt>
                <c:pt idx="1934">
                  <c:v>#N/A</c:v>
                </c:pt>
                <c:pt idx="1935">
                  <c:v>#N/A</c:v>
                </c:pt>
                <c:pt idx="1936">
                  <c:v>#N/A</c:v>
                </c:pt>
                <c:pt idx="1937">
                  <c:v>#N/A</c:v>
                </c:pt>
                <c:pt idx="1938">
                  <c:v>98.1</c:v>
                </c:pt>
                <c:pt idx="1939">
                  <c:v>#N/A</c:v>
                </c:pt>
                <c:pt idx="1940">
                  <c:v>#N/A</c:v>
                </c:pt>
                <c:pt idx="1941">
                  <c:v>#N/A</c:v>
                </c:pt>
                <c:pt idx="1942">
                  <c:v>#N/A</c:v>
                </c:pt>
                <c:pt idx="1943">
                  <c:v>#N/A</c:v>
                </c:pt>
                <c:pt idx="1944">
                  <c:v>#N/A</c:v>
                </c:pt>
                <c:pt idx="1945">
                  <c:v>#N/A</c:v>
                </c:pt>
                <c:pt idx="1946">
                  <c:v>#N/A</c:v>
                </c:pt>
                <c:pt idx="1947">
                  <c:v>#N/A</c:v>
                </c:pt>
                <c:pt idx="1948">
                  <c:v>#N/A</c:v>
                </c:pt>
                <c:pt idx="1949">
                  <c:v>#N/A</c:v>
                </c:pt>
                <c:pt idx="1950">
                  <c:v>#N/A</c:v>
                </c:pt>
                <c:pt idx="1951">
                  <c:v>#N/A</c:v>
                </c:pt>
                <c:pt idx="1952">
                  <c:v>#N/A</c:v>
                </c:pt>
                <c:pt idx="1953">
                  <c:v>#N/A</c:v>
                </c:pt>
                <c:pt idx="1954">
                  <c:v>#N/A</c:v>
                </c:pt>
                <c:pt idx="1955">
                  <c:v>#N/A</c:v>
                </c:pt>
                <c:pt idx="1956">
                  <c:v>#N/A</c:v>
                </c:pt>
                <c:pt idx="1957">
                  <c:v>#N/A</c:v>
                </c:pt>
                <c:pt idx="1958">
                  <c:v>#N/A</c:v>
                </c:pt>
                <c:pt idx="1959">
                  <c:v>#N/A</c:v>
                </c:pt>
                <c:pt idx="1960">
                  <c:v>98.7</c:v>
                </c:pt>
                <c:pt idx="1961">
                  <c:v>#N/A</c:v>
                </c:pt>
                <c:pt idx="1962">
                  <c:v>#N/A</c:v>
                </c:pt>
                <c:pt idx="1963">
                  <c:v>#N/A</c:v>
                </c:pt>
                <c:pt idx="1964">
                  <c:v>#N/A</c:v>
                </c:pt>
                <c:pt idx="1965">
                  <c:v>#N/A</c:v>
                </c:pt>
                <c:pt idx="1966">
                  <c:v>#N/A</c:v>
                </c:pt>
                <c:pt idx="1967">
                  <c:v>#N/A</c:v>
                </c:pt>
                <c:pt idx="1968">
                  <c:v>#N/A</c:v>
                </c:pt>
                <c:pt idx="1969">
                  <c:v>#N/A</c:v>
                </c:pt>
                <c:pt idx="1970">
                  <c:v>#N/A</c:v>
                </c:pt>
                <c:pt idx="1971">
                  <c:v>#N/A</c:v>
                </c:pt>
                <c:pt idx="1972">
                  <c:v>#N/A</c:v>
                </c:pt>
                <c:pt idx="1973">
                  <c:v>#N/A</c:v>
                </c:pt>
                <c:pt idx="1974">
                  <c:v>#N/A</c:v>
                </c:pt>
                <c:pt idx="1975">
                  <c:v>#N/A</c:v>
                </c:pt>
                <c:pt idx="1976">
                  <c:v>#N/A</c:v>
                </c:pt>
                <c:pt idx="1977">
                  <c:v>#N/A</c:v>
                </c:pt>
                <c:pt idx="1978">
                  <c:v>#N/A</c:v>
                </c:pt>
                <c:pt idx="1979">
                  <c:v>#N/A</c:v>
                </c:pt>
                <c:pt idx="1980">
                  <c:v>#N/A</c:v>
                </c:pt>
                <c:pt idx="1981">
                  <c:v>#N/A</c:v>
                </c:pt>
                <c:pt idx="1982">
                  <c:v>99.5</c:v>
                </c:pt>
                <c:pt idx="1983">
                  <c:v>#N/A</c:v>
                </c:pt>
                <c:pt idx="1984">
                  <c:v>#N/A</c:v>
                </c:pt>
                <c:pt idx="1985">
                  <c:v>#N/A</c:v>
                </c:pt>
                <c:pt idx="1986">
                  <c:v>#N/A</c:v>
                </c:pt>
                <c:pt idx="1987">
                  <c:v>#N/A</c:v>
                </c:pt>
                <c:pt idx="1988">
                  <c:v>#N/A</c:v>
                </c:pt>
                <c:pt idx="1989">
                  <c:v>#N/A</c:v>
                </c:pt>
                <c:pt idx="1990">
                  <c:v>#N/A</c:v>
                </c:pt>
                <c:pt idx="1991">
                  <c:v>#N/A</c:v>
                </c:pt>
                <c:pt idx="1992">
                  <c:v>#N/A</c:v>
                </c:pt>
                <c:pt idx="1993">
                  <c:v>#N/A</c:v>
                </c:pt>
                <c:pt idx="1994">
                  <c:v>#N/A</c:v>
                </c:pt>
                <c:pt idx="1995">
                  <c:v>#N/A</c:v>
                </c:pt>
                <c:pt idx="1996">
                  <c:v>#N/A</c:v>
                </c:pt>
                <c:pt idx="1997">
                  <c:v>#N/A</c:v>
                </c:pt>
                <c:pt idx="1998">
                  <c:v>#N/A</c:v>
                </c:pt>
                <c:pt idx="1999">
                  <c:v>#N/A</c:v>
                </c:pt>
                <c:pt idx="2000">
                  <c:v>#N/A</c:v>
                </c:pt>
                <c:pt idx="2001">
                  <c:v>#N/A</c:v>
                </c:pt>
                <c:pt idx="2002">
                  <c:v>#N/A</c:v>
                </c:pt>
                <c:pt idx="2003">
                  <c:v>99</c:v>
                </c:pt>
                <c:pt idx="2004">
                  <c:v>#N/A</c:v>
                </c:pt>
                <c:pt idx="2005">
                  <c:v>#N/A</c:v>
                </c:pt>
                <c:pt idx="2006">
                  <c:v>#N/A</c:v>
                </c:pt>
                <c:pt idx="2007">
                  <c:v>#N/A</c:v>
                </c:pt>
                <c:pt idx="2008">
                  <c:v>#N/A</c:v>
                </c:pt>
                <c:pt idx="2009">
                  <c:v>#N/A</c:v>
                </c:pt>
                <c:pt idx="2010">
                  <c:v>#N/A</c:v>
                </c:pt>
                <c:pt idx="2011">
                  <c:v>#N/A</c:v>
                </c:pt>
                <c:pt idx="2012">
                  <c:v>#N/A</c:v>
                </c:pt>
                <c:pt idx="2013">
                  <c:v>#N/A</c:v>
                </c:pt>
                <c:pt idx="2014">
                  <c:v>#N/A</c:v>
                </c:pt>
                <c:pt idx="2015">
                  <c:v>#N/A</c:v>
                </c:pt>
                <c:pt idx="2016">
                  <c:v>#N/A</c:v>
                </c:pt>
                <c:pt idx="2017">
                  <c:v>#N/A</c:v>
                </c:pt>
                <c:pt idx="2018">
                  <c:v>#N/A</c:v>
                </c:pt>
                <c:pt idx="2019">
                  <c:v>#N/A</c:v>
                </c:pt>
                <c:pt idx="2020">
                  <c:v>#N/A</c:v>
                </c:pt>
                <c:pt idx="2021">
                  <c:v>#N/A</c:v>
                </c:pt>
                <c:pt idx="2022">
                  <c:v>#N/A</c:v>
                </c:pt>
                <c:pt idx="2023">
                  <c:v>#N/A</c:v>
                </c:pt>
                <c:pt idx="2024">
                  <c:v>#N/A</c:v>
                </c:pt>
                <c:pt idx="2025">
                  <c:v>#N/A</c:v>
                </c:pt>
                <c:pt idx="2026">
                  <c:v>98</c:v>
                </c:pt>
                <c:pt idx="2027">
                  <c:v>#N/A</c:v>
                </c:pt>
                <c:pt idx="2028">
                  <c:v>#N/A</c:v>
                </c:pt>
                <c:pt idx="2029">
                  <c:v>#N/A</c:v>
                </c:pt>
                <c:pt idx="2030">
                  <c:v>#N/A</c:v>
                </c:pt>
                <c:pt idx="2031">
                  <c:v>#N/A</c:v>
                </c:pt>
                <c:pt idx="2032">
                  <c:v>#N/A</c:v>
                </c:pt>
                <c:pt idx="2033">
                  <c:v>#N/A</c:v>
                </c:pt>
                <c:pt idx="2034">
                  <c:v>#N/A</c:v>
                </c:pt>
                <c:pt idx="2035">
                  <c:v>#N/A</c:v>
                </c:pt>
                <c:pt idx="2036">
                  <c:v>#N/A</c:v>
                </c:pt>
                <c:pt idx="2037">
                  <c:v>#N/A</c:v>
                </c:pt>
                <c:pt idx="2038">
                  <c:v>#N/A</c:v>
                </c:pt>
                <c:pt idx="2039">
                  <c:v>#N/A</c:v>
                </c:pt>
                <c:pt idx="2040">
                  <c:v>#N/A</c:v>
                </c:pt>
                <c:pt idx="2041">
                  <c:v>#N/A</c:v>
                </c:pt>
                <c:pt idx="2042">
                  <c:v>#N/A</c:v>
                </c:pt>
                <c:pt idx="2043">
                  <c:v>#N/A</c:v>
                </c:pt>
                <c:pt idx="2044">
                  <c:v>#N/A</c:v>
                </c:pt>
                <c:pt idx="2045">
                  <c:v>#N/A</c:v>
                </c:pt>
                <c:pt idx="2046">
                  <c:v>#N/A</c:v>
                </c:pt>
                <c:pt idx="2047">
                  <c:v>#N/A</c:v>
                </c:pt>
                <c:pt idx="2048">
                  <c:v>99.5</c:v>
                </c:pt>
                <c:pt idx="2049">
                  <c:v>#N/A</c:v>
                </c:pt>
                <c:pt idx="2050">
                  <c:v>#N/A</c:v>
                </c:pt>
                <c:pt idx="2051">
                  <c:v>#N/A</c:v>
                </c:pt>
                <c:pt idx="2052">
                  <c:v>#N/A</c:v>
                </c:pt>
                <c:pt idx="2053">
                  <c:v>#N/A</c:v>
                </c:pt>
                <c:pt idx="2054">
                  <c:v>#N/A</c:v>
                </c:pt>
                <c:pt idx="2055">
                  <c:v>#N/A</c:v>
                </c:pt>
                <c:pt idx="2056">
                  <c:v>#N/A</c:v>
                </c:pt>
                <c:pt idx="2057">
                  <c:v>#N/A</c:v>
                </c:pt>
                <c:pt idx="2058">
                  <c:v>#N/A</c:v>
                </c:pt>
                <c:pt idx="2059">
                  <c:v>#N/A</c:v>
                </c:pt>
                <c:pt idx="2060">
                  <c:v>#N/A</c:v>
                </c:pt>
                <c:pt idx="2061">
                  <c:v>#N/A</c:v>
                </c:pt>
                <c:pt idx="2062">
                  <c:v>#N/A</c:v>
                </c:pt>
                <c:pt idx="2063">
                  <c:v>#N/A</c:v>
                </c:pt>
                <c:pt idx="2064">
                  <c:v>#N/A</c:v>
                </c:pt>
                <c:pt idx="2065">
                  <c:v>#N/A</c:v>
                </c:pt>
                <c:pt idx="2066">
                  <c:v>#N/A</c:v>
                </c:pt>
                <c:pt idx="2067">
                  <c:v>#N/A</c:v>
                </c:pt>
                <c:pt idx="2068">
                  <c:v>#N/A</c:v>
                </c:pt>
                <c:pt idx="2069">
                  <c:v>98.9</c:v>
                </c:pt>
                <c:pt idx="2070">
                  <c:v>#N/A</c:v>
                </c:pt>
                <c:pt idx="2071">
                  <c:v>#N/A</c:v>
                </c:pt>
                <c:pt idx="2072">
                  <c:v>#N/A</c:v>
                </c:pt>
                <c:pt idx="2073">
                  <c:v>#N/A</c:v>
                </c:pt>
                <c:pt idx="2074">
                  <c:v>#N/A</c:v>
                </c:pt>
                <c:pt idx="2075">
                  <c:v>#N/A</c:v>
                </c:pt>
                <c:pt idx="2076">
                  <c:v>#N/A</c:v>
                </c:pt>
                <c:pt idx="2077">
                  <c:v>#N/A</c:v>
                </c:pt>
                <c:pt idx="2078">
                  <c:v>#N/A</c:v>
                </c:pt>
                <c:pt idx="2079">
                  <c:v>#N/A</c:v>
                </c:pt>
                <c:pt idx="2080">
                  <c:v>#N/A</c:v>
                </c:pt>
                <c:pt idx="2081">
                  <c:v>#N/A</c:v>
                </c:pt>
                <c:pt idx="2082">
                  <c:v>#N/A</c:v>
                </c:pt>
                <c:pt idx="2083">
                  <c:v>#N/A</c:v>
                </c:pt>
                <c:pt idx="2084">
                  <c:v>#N/A</c:v>
                </c:pt>
                <c:pt idx="2085">
                  <c:v>#N/A</c:v>
                </c:pt>
                <c:pt idx="2086">
                  <c:v>#N/A</c:v>
                </c:pt>
                <c:pt idx="2087">
                  <c:v>#N/A</c:v>
                </c:pt>
                <c:pt idx="2088">
                  <c:v>#N/A</c:v>
                </c:pt>
                <c:pt idx="2089">
                  <c:v>#N/A</c:v>
                </c:pt>
                <c:pt idx="2090">
                  <c:v>#N/A</c:v>
                </c:pt>
                <c:pt idx="2091">
                  <c:v>99.7</c:v>
                </c:pt>
                <c:pt idx="2092">
                  <c:v>#N/A</c:v>
                </c:pt>
                <c:pt idx="2093">
                  <c:v>#N/A</c:v>
                </c:pt>
                <c:pt idx="2094">
                  <c:v>#N/A</c:v>
                </c:pt>
                <c:pt idx="2095">
                  <c:v>#N/A</c:v>
                </c:pt>
                <c:pt idx="2096">
                  <c:v>#N/A</c:v>
                </c:pt>
                <c:pt idx="2097">
                  <c:v>#N/A</c:v>
                </c:pt>
                <c:pt idx="2098">
                  <c:v>#N/A</c:v>
                </c:pt>
                <c:pt idx="2099">
                  <c:v>#N/A</c:v>
                </c:pt>
                <c:pt idx="2100">
                  <c:v>#N/A</c:v>
                </c:pt>
                <c:pt idx="2101">
                  <c:v>#N/A</c:v>
                </c:pt>
                <c:pt idx="2102">
                  <c:v>#N/A</c:v>
                </c:pt>
                <c:pt idx="2103">
                  <c:v>#N/A</c:v>
                </c:pt>
                <c:pt idx="2104">
                  <c:v>#N/A</c:v>
                </c:pt>
                <c:pt idx="2105">
                  <c:v>#N/A</c:v>
                </c:pt>
                <c:pt idx="2106">
                  <c:v>#N/A</c:v>
                </c:pt>
                <c:pt idx="2107">
                  <c:v>#N/A</c:v>
                </c:pt>
                <c:pt idx="2108">
                  <c:v>#N/A</c:v>
                </c:pt>
                <c:pt idx="2109">
                  <c:v>#N/A</c:v>
                </c:pt>
                <c:pt idx="2110">
                  <c:v>#N/A</c:v>
                </c:pt>
                <c:pt idx="2111">
                  <c:v>#N/A</c:v>
                </c:pt>
                <c:pt idx="2112">
                  <c:v>#N/A</c:v>
                </c:pt>
                <c:pt idx="2113">
                  <c:v>96.6</c:v>
                </c:pt>
                <c:pt idx="2114">
                  <c:v>#N/A</c:v>
                </c:pt>
                <c:pt idx="2115">
                  <c:v>#N/A</c:v>
                </c:pt>
                <c:pt idx="2116">
                  <c:v>#N/A</c:v>
                </c:pt>
                <c:pt idx="2117">
                  <c:v>#N/A</c:v>
                </c:pt>
                <c:pt idx="2118">
                  <c:v>#N/A</c:v>
                </c:pt>
                <c:pt idx="2119">
                  <c:v>#N/A</c:v>
                </c:pt>
                <c:pt idx="2120">
                  <c:v>#N/A</c:v>
                </c:pt>
                <c:pt idx="2121">
                  <c:v>#N/A</c:v>
                </c:pt>
                <c:pt idx="2122">
                  <c:v>#N/A</c:v>
                </c:pt>
                <c:pt idx="2123">
                  <c:v>#N/A</c:v>
                </c:pt>
                <c:pt idx="2124">
                  <c:v>#N/A</c:v>
                </c:pt>
                <c:pt idx="2125">
                  <c:v>#N/A</c:v>
                </c:pt>
                <c:pt idx="2126">
                  <c:v>#N/A</c:v>
                </c:pt>
                <c:pt idx="2127">
                  <c:v>#N/A</c:v>
                </c:pt>
                <c:pt idx="2128">
                  <c:v>#N/A</c:v>
                </c:pt>
                <c:pt idx="2129">
                  <c:v>#N/A</c:v>
                </c:pt>
                <c:pt idx="2130">
                  <c:v>#N/A</c:v>
                </c:pt>
                <c:pt idx="2131">
                  <c:v>#N/A</c:v>
                </c:pt>
                <c:pt idx="2132">
                  <c:v>#N/A</c:v>
                </c:pt>
                <c:pt idx="2133">
                  <c:v>#N/A</c:v>
                </c:pt>
                <c:pt idx="2134">
                  <c:v>#N/A</c:v>
                </c:pt>
                <c:pt idx="2135">
                  <c:v>99.2</c:v>
                </c:pt>
                <c:pt idx="2136">
                  <c:v>#N/A</c:v>
                </c:pt>
                <c:pt idx="2137">
                  <c:v>#N/A</c:v>
                </c:pt>
                <c:pt idx="2138">
                  <c:v>#N/A</c:v>
                </c:pt>
                <c:pt idx="2139">
                  <c:v>#N/A</c:v>
                </c:pt>
                <c:pt idx="2140">
                  <c:v>#N/A</c:v>
                </c:pt>
                <c:pt idx="2141">
                  <c:v>#N/A</c:v>
                </c:pt>
                <c:pt idx="2142">
                  <c:v>#N/A</c:v>
                </c:pt>
                <c:pt idx="2143">
                  <c:v>#N/A</c:v>
                </c:pt>
                <c:pt idx="2144">
                  <c:v>#N/A</c:v>
                </c:pt>
                <c:pt idx="2145">
                  <c:v>#N/A</c:v>
                </c:pt>
                <c:pt idx="2146">
                  <c:v>#N/A</c:v>
                </c:pt>
                <c:pt idx="2147">
                  <c:v>#N/A</c:v>
                </c:pt>
                <c:pt idx="2148">
                  <c:v>#N/A</c:v>
                </c:pt>
                <c:pt idx="2149">
                  <c:v>#N/A</c:v>
                </c:pt>
                <c:pt idx="2150">
                  <c:v>#N/A</c:v>
                </c:pt>
                <c:pt idx="2151">
                  <c:v>#N/A</c:v>
                </c:pt>
                <c:pt idx="2152">
                  <c:v>#N/A</c:v>
                </c:pt>
                <c:pt idx="2153">
                  <c:v>#N/A</c:v>
                </c:pt>
                <c:pt idx="2154">
                  <c:v>#N/A</c:v>
                </c:pt>
                <c:pt idx="2155">
                  <c:v>101.1</c:v>
                </c:pt>
                <c:pt idx="2156">
                  <c:v>#N/A</c:v>
                </c:pt>
                <c:pt idx="2157">
                  <c:v>#N/A</c:v>
                </c:pt>
                <c:pt idx="2158">
                  <c:v>#N/A</c:v>
                </c:pt>
                <c:pt idx="2159">
                  <c:v>#N/A</c:v>
                </c:pt>
                <c:pt idx="2160">
                  <c:v>#N/A</c:v>
                </c:pt>
                <c:pt idx="2161">
                  <c:v>#N/A</c:v>
                </c:pt>
                <c:pt idx="2162">
                  <c:v>#N/A</c:v>
                </c:pt>
                <c:pt idx="2163">
                  <c:v>#N/A</c:v>
                </c:pt>
                <c:pt idx="2164">
                  <c:v>#N/A</c:v>
                </c:pt>
                <c:pt idx="2165">
                  <c:v>#N/A</c:v>
                </c:pt>
                <c:pt idx="2166">
                  <c:v>#N/A</c:v>
                </c:pt>
                <c:pt idx="2167">
                  <c:v>#N/A</c:v>
                </c:pt>
                <c:pt idx="2168">
                  <c:v>#N/A</c:v>
                </c:pt>
                <c:pt idx="2169">
                  <c:v>#N/A</c:v>
                </c:pt>
                <c:pt idx="2170">
                  <c:v>#N/A</c:v>
                </c:pt>
                <c:pt idx="2171">
                  <c:v>#N/A</c:v>
                </c:pt>
                <c:pt idx="2172">
                  <c:v>#N/A</c:v>
                </c:pt>
                <c:pt idx="2173">
                  <c:v>#N/A</c:v>
                </c:pt>
                <c:pt idx="2174">
                  <c:v>#N/A</c:v>
                </c:pt>
                <c:pt idx="2175">
                  <c:v>#N/A</c:v>
                </c:pt>
                <c:pt idx="2176">
                  <c:v>#N/A</c:v>
                </c:pt>
                <c:pt idx="2177">
                  <c:v>#N/A</c:v>
                </c:pt>
                <c:pt idx="2178">
                  <c:v>99.1</c:v>
                </c:pt>
                <c:pt idx="2179">
                  <c:v>#N/A</c:v>
                </c:pt>
                <c:pt idx="2180">
                  <c:v>#N/A</c:v>
                </c:pt>
                <c:pt idx="2181">
                  <c:v>#N/A</c:v>
                </c:pt>
                <c:pt idx="2182">
                  <c:v>#N/A</c:v>
                </c:pt>
                <c:pt idx="2183">
                  <c:v>#N/A</c:v>
                </c:pt>
                <c:pt idx="2184">
                  <c:v>#N/A</c:v>
                </c:pt>
                <c:pt idx="2185">
                  <c:v>#N/A</c:v>
                </c:pt>
                <c:pt idx="2186">
                  <c:v>#N/A</c:v>
                </c:pt>
                <c:pt idx="2187">
                  <c:v>#N/A</c:v>
                </c:pt>
                <c:pt idx="2188">
                  <c:v>#N/A</c:v>
                </c:pt>
                <c:pt idx="2189">
                  <c:v>#N/A</c:v>
                </c:pt>
                <c:pt idx="2190">
                  <c:v>#N/A</c:v>
                </c:pt>
                <c:pt idx="2191">
                  <c:v>#N/A</c:v>
                </c:pt>
                <c:pt idx="2192">
                  <c:v>#N/A</c:v>
                </c:pt>
                <c:pt idx="2193">
                  <c:v>#N/A</c:v>
                </c:pt>
                <c:pt idx="2194">
                  <c:v>#N/A</c:v>
                </c:pt>
                <c:pt idx="2195">
                  <c:v>#N/A</c:v>
                </c:pt>
                <c:pt idx="2196">
                  <c:v>#N/A</c:v>
                </c:pt>
                <c:pt idx="2197">
                  <c:v>#N/A</c:v>
                </c:pt>
                <c:pt idx="2198">
                  <c:v>98.6</c:v>
                </c:pt>
                <c:pt idx="2199">
                  <c:v>#N/A</c:v>
                </c:pt>
                <c:pt idx="2200">
                  <c:v>#N/A</c:v>
                </c:pt>
                <c:pt idx="2201">
                  <c:v>#N/A</c:v>
                </c:pt>
                <c:pt idx="2202">
                  <c:v>#N/A</c:v>
                </c:pt>
                <c:pt idx="2203">
                  <c:v>#N/A</c:v>
                </c:pt>
                <c:pt idx="2204">
                  <c:v>#N/A</c:v>
                </c:pt>
                <c:pt idx="2205">
                  <c:v>#N/A</c:v>
                </c:pt>
                <c:pt idx="2206">
                  <c:v>#N/A</c:v>
                </c:pt>
                <c:pt idx="2207">
                  <c:v>#N/A</c:v>
                </c:pt>
                <c:pt idx="2208">
                  <c:v>#N/A</c:v>
                </c:pt>
                <c:pt idx="2209">
                  <c:v>#N/A</c:v>
                </c:pt>
                <c:pt idx="2210">
                  <c:v>#N/A</c:v>
                </c:pt>
                <c:pt idx="2211">
                  <c:v>#N/A</c:v>
                </c:pt>
                <c:pt idx="2212">
                  <c:v>#N/A</c:v>
                </c:pt>
                <c:pt idx="2213">
                  <c:v>#N/A</c:v>
                </c:pt>
                <c:pt idx="2214">
                  <c:v>#N/A</c:v>
                </c:pt>
                <c:pt idx="2215">
                  <c:v>#N/A</c:v>
                </c:pt>
                <c:pt idx="2216">
                  <c:v>#N/A</c:v>
                </c:pt>
                <c:pt idx="2217">
                  <c:v>#N/A</c:v>
                </c:pt>
                <c:pt idx="2218">
                  <c:v>#N/A</c:v>
                </c:pt>
                <c:pt idx="2219">
                  <c:v>#N/A</c:v>
                </c:pt>
                <c:pt idx="2220">
                  <c:v>#N/A</c:v>
                </c:pt>
                <c:pt idx="2221">
                  <c:v>99.2</c:v>
                </c:pt>
                <c:pt idx="2222">
                  <c:v>#N/A</c:v>
                </c:pt>
                <c:pt idx="2223">
                  <c:v>#N/A</c:v>
                </c:pt>
                <c:pt idx="2224">
                  <c:v>#N/A</c:v>
                </c:pt>
                <c:pt idx="2225">
                  <c:v>#N/A</c:v>
                </c:pt>
                <c:pt idx="2226">
                  <c:v>#N/A</c:v>
                </c:pt>
                <c:pt idx="2227">
                  <c:v>#N/A</c:v>
                </c:pt>
                <c:pt idx="2228">
                  <c:v>#N/A</c:v>
                </c:pt>
                <c:pt idx="2229">
                  <c:v>#N/A</c:v>
                </c:pt>
                <c:pt idx="2230">
                  <c:v>#N/A</c:v>
                </c:pt>
                <c:pt idx="2231">
                  <c:v>#N/A</c:v>
                </c:pt>
                <c:pt idx="2232">
                  <c:v>#N/A</c:v>
                </c:pt>
                <c:pt idx="2233">
                  <c:v>#N/A</c:v>
                </c:pt>
                <c:pt idx="2234">
                  <c:v>#N/A</c:v>
                </c:pt>
                <c:pt idx="2235">
                  <c:v>#N/A</c:v>
                </c:pt>
                <c:pt idx="2236">
                  <c:v>#N/A</c:v>
                </c:pt>
                <c:pt idx="2237">
                  <c:v>#N/A</c:v>
                </c:pt>
                <c:pt idx="2238">
                  <c:v>#N/A</c:v>
                </c:pt>
                <c:pt idx="2239">
                  <c:v>#N/A</c:v>
                </c:pt>
                <c:pt idx="2240">
                  <c:v>#N/A</c:v>
                </c:pt>
                <c:pt idx="2241">
                  <c:v>#N/A</c:v>
                </c:pt>
                <c:pt idx="2242">
                  <c:v>#N/A</c:v>
                </c:pt>
                <c:pt idx="2243">
                  <c:v>97.2</c:v>
                </c:pt>
                <c:pt idx="2244">
                  <c:v>#N/A</c:v>
                </c:pt>
                <c:pt idx="2245">
                  <c:v>#N/A</c:v>
                </c:pt>
                <c:pt idx="2246">
                  <c:v>#N/A</c:v>
                </c:pt>
                <c:pt idx="2247">
                  <c:v>#N/A</c:v>
                </c:pt>
                <c:pt idx="2248">
                  <c:v>#N/A</c:v>
                </c:pt>
                <c:pt idx="2249">
                  <c:v>#N/A</c:v>
                </c:pt>
                <c:pt idx="2250">
                  <c:v>#N/A</c:v>
                </c:pt>
                <c:pt idx="2251">
                  <c:v>#N/A</c:v>
                </c:pt>
                <c:pt idx="2252">
                  <c:v>#N/A</c:v>
                </c:pt>
                <c:pt idx="2253">
                  <c:v>#N/A</c:v>
                </c:pt>
                <c:pt idx="2254">
                  <c:v>#N/A</c:v>
                </c:pt>
                <c:pt idx="2255">
                  <c:v>#N/A</c:v>
                </c:pt>
                <c:pt idx="2256">
                  <c:v>#N/A</c:v>
                </c:pt>
                <c:pt idx="2257">
                  <c:v>#N/A</c:v>
                </c:pt>
                <c:pt idx="2258">
                  <c:v>#N/A</c:v>
                </c:pt>
                <c:pt idx="2259">
                  <c:v>#N/A</c:v>
                </c:pt>
                <c:pt idx="2260">
                  <c:v>#N/A</c:v>
                </c:pt>
                <c:pt idx="2261">
                  <c:v>#N/A</c:v>
                </c:pt>
                <c:pt idx="2262">
                  <c:v>#N/A</c:v>
                </c:pt>
                <c:pt idx="2263">
                  <c:v>#N/A</c:v>
                </c:pt>
                <c:pt idx="2264">
                  <c:v>96.6</c:v>
                </c:pt>
                <c:pt idx="2265">
                  <c:v>#N/A</c:v>
                </c:pt>
                <c:pt idx="2266">
                  <c:v>#N/A</c:v>
                </c:pt>
                <c:pt idx="2267">
                  <c:v>#N/A</c:v>
                </c:pt>
                <c:pt idx="2268">
                  <c:v>#N/A</c:v>
                </c:pt>
                <c:pt idx="2269">
                  <c:v>#N/A</c:v>
                </c:pt>
                <c:pt idx="2270">
                  <c:v>#N/A</c:v>
                </c:pt>
                <c:pt idx="2271">
                  <c:v>#N/A</c:v>
                </c:pt>
                <c:pt idx="2272">
                  <c:v>#N/A</c:v>
                </c:pt>
                <c:pt idx="2273">
                  <c:v>#N/A</c:v>
                </c:pt>
                <c:pt idx="2274">
                  <c:v>#N/A</c:v>
                </c:pt>
                <c:pt idx="2275">
                  <c:v>#N/A</c:v>
                </c:pt>
                <c:pt idx="2276">
                  <c:v>#N/A</c:v>
                </c:pt>
                <c:pt idx="2277">
                  <c:v>#N/A</c:v>
                </c:pt>
                <c:pt idx="2278">
                  <c:v>#N/A</c:v>
                </c:pt>
                <c:pt idx="2279">
                  <c:v>#N/A</c:v>
                </c:pt>
                <c:pt idx="2280">
                  <c:v>#N/A</c:v>
                </c:pt>
                <c:pt idx="2281">
                  <c:v>#N/A</c:v>
                </c:pt>
                <c:pt idx="2282">
                  <c:v>#N/A</c:v>
                </c:pt>
                <c:pt idx="2283">
                  <c:v>#N/A</c:v>
                </c:pt>
                <c:pt idx="2284">
                  <c:v>#N/A</c:v>
                </c:pt>
                <c:pt idx="2285">
                  <c:v>#N/A</c:v>
                </c:pt>
                <c:pt idx="2286">
                  <c:v>#N/A</c:v>
                </c:pt>
                <c:pt idx="2287">
                  <c:v>96</c:v>
                </c:pt>
                <c:pt idx="2288">
                  <c:v>#N/A</c:v>
                </c:pt>
                <c:pt idx="2289">
                  <c:v>#N/A</c:v>
                </c:pt>
                <c:pt idx="2290">
                  <c:v>#N/A</c:v>
                </c:pt>
                <c:pt idx="2291">
                  <c:v>#N/A</c:v>
                </c:pt>
                <c:pt idx="2292">
                  <c:v>#N/A</c:v>
                </c:pt>
                <c:pt idx="2293">
                  <c:v>#N/A</c:v>
                </c:pt>
                <c:pt idx="2294">
                  <c:v>#N/A</c:v>
                </c:pt>
                <c:pt idx="2295">
                  <c:v>#N/A</c:v>
                </c:pt>
                <c:pt idx="2296">
                  <c:v>#N/A</c:v>
                </c:pt>
                <c:pt idx="2297">
                  <c:v>#N/A</c:v>
                </c:pt>
                <c:pt idx="2298">
                  <c:v>#N/A</c:v>
                </c:pt>
                <c:pt idx="2299">
                  <c:v>#N/A</c:v>
                </c:pt>
                <c:pt idx="2300">
                  <c:v>#N/A</c:v>
                </c:pt>
                <c:pt idx="2301">
                  <c:v>#N/A</c:v>
                </c:pt>
                <c:pt idx="2302">
                  <c:v>#N/A</c:v>
                </c:pt>
                <c:pt idx="2303">
                  <c:v>#N/A</c:v>
                </c:pt>
                <c:pt idx="2304">
                  <c:v>#N/A</c:v>
                </c:pt>
                <c:pt idx="2305">
                  <c:v>#N/A</c:v>
                </c:pt>
                <c:pt idx="2306">
                  <c:v>#N/A</c:v>
                </c:pt>
                <c:pt idx="2307">
                  <c:v>#N/A</c:v>
                </c:pt>
                <c:pt idx="2308">
                  <c:v>95.4</c:v>
                </c:pt>
                <c:pt idx="2309">
                  <c:v>#N/A</c:v>
                </c:pt>
                <c:pt idx="2310">
                  <c:v>#N/A</c:v>
                </c:pt>
                <c:pt idx="2311">
                  <c:v>#N/A</c:v>
                </c:pt>
                <c:pt idx="2312">
                  <c:v>#N/A</c:v>
                </c:pt>
                <c:pt idx="2313">
                  <c:v>#N/A</c:v>
                </c:pt>
                <c:pt idx="2314">
                  <c:v>#N/A</c:v>
                </c:pt>
                <c:pt idx="2315">
                  <c:v>#N/A</c:v>
                </c:pt>
                <c:pt idx="2316">
                  <c:v>#N/A</c:v>
                </c:pt>
                <c:pt idx="2317">
                  <c:v>#N/A</c:v>
                </c:pt>
                <c:pt idx="2318">
                  <c:v>#N/A</c:v>
                </c:pt>
                <c:pt idx="2319">
                  <c:v>#N/A</c:v>
                </c:pt>
                <c:pt idx="2320">
                  <c:v>#N/A</c:v>
                </c:pt>
                <c:pt idx="2321">
                  <c:v>#N/A</c:v>
                </c:pt>
                <c:pt idx="2322">
                  <c:v>#N/A</c:v>
                </c:pt>
                <c:pt idx="2323">
                  <c:v>#N/A</c:v>
                </c:pt>
                <c:pt idx="2324">
                  <c:v>#N/A</c:v>
                </c:pt>
                <c:pt idx="2325">
                  <c:v>#N/A</c:v>
                </c:pt>
                <c:pt idx="2326">
                  <c:v>#N/A</c:v>
                </c:pt>
                <c:pt idx="2327">
                  <c:v>#N/A</c:v>
                </c:pt>
                <c:pt idx="2328">
                  <c:v>#N/A</c:v>
                </c:pt>
                <c:pt idx="2329">
                  <c:v>#N/A</c:v>
                </c:pt>
                <c:pt idx="2330">
                  <c:v>95</c:v>
                </c:pt>
                <c:pt idx="2331">
                  <c:v>#N/A</c:v>
                </c:pt>
                <c:pt idx="2332">
                  <c:v>#N/A</c:v>
                </c:pt>
                <c:pt idx="2333">
                  <c:v>#N/A</c:v>
                </c:pt>
                <c:pt idx="2334">
                  <c:v>#N/A</c:v>
                </c:pt>
                <c:pt idx="2335">
                  <c:v>#N/A</c:v>
                </c:pt>
                <c:pt idx="2336">
                  <c:v>#N/A</c:v>
                </c:pt>
                <c:pt idx="2337">
                  <c:v>#N/A</c:v>
                </c:pt>
                <c:pt idx="2338">
                  <c:v>#N/A</c:v>
                </c:pt>
                <c:pt idx="2339">
                  <c:v>#N/A</c:v>
                </c:pt>
                <c:pt idx="2340">
                  <c:v>#N/A</c:v>
                </c:pt>
                <c:pt idx="2341">
                  <c:v>#N/A</c:v>
                </c:pt>
                <c:pt idx="2342">
                  <c:v>#N/A</c:v>
                </c:pt>
                <c:pt idx="2343">
                  <c:v>#N/A</c:v>
                </c:pt>
                <c:pt idx="2344">
                  <c:v>#N/A</c:v>
                </c:pt>
                <c:pt idx="2345">
                  <c:v>#N/A</c:v>
                </c:pt>
                <c:pt idx="2346">
                  <c:v>#N/A</c:v>
                </c:pt>
                <c:pt idx="2347">
                  <c:v>#N/A</c:v>
                </c:pt>
                <c:pt idx="2348">
                  <c:v>#N/A</c:v>
                </c:pt>
                <c:pt idx="2349">
                  <c:v>#N/A</c:v>
                </c:pt>
                <c:pt idx="2350">
                  <c:v>#N/A</c:v>
                </c:pt>
                <c:pt idx="2351">
                  <c:v>#N/A</c:v>
                </c:pt>
                <c:pt idx="2352">
                  <c:v>95.2</c:v>
                </c:pt>
                <c:pt idx="2353">
                  <c:v>#N/A</c:v>
                </c:pt>
                <c:pt idx="2354">
                  <c:v>#N/A</c:v>
                </c:pt>
                <c:pt idx="2355">
                  <c:v>#N/A</c:v>
                </c:pt>
                <c:pt idx="2356">
                  <c:v>#N/A</c:v>
                </c:pt>
                <c:pt idx="2357">
                  <c:v>#N/A</c:v>
                </c:pt>
                <c:pt idx="2358">
                  <c:v>#N/A</c:v>
                </c:pt>
                <c:pt idx="2359">
                  <c:v>#N/A</c:v>
                </c:pt>
                <c:pt idx="2360">
                  <c:v>#N/A</c:v>
                </c:pt>
                <c:pt idx="2361">
                  <c:v>#N/A</c:v>
                </c:pt>
                <c:pt idx="2362">
                  <c:v>#N/A</c:v>
                </c:pt>
                <c:pt idx="2363">
                  <c:v>#N/A</c:v>
                </c:pt>
                <c:pt idx="2364">
                  <c:v>#N/A</c:v>
                </c:pt>
                <c:pt idx="2365">
                  <c:v>#N/A</c:v>
                </c:pt>
                <c:pt idx="2366">
                  <c:v>#N/A</c:v>
                </c:pt>
                <c:pt idx="2367">
                  <c:v>#N/A</c:v>
                </c:pt>
                <c:pt idx="2368">
                  <c:v>#N/A</c:v>
                </c:pt>
                <c:pt idx="2369">
                  <c:v>#N/A</c:v>
                </c:pt>
                <c:pt idx="2370">
                  <c:v>#N/A</c:v>
                </c:pt>
                <c:pt idx="2371">
                  <c:v>#N/A</c:v>
                </c:pt>
                <c:pt idx="2372">
                  <c:v>#N/A</c:v>
                </c:pt>
                <c:pt idx="2373">
                  <c:v>93</c:v>
                </c:pt>
                <c:pt idx="2374">
                  <c:v>#N/A</c:v>
                </c:pt>
                <c:pt idx="2375">
                  <c:v>#N/A</c:v>
                </c:pt>
                <c:pt idx="2376">
                  <c:v>#N/A</c:v>
                </c:pt>
                <c:pt idx="2377">
                  <c:v>#N/A</c:v>
                </c:pt>
                <c:pt idx="2378">
                  <c:v>#N/A</c:v>
                </c:pt>
                <c:pt idx="2379">
                  <c:v>#N/A</c:v>
                </c:pt>
                <c:pt idx="2380">
                  <c:v>#N/A</c:v>
                </c:pt>
                <c:pt idx="2381">
                  <c:v>#N/A</c:v>
                </c:pt>
                <c:pt idx="2382">
                  <c:v>#N/A</c:v>
                </c:pt>
                <c:pt idx="2383">
                  <c:v>#N/A</c:v>
                </c:pt>
                <c:pt idx="2384">
                  <c:v>#N/A</c:v>
                </c:pt>
                <c:pt idx="2385">
                  <c:v>#N/A</c:v>
                </c:pt>
                <c:pt idx="2386">
                  <c:v>#N/A</c:v>
                </c:pt>
                <c:pt idx="2387">
                  <c:v>#N/A</c:v>
                </c:pt>
                <c:pt idx="2388">
                  <c:v>#N/A</c:v>
                </c:pt>
                <c:pt idx="2389">
                  <c:v>#N/A</c:v>
                </c:pt>
                <c:pt idx="2390">
                  <c:v>#N/A</c:v>
                </c:pt>
                <c:pt idx="2391">
                  <c:v>#N/A</c:v>
                </c:pt>
                <c:pt idx="2392">
                  <c:v>#N/A</c:v>
                </c:pt>
                <c:pt idx="2393">
                  <c:v>#N/A</c:v>
                </c:pt>
                <c:pt idx="2394">
                  <c:v>#N/A</c:v>
                </c:pt>
                <c:pt idx="2395">
                  <c:v>#N/A</c:v>
                </c:pt>
                <c:pt idx="2396">
                  <c:v>94.1</c:v>
                </c:pt>
                <c:pt idx="2397">
                  <c:v>#N/A</c:v>
                </c:pt>
                <c:pt idx="2398">
                  <c:v>#N/A</c:v>
                </c:pt>
                <c:pt idx="2399">
                  <c:v>#N/A</c:v>
                </c:pt>
                <c:pt idx="2400">
                  <c:v>#N/A</c:v>
                </c:pt>
                <c:pt idx="2401">
                  <c:v>#N/A</c:v>
                </c:pt>
                <c:pt idx="2402">
                  <c:v>#N/A</c:v>
                </c:pt>
                <c:pt idx="2403">
                  <c:v>#N/A</c:v>
                </c:pt>
                <c:pt idx="2404">
                  <c:v>#N/A</c:v>
                </c:pt>
                <c:pt idx="2405">
                  <c:v>#N/A</c:v>
                </c:pt>
                <c:pt idx="2406">
                  <c:v>#N/A</c:v>
                </c:pt>
                <c:pt idx="2407">
                  <c:v>#N/A</c:v>
                </c:pt>
                <c:pt idx="2408">
                  <c:v>#N/A</c:v>
                </c:pt>
                <c:pt idx="2409">
                  <c:v>#N/A</c:v>
                </c:pt>
                <c:pt idx="2410">
                  <c:v>#N/A</c:v>
                </c:pt>
                <c:pt idx="2411">
                  <c:v>#N/A</c:v>
                </c:pt>
                <c:pt idx="2412">
                  <c:v>#N/A</c:v>
                </c:pt>
                <c:pt idx="2413">
                  <c:v>#N/A</c:v>
                </c:pt>
                <c:pt idx="2414">
                  <c:v>#N/A</c:v>
                </c:pt>
                <c:pt idx="2415">
                  <c:v>#N/A</c:v>
                </c:pt>
                <c:pt idx="2416">
                  <c:v>#N/A</c:v>
                </c:pt>
                <c:pt idx="2417">
                  <c:v>95.3</c:v>
                </c:pt>
                <c:pt idx="2418">
                  <c:v>#N/A</c:v>
                </c:pt>
                <c:pt idx="2419">
                  <c:v>#N/A</c:v>
                </c:pt>
                <c:pt idx="2420">
                  <c:v>#N/A</c:v>
                </c:pt>
                <c:pt idx="2421">
                  <c:v>#N/A</c:v>
                </c:pt>
                <c:pt idx="2422">
                  <c:v>#N/A</c:v>
                </c:pt>
                <c:pt idx="2423">
                  <c:v>#N/A</c:v>
                </c:pt>
                <c:pt idx="2424">
                  <c:v>#N/A</c:v>
                </c:pt>
                <c:pt idx="2425">
                  <c:v>#N/A</c:v>
                </c:pt>
                <c:pt idx="2426">
                  <c:v>#N/A</c:v>
                </c:pt>
                <c:pt idx="2427">
                  <c:v>#N/A</c:v>
                </c:pt>
                <c:pt idx="2428">
                  <c:v>#N/A</c:v>
                </c:pt>
                <c:pt idx="2429">
                  <c:v>#N/A</c:v>
                </c:pt>
                <c:pt idx="2430">
                  <c:v>#N/A</c:v>
                </c:pt>
                <c:pt idx="2431">
                  <c:v>#N/A</c:v>
                </c:pt>
                <c:pt idx="2432">
                  <c:v>#N/A</c:v>
                </c:pt>
                <c:pt idx="2433">
                  <c:v>#N/A</c:v>
                </c:pt>
                <c:pt idx="2434">
                  <c:v>#N/A</c:v>
                </c:pt>
                <c:pt idx="2435">
                  <c:v>#N/A</c:v>
                </c:pt>
                <c:pt idx="2436">
                  <c:v>#N/A</c:v>
                </c:pt>
                <c:pt idx="2437">
                  <c:v>#N/A</c:v>
                </c:pt>
                <c:pt idx="2438">
                  <c:v>94.8</c:v>
                </c:pt>
                <c:pt idx="2439">
                  <c:v>#N/A</c:v>
                </c:pt>
                <c:pt idx="2440">
                  <c:v>#N/A</c:v>
                </c:pt>
                <c:pt idx="2441">
                  <c:v>#N/A</c:v>
                </c:pt>
                <c:pt idx="2442">
                  <c:v>#N/A</c:v>
                </c:pt>
                <c:pt idx="2443">
                  <c:v>#N/A</c:v>
                </c:pt>
                <c:pt idx="2444">
                  <c:v>#N/A</c:v>
                </c:pt>
                <c:pt idx="2445">
                  <c:v>#N/A</c:v>
                </c:pt>
                <c:pt idx="2446">
                  <c:v>#N/A</c:v>
                </c:pt>
                <c:pt idx="2447">
                  <c:v>#N/A</c:v>
                </c:pt>
                <c:pt idx="2448">
                  <c:v>#N/A</c:v>
                </c:pt>
                <c:pt idx="2449">
                  <c:v>#N/A</c:v>
                </c:pt>
                <c:pt idx="2450">
                  <c:v>#N/A</c:v>
                </c:pt>
                <c:pt idx="2451">
                  <c:v>#N/A</c:v>
                </c:pt>
                <c:pt idx="2452">
                  <c:v>#N/A</c:v>
                </c:pt>
                <c:pt idx="2453">
                  <c:v>#N/A</c:v>
                </c:pt>
                <c:pt idx="2454">
                  <c:v>#N/A</c:v>
                </c:pt>
                <c:pt idx="2455">
                  <c:v>#N/A</c:v>
                </c:pt>
                <c:pt idx="2456">
                  <c:v>#N/A</c:v>
                </c:pt>
                <c:pt idx="2457">
                  <c:v>#N/A</c:v>
                </c:pt>
                <c:pt idx="2458">
                  <c:v>#N/A</c:v>
                </c:pt>
                <c:pt idx="2459">
                  <c:v>#N/A</c:v>
                </c:pt>
                <c:pt idx="2460">
                  <c:v>94.9</c:v>
                </c:pt>
                <c:pt idx="2461">
                  <c:v>#N/A</c:v>
                </c:pt>
                <c:pt idx="2462">
                  <c:v>#N/A</c:v>
                </c:pt>
                <c:pt idx="2463">
                  <c:v>#N/A</c:v>
                </c:pt>
                <c:pt idx="2464">
                  <c:v>#N/A</c:v>
                </c:pt>
                <c:pt idx="2465">
                  <c:v>#N/A</c:v>
                </c:pt>
                <c:pt idx="2466">
                  <c:v>#N/A</c:v>
                </c:pt>
                <c:pt idx="2467">
                  <c:v>#N/A</c:v>
                </c:pt>
                <c:pt idx="2468">
                  <c:v>#N/A</c:v>
                </c:pt>
                <c:pt idx="2469">
                  <c:v>#N/A</c:v>
                </c:pt>
                <c:pt idx="2470">
                  <c:v>#N/A</c:v>
                </c:pt>
                <c:pt idx="2471">
                  <c:v>#N/A</c:v>
                </c:pt>
                <c:pt idx="2472">
                  <c:v>#N/A</c:v>
                </c:pt>
                <c:pt idx="2473">
                  <c:v>#N/A</c:v>
                </c:pt>
                <c:pt idx="2474">
                  <c:v>#N/A</c:v>
                </c:pt>
                <c:pt idx="2475">
                  <c:v>#N/A</c:v>
                </c:pt>
                <c:pt idx="2476">
                  <c:v>#N/A</c:v>
                </c:pt>
                <c:pt idx="2477">
                  <c:v>#N/A</c:v>
                </c:pt>
                <c:pt idx="2478">
                  <c:v>#N/A</c:v>
                </c:pt>
                <c:pt idx="2479">
                  <c:v>#N/A</c:v>
                </c:pt>
                <c:pt idx="2480">
                  <c:v>#N/A</c:v>
                </c:pt>
                <c:pt idx="2481">
                  <c:v>#N/A</c:v>
                </c:pt>
                <c:pt idx="2482">
                  <c:v>#N/A</c:v>
                </c:pt>
                <c:pt idx="2483">
                  <c:v>91.9</c:v>
                </c:pt>
                <c:pt idx="2484">
                  <c:v>#N/A</c:v>
                </c:pt>
                <c:pt idx="2485">
                  <c:v>#N/A</c:v>
                </c:pt>
                <c:pt idx="2486">
                  <c:v>#N/A</c:v>
                </c:pt>
                <c:pt idx="2487">
                  <c:v>#N/A</c:v>
                </c:pt>
                <c:pt idx="2488">
                  <c:v>#N/A</c:v>
                </c:pt>
                <c:pt idx="2489">
                  <c:v>#N/A</c:v>
                </c:pt>
                <c:pt idx="2490">
                  <c:v>#N/A</c:v>
                </c:pt>
                <c:pt idx="2491">
                  <c:v>#N/A</c:v>
                </c:pt>
                <c:pt idx="2492">
                  <c:v>#N/A</c:v>
                </c:pt>
                <c:pt idx="2493">
                  <c:v>#N/A</c:v>
                </c:pt>
                <c:pt idx="2494">
                  <c:v>#N/A</c:v>
                </c:pt>
                <c:pt idx="2495">
                  <c:v>#N/A</c:v>
                </c:pt>
                <c:pt idx="2496">
                  <c:v>#N/A</c:v>
                </c:pt>
                <c:pt idx="2497">
                  <c:v>#N/A</c:v>
                </c:pt>
                <c:pt idx="2498">
                  <c:v>#N/A</c:v>
                </c:pt>
                <c:pt idx="2499">
                  <c:v>#N/A</c:v>
                </c:pt>
                <c:pt idx="2500">
                  <c:v>#N/A</c:v>
                </c:pt>
                <c:pt idx="2501">
                  <c:v>#N/A</c:v>
                </c:pt>
                <c:pt idx="2502">
                  <c:v>#N/A</c:v>
                </c:pt>
                <c:pt idx="2503">
                  <c:v>93.6</c:v>
                </c:pt>
                <c:pt idx="2504">
                  <c:v>#N/A</c:v>
                </c:pt>
                <c:pt idx="2505">
                  <c:v>#N/A</c:v>
                </c:pt>
                <c:pt idx="2506">
                  <c:v>#N/A</c:v>
                </c:pt>
                <c:pt idx="2507">
                  <c:v>#N/A</c:v>
                </c:pt>
                <c:pt idx="2508">
                  <c:v>#N/A</c:v>
                </c:pt>
                <c:pt idx="2509">
                  <c:v>#N/A</c:v>
                </c:pt>
                <c:pt idx="2510">
                  <c:v>#N/A</c:v>
                </c:pt>
                <c:pt idx="2511">
                  <c:v>#N/A</c:v>
                </c:pt>
                <c:pt idx="2512">
                  <c:v>#N/A</c:v>
                </c:pt>
                <c:pt idx="2513">
                  <c:v>#N/A</c:v>
                </c:pt>
                <c:pt idx="2514">
                  <c:v>#N/A</c:v>
                </c:pt>
                <c:pt idx="2515">
                  <c:v>#N/A</c:v>
                </c:pt>
                <c:pt idx="2516">
                  <c:v>#N/A</c:v>
                </c:pt>
                <c:pt idx="2517">
                  <c:v>#N/A</c:v>
                </c:pt>
                <c:pt idx="2518">
                  <c:v>#N/A</c:v>
                </c:pt>
                <c:pt idx="2519">
                  <c:v>#N/A</c:v>
                </c:pt>
                <c:pt idx="2520">
                  <c:v>#N/A</c:v>
                </c:pt>
                <c:pt idx="2521">
                  <c:v>#N/A</c:v>
                </c:pt>
                <c:pt idx="2522">
                  <c:v>#N/A</c:v>
                </c:pt>
                <c:pt idx="2523">
                  <c:v>#N/A</c:v>
                </c:pt>
                <c:pt idx="2524">
                  <c:v>#N/A</c:v>
                </c:pt>
                <c:pt idx="2525">
                  <c:v>#N/A</c:v>
                </c:pt>
                <c:pt idx="2526">
                  <c:v>90.9</c:v>
                </c:pt>
                <c:pt idx="2527">
                  <c:v>#N/A</c:v>
                </c:pt>
                <c:pt idx="2528">
                  <c:v>#N/A</c:v>
                </c:pt>
                <c:pt idx="2529">
                  <c:v>#N/A</c:v>
                </c:pt>
                <c:pt idx="2530">
                  <c:v>#N/A</c:v>
                </c:pt>
                <c:pt idx="2531">
                  <c:v>#N/A</c:v>
                </c:pt>
                <c:pt idx="2532">
                  <c:v>#N/A</c:v>
                </c:pt>
                <c:pt idx="2533">
                  <c:v>#N/A</c:v>
                </c:pt>
                <c:pt idx="2534">
                  <c:v>#N/A</c:v>
                </c:pt>
                <c:pt idx="2535">
                  <c:v>#N/A</c:v>
                </c:pt>
                <c:pt idx="2536">
                  <c:v>#N/A</c:v>
                </c:pt>
                <c:pt idx="2537">
                  <c:v>#N/A</c:v>
                </c:pt>
                <c:pt idx="2538">
                  <c:v>#N/A</c:v>
                </c:pt>
                <c:pt idx="2539">
                  <c:v>#N/A</c:v>
                </c:pt>
                <c:pt idx="2540">
                  <c:v>#N/A</c:v>
                </c:pt>
                <c:pt idx="2541">
                  <c:v>#N/A</c:v>
                </c:pt>
                <c:pt idx="2542">
                  <c:v>#N/A</c:v>
                </c:pt>
                <c:pt idx="2543">
                  <c:v>#N/A</c:v>
                </c:pt>
                <c:pt idx="2544">
                  <c:v>#N/A</c:v>
                </c:pt>
                <c:pt idx="2545">
                  <c:v>#N/A</c:v>
                </c:pt>
                <c:pt idx="2546">
                  <c:v>#N/A</c:v>
                </c:pt>
                <c:pt idx="2547">
                  <c:v>#N/A</c:v>
                </c:pt>
                <c:pt idx="2548">
                  <c:v>93.3</c:v>
                </c:pt>
                <c:pt idx="2549">
                  <c:v>#N/A</c:v>
                </c:pt>
                <c:pt idx="2550">
                  <c:v>#N/A</c:v>
                </c:pt>
                <c:pt idx="2551">
                  <c:v>#N/A</c:v>
                </c:pt>
                <c:pt idx="2552">
                  <c:v>#N/A</c:v>
                </c:pt>
                <c:pt idx="2553">
                  <c:v>#N/A</c:v>
                </c:pt>
                <c:pt idx="2554">
                  <c:v>#N/A</c:v>
                </c:pt>
                <c:pt idx="2555">
                  <c:v>#N/A</c:v>
                </c:pt>
                <c:pt idx="2556">
                  <c:v>#N/A</c:v>
                </c:pt>
                <c:pt idx="2557">
                  <c:v>#N/A</c:v>
                </c:pt>
                <c:pt idx="2558">
                  <c:v>#N/A</c:v>
                </c:pt>
                <c:pt idx="2559">
                  <c:v>#N/A</c:v>
                </c:pt>
                <c:pt idx="2560">
                  <c:v>#N/A</c:v>
                </c:pt>
                <c:pt idx="2561">
                  <c:v>#N/A</c:v>
                </c:pt>
                <c:pt idx="2562">
                  <c:v>#N/A</c:v>
                </c:pt>
                <c:pt idx="2563">
                  <c:v>#N/A</c:v>
                </c:pt>
                <c:pt idx="2564">
                  <c:v>#N/A</c:v>
                </c:pt>
                <c:pt idx="2565">
                  <c:v>#N/A</c:v>
                </c:pt>
                <c:pt idx="2566">
                  <c:v>#N/A</c:v>
                </c:pt>
                <c:pt idx="2567">
                  <c:v>#N/A</c:v>
                </c:pt>
                <c:pt idx="2568">
                  <c:v>#N/A</c:v>
                </c:pt>
                <c:pt idx="2569">
                  <c:v>91</c:v>
                </c:pt>
                <c:pt idx="2570">
                  <c:v>#N/A</c:v>
                </c:pt>
                <c:pt idx="2571">
                  <c:v>#N/A</c:v>
                </c:pt>
                <c:pt idx="2572">
                  <c:v>#N/A</c:v>
                </c:pt>
                <c:pt idx="2573">
                  <c:v>#N/A</c:v>
                </c:pt>
                <c:pt idx="2574">
                  <c:v>#N/A</c:v>
                </c:pt>
                <c:pt idx="2575">
                  <c:v>#N/A</c:v>
                </c:pt>
                <c:pt idx="2576">
                  <c:v>#N/A</c:v>
                </c:pt>
                <c:pt idx="2577">
                  <c:v>#N/A</c:v>
                </c:pt>
                <c:pt idx="2578">
                  <c:v>#N/A</c:v>
                </c:pt>
                <c:pt idx="2579">
                  <c:v>#N/A</c:v>
                </c:pt>
                <c:pt idx="2580">
                  <c:v>#N/A</c:v>
                </c:pt>
                <c:pt idx="2581">
                  <c:v>#N/A</c:v>
                </c:pt>
                <c:pt idx="2582">
                  <c:v>#N/A</c:v>
                </c:pt>
                <c:pt idx="2583">
                  <c:v>#N/A</c:v>
                </c:pt>
                <c:pt idx="2584">
                  <c:v>#N/A</c:v>
                </c:pt>
                <c:pt idx="2585">
                  <c:v>#N/A</c:v>
                </c:pt>
                <c:pt idx="2586">
                  <c:v>#N/A</c:v>
                </c:pt>
                <c:pt idx="2587">
                  <c:v>#N/A</c:v>
                </c:pt>
                <c:pt idx="2588">
                  <c:v>#N/A</c:v>
                </c:pt>
                <c:pt idx="2589">
                  <c:v>#N/A</c:v>
                </c:pt>
                <c:pt idx="2590">
                  <c:v>#N/A</c:v>
                </c:pt>
                <c:pt idx="2591">
                  <c:v>#N/A</c:v>
                </c:pt>
                <c:pt idx="2592">
                  <c:v>#N/A</c:v>
                </c:pt>
                <c:pt idx="2593">
                  <c:v>#N/A</c:v>
                </c:pt>
                <c:pt idx="2594">
                  <c:v>#N/A</c:v>
                </c:pt>
                <c:pt idx="2595">
                  <c:v>#N/A</c:v>
                </c:pt>
                <c:pt idx="2596">
                  <c:v>#N/A</c:v>
                </c:pt>
                <c:pt idx="2597">
                  <c:v>#N/A</c:v>
                </c:pt>
                <c:pt idx="2598">
                  <c:v>#N/A</c:v>
                </c:pt>
                <c:pt idx="2599">
                  <c:v>#N/A</c:v>
                </c:pt>
                <c:pt idx="2600">
                  <c:v>#N/A</c:v>
                </c:pt>
                <c:pt idx="2601">
                  <c:v>#N/A</c:v>
                </c:pt>
                <c:pt idx="2602">
                  <c:v>#N/A</c:v>
                </c:pt>
                <c:pt idx="2603">
                  <c:v>#N/A</c:v>
                </c:pt>
                <c:pt idx="2604">
                  <c:v>#N/A</c:v>
                </c:pt>
                <c:pt idx="2605">
                  <c:v>#N/A</c:v>
                </c:pt>
                <c:pt idx="2606">
                  <c:v>#N/A</c:v>
                </c:pt>
                <c:pt idx="2607">
                  <c:v>#N/A</c:v>
                </c:pt>
                <c:pt idx="2608">
                  <c:v>#N/A</c:v>
                </c:pt>
                <c:pt idx="2609">
                  <c:v>#N/A</c:v>
                </c:pt>
              </c:numCache>
            </c:numRef>
          </c:val>
          <c:smooth val="0"/>
          <c:extLst>
            <c:ext xmlns:c16="http://schemas.microsoft.com/office/drawing/2014/chart" uri="{C3380CC4-5D6E-409C-BE32-E72D297353CC}">
              <c16:uniqueId val="{00000001-594D-4EB4-B7F6-7DE69FC38A72}"/>
            </c:ext>
          </c:extLst>
        </c:ser>
        <c:dLbls>
          <c:showLegendKey val="0"/>
          <c:showVal val="0"/>
          <c:showCatName val="0"/>
          <c:showSerName val="0"/>
          <c:showPercent val="0"/>
          <c:showBubbleSize val="0"/>
        </c:dLbls>
        <c:smooth val="0"/>
        <c:axId val="927020303"/>
        <c:axId val="927021967"/>
      </c:lineChart>
      <c:dateAx>
        <c:axId val="927020303"/>
        <c:scaling>
          <c:orientation val="minMax"/>
        </c:scaling>
        <c:delete val="0"/>
        <c:axPos val="b"/>
        <c:numFmt formatCode="[$-407]mmm\.\ 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days"/>
        <c:majorUnit val="24"/>
        <c:majorTimeUnit val="months"/>
      </c:dateAx>
      <c:valAx>
        <c:axId val="927021967"/>
        <c:scaling>
          <c:orientation val="minMax"/>
          <c:min val="75"/>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valAx>
      <c:spPr>
        <a:noFill/>
        <a:ln>
          <a:noFill/>
        </a:ln>
        <a:effectLst/>
      </c:spPr>
    </c:plotArea>
    <c:legend>
      <c:legendPos val="b"/>
      <c:layout>
        <c:manualLayout>
          <c:xMode val="edge"/>
          <c:yMode val="edge"/>
          <c:x val="0.13244473306816026"/>
          <c:y val="0.84377274983986683"/>
          <c:w val="0.70532817418441263"/>
          <c:h val="0.1317038495188101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863156280722637E-2"/>
          <c:y val="4.4920870776770927E-2"/>
          <c:w val="0.90293638552912847"/>
          <c:h val="0.66609065912776333"/>
        </c:manualLayout>
      </c:layout>
      <c:lineChart>
        <c:grouping val="standard"/>
        <c:varyColors val="0"/>
        <c:ser>
          <c:idx val="0"/>
          <c:order val="0"/>
          <c:tx>
            <c:strRef>
              <c:f>Sheet1!$R$5</c:f>
              <c:strCache>
                <c:ptCount val="1"/>
                <c:pt idx="0">
                  <c:v>STOXX 600 Industrie Gewinnerwartungen*</c:v>
                </c:pt>
              </c:strCache>
            </c:strRef>
          </c:tx>
          <c:spPr>
            <a:ln w="28575" cap="rnd">
              <a:solidFill>
                <a:schemeClr val="accent1"/>
              </a:solidFill>
              <a:round/>
            </a:ln>
            <a:effectLst/>
          </c:spPr>
          <c:marker>
            <c:symbol val="none"/>
          </c:marker>
          <c:dLbls>
            <c:dLbl>
              <c:idx val="118"/>
              <c:layout>
                <c:manualLayout>
                  <c:x val="0"/>
                  <c:y val="-3.6150116652085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AF3-49F3-AEC3-8D3375E04B4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Q$8:$Q$221</c:f>
              <c:numCache>
                <c:formatCode>m/d/yyyy</c:formatCode>
                <c:ptCount val="21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pt idx="24">
                  <c:v>42736</c:v>
                </c:pt>
                <c:pt idx="25">
                  <c:v>42767</c:v>
                </c:pt>
                <c:pt idx="26">
                  <c:v>42795</c:v>
                </c:pt>
                <c:pt idx="27">
                  <c:v>42826</c:v>
                </c:pt>
                <c:pt idx="28">
                  <c:v>42856</c:v>
                </c:pt>
                <c:pt idx="29">
                  <c:v>42887</c:v>
                </c:pt>
                <c:pt idx="30">
                  <c:v>42917</c:v>
                </c:pt>
                <c:pt idx="31">
                  <c:v>42948</c:v>
                </c:pt>
                <c:pt idx="32">
                  <c:v>42979</c:v>
                </c:pt>
                <c:pt idx="33">
                  <c:v>43009</c:v>
                </c:pt>
                <c:pt idx="34">
                  <c:v>43040</c:v>
                </c:pt>
                <c:pt idx="35">
                  <c:v>43070</c:v>
                </c:pt>
                <c:pt idx="36">
                  <c:v>43101</c:v>
                </c:pt>
                <c:pt idx="37">
                  <c:v>43132</c:v>
                </c:pt>
                <c:pt idx="38">
                  <c:v>43160</c:v>
                </c:pt>
                <c:pt idx="39">
                  <c:v>43191</c:v>
                </c:pt>
                <c:pt idx="40">
                  <c:v>43221</c:v>
                </c:pt>
                <c:pt idx="41">
                  <c:v>43252</c:v>
                </c:pt>
                <c:pt idx="42">
                  <c:v>43282</c:v>
                </c:pt>
                <c:pt idx="43">
                  <c:v>43313</c:v>
                </c:pt>
                <c:pt idx="44">
                  <c:v>43344</c:v>
                </c:pt>
                <c:pt idx="45">
                  <c:v>43374</c:v>
                </c:pt>
                <c:pt idx="46">
                  <c:v>43405</c:v>
                </c:pt>
                <c:pt idx="47">
                  <c:v>43435</c:v>
                </c:pt>
                <c:pt idx="48">
                  <c:v>43466</c:v>
                </c:pt>
                <c:pt idx="49">
                  <c:v>43497</c:v>
                </c:pt>
                <c:pt idx="50">
                  <c:v>43525</c:v>
                </c:pt>
                <c:pt idx="51">
                  <c:v>43556</c:v>
                </c:pt>
                <c:pt idx="52">
                  <c:v>43586</c:v>
                </c:pt>
                <c:pt idx="53">
                  <c:v>43617</c:v>
                </c:pt>
                <c:pt idx="54">
                  <c:v>43647</c:v>
                </c:pt>
                <c:pt idx="55">
                  <c:v>43678</c:v>
                </c:pt>
                <c:pt idx="56">
                  <c:v>43709</c:v>
                </c:pt>
                <c:pt idx="57">
                  <c:v>43739</c:v>
                </c:pt>
                <c:pt idx="58">
                  <c:v>43770</c:v>
                </c:pt>
                <c:pt idx="59">
                  <c:v>43800</c:v>
                </c:pt>
                <c:pt idx="60">
                  <c:v>43831</c:v>
                </c:pt>
                <c:pt idx="61">
                  <c:v>43862</c:v>
                </c:pt>
                <c:pt idx="62">
                  <c:v>43891</c:v>
                </c:pt>
                <c:pt idx="63">
                  <c:v>43922</c:v>
                </c:pt>
                <c:pt idx="64">
                  <c:v>43952</c:v>
                </c:pt>
                <c:pt idx="65">
                  <c:v>43983</c:v>
                </c:pt>
                <c:pt idx="66">
                  <c:v>44013</c:v>
                </c:pt>
                <c:pt idx="67">
                  <c:v>44044</c:v>
                </c:pt>
                <c:pt idx="68">
                  <c:v>44075</c:v>
                </c:pt>
                <c:pt idx="69">
                  <c:v>44105</c:v>
                </c:pt>
                <c:pt idx="70">
                  <c:v>44136</c:v>
                </c:pt>
                <c:pt idx="71">
                  <c:v>44166</c:v>
                </c:pt>
                <c:pt idx="72">
                  <c:v>44197</c:v>
                </c:pt>
                <c:pt idx="73">
                  <c:v>44228</c:v>
                </c:pt>
                <c:pt idx="74">
                  <c:v>44256</c:v>
                </c:pt>
                <c:pt idx="75">
                  <c:v>44287</c:v>
                </c:pt>
                <c:pt idx="76">
                  <c:v>44317</c:v>
                </c:pt>
                <c:pt idx="77">
                  <c:v>44348</c:v>
                </c:pt>
                <c:pt idx="78">
                  <c:v>44378</c:v>
                </c:pt>
                <c:pt idx="79">
                  <c:v>44409</c:v>
                </c:pt>
                <c:pt idx="80">
                  <c:v>44440</c:v>
                </c:pt>
                <c:pt idx="81">
                  <c:v>44470</c:v>
                </c:pt>
                <c:pt idx="82">
                  <c:v>44501</c:v>
                </c:pt>
                <c:pt idx="83">
                  <c:v>44531</c:v>
                </c:pt>
                <c:pt idx="84">
                  <c:v>44562</c:v>
                </c:pt>
                <c:pt idx="85">
                  <c:v>44593</c:v>
                </c:pt>
                <c:pt idx="86">
                  <c:v>44621</c:v>
                </c:pt>
                <c:pt idx="87">
                  <c:v>44652</c:v>
                </c:pt>
                <c:pt idx="88">
                  <c:v>44682</c:v>
                </c:pt>
                <c:pt idx="89">
                  <c:v>44713</c:v>
                </c:pt>
                <c:pt idx="90">
                  <c:v>44743</c:v>
                </c:pt>
                <c:pt idx="91">
                  <c:v>44774</c:v>
                </c:pt>
                <c:pt idx="92">
                  <c:v>44805</c:v>
                </c:pt>
                <c:pt idx="93">
                  <c:v>44835</c:v>
                </c:pt>
                <c:pt idx="94">
                  <c:v>44866</c:v>
                </c:pt>
                <c:pt idx="95">
                  <c:v>44896</c:v>
                </c:pt>
                <c:pt idx="96">
                  <c:v>44927</c:v>
                </c:pt>
                <c:pt idx="97">
                  <c:v>44958</c:v>
                </c:pt>
                <c:pt idx="98">
                  <c:v>44986</c:v>
                </c:pt>
                <c:pt idx="99">
                  <c:v>45017</c:v>
                </c:pt>
                <c:pt idx="100">
                  <c:v>45047</c:v>
                </c:pt>
                <c:pt idx="101">
                  <c:v>45078</c:v>
                </c:pt>
                <c:pt idx="102">
                  <c:v>45108</c:v>
                </c:pt>
                <c:pt idx="103">
                  <c:v>45139</c:v>
                </c:pt>
                <c:pt idx="104">
                  <c:v>45170</c:v>
                </c:pt>
                <c:pt idx="105">
                  <c:v>45200</c:v>
                </c:pt>
                <c:pt idx="106">
                  <c:v>45231</c:v>
                </c:pt>
                <c:pt idx="107">
                  <c:v>45261</c:v>
                </c:pt>
                <c:pt idx="108">
                  <c:v>45292</c:v>
                </c:pt>
                <c:pt idx="109">
                  <c:v>45323</c:v>
                </c:pt>
                <c:pt idx="110">
                  <c:v>45352</c:v>
                </c:pt>
                <c:pt idx="111">
                  <c:v>45383</c:v>
                </c:pt>
                <c:pt idx="112">
                  <c:v>45413</c:v>
                </c:pt>
                <c:pt idx="113">
                  <c:v>45444</c:v>
                </c:pt>
                <c:pt idx="114">
                  <c:v>45474</c:v>
                </c:pt>
                <c:pt idx="115">
                  <c:v>45505</c:v>
                </c:pt>
                <c:pt idx="116">
                  <c:v>45536</c:v>
                </c:pt>
                <c:pt idx="117">
                  <c:v>45566</c:v>
                </c:pt>
                <c:pt idx="118">
                  <c:v>45597</c:v>
                </c:pt>
              </c:numCache>
            </c:numRef>
          </c:cat>
          <c:val>
            <c:numRef>
              <c:f>Sheet1!$R$8:$R$221</c:f>
              <c:numCache>
                <c:formatCode>0.00</c:formatCode>
                <c:ptCount val="214"/>
                <c:pt idx="0">
                  <c:v>100</c:v>
                </c:pt>
                <c:pt idx="1">
                  <c:v>101.1</c:v>
                </c:pt>
                <c:pt idx="2">
                  <c:v>101.004</c:v>
                </c:pt>
                <c:pt idx="3">
                  <c:v>102.413</c:v>
                </c:pt>
                <c:pt idx="4">
                  <c:v>102.99299999999999</c:v>
                </c:pt>
                <c:pt idx="5">
                  <c:v>103.589</c:v>
                </c:pt>
                <c:pt idx="6">
                  <c:v>103.601</c:v>
                </c:pt>
                <c:pt idx="7">
                  <c:v>102.485</c:v>
                </c:pt>
                <c:pt idx="8">
                  <c:v>101.648</c:v>
                </c:pt>
                <c:pt idx="9">
                  <c:v>102.169</c:v>
                </c:pt>
                <c:pt idx="10">
                  <c:v>101.14</c:v>
                </c:pt>
                <c:pt idx="11">
                  <c:v>100.376</c:v>
                </c:pt>
                <c:pt idx="12">
                  <c:v>100.208</c:v>
                </c:pt>
                <c:pt idx="13">
                  <c:v>99.888000000000005</c:v>
                </c:pt>
                <c:pt idx="14">
                  <c:v>98.412000000000006</c:v>
                </c:pt>
                <c:pt idx="15">
                  <c:v>98.408000000000001</c:v>
                </c:pt>
                <c:pt idx="16">
                  <c:v>99.244</c:v>
                </c:pt>
                <c:pt idx="17">
                  <c:v>100.52</c:v>
                </c:pt>
                <c:pt idx="18">
                  <c:v>99.524000000000001</c:v>
                </c:pt>
                <c:pt idx="19">
                  <c:v>99.671999999999997</c:v>
                </c:pt>
                <c:pt idx="20">
                  <c:v>101.56</c:v>
                </c:pt>
                <c:pt idx="21">
                  <c:v>101.24</c:v>
                </c:pt>
                <c:pt idx="22">
                  <c:v>102.181</c:v>
                </c:pt>
                <c:pt idx="23">
                  <c:v>103.801</c:v>
                </c:pt>
                <c:pt idx="24">
                  <c:v>103.901</c:v>
                </c:pt>
                <c:pt idx="25">
                  <c:v>104.96899999999999</c:v>
                </c:pt>
                <c:pt idx="26">
                  <c:v>107.086</c:v>
                </c:pt>
                <c:pt idx="27">
                  <c:v>107.71</c:v>
                </c:pt>
                <c:pt idx="28">
                  <c:v>109.179</c:v>
                </c:pt>
                <c:pt idx="29">
                  <c:v>110.983</c:v>
                </c:pt>
                <c:pt idx="30">
                  <c:v>110.50700000000001</c:v>
                </c:pt>
                <c:pt idx="31">
                  <c:v>110.81100000000001</c:v>
                </c:pt>
                <c:pt idx="32">
                  <c:v>110.131</c:v>
                </c:pt>
                <c:pt idx="33">
                  <c:v>112.015</c:v>
                </c:pt>
                <c:pt idx="34">
                  <c:v>112.291</c:v>
                </c:pt>
                <c:pt idx="35">
                  <c:v>111.991</c:v>
                </c:pt>
                <c:pt idx="36">
                  <c:v>112.64400000000001</c:v>
                </c:pt>
                <c:pt idx="37">
                  <c:v>115.452</c:v>
                </c:pt>
                <c:pt idx="38">
                  <c:v>116.041</c:v>
                </c:pt>
                <c:pt idx="39">
                  <c:v>114.848</c:v>
                </c:pt>
                <c:pt idx="40">
                  <c:v>116.041</c:v>
                </c:pt>
                <c:pt idx="41">
                  <c:v>118.03700000000001</c:v>
                </c:pt>
                <c:pt idx="42">
                  <c:v>118.39700000000001</c:v>
                </c:pt>
                <c:pt idx="43">
                  <c:v>119.03700000000001</c:v>
                </c:pt>
                <c:pt idx="44">
                  <c:v>119.209</c:v>
                </c:pt>
                <c:pt idx="45">
                  <c:v>122.018</c:v>
                </c:pt>
                <c:pt idx="46">
                  <c:v>123.583</c:v>
                </c:pt>
                <c:pt idx="47">
                  <c:v>122.774</c:v>
                </c:pt>
                <c:pt idx="48">
                  <c:v>122.902</c:v>
                </c:pt>
                <c:pt idx="49">
                  <c:v>123.503</c:v>
                </c:pt>
                <c:pt idx="50">
                  <c:v>123.55500000000001</c:v>
                </c:pt>
                <c:pt idx="51">
                  <c:v>123.05800000000001</c:v>
                </c:pt>
                <c:pt idx="52">
                  <c:v>123.523</c:v>
                </c:pt>
                <c:pt idx="53">
                  <c:v>124.111</c:v>
                </c:pt>
                <c:pt idx="54">
                  <c:v>124.29900000000001</c:v>
                </c:pt>
                <c:pt idx="55">
                  <c:v>124.91500000000001</c:v>
                </c:pt>
                <c:pt idx="56">
                  <c:v>124.319</c:v>
                </c:pt>
                <c:pt idx="57">
                  <c:v>125.48699999999999</c:v>
                </c:pt>
                <c:pt idx="58">
                  <c:v>125.843</c:v>
                </c:pt>
                <c:pt idx="59">
                  <c:v>126.631</c:v>
                </c:pt>
                <c:pt idx="60">
                  <c:v>125.955</c:v>
                </c:pt>
                <c:pt idx="61">
                  <c:v>126.279</c:v>
                </c:pt>
                <c:pt idx="62">
                  <c:v>127.056</c:v>
                </c:pt>
                <c:pt idx="63">
                  <c:v>116.965</c:v>
                </c:pt>
                <c:pt idx="64">
                  <c:v>94.811000000000007</c:v>
                </c:pt>
                <c:pt idx="65">
                  <c:v>90.153000000000006</c:v>
                </c:pt>
                <c:pt idx="66">
                  <c:v>89.917000000000002</c:v>
                </c:pt>
                <c:pt idx="67">
                  <c:v>90.016999999999996</c:v>
                </c:pt>
                <c:pt idx="68">
                  <c:v>91.998000000000005</c:v>
                </c:pt>
                <c:pt idx="69">
                  <c:v>96.950999999999993</c:v>
                </c:pt>
                <c:pt idx="70">
                  <c:v>97.462999999999994</c:v>
                </c:pt>
                <c:pt idx="71">
                  <c:v>100.136</c:v>
                </c:pt>
                <c:pt idx="72">
                  <c:v>103.449</c:v>
                </c:pt>
                <c:pt idx="73">
                  <c:v>106.09</c:v>
                </c:pt>
                <c:pt idx="74">
                  <c:v>109.15900000000001</c:v>
                </c:pt>
                <c:pt idx="75">
                  <c:v>112.435</c:v>
                </c:pt>
                <c:pt idx="76">
                  <c:v>114.44</c:v>
                </c:pt>
                <c:pt idx="77">
                  <c:v>119.914</c:v>
                </c:pt>
                <c:pt idx="78">
                  <c:v>124.191</c:v>
                </c:pt>
                <c:pt idx="79">
                  <c:v>127.08799999999999</c:v>
                </c:pt>
                <c:pt idx="80">
                  <c:v>131.64099999999999</c:v>
                </c:pt>
                <c:pt idx="81">
                  <c:v>134.69</c:v>
                </c:pt>
                <c:pt idx="82">
                  <c:v>137.51900000000001</c:v>
                </c:pt>
                <c:pt idx="83">
                  <c:v>143.48400000000001</c:v>
                </c:pt>
                <c:pt idx="84">
                  <c:v>145.62100000000001</c:v>
                </c:pt>
                <c:pt idx="85">
                  <c:v>147.81700000000001</c:v>
                </c:pt>
                <c:pt idx="86">
                  <c:v>151.25399999999999</c:v>
                </c:pt>
                <c:pt idx="87">
                  <c:v>151.67500000000001</c:v>
                </c:pt>
                <c:pt idx="88">
                  <c:v>153.315</c:v>
                </c:pt>
                <c:pt idx="89">
                  <c:v>155.33600000000001</c:v>
                </c:pt>
                <c:pt idx="90">
                  <c:v>156.34</c:v>
                </c:pt>
                <c:pt idx="91">
                  <c:v>157.02799999999999</c:v>
                </c:pt>
                <c:pt idx="92">
                  <c:v>158.42400000000001</c:v>
                </c:pt>
                <c:pt idx="93">
                  <c:v>157.20400000000001</c:v>
                </c:pt>
                <c:pt idx="94">
                  <c:v>154.375</c:v>
                </c:pt>
                <c:pt idx="95">
                  <c:v>152.92699999999999</c:v>
                </c:pt>
                <c:pt idx="96">
                  <c:v>151.22999999999999</c:v>
                </c:pt>
                <c:pt idx="97">
                  <c:v>151.006</c:v>
                </c:pt>
                <c:pt idx="98">
                  <c:v>152.44300000000001</c:v>
                </c:pt>
                <c:pt idx="99">
                  <c:v>155.191</c:v>
                </c:pt>
                <c:pt idx="100">
                  <c:v>158.42400000000001</c:v>
                </c:pt>
                <c:pt idx="101">
                  <c:v>163.15799999999999</c:v>
                </c:pt>
                <c:pt idx="102">
                  <c:v>162.738</c:v>
                </c:pt>
                <c:pt idx="103">
                  <c:v>165.226</c:v>
                </c:pt>
                <c:pt idx="104">
                  <c:v>167.459</c:v>
                </c:pt>
                <c:pt idx="105">
                  <c:v>168.179</c:v>
                </c:pt>
                <c:pt idx="106">
                  <c:v>169.447</c:v>
                </c:pt>
                <c:pt idx="107">
                  <c:v>168.23500000000001</c:v>
                </c:pt>
                <c:pt idx="108">
                  <c:v>168.471</c:v>
                </c:pt>
                <c:pt idx="109">
                  <c:v>171.77600000000001</c:v>
                </c:pt>
                <c:pt idx="110">
                  <c:v>172.38399999999999</c:v>
                </c:pt>
                <c:pt idx="111">
                  <c:v>174.001</c:v>
                </c:pt>
                <c:pt idx="112">
                  <c:v>175.845</c:v>
                </c:pt>
                <c:pt idx="113">
                  <c:v>178.67400000000001</c:v>
                </c:pt>
                <c:pt idx="114">
                  <c:v>179.774</c:v>
                </c:pt>
                <c:pt idx="115">
                  <c:v>182.03100000000001</c:v>
                </c:pt>
                <c:pt idx="116">
                  <c:v>181.81899999999999</c:v>
                </c:pt>
                <c:pt idx="117">
                  <c:v>183.23500000000001</c:v>
                </c:pt>
                <c:pt idx="118">
                  <c:v>182.45500000000001</c:v>
                </c:pt>
              </c:numCache>
            </c:numRef>
          </c:val>
          <c:smooth val="0"/>
          <c:extLst>
            <c:ext xmlns:c16="http://schemas.microsoft.com/office/drawing/2014/chart" uri="{C3380CC4-5D6E-409C-BE32-E72D297353CC}">
              <c16:uniqueId val="{00000001-6AF3-49F3-AEC3-8D3375E04B4A}"/>
            </c:ext>
          </c:extLst>
        </c:ser>
        <c:ser>
          <c:idx val="1"/>
          <c:order val="1"/>
          <c:tx>
            <c:strRef>
              <c:f>Sheet1!$S$5</c:f>
              <c:strCache>
                <c:ptCount val="1"/>
                <c:pt idx="0">
                  <c:v>Industrieproduktion Eurozone</c:v>
                </c:pt>
              </c:strCache>
            </c:strRef>
          </c:tx>
          <c:spPr>
            <a:ln w="28575" cap="rnd">
              <a:solidFill>
                <a:schemeClr val="accent2"/>
              </a:solidFill>
              <a:round/>
            </a:ln>
            <a:effectLst/>
          </c:spPr>
          <c:marker>
            <c:symbol val="none"/>
          </c:marker>
          <c:dLbls>
            <c:dLbl>
              <c:idx val="116"/>
              <c:layout>
                <c:manualLayout>
                  <c:x val="0"/>
                  <c:y val="-8.05012394284047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AF3-49F3-AEC3-8D3375E04B4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Q$8:$Q$221</c:f>
              <c:numCache>
                <c:formatCode>m/d/yyyy</c:formatCode>
                <c:ptCount val="21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pt idx="24">
                  <c:v>42736</c:v>
                </c:pt>
                <c:pt idx="25">
                  <c:v>42767</c:v>
                </c:pt>
                <c:pt idx="26">
                  <c:v>42795</c:v>
                </c:pt>
                <c:pt idx="27">
                  <c:v>42826</c:v>
                </c:pt>
                <c:pt idx="28">
                  <c:v>42856</c:v>
                </c:pt>
                <c:pt idx="29">
                  <c:v>42887</c:v>
                </c:pt>
                <c:pt idx="30">
                  <c:v>42917</c:v>
                </c:pt>
                <c:pt idx="31">
                  <c:v>42948</c:v>
                </c:pt>
                <c:pt idx="32">
                  <c:v>42979</c:v>
                </c:pt>
                <c:pt idx="33">
                  <c:v>43009</c:v>
                </c:pt>
                <c:pt idx="34">
                  <c:v>43040</c:v>
                </c:pt>
                <c:pt idx="35">
                  <c:v>43070</c:v>
                </c:pt>
                <c:pt idx="36">
                  <c:v>43101</c:v>
                </c:pt>
                <c:pt idx="37">
                  <c:v>43132</c:v>
                </c:pt>
                <c:pt idx="38">
                  <c:v>43160</c:v>
                </c:pt>
                <c:pt idx="39">
                  <c:v>43191</c:v>
                </c:pt>
                <c:pt idx="40">
                  <c:v>43221</c:v>
                </c:pt>
                <c:pt idx="41">
                  <c:v>43252</c:v>
                </c:pt>
                <c:pt idx="42">
                  <c:v>43282</c:v>
                </c:pt>
                <c:pt idx="43">
                  <c:v>43313</c:v>
                </c:pt>
                <c:pt idx="44">
                  <c:v>43344</c:v>
                </c:pt>
                <c:pt idx="45">
                  <c:v>43374</c:v>
                </c:pt>
                <c:pt idx="46">
                  <c:v>43405</c:v>
                </c:pt>
                <c:pt idx="47">
                  <c:v>43435</c:v>
                </c:pt>
                <c:pt idx="48">
                  <c:v>43466</c:v>
                </c:pt>
                <c:pt idx="49">
                  <c:v>43497</c:v>
                </c:pt>
                <c:pt idx="50">
                  <c:v>43525</c:v>
                </c:pt>
                <c:pt idx="51">
                  <c:v>43556</c:v>
                </c:pt>
                <c:pt idx="52">
                  <c:v>43586</c:v>
                </c:pt>
                <c:pt idx="53">
                  <c:v>43617</c:v>
                </c:pt>
                <c:pt idx="54">
                  <c:v>43647</c:v>
                </c:pt>
                <c:pt idx="55">
                  <c:v>43678</c:v>
                </c:pt>
                <c:pt idx="56">
                  <c:v>43709</c:v>
                </c:pt>
                <c:pt idx="57">
                  <c:v>43739</c:v>
                </c:pt>
                <c:pt idx="58">
                  <c:v>43770</c:v>
                </c:pt>
                <c:pt idx="59">
                  <c:v>43800</c:v>
                </c:pt>
                <c:pt idx="60">
                  <c:v>43831</c:v>
                </c:pt>
                <c:pt idx="61">
                  <c:v>43862</c:v>
                </c:pt>
                <c:pt idx="62">
                  <c:v>43891</c:v>
                </c:pt>
                <c:pt idx="63">
                  <c:v>43922</c:v>
                </c:pt>
                <c:pt idx="64">
                  <c:v>43952</c:v>
                </c:pt>
                <c:pt idx="65">
                  <c:v>43983</c:v>
                </c:pt>
                <c:pt idx="66">
                  <c:v>44013</c:v>
                </c:pt>
                <c:pt idx="67">
                  <c:v>44044</c:v>
                </c:pt>
                <c:pt idx="68">
                  <c:v>44075</c:v>
                </c:pt>
                <c:pt idx="69">
                  <c:v>44105</c:v>
                </c:pt>
                <c:pt idx="70">
                  <c:v>44136</c:v>
                </c:pt>
                <c:pt idx="71">
                  <c:v>44166</c:v>
                </c:pt>
                <c:pt idx="72">
                  <c:v>44197</c:v>
                </c:pt>
                <c:pt idx="73">
                  <c:v>44228</c:v>
                </c:pt>
                <c:pt idx="74">
                  <c:v>44256</c:v>
                </c:pt>
                <c:pt idx="75">
                  <c:v>44287</c:v>
                </c:pt>
                <c:pt idx="76">
                  <c:v>44317</c:v>
                </c:pt>
                <c:pt idx="77">
                  <c:v>44348</c:v>
                </c:pt>
                <c:pt idx="78">
                  <c:v>44378</c:v>
                </c:pt>
                <c:pt idx="79">
                  <c:v>44409</c:v>
                </c:pt>
                <c:pt idx="80">
                  <c:v>44440</c:v>
                </c:pt>
                <c:pt idx="81">
                  <c:v>44470</c:v>
                </c:pt>
                <c:pt idx="82">
                  <c:v>44501</c:v>
                </c:pt>
                <c:pt idx="83">
                  <c:v>44531</c:v>
                </c:pt>
                <c:pt idx="84">
                  <c:v>44562</c:v>
                </c:pt>
                <c:pt idx="85">
                  <c:v>44593</c:v>
                </c:pt>
                <c:pt idx="86">
                  <c:v>44621</c:v>
                </c:pt>
                <c:pt idx="87">
                  <c:v>44652</c:v>
                </c:pt>
                <c:pt idx="88">
                  <c:v>44682</c:v>
                </c:pt>
                <c:pt idx="89">
                  <c:v>44713</c:v>
                </c:pt>
                <c:pt idx="90">
                  <c:v>44743</c:v>
                </c:pt>
                <c:pt idx="91">
                  <c:v>44774</c:v>
                </c:pt>
                <c:pt idx="92">
                  <c:v>44805</c:v>
                </c:pt>
                <c:pt idx="93">
                  <c:v>44835</c:v>
                </c:pt>
                <c:pt idx="94">
                  <c:v>44866</c:v>
                </c:pt>
                <c:pt idx="95">
                  <c:v>44896</c:v>
                </c:pt>
                <c:pt idx="96">
                  <c:v>44927</c:v>
                </c:pt>
                <c:pt idx="97">
                  <c:v>44958</c:v>
                </c:pt>
                <c:pt idx="98">
                  <c:v>44986</c:v>
                </c:pt>
                <c:pt idx="99">
                  <c:v>45017</c:v>
                </c:pt>
                <c:pt idx="100">
                  <c:v>45047</c:v>
                </c:pt>
                <c:pt idx="101">
                  <c:v>45078</c:v>
                </c:pt>
                <c:pt idx="102">
                  <c:v>45108</c:v>
                </c:pt>
                <c:pt idx="103">
                  <c:v>45139</c:v>
                </c:pt>
                <c:pt idx="104">
                  <c:v>45170</c:v>
                </c:pt>
                <c:pt idx="105">
                  <c:v>45200</c:v>
                </c:pt>
                <c:pt idx="106">
                  <c:v>45231</c:v>
                </c:pt>
                <c:pt idx="107">
                  <c:v>45261</c:v>
                </c:pt>
                <c:pt idx="108">
                  <c:v>45292</c:v>
                </c:pt>
                <c:pt idx="109">
                  <c:v>45323</c:v>
                </c:pt>
                <c:pt idx="110">
                  <c:v>45352</c:v>
                </c:pt>
                <c:pt idx="111">
                  <c:v>45383</c:v>
                </c:pt>
                <c:pt idx="112">
                  <c:v>45413</c:v>
                </c:pt>
                <c:pt idx="113">
                  <c:v>45444</c:v>
                </c:pt>
                <c:pt idx="114">
                  <c:v>45474</c:v>
                </c:pt>
                <c:pt idx="115">
                  <c:v>45505</c:v>
                </c:pt>
                <c:pt idx="116">
                  <c:v>45536</c:v>
                </c:pt>
                <c:pt idx="117">
                  <c:v>45566</c:v>
                </c:pt>
                <c:pt idx="118">
                  <c:v>45597</c:v>
                </c:pt>
              </c:numCache>
            </c:numRef>
          </c:cat>
          <c:val>
            <c:numRef>
              <c:f>Sheet1!$S$8:$S$221</c:f>
              <c:numCache>
                <c:formatCode>0.00</c:formatCode>
                <c:ptCount val="214"/>
                <c:pt idx="0">
                  <c:v>100</c:v>
                </c:pt>
                <c:pt idx="1">
                  <c:v>102.46</c:v>
                </c:pt>
                <c:pt idx="2">
                  <c:v>102.68</c:v>
                </c:pt>
                <c:pt idx="3">
                  <c:v>101.93</c:v>
                </c:pt>
                <c:pt idx="4">
                  <c:v>102.68</c:v>
                </c:pt>
                <c:pt idx="5">
                  <c:v>102.89</c:v>
                </c:pt>
                <c:pt idx="6">
                  <c:v>103.53</c:v>
                </c:pt>
                <c:pt idx="7">
                  <c:v>102.14</c:v>
                </c:pt>
                <c:pt idx="8">
                  <c:v>102.57</c:v>
                </c:pt>
                <c:pt idx="9">
                  <c:v>102.89</c:v>
                </c:pt>
                <c:pt idx="10">
                  <c:v>102.36</c:v>
                </c:pt>
                <c:pt idx="11">
                  <c:v>102.36</c:v>
                </c:pt>
                <c:pt idx="12">
                  <c:v>105.03</c:v>
                </c:pt>
                <c:pt idx="13">
                  <c:v>103.43</c:v>
                </c:pt>
                <c:pt idx="14">
                  <c:v>102.78</c:v>
                </c:pt>
                <c:pt idx="15">
                  <c:v>104.39</c:v>
                </c:pt>
                <c:pt idx="16">
                  <c:v>102.78</c:v>
                </c:pt>
                <c:pt idx="17">
                  <c:v>103.75</c:v>
                </c:pt>
                <c:pt idx="18">
                  <c:v>103.53</c:v>
                </c:pt>
                <c:pt idx="19">
                  <c:v>103.53</c:v>
                </c:pt>
                <c:pt idx="20">
                  <c:v>103.85</c:v>
                </c:pt>
                <c:pt idx="21">
                  <c:v>104.6</c:v>
                </c:pt>
                <c:pt idx="22">
                  <c:v>104.93</c:v>
                </c:pt>
                <c:pt idx="23">
                  <c:v>104.5</c:v>
                </c:pt>
                <c:pt idx="24">
                  <c:v>104.28</c:v>
                </c:pt>
                <c:pt idx="25">
                  <c:v>104.93</c:v>
                </c:pt>
                <c:pt idx="26">
                  <c:v>104.71</c:v>
                </c:pt>
                <c:pt idx="27">
                  <c:v>105.67</c:v>
                </c:pt>
                <c:pt idx="28">
                  <c:v>106.1</c:v>
                </c:pt>
                <c:pt idx="29">
                  <c:v>105.78</c:v>
                </c:pt>
                <c:pt idx="30">
                  <c:v>107.07</c:v>
                </c:pt>
                <c:pt idx="31">
                  <c:v>107.92</c:v>
                </c:pt>
                <c:pt idx="32">
                  <c:v>107.49</c:v>
                </c:pt>
                <c:pt idx="33">
                  <c:v>107.49</c:v>
                </c:pt>
                <c:pt idx="34">
                  <c:v>110.28</c:v>
                </c:pt>
                <c:pt idx="35">
                  <c:v>110.28</c:v>
                </c:pt>
                <c:pt idx="36">
                  <c:v>108.03</c:v>
                </c:pt>
                <c:pt idx="37">
                  <c:v>107.17</c:v>
                </c:pt>
                <c:pt idx="38">
                  <c:v>107.6</c:v>
                </c:pt>
                <c:pt idx="39">
                  <c:v>107.49</c:v>
                </c:pt>
                <c:pt idx="40">
                  <c:v>108.67</c:v>
                </c:pt>
                <c:pt idx="41">
                  <c:v>108.57</c:v>
                </c:pt>
                <c:pt idx="42">
                  <c:v>107.17</c:v>
                </c:pt>
                <c:pt idx="43">
                  <c:v>108.57</c:v>
                </c:pt>
                <c:pt idx="44">
                  <c:v>107.71</c:v>
                </c:pt>
                <c:pt idx="45">
                  <c:v>107.92</c:v>
                </c:pt>
                <c:pt idx="46">
                  <c:v>106.42</c:v>
                </c:pt>
                <c:pt idx="47">
                  <c:v>106.75</c:v>
                </c:pt>
                <c:pt idx="48">
                  <c:v>107.71</c:v>
                </c:pt>
                <c:pt idx="49">
                  <c:v>107.39</c:v>
                </c:pt>
                <c:pt idx="50">
                  <c:v>107.49</c:v>
                </c:pt>
                <c:pt idx="51">
                  <c:v>107.28</c:v>
                </c:pt>
                <c:pt idx="52">
                  <c:v>107.71</c:v>
                </c:pt>
                <c:pt idx="53">
                  <c:v>106.32</c:v>
                </c:pt>
                <c:pt idx="54">
                  <c:v>106.21</c:v>
                </c:pt>
                <c:pt idx="55">
                  <c:v>106.42</c:v>
                </c:pt>
                <c:pt idx="56">
                  <c:v>106.42</c:v>
                </c:pt>
                <c:pt idx="57">
                  <c:v>106.96</c:v>
                </c:pt>
                <c:pt idx="58">
                  <c:v>105.67</c:v>
                </c:pt>
                <c:pt idx="59">
                  <c:v>103.32</c:v>
                </c:pt>
                <c:pt idx="60">
                  <c:v>106.21</c:v>
                </c:pt>
                <c:pt idx="61">
                  <c:v>106.1</c:v>
                </c:pt>
                <c:pt idx="62">
                  <c:v>94.43</c:v>
                </c:pt>
                <c:pt idx="63">
                  <c:v>76.87</c:v>
                </c:pt>
                <c:pt idx="64">
                  <c:v>87.15</c:v>
                </c:pt>
                <c:pt idx="65">
                  <c:v>94.97</c:v>
                </c:pt>
                <c:pt idx="66">
                  <c:v>99.79</c:v>
                </c:pt>
                <c:pt idx="67">
                  <c:v>100.32</c:v>
                </c:pt>
                <c:pt idx="68">
                  <c:v>100.43</c:v>
                </c:pt>
                <c:pt idx="69">
                  <c:v>103.53</c:v>
                </c:pt>
                <c:pt idx="70">
                  <c:v>106.53</c:v>
                </c:pt>
                <c:pt idx="71">
                  <c:v>105.46</c:v>
                </c:pt>
                <c:pt idx="72">
                  <c:v>107.71</c:v>
                </c:pt>
                <c:pt idx="73">
                  <c:v>106</c:v>
                </c:pt>
                <c:pt idx="74">
                  <c:v>106.96</c:v>
                </c:pt>
                <c:pt idx="75">
                  <c:v>108.46</c:v>
                </c:pt>
                <c:pt idx="76">
                  <c:v>106.64</c:v>
                </c:pt>
                <c:pt idx="77">
                  <c:v>105.25</c:v>
                </c:pt>
                <c:pt idx="78">
                  <c:v>108.35</c:v>
                </c:pt>
                <c:pt idx="79">
                  <c:v>105.46</c:v>
                </c:pt>
                <c:pt idx="80">
                  <c:v>106.1</c:v>
                </c:pt>
                <c:pt idx="81">
                  <c:v>106.53</c:v>
                </c:pt>
                <c:pt idx="82">
                  <c:v>107.49</c:v>
                </c:pt>
                <c:pt idx="83">
                  <c:v>109.74</c:v>
                </c:pt>
                <c:pt idx="84">
                  <c:v>109.42</c:v>
                </c:pt>
                <c:pt idx="85">
                  <c:v>109.31</c:v>
                </c:pt>
                <c:pt idx="86">
                  <c:v>107.28</c:v>
                </c:pt>
                <c:pt idx="87">
                  <c:v>107.71</c:v>
                </c:pt>
                <c:pt idx="88">
                  <c:v>109.85</c:v>
                </c:pt>
                <c:pt idx="89">
                  <c:v>109.42</c:v>
                </c:pt>
                <c:pt idx="90">
                  <c:v>107.92</c:v>
                </c:pt>
                <c:pt idx="91">
                  <c:v>111.13</c:v>
                </c:pt>
                <c:pt idx="92">
                  <c:v>112.31</c:v>
                </c:pt>
                <c:pt idx="93">
                  <c:v>110.49</c:v>
                </c:pt>
                <c:pt idx="94">
                  <c:v>110.49</c:v>
                </c:pt>
                <c:pt idx="95">
                  <c:v>106.42</c:v>
                </c:pt>
                <c:pt idx="96">
                  <c:v>110.81</c:v>
                </c:pt>
                <c:pt idx="97">
                  <c:v>111.99</c:v>
                </c:pt>
                <c:pt idx="98">
                  <c:v>105.78</c:v>
                </c:pt>
                <c:pt idx="99">
                  <c:v>107.92</c:v>
                </c:pt>
                <c:pt idx="100">
                  <c:v>107.28</c:v>
                </c:pt>
                <c:pt idx="101">
                  <c:v>108.35</c:v>
                </c:pt>
                <c:pt idx="102">
                  <c:v>105.46</c:v>
                </c:pt>
                <c:pt idx="103">
                  <c:v>105.14</c:v>
                </c:pt>
                <c:pt idx="104">
                  <c:v>105.25</c:v>
                </c:pt>
                <c:pt idx="105">
                  <c:v>104.6</c:v>
                </c:pt>
                <c:pt idx="106">
                  <c:v>105.03</c:v>
                </c:pt>
                <c:pt idx="107">
                  <c:v>106.64</c:v>
                </c:pt>
                <c:pt idx="108">
                  <c:v>104.07</c:v>
                </c:pt>
                <c:pt idx="109">
                  <c:v>104.18</c:v>
                </c:pt>
                <c:pt idx="110">
                  <c:v>104.71</c:v>
                </c:pt>
                <c:pt idx="111">
                  <c:v>104.5</c:v>
                </c:pt>
                <c:pt idx="112">
                  <c:v>103.53</c:v>
                </c:pt>
                <c:pt idx="113">
                  <c:v>103.64</c:v>
                </c:pt>
                <c:pt idx="114">
                  <c:v>103.32</c:v>
                </c:pt>
                <c:pt idx="115">
                  <c:v>104.82</c:v>
                </c:pt>
                <c:pt idx="116">
                  <c:v>102.68</c:v>
                </c:pt>
                <c:pt idx="117">
                  <c:v>#N/A</c:v>
                </c:pt>
                <c:pt idx="118">
                  <c:v>#N/A</c:v>
                </c:pt>
              </c:numCache>
            </c:numRef>
          </c:val>
          <c:smooth val="0"/>
          <c:extLst>
            <c:ext xmlns:c16="http://schemas.microsoft.com/office/drawing/2014/chart" uri="{C3380CC4-5D6E-409C-BE32-E72D297353CC}">
              <c16:uniqueId val="{00000003-6AF3-49F3-AEC3-8D3375E04B4A}"/>
            </c:ext>
          </c:extLst>
        </c:ser>
        <c:ser>
          <c:idx val="2"/>
          <c:order val="2"/>
          <c:tx>
            <c:strRef>
              <c:f>Sheet1!$T$5</c:f>
              <c:strCache>
                <c:ptCount val="1"/>
                <c:pt idx="0">
                  <c:v>Autoproduktion Eurozone</c:v>
                </c:pt>
              </c:strCache>
            </c:strRef>
          </c:tx>
          <c:spPr>
            <a:ln w="28575" cap="rnd">
              <a:solidFill>
                <a:schemeClr val="accent3"/>
              </a:solidFill>
              <a:round/>
            </a:ln>
            <a:effectLst/>
          </c:spPr>
          <c:marker>
            <c:symbol val="none"/>
          </c:marker>
          <c:dLbls>
            <c:dLbl>
              <c:idx val="116"/>
              <c:layout>
                <c:manualLayout>
                  <c:x val="0"/>
                  <c:y val="8.49828667249927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AF3-49F3-AEC3-8D3375E04B4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Q$8:$Q$221</c:f>
              <c:numCache>
                <c:formatCode>m/d/yyyy</c:formatCode>
                <c:ptCount val="214"/>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pt idx="18">
                  <c:v>42552</c:v>
                </c:pt>
                <c:pt idx="19">
                  <c:v>42583</c:v>
                </c:pt>
                <c:pt idx="20">
                  <c:v>42614</c:v>
                </c:pt>
                <c:pt idx="21">
                  <c:v>42644</c:v>
                </c:pt>
                <c:pt idx="22">
                  <c:v>42675</c:v>
                </c:pt>
                <c:pt idx="23">
                  <c:v>42705</c:v>
                </c:pt>
                <c:pt idx="24">
                  <c:v>42736</c:v>
                </c:pt>
                <c:pt idx="25">
                  <c:v>42767</c:v>
                </c:pt>
                <c:pt idx="26">
                  <c:v>42795</c:v>
                </c:pt>
                <c:pt idx="27">
                  <c:v>42826</c:v>
                </c:pt>
                <c:pt idx="28">
                  <c:v>42856</c:v>
                </c:pt>
                <c:pt idx="29">
                  <c:v>42887</c:v>
                </c:pt>
                <c:pt idx="30">
                  <c:v>42917</c:v>
                </c:pt>
                <c:pt idx="31">
                  <c:v>42948</c:v>
                </c:pt>
                <c:pt idx="32">
                  <c:v>42979</c:v>
                </c:pt>
                <c:pt idx="33">
                  <c:v>43009</c:v>
                </c:pt>
                <c:pt idx="34">
                  <c:v>43040</c:v>
                </c:pt>
                <c:pt idx="35">
                  <c:v>43070</c:v>
                </c:pt>
                <c:pt idx="36">
                  <c:v>43101</c:v>
                </c:pt>
                <c:pt idx="37">
                  <c:v>43132</c:v>
                </c:pt>
                <c:pt idx="38">
                  <c:v>43160</c:v>
                </c:pt>
                <c:pt idx="39">
                  <c:v>43191</c:v>
                </c:pt>
                <c:pt idx="40">
                  <c:v>43221</c:v>
                </c:pt>
                <c:pt idx="41">
                  <c:v>43252</c:v>
                </c:pt>
                <c:pt idx="42">
                  <c:v>43282</c:v>
                </c:pt>
                <c:pt idx="43">
                  <c:v>43313</c:v>
                </c:pt>
                <c:pt idx="44">
                  <c:v>43344</c:v>
                </c:pt>
                <c:pt idx="45">
                  <c:v>43374</c:v>
                </c:pt>
                <c:pt idx="46">
                  <c:v>43405</c:v>
                </c:pt>
                <c:pt idx="47">
                  <c:v>43435</c:v>
                </c:pt>
                <c:pt idx="48">
                  <c:v>43466</c:v>
                </c:pt>
                <c:pt idx="49">
                  <c:v>43497</c:v>
                </c:pt>
                <c:pt idx="50">
                  <c:v>43525</c:v>
                </c:pt>
                <c:pt idx="51">
                  <c:v>43556</c:v>
                </c:pt>
                <c:pt idx="52">
                  <c:v>43586</c:v>
                </c:pt>
                <c:pt idx="53">
                  <c:v>43617</c:v>
                </c:pt>
                <c:pt idx="54">
                  <c:v>43647</c:v>
                </c:pt>
                <c:pt idx="55">
                  <c:v>43678</c:v>
                </c:pt>
                <c:pt idx="56">
                  <c:v>43709</c:v>
                </c:pt>
                <c:pt idx="57">
                  <c:v>43739</c:v>
                </c:pt>
                <c:pt idx="58">
                  <c:v>43770</c:v>
                </c:pt>
                <c:pt idx="59">
                  <c:v>43800</c:v>
                </c:pt>
                <c:pt idx="60">
                  <c:v>43831</c:v>
                </c:pt>
                <c:pt idx="61">
                  <c:v>43862</c:v>
                </c:pt>
                <c:pt idx="62">
                  <c:v>43891</c:v>
                </c:pt>
                <c:pt idx="63">
                  <c:v>43922</c:v>
                </c:pt>
                <c:pt idx="64">
                  <c:v>43952</c:v>
                </c:pt>
                <c:pt idx="65">
                  <c:v>43983</c:v>
                </c:pt>
                <c:pt idx="66">
                  <c:v>44013</c:v>
                </c:pt>
                <c:pt idx="67">
                  <c:v>44044</c:v>
                </c:pt>
                <c:pt idx="68">
                  <c:v>44075</c:v>
                </c:pt>
                <c:pt idx="69">
                  <c:v>44105</c:v>
                </c:pt>
                <c:pt idx="70">
                  <c:v>44136</c:v>
                </c:pt>
                <c:pt idx="71">
                  <c:v>44166</c:v>
                </c:pt>
                <c:pt idx="72">
                  <c:v>44197</c:v>
                </c:pt>
                <c:pt idx="73">
                  <c:v>44228</c:v>
                </c:pt>
                <c:pt idx="74">
                  <c:v>44256</c:v>
                </c:pt>
                <c:pt idx="75">
                  <c:v>44287</c:v>
                </c:pt>
                <c:pt idx="76">
                  <c:v>44317</c:v>
                </c:pt>
                <c:pt idx="77">
                  <c:v>44348</c:v>
                </c:pt>
                <c:pt idx="78">
                  <c:v>44378</c:v>
                </c:pt>
                <c:pt idx="79">
                  <c:v>44409</c:v>
                </c:pt>
                <c:pt idx="80">
                  <c:v>44440</c:v>
                </c:pt>
                <c:pt idx="81">
                  <c:v>44470</c:v>
                </c:pt>
                <c:pt idx="82">
                  <c:v>44501</c:v>
                </c:pt>
                <c:pt idx="83">
                  <c:v>44531</c:v>
                </c:pt>
                <c:pt idx="84">
                  <c:v>44562</c:v>
                </c:pt>
                <c:pt idx="85">
                  <c:v>44593</c:v>
                </c:pt>
                <c:pt idx="86">
                  <c:v>44621</c:v>
                </c:pt>
                <c:pt idx="87">
                  <c:v>44652</c:v>
                </c:pt>
                <c:pt idx="88">
                  <c:v>44682</c:v>
                </c:pt>
                <c:pt idx="89">
                  <c:v>44713</c:v>
                </c:pt>
                <c:pt idx="90">
                  <c:v>44743</c:v>
                </c:pt>
                <c:pt idx="91">
                  <c:v>44774</c:v>
                </c:pt>
                <c:pt idx="92">
                  <c:v>44805</c:v>
                </c:pt>
                <c:pt idx="93">
                  <c:v>44835</c:v>
                </c:pt>
                <c:pt idx="94">
                  <c:v>44866</c:v>
                </c:pt>
                <c:pt idx="95">
                  <c:v>44896</c:v>
                </c:pt>
                <c:pt idx="96">
                  <c:v>44927</c:v>
                </c:pt>
                <c:pt idx="97">
                  <c:v>44958</c:v>
                </c:pt>
                <c:pt idx="98">
                  <c:v>44986</c:v>
                </c:pt>
                <c:pt idx="99">
                  <c:v>45017</c:v>
                </c:pt>
                <c:pt idx="100">
                  <c:v>45047</c:v>
                </c:pt>
                <c:pt idx="101">
                  <c:v>45078</c:v>
                </c:pt>
                <c:pt idx="102">
                  <c:v>45108</c:v>
                </c:pt>
                <c:pt idx="103">
                  <c:v>45139</c:v>
                </c:pt>
                <c:pt idx="104">
                  <c:v>45170</c:v>
                </c:pt>
                <c:pt idx="105">
                  <c:v>45200</c:v>
                </c:pt>
                <c:pt idx="106">
                  <c:v>45231</c:v>
                </c:pt>
                <c:pt idx="107">
                  <c:v>45261</c:v>
                </c:pt>
                <c:pt idx="108">
                  <c:v>45292</c:v>
                </c:pt>
                <c:pt idx="109">
                  <c:v>45323</c:v>
                </c:pt>
                <c:pt idx="110">
                  <c:v>45352</c:v>
                </c:pt>
                <c:pt idx="111">
                  <c:v>45383</c:v>
                </c:pt>
                <c:pt idx="112">
                  <c:v>45413</c:v>
                </c:pt>
                <c:pt idx="113">
                  <c:v>45444</c:v>
                </c:pt>
                <c:pt idx="114">
                  <c:v>45474</c:v>
                </c:pt>
                <c:pt idx="115">
                  <c:v>45505</c:v>
                </c:pt>
                <c:pt idx="116">
                  <c:v>45536</c:v>
                </c:pt>
                <c:pt idx="117">
                  <c:v>45566</c:v>
                </c:pt>
                <c:pt idx="118">
                  <c:v>45597</c:v>
                </c:pt>
              </c:numCache>
            </c:numRef>
          </c:cat>
          <c:val>
            <c:numRef>
              <c:f>Sheet1!$T$8:$T$221</c:f>
              <c:numCache>
                <c:formatCode>0.00</c:formatCode>
                <c:ptCount val="214"/>
                <c:pt idx="0">
                  <c:v>100</c:v>
                </c:pt>
                <c:pt idx="1">
                  <c:v>104.4</c:v>
                </c:pt>
                <c:pt idx="2">
                  <c:v>103.97</c:v>
                </c:pt>
                <c:pt idx="3">
                  <c:v>103.76</c:v>
                </c:pt>
                <c:pt idx="4">
                  <c:v>107.38</c:v>
                </c:pt>
                <c:pt idx="5">
                  <c:v>103.83</c:v>
                </c:pt>
                <c:pt idx="6">
                  <c:v>110</c:v>
                </c:pt>
                <c:pt idx="7">
                  <c:v>105.96</c:v>
                </c:pt>
                <c:pt idx="8">
                  <c:v>105.11</c:v>
                </c:pt>
                <c:pt idx="9">
                  <c:v>112.06</c:v>
                </c:pt>
                <c:pt idx="10">
                  <c:v>103.55</c:v>
                </c:pt>
                <c:pt idx="11">
                  <c:v>102.2</c:v>
                </c:pt>
                <c:pt idx="12">
                  <c:v>108.65</c:v>
                </c:pt>
                <c:pt idx="13">
                  <c:v>105.46</c:v>
                </c:pt>
                <c:pt idx="14">
                  <c:v>103.69</c:v>
                </c:pt>
                <c:pt idx="15">
                  <c:v>110.28</c:v>
                </c:pt>
                <c:pt idx="16">
                  <c:v>99.08</c:v>
                </c:pt>
                <c:pt idx="17">
                  <c:v>109.22</c:v>
                </c:pt>
                <c:pt idx="18">
                  <c:v>103.05</c:v>
                </c:pt>
                <c:pt idx="19">
                  <c:v>112.91</c:v>
                </c:pt>
                <c:pt idx="20">
                  <c:v>105.32</c:v>
                </c:pt>
                <c:pt idx="21">
                  <c:v>110.21</c:v>
                </c:pt>
                <c:pt idx="22">
                  <c:v>103.26</c:v>
                </c:pt>
                <c:pt idx="23">
                  <c:v>101.42</c:v>
                </c:pt>
                <c:pt idx="24">
                  <c:v>104.96</c:v>
                </c:pt>
                <c:pt idx="25">
                  <c:v>103.33</c:v>
                </c:pt>
                <c:pt idx="26">
                  <c:v>103.83</c:v>
                </c:pt>
                <c:pt idx="27">
                  <c:v>104.96</c:v>
                </c:pt>
                <c:pt idx="28">
                  <c:v>105.32</c:v>
                </c:pt>
                <c:pt idx="29">
                  <c:v>105.74</c:v>
                </c:pt>
                <c:pt idx="30">
                  <c:v>102.2</c:v>
                </c:pt>
                <c:pt idx="31">
                  <c:v>119.79</c:v>
                </c:pt>
                <c:pt idx="32">
                  <c:v>108.3</c:v>
                </c:pt>
                <c:pt idx="33">
                  <c:v>105.32</c:v>
                </c:pt>
                <c:pt idx="34">
                  <c:v>110.99</c:v>
                </c:pt>
                <c:pt idx="35">
                  <c:v>106.31</c:v>
                </c:pt>
                <c:pt idx="36">
                  <c:v>110.21</c:v>
                </c:pt>
                <c:pt idx="37">
                  <c:v>100.85</c:v>
                </c:pt>
                <c:pt idx="38">
                  <c:v>109.15</c:v>
                </c:pt>
                <c:pt idx="39">
                  <c:v>109.29</c:v>
                </c:pt>
                <c:pt idx="40">
                  <c:v>104.89</c:v>
                </c:pt>
                <c:pt idx="41">
                  <c:v>109.79</c:v>
                </c:pt>
                <c:pt idx="42">
                  <c:v>96.95</c:v>
                </c:pt>
                <c:pt idx="43">
                  <c:v>99.72</c:v>
                </c:pt>
                <c:pt idx="44">
                  <c:v>98.09</c:v>
                </c:pt>
                <c:pt idx="45">
                  <c:v>101.77</c:v>
                </c:pt>
                <c:pt idx="46">
                  <c:v>96.52</c:v>
                </c:pt>
                <c:pt idx="47">
                  <c:v>103.48</c:v>
                </c:pt>
                <c:pt idx="48">
                  <c:v>96.03</c:v>
                </c:pt>
                <c:pt idx="49">
                  <c:v>97.73</c:v>
                </c:pt>
                <c:pt idx="50">
                  <c:v>97.09</c:v>
                </c:pt>
                <c:pt idx="51">
                  <c:v>98.01</c:v>
                </c:pt>
                <c:pt idx="52">
                  <c:v>102.48</c:v>
                </c:pt>
                <c:pt idx="53">
                  <c:v>101.49</c:v>
                </c:pt>
                <c:pt idx="54">
                  <c:v>94.96</c:v>
                </c:pt>
                <c:pt idx="55">
                  <c:v>97.59</c:v>
                </c:pt>
                <c:pt idx="56">
                  <c:v>98.16</c:v>
                </c:pt>
                <c:pt idx="57">
                  <c:v>95.04</c:v>
                </c:pt>
                <c:pt idx="58">
                  <c:v>94.75</c:v>
                </c:pt>
                <c:pt idx="59">
                  <c:v>90.64</c:v>
                </c:pt>
                <c:pt idx="60">
                  <c:v>95.6</c:v>
                </c:pt>
                <c:pt idx="61">
                  <c:v>97.3</c:v>
                </c:pt>
                <c:pt idx="62">
                  <c:v>59.5</c:v>
                </c:pt>
                <c:pt idx="63">
                  <c:v>5.6</c:v>
                </c:pt>
                <c:pt idx="64">
                  <c:v>44.47</c:v>
                </c:pt>
                <c:pt idx="65">
                  <c:v>78.3</c:v>
                </c:pt>
                <c:pt idx="66">
                  <c:v>85.96</c:v>
                </c:pt>
                <c:pt idx="67">
                  <c:v>73.97</c:v>
                </c:pt>
                <c:pt idx="68">
                  <c:v>87.09</c:v>
                </c:pt>
                <c:pt idx="69">
                  <c:v>96.88</c:v>
                </c:pt>
                <c:pt idx="70">
                  <c:v>97.09</c:v>
                </c:pt>
                <c:pt idx="71">
                  <c:v>92.13</c:v>
                </c:pt>
                <c:pt idx="72">
                  <c:v>82.13</c:v>
                </c:pt>
                <c:pt idx="73">
                  <c:v>80.92</c:v>
                </c:pt>
                <c:pt idx="74">
                  <c:v>80.64</c:v>
                </c:pt>
                <c:pt idx="75">
                  <c:v>78.72</c:v>
                </c:pt>
                <c:pt idx="76">
                  <c:v>66.88</c:v>
                </c:pt>
                <c:pt idx="77">
                  <c:v>64.959999999999994</c:v>
                </c:pt>
                <c:pt idx="78">
                  <c:v>68.010000000000005</c:v>
                </c:pt>
                <c:pt idx="79">
                  <c:v>50.43</c:v>
                </c:pt>
                <c:pt idx="80">
                  <c:v>55.67</c:v>
                </c:pt>
                <c:pt idx="81">
                  <c:v>67.94</c:v>
                </c:pt>
                <c:pt idx="82">
                  <c:v>73.19</c:v>
                </c:pt>
                <c:pt idx="83">
                  <c:v>81.489999999999995</c:v>
                </c:pt>
                <c:pt idx="84">
                  <c:v>73.33</c:v>
                </c:pt>
                <c:pt idx="85">
                  <c:v>72.7</c:v>
                </c:pt>
                <c:pt idx="86">
                  <c:v>57.66</c:v>
                </c:pt>
                <c:pt idx="87">
                  <c:v>67.09</c:v>
                </c:pt>
                <c:pt idx="88">
                  <c:v>69.290000000000006</c:v>
                </c:pt>
                <c:pt idx="89">
                  <c:v>73.900000000000006</c:v>
                </c:pt>
                <c:pt idx="90">
                  <c:v>71.28</c:v>
                </c:pt>
                <c:pt idx="91">
                  <c:v>71.42</c:v>
                </c:pt>
                <c:pt idx="92">
                  <c:v>81.99</c:v>
                </c:pt>
                <c:pt idx="93">
                  <c:v>79.650000000000006</c:v>
                </c:pt>
                <c:pt idx="94">
                  <c:v>84.82</c:v>
                </c:pt>
                <c:pt idx="95">
                  <c:v>87.73</c:v>
                </c:pt>
                <c:pt idx="96">
                  <c:v>87.16</c:v>
                </c:pt>
                <c:pt idx="97">
                  <c:v>92.84</c:v>
                </c:pt>
                <c:pt idx="98">
                  <c:v>90.71</c:v>
                </c:pt>
                <c:pt idx="99">
                  <c:v>86.95</c:v>
                </c:pt>
                <c:pt idx="100">
                  <c:v>90.21</c:v>
                </c:pt>
                <c:pt idx="101">
                  <c:v>87.8</c:v>
                </c:pt>
                <c:pt idx="102">
                  <c:v>79.430000000000007</c:v>
                </c:pt>
                <c:pt idx="103">
                  <c:v>84.4</c:v>
                </c:pt>
                <c:pt idx="104">
                  <c:v>85.18</c:v>
                </c:pt>
                <c:pt idx="105">
                  <c:v>86.74</c:v>
                </c:pt>
                <c:pt idx="106">
                  <c:v>84.89</c:v>
                </c:pt>
                <c:pt idx="107">
                  <c:v>83.12</c:v>
                </c:pt>
                <c:pt idx="108">
                  <c:v>78.23</c:v>
                </c:pt>
                <c:pt idx="109">
                  <c:v>81.13</c:v>
                </c:pt>
                <c:pt idx="110">
                  <c:v>80.28</c:v>
                </c:pt>
                <c:pt idx="111">
                  <c:v>85.18</c:v>
                </c:pt>
                <c:pt idx="112">
                  <c:v>71.989999999999995</c:v>
                </c:pt>
                <c:pt idx="113">
                  <c:v>81.13</c:v>
                </c:pt>
                <c:pt idx="114">
                  <c:v>70.349999999999994</c:v>
                </c:pt>
                <c:pt idx="115">
                  <c:v>85.74</c:v>
                </c:pt>
                <c:pt idx="116">
                  <c:v>80.28</c:v>
                </c:pt>
                <c:pt idx="117">
                  <c:v>#N/A</c:v>
                </c:pt>
                <c:pt idx="118">
                  <c:v>#N/A</c:v>
                </c:pt>
              </c:numCache>
            </c:numRef>
          </c:val>
          <c:smooth val="0"/>
          <c:extLst>
            <c:ext xmlns:c16="http://schemas.microsoft.com/office/drawing/2014/chart" uri="{C3380CC4-5D6E-409C-BE32-E72D297353CC}">
              <c16:uniqueId val="{00000005-6AF3-49F3-AEC3-8D3375E04B4A}"/>
            </c:ext>
          </c:extLst>
        </c:ser>
        <c:dLbls>
          <c:showLegendKey val="0"/>
          <c:showVal val="0"/>
          <c:showCatName val="0"/>
          <c:showSerName val="0"/>
          <c:showPercent val="0"/>
          <c:showBubbleSize val="0"/>
        </c:dLbls>
        <c:smooth val="0"/>
        <c:axId val="2048571104"/>
        <c:axId val="2048581184"/>
      </c:lineChart>
      <c:dateAx>
        <c:axId val="2048571104"/>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048581184"/>
        <c:crosses val="autoZero"/>
        <c:auto val="1"/>
        <c:lblOffset val="100"/>
        <c:baseTimeUnit val="months"/>
        <c:majorUnit val="12"/>
        <c:majorTimeUnit val="months"/>
      </c:dateAx>
      <c:valAx>
        <c:axId val="20485811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8571104"/>
        <c:crosses val="autoZero"/>
        <c:crossBetween val="between"/>
      </c:valAx>
      <c:spPr>
        <a:noFill/>
        <a:ln>
          <a:noFill/>
        </a:ln>
        <a:effectLst/>
      </c:spPr>
    </c:plotArea>
    <c:legend>
      <c:legendPos val="b"/>
      <c:layout>
        <c:manualLayout>
          <c:xMode val="edge"/>
          <c:yMode val="edge"/>
          <c:x val="1.6241578050166409E-2"/>
          <c:y val="0.83457093494255308"/>
          <c:w val="0.98126254836702109"/>
          <c:h val="0.1613453495322859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Q$10</c:f>
              <c:strCache>
                <c:ptCount val="1"/>
                <c:pt idx="0">
                  <c:v>Anteil erneuerbarer Energie an globaler Stromerzeugung</c:v>
                </c:pt>
              </c:strCache>
            </c:strRef>
          </c:tx>
          <c:spPr>
            <a:ln w="28575" cap="rnd">
              <a:solidFill>
                <a:schemeClr val="accent1"/>
              </a:solidFill>
              <a:round/>
            </a:ln>
            <a:effectLst/>
          </c:spPr>
          <c:marker>
            <c:symbol val="none"/>
          </c:marker>
          <c:cat>
            <c:numRef>
              <c:f>Sheet1!$E$14:$E$33</c:f>
              <c:numCache>
                <c:formatCode>m/d/yyyy</c:formatCode>
                <c:ptCount val="20"/>
                <c:pt idx="0">
                  <c:v>45107</c:v>
                </c:pt>
                <c:pt idx="1">
                  <c:v>44742</c:v>
                </c:pt>
                <c:pt idx="2">
                  <c:v>44377</c:v>
                </c:pt>
                <c:pt idx="3">
                  <c:v>44012</c:v>
                </c:pt>
                <c:pt idx="4">
                  <c:v>43644</c:v>
                </c:pt>
                <c:pt idx="5">
                  <c:v>43280</c:v>
                </c:pt>
                <c:pt idx="6">
                  <c:v>42916</c:v>
                </c:pt>
                <c:pt idx="7">
                  <c:v>42551</c:v>
                </c:pt>
                <c:pt idx="8">
                  <c:v>42185</c:v>
                </c:pt>
                <c:pt idx="9">
                  <c:v>41820</c:v>
                </c:pt>
                <c:pt idx="10">
                  <c:v>41453</c:v>
                </c:pt>
                <c:pt idx="11">
                  <c:v>41089</c:v>
                </c:pt>
                <c:pt idx="12">
                  <c:v>40724</c:v>
                </c:pt>
                <c:pt idx="13">
                  <c:v>40359</c:v>
                </c:pt>
                <c:pt idx="14">
                  <c:v>39994</c:v>
                </c:pt>
                <c:pt idx="15">
                  <c:v>39629</c:v>
                </c:pt>
                <c:pt idx="16">
                  <c:v>39262</c:v>
                </c:pt>
                <c:pt idx="17">
                  <c:v>38898</c:v>
                </c:pt>
                <c:pt idx="18">
                  <c:v>38533</c:v>
                </c:pt>
                <c:pt idx="19">
                  <c:v>38168</c:v>
                </c:pt>
              </c:numCache>
            </c:numRef>
          </c:cat>
          <c:val>
            <c:numRef>
              <c:f>Sheet1!$Q$14:$Q$33</c:f>
              <c:numCache>
                <c:formatCode>General</c:formatCode>
                <c:ptCount val="20"/>
                <c:pt idx="0">
                  <c:v>0.3023808330871981</c:v>
                </c:pt>
                <c:pt idx="1">
                  <c:v>0.29416090280305784</c:v>
                </c:pt>
                <c:pt idx="2">
                  <c:v>0.28140445463720631</c:v>
                </c:pt>
                <c:pt idx="3">
                  <c:v>0.28076723084230171</c:v>
                </c:pt>
                <c:pt idx="4">
                  <c:v>0.26187179296580698</c:v>
                </c:pt>
                <c:pt idx="5">
                  <c:v>0.25178684862743433</c:v>
                </c:pt>
                <c:pt idx="6">
                  <c:v>0.24542074506508049</c:v>
                </c:pt>
                <c:pt idx="7">
                  <c:v>0.2375462229945782</c:v>
                </c:pt>
                <c:pt idx="8">
                  <c:v>0.22991204329922255</c:v>
                </c:pt>
                <c:pt idx="9">
                  <c:v>0.22255532977226394</c:v>
                </c:pt>
                <c:pt idx="10">
                  <c:v>0.21704664801384699</c:v>
                </c:pt>
                <c:pt idx="11">
                  <c:v>0.20968171740428071</c:v>
                </c:pt>
                <c:pt idx="12">
                  <c:v>0.2001236047780488</c:v>
                </c:pt>
                <c:pt idx="13">
                  <c:v>0.19713007453698325</c:v>
                </c:pt>
                <c:pt idx="14">
                  <c:v>0.1945319786975839</c:v>
                </c:pt>
                <c:pt idx="15">
                  <c:v>0.18896271626547628</c:v>
                </c:pt>
                <c:pt idx="16">
                  <c:v>0.17960851556020016</c:v>
                </c:pt>
                <c:pt idx="17">
                  <c:v>0.18220830976187685</c:v>
                </c:pt>
                <c:pt idx="18">
                  <c:v>0.1808606403390188</c:v>
                </c:pt>
                <c:pt idx="19">
                  <c:v>0.17970447161001171</c:v>
                </c:pt>
              </c:numCache>
            </c:numRef>
          </c:val>
          <c:smooth val="0"/>
          <c:extLst>
            <c:ext xmlns:c16="http://schemas.microsoft.com/office/drawing/2014/chart" uri="{C3380CC4-5D6E-409C-BE32-E72D297353CC}">
              <c16:uniqueId val="{00000000-3CE6-4A9D-AD1E-2BB80FFE7C4E}"/>
            </c:ext>
          </c:extLst>
        </c:ser>
        <c:dLbls>
          <c:showLegendKey val="0"/>
          <c:showVal val="0"/>
          <c:showCatName val="0"/>
          <c:showSerName val="0"/>
          <c:showPercent val="0"/>
          <c:showBubbleSize val="0"/>
        </c:dLbls>
        <c:smooth val="0"/>
        <c:axId val="927020303"/>
        <c:axId val="927021967"/>
      </c:lineChart>
      <c:dateAx>
        <c:axId val="927020303"/>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years"/>
        <c:majorUnit val="1"/>
        <c:majorTimeUnit val="years"/>
        <c:minorUnit val="2"/>
        <c:minorTimeUnit val="years"/>
      </c:dateAx>
      <c:valAx>
        <c:axId val="927021967"/>
        <c:scaling>
          <c:orientation val="minMax"/>
          <c:min val="0.15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8823312835246822E-2"/>
          <c:y val="4.3958575636449511E-2"/>
          <c:w val="0.91489530613709391"/>
          <c:h val="0.7190802443669646"/>
        </c:manualLayout>
      </c:layout>
      <c:lineChart>
        <c:grouping val="standard"/>
        <c:varyColors val="0"/>
        <c:ser>
          <c:idx val="0"/>
          <c:order val="0"/>
          <c:tx>
            <c:strRef>
              <c:f>'Sheet1 (2)'!$P$6</c:f>
              <c:strCache>
                <c:ptCount val="1"/>
                <c:pt idx="0">
                  <c:v>Öl Nachfrage (Mio. Fässer pro tag)</c:v>
                </c:pt>
              </c:strCache>
            </c:strRef>
          </c:tx>
          <c:spPr>
            <a:ln w="28575" cap="rnd">
              <a:solidFill>
                <a:schemeClr val="accent1"/>
              </a:solidFill>
              <a:round/>
            </a:ln>
            <a:effectLst/>
          </c:spPr>
          <c:marker>
            <c:symbol val="none"/>
          </c:marker>
          <c:trendline>
            <c:name>Trend</c:name>
            <c:spPr>
              <a:ln w="19050" cap="rnd">
                <a:solidFill>
                  <a:schemeClr val="accent1"/>
                </a:solidFill>
                <a:prstDash val="sysDot"/>
              </a:ln>
              <a:effectLst/>
            </c:spPr>
            <c:trendlineType val="poly"/>
            <c:order val="4"/>
            <c:dispRSqr val="0"/>
            <c:dispEq val="0"/>
          </c:trendline>
          <c:cat>
            <c:numRef>
              <c:f>'Sheet1 (2)'!$O$8:$O$48</c:f>
              <c:numCache>
                <c:formatCode>m/d/yyyy</c:formatCode>
                <c:ptCount val="41"/>
                <c:pt idx="0">
                  <c:v>47848</c:v>
                </c:pt>
                <c:pt idx="1">
                  <c:v>47483</c:v>
                </c:pt>
                <c:pt idx="2">
                  <c:v>47118</c:v>
                </c:pt>
                <c:pt idx="3">
                  <c:v>46752</c:v>
                </c:pt>
                <c:pt idx="4">
                  <c:v>46387</c:v>
                </c:pt>
                <c:pt idx="5">
                  <c:v>46022</c:v>
                </c:pt>
                <c:pt idx="6">
                  <c:v>45657</c:v>
                </c:pt>
                <c:pt idx="7">
                  <c:v>45291</c:v>
                </c:pt>
                <c:pt idx="8">
                  <c:v>44926</c:v>
                </c:pt>
                <c:pt idx="9">
                  <c:v>44561</c:v>
                </c:pt>
                <c:pt idx="10">
                  <c:v>44196</c:v>
                </c:pt>
                <c:pt idx="11">
                  <c:v>43830</c:v>
                </c:pt>
                <c:pt idx="12">
                  <c:v>43465</c:v>
                </c:pt>
                <c:pt idx="13">
                  <c:v>43100</c:v>
                </c:pt>
                <c:pt idx="14">
                  <c:v>42735</c:v>
                </c:pt>
                <c:pt idx="15">
                  <c:v>42369</c:v>
                </c:pt>
                <c:pt idx="16">
                  <c:v>42004</c:v>
                </c:pt>
                <c:pt idx="17">
                  <c:v>41639</c:v>
                </c:pt>
                <c:pt idx="18">
                  <c:v>41274</c:v>
                </c:pt>
                <c:pt idx="19">
                  <c:v>40908</c:v>
                </c:pt>
                <c:pt idx="20">
                  <c:v>40543</c:v>
                </c:pt>
                <c:pt idx="21">
                  <c:v>40178</c:v>
                </c:pt>
                <c:pt idx="22">
                  <c:v>39813</c:v>
                </c:pt>
                <c:pt idx="23">
                  <c:v>39447</c:v>
                </c:pt>
                <c:pt idx="24">
                  <c:v>39082</c:v>
                </c:pt>
                <c:pt idx="25">
                  <c:v>38717</c:v>
                </c:pt>
                <c:pt idx="26">
                  <c:v>38352</c:v>
                </c:pt>
                <c:pt idx="27">
                  <c:v>37986</c:v>
                </c:pt>
                <c:pt idx="28">
                  <c:v>37621</c:v>
                </c:pt>
                <c:pt idx="29">
                  <c:v>37256</c:v>
                </c:pt>
                <c:pt idx="30">
                  <c:v>36891</c:v>
                </c:pt>
                <c:pt idx="31">
                  <c:v>36525</c:v>
                </c:pt>
                <c:pt idx="32">
                  <c:v>36160</c:v>
                </c:pt>
                <c:pt idx="33">
                  <c:v>35795</c:v>
                </c:pt>
                <c:pt idx="34">
                  <c:v>35430</c:v>
                </c:pt>
                <c:pt idx="35">
                  <c:v>35064</c:v>
                </c:pt>
                <c:pt idx="36">
                  <c:v>34699</c:v>
                </c:pt>
                <c:pt idx="37">
                  <c:v>34334</c:v>
                </c:pt>
                <c:pt idx="38">
                  <c:v>33969</c:v>
                </c:pt>
                <c:pt idx="39">
                  <c:v>33603</c:v>
                </c:pt>
                <c:pt idx="40">
                  <c:v>33238</c:v>
                </c:pt>
              </c:numCache>
            </c:numRef>
          </c:cat>
          <c:val>
            <c:numRef>
              <c:f>'Sheet1 (2)'!$P$8:$P$48</c:f>
              <c:numCache>
                <c:formatCode>General</c:formatCode>
                <c:ptCount val="41"/>
                <c:pt idx="7">
                  <c:v>102.15</c:v>
                </c:pt>
                <c:pt idx="8">
                  <c:v>100.05</c:v>
                </c:pt>
                <c:pt idx="9">
                  <c:v>97.53</c:v>
                </c:pt>
                <c:pt idx="10">
                  <c:v>91.7</c:v>
                </c:pt>
                <c:pt idx="11">
                  <c:v>100.89</c:v>
                </c:pt>
                <c:pt idx="12">
                  <c:v>100.02</c:v>
                </c:pt>
                <c:pt idx="13">
                  <c:v>98.51</c:v>
                </c:pt>
                <c:pt idx="14">
                  <c:v>96.8</c:v>
                </c:pt>
                <c:pt idx="15">
                  <c:v>95.65</c:v>
                </c:pt>
                <c:pt idx="16">
                  <c:v>93.58</c:v>
                </c:pt>
                <c:pt idx="17">
                  <c:v>92.22</c:v>
                </c:pt>
                <c:pt idx="18">
                  <c:v>90.64</c:v>
                </c:pt>
                <c:pt idx="19">
                  <c:v>89.28</c:v>
                </c:pt>
                <c:pt idx="20">
                  <c:v>88.6</c:v>
                </c:pt>
                <c:pt idx="21">
                  <c:v>85.68</c:v>
                </c:pt>
                <c:pt idx="22">
                  <c:v>86.51</c:v>
                </c:pt>
                <c:pt idx="23">
                  <c:v>86.93</c:v>
                </c:pt>
                <c:pt idx="24">
                  <c:v>85.5</c:v>
                </c:pt>
                <c:pt idx="25">
                  <c:v>84.32</c:v>
                </c:pt>
                <c:pt idx="26">
                  <c:v>83.1</c:v>
                </c:pt>
                <c:pt idx="27">
                  <c:v>79.959999999999994</c:v>
                </c:pt>
                <c:pt idx="28">
                  <c:v>78.34</c:v>
                </c:pt>
                <c:pt idx="29">
                  <c:v>77.58</c:v>
                </c:pt>
                <c:pt idx="30">
                  <c:v>76.900000000000006</c:v>
                </c:pt>
                <c:pt idx="31">
                  <c:v>75.599999999999994</c:v>
                </c:pt>
                <c:pt idx="32">
                  <c:v>73.930000000000007</c:v>
                </c:pt>
                <c:pt idx="33">
                  <c:v>73.099999999999994</c:v>
                </c:pt>
                <c:pt idx="34">
                  <c:v>71.89</c:v>
                </c:pt>
                <c:pt idx="35">
                  <c:v>69.84</c:v>
                </c:pt>
                <c:pt idx="36">
                  <c:v>68.400000000000006</c:v>
                </c:pt>
                <c:pt idx="37">
                  <c:v>66.989999999999995</c:v>
                </c:pt>
                <c:pt idx="38">
                  <c:v>67.209999999999994</c:v>
                </c:pt>
                <c:pt idx="39">
                  <c:v>66.94</c:v>
                </c:pt>
                <c:pt idx="40">
                  <c:v>66.650000000000006</c:v>
                </c:pt>
              </c:numCache>
            </c:numRef>
          </c:val>
          <c:smooth val="0"/>
          <c:extLst>
            <c:ext xmlns:c16="http://schemas.microsoft.com/office/drawing/2014/chart" uri="{C3380CC4-5D6E-409C-BE32-E72D297353CC}">
              <c16:uniqueId val="{00000001-2285-4191-8893-71E42C7C35AC}"/>
            </c:ext>
          </c:extLst>
        </c:ser>
        <c:ser>
          <c:idx val="1"/>
          <c:order val="1"/>
          <c:tx>
            <c:strRef>
              <c:f>'Sheet1 (2)'!$Q$6</c:f>
              <c:strCache>
                <c:ptCount val="1"/>
                <c:pt idx="0">
                  <c:v>Prognose (Mio. Fässer pro Tag)</c:v>
                </c:pt>
              </c:strCache>
            </c:strRef>
          </c:tx>
          <c:spPr>
            <a:ln w="28575" cap="rnd">
              <a:solidFill>
                <a:schemeClr val="accent2"/>
              </a:solidFill>
              <a:prstDash val="sysDash"/>
              <a:round/>
            </a:ln>
            <a:effectLst/>
          </c:spPr>
          <c:marker>
            <c:symbol val="none"/>
          </c:marker>
          <c:cat>
            <c:numRef>
              <c:f>'Sheet1 (2)'!$O$8:$O$48</c:f>
              <c:numCache>
                <c:formatCode>m/d/yyyy</c:formatCode>
                <c:ptCount val="41"/>
                <c:pt idx="0">
                  <c:v>47848</c:v>
                </c:pt>
                <c:pt idx="1">
                  <c:v>47483</c:v>
                </c:pt>
                <c:pt idx="2">
                  <c:v>47118</c:v>
                </c:pt>
                <c:pt idx="3">
                  <c:v>46752</c:v>
                </c:pt>
                <c:pt idx="4">
                  <c:v>46387</c:v>
                </c:pt>
                <c:pt idx="5">
                  <c:v>46022</c:v>
                </c:pt>
                <c:pt idx="6">
                  <c:v>45657</c:v>
                </c:pt>
                <c:pt idx="7">
                  <c:v>45291</c:v>
                </c:pt>
                <c:pt idx="8">
                  <c:v>44926</c:v>
                </c:pt>
                <c:pt idx="9">
                  <c:v>44561</c:v>
                </c:pt>
                <c:pt idx="10">
                  <c:v>44196</c:v>
                </c:pt>
                <c:pt idx="11">
                  <c:v>43830</c:v>
                </c:pt>
                <c:pt idx="12">
                  <c:v>43465</c:v>
                </c:pt>
                <c:pt idx="13">
                  <c:v>43100</c:v>
                </c:pt>
                <c:pt idx="14">
                  <c:v>42735</c:v>
                </c:pt>
                <c:pt idx="15">
                  <c:v>42369</c:v>
                </c:pt>
                <c:pt idx="16">
                  <c:v>42004</c:v>
                </c:pt>
                <c:pt idx="17">
                  <c:v>41639</c:v>
                </c:pt>
                <c:pt idx="18">
                  <c:v>41274</c:v>
                </c:pt>
                <c:pt idx="19">
                  <c:v>40908</c:v>
                </c:pt>
                <c:pt idx="20">
                  <c:v>40543</c:v>
                </c:pt>
                <c:pt idx="21">
                  <c:v>40178</c:v>
                </c:pt>
                <c:pt idx="22">
                  <c:v>39813</c:v>
                </c:pt>
                <c:pt idx="23">
                  <c:v>39447</c:v>
                </c:pt>
                <c:pt idx="24">
                  <c:v>39082</c:v>
                </c:pt>
                <c:pt idx="25">
                  <c:v>38717</c:v>
                </c:pt>
                <c:pt idx="26">
                  <c:v>38352</c:v>
                </c:pt>
                <c:pt idx="27">
                  <c:v>37986</c:v>
                </c:pt>
                <c:pt idx="28">
                  <c:v>37621</c:v>
                </c:pt>
                <c:pt idx="29">
                  <c:v>37256</c:v>
                </c:pt>
                <c:pt idx="30">
                  <c:v>36891</c:v>
                </c:pt>
                <c:pt idx="31">
                  <c:v>36525</c:v>
                </c:pt>
                <c:pt idx="32">
                  <c:v>36160</c:v>
                </c:pt>
                <c:pt idx="33">
                  <c:v>35795</c:v>
                </c:pt>
                <c:pt idx="34">
                  <c:v>35430</c:v>
                </c:pt>
                <c:pt idx="35">
                  <c:v>35064</c:v>
                </c:pt>
                <c:pt idx="36">
                  <c:v>34699</c:v>
                </c:pt>
                <c:pt idx="37">
                  <c:v>34334</c:v>
                </c:pt>
                <c:pt idx="38">
                  <c:v>33969</c:v>
                </c:pt>
                <c:pt idx="39">
                  <c:v>33603</c:v>
                </c:pt>
                <c:pt idx="40">
                  <c:v>33238</c:v>
                </c:pt>
              </c:numCache>
            </c:numRef>
          </c:cat>
          <c:val>
            <c:numRef>
              <c:f>'Sheet1 (2)'!$Q$8:$Q$48</c:f>
              <c:numCache>
                <c:formatCode>General</c:formatCode>
                <c:ptCount val="41"/>
                <c:pt idx="0">
                  <c:v>105.4</c:v>
                </c:pt>
                <c:pt idx="1">
                  <c:v>105.6</c:v>
                </c:pt>
                <c:pt idx="2">
                  <c:v>105.5</c:v>
                </c:pt>
                <c:pt idx="3">
                  <c:v>105.3</c:v>
                </c:pt>
                <c:pt idx="4">
                  <c:v>105</c:v>
                </c:pt>
                <c:pt idx="5">
                  <c:v>104.2</c:v>
                </c:pt>
                <c:pt idx="6">
                  <c:v>103.2</c:v>
                </c:pt>
                <c:pt idx="7">
                  <c:v>102.15</c:v>
                </c:pt>
              </c:numCache>
            </c:numRef>
          </c:val>
          <c:smooth val="0"/>
          <c:extLst>
            <c:ext xmlns:c16="http://schemas.microsoft.com/office/drawing/2014/chart" uri="{C3380CC4-5D6E-409C-BE32-E72D297353CC}">
              <c16:uniqueId val="{00000002-2285-4191-8893-71E42C7C35AC}"/>
            </c:ext>
          </c:extLst>
        </c:ser>
        <c:dLbls>
          <c:showLegendKey val="0"/>
          <c:showVal val="0"/>
          <c:showCatName val="0"/>
          <c:showSerName val="0"/>
          <c:showPercent val="0"/>
          <c:showBubbleSize val="0"/>
        </c:dLbls>
        <c:smooth val="0"/>
        <c:axId val="927020303"/>
        <c:axId val="927021967"/>
      </c:lineChart>
      <c:dateAx>
        <c:axId val="927020303"/>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months"/>
        <c:majorUnit val="60"/>
        <c:majorTimeUnit val="months"/>
      </c:dateAx>
      <c:valAx>
        <c:axId val="927021967"/>
        <c:scaling>
          <c:orientation val="minMax"/>
          <c:min val="60"/>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de-DE" sz="1000" noProof="0" dirty="0"/>
              <a:t>Öffentliche Investitionsbedarfe in Deutschland (in </a:t>
            </a:r>
            <a:r>
              <a:rPr lang="de-DE" sz="1000" noProof="0" dirty="0" err="1"/>
              <a:t>Mrd</a:t>
            </a:r>
            <a:r>
              <a:rPr lang="de-DE" sz="1000" noProof="0" dirty="0"/>
              <a:t> EUR)*</a:t>
            </a:r>
          </a:p>
        </c:rich>
      </c:tx>
      <c:overlay val="0"/>
      <c:spPr>
        <a:noFill/>
        <a:ln>
          <a:noFill/>
        </a:ln>
        <a:effectLst/>
      </c:spPr>
      <c:txPr>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title>
    <c:autoTitleDeleted val="0"/>
    <c:plotArea>
      <c:layout>
        <c:manualLayout>
          <c:layoutTarget val="inner"/>
          <c:xMode val="edge"/>
          <c:yMode val="edge"/>
          <c:x val="2.6715191528893938E-2"/>
          <c:y val="4.3702974628171486E-2"/>
          <c:w val="0.94656951012234325"/>
          <c:h val="0.54160542432195979"/>
        </c:manualLayout>
      </c:layout>
      <c:barChart>
        <c:barDir val="col"/>
        <c:grouping val="clustered"/>
        <c:varyColors val="0"/>
        <c:ser>
          <c:idx val="0"/>
          <c:order val="0"/>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J$5:$K$13</c:f>
              <c:strCache>
                <c:ptCount val="9"/>
                <c:pt idx="0">
                  <c:v>Dekarbonisierung</c:v>
                </c:pt>
                <c:pt idx="1">
                  <c:v>Kommunale 
Infrastruktur</c:v>
                </c:pt>
                <c:pt idx="2">
                  <c:v>Ausbau Schienennetz</c:v>
                </c:pt>
                <c:pt idx="3">
                  <c:v>Bundesfernstraßen</c:v>
                </c:pt>
                <c:pt idx="4">
                  <c:v>Staatlicher Anteil</c:v>
                </c:pt>
                <c:pt idx="5">
                  <c:v>Sanierungsbedarf 
Hochschulen</c:v>
                </c:pt>
                <c:pt idx="6">
                  <c:v>Ausbau des ÖPNV</c:v>
                </c:pt>
                <c:pt idx="7">
                  <c:v>Kommunale Ausgaben 
für Klimaanpassung</c:v>
                </c:pt>
                <c:pt idx="8">
                  <c:v>Ausbau von 
Ganztagsschulen</c:v>
                </c:pt>
              </c:strCache>
            </c:strRef>
          </c:cat>
          <c:val>
            <c:numRef>
              <c:f>Sheet1!$L$5:$L$13</c:f>
              <c:numCache>
                <c:formatCode>General</c:formatCode>
                <c:ptCount val="9"/>
                <c:pt idx="0">
                  <c:v>200</c:v>
                </c:pt>
                <c:pt idx="1">
                  <c:v>117.2</c:v>
                </c:pt>
                <c:pt idx="2">
                  <c:v>59.5</c:v>
                </c:pt>
                <c:pt idx="3">
                  <c:v>39</c:v>
                </c:pt>
                <c:pt idx="4">
                  <c:v>36.799999999999997</c:v>
                </c:pt>
                <c:pt idx="5">
                  <c:v>34.700000000000003</c:v>
                </c:pt>
                <c:pt idx="6">
                  <c:v>28.5</c:v>
                </c:pt>
                <c:pt idx="7">
                  <c:v>13.2</c:v>
                </c:pt>
                <c:pt idx="8">
                  <c:v>6.7</c:v>
                </c:pt>
              </c:numCache>
            </c:numRef>
          </c:val>
          <c:extLst>
            <c:ext xmlns:c16="http://schemas.microsoft.com/office/drawing/2014/chart" uri="{C3380CC4-5D6E-409C-BE32-E72D297353CC}">
              <c16:uniqueId val="{00000000-4D41-42B6-8AD1-607A30338543}"/>
            </c:ext>
          </c:extLst>
        </c:ser>
        <c:dLbls>
          <c:dLblPos val="outEnd"/>
          <c:showLegendKey val="0"/>
          <c:showVal val="1"/>
          <c:showCatName val="0"/>
          <c:showSerName val="0"/>
          <c:showPercent val="0"/>
          <c:showBubbleSize val="0"/>
        </c:dLbls>
        <c:gapWidth val="219"/>
        <c:overlap val="-27"/>
        <c:axId val="844368639"/>
        <c:axId val="848505567"/>
      </c:barChart>
      <c:catAx>
        <c:axId val="84436863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848505567"/>
        <c:crosses val="autoZero"/>
        <c:auto val="1"/>
        <c:lblAlgn val="ctr"/>
        <c:lblOffset val="100"/>
        <c:noMultiLvlLbl val="0"/>
      </c:catAx>
      <c:valAx>
        <c:axId val="848505567"/>
        <c:scaling>
          <c:orientation val="minMax"/>
        </c:scaling>
        <c:delete val="1"/>
        <c:axPos val="l"/>
        <c:numFmt formatCode="General" sourceLinked="1"/>
        <c:majorTickMark val="none"/>
        <c:minorTickMark val="none"/>
        <c:tickLblPos val="nextTo"/>
        <c:crossAx val="8443686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2283800883672245E-2"/>
          <c:y val="8.8347260909934999E-2"/>
          <c:w val="0.89150418053413427"/>
          <c:h val="0.72839361305463568"/>
        </c:manualLayout>
      </c:layout>
      <c:lineChart>
        <c:grouping val="standard"/>
        <c:varyColors val="0"/>
        <c:ser>
          <c:idx val="0"/>
          <c:order val="0"/>
          <c:tx>
            <c:strRef>
              <c:f>Sheet1!$H$2</c:f>
              <c:strCache>
                <c:ptCount val="1"/>
                <c:pt idx="0">
                  <c:v>DJ Brookfield global infrastructure (EUR)</c:v>
                </c:pt>
              </c:strCache>
            </c:strRef>
          </c:tx>
          <c:spPr>
            <a:ln w="28575" cap="rnd">
              <a:solidFill>
                <a:schemeClr val="accent1"/>
              </a:solidFill>
              <a:round/>
            </a:ln>
            <a:effectLst/>
          </c:spPr>
          <c:marker>
            <c:symbol val="none"/>
          </c:marker>
          <c:cat>
            <c:numRef>
              <c:f>Sheet1!$G$4:$G$1309</c:f>
              <c:numCache>
                <c:formatCode>m/d/yyyy</c:formatCode>
                <c:ptCount val="1306"/>
                <c:pt idx="0">
                  <c:v>43794</c:v>
                </c:pt>
                <c:pt idx="1">
                  <c:v>43795</c:v>
                </c:pt>
                <c:pt idx="2">
                  <c:v>43796</c:v>
                </c:pt>
                <c:pt idx="3">
                  <c:v>43797</c:v>
                </c:pt>
                <c:pt idx="4">
                  <c:v>43798</c:v>
                </c:pt>
                <c:pt idx="5">
                  <c:v>43801</c:v>
                </c:pt>
                <c:pt idx="6">
                  <c:v>43802</c:v>
                </c:pt>
                <c:pt idx="7">
                  <c:v>43803</c:v>
                </c:pt>
                <c:pt idx="8">
                  <c:v>43804</c:v>
                </c:pt>
                <c:pt idx="9">
                  <c:v>43805</c:v>
                </c:pt>
                <c:pt idx="10">
                  <c:v>43808</c:v>
                </c:pt>
                <c:pt idx="11">
                  <c:v>43809</c:v>
                </c:pt>
                <c:pt idx="12">
                  <c:v>43810</c:v>
                </c:pt>
                <c:pt idx="13">
                  <c:v>43811</c:v>
                </c:pt>
                <c:pt idx="14">
                  <c:v>43812</c:v>
                </c:pt>
                <c:pt idx="15">
                  <c:v>43815</c:v>
                </c:pt>
                <c:pt idx="16">
                  <c:v>43816</c:v>
                </c:pt>
                <c:pt idx="17">
                  <c:v>43817</c:v>
                </c:pt>
                <c:pt idx="18">
                  <c:v>43818</c:v>
                </c:pt>
                <c:pt idx="19">
                  <c:v>43819</c:v>
                </c:pt>
                <c:pt idx="20">
                  <c:v>43822</c:v>
                </c:pt>
                <c:pt idx="21">
                  <c:v>43823</c:v>
                </c:pt>
                <c:pt idx="22">
                  <c:v>43824</c:v>
                </c:pt>
                <c:pt idx="23">
                  <c:v>43825</c:v>
                </c:pt>
                <c:pt idx="24">
                  <c:v>43826</c:v>
                </c:pt>
                <c:pt idx="25">
                  <c:v>43829</c:v>
                </c:pt>
                <c:pt idx="26">
                  <c:v>43830</c:v>
                </c:pt>
                <c:pt idx="27">
                  <c:v>43831</c:v>
                </c:pt>
                <c:pt idx="28">
                  <c:v>43832</c:v>
                </c:pt>
                <c:pt idx="29">
                  <c:v>43833</c:v>
                </c:pt>
                <c:pt idx="30">
                  <c:v>43836</c:v>
                </c:pt>
                <c:pt idx="31">
                  <c:v>43837</c:v>
                </c:pt>
                <c:pt idx="32">
                  <c:v>43838</c:v>
                </c:pt>
                <c:pt idx="33">
                  <c:v>43839</c:v>
                </c:pt>
                <c:pt idx="34">
                  <c:v>43840</c:v>
                </c:pt>
                <c:pt idx="35">
                  <c:v>43843</c:v>
                </c:pt>
                <c:pt idx="36">
                  <c:v>43844</c:v>
                </c:pt>
                <c:pt idx="37">
                  <c:v>43845</c:v>
                </c:pt>
                <c:pt idx="38">
                  <c:v>43846</c:v>
                </c:pt>
                <c:pt idx="39">
                  <c:v>43847</c:v>
                </c:pt>
                <c:pt idx="40">
                  <c:v>43850</c:v>
                </c:pt>
                <c:pt idx="41">
                  <c:v>43851</c:v>
                </c:pt>
                <c:pt idx="42">
                  <c:v>43852</c:v>
                </c:pt>
                <c:pt idx="43">
                  <c:v>43853</c:v>
                </c:pt>
                <c:pt idx="44">
                  <c:v>43854</c:v>
                </c:pt>
                <c:pt idx="45">
                  <c:v>43857</c:v>
                </c:pt>
                <c:pt idx="46">
                  <c:v>43858</c:v>
                </c:pt>
                <c:pt idx="47">
                  <c:v>43859</c:v>
                </c:pt>
                <c:pt idx="48">
                  <c:v>43860</c:v>
                </c:pt>
                <c:pt idx="49">
                  <c:v>43861</c:v>
                </c:pt>
                <c:pt idx="50">
                  <c:v>43864</c:v>
                </c:pt>
                <c:pt idx="51">
                  <c:v>43865</c:v>
                </c:pt>
                <c:pt idx="52">
                  <c:v>43866</c:v>
                </c:pt>
                <c:pt idx="53">
                  <c:v>43867</c:v>
                </c:pt>
                <c:pt idx="54">
                  <c:v>43868</c:v>
                </c:pt>
                <c:pt idx="55">
                  <c:v>43871</c:v>
                </c:pt>
                <c:pt idx="56">
                  <c:v>43872</c:v>
                </c:pt>
                <c:pt idx="57">
                  <c:v>43873</c:v>
                </c:pt>
                <c:pt idx="58">
                  <c:v>43874</c:v>
                </c:pt>
                <c:pt idx="59">
                  <c:v>43875</c:v>
                </c:pt>
                <c:pt idx="60">
                  <c:v>43878</c:v>
                </c:pt>
                <c:pt idx="61">
                  <c:v>43879</c:v>
                </c:pt>
                <c:pt idx="62">
                  <c:v>43880</c:v>
                </c:pt>
                <c:pt idx="63">
                  <c:v>43881</c:v>
                </c:pt>
                <c:pt idx="64">
                  <c:v>43882</c:v>
                </c:pt>
                <c:pt idx="65">
                  <c:v>43885</c:v>
                </c:pt>
                <c:pt idx="66">
                  <c:v>43886</c:v>
                </c:pt>
                <c:pt idx="67">
                  <c:v>43887</c:v>
                </c:pt>
                <c:pt idx="68">
                  <c:v>43888</c:v>
                </c:pt>
                <c:pt idx="69">
                  <c:v>43889</c:v>
                </c:pt>
                <c:pt idx="70">
                  <c:v>43892</c:v>
                </c:pt>
                <c:pt idx="71">
                  <c:v>43893</c:v>
                </c:pt>
                <c:pt idx="72">
                  <c:v>43894</c:v>
                </c:pt>
                <c:pt idx="73">
                  <c:v>43895</c:v>
                </c:pt>
                <c:pt idx="74">
                  <c:v>43896</c:v>
                </c:pt>
                <c:pt idx="75">
                  <c:v>43899</c:v>
                </c:pt>
                <c:pt idx="76">
                  <c:v>43900</c:v>
                </c:pt>
                <c:pt idx="77">
                  <c:v>43901</c:v>
                </c:pt>
                <c:pt idx="78">
                  <c:v>43902</c:v>
                </c:pt>
                <c:pt idx="79">
                  <c:v>43903</c:v>
                </c:pt>
                <c:pt idx="80">
                  <c:v>43906</c:v>
                </c:pt>
                <c:pt idx="81">
                  <c:v>43907</c:v>
                </c:pt>
                <c:pt idx="82">
                  <c:v>43908</c:v>
                </c:pt>
                <c:pt idx="83">
                  <c:v>43909</c:v>
                </c:pt>
                <c:pt idx="84">
                  <c:v>43910</c:v>
                </c:pt>
                <c:pt idx="85">
                  <c:v>43913</c:v>
                </c:pt>
                <c:pt idx="86">
                  <c:v>43914</c:v>
                </c:pt>
                <c:pt idx="87">
                  <c:v>43915</c:v>
                </c:pt>
                <c:pt idx="88">
                  <c:v>43916</c:v>
                </c:pt>
                <c:pt idx="89">
                  <c:v>43917</c:v>
                </c:pt>
                <c:pt idx="90">
                  <c:v>43920</c:v>
                </c:pt>
                <c:pt idx="91">
                  <c:v>43921</c:v>
                </c:pt>
                <c:pt idx="92">
                  <c:v>43922</c:v>
                </c:pt>
                <c:pt idx="93">
                  <c:v>43923</c:v>
                </c:pt>
                <c:pt idx="94">
                  <c:v>43924</c:v>
                </c:pt>
                <c:pt idx="95">
                  <c:v>43927</c:v>
                </c:pt>
                <c:pt idx="96">
                  <c:v>43928</c:v>
                </c:pt>
                <c:pt idx="97">
                  <c:v>43929</c:v>
                </c:pt>
                <c:pt idx="98">
                  <c:v>43930</c:v>
                </c:pt>
                <c:pt idx="99">
                  <c:v>43931</c:v>
                </c:pt>
                <c:pt idx="100">
                  <c:v>43934</c:v>
                </c:pt>
                <c:pt idx="101">
                  <c:v>43935</c:v>
                </c:pt>
                <c:pt idx="102">
                  <c:v>43936</c:v>
                </c:pt>
                <c:pt idx="103">
                  <c:v>43937</c:v>
                </c:pt>
                <c:pt idx="104">
                  <c:v>43938</c:v>
                </c:pt>
                <c:pt idx="105">
                  <c:v>43941</c:v>
                </c:pt>
                <c:pt idx="106">
                  <c:v>43942</c:v>
                </c:pt>
                <c:pt idx="107">
                  <c:v>43943</c:v>
                </c:pt>
                <c:pt idx="108">
                  <c:v>43944</c:v>
                </c:pt>
                <c:pt idx="109">
                  <c:v>43945</c:v>
                </c:pt>
                <c:pt idx="110">
                  <c:v>43948</c:v>
                </c:pt>
                <c:pt idx="111">
                  <c:v>43949</c:v>
                </c:pt>
                <c:pt idx="112">
                  <c:v>43950</c:v>
                </c:pt>
                <c:pt idx="113">
                  <c:v>43951</c:v>
                </c:pt>
                <c:pt idx="114">
                  <c:v>43952</c:v>
                </c:pt>
                <c:pt idx="115">
                  <c:v>43955</c:v>
                </c:pt>
                <c:pt idx="116">
                  <c:v>43956</c:v>
                </c:pt>
                <c:pt idx="117">
                  <c:v>43957</c:v>
                </c:pt>
                <c:pt idx="118">
                  <c:v>43958</c:v>
                </c:pt>
                <c:pt idx="119">
                  <c:v>43959</c:v>
                </c:pt>
                <c:pt idx="120">
                  <c:v>43962</c:v>
                </c:pt>
                <c:pt idx="121">
                  <c:v>43963</c:v>
                </c:pt>
                <c:pt idx="122">
                  <c:v>43964</c:v>
                </c:pt>
                <c:pt idx="123">
                  <c:v>43965</c:v>
                </c:pt>
                <c:pt idx="124">
                  <c:v>43966</c:v>
                </c:pt>
                <c:pt idx="125">
                  <c:v>43969</c:v>
                </c:pt>
                <c:pt idx="126">
                  <c:v>43970</c:v>
                </c:pt>
                <c:pt idx="127">
                  <c:v>43971</c:v>
                </c:pt>
                <c:pt idx="128">
                  <c:v>43972</c:v>
                </c:pt>
                <c:pt idx="129">
                  <c:v>43973</c:v>
                </c:pt>
                <c:pt idx="130">
                  <c:v>43976</c:v>
                </c:pt>
                <c:pt idx="131">
                  <c:v>43977</c:v>
                </c:pt>
                <c:pt idx="132">
                  <c:v>43978</c:v>
                </c:pt>
                <c:pt idx="133">
                  <c:v>43979</c:v>
                </c:pt>
                <c:pt idx="134">
                  <c:v>43980</c:v>
                </c:pt>
                <c:pt idx="135">
                  <c:v>43983</c:v>
                </c:pt>
                <c:pt idx="136">
                  <c:v>43984</c:v>
                </c:pt>
                <c:pt idx="137">
                  <c:v>43985</c:v>
                </c:pt>
                <c:pt idx="138">
                  <c:v>43986</c:v>
                </c:pt>
                <c:pt idx="139">
                  <c:v>43987</c:v>
                </c:pt>
                <c:pt idx="140">
                  <c:v>43990</c:v>
                </c:pt>
                <c:pt idx="141">
                  <c:v>43991</c:v>
                </c:pt>
                <c:pt idx="142">
                  <c:v>43992</c:v>
                </c:pt>
                <c:pt idx="143">
                  <c:v>43993</c:v>
                </c:pt>
                <c:pt idx="144">
                  <c:v>43994</c:v>
                </c:pt>
                <c:pt idx="145">
                  <c:v>43997</c:v>
                </c:pt>
                <c:pt idx="146">
                  <c:v>43998</c:v>
                </c:pt>
                <c:pt idx="147">
                  <c:v>43999</c:v>
                </c:pt>
                <c:pt idx="148">
                  <c:v>44000</c:v>
                </c:pt>
                <c:pt idx="149">
                  <c:v>44001</c:v>
                </c:pt>
                <c:pt idx="150">
                  <c:v>44004</c:v>
                </c:pt>
                <c:pt idx="151">
                  <c:v>44005</c:v>
                </c:pt>
                <c:pt idx="152">
                  <c:v>44006</c:v>
                </c:pt>
                <c:pt idx="153">
                  <c:v>44007</c:v>
                </c:pt>
                <c:pt idx="154">
                  <c:v>44008</c:v>
                </c:pt>
                <c:pt idx="155">
                  <c:v>44011</c:v>
                </c:pt>
                <c:pt idx="156">
                  <c:v>44012</c:v>
                </c:pt>
                <c:pt idx="157">
                  <c:v>44013</c:v>
                </c:pt>
                <c:pt idx="158">
                  <c:v>44014</c:v>
                </c:pt>
                <c:pt idx="159">
                  <c:v>44015</c:v>
                </c:pt>
                <c:pt idx="160">
                  <c:v>44018</c:v>
                </c:pt>
                <c:pt idx="161">
                  <c:v>44019</c:v>
                </c:pt>
                <c:pt idx="162">
                  <c:v>44020</c:v>
                </c:pt>
                <c:pt idx="163">
                  <c:v>44021</c:v>
                </c:pt>
                <c:pt idx="164">
                  <c:v>44022</c:v>
                </c:pt>
                <c:pt idx="165">
                  <c:v>44025</c:v>
                </c:pt>
                <c:pt idx="166">
                  <c:v>44026</c:v>
                </c:pt>
                <c:pt idx="167">
                  <c:v>44027</c:v>
                </c:pt>
                <c:pt idx="168">
                  <c:v>44028</c:v>
                </c:pt>
                <c:pt idx="169">
                  <c:v>44029</c:v>
                </c:pt>
                <c:pt idx="170">
                  <c:v>44032</c:v>
                </c:pt>
                <c:pt idx="171">
                  <c:v>44033</c:v>
                </c:pt>
                <c:pt idx="172">
                  <c:v>44034</c:v>
                </c:pt>
                <c:pt idx="173">
                  <c:v>44035</c:v>
                </c:pt>
                <c:pt idx="174">
                  <c:v>44036</c:v>
                </c:pt>
                <c:pt idx="175">
                  <c:v>44039</c:v>
                </c:pt>
                <c:pt idx="176">
                  <c:v>44040</c:v>
                </c:pt>
                <c:pt idx="177">
                  <c:v>44041</c:v>
                </c:pt>
                <c:pt idx="178">
                  <c:v>44042</c:v>
                </c:pt>
                <c:pt idx="179">
                  <c:v>44043</c:v>
                </c:pt>
                <c:pt idx="180">
                  <c:v>44046</c:v>
                </c:pt>
                <c:pt idx="181">
                  <c:v>44047</c:v>
                </c:pt>
                <c:pt idx="182">
                  <c:v>44048</c:v>
                </c:pt>
                <c:pt idx="183">
                  <c:v>44049</c:v>
                </c:pt>
                <c:pt idx="184">
                  <c:v>44050</c:v>
                </c:pt>
                <c:pt idx="185">
                  <c:v>44053</c:v>
                </c:pt>
                <c:pt idx="186">
                  <c:v>44054</c:v>
                </c:pt>
                <c:pt idx="187">
                  <c:v>44055</c:v>
                </c:pt>
                <c:pt idx="188">
                  <c:v>44056</c:v>
                </c:pt>
                <c:pt idx="189">
                  <c:v>44057</c:v>
                </c:pt>
                <c:pt idx="190">
                  <c:v>44060</c:v>
                </c:pt>
                <c:pt idx="191">
                  <c:v>44061</c:v>
                </c:pt>
                <c:pt idx="192">
                  <c:v>44062</c:v>
                </c:pt>
                <c:pt idx="193">
                  <c:v>44063</c:v>
                </c:pt>
                <c:pt idx="194">
                  <c:v>44064</c:v>
                </c:pt>
                <c:pt idx="195">
                  <c:v>44067</c:v>
                </c:pt>
                <c:pt idx="196">
                  <c:v>44068</c:v>
                </c:pt>
                <c:pt idx="197">
                  <c:v>44069</c:v>
                </c:pt>
                <c:pt idx="198">
                  <c:v>44070</c:v>
                </c:pt>
                <c:pt idx="199">
                  <c:v>44071</c:v>
                </c:pt>
                <c:pt idx="200">
                  <c:v>44074</c:v>
                </c:pt>
                <c:pt idx="201">
                  <c:v>44075</c:v>
                </c:pt>
                <c:pt idx="202">
                  <c:v>44076</c:v>
                </c:pt>
                <c:pt idx="203">
                  <c:v>44077</c:v>
                </c:pt>
                <c:pt idx="204">
                  <c:v>44078</c:v>
                </c:pt>
                <c:pt idx="205">
                  <c:v>44081</c:v>
                </c:pt>
                <c:pt idx="206">
                  <c:v>44082</c:v>
                </c:pt>
                <c:pt idx="207">
                  <c:v>44083</c:v>
                </c:pt>
                <c:pt idx="208">
                  <c:v>44084</c:v>
                </c:pt>
                <c:pt idx="209">
                  <c:v>44085</c:v>
                </c:pt>
                <c:pt idx="210">
                  <c:v>44088</c:v>
                </c:pt>
                <c:pt idx="211">
                  <c:v>44089</c:v>
                </c:pt>
                <c:pt idx="212">
                  <c:v>44090</c:v>
                </c:pt>
                <c:pt idx="213">
                  <c:v>44091</c:v>
                </c:pt>
                <c:pt idx="214">
                  <c:v>44092</c:v>
                </c:pt>
                <c:pt idx="215">
                  <c:v>44095</c:v>
                </c:pt>
                <c:pt idx="216">
                  <c:v>44096</c:v>
                </c:pt>
                <c:pt idx="217">
                  <c:v>44097</c:v>
                </c:pt>
                <c:pt idx="218">
                  <c:v>44098</c:v>
                </c:pt>
                <c:pt idx="219">
                  <c:v>44099</c:v>
                </c:pt>
                <c:pt idx="220">
                  <c:v>44102</c:v>
                </c:pt>
                <c:pt idx="221">
                  <c:v>44103</c:v>
                </c:pt>
                <c:pt idx="222">
                  <c:v>44104</c:v>
                </c:pt>
                <c:pt idx="223">
                  <c:v>44105</c:v>
                </c:pt>
                <c:pt idx="224">
                  <c:v>44106</c:v>
                </c:pt>
                <c:pt idx="225">
                  <c:v>44109</c:v>
                </c:pt>
                <c:pt idx="226">
                  <c:v>44110</c:v>
                </c:pt>
                <c:pt idx="227">
                  <c:v>44111</c:v>
                </c:pt>
                <c:pt idx="228">
                  <c:v>44112</c:v>
                </c:pt>
                <c:pt idx="229">
                  <c:v>44113</c:v>
                </c:pt>
                <c:pt idx="230">
                  <c:v>44116</c:v>
                </c:pt>
                <c:pt idx="231">
                  <c:v>44117</c:v>
                </c:pt>
                <c:pt idx="232">
                  <c:v>44118</c:v>
                </c:pt>
                <c:pt idx="233">
                  <c:v>44119</c:v>
                </c:pt>
                <c:pt idx="234">
                  <c:v>44120</c:v>
                </c:pt>
                <c:pt idx="235">
                  <c:v>44123</c:v>
                </c:pt>
                <c:pt idx="236">
                  <c:v>44124</c:v>
                </c:pt>
                <c:pt idx="237">
                  <c:v>44125</c:v>
                </c:pt>
                <c:pt idx="238">
                  <c:v>44126</c:v>
                </c:pt>
                <c:pt idx="239">
                  <c:v>44127</c:v>
                </c:pt>
                <c:pt idx="240">
                  <c:v>44130</c:v>
                </c:pt>
                <c:pt idx="241">
                  <c:v>44131</c:v>
                </c:pt>
                <c:pt idx="242">
                  <c:v>44132</c:v>
                </c:pt>
                <c:pt idx="243">
                  <c:v>44133</c:v>
                </c:pt>
                <c:pt idx="244">
                  <c:v>44134</c:v>
                </c:pt>
                <c:pt idx="245">
                  <c:v>44137</c:v>
                </c:pt>
                <c:pt idx="246">
                  <c:v>44138</c:v>
                </c:pt>
                <c:pt idx="247">
                  <c:v>44139</c:v>
                </c:pt>
                <c:pt idx="248">
                  <c:v>44140</c:v>
                </c:pt>
                <c:pt idx="249">
                  <c:v>44141</c:v>
                </c:pt>
                <c:pt idx="250">
                  <c:v>44144</c:v>
                </c:pt>
                <c:pt idx="251">
                  <c:v>44145</c:v>
                </c:pt>
                <c:pt idx="252">
                  <c:v>44146</c:v>
                </c:pt>
                <c:pt idx="253">
                  <c:v>44147</c:v>
                </c:pt>
                <c:pt idx="254">
                  <c:v>44148</c:v>
                </c:pt>
                <c:pt idx="255">
                  <c:v>44151</c:v>
                </c:pt>
                <c:pt idx="256">
                  <c:v>44152</c:v>
                </c:pt>
                <c:pt idx="257">
                  <c:v>44153</c:v>
                </c:pt>
                <c:pt idx="258">
                  <c:v>44154</c:v>
                </c:pt>
                <c:pt idx="259">
                  <c:v>44155</c:v>
                </c:pt>
                <c:pt idx="260">
                  <c:v>44158</c:v>
                </c:pt>
                <c:pt idx="261">
                  <c:v>44159</c:v>
                </c:pt>
                <c:pt idx="262">
                  <c:v>44160</c:v>
                </c:pt>
                <c:pt idx="263">
                  <c:v>44161</c:v>
                </c:pt>
                <c:pt idx="264">
                  <c:v>44162</c:v>
                </c:pt>
                <c:pt idx="265">
                  <c:v>44165</c:v>
                </c:pt>
                <c:pt idx="266">
                  <c:v>44166</c:v>
                </c:pt>
                <c:pt idx="267">
                  <c:v>44167</c:v>
                </c:pt>
                <c:pt idx="268">
                  <c:v>44168</c:v>
                </c:pt>
                <c:pt idx="269">
                  <c:v>44169</c:v>
                </c:pt>
                <c:pt idx="270">
                  <c:v>44172</c:v>
                </c:pt>
                <c:pt idx="271">
                  <c:v>44173</c:v>
                </c:pt>
                <c:pt idx="272">
                  <c:v>44174</c:v>
                </c:pt>
                <c:pt idx="273">
                  <c:v>44175</c:v>
                </c:pt>
                <c:pt idx="274">
                  <c:v>44176</c:v>
                </c:pt>
                <c:pt idx="275">
                  <c:v>44179</c:v>
                </c:pt>
                <c:pt idx="276">
                  <c:v>44180</c:v>
                </c:pt>
                <c:pt idx="277">
                  <c:v>44181</c:v>
                </c:pt>
                <c:pt idx="278">
                  <c:v>44182</c:v>
                </c:pt>
                <c:pt idx="279">
                  <c:v>44183</c:v>
                </c:pt>
                <c:pt idx="280">
                  <c:v>44186</c:v>
                </c:pt>
                <c:pt idx="281">
                  <c:v>44187</c:v>
                </c:pt>
                <c:pt idx="282">
                  <c:v>44188</c:v>
                </c:pt>
                <c:pt idx="283">
                  <c:v>44189</c:v>
                </c:pt>
                <c:pt idx="284">
                  <c:v>44190</c:v>
                </c:pt>
                <c:pt idx="285">
                  <c:v>44193</c:v>
                </c:pt>
                <c:pt idx="286">
                  <c:v>44194</c:v>
                </c:pt>
                <c:pt idx="287">
                  <c:v>44195</c:v>
                </c:pt>
                <c:pt idx="288">
                  <c:v>44196</c:v>
                </c:pt>
                <c:pt idx="289">
                  <c:v>44197</c:v>
                </c:pt>
                <c:pt idx="290">
                  <c:v>44200</c:v>
                </c:pt>
                <c:pt idx="291">
                  <c:v>44201</c:v>
                </c:pt>
                <c:pt idx="292">
                  <c:v>44202</c:v>
                </c:pt>
                <c:pt idx="293">
                  <c:v>44203</c:v>
                </c:pt>
                <c:pt idx="294">
                  <c:v>44204</c:v>
                </c:pt>
                <c:pt idx="295">
                  <c:v>44207</c:v>
                </c:pt>
                <c:pt idx="296">
                  <c:v>44208</c:v>
                </c:pt>
                <c:pt idx="297">
                  <c:v>44209</c:v>
                </c:pt>
                <c:pt idx="298">
                  <c:v>44210</c:v>
                </c:pt>
                <c:pt idx="299">
                  <c:v>44211</c:v>
                </c:pt>
                <c:pt idx="300">
                  <c:v>44214</c:v>
                </c:pt>
                <c:pt idx="301">
                  <c:v>44215</c:v>
                </c:pt>
                <c:pt idx="302">
                  <c:v>44216</c:v>
                </c:pt>
                <c:pt idx="303">
                  <c:v>44217</c:v>
                </c:pt>
                <c:pt idx="304">
                  <c:v>44218</c:v>
                </c:pt>
                <c:pt idx="305">
                  <c:v>44221</c:v>
                </c:pt>
                <c:pt idx="306">
                  <c:v>44222</c:v>
                </c:pt>
                <c:pt idx="307">
                  <c:v>44223</c:v>
                </c:pt>
                <c:pt idx="308">
                  <c:v>44224</c:v>
                </c:pt>
                <c:pt idx="309">
                  <c:v>44225</c:v>
                </c:pt>
                <c:pt idx="310">
                  <c:v>44228</c:v>
                </c:pt>
                <c:pt idx="311">
                  <c:v>44229</c:v>
                </c:pt>
                <c:pt idx="312">
                  <c:v>44230</c:v>
                </c:pt>
                <c:pt idx="313">
                  <c:v>44231</c:v>
                </c:pt>
                <c:pt idx="314">
                  <c:v>44232</c:v>
                </c:pt>
                <c:pt idx="315">
                  <c:v>44235</c:v>
                </c:pt>
                <c:pt idx="316">
                  <c:v>44236</c:v>
                </c:pt>
                <c:pt idx="317">
                  <c:v>44237</c:v>
                </c:pt>
                <c:pt idx="318">
                  <c:v>44238</c:v>
                </c:pt>
                <c:pt idx="319">
                  <c:v>44239</c:v>
                </c:pt>
                <c:pt idx="320">
                  <c:v>44242</c:v>
                </c:pt>
                <c:pt idx="321">
                  <c:v>44243</c:v>
                </c:pt>
                <c:pt idx="322">
                  <c:v>44244</c:v>
                </c:pt>
                <c:pt idx="323">
                  <c:v>44245</c:v>
                </c:pt>
                <c:pt idx="324">
                  <c:v>44246</c:v>
                </c:pt>
                <c:pt idx="325">
                  <c:v>44249</c:v>
                </c:pt>
                <c:pt idx="326">
                  <c:v>44250</c:v>
                </c:pt>
                <c:pt idx="327">
                  <c:v>44251</c:v>
                </c:pt>
                <c:pt idx="328">
                  <c:v>44252</c:v>
                </c:pt>
                <c:pt idx="329">
                  <c:v>44253</c:v>
                </c:pt>
                <c:pt idx="330">
                  <c:v>44256</c:v>
                </c:pt>
                <c:pt idx="331">
                  <c:v>44257</c:v>
                </c:pt>
                <c:pt idx="332">
                  <c:v>44258</c:v>
                </c:pt>
                <c:pt idx="333">
                  <c:v>44259</c:v>
                </c:pt>
                <c:pt idx="334">
                  <c:v>44260</c:v>
                </c:pt>
                <c:pt idx="335">
                  <c:v>44263</c:v>
                </c:pt>
                <c:pt idx="336">
                  <c:v>44264</c:v>
                </c:pt>
                <c:pt idx="337">
                  <c:v>44265</c:v>
                </c:pt>
                <c:pt idx="338">
                  <c:v>44266</c:v>
                </c:pt>
                <c:pt idx="339">
                  <c:v>44267</c:v>
                </c:pt>
                <c:pt idx="340">
                  <c:v>44270</c:v>
                </c:pt>
                <c:pt idx="341">
                  <c:v>44271</c:v>
                </c:pt>
                <c:pt idx="342">
                  <c:v>44272</c:v>
                </c:pt>
                <c:pt idx="343">
                  <c:v>44273</c:v>
                </c:pt>
                <c:pt idx="344">
                  <c:v>44274</c:v>
                </c:pt>
                <c:pt idx="345">
                  <c:v>44277</c:v>
                </c:pt>
                <c:pt idx="346">
                  <c:v>44278</c:v>
                </c:pt>
                <c:pt idx="347">
                  <c:v>44279</c:v>
                </c:pt>
                <c:pt idx="348">
                  <c:v>44280</c:v>
                </c:pt>
                <c:pt idx="349">
                  <c:v>44281</c:v>
                </c:pt>
                <c:pt idx="350">
                  <c:v>44284</c:v>
                </c:pt>
                <c:pt idx="351">
                  <c:v>44285</c:v>
                </c:pt>
                <c:pt idx="352">
                  <c:v>44286</c:v>
                </c:pt>
                <c:pt idx="353">
                  <c:v>44287</c:v>
                </c:pt>
                <c:pt idx="354">
                  <c:v>44288</c:v>
                </c:pt>
                <c:pt idx="355">
                  <c:v>44291</c:v>
                </c:pt>
                <c:pt idx="356">
                  <c:v>44292</c:v>
                </c:pt>
                <c:pt idx="357">
                  <c:v>44293</c:v>
                </c:pt>
                <c:pt idx="358">
                  <c:v>44294</c:v>
                </c:pt>
                <c:pt idx="359">
                  <c:v>44295</c:v>
                </c:pt>
                <c:pt idx="360">
                  <c:v>44298</c:v>
                </c:pt>
                <c:pt idx="361">
                  <c:v>44299</c:v>
                </c:pt>
                <c:pt idx="362">
                  <c:v>44300</c:v>
                </c:pt>
                <c:pt idx="363">
                  <c:v>44301</c:v>
                </c:pt>
                <c:pt idx="364">
                  <c:v>44302</c:v>
                </c:pt>
                <c:pt idx="365">
                  <c:v>44305</c:v>
                </c:pt>
                <c:pt idx="366">
                  <c:v>44306</c:v>
                </c:pt>
                <c:pt idx="367">
                  <c:v>44307</c:v>
                </c:pt>
                <c:pt idx="368">
                  <c:v>44308</c:v>
                </c:pt>
                <c:pt idx="369">
                  <c:v>44309</c:v>
                </c:pt>
                <c:pt idx="370">
                  <c:v>44312</c:v>
                </c:pt>
                <c:pt idx="371">
                  <c:v>44313</c:v>
                </c:pt>
                <c:pt idx="372">
                  <c:v>44314</c:v>
                </c:pt>
                <c:pt idx="373">
                  <c:v>44315</c:v>
                </c:pt>
                <c:pt idx="374">
                  <c:v>44316</c:v>
                </c:pt>
                <c:pt idx="375">
                  <c:v>44319</c:v>
                </c:pt>
                <c:pt idx="376">
                  <c:v>44320</c:v>
                </c:pt>
                <c:pt idx="377">
                  <c:v>44321</c:v>
                </c:pt>
                <c:pt idx="378">
                  <c:v>44322</c:v>
                </c:pt>
                <c:pt idx="379">
                  <c:v>44323</c:v>
                </c:pt>
                <c:pt idx="380">
                  <c:v>44326</c:v>
                </c:pt>
                <c:pt idx="381">
                  <c:v>44327</c:v>
                </c:pt>
                <c:pt idx="382">
                  <c:v>44328</c:v>
                </c:pt>
                <c:pt idx="383">
                  <c:v>44329</c:v>
                </c:pt>
                <c:pt idx="384">
                  <c:v>44330</c:v>
                </c:pt>
                <c:pt idx="385">
                  <c:v>44333</c:v>
                </c:pt>
                <c:pt idx="386">
                  <c:v>44334</c:v>
                </c:pt>
                <c:pt idx="387">
                  <c:v>44335</c:v>
                </c:pt>
                <c:pt idx="388">
                  <c:v>44336</c:v>
                </c:pt>
                <c:pt idx="389">
                  <c:v>44337</c:v>
                </c:pt>
                <c:pt idx="390">
                  <c:v>44340</c:v>
                </c:pt>
                <c:pt idx="391">
                  <c:v>44341</c:v>
                </c:pt>
                <c:pt idx="392">
                  <c:v>44342</c:v>
                </c:pt>
                <c:pt idx="393">
                  <c:v>44343</c:v>
                </c:pt>
                <c:pt idx="394">
                  <c:v>44344</c:v>
                </c:pt>
                <c:pt idx="395">
                  <c:v>44347</c:v>
                </c:pt>
                <c:pt idx="396">
                  <c:v>44348</c:v>
                </c:pt>
                <c:pt idx="397">
                  <c:v>44349</c:v>
                </c:pt>
                <c:pt idx="398">
                  <c:v>44350</c:v>
                </c:pt>
                <c:pt idx="399">
                  <c:v>44351</c:v>
                </c:pt>
                <c:pt idx="400">
                  <c:v>44354</c:v>
                </c:pt>
                <c:pt idx="401">
                  <c:v>44355</c:v>
                </c:pt>
                <c:pt idx="402">
                  <c:v>44356</c:v>
                </c:pt>
                <c:pt idx="403">
                  <c:v>44357</c:v>
                </c:pt>
                <c:pt idx="404">
                  <c:v>44358</c:v>
                </c:pt>
                <c:pt idx="405">
                  <c:v>44361</c:v>
                </c:pt>
                <c:pt idx="406">
                  <c:v>44362</c:v>
                </c:pt>
                <c:pt idx="407">
                  <c:v>44363</c:v>
                </c:pt>
                <c:pt idx="408">
                  <c:v>44364</c:v>
                </c:pt>
                <c:pt idx="409">
                  <c:v>44365</c:v>
                </c:pt>
                <c:pt idx="410">
                  <c:v>44368</c:v>
                </c:pt>
                <c:pt idx="411">
                  <c:v>44369</c:v>
                </c:pt>
                <c:pt idx="412">
                  <c:v>44370</c:v>
                </c:pt>
                <c:pt idx="413">
                  <c:v>44371</c:v>
                </c:pt>
                <c:pt idx="414">
                  <c:v>44372</c:v>
                </c:pt>
                <c:pt idx="415">
                  <c:v>44375</c:v>
                </c:pt>
                <c:pt idx="416">
                  <c:v>44376</c:v>
                </c:pt>
                <c:pt idx="417">
                  <c:v>44377</c:v>
                </c:pt>
                <c:pt idx="418">
                  <c:v>44378</c:v>
                </c:pt>
                <c:pt idx="419">
                  <c:v>44379</c:v>
                </c:pt>
                <c:pt idx="420">
                  <c:v>44382</c:v>
                </c:pt>
                <c:pt idx="421">
                  <c:v>44383</c:v>
                </c:pt>
                <c:pt idx="422">
                  <c:v>44384</c:v>
                </c:pt>
                <c:pt idx="423">
                  <c:v>44385</c:v>
                </c:pt>
                <c:pt idx="424">
                  <c:v>44386</c:v>
                </c:pt>
                <c:pt idx="425">
                  <c:v>44389</c:v>
                </c:pt>
                <c:pt idx="426">
                  <c:v>44390</c:v>
                </c:pt>
                <c:pt idx="427">
                  <c:v>44391</c:v>
                </c:pt>
                <c:pt idx="428">
                  <c:v>44392</c:v>
                </c:pt>
                <c:pt idx="429">
                  <c:v>44393</c:v>
                </c:pt>
                <c:pt idx="430">
                  <c:v>44396</c:v>
                </c:pt>
                <c:pt idx="431">
                  <c:v>44397</c:v>
                </c:pt>
                <c:pt idx="432">
                  <c:v>44398</c:v>
                </c:pt>
                <c:pt idx="433">
                  <c:v>44399</c:v>
                </c:pt>
                <c:pt idx="434">
                  <c:v>44400</c:v>
                </c:pt>
                <c:pt idx="435">
                  <c:v>44403</c:v>
                </c:pt>
                <c:pt idx="436">
                  <c:v>44404</c:v>
                </c:pt>
                <c:pt idx="437">
                  <c:v>44405</c:v>
                </c:pt>
                <c:pt idx="438">
                  <c:v>44406</c:v>
                </c:pt>
                <c:pt idx="439">
                  <c:v>44407</c:v>
                </c:pt>
                <c:pt idx="440">
                  <c:v>44410</c:v>
                </c:pt>
                <c:pt idx="441">
                  <c:v>44411</c:v>
                </c:pt>
                <c:pt idx="442">
                  <c:v>44412</c:v>
                </c:pt>
                <c:pt idx="443">
                  <c:v>44413</c:v>
                </c:pt>
                <c:pt idx="444">
                  <c:v>44414</c:v>
                </c:pt>
                <c:pt idx="445">
                  <c:v>44417</c:v>
                </c:pt>
                <c:pt idx="446">
                  <c:v>44418</c:v>
                </c:pt>
                <c:pt idx="447">
                  <c:v>44419</c:v>
                </c:pt>
                <c:pt idx="448">
                  <c:v>44420</c:v>
                </c:pt>
                <c:pt idx="449">
                  <c:v>44421</c:v>
                </c:pt>
                <c:pt idx="450">
                  <c:v>44424</c:v>
                </c:pt>
                <c:pt idx="451">
                  <c:v>44425</c:v>
                </c:pt>
                <c:pt idx="452">
                  <c:v>44426</c:v>
                </c:pt>
                <c:pt idx="453">
                  <c:v>44427</c:v>
                </c:pt>
                <c:pt idx="454">
                  <c:v>44428</c:v>
                </c:pt>
                <c:pt idx="455">
                  <c:v>44431</c:v>
                </c:pt>
                <c:pt idx="456">
                  <c:v>44432</c:v>
                </c:pt>
                <c:pt idx="457">
                  <c:v>44433</c:v>
                </c:pt>
                <c:pt idx="458">
                  <c:v>44434</c:v>
                </c:pt>
                <c:pt idx="459">
                  <c:v>44435</c:v>
                </c:pt>
                <c:pt idx="460">
                  <c:v>44438</c:v>
                </c:pt>
                <c:pt idx="461">
                  <c:v>44439</c:v>
                </c:pt>
                <c:pt idx="462">
                  <c:v>44440</c:v>
                </c:pt>
                <c:pt idx="463">
                  <c:v>44441</c:v>
                </c:pt>
                <c:pt idx="464">
                  <c:v>44442</c:v>
                </c:pt>
                <c:pt idx="465">
                  <c:v>44445</c:v>
                </c:pt>
                <c:pt idx="466">
                  <c:v>44446</c:v>
                </c:pt>
                <c:pt idx="467">
                  <c:v>44447</c:v>
                </c:pt>
                <c:pt idx="468">
                  <c:v>44448</c:v>
                </c:pt>
                <c:pt idx="469">
                  <c:v>44449</c:v>
                </c:pt>
                <c:pt idx="470">
                  <c:v>44452</c:v>
                </c:pt>
                <c:pt idx="471">
                  <c:v>44453</c:v>
                </c:pt>
                <c:pt idx="472">
                  <c:v>44454</c:v>
                </c:pt>
                <c:pt idx="473">
                  <c:v>44455</c:v>
                </c:pt>
                <c:pt idx="474">
                  <c:v>44456</c:v>
                </c:pt>
                <c:pt idx="475">
                  <c:v>44459</c:v>
                </c:pt>
                <c:pt idx="476">
                  <c:v>44460</c:v>
                </c:pt>
                <c:pt idx="477">
                  <c:v>44461</c:v>
                </c:pt>
                <c:pt idx="478">
                  <c:v>44462</c:v>
                </c:pt>
                <c:pt idx="479">
                  <c:v>44463</c:v>
                </c:pt>
                <c:pt idx="480">
                  <c:v>44466</c:v>
                </c:pt>
                <c:pt idx="481">
                  <c:v>44467</c:v>
                </c:pt>
                <c:pt idx="482">
                  <c:v>44468</c:v>
                </c:pt>
                <c:pt idx="483">
                  <c:v>44469</c:v>
                </c:pt>
                <c:pt idx="484">
                  <c:v>44470</c:v>
                </c:pt>
                <c:pt idx="485">
                  <c:v>44473</c:v>
                </c:pt>
                <c:pt idx="486">
                  <c:v>44474</c:v>
                </c:pt>
                <c:pt idx="487">
                  <c:v>44475</c:v>
                </c:pt>
                <c:pt idx="488">
                  <c:v>44476</c:v>
                </c:pt>
                <c:pt idx="489">
                  <c:v>44477</c:v>
                </c:pt>
                <c:pt idx="490">
                  <c:v>44480</c:v>
                </c:pt>
                <c:pt idx="491">
                  <c:v>44481</c:v>
                </c:pt>
                <c:pt idx="492">
                  <c:v>44482</c:v>
                </c:pt>
                <c:pt idx="493">
                  <c:v>44483</c:v>
                </c:pt>
                <c:pt idx="494">
                  <c:v>44484</c:v>
                </c:pt>
                <c:pt idx="495">
                  <c:v>44487</c:v>
                </c:pt>
                <c:pt idx="496">
                  <c:v>44488</c:v>
                </c:pt>
                <c:pt idx="497">
                  <c:v>44489</c:v>
                </c:pt>
                <c:pt idx="498">
                  <c:v>44490</c:v>
                </c:pt>
                <c:pt idx="499">
                  <c:v>44491</c:v>
                </c:pt>
                <c:pt idx="500">
                  <c:v>44494</c:v>
                </c:pt>
                <c:pt idx="501">
                  <c:v>44495</c:v>
                </c:pt>
                <c:pt idx="502">
                  <c:v>44496</c:v>
                </c:pt>
                <c:pt idx="503">
                  <c:v>44497</c:v>
                </c:pt>
                <c:pt idx="504">
                  <c:v>44498</c:v>
                </c:pt>
                <c:pt idx="505">
                  <c:v>44501</c:v>
                </c:pt>
                <c:pt idx="506">
                  <c:v>44502</c:v>
                </c:pt>
                <c:pt idx="507">
                  <c:v>44503</c:v>
                </c:pt>
                <c:pt idx="508">
                  <c:v>44504</c:v>
                </c:pt>
                <c:pt idx="509">
                  <c:v>44505</c:v>
                </c:pt>
                <c:pt idx="510">
                  <c:v>44508</c:v>
                </c:pt>
                <c:pt idx="511">
                  <c:v>44509</c:v>
                </c:pt>
                <c:pt idx="512">
                  <c:v>44510</c:v>
                </c:pt>
                <c:pt idx="513">
                  <c:v>44511</c:v>
                </c:pt>
                <c:pt idx="514">
                  <c:v>44512</c:v>
                </c:pt>
                <c:pt idx="515">
                  <c:v>44515</c:v>
                </c:pt>
                <c:pt idx="516">
                  <c:v>44516</c:v>
                </c:pt>
                <c:pt idx="517">
                  <c:v>44517</c:v>
                </c:pt>
                <c:pt idx="518">
                  <c:v>44518</c:v>
                </c:pt>
                <c:pt idx="519">
                  <c:v>44519</c:v>
                </c:pt>
                <c:pt idx="520">
                  <c:v>44522</c:v>
                </c:pt>
                <c:pt idx="521">
                  <c:v>44523</c:v>
                </c:pt>
                <c:pt idx="522">
                  <c:v>44524</c:v>
                </c:pt>
                <c:pt idx="523">
                  <c:v>44525</c:v>
                </c:pt>
                <c:pt idx="524">
                  <c:v>44526</c:v>
                </c:pt>
                <c:pt idx="525">
                  <c:v>44529</c:v>
                </c:pt>
                <c:pt idx="526">
                  <c:v>44530</c:v>
                </c:pt>
                <c:pt idx="527">
                  <c:v>44531</c:v>
                </c:pt>
                <c:pt idx="528">
                  <c:v>44532</c:v>
                </c:pt>
                <c:pt idx="529">
                  <c:v>44533</c:v>
                </c:pt>
                <c:pt idx="530">
                  <c:v>44536</c:v>
                </c:pt>
                <c:pt idx="531">
                  <c:v>44537</c:v>
                </c:pt>
                <c:pt idx="532">
                  <c:v>44538</c:v>
                </c:pt>
                <c:pt idx="533">
                  <c:v>44539</c:v>
                </c:pt>
                <c:pt idx="534">
                  <c:v>44540</c:v>
                </c:pt>
                <c:pt idx="535">
                  <c:v>44543</c:v>
                </c:pt>
                <c:pt idx="536">
                  <c:v>44544</c:v>
                </c:pt>
                <c:pt idx="537">
                  <c:v>44545</c:v>
                </c:pt>
                <c:pt idx="538">
                  <c:v>44546</c:v>
                </c:pt>
                <c:pt idx="539">
                  <c:v>44547</c:v>
                </c:pt>
                <c:pt idx="540">
                  <c:v>44550</c:v>
                </c:pt>
                <c:pt idx="541">
                  <c:v>44551</c:v>
                </c:pt>
                <c:pt idx="542">
                  <c:v>44552</c:v>
                </c:pt>
                <c:pt idx="543">
                  <c:v>44553</c:v>
                </c:pt>
                <c:pt idx="544">
                  <c:v>44554</c:v>
                </c:pt>
                <c:pt idx="545">
                  <c:v>44557</c:v>
                </c:pt>
                <c:pt idx="546">
                  <c:v>44558</c:v>
                </c:pt>
                <c:pt idx="547">
                  <c:v>44559</c:v>
                </c:pt>
                <c:pt idx="548">
                  <c:v>44560</c:v>
                </c:pt>
                <c:pt idx="549">
                  <c:v>44561</c:v>
                </c:pt>
                <c:pt idx="550">
                  <c:v>44564</c:v>
                </c:pt>
                <c:pt idx="551">
                  <c:v>44565</c:v>
                </c:pt>
                <c:pt idx="552">
                  <c:v>44566</c:v>
                </c:pt>
                <c:pt idx="553">
                  <c:v>44567</c:v>
                </c:pt>
                <c:pt idx="554">
                  <c:v>44568</c:v>
                </c:pt>
                <c:pt idx="555">
                  <c:v>44571</c:v>
                </c:pt>
                <c:pt idx="556">
                  <c:v>44572</c:v>
                </c:pt>
                <c:pt idx="557">
                  <c:v>44573</c:v>
                </c:pt>
                <c:pt idx="558">
                  <c:v>44574</c:v>
                </c:pt>
                <c:pt idx="559">
                  <c:v>44575</c:v>
                </c:pt>
                <c:pt idx="560">
                  <c:v>44578</c:v>
                </c:pt>
                <c:pt idx="561">
                  <c:v>44579</c:v>
                </c:pt>
                <c:pt idx="562">
                  <c:v>44580</c:v>
                </c:pt>
                <c:pt idx="563">
                  <c:v>44581</c:v>
                </c:pt>
                <c:pt idx="564">
                  <c:v>44582</c:v>
                </c:pt>
                <c:pt idx="565">
                  <c:v>44585</c:v>
                </c:pt>
                <c:pt idx="566">
                  <c:v>44586</c:v>
                </c:pt>
                <c:pt idx="567">
                  <c:v>44587</c:v>
                </c:pt>
                <c:pt idx="568">
                  <c:v>44588</c:v>
                </c:pt>
                <c:pt idx="569">
                  <c:v>44589</c:v>
                </c:pt>
                <c:pt idx="570">
                  <c:v>44592</c:v>
                </c:pt>
                <c:pt idx="571">
                  <c:v>44593</c:v>
                </c:pt>
                <c:pt idx="572">
                  <c:v>44594</c:v>
                </c:pt>
                <c:pt idx="573">
                  <c:v>44595</c:v>
                </c:pt>
                <c:pt idx="574">
                  <c:v>44596</c:v>
                </c:pt>
                <c:pt idx="575">
                  <c:v>44599</c:v>
                </c:pt>
                <c:pt idx="576">
                  <c:v>44600</c:v>
                </c:pt>
                <c:pt idx="577">
                  <c:v>44601</c:v>
                </c:pt>
                <c:pt idx="578">
                  <c:v>44602</c:v>
                </c:pt>
                <c:pt idx="579">
                  <c:v>44603</c:v>
                </c:pt>
                <c:pt idx="580">
                  <c:v>44606</c:v>
                </c:pt>
                <c:pt idx="581">
                  <c:v>44607</c:v>
                </c:pt>
                <c:pt idx="582">
                  <c:v>44608</c:v>
                </c:pt>
                <c:pt idx="583">
                  <c:v>44609</c:v>
                </c:pt>
                <c:pt idx="584">
                  <c:v>44610</c:v>
                </c:pt>
                <c:pt idx="585">
                  <c:v>44613</c:v>
                </c:pt>
                <c:pt idx="586">
                  <c:v>44614</c:v>
                </c:pt>
                <c:pt idx="587">
                  <c:v>44615</c:v>
                </c:pt>
                <c:pt idx="588">
                  <c:v>44616</c:v>
                </c:pt>
                <c:pt idx="589">
                  <c:v>44617</c:v>
                </c:pt>
                <c:pt idx="590">
                  <c:v>44620</c:v>
                </c:pt>
                <c:pt idx="591">
                  <c:v>44621</c:v>
                </c:pt>
                <c:pt idx="592">
                  <c:v>44622</c:v>
                </c:pt>
                <c:pt idx="593">
                  <c:v>44623</c:v>
                </c:pt>
                <c:pt idx="594">
                  <c:v>44624</c:v>
                </c:pt>
                <c:pt idx="595">
                  <c:v>44627</c:v>
                </c:pt>
                <c:pt idx="596">
                  <c:v>44628</c:v>
                </c:pt>
                <c:pt idx="597">
                  <c:v>44629</c:v>
                </c:pt>
                <c:pt idx="598">
                  <c:v>44630</c:v>
                </c:pt>
                <c:pt idx="599">
                  <c:v>44631</c:v>
                </c:pt>
                <c:pt idx="600">
                  <c:v>44634</c:v>
                </c:pt>
                <c:pt idx="601">
                  <c:v>44635</c:v>
                </c:pt>
                <c:pt idx="602">
                  <c:v>44636</c:v>
                </c:pt>
                <c:pt idx="603">
                  <c:v>44637</c:v>
                </c:pt>
                <c:pt idx="604">
                  <c:v>44638</c:v>
                </c:pt>
                <c:pt idx="605">
                  <c:v>44641</c:v>
                </c:pt>
                <c:pt idx="606">
                  <c:v>44642</c:v>
                </c:pt>
                <c:pt idx="607">
                  <c:v>44643</c:v>
                </c:pt>
                <c:pt idx="608">
                  <c:v>44644</c:v>
                </c:pt>
                <c:pt idx="609">
                  <c:v>44645</c:v>
                </c:pt>
                <c:pt idx="610">
                  <c:v>44648</c:v>
                </c:pt>
                <c:pt idx="611">
                  <c:v>44649</c:v>
                </c:pt>
                <c:pt idx="612">
                  <c:v>44650</c:v>
                </c:pt>
                <c:pt idx="613">
                  <c:v>44651</c:v>
                </c:pt>
                <c:pt idx="614">
                  <c:v>44652</c:v>
                </c:pt>
                <c:pt idx="615">
                  <c:v>44655</c:v>
                </c:pt>
                <c:pt idx="616">
                  <c:v>44656</c:v>
                </c:pt>
                <c:pt idx="617">
                  <c:v>44657</c:v>
                </c:pt>
                <c:pt idx="618">
                  <c:v>44658</c:v>
                </c:pt>
                <c:pt idx="619">
                  <c:v>44659</c:v>
                </c:pt>
                <c:pt idx="620">
                  <c:v>44662</c:v>
                </c:pt>
                <c:pt idx="621">
                  <c:v>44663</c:v>
                </c:pt>
                <c:pt idx="622">
                  <c:v>44664</c:v>
                </c:pt>
                <c:pt idx="623">
                  <c:v>44665</c:v>
                </c:pt>
                <c:pt idx="624">
                  <c:v>44666</c:v>
                </c:pt>
                <c:pt idx="625">
                  <c:v>44669</c:v>
                </c:pt>
                <c:pt idx="626">
                  <c:v>44670</c:v>
                </c:pt>
                <c:pt idx="627">
                  <c:v>44671</c:v>
                </c:pt>
                <c:pt idx="628">
                  <c:v>44672</c:v>
                </c:pt>
                <c:pt idx="629">
                  <c:v>44673</c:v>
                </c:pt>
                <c:pt idx="630">
                  <c:v>44676</c:v>
                </c:pt>
                <c:pt idx="631">
                  <c:v>44677</c:v>
                </c:pt>
                <c:pt idx="632">
                  <c:v>44678</c:v>
                </c:pt>
                <c:pt idx="633">
                  <c:v>44679</c:v>
                </c:pt>
                <c:pt idx="634">
                  <c:v>44680</c:v>
                </c:pt>
                <c:pt idx="635">
                  <c:v>44683</c:v>
                </c:pt>
                <c:pt idx="636">
                  <c:v>44684</c:v>
                </c:pt>
                <c:pt idx="637">
                  <c:v>44685</c:v>
                </c:pt>
                <c:pt idx="638">
                  <c:v>44686</c:v>
                </c:pt>
                <c:pt idx="639">
                  <c:v>44687</c:v>
                </c:pt>
                <c:pt idx="640">
                  <c:v>44690</c:v>
                </c:pt>
                <c:pt idx="641">
                  <c:v>44691</c:v>
                </c:pt>
                <c:pt idx="642">
                  <c:v>44692</c:v>
                </c:pt>
                <c:pt idx="643">
                  <c:v>44693</c:v>
                </c:pt>
                <c:pt idx="644">
                  <c:v>44694</c:v>
                </c:pt>
                <c:pt idx="645">
                  <c:v>44697</c:v>
                </c:pt>
                <c:pt idx="646">
                  <c:v>44698</c:v>
                </c:pt>
                <c:pt idx="647">
                  <c:v>44699</c:v>
                </c:pt>
                <c:pt idx="648">
                  <c:v>44700</c:v>
                </c:pt>
                <c:pt idx="649">
                  <c:v>44701</c:v>
                </c:pt>
                <c:pt idx="650">
                  <c:v>44704</c:v>
                </c:pt>
                <c:pt idx="651">
                  <c:v>44705</c:v>
                </c:pt>
                <c:pt idx="652">
                  <c:v>44706</c:v>
                </c:pt>
                <c:pt idx="653">
                  <c:v>44707</c:v>
                </c:pt>
                <c:pt idx="654">
                  <c:v>44708</c:v>
                </c:pt>
                <c:pt idx="655">
                  <c:v>44711</c:v>
                </c:pt>
                <c:pt idx="656">
                  <c:v>44712</c:v>
                </c:pt>
                <c:pt idx="657">
                  <c:v>44713</c:v>
                </c:pt>
                <c:pt idx="658">
                  <c:v>44714</c:v>
                </c:pt>
                <c:pt idx="659">
                  <c:v>44715</c:v>
                </c:pt>
                <c:pt idx="660">
                  <c:v>44718</c:v>
                </c:pt>
                <c:pt idx="661">
                  <c:v>44719</c:v>
                </c:pt>
                <c:pt idx="662">
                  <c:v>44720</c:v>
                </c:pt>
                <c:pt idx="663">
                  <c:v>44721</c:v>
                </c:pt>
                <c:pt idx="664">
                  <c:v>44722</c:v>
                </c:pt>
                <c:pt idx="665">
                  <c:v>44725</c:v>
                </c:pt>
                <c:pt idx="666">
                  <c:v>44726</c:v>
                </c:pt>
                <c:pt idx="667">
                  <c:v>44727</c:v>
                </c:pt>
                <c:pt idx="668">
                  <c:v>44728</c:v>
                </c:pt>
                <c:pt idx="669">
                  <c:v>44729</c:v>
                </c:pt>
                <c:pt idx="670">
                  <c:v>44732</c:v>
                </c:pt>
                <c:pt idx="671">
                  <c:v>44733</c:v>
                </c:pt>
                <c:pt idx="672">
                  <c:v>44734</c:v>
                </c:pt>
                <c:pt idx="673">
                  <c:v>44735</c:v>
                </c:pt>
                <c:pt idx="674">
                  <c:v>44736</c:v>
                </c:pt>
                <c:pt idx="675">
                  <c:v>44739</c:v>
                </c:pt>
                <c:pt idx="676">
                  <c:v>44740</c:v>
                </c:pt>
                <c:pt idx="677">
                  <c:v>44741</c:v>
                </c:pt>
                <c:pt idx="678">
                  <c:v>44742</c:v>
                </c:pt>
                <c:pt idx="679">
                  <c:v>44743</c:v>
                </c:pt>
                <c:pt idx="680">
                  <c:v>44746</c:v>
                </c:pt>
                <c:pt idx="681">
                  <c:v>44747</c:v>
                </c:pt>
                <c:pt idx="682">
                  <c:v>44748</c:v>
                </c:pt>
                <c:pt idx="683">
                  <c:v>44749</c:v>
                </c:pt>
                <c:pt idx="684">
                  <c:v>44750</c:v>
                </c:pt>
                <c:pt idx="685">
                  <c:v>44753</c:v>
                </c:pt>
                <c:pt idx="686">
                  <c:v>44754</c:v>
                </c:pt>
                <c:pt idx="687">
                  <c:v>44755</c:v>
                </c:pt>
                <c:pt idx="688">
                  <c:v>44756</c:v>
                </c:pt>
                <c:pt idx="689">
                  <c:v>44757</c:v>
                </c:pt>
                <c:pt idx="690">
                  <c:v>44760</c:v>
                </c:pt>
                <c:pt idx="691">
                  <c:v>44761</c:v>
                </c:pt>
                <c:pt idx="692">
                  <c:v>44762</c:v>
                </c:pt>
                <c:pt idx="693">
                  <c:v>44763</c:v>
                </c:pt>
                <c:pt idx="694">
                  <c:v>44764</c:v>
                </c:pt>
                <c:pt idx="695">
                  <c:v>44767</c:v>
                </c:pt>
                <c:pt idx="696">
                  <c:v>44768</c:v>
                </c:pt>
                <c:pt idx="697">
                  <c:v>44769</c:v>
                </c:pt>
                <c:pt idx="698">
                  <c:v>44770</c:v>
                </c:pt>
                <c:pt idx="699">
                  <c:v>44771</c:v>
                </c:pt>
                <c:pt idx="700">
                  <c:v>44774</c:v>
                </c:pt>
                <c:pt idx="701">
                  <c:v>44775</c:v>
                </c:pt>
                <c:pt idx="702">
                  <c:v>44776</c:v>
                </c:pt>
                <c:pt idx="703">
                  <c:v>44777</c:v>
                </c:pt>
                <c:pt idx="704">
                  <c:v>44778</c:v>
                </c:pt>
                <c:pt idx="705">
                  <c:v>44781</c:v>
                </c:pt>
                <c:pt idx="706">
                  <c:v>44782</c:v>
                </c:pt>
                <c:pt idx="707">
                  <c:v>44783</c:v>
                </c:pt>
                <c:pt idx="708">
                  <c:v>44784</c:v>
                </c:pt>
                <c:pt idx="709">
                  <c:v>44785</c:v>
                </c:pt>
                <c:pt idx="710">
                  <c:v>44788</c:v>
                </c:pt>
                <c:pt idx="711">
                  <c:v>44789</c:v>
                </c:pt>
                <c:pt idx="712">
                  <c:v>44790</c:v>
                </c:pt>
                <c:pt idx="713">
                  <c:v>44791</c:v>
                </c:pt>
                <c:pt idx="714">
                  <c:v>44792</c:v>
                </c:pt>
                <c:pt idx="715">
                  <c:v>44795</c:v>
                </c:pt>
                <c:pt idx="716">
                  <c:v>44796</c:v>
                </c:pt>
                <c:pt idx="717">
                  <c:v>44797</c:v>
                </c:pt>
                <c:pt idx="718">
                  <c:v>44798</c:v>
                </c:pt>
                <c:pt idx="719">
                  <c:v>44799</c:v>
                </c:pt>
                <c:pt idx="720">
                  <c:v>44802</c:v>
                </c:pt>
                <c:pt idx="721">
                  <c:v>44803</c:v>
                </c:pt>
                <c:pt idx="722">
                  <c:v>44804</c:v>
                </c:pt>
                <c:pt idx="723">
                  <c:v>44805</c:v>
                </c:pt>
                <c:pt idx="724">
                  <c:v>44806</c:v>
                </c:pt>
                <c:pt idx="725">
                  <c:v>44809</c:v>
                </c:pt>
                <c:pt idx="726">
                  <c:v>44810</c:v>
                </c:pt>
                <c:pt idx="727">
                  <c:v>44811</c:v>
                </c:pt>
                <c:pt idx="728">
                  <c:v>44812</c:v>
                </c:pt>
                <c:pt idx="729">
                  <c:v>44813</c:v>
                </c:pt>
                <c:pt idx="730">
                  <c:v>44816</c:v>
                </c:pt>
                <c:pt idx="731">
                  <c:v>44817</c:v>
                </c:pt>
                <c:pt idx="732">
                  <c:v>44818</c:v>
                </c:pt>
                <c:pt idx="733">
                  <c:v>44819</c:v>
                </c:pt>
                <c:pt idx="734">
                  <c:v>44820</c:v>
                </c:pt>
                <c:pt idx="735">
                  <c:v>44823</c:v>
                </c:pt>
                <c:pt idx="736">
                  <c:v>44824</c:v>
                </c:pt>
                <c:pt idx="737">
                  <c:v>44825</c:v>
                </c:pt>
                <c:pt idx="738">
                  <c:v>44826</c:v>
                </c:pt>
                <c:pt idx="739">
                  <c:v>44827</c:v>
                </c:pt>
                <c:pt idx="740">
                  <c:v>44830</c:v>
                </c:pt>
                <c:pt idx="741">
                  <c:v>44831</c:v>
                </c:pt>
                <c:pt idx="742">
                  <c:v>44832</c:v>
                </c:pt>
                <c:pt idx="743">
                  <c:v>44833</c:v>
                </c:pt>
                <c:pt idx="744">
                  <c:v>44834</c:v>
                </c:pt>
                <c:pt idx="745">
                  <c:v>44837</c:v>
                </c:pt>
                <c:pt idx="746">
                  <c:v>44838</c:v>
                </c:pt>
                <c:pt idx="747">
                  <c:v>44839</c:v>
                </c:pt>
                <c:pt idx="748">
                  <c:v>44840</c:v>
                </c:pt>
                <c:pt idx="749">
                  <c:v>44841</c:v>
                </c:pt>
                <c:pt idx="750">
                  <c:v>44844</c:v>
                </c:pt>
                <c:pt idx="751">
                  <c:v>44845</c:v>
                </c:pt>
                <c:pt idx="752">
                  <c:v>44846</c:v>
                </c:pt>
                <c:pt idx="753">
                  <c:v>44847</c:v>
                </c:pt>
                <c:pt idx="754">
                  <c:v>44848</c:v>
                </c:pt>
                <c:pt idx="755">
                  <c:v>44851</c:v>
                </c:pt>
                <c:pt idx="756">
                  <c:v>44852</c:v>
                </c:pt>
                <c:pt idx="757">
                  <c:v>44853</c:v>
                </c:pt>
                <c:pt idx="758">
                  <c:v>44854</c:v>
                </c:pt>
                <c:pt idx="759">
                  <c:v>44855</c:v>
                </c:pt>
                <c:pt idx="760">
                  <c:v>44858</c:v>
                </c:pt>
                <c:pt idx="761">
                  <c:v>44859</c:v>
                </c:pt>
                <c:pt idx="762">
                  <c:v>44860</c:v>
                </c:pt>
                <c:pt idx="763">
                  <c:v>44861</c:v>
                </c:pt>
                <c:pt idx="764">
                  <c:v>44862</c:v>
                </c:pt>
                <c:pt idx="765">
                  <c:v>44865</c:v>
                </c:pt>
                <c:pt idx="766">
                  <c:v>44866</c:v>
                </c:pt>
                <c:pt idx="767">
                  <c:v>44867</c:v>
                </c:pt>
                <c:pt idx="768">
                  <c:v>44868</c:v>
                </c:pt>
                <c:pt idx="769">
                  <c:v>44869</c:v>
                </c:pt>
                <c:pt idx="770">
                  <c:v>44872</c:v>
                </c:pt>
                <c:pt idx="771">
                  <c:v>44873</c:v>
                </c:pt>
                <c:pt idx="772">
                  <c:v>44874</c:v>
                </c:pt>
                <c:pt idx="773">
                  <c:v>44875</c:v>
                </c:pt>
                <c:pt idx="774">
                  <c:v>44876</c:v>
                </c:pt>
                <c:pt idx="775">
                  <c:v>44879</c:v>
                </c:pt>
                <c:pt idx="776">
                  <c:v>44880</c:v>
                </c:pt>
                <c:pt idx="777">
                  <c:v>44881</c:v>
                </c:pt>
                <c:pt idx="778">
                  <c:v>44882</c:v>
                </c:pt>
                <c:pt idx="779">
                  <c:v>44883</c:v>
                </c:pt>
                <c:pt idx="780">
                  <c:v>44886</c:v>
                </c:pt>
                <c:pt idx="781">
                  <c:v>44887</c:v>
                </c:pt>
                <c:pt idx="782">
                  <c:v>44888</c:v>
                </c:pt>
                <c:pt idx="783">
                  <c:v>44889</c:v>
                </c:pt>
                <c:pt idx="784">
                  <c:v>44890</c:v>
                </c:pt>
                <c:pt idx="785">
                  <c:v>44893</c:v>
                </c:pt>
                <c:pt idx="786">
                  <c:v>44894</c:v>
                </c:pt>
                <c:pt idx="787">
                  <c:v>44895</c:v>
                </c:pt>
                <c:pt idx="788">
                  <c:v>44896</c:v>
                </c:pt>
                <c:pt idx="789">
                  <c:v>44897</c:v>
                </c:pt>
                <c:pt idx="790">
                  <c:v>44900</c:v>
                </c:pt>
                <c:pt idx="791">
                  <c:v>44901</c:v>
                </c:pt>
                <c:pt idx="792">
                  <c:v>44902</c:v>
                </c:pt>
                <c:pt idx="793">
                  <c:v>44903</c:v>
                </c:pt>
                <c:pt idx="794">
                  <c:v>44904</c:v>
                </c:pt>
                <c:pt idx="795">
                  <c:v>44907</c:v>
                </c:pt>
                <c:pt idx="796">
                  <c:v>44908</c:v>
                </c:pt>
                <c:pt idx="797">
                  <c:v>44909</c:v>
                </c:pt>
                <c:pt idx="798">
                  <c:v>44910</c:v>
                </c:pt>
                <c:pt idx="799">
                  <c:v>44911</c:v>
                </c:pt>
                <c:pt idx="800">
                  <c:v>44914</c:v>
                </c:pt>
                <c:pt idx="801">
                  <c:v>44915</c:v>
                </c:pt>
                <c:pt idx="802">
                  <c:v>44916</c:v>
                </c:pt>
                <c:pt idx="803">
                  <c:v>44917</c:v>
                </c:pt>
                <c:pt idx="804">
                  <c:v>44918</c:v>
                </c:pt>
                <c:pt idx="805">
                  <c:v>44921</c:v>
                </c:pt>
                <c:pt idx="806">
                  <c:v>44922</c:v>
                </c:pt>
                <c:pt idx="807">
                  <c:v>44923</c:v>
                </c:pt>
                <c:pt idx="808">
                  <c:v>44924</c:v>
                </c:pt>
                <c:pt idx="809">
                  <c:v>44925</c:v>
                </c:pt>
                <c:pt idx="810">
                  <c:v>44928</c:v>
                </c:pt>
                <c:pt idx="811">
                  <c:v>44929</c:v>
                </c:pt>
                <c:pt idx="812">
                  <c:v>44930</c:v>
                </c:pt>
                <c:pt idx="813">
                  <c:v>44931</c:v>
                </c:pt>
                <c:pt idx="814">
                  <c:v>44932</c:v>
                </c:pt>
                <c:pt idx="815">
                  <c:v>44935</c:v>
                </c:pt>
                <c:pt idx="816">
                  <c:v>44936</c:v>
                </c:pt>
                <c:pt idx="817">
                  <c:v>44937</c:v>
                </c:pt>
                <c:pt idx="818">
                  <c:v>44938</c:v>
                </c:pt>
                <c:pt idx="819">
                  <c:v>44939</c:v>
                </c:pt>
                <c:pt idx="820">
                  <c:v>44942</c:v>
                </c:pt>
                <c:pt idx="821">
                  <c:v>44943</c:v>
                </c:pt>
                <c:pt idx="822">
                  <c:v>44944</c:v>
                </c:pt>
                <c:pt idx="823">
                  <c:v>44945</c:v>
                </c:pt>
                <c:pt idx="824">
                  <c:v>44946</c:v>
                </c:pt>
                <c:pt idx="825">
                  <c:v>44949</c:v>
                </c:pt>
                <c:pt idx="826">
                  <c:v>44950</c:v>
                </c:pt>
                <c:pt idx="827">
                  <c:v>44951</c:v>
                </c:pt>
                <c:pt idx="828">
                  <c:v>44952</c:v>
                </c:pt>
                <c:pt idx="829">
                  <c:v>44953</c:v>
                </c:pt>
                <c:pt idx="830">
                  <c:v>44956</c:v>
                </c:pt>
                <c:pt idx="831">
                  <c:v>44957</c:v>
                </c:pt>
                <c:pt idx="832">
                  <c:v>44958</c:v>
                </c:pt>
                <c:pt idx="833">
                  <c:v>44959</c:v>
                </c:pt>
                <c:pt idx="834">
                  <c:v>44960</c:v>
                </c:pt>
                <c:pt idx="835">
                  <c:v>44963</c:v>
                </c:pt>
                <c:pt idx="836">
                  <c:v>44964</c:v>
                </c:pt>
                <c:pt idx="837">
                  <c:v>44965</c:v>
                </c:pt>
                <c:pt idx="838">
                  <c:v>44966</c:v>
                </c:pt>
                <c:pt idx="839">
                  <c:v>44967</c:v>
                </c:pt>
                <c:pt idx="840">
                  <c:v>44970</c:v>
                </c:pt>
                <c:pt idx="841">
                  <c:v>44971</c:v>
                </c:pt>
                <c:pt idx="842">
                  <c:v>44972</c:v>
                </c:pt>
                <c:pt idx="843">
                  <c:v>44973</c:v>
                </c:pt>
                <c:pt idx="844">
                  <c:v>44974</c:v>
                </c:pt>
                <c:pt idx="845">
                  <c:v>44977</c:v>
                </c:pt>
                <c:pt idx="846">
                  <c:v>44978</c:v>
                </c:pt>
                <c:pt idx="847">
                  <c:v>44979</c:v>
                </c:pt>
                <c:pt idx="848">
                  <c:v>44980</c:v>
                </c:pt>
                <c:pt idx="849">
                  <c:v>44981</c:v>
                </c:pt>
                <c:pt idx="850">
                  <c:v>44984</c:v>
                </c:pt>
                <c:pt idx="851">
                  <c:v>44985</c:v>
                </c:pt>
                <c:pt idx="852">
                  <c:v>44986</c:v>
                </c:pt>
                <c:pt idx="853">
                  <c:v>44987</c:v>
                </c:pt>
                <c:pt idx="854">
                  <c:v>44988</c:v>
                </c:pt>
                <c:pt idx="855">
                  <c:v>44991</c:v>
                </c:pt>
                <c:pt idx="856">
                  <c:v>44992</c:v>
                </c:pt>
                <c:pt idx="857">
                  <c:v>44993</c:v>
                </c:pt>
                <c:pt idx="858">
                  <c:v>44994</c:v>
                </c:pt>
                <c:pt idx="859">
                  <c:v>44995</c:v>
                </c:pt>
                <c:pt idx="860">
                  <c:v>44998</c:v>
                </c:pt>
                <c:pt idx="861">
                  <c:v>44999</c:v>
                </c:pt>
                <c:pt idx="862">
                  <c:v>45000</c:v>
                </c:pt>
                <c:pt idx="863">
                  <c:v>45001</c:v>
                </c:pt>
                <c:pt idx="864">
                  <c:v>45002</c:v>
                </c:pt>
                <c:pt idx="865">
                  <c:v>45005</c:v>
                </c:pt>
                <c:pt idx="866">
                  <c:v>45006</c:v>
                </c:pt>
                <c:pt idx="867">
                  <c:v>45007</c:v>
                </c:pt>
                <c:pt idx="868">
                  <c:v>45008</c:v>
                </c:pt>
                <c:pt idx="869">
                  <c:v>45009</c:v>
                </c:pt>
                <c:pt idx="870">
                  <c:v>45012</c:v>
                </c:pt>
                <c:pt idx="871">
                  <c:v>45013</c:v>
                </c:pt>
                <c:pt idx="872">
                  <c:v>45014</c:v>
                </c:pt>
                <c:pt idx="873">
                  <c:v>45015</c:v>
                </c:pt>
                <c:pt idx="874">
                  <c:v>45016</c:v>
                </c:pt>
                <c:pt idx="875">
                  <c:v>45019</c:v>
                </c:pt>
                <c:pt idx="876">
                  <c:v>45020</c:v>
                </c:pt>
                <c:pt idx="877">
                  <c:v>45021</c:v>
                </c:pt>
                <c:pt idx="878">
                  <c:v>45022</c:v>
                </c:pt>
                <c:pt idx="879">
                  <c:v>45023</c:v>
                </c:pt>
                <c:pt idx="880">
                  <c:v>45026</c:v>
                </c:pt>
                <c:pt idx="881">
                  <c:v>45027</c:v>
                </c:pt>
                <c:pt idx="882">
                  <c:v>45028</c:v>
                </c:pt>
                <c:pt idx="883">
                  <c:v>45029</c:v>
                </c:pt>
                <c:pt idx="884">
                  <c:v>45030</c:v>
                </c:pt>
                <c:pt idx="885">
                  <c:v>45033</c:v>
                </c:pt>
                <c:pt idx="886">
                  <c:v>45034</c:v>
                </c:pt>
                <c:pt idx="887">
                  <c:v>45035</c:v>
                </c:pt>
                <c:pt idx="888">
                  <c:v>45036</c:v>
                </c:pt>
                <c:pt idx="889">
                  <c:v>45037</c:v>
                </c:pt>
                <c:pt idx="890">
                  <c:v>45040</c:v>
                </c:pt>
                <c:pt idx="891">
                  <c:v>45041</c:v>
                </c:pt>
                <c:pt idx="892">
                  <c:v>45042</c:v>
                </c:pt>
                <c:pt idx="893">
                  <c:v>45043</c:v>
                </c:pt>
                <c:pt idx="894">
                  <c:v>45044</c:v>
                </c:pt>
                <c:pt idx="895">
                  <c:v>45047</c:v>
                </c:pt>
                <c:pt idx="896">
                  <c:v>45048</c:v>
                </c:pt>
                <c:pt idx="897">
                  <c:v>45049</c:v>
                </c:pt>
                <c:pt idx="898">
                  <c:v>45050</c:v>
                </c:pt>
                <c:pt idx="899">
                  <c:v>45051</c:v>
                </c:pt>
                <c:pt idx="900">
                  <c:v>45054</c:v>
                </c:pt>
                <c:pt idx="901">
                  <c:v>45055</c:v>
                </c:pt>
                <c:pt idx="902">
                  <c:v>45056</c:v>
                </c:pt>
                <c:pt idx="903">
                  <c:v>45057</c:v>
                </c:pt>
                <c:pt idx="904">
                  <c:v>45058</c:v>
                </c:pt>
                <c:pt idx="905">
                  <c:v>45061</c:v>
                </c:pt>
                <c:pt idx="906">
                  <c:v>45062</c:v>
                </c:pt>
                <c:pt idx="907">
                  <c:v>45063</c:v>
                </c:pt>
                <c:pt idx="908">
                  <c:v>45064</c:v>
                </c:pt>
                <c:pt idx="909">
                  <c:v>45065</c:v>
                </c:pt>
                <c:pt idx="910">
                  <c:v>45068</c:v>
                </c:pt>
                <c:pt idx="911">
                  <c:v>45069</c:v>
                </c:pt>
                <c:pt idx="912">
                  <c:v>45070</c:v>
                </c:pt>
                <c:pt idx="913">
                  <c:v>45071</c:v>
                </c:pt>
                <c:pt idx="914">
                  <c:v>45072</c:v>
                </c:pt>
                <c:pt idx="915">
                  <c:v>45075</c:v>
                </c:pt>
                <c:pt idx="916">
                  <c:v>45076</c:v>
                </c:pt>
                <c:pt idx="917">
                  <c:v>45077</c:v>
                </c:pt>
                <c:pt idx="918">
                  <c:v>45078</c:v>
                </c:pt>
                <c:pt idx="919">
                  <c:v>45079</c:v>
                </c:pt>
                <c:pt idx="920">
                  <c:v>45082</c:v>
                </c:pt>
                <c:pt idx="921">
                  <c:v>45083</c:v>
                </c:pt>
                <c:pt idx="922">
                  <c:v>45084</c:v>
                </c:pt>
                <c:pt idx="923">
                  <c:v>45085</c:v>
                </c:pt>
                <c:pt idx="924">
                  <c:v>45086</c:v>
                </c:pt>
                <c:pt idx="925">
                  <c:v>45089</c:v>
                </c:pt>
                <c:pt idx="926">
                  <c:v>45090</c:v>
                </c:pt>
                <c:pt idx="927">
                  <c:v>45091</c:v>
                </c:pt>
                <c:pt idx="928">
                  <c:v>45092</c:v>
                </c:pt>
                <c:pt idx="929">
                  <c:v>45093</c:v>
                </c:pt>
                <c:pt idx="930">
                  <c:v>45096</c:v>
                </c:pt>
                <c:pt idx="931">
                  <c:v>45097</c:v>
                </c:pt>
                <c:pt idx="932">
                  <c:v>45098</c:v>
                </c:pt>
                <c:pt idx="933">
                  <c:v>45099</c:v>
                </c:pt>
                <c:pt idx="934">
                  <c:v>45100</c:v>
                </c:pt>
                <c:pt idx="935">
                  <c:v>45103</c:v>
                </c:pt>
                <c:pt idx="936">
                  <c:v>45104</c:v>
                </c:pt>
                <c:pt idx="937">
                  <c:v>45105</c:v>
                </c:pt>
                <c:pt idx="938">
                  <c:v>45106</c:v>
                </c:pt>
                <c:pt idx="939">
                  <c:v>45107</c:v>
                </c:pt>
                <c:pt idx="940">
                  <c:v>45110</c:v>
                </c:pt>
                <c:pt idx="941">
                  <c:v>45111</c:v>
                </c:pt>
                <c:pt idx="942">
                  <c:v>45112</c:v>
                </c:pt>
                <c:pt idx="943">
                  <c:v>45113</c:v>
                </c:pt>
                <c:pt idx="944">
                  <c:v>45114</c:v>
                </c:pt>
                <c:pt idx="945">
                  <c:v>45117</c:v>
                </c:pt>
                <c:pt idx="946">
                  <c:v>45118</c:v>
                </c:pt>
                <c:pt idx="947">
                  <c:v>45119</c:v>
                </c:pt>
                <c:pt idx="948">
                  <c:v>45120</c:v>
                </c:pt>
                <c:pt idx="949">
                  <c:v>45121</c:v>
                </c:pt>
                <c:pt idx="950">
                  <c:v>45124</c:v>
                </c:pt>
                <c:pt idx="951">
                  <c:v>45125</c:v>
                </c:pt>
                <c:pt idx="952">
                  <c:v>45126</c:v>
                </c:pt>
                <c:pt idx="953">
                  <c:v>45127</c:v>
                </c:pt>
                <c:pt idx="954">
                  <c:v>45128</c:v>
                </c:pt>
                <c:pt idx="955">
                  <c:v>45131</c:v>
                </c:pt>
                <c:pt idx="956">
                  <c:v>45132</c:v>
                </c:pt>
                <c:pt idx="957">
                  <c:v>45133</c:v>
                </c:pt>
                <c:pt idx="958">
                  <c:v>45134</c:v>
                </c:pt>
                <c:pt idx="959">
                  <c:v>45135</c:v>
                </c:pt>
                <c:pt idx="960">
                  <c:v>45138</c:v>
                </c:pt>
                <c:pt idx="961">
                  <c:v>45139</c:v>
                </c:pt>
                <c:pt idx="962">
                  <c:v>45140</c:v>
                </c:pt>
                <c:pt idx="963">
                  <c:v>45141</c:v>
                </c:pt>
                <c:pt idx="964">
                  <c:v>45142</c:v>
                </c:pt>
                <c:pt idx="965">
                  <c:v>45145</c:v>
                </c:pt>
                <c:pt idx="966">
                  <c:v>45146</c:v>
                </c:pt>
                <c:pt idx="967">
                  <c:v>45147</c:v>
                </c:pt>
                <c:pt idx="968">
                  <c:v>45148</c:v>
                </c:pt>
                <c:pt idx="969">
                  <c:v>45149</c:v>
                </c:pt>
                <c:pt idx="970">
                  <c:v>45152</c:v>
                </c:pt>
                <c:pt idx="971">
                  <c:v>45153</c:v>
                </c:pt>
                <c:pt idx="972">
                  <c:v>45154</c:v>
                </c:pt>
                <c:pt idx="973">
                  <c:v>45155</c:v>
                </c:pt>
                <c:pt idx="974">
                  <c:v>45156</c:v>
                </c:pt>
                <c:pt idx="975">
                  <c:v>45159</c:v>
                </c:pt>
                <c:pt idx="976">
                  <c:v>45160</c:v>
                </c:pt>
                <c:pt idx="977">
                  <c:v>45161</c:v>
                </c:pt>
                <c:pt idx="978">
                  <c:v>45162</c:v>
                </c:pt>
                <c:pt idx="979">
                  <c:v>45163</c:v>
                </c:pt>
                <c:pt idx="980">
                  <c:v>45166</c:v>
                </c:pt>
                <c:pt idx="981">
                  <c:v>45167</c:v>
                </c:pt>
                <c:pt idx="982">
                  <c:v>45168</c:v>
                </c:pt>
                <c:pt idx="983">
                  <c:v>45169</c:v>
                </c:pt>
                <c:pt idx="984">
                  <c:v>45170</c:v>
                </c:pt>
                <c:pt idx="985">
                  <c:v>45173</c:v>
                </c:pt>
                <c:pt idx="986">
                  <c:v>45174</c:v>
                </c:pt>
                <c:pt idx="987">
                  <c:v>45175</c:v>
                </c:pt>
                <c:pt idx="988">
                  <c:v>45176</c:v>
                </c:pt>
                <c:pt idx="989">
                  <c:v>45177</c:v>
                </c:pt>
                <c:pt idx="990">
                  <c:v>45180</c:v>
                </c:pt>
                <c:pt idx="991">
                  <c:v>45181</c:v>
                </c:pt>
                <c:pt idx="992">
                  <c:v>45182</c:v>
                </c:pt>
                <c:pt idx="993">
                  <c:v>45183</c:v>
                </c:pt>
                <c:pt idx="994">
                  <c:v>45184</c:v>
                </c:pt>
                <c:pt idx="995">
                  <c:v>45187</c:v>
                </c:pt>
                <c:pt idx="996">
                  <c:v>45188</c:v>
                </c:pt>
                <c:pt idx="997">
                  <c:v>45189</c:v>
                </c:pt>
                <c:pt idx="998">
                  <c:v>45190</c:v>
                </c:pt>
                <c:pt idx="999">
                  <c:v>45191</c:v>
                </c:pt>
                <c:pt idx="1000">
                  <c:v>45194</c:v>
                </c:pt>
                <c:pt idx="1001">
                  <c:v>45195</c:v>
                </c:pt>
                <c:pt idx="1002">
                  <c:v>45196</c:v>
                </c:pt>
                <c:pt idx="1003">
                  <c:v>45197</c:v>
                </c:pt>
                <c:pt idx="1004">
                  <c:v>45198</c:v>
                </c:pt>
                <c:pt idx="1005">
                  <c:v>45201</c:v>
                </c:pt>
                <c:pt idx="1006">
                  <c:v>45202</c:v>
                </c:pt>
                <c:pt idx="1007">
                  <c:v>45203</c:v>
                </c:pt>
                <c:pt idx="1008">
                  <c:v>45204</c:v>
                </c:pt>
                <c:pt idx="1009">
                  <c:v>45205</c:v>
                </c:pt>
                <c:pt idx="1010">
                  <c:v>45208</c:v>
                </c:pt>
                <c:pt idx="1011">
                  <c:v>45209</c:v>
                </c:pt>
                <c:pt idx="1012">
                  <c:v>45210</c:v>
                </c:pt>
                <c:pt idx="1013">
                  <c:v>45211</c:v>
                </c:pt>
                <c:pt idx="1014">
                  <c:v>45212</c:v>
                </c:pt>
                <c:pt idx="1015">
                  <c:v>45215</c:v>
                </c:pt>
                <c:pt idx="1016">
                  <c:v>45216</c:v>
                </c:pt>
                <c:pt idx="1017">
                  <c:v>45217</c:v>
                </c:pt>
                <c:pt idx="1018">
                  <c:v>45218</c:v>
                </c:pt>
                <c:pt idx="1019">
                  <c:v>45219</c:v>
                </c:pt>
                <c:pt idx="1020">
                  <c:v>45222</c:v>
                </c:pt>
                <c:pt idx="1021">
                  <c:v>45223</c:v>
                </c:pt>
                <c:pt idx="1022">
                  <c:v>45224</c:v>
                </c:pt>
                <c:pt idx="1023">
                  <c:v>45225</c:v>
                </c:pt>
                <c:pt idx="1024">
                  <c:v>45226</c:v>
                </c:pt>
                <c:pt idx="1025">
                  <c:v>45229</c:v>
                </c:pt>
                <c:pt idx="1026">
                  <c:v>45230</c:v>
                </c:pt>
                <c:pt idx="1027">
                  <c:v>45231</c:v>
                </c:pt>
                <c:pt idx="1028">
                  <c:v>45232</c:v>
                </c:pt>
                <c:pt idx="1029">
                  <c:v>45233</c:v>
                </c:pt>
                <c:pt idx="1030">
                  <c:v>45236</c:v>
                </c:pt>
                <c:pt idx="1031">
                  <c:v>45237</c:v>
                </c:pt>
                <c:pt idx="1032">
                  <c:v>45238</c:v>
                </c:pt>
                <c:pt idx="1033">
                  <c:v>45239</c:v>
                </c:pt>
                <c:pt idx="1034">
                  <c:v>45240</c:v>
                </c:pt>
                <c:pt idx="1035">
                  <c:v>45243</c:v>
                </c:pt>
                <c:pt idx="1036">
                  <c:v>45244</c:v>
                </c:pt>
                <c:pt idx="1037">
                  <c:v>45245</c:v>
                </c:pt>
                <c:pt idx="1038">
                  <c:v>45246</c:v>
                </c:pt>
                <c:pt idx="1039">
                  <c:v>45247</c:v>
                </c:pt>
                <c:pt idx="1040">
                  <c:v>45250</c:v>
                </c:pt>
                <c:pt idx="1041">
                  <c:v>45251</c:v>
                </c:pt>
                <c:pt idx="1042">
                  <c:v>45252</c:v>
                </c:pt>
                <c:pt idx="1043">
                  <c:v>45253</c:v>
                </c:pt>
                <c:pt idx="1044">
                  <c:v>45254</c:v>
                </c:pt>
                <c:pt idx="1045">
                  <c:v>45257</c:v>
                </c:pt>
                <c:pt idx="1046">
                  <c:v>45258</c:v>
                </c:pt>
                <c:pt idx="1047">
                  <c:v>45259</c:v>
                </c:pt>
                <c:pt idx="1048">
                  <c:v>45260</c:v>
                </c:pt>
                <c:pt idx="1049">
                  <c:v>45261</c:v>
                </c:pt>
                <c:pt idx="1050">
                  <c:v>45264</c:v>
                </c:pt>
                <c:pt idx="1051">
                  <c:v>45265</c:v>
                </c:pt>
                <c:pt idx="1052">
                  <c:v>45266</c:v>
                </c:pt>
                <c:pt idx="1053">
                  <c:v>45267</c:v>
                </c:pt>
                <c:pt idx="1054">
                  <c:v>45268</c:v>
                </c:pt>
                <c:pt idx="1055">
                  <c:v>45271</c:v>
                </c:pt>
                <c:pt idx="1056">
                  <c:v>45272</c:v>
                </c:pt>
                <c:pt idx="1057">
                  <c:v>45273</c:v>
                </c:pt>
                <c:pt idx="1058">
                  <c:v>45274</c:v>
                </c:pt>
                <c:pt idx="1059">
                  <c:v>45275</c:v>
                </c:pt>
                <c:pt idx="1060">
                  <c:v>45278</c:v>
                </c:pt>
                <c:pt idx="1061">
                  <c:v>45279</c:v>
                </c:pt>
                <c:pt idx="1062">
                  <c:v>45280</c:v>
                </c:pt>
                <c:pt idx="1063">
                  <c:v>45281</c:v>
                </c:pt>
                <c:pt idx="1064">
                  <c:v>45282</c:v>
                </c:pt>
                <c:pt idx="1065">
                  <c:v>45285</c:v>
                </c:pt>
                <c:pt idx="1066">
                  <c:v>45286</c:v>
                </c:pt>
                <c:pt idx="1067">
                  <c:v>45287</c:v>
                </c:pt>
                <c:pt idx="1068">
                  <c:v>45288</c:v>
                </c:pt>
                <c:pt idx="1069">
                  <c:v>45289</c:v>
                </c:pt>
                <c:pt idx="1070">
                  <c:v>45292</c:v>
                </c:pt>
                <c:pt idx="1071">
                  <c:v>45293</c:v>
                </c:pt>
                <c:pt idx="1072">
                  <c:v>45294</c:v>
                </c:pt>
                <c:pt idx="1073">
                  <c:v>45295</c:v>
                </c:pt>
                <c:pt idx="1074">
                  <c:v>45296</c:v>
                </c:pt>
                <c:pt idx="1075">
                  <c:v>45299</c:v>
                </c:pt>
                <c:pt idx="1076">
                  <c:v>45300</c:v>
                </c:pt>
                <c:pt idx="1077">
                  <c:v>45301</c:v>
                </c:pt>
                <c:pt idx="1078">
                  <c:v>45302</c:v>
                </c:pt>
                <c:pt idx="1079">
                  <c:v>45303</c:v>
                </c:pt>
                <c:pt idx="1080">
                  <c:v>45306</c:v>
                </c:pt>
                <c:pt idx="1081">
                  <c:v>45307</c:v>
                </c:pt>
                <c:pt idx="1082">
                  <c:v>45308</c:v>
                </c:pt>
                <c:pt idx="1083">
                  <c:v>45309</c:v>
                </c:pt>
                <c:pt idx="1084">
                  <c:v>45310</c:v>
                </c:pt>
                <c:pt idx="1085">
                  <c:v>45313</c:v>
                </c:pt>
                <c:pt idx="1086">
                  <c:v>45314</c:v>
                </c:pt>
                <c:pt idx="1087">
                  <c:v>45315</c:v>
                </c:pt>
                <c:pt idx="1088">
                  <c:v>45316</c:v>
                </c:pt>
                <c:pt idx="1089">
                  <c:v>45317</c:v>
                </c:pt>
                <c:pt idx="1090">
                  <c:v>45320</c:v>
                </c:pt>
                <c:pt idx="1091">
                  <c:v>45321</c:v>
                </c:pt>
                <c:pt idx="1092">
                  <c:v>45322</c:v>
                </c:pt>
                <c:pt idx="1093">
                  <c:v>45323</c:v>
                </c:pt>
                <c:pt idx="1094">
                  <c:v>45324</c:v>
                </c:pt>
                <c:pt idx="1095">
                  <c:v>45327</c:v>
                </c:pt>
                <c:pt idx="1096">
                  <c:v>45328</c:v>
                </c:pt>
                <c:pt idx="1097">
                  <c:v>45329</c:v>
                </c:pt>
                <c:pt idx="1098">
                  <c:v>45330</c:v>
                </c:pt>
                <c:pt idx="1099">
                  <c:v>45331</c:v>
                </c:pt>
                <c:pt idx="1100">
                  <c:v>45334</c:v>
                </c:pt>
                <c:pt idx="1101">
                  <c:v>45335</c:v>
                </c:pt>
                <c:pt idx="1102">
                  <c:v>45336</c:v>
                </c:pt>
                <c:pt idx="1103">
                  <c:v>45337</c:v>
                </c:pt>
                <c:pt idx="1104">
                  <c:v>45338</c:v>
                </c:pt>
                <c:pt idx="1105">
                  <c:v>45341</c:v>
                </c:pt>
                <c:pt idx="1106">
                  <c:v>45342</c:v>
                </c:pt>
                <c:pt idx="1107">
                  <c:v>45343</c:v>
                </c:pt>
                <c:pt idx="1108">
                  <c:v>45344</c:v>
                </c:pt>
                <c:pt idx="1109">
                  <c:v>45345</c:v>
                </c:pt>
                <c:pt idx="1110">
                  <c:v>45348</c:v>
                </c:pt>
                <c:pt idx="1111">
                  <c:v>45349</c:v>
                </c:pt>
                <c:pt idx="1112">
                  <c:v>45350</c:v>
                </c:pt>
                <c:pt idx="1113">
                  <c:v>45351</c:v>
                </c:pt>
                <c:pt idx="1114">
                  <c:v>45352</c:v>
                </c:pt>
                <c:pt idx="1115">
                  <c:v>45355</c:v>
                </c:pt>
                <c:pt idx="1116">
                  <c:v>45356</c:v>
                </c:pt>
                <c:pt idx="1117">
                  <c:v>45357</c:v>
                </c:pt>
                <c:pt idx="1118">
                  <c:v>45358</c:v>
                </c:pt>
                <c:pt idx="1119">
                  <c:v>45359</c:v>
                </c:pt>
                <c:pt idx="1120">
                  <c:v>45362</c:v>
                </c:pt>
                <c:pt idx="1121">
                  <c:v>45363</c:v>
                </c:pt>
                <c:pt idx="1122">
                  <c:v>45364</c:v>
                </c:pt>
                <c:pt idx="1123">
                  <c:v>45365</c:v>
                </c:pt>
                <c:pt idx="1124">
                  <c:v>45366</c:v>
                </c:pt>
                <c:pt idx="1125">
                  <c:v>45369</c:v>
                </c:pt>
                <c:pt idx="1126">
                  <c:v>45370</c:v>
                </c:pt>
                <c:pt idx="1127">
                  <c:v>45371</c:v>
                </c:pt>
                <c:pt idx="1128">
                  <c:v>45372</c:v>
                </c:pt>
                <c:pt idx="1129">
                  <c:v>45373</c:v>
                </c:pt>
                <c:pt idx="1130">
                  <c:v>45376</c:v>
                </c:pt>
                <c:pt idx="1131">
                  <c:v>45377</c:v>
                </c:pt>
                <c:pt idx="1132">
                  <c:v>45378</c:v>
                </c:pt>
                <c:pt idx="1133">
                  <c:v>45379</c:v>
                </c:pt>
                <c:pt idx="1134">
                  <c:v>45380</c:v>
                </c:pt>
                <c:pt idx="1135">
                  <c:v>45383</c:v>
                </c:pt>
                <c:pt idx="1136">
                  <c:v>45384</c:v>
                </c:pt>
                <c:pt idx="1137">
                  <c:v>45385</c:v>
                </c:pt>
                <c:pt idx="1138">
                  <c:v>45386</c:v>
                </c:pt>
                <c:pt idx="1139">
                  <c:v>45387</c:v>
                </c:pt>
                <c:pt idx="1140">
                  <c:v>45390</c:v>
                </c:pt>
                <c:pt idx="1141">
                  <c:v>45391</c:v>
                </c:pt>
                <c:pt idx="1142">
                  <c:v>45392</c:v>
                </c:pt>
                <c:pt idx="1143">
                  <c:v>45393</c:v>
                </c:pt>
                <c:pt idx="1144">
                  <c:v>45394</c:v>
                </c:pt>
                <c:pt idx="1145">
                  <c:v>45397</c:v>
                </c:pt>
                <c:pt idx="1146">
                  <c:v>45398</c:v>
                </c:pt>
                <c:pt idx="1147">
                  <c:v>45399</c:v>
                </c:pt>
                <c:pt idx="1148">
                  <c:v>45400</c:v>
                </c:pt>
                <c:pt idx="1149">
                  <c:v>45401</c:v>
                </c:pt>
                <c:pt idx="1150">
                  <c:v>45404</c:v>
                </c:pt>
                <c:pt idx="1151">
                  <c:v>45405</c:v>
                </c:pt>
                <c:pt idx="1152">
                  <c:v>45406</c:v>
                </c:pt>
                <c:pt idx="1153">
                  <c:v>45407</c:v>
                </c:pt>
                <c:pt idx="1154">
                  <c:v>45408</c:v>
                </c:pt>
                <c:pt idx="1155">
                  <c:v>45411</c:v>
                </c:pt>
                <c:pt idx="1156">
                  <c:v>45412</c:v>
                </c:pt>
                <c:pt idx="1157">
                  <c:v>45413</c:v>
                </c:pt>
                <c:pt idx="1158">
                  <c:v>45414</c:v>
                </c:pt>
                <c:pt idx="1159">
                  <c:v>45415</c:v>
                </c:pt>
                <c:pt idx="1160">
                  <c:v>45418</c:v>
                </c:pt>
                <c:pt idx="1161">
                  <c:v>45419</c:v>
                </c:pt>
                <c:pt idx="1162">
                  <c:v>45420</c:v>
                </c:pt>
                <c:pt idx="1163">
                  <c:v>45421</c:v>
                </c:pt>
                <c:pt idx="1164">
                  <c:v>45422</c:v>
                </c:pt>
                <c:pt idx="1165">
                  <c:v>45425</c:v>
                </c:pt>
                <c:pt idx="1166">
                  <c:v>45426</c:v>
                </c:pt>
                <c:pt idx="1167">
                  <c:v>45427</c:v>
                </c:pt>
                <c:pt idx="1168">
                  <c:v>45428</c:v>
                </c:pt>
                <c:pt idx="1169">
                  <c:v>45429</c:v>
                </c:pt>
                <c:pt idx="1170">
                  <c:v>45432</c:v>
                </c:pt>
                <c:pt idx="1171">
                  <c:v>45433</c:v>
                </c:pt>
                <c:pt idx="1172">
                  <c:v>45434</c:v>
                </c:pt>
                <c:pt idx="1173">
                  <c:v>45435</c:v>
                </c:pt>
                <c:pt idx="1174">
                  <c:v>45436</c:v>
                </c:pt>
                <c:pt idx="1175">
                  <c:v>45439</c:v>
                </c:pt>
                <c:pt idx="1176">
                  <c:v>45440</c:v>
                </c:pt>
                <c:pt idx="1177">
                  <c:v>45441</c:v>
                </c:pt>
                <c:pt idx="1178">
                  <c:v>45442</c:v>
                </c:pt>
                <c:pt idx="1179">
                  <c:v>45443</c:v>
                </c:pt>
                <c:pt idx="1180">
                  <c:v>45446</c:v>
                </c:pt>
                <c:pt idx="1181">
                  <c:v>45447</c:v>
                </c:pt>
                <c:pt idx="1182">
                  <c:v>45448</c:v>
                </c:pt>
                <c:pt idx="1183">
                  <c:v>45449</c:v>
                </c:pt>
                <c:pt idx="1184">
                  <c:v>45450</c:v>
                </c:pt>
                <c:pt idx="1185">
                  <c:v>45453</c:v>
                </c:pt>
                <c:pt idx="1186">
                  <c:v>45454</c:v>
                </c:pt>
                <c:pt idx="1187">
                  <c:v>45455</c:v>
                </c:pt>
                <c:pt idx="1188">
                  <c:v>45456</c:v>
                </c:pt>
                <c:pt idx="1189">
                  <c:v>45457</c:v>
                </c:pt>
                <c:pt idx="1190">
                  <c:v>45460</c:v>
                </c:pt>
                <c:pt idx="1191">
                  <c:v>45461</c:v>
                </c:pt>
                <c:pt idx="1192">
                  <c:v>45462</c:v>
                </c:pt>
                <c:pt idx="1193">
                  <c:v>45463</c:v>
                </c:pt>
                <c:pt idx="1194">
                  <c:v>45464</c:v>
                </c:pt>
                <c:pt idx="1195">
                  <c:v>45467</c:v>
                </c:pt>
                <c:pt idx="1196">
                  <c:v>45468</c:v>
                </c:pt>
                <c:pt idx="1197">
                  <c:v>45469</c:v>
                </c:pt>
                <c:pt idx="1198">
                  <c:v>45470</c:v>
                </c:pt>
                <c:pt idx="1199">
                  <c:v>45471</c:v>
                </c:pt>
                <c:pt idx="1200">
                  <c:v>45474</c:v>
                </c:pt>
                <c:pt idx="1201">
                  <c:v>45475</c:v>
                </c:pt>
                <c:pt idx="1202">
                  <c:v>45476</c:v>
                </c:pt>
                <c:pt idx="1203">
                  <c:v>45477</c:v>
                </c:pt>
                <c:pt idx="1204">
                  <c:v>45478</c:v>
                </c:pt>
                <c:pt idx="1205">
                  <c:v>45481</c:v>
                </c:pt>
                <c:pt idx="1206">
                  <c:v>45482</c:v>
                </c:pt>
                <c:pt idx="1207">
                  <c:v>45483</c:v>
                </c:pt>
                <c:pt idx="1208">
                  <c:v>45484</c:v>
                </c:pt>
                <c:pt idx="1209">
                  <c:v>45485</c:v>
                </c:pt>
                <c:pt idx="1210">
                  <c:v>45488</c:v>
                </c:pt>
                <c:pt idx="1211">
                  <c:v>45489</c:v>
                </c:pt>
                <c:pt idx="1212">
                  <c:v>45490</c:v>
                </c:pt>
                <c:pt idx="1213">
                  <c:v>45491</c:v>
                </c:pt>
                <c:pt idx="1214">
                  <c:v>45492</c:v>
                </c:pt>
                <c:pt idx="1215">
                  <c:v>45495</c:v>
                </c:pt>
                <c:pt idx="1216">
                  <c:v>45496</c:v>
                </c:pt>
                <c:pt idx="1217">
                  <c:v>45497</c:v>
                </c:pt>
                <c:pt idx="1218">
                  <c:v>45498</c:v>
                </c:pt>
                <c:pt idx="1219">
                  <c:v>45499</c:v>
                </c:pt>
                <c:pt idx="1220">
                  <c:v>45502</c:v>
                </c:pt>
                <c:pt idx="1221">
                  <c:v>45503</c:v>
                </c:pt>
                <c:pt idx="1222">
                  <c:v>45504</c:v>
                </c:pt>
                <c:pt idx="1223">
                  <c:v>45505</c:v>
                </c:pt>
                <c:pt idx="1224">
                  <c:v>45506</c:v>
                </c:pt>
                <c:pt idx="1225">
                  <c:v>45509</c:v>
                </c:pt>
                <c:pt idx="1226">
                  <c:v>45510</c:v>
                </c:pt>
                <c:pt idx="1227">
                  <c:v>45511</c:v>
                </c:pt>
                <c:pt idx="1228">
                  <c:v>45512</c:v>
                </c:pt>
                <c:pt idx="1229">
                  <c:v>45513</c:v>
                </c:pt>
                <c:pt idx="1230">
                  <c:v>45516</c:v>
                </c:pt>
                <c:pt idx="1231">
                  <c:v>45517</c:v>
                </c:pt>
                <c:pt idx="1232">
                  <c:v>45518</c:v>
                </c:pt>
                <c:pt idx="1233">
                  <c:v>45519</c:v>
                </c:pt>
                <c:pt idx="1234">
                  <c:v>45520</c:v>
                </c:pt>
                <c:pt idx="1235">
                  <c:v>45523</c:v>
                </c:pt>
                <c:pt idx="1236">
                  <c:v>45524</c:v>
                </c:pt>
                <c:pt idx="1237">
                  <c:v>45525</c:v>
                </c:pt>
                <c:pt idx="1238">
                  <c:v>45526</c:v>
                </c:pt>
                <c:pt idx="1239">
                  <c:v>45527</c:v>
                </c:pt>
                <c:pt idx="1240">
                  <c:v>45530</c:v>
                </c:pt>
                <c:pt idx="1241">
                  <c:v>45531</c:v>
                </c:pt>
                <c:pt idx="1242">
                  <c:v>45532</c:v>
                </c:pt>
                <c:pt idx="1243">
                  <c:v>45533</c:v>
                </c:pt>
                <c:pt idx="1244">
                  <c:v>45534</c:v>
                </c:pt>
                <c:pt idx="1245">
                  <c:v>45537</c:v>
                </c:pt>
                <c:pt idx="1246">
                  <c:v>45538</c:v>
                </c:pt>
                <c:pt idx="1247">
                  <c:v>45539</c:v>
                </c:pt>
                <c:pt idx="1248">
                  <c:v>45540</c:v>
                </c:pt>
                <c:pt idx="1249">
                  <c:v>45541</c:v>
                </c:pt>
                <c:pt idx="1250">
                  <c:v>45544</c:v>
                </c:pt>
                <c:pt idx="1251">
                  <c:v>45545</c:v>
                </c:pt>
                <c:pt idx="1252">
                  <c:v>45546</c:v>
                </c:pt>
                <c:pt idx="1253">
                  <c:v>45547</c:v>
                </c:pt>
                <c:pt idx="1254">
                  <c:v>45548</c:v>
                </c:pt>
                <c:pt idx="1255">
                  <c:v>45551</c:v>
                </c:pt>
                <c:pt idx="1256">
                  <c:v>45552</c:v>
                </c:pt>
                <c:pt idx="1257">
                  <c:v>45553</c:v>
                </c:pt>
                <c:pt idx="1258">
                  <c:v>45554</c:v>
                </c:pt>
                <c:pt idx="1259">
                  <c:v>45555</c:v>
                </c:pt>
                <c:pt idx="1260">
                  <c:v>45558</c:v>
                </c:pt>
                <c:pt idx="1261">
                  <c:v>45559</c:v>
                </c:pt>
                <c:pt idx="1262">
                  <c:v>45560</c:v>
                </c:pt>
                <c:pt idx="1263">
                  <c:v>45561</c:v>
                </c:pt>
                <c:pt idx="1264">
                  <c:v>45562</c:v>
                </c:pt>
                <c:pt idx="1265">
                  <c:v>45565</c:v>
                </c:pt>
                <c:pt idx="1266">
                  <c:v>45566</c:v>
                </c:pt>
                <c:pt idx="1267">
                  <c:v>45567</c:v>
                </c:pt>
                <c:pt idx="1268">
                  <c:v>45568</c:v>
                </c:pt>
                <c:pt idx="1269">
                  <c:v>45569</c:v>
                </c:pt>
                <c:pt idx="1270">
                  <c:v>45572</c:v>
                </c:pt>
                <c:pt idx="1271">
                  <c:v>45573</c:v>
                </c:pt>
                <c:pt idx="1272">
                  <c:v>45574</c:v>
                </c:pt>
                <c:pt idx="1273">
                  <c:v>45575</c:v>
                </c:pt>
                <c:pt idx="1274">
                  <c:v>45576</c:v>
                </c:pt>
                <c:pt idx="1275">
                  <c:v>45579</c:v>
                </c:pt>
                <c:pt idx="1276">
                  <c:v>45580</c:v>
                </c:pt>
                <c:pt idx="1277">
                  <c:v>45581</c:v>
                </c:pt>
                <c:pt idx="1278">
                  <c:v>45582</c:v>
                </c:pt>
                <c:pt idx="1279">
                  <c:v>45583</c:v>
                </c:pt>
                <c:pt idx="1280">
                  <c:v>45586</c:v>
                </c:pt>
                <c:pt idx="1281">
                  <c:v>45587</c:v>
                </c:pt>
                <c:pt idx="1282">
                  <c:v>45588</c:v>
                </c:pt>
                <c:pt idx="1283">
                  <c:v>45589</c:v>
                </c:pt>
                <c:pt idx="1284">
                  <c:v>45590</c:v>
                </c:pt>
                <c:pt idx="1285">
                  <c:v>45593</c:v>
                </c:pt>
                <c:pt idx="1286">
                  <c:v>45594</c:v>
                </c:pt>
                <c:pt idx="1287">
                  <c:v>45595</c:v>
                </c:pt>
                <c:pt idx="1288">
                  <c:v>45596</c:v>
                </c:pt>
                <c:pt idx="1289">
                  <c:v>45597</c:v>
                </c:pt>
                <c:pt idx="1290">
                  <c:v>45600</c:v>
                </c:pt>
                <c:pt idx="1291">
                  <c:v>45601</c:v>
                </c:pt>
                <c:pt idx="1292">
                  <c:v>45602</c:v>
                </c:pt>
                <c:pt idx="1293">
                  <c:v>45603</c:v>
                </c:pt>
                <c:pt idx="1294">
                  <c:v>45604</c:v>
                </c:pt>
                <c:pt idx="1295">
                  <c:v>45607</c:v>
                </c:pt>
                <c:pt idx="1296">
                  <c:v>45608</c:v>
                </c:pt>
                <c:pt idx="1297">
                  <c:v>45609</c:v>
                </c:pt>
                <c:pt idx="1298">
                  <c:v>45610</c:v>
                </c:pt>
                <c:pt idx="1299">
                  <c:v>45611</c:v>
                </c:pt>
                <c:pt idx="1300">
                  <c:v>45614</c:v>
                </c:pt>
                <c:pt idx="1301">
                  <c:v>45615</c:v>
                </c:pt>
                <c:pt idx="1302">
                  <c:v>45616</c:v>
                </c:pt>
                <c:pt idx="1303">
                  <c:v>45617</c:v>
                </c:pt>
                <c:pt idx="1304">
                  <c:v>45618</c:v>
                </c:pt>
                <c:pt idx="1305">
                  <c:v>45621</c:v>
                </c:pt>
              </c:numCache>
            </c:numRef>
          </c:cat>
          <c:val>
            <c:numRef>
              <c:f>Sheet1!$H$4:$H$1309</c:f>
              <c:numCache>
                <c:formatCode>General</c:formatCode>
                <c:ptCount val="1306"/>
                <c:pt idx="0">
                  <c:v>0</c:v>
                </c:pt>
                <c:pt idx="1">
                  <c:v>0.35</c:v>
                </c:pt>
                <c:pt idx="2">
                  <c:v>0.68</c:v>
                </c:pt>
                <c:pt idx="3">
                  <c:v>0.44</c:v>
                </c:pt>
                <c:pt idx="4">
                  <c:v>-0.15</c:v>
                </c:pt>
                <c:pt idx="5">
                  <c:v>-1.43</c:v>
                </c:pt>
                <c:pt idx="6">
                  <c:v>-1.36</c:v>
                </c:pt>
                <c:pt idx="7">
                  <c:v>-0.95</c:v>
                </c:pt>
                <c:pt idx="8">
                  <c:v>-0.72</c:v>
                </c:pt>
                <c:pt idx="9">
                  <c:v>-0.14000000000000001</c:v>
                </c:pt>
                <c:pt idx="10">
                  <c:v>-0.06</c:v>
                </c:pt>
                <c:pt idx="11">
                  <c:v>-0.17</c:v>
                </c:pt>
                <c:pt idx="12">
                  <c:v>0.48</c:v>
                </c:pt>
                <c:pt idx="13">
                  <c:v>-0.31</c:v>
                </c:pt>
                <c:pt idx="14">
                  <c:v>0.6</c:v>
                </c:pt>
                <c:pt idx="15">
                  <c:v>1.67</c:v>
                </c:pt>
                <c:pt idx="16">
                  <c:v>1.43</c:v>
                </c:pt>
                <c:pt idx="17">
                  <c:v>2.4900000000000002</c:v>
                </c:pt>
                <c:pt idx="18">
                  <c:v>3</c:v>
                </c:pt>
                <c:pt idx="19">
                  <c:v>4.1399999999999997</c:v>
                </c:pt>
                <c:pt idx="20">
                  <c:v>3.92</c:v>
                </c:pt>
                <c:pt idx="21">
                  <c:v>3.84</c:v>
                </c:pt>
                <c:pt idx="22">
                  <c:v>3.82</c:v>
                </c:pt>
                <c:pt idx="23">
                  <c:v>4.08</c:v>
                </c:pt>
                <c:pt idx="24">
                  <c:v>3.91</c:v>
                </c:pt>
                <c:pt idx="25">
                  <c:v>3.23</c:v>
                </c:pt>
                <c:pt idx="26">
                  <c:v>3.41</c:v>
                </c:pt>
                <c:pt idx="27">
                  <c:v>3.41</c:v>
                </c:pt>
                <c:pt idx="28">
                  <c:v>3.13</c:v>
                </c:pt>
                <c:pt idx="29">
                  <c:v>3.42</c:v>
                </c:pt>
                <c:pt idx="30">
                  <c:v>3.25</c:v>
                </c:pt>
                <c:pt idx="31">
                  <c:v>3.15</c:v>
                </c:pt>
                <c:pt idx="32">
                  <c:v>3.38</c:v>
                </c:pt>
                <c:pt idx="33">
                  <c:v>3.87</c:v>
                </c:pt>
                <c:pt idx="34">
                  <c:v>4.3099999999999996</c:v>
                </c:pt>
                <c:pt idx="35">
                  <c:v>4.84</c:v>
                </c:pt>
                <c:pt idx="36">
                  <c:v>5.13</c:v>
                </c:pt>
                <c:pt idx="37">
                  <c:v>5.66</c:v>
                </c:pt>
                <c:pt idx="38">
                  <c:v>6.03</c:v>
                </c:pt>
                <c:pt idx="39">
                  <c:v>7.09</c:v>
                </c:pt>
                <c:pt idx="40">
                  <c:v>7.25</c:v>
                </c:pt>
                <c:pt idx="41">
                  <c:v>7.1</c:v>
                </c:pt>
                <c:pt idx="42">
                  <c:v>7.27</c:v>
                </c:pt>
                <c:pt idx="43">
                  <c:v>8.06</c:v>
                </c:pt>
                <c:pt idx="44">
                  <c:v>8.33</c:v>
                </c:pt>
                <c:pt idx="45">
                  <c:v>7.51</c:v>
                </c:pt>
                <c:pt idx="46">
                  <c:v>8.24</c:v>
                </c:pt>
                <c:pt idx="47">
                  <c:v>7.78</c:v>
                </c:pt>
                <c:pt idx="48">
                  <c:v>7.5</c:v>
                </c:pt>
                <c:pt idx="49">
                  <c:v>6.32</c:v>
                </c:pt>
                <c:pt idx="50">
                  <c:v>6.85</c:v>
                </c:pt>
                <c:pt idx="51">
                  <c:v>7.39</c:v>
                </c:pt>
                <c:pt idx="52">
                  <c:v>8.4</c:v>
                </c:pt>
                <c:pt idx="53">
                  <c:v>8.8000000000000007</c:v>
                </c:pt>
                <c:pt idx="54">
                  <c:v>8.6</c:v>
                </c:pt>
                <c:pt idx="55">
                  <c:v>9.48</c:v>
                </c:pt>
                <c:pt idx="56">
                  <c:v>11.01</c:v>
                </c:pt>
                <c:pt idx="57">
                  <c:v>11.64</c:v>
                </c:pt>
                <c:pt idx="58">
                  <c:v>12.08</c:v>
                </c:pt>
                <c:pt idx="59">
                  <c:v>12.85</c:v>
                </c:pt>
                <c:pt idx="60">
                  <c:v>13.04</c:v>
                </c:pt>
                <c:pt idx="61">
                  <c:v>12.98</c:v>
                </c:pt>
                <c:pt idx="62">
                  <c:v>13.27</c:v>
                </c:pt>
                <c:pt idx="63">
                  <c:v>12.97</c:v>
                </c:pt>
                <c:pt idx="64">
                  <c:v>12.35</c:v>
                </c:pt>
                <c:pt idx="65">
                  <c:v>10.119999999999999</c:v>
                </c:pt>
                <c:pt idx="66">
                  <c:v>8.0299999999999994</c:v>
                </c:pt>
                <c:pt idx="67">
                  <c:v>6.94</c:v>
                </c:pt>
                <c:pt idx="68">
                  <c:v>2.41</c:v>
                </c:pt>
                <c:pt idx="69">
                  <c:v>-0.82</c:v>
                </c:pt>
                <c:pt idx="70">
                  <c:v>1.26</c:v>
                </c:pt>
                <c:pt idx="71">
                  <c:v>1.17</c:v>
                </c:pt>
                <c:pt idx="72">
                  <c:v>4.42</c:v>
                </c:pt>
                <c:pt idx="73">
                  <c:v>2.79</c:v>
                </c:pt>
                <c:pt idx="74">
                  <c:v>-0.49</c:v>
                </c:pt>
                <c:pt idx="75">
                  <c:v>-10.01</c:v>
                </c:pt>
                <c:pt idx="76">
                  <c:v>-9.09</c:v>
                </c:pt>
                <c:pt idx="77">
                  <c:v>-11.37</c:v>
                </c:pt>
                <c:pt idx="78">
                  <c:v>-20.010000000000002</c:v>
                </c:pt>
                <c:pt idx="79">
                  <c:v>-14.63</c:v>
                </c:pt>
                <c:pt idx="80">
                  <c:v>-24.11</c:v>
                </c:pt>
                <c:pt idx="81">
                  <c:v>-18.75</c:v>
                </c:pt>
                <c:pt idx="82">
                  <c:v>-22.86</c:v>
                </c:pt>
                <c:pt idx="83">
                  <c:v>-22.3</c:v>
                </c:pt>
                <c:pt idx="84">
                  <c:v>-23.21</c:v>
                </c:pt>
                <c:pt idx="85">
                  <c:v>-29.08</c:v>
                </c:pt>
                <c:pt idx="86">
                  <c:v>-22.86</c:v>
                </c:pt>
                <c:pt idx="87">
                  <c:v>-19.43</c:v>
                </c:pt>
                <c:pt idx="88">
                  <c:v>-15.77</c:v>
                </c:pt>
                <c:pt idx="89">
                  <c:v>-17.88</c:v>
                </c:pt>
                <c:pt idx="90">
                  <c:v>-15.81</c:v>
                </c:pt>
                <c:pt idx="91">
                  <c:v>-16.21</c:v>
                </c:pt>
                <c:pt idx="92">
                  <c:v>-19.91</c:v>
                </c:pt>
                <c:pt idx="93">
                  <c:v>-17.579999999999998</c:v>
                </c:pt>
                <c:pt idx="94">
                  <c:v>-18.2</c:v>
                </c:pt>
                <c:pt idx="95">
                  <c:v>-14.29</c:v>
                </c:pt>
                <c:pt idx="96">
                  <c:v>-15.03</c:v>
                </c:pt>
                <c:pt idx="97">
                  <c:v>-11.9</c:v>
                </c:pt>
                <c:pt idx="98">
                  <c:v>-8.8000000000000007</c:v>
                </c:pt>
                <c:pt idx="99">
                  <c:v>-8.77</c:v>
                </c:pt>
                <c:pt idx="100">
                  <c:v>-9.94</c:v>
                </c:pt>
                <c:pt idx="101">
                  <c:v>-8.2899999999999991</c:v>
                </c:pt>
                <c:pt idx="102">
                  <c:v>-10.6</c:v>
                </c:pt>
                <c:pt idx="103">
                  <c:v>-10.28</c:v>
                </c:pt>
                <c:pt idx="104">
                  <c:v>-7.89</c:v>
                </c:pt>
                <c:pt idx="105">
                  <c:v>-9.4</c:v>
                </c:pt>
                <c:pt idx="106">
                  <c:v>-11.6</c:v>
                </c:pt>
                <c:pt idx="107">
                  <c:v>-9.3800000000000008</c:v>
                </c:pt>
                <c:pt idx="108">
                  <c:v>-9.6300000000000008</c:v>
                </c:pt>
                <c:pt idx="109">
                  <c:v>-9.42</c:v>
                </c:pt>
                <c:pt idx="110">
                  <c:v>-8.0500000000000007</c:v>
                </c:pt>
                <c:pt idx="111">
                  <c:v>-7.4</c:v>
                </c:pt>
                <c:pt idx="112">
                  <c:v>-7.27</c:v>
                </c:pt>
                <c:pt idx="113">
                  <c:v>-9.0299999999999994</c:v>
                </c:pt>
                <c:pt idx="114">
                  <c:v>-11.24</c:v>
                </c:pt>
                <c:pt idx="115">
                  <c:v>-10.61</c:v>
                </c:pt>
                <c:pt idx="116">
                  <c:v>-8.9499999999999993</c:v>
                </c:pt>
                <c:pt idx="117">
                  <c:v>-10.14</c:v>
                </c:pt>
                <c:pt idx="118">
                  <c:v>-9.66</c:v>
                </c:pt>
                <c:pt idx="119">
                  <c:v>-8.7899999999999991</c:v>
                </c:pt>
                <c:pt idx="120">
                  <c:v>-8.25</c:v>
                </c:pt>
                <c:pt idx="121">
                  <c:v>-9.66</c:v>
                </c:pt>
                <c:pt idx="122">
                  <c:v>-10.71</c:v>
                </c:pt>
                <c:pt idx="123">
                  <c:v>-11.24</c:v>
                </c:pt>
                <c:pt idx="124">
                  <c:v>-11.12</c:v>
                </c:pt>
                <c:pt idx="125">
                  <c:v>-8.7899999999999991</c:v>
                </c:pt>
                <c:pt idx="126">
                  <c:v>-10.07</c:v>
                </c:pt>
                <c:pt idx="127">
                  <c:v>-9.91</c:v>
                </c:pt>
                <c:pt idx="128">
                  <c:v>-10.52</c:v>
                </c:pt>
                <c:pt idx="129">
                  <c:v>-9.56</c:v>
                </c:pt>
                <c:pt idx="130">
                  <c:v>-8.83</c:v>
                </c:pt>
                <c:pt idx="131">
                  <c:v>-7.99</c:v>
                </c:pt>
                <c:pt idx="132">
                  <c:v>-7.16</c:v>
                </c:pt>
                <c:pt idx="133">
                  <c:v>-6.37</c:v>
                </c:pt>
                <c:pt idx="134">
                  <c:v>-6.42</c:v>
                </c:pt>
                <c:pt idx="135">
                  <c:v>-5.2</c:v>
                </c:pt>
                <c:pt idx="136">
                  <c:v>-4.34</c:v>
                </c:pt>
                <c:pt idx="137">
                  <c:v>-3.17</c:v>
                </c:pt>
                <c:pt idx="138">
                  <c:v>-5.52</c:v>
                </c:pt>
                <c:pt idx="139">
                  <c:v>-3.91</c:v>
                </c:pt>
                <c:pt idx="140">
                  <c:v>-2.42</c:v>
                </c:pt>
                <c:pt idx="141">
                  <c:v>-4.1500000000000004</c:v>
                </c:pt>
                <c:pt idx="142">
                  <c:v>-5.18</c:v>
                </c:pt>
                <c:pt idx="143">
                  <c:v>-10.039999999999999</c:v>
                </c:pt>
                <c:pt idx="144">
                  <c:v>-8.4700000000000006</c:v>
                </c:pt>
                <c:pt idx="145">
                  <c:v>-7.64</c:v>
                </c:pt>
                <c:pt idx="146">
                  <c:v>-5.91</c:v>
                </c:pt>
                <c:pt idx="147">
                  <c:v>-6.23</c:v>
                </c:pt>
                <c:pt idx="148">
                  <c:v>-6.63</c:v>
                </c:pt>
                <c:pt idx="149">
                  <c:v>-6.48</c:v>
                </c:pt>
                <c:pt idx="150">
                  <c:v>-7.19</c:v>
                </c:pt>
                <c:pt idx="151">
                  <c:v>-7.8</c:v>
                </c:pt>
                <c:pt idx="152">
                  <c:v>-9.5</c:v>
                </c:pt>
                <c:pt idx="153">
                  <c:v>-9.01</c:v>
                </c:pt>
                <c:pt idx="154">
                  <c:v>-10.31</c:v>
                </c:pt>
                <c:pt idx="155">
                  <c:v>-9.59</c:v>
                </c:pt>
                <c:pt idx="156">
                  <c:v>-8.44</c:v>
                </c:pt>
                <c:pt idx="157">
                  <c:v>-7.81</c:v>
                </c:pt>
                <c:pt idx="158">
                  <c:v>-7</c:v>
                </c:pt>
                <c:pt idx="159">
                  <c:v>-7.06</c:v>
                </c:pt>
                <c:pt idx="160">
                  <c:v>-7.29</c:v>
                </c:pt>
                <c:pt idx="161">
                  <c:v>-8.08</c:v>
                </c:pt>
                <c:pt idx="162">
                  <c:v>-8.74</c:v>
                </c:pt>
                <c:pt idx="163">
                  <c:v>-9.59</c:v>
                </c:pt>
                <c:pt idx="164">
                  <c:v>-9.26</c:v>
                </c:pt>
                <c:pt idx="165">
                  <c:v>-9.8699999999999992</c:v>
                </c:pt>
                <c:pt idx="166">
                  <c:v>-9.5500000000000007</c:v>
                </c:pt>
                <c:pt idx="167">
                  <c:v>-8.8699999999999992</c:v>
                </c:pt>
                <c:pt idx="168">
                  <c:v>-9.02</c:v>
                </c:pt>
                <c:pt idx="169">
                  <c:v>-8.4700000000000006</c:v>
                </c:pt>
                <c:pt idx="170">
                  <c:v>-9.01</c:v>
                </c:pt>
                <c:pt idx="171">
                  <c:v>-8.2799999999999994</c:v>
                </c:pt>
                <c:pt idx="172">
                  <c:v>-8.7799999999999994</c:v>
                </c:pt>
                <c:pt idx="173">
                  <c:v>-8.99</c:v>
                </c:pt>
                <c:pt idx="174">
                  <c:v>-9.9</c:v>
                </c:pt>
                <c:pt idx="175">
                  <c:v>-10.95</c:v>
                </c:pt>
                <c:pt idx="176">
                  <c:v>-9.6999999999999993</c:v>
                </c:pt>
                <c:pt idx="177">
                  <c:v>-8.98</c:v>
                </c:pt>
                <c:pt idx="178">
                  <c:v>-10.48</c:v>
                </c:pt>
                <c:pt idx="179">
                  <c:v>-11.28</c:v>
                </c:pt>
                <c:pt idx="180">
                  <c:v>-10.88</c:v>
                </c:pt>
                <c:pt idx="181">
                  <c:v>-9.73</c:v>
                </c:pt>
                <c:pt idx="182">
                  <c:v>-10.67</c:v>
                </c:pt>
                <c:pt idx="183">
                  <c:v>-10.46</c:v>
                </c:pt>
                <c:pt idx="184">
                  <c:v>-9.67</c:v>
                </c:pt>
                <c:pt idx="185">
                  <c:v>-8.99</c:v>
                </c:pt>
                <c:pt idx="186">
                  <c:v>-9.64</c:v>
                </c:pt>
                <c:pt idx="187">
                  <c:v>-8.4700000000000006</c:v>
                </c:pt>
                <c:pt idx="188">
                  <c:v>-9.2899999999999991</c:v>
                </c:pt>
                <c:pt idx="189">
                  <c:v>-9.59</c:v>
                </c:pt>
                <c:pt idx="190">
                  <c:v>-9.8699999999999992</c:v>
                </c:pt>
                <c:pt idx="191">
                  <c:v>-10.45</c:v>
                </c:pt>
                <c:pt idx="192">
                  <c:v>-10.85</c:v>
                </c:pt>
                <c:pt idx="193">
                  <c:v>-11.12</c:v>
                </c:pt>
                <c:pt idx="194">
                  <c:v>-10.61</c:v>
                </c:pt>
                <c:pt idx="195">
                  <c:v>-10.34</c:v>
                </c:pt>
                <c:pt idx="196">
                  <c:v>-10.85</c:v>
                </c:pt>
                <c:pt idx="197">
                  <c:v>-11.72</c:v>
                </c:pt>
                <c:pt idx="198">
                  <c:v>-11.43</c:v>
                </c:pt>
                <c:pt idx="199">
                  <c:v>-11.71</c:v>
                </c:pt>
                <c:pt idx="200">
                  <c:v>-12.56</c:v>
                </c:pt>
                <c:pt idx="201">
                  <c:v>-12.99</c:v>
                </c:pt>
                <c:pt idx="202">
                  <c:v>-10.47</c:v>
                </c:pt>
                <c:pt idx="203">
                  <c:v>-11.24</c:v>
                </c:pt>
                <c:pt idx="204">
                  <c:v>-12.14</c:v>
                </c:pt>
                <c:pt idx="205">
                  <c:v>-11.93</c:v>
                </c:pt>
                <c:pt idx="206">
                  <c:v>-12.79</c:v>
                </c:pt>
                <c:pt idx="207">
                  <c:v>-11.99</c:v>
                </c:pt>
                <c:pt idx="208">
                  <c:v>-13.59</c:v>
                </c:pt>
                <c:pt idx="209">
                  <c:v>-13.48</c:v>
                </c:pt>
                <c:pt idx="210">
                  <c:v>-12.95</c:v>
                </c:pt>
                <c:pt idx="211">
                  <c:v>-12.29</c:v>
                </c:pt>
                <c:pt idx="212">
                  <c:v>-11.53</c:v>
                </c:pt>
                <c:pt idx="213">
                  <c:v>-12.33</c:v>
                </c:pt>
                <c:pt idx="214">
                  <c:v>-13.71</c:v>
                </c:pt>
                <c:pt idx="215">
                  <c:v>-14.68</c:v>
                </c:pt>
                <c:pt idx="216">
                  <c:v>-14</c:v>
                </c:pt>
                <c:pt idx="217">
                  <c:v>-14.87</c:v>
                </c:pt>
                <c:pt idx="218">
                  <c:v>-14.51</c:v>
                </c:pt>
                <c:pt idx="219">
                  <c:v>-13.19</c:v>
                </c:pt>
                <c:pt idx="220">
                  <c:v>-12.79</c:v>
                </c:pt>
                <c:pt idx="221">
                  <c:v>-13.39</c:v>
                </c:pt>
                <c:pt idx="222">
                  <c:v>-13.6</c:v>
                </c:pt>
                <c:pt idx="223">
                  <c:v>-13.49</c:v>
                </c:pt>
                <c:pt idx="224">
                  <c:v>-12.66</c:v>
                </c:pt>
                <c:pt idx="225">
                  <c:v>-12.27</c:v>
                </c:pt>
                <c:pt idx="226">
                  <c:v>-12.56</c:v>
                </c:pt>
                <c:pt idx="227">
                  <c:v>-12.21</c:v>
                </c:pt>
                <c:pt idx="228">
                  <c:v>-10.76</c:v>
                </c:pt>
                <c:pt idx="229">
                  <c:v>-11.41</c:v>
                </c:pt>
                <c:pt idx="230">
                  <c:v>-10.97</c:v>
                </c:pt>
                <c:pt idx="231">
                  <c:v>-11.21</c:v>
                </c:pt>
                <c:pt idx="232">
                  <c:v>-11.31</c:v>
                </c:pt>
                <c:pt idx="233">
                  <c:v>-11.33</c:v>
                </c:pt>
                <c:pt idx="234">
                  <c:v>-11.46</c:v>
                </c:pt>
                <c:pt idx="235">
                  <c:v>-12.02</c:v>
                </c:pt>
                <c:pt idx="236">
                  <c:v>-11.69</c:v>
                </c:pt>
                <c:pt idx="237">
                  <c:v>-12.44</c:v>
                </c:pt>
                <c:pt idx="238">
                  <c:v>-12.06</c:v>
                </c:pt>
                <c:pt idx="239">
                  <c:v>-11.71</c:v>
                </c:pt>
                <c:pt idx="240">
                  <c:v>-12.36</c:v>
                </c:pt>
                <c:pt idx="241">
                  <c:v>-12.75</c:v>
                </c:pt>
                <c:pt idx="242">
                  <c:v>-14.54</c:v>
                </c:pt>
                <c:pt idx="243">
                  <c:v>-14.17</c:v>
                </c:pt>
                <c:pt idx="244">
                  <c:v>-14.37</c:v>
                </c:pt>
                <c:pt idx="245">
                  <c:v>-13.32</c:v>
                </c:pt>
                <c:pt idx="246">
                  <c:v>-12.51</c:v>
                </c:pt>
                <c:pt idx="247">
                  <c:v>-11.99</c:v>
                </c:pt>
                <c:pt idx="248">
                  <c:v>-11.63</c:v>
                </c:pt>
                <c:pt idx="249">
                  <c:v>-12.58</c:v>
                </c:pt>
                <c:pt idx="250">
                  <c:v>-9.41</c:v>
                </c:pt>
                <c:pt idx="251">
                  <c:v>-7.87</c:v>
                </c:pt>
                <c:pt idx="252">
                  <c:v>-6.58</c:v>
                </c:pt>
                <c:pt idx="253">
                  <c:v>-8.26</c:v>
                </c:pt>
                <c:pt idx="254">
                  <c:v>-7.66</c:v>
                </c:pt>
                <c:pt idx="255">
                  <c:v>-7.12</c:v>
                </c:pt>
                <c:pt idx="256">
                  <c:v>-7.32</c:v>
                </c:pt>
                <c:pt idx="257">
                  <c:v>-7.88</c:v>
                </c:pt>
                <c:pt idx="258">
                  <c:v>-7.79</c:v>
                </c:pt>
                <c:pt idx="259">
                  <c:v>-8.01</c:v>
                </c:pt>
                <c:pt idx="260">
                  <c:v>-7.39</c:v>
                </c:pt>
                <c:pt idx="261">
                  <c:v>-6.67</c:v>
                </c:pt>
                <c:pt idx="262">
                  <c:v>-6.75</c:v>
                </c:pt>
                <c:pt idx="263">
                  <c:v>-6.99</c:v>
                </c:pt>
                <c:pt idx="264">
                  <c:v>-7.29</c:v>
                </c:pt>
                <c:pt idx="265">
                  <c:v>-8.84</c:v>
                </c:pt>
                <c:pt idx="266">
                  <c:v>-8.67</c:v>
                </c:pt>
                <c:pt idx="267">
                  <c:v>-8.7799999999999994</c:v>
                </c:pt>
                <c:pt idx="268">
                  <c:v>-9.1999999999999993</c:v>
                </c:pt>
                <c:pt idx="269">
                  <c:v>-8.8800000000000008</c:v>
                </c:pt>
                <c:pt idx="270">
                  <c:v>-9.3699999999999992</c:v>
                </c:pt>
                <c:pt idx="271">
                  <c:v>-9.1999999999999993</c:v>
                </c:pt>
                <c:pt idx="272">
                  <c:v>-9.15</c:v>
                </c:pt>
                <c:pt idx="273">
                  <c:v>-9.3000000000000007</c:v>
                </c:pt>
                <c:pt idx="274">
                  <c:v>-9.44</c:v>
                </c:pt>
                <c:pt idx="275">
                  <c:v>-10.17</c:v>
                </c:pt>
                <c:pt idx="276">
                  <c:v>-9.5299999999999994</c:v>
                </c:pt>
                <c:pt idx="277">
                  <c:v>-10.06</c:v>
                </c:pt>
                <c:pt idx="278">
                  <c:v>-9.9600000000000009</c:v>
                </c:pt>
                <c:pt idx="279">
                  <c:v>-11</c:v>
                </c:pt>
                <c:pt idx="280">
                  <c:v>-12.51</c:v>
                </c:pt>
                <c:pt idx="281">
                  <c:v>-12.4</c:v>
                </c:pt>
                <c:pt idx="282">
                  <c:v>-11.98</c:v>
                </c:pt>
                <c:pt idx="283">
                  <c:v>-11.65</c:v>
                </c:pt>
                <c:pt idx="284">
                  <c:v>-11.65</c:v>
                </c:pt>
                <c:pt idx="285">
                  <c:v>-11.5</c:v>
                </c:pt>
                <c:pt idx="286">
                  <c:v>-11.52</c:v>
                </c:pt>
                <c:pt idx="287">
                  <c:v>-11.75</c:v>
                </c:pt>
                <c:pt idx="288">
                  <c:v>-10.98</c:v>
                </c:pt>
                <c:pt idx="289">
                  <c:v>-10.98</c:v>
                </c:pt>
                <c:pt idx="290">
                  <c:v>-11.86</c:v>
                </c:pt>
                <c:pt idx="291">
                  <c:v>-11.44</c:v>
                </c:pt>
                <c:pt idx="292">
                  <c:v>-11.12</c:v>
                </c:pt>
                <c:pt idx="293">
                  <c:v>-10.9</c:v>
                </c:pt>
                <c:pt idx="294">
                  <c:v>-10.45</c:v>
                </c:pt>
                <c:pt idx="295">
                  <c:v>-10.72</c:v>
                </c:pt>
                <c:pt idx="296">
                  <c:v>-10.49</c:v>
                </c:pt>
                <c:pt idx="297">
                  <c:v>-9.84</c:v>
                </c:pt>
                <c:pt idx="298">
                  <c:v>-9.1300000000000008</c:v>
                </c:pt>
                <c:pt idx="299">
                  <c:v>-8.92</c:v>
                </c:pt>
                <c:pt idx="300">
                  <c:v>-9.15</c:v>
                </c:pt>
                <c:pt idx="301">
                  <c:v>-9.17</c:v>
                </c:pt>
                <c:pt idx="302">
                  <c:v>-8.67</c:v>
                </c:pt>
                <c:pt idx="303">
                  <c:v>-9.56</c:v>
                </c:pt>
                <c:pt idx="304">
                  <c:v>-10.07</c:v>
                </c:pt>
                <c:pt idx="305">
                  <c:v>-9.52</c:v>
                </c:pt>
                <c:pt idx="306">
                  <c:v>-9.7100000000000009</c:v>
                </c:pt>
                <c:pt idx="307">
                  <c:v>-10.47</c:v>
                </c:pt>
                <c:pt idx="308">
                  <c:v>-10.3</c:v>
                </c:pt>
                <c:pt idx="309">
                  <c:v>-11.29</c:v>
                </c:pt>
                <c:pt idx="310">
                  <c:v>-9.6999999999999993</c:v>
                </c:pt>
                <c:pt idx="311">
                  <c:v>-8.6</c:v>
                </c:pt>
                <c:pt idx="312">
                  <c:v>-8.41</c:v>
                </c:pt>
                <c:pt idx="313">
                  <c:v>-8.1300000000000008</c:v>
                </c:pt>
                <c:pt idx="314">
                  <c:v>-7.88</c:v>
                </c:pt>
                <c:pt idx="315">
                  <c:v>-8.06</c:v>
                </c:pt>
                <c:pt idx="316">
                  <c:v>-8.59</c:v>
                </c:pt>
                <c:pt idx="317">
                  <c:v>-8.34</c:v>
                </c:pt>
                <c:pt idx="318">
                  <c:v>-8.59</c:v>
                </c:pt>
                <c:pt idx="319">
                  <c:v>-8.61</c:v>
                </c:pt>
                <c:pt idx="320">
                  <c:v>-8.52</c:v>
                </c:pt>
                <c:pt idx="321">
                  <c:v>-8.6199999999999992</c:v>
                </c:pt>
                <c:pt idx="322">
                  <c:v>-8.26</c:v>
                </c:pt>
                <c:pt idx="323">
                  <c:v>-8.9499999999999993</c:v>
                </c:pt>
                <c:pt idx="324">
                  <c:v>-9.26</c:v>
                </c:pt>
                <c:pt idx="325">
                  <c:v>-9.59</c:v>
                </c:pt>
                <c:pt idx="326">
                  <c:v>-9.32</c:v>
                </c:pt>
                <c:pt idx="327">
                  <c:v>-9</c:v>
                </c:pt>
                <c:pt idx="328">
                  <c:v>-10.26</c:v>
                </c:pt>
                <c:pt idx="329">
                  <c:v>-11.88</c:v>
                </c:pt>
                <c:pt idx="330">
                  <c:v>-10.26</c:v>
                </c:pt>
                <c:pt idx="331">
                  <c:v>-10.72</c:v>
                </c:pt>
                <c:pt idx="332">
                  <c:v>-11.36</c:v>
                </c:pt>
                <c:pt idx="333">
                  <c:v>-10.78</c:v>
                </c:pt>
                <c:pt idx="334">
                  <c:v>-9.6300000000000008</c:v>
                </c:pt>
                <c:pt idx="335">
                  <c:v>-8.7899999999999991</c:v>
                </c:pt>
                <c:pt idx="336">
                  <c:v>-8.49</c:v>
                </c:pt>
                <c:pt idx="337">
                  <c:v>-7.52</c:v>
                </c:pt>
                <c:pt idx="338">
                  <c:v>-7.06</c:v>
                </c:pt>
                <c:pt idx="339">
                  <c:v>-6.08</c:v>
                </c:pt>
                <c:pt idx="340">
                  <c:v>-5.0599999999999996</c:v>
                </c:pt>
                <c:pt idx="341">
                  <c:v>-4.5999999999999996</c:v>
                </c:pt>
                <c:pt idx="342">
                  <c:v>-4.92</c:v>
                </c:pt>
                <c:pt idx="343">
                  <c:v>-5.78</c:v>
                </c:pt>
                <c:pt idx="344">
                  <c:v>-5.75</c:v>
                </c:pt>
                <c:pt idx="345">
                  <c:v>-5.69</c:v>
                </c:pt>
                <c:pt idx="346">
                  <c:v>-5.25</c:v>
                </c:pt>
                <c:pt idx="347">
                  <c:v>-4.5199999999999996</c:v>
                </c:pt>
                <c:pt idx="348">
                  <c:v>-3.76</c:v>
                </c:pt>
                <c:pt idx="349">
                  <c:v>-2.71</c:v>
                </c:pt>
                <c:pt idx="350">
                  <c:v>-1.88</c:v>
                </c:pt>
                <c:pt idx="351">
                  <c:v>-2.4300000000000002</c:v>
                </c:pt>
                <c:pt idx="352">
                  <c:v>-2.21</c:v>
                </c:pt>
                <c:pt idx="353">
                  <c:v>-1.93</c:v>
                </c:pt>
                <c:pt idx="354">
                  <c:v>-1.94</c:v>
                </c:pt>
                <c:pt idx="355">
                  <c:v>-1.54</c:v>
                </c:pt>
                <c:pt idx="356">
                  <c:v>-1.79</c:v>
                </c:pt>
                <c:pt idx="357">
                  <c:v>-2.15</c:v>
                </c:pt>
                <c:pt idx="358">
                  <c:v>-2.21</c:v>
                </c:pt>
                <c:pt idx="359">
                  <c:v>-2.48</c:v>
                </c:pt>
                <c:pt idx="360">
                  <c:v>-2.48</c:v>
                </c:pt>
                <c:pt idx="361">
                  <c:v>-2.2599999999999998</c:v>
                </c:pt>
                <c:pt idx="362">
                  <c:v>-2.12</c:v>
                </c:pt>
                <c:pt idx="363">
                  <c:v>-1.17</c:v>
                </c:pt>
                <c:pt idx="364">
                  <c:v>-1.08</c:v>
                </c:pt>
                <c:pt idx="365">
                  <c:v>-0.98</c:v>
                </c:pt>
                <c:pt idx="366">
                  <c:v>-1.27</c:v>
                </c:pt>
                <c:pt idx="367">
                  <c:v>-1.02</c:v>
                </c:pt>
                <c:pt idx="368">
                  <c:v>-1.35</c:v>
                </c:pt>
                <c:pt idx="369">
                  <c:v>-1.32</c:v>
                </c:pt>
                <c:pt idx="370">
                  <c:v>-1.47</c:v>
                </c:pt>
                <c:pt idx="371">
                  <c:v>-1.68</c:v>
                </c:pt>
                <c:pt idx="372">
                  <c:v>-1.42</c:v>
                </c:pt>
                <c:pt idx="373">
                  <c:v>-1.02</c:v>
                </c:pt>
                <c:pt idx="374">
                  <c:v>0.02</c:v>
                </c:pt>
                <c:pt idx="375">
                  <c:v>7.0000000000000007E-2</c:v>
                </c:pt>
                <c:pt idx="376">
                  <c:v>0.12</c:v>
                </c:pt>
                <c:pt idx="377">
                  <c:v>0.46</c:v>
                </c:pt>
                <c:pt idx="378">
                  <c:v>0.33</c:v>
                </c:pt>
                <c:pt idx="379">
                  <c:v>0.41</c:v>
                </c:pt>
                <c:pt idx="380">
                  <c:v>0.86</c:v>
                </c:pt>
                <c:pt idx="381">
                  <c:v>0.02</c:v>
                </c:pt>
                <c:pt idx="382">
                  <c:v>-0.44</c:v>
                </c:pt>
                <c:pt idx="383">
                  <c:v>-0.35</c:v>
                </c:pt>
                <c:pt idx="384">
                  <c:v>0.43</c:v>
                </c:pt>
                <c:pt idx="385">
                  <c:v>0.27</c:v>
                </c:pt>
                <c:pt idx="386">
                  <c:v>-0.23</c:v>
                </c:pt>
                <c:pt idx="387">
                  <c:v>-1.07</c:v>
                </c:pt>
                <c:pt idx="388">
                  <c:v>0.03</c:v>
                </c:pt>
                <c:pt idx="389">
                  <c:v>0.27</c:v>
                </c:pt>
                <c:pt idx="390">
                  <c:v>0.47</c:v>
                </c:pt>
                <c:pt idx="391">
                  <c:v>-0.12</c:v>
                </c:pt>
                <c:pt idx="392">
                  <c:v>0.31</c:v>
                </c:pt>
                <c:pt idx="393">
                  <c:v>0.17</c:v>
                </c:pt>
                <c:pt idx="394">
                  <c:v>0.62</c:v>
                </c:pt>
                <c:pt idx="395">
                  <c:v>0.14000000000000001</c:v>
                </c:pt>
                <c:pt idx="396">
                  <c:v>0.81</c:v>
                </c:pt>
                <c:pt idx="397">
                  <c:v>1.83</c:v>
                </c:pt>
                <c:pt idx="398">
                  <c:v>2.2799999999999998</c:v>
                </c:pt>
                <c:pt idx="399">
                  <c:v>2.66</c:v>
                </c:pt>
                <c:pt idx="400">
                  <c:v>3.1</c:v>
                </c:pt>
                <c:pt idx="401">
                  <c:v>3.02</c:v>
                </c:pt>
                <c:pt idx="402">
                  <c:v>3.52</c:v>
                </c:pt>
                <c:pt idx="403">
                  <c:v>4.04</c:v>
                </c:pt>
                <c:pt idx="404">
                  <c:v>4.68</c:v>
                </c:pt>
                <c:pt idx="405">
                  <c:v>5.1100000000000003</c:v>
                </c:pt>
                <c:pt idx="406">
                  <c:v>5.15</c:v>
                </c:pt>
                <c:pt idx="407">
                  <c:v>4.82</c:v>
                </c:pt>
                <c:pt idx="408">
                  <c:v>5.79</c:v>
                </c:pt>
                <c:pt idx="409">
                  <c:v>4.3499999999999996</c:v>
                </c:pt>
                <c:pt idx="410">
                  <c:v>4.83</c:v>
                </c:pt>
                <c:pt idx="411">
                  <c:v>4.6900000000000004</c:v>
                </c:pt>
                <c:pt idx="412">
                  <c:v>3.71</c:v>
                </c:pt>
                <c:pt idx="413">
                  <c:v>4.1399999999999997</c:v>
                </c:pt>
                <c:pt idx="414">
                  <c:v>4.58</c:v>
                </c:pt>
                <c:pt idx="415">
                  <c:v>4.4000000000000004</c:v>
                </c:pt>
                <c:pt idx="416">
                  <c:v>3.84</c:v>
                </c:pt>
                <c:pt idx="417">
                  <c:v>3.84</c:v>
                </c:pt>
                <c:pt idx="418">
                  <c:v>4.22</c:v>
                </c:pt>
                <c:pt idx="419">
                  <c:v>5.04</c:v>
                </c:pt>
                <c:pt idx="420">
                  <c:v>5.37</c:v>
                </c:pt>
                <c:pt idx="421">
                  <c:v>5.52</c:v>
                </c:pt>
                <c:pt idx="422">
                  <c:v>6.18</c:v>
                </c:pt>
                <c:pt idx="423">
                  <c:v>5.08</c:v>
                </c:pt>
                <c:pt idx="424">
                  <c:v>5.88</c:v>
                </c:pt>
                <c:pt idx="425">
                  <c:v>6.1</c:v>
                </c:pt>
                <c:pt idx="426">
                  <c:v>5.79</c:v>
                </c:pt>
                <c:pt idx="427">
                  <c:v>5.65</c:v>
                </c:pt>
                <c:pt idx="428">
                  <c:v>5.75</c:v>
                </c:pt>
                <c:pt idx="429">
                  <c:v>5.93</c:v>
                </c:pt>
                <c:pt idx="430">
                  <c:v>3.84</c:v>
                </c:pt>
                <c:pt idx="431">
                  <c:v>4.6100000000000003</c:v>
                </c:pt>
                <c:pt idx="432">
                  <c:v>4.68</c:v>
                </c:pt>
                <c:pt idx="433">
                  <c:v>4.62</c:v>
                </c:pt>
                <c:pt idx="434">
                  <c:v>5.59</c:v>
                </c:pt>
                <c:pt idx="435">
                  <c:v>5.35</c:v>
                </c:pt>
                <c:pt idx="436">
                  <c:v>5.7</c:v>
                </c:pt>
                <c:pt idx="437">
                  <c:v>5.89</c:v>
                </c:pt>
                <c:pt idx="438">
                  <c:v>5.54</c:v>
                </c:pt>
                <c:pt idx="439">
                  <c:v>5.04</c:v>
                </c:pt>
                <c:pt idx="440">
                  <c:v>5.37</c:v>
                </c:pt>
                <c:pt idx="441">
                  <c:v>5.84</c:v>
                </c:pt>
                <c:pt idx="442">
                  <c:v>5.88</c:v>
                </c:pt>
                <c:pt idx="443">
                  <c:v>6.26</c:v>
                </c:pt>
                <c:pt idx="444">
                  <c:v>6.67</c:v>
                </c:pt>
                <c:pt idx="445">
                  <c:v>6.31</c:v>
                </c:pt>
                <c:pt idx="446">
                  <c:v>6.67</c:v>
                </c:pt>
                <c:pt idx="447">
                  <c:v>7.15</c:v>
                </c:pt>
                <c:pt idx="448">
                  <c:v>7.41</c:v>
                </c:pt>
                <c:pt idx="449">
                  <c:v>7.39</c:v>
                </c:pt>
                <c:pt idx="450">
                  <c:v>7.31</c:v>
                </c:pt>
                <c:pt idx="451">
                  <c:v>7.65</c:v>
                </c:pt>
                <c:pt idx="452">
                  <c:v>7.19</c:v>
                </c:pt>
                <c:pt idx="453">
                  <c:v>7.07</c:v>
                </c:pt>
                <c:pt idx="454">
                  <c:v>7.4</c:v>
                </c:pt>
                <c:pt idx="455">
                  <c:v>7.43</c:v>
                </c:pt>
                <c:pt idx="456">
                  <c:v>6.88</c:v>
                </c:pt>
                <c:pt idx="457">
                  <c:v>6.58</c:v>
                </c:pt>
                <c:pt idx="458">
                  <c:v>5.97</c:v>
                </c:pt>
                <c:pt idx="459">
                  <c:v>6.53</c:v>
                </c:pt>
                <c:pt idx="460">
                  <c:v>6.78</c:v>
                </c:pt>
                <c:pt idx="461">
                  <c:v>6.76</c:v>
                </c:pt>
                <c:pt idx="462">
                  <c:v>7.57</c:v>
                </c:pt>
                <c:pt idx="463">
                  <c:v>8.15</c:v>
                </c:pt>
                <c:pt idx="464">
                  <c:v>7.77</c:v>
                </c:pt>
                <c:pt idx="465">
                  <c:v>7.86</c:v>
                </c:pt>
                <c:pt idx="466">
                  <c:v>7.29</c:v>
                </c:pt>
                <c:pt idx="467">
                  <c:v>8.5</c:v>
                </c:pt>
                <c:pt idx="468">
                  <c:v>7.41</c:v>
                </c:pt>
                <c:pt idx="469">
                  <c:v>6.19</c:v>
                </c:pt>
                <c:pt idx="470">
                  <c:v>7.16</c:v>
                </c:pt>
                <c:pt idx="471">
                  <c:v>6.84</c:v>
                </c:pt>
                <c:pt idx="472">
                  <c:v>7.12</c:v>
                </c:pt>
                <c:pt idx="473">
                  <c:v>7.19</c:v>
                </c:pt>
                <c:pt idx="474">
                  <c:v>6.69</c:v>
                </c:pt>
                <c:pt idx="475">
                  <c:v>5.91</c:v>
                </c:pt>
                <c:pt idx="476">
                  <c:v>6.5</c:v>
                </c:pt>
                <c:pt idx="477">
                  <c:v>6.86</c:v>
                </c:pt>
                <c:pt idx="478">
                  <c:v>6.84</c:v>
                </c:pt>
                <c:pt idx="479">
                  <c:v>6.24</c:v>
                </c:pt>
                <c:pt idx="480">
                  <c:v>6.2</c:v>
                </c:pt>
                <c:pt idx="481">
                  <c:v>4.84</c:v>
                </c:pt>
                <c:pt idx="482">
                  <c:v>5.68</c:v>
                </c:pt>
                <c:pt idx="483">
                  <c:v>5.47</c:v>
                </c:pt>
                <c:pt idx="484">
                  <c:v>5.88</c:v>
                </c:pt>
                <c:pt idx="485">
                  <c:v>6.49</c:v>
                </c:pt>
                <c:pt idx="486">
                  <c:v>6.59</c:v>
                </c:pt>
                <c:pt idx="487">
                  <c:v>6.97</c:v>
                </c:pt>
                <c:pt idx="488">
                  <c:v>7.22</c:v>
                </c:pt>
                <c:pt idx="489">
                  <c:v>6.9</c:v>
                </c:pt>
                <c:pt idx="490">
                  <c:v>6.64</c:v>
                </c:pt>
                <c:pt idx="491">
                  <c:v>7.47</c:v>
                </c:pt>
                <c:pt idx="492">
                  <c:v>7.71</c:v>
                </c:pt>
                <c:pt idx="493">
                  <c:v>8.77</c:v>
                </c:pt>
                <c:pt idx="494">
                  <c:v>8.91</c:v>
                </c:pt>
                <c:pt idx="495">
                  <c:v>8.44</c:v>
                </c:pt>
                <c:pt idx="496">
                  <c:v>8.94</c:v>
                </c:pt>
                <c:pt idx="497">
                  <c:v>9.86</c:v>
                </c:pt>
                <c:pt idx="498">
                  <c:v>9.41</c:v>
                </c:pt>
                <c:pt idx="499">
                  <c:v>10.02</c:v>
                </c:pt>
                <c:pt idx="500">
                  <c:v>10.28</c:v>
                </c:pt>
                <c:pt idx="501">
                  <c:v>10.81</c:v>
                </c:pt>
                <c:pt idx="502">
                  <c:v>10.33</c:v>
                </c:pt>
                <c:pt idx="503">
                  <c:v>10.210000000000001</c:v>
                </c:pt>
                <c:pt idx="504">
                  <c:v>10.050000000000001</c:v>
                </c:pt>
                <c:pt idx="505">
                  <c:v>10.9</c:v>
                </c:pt>
                <c:pt idx="506">
                  <c:v>10.84</c:v>
                </c:pt>
                <c:pt idx="507">
                  <c:v>10.39</c:v>
                </c:pt>
                <c:pt idx="508">
                  <c:v>10.55</c:v>
                </c:pt>
                <c:pt idx="509">
                  <c:v>11.03</c:v>
                </c:pt>
                <c:pt idx="510">
                  <c:v>10.47</c:v>
                </c:pt>
                <c:pt idx="511">
                  <c:v>10.47</c:v>
                </c:pt>
                <c:pt idx="512">
                  <c:v>10.79</c:v>
                </c:pt>
                <c:pt idx="513">
                  <c:v>10.56</c:v>
                </c:pt>
                <c:pt idx="514">
                  <c:v>10.57</c:v>
                </c:pt>
                <c:pt idx="515">
                  <c:v>11.03</c:v>
                </c:pt>
                <c:pt idx="516">
                  <c:v>10.91</c:v>
                </c:pt>
                <c:pt idx="517">
                  <c:v>11.19</c:v>
                </c:pt>
                <c:pt idx="518">
                  <c:v>10.44</c:v>
                </c:pt>
                <c:pt idx="519">
                  <c:v>10.44</c:v>
                </c:pt>
                <c:pt idx="520">
                  <c:v>10.99</c:v>
                </c:pt>
                <c:pt idx="521">
                  <c:v>11.72</c:v>
                </c:pt>
                <c:pt idx="522">
                  <c:v>13.18</c:v>
                </c:pt>
                <c:pt idx="523">
                  <c:v>13.19</c:v>
                </c:pt>
                <c:pt idx="524">
                  <c:v>9.9700000000000006</c:v>
                </c:pt>
                <c:pt idx="525">
                  <c:v>10.71</c:v>
                </c:pt>
                <c:pt idx="526">
                  <c:v>8.59</c:v>
                </c:pt>
                <c:pt idx="527">
                  <c:v>7.78</c:v>
                </c:pt>
                <c:pt idx="528">
                  <c:v>9.1999999999999993</c:v>
                </c:pt>
                <c:pt idx="529">
                  <c:v>9.59</c:v>
                </c:pt>
                <c:pt idx="530">
                  <c:v>11.03</c:v>
                </c:pt>
                <c:pt idx="531">
                  <c:v>12.82</c:v>
                </c:pt>
                <c:pt idx="532">
                  <c:v>11.91</c:v>
                </c:pt>
                <c:pt idx="533">
                  <c:v>11.48</c:v>
                </c:pt>
                <c:pt idx="534">
                  <c:v>11.68</c:v>
                </c:pt>
                <c:pt idx="535">
                  <c:v>12.15</c:v>
                </c:pt>
                <c:pt idx="536">
                  <c:v>11.77</c:v>
                </c:pt>
                <c:pt idx="537">
                  <c:v>12.45</c:v>
                </c:pt>
                <c:pt idx="538">
                  <c:v>12.85</c:v>
                </c:pt>
                <c:pt idx="539">
                  <c:v>12.72</c:v>
                </c:pt>
                <c:pt idx="540">
                  <c:v>12.1</c:v>
                </c:pt>
                <c:pt idx="541">
                  <c:v>13</c:v>
                </c:pt>
                <c:pt idx="542">
                  <c:v>13.33</c:v>
                </c:pt>
                <c:pt idx="543">
                  <c:v>13.81</c:v>
                </c:pt>
                <c:pt idx="544">
                  <c:v>13.65</c:v>
                </c:pt>
                <c:pt idx="545">
                  <c:v>14.75</c:v>
                </c:pt>
                <c:pt idx="546">
                  <c:v>15.47</c:v>
                </c:pt>
                <c:pt idx="547">
                  <c:v>15.44</c:v>
                </c:pt>
                <c:pt idx="548">
                  <c:v>15.66</c:v>
                </c:pt>
                <c:pt idx="549">
                  <c:v>15.76</c:v>
                </c:pt>
                <c:pt idx="550">
                  <c:v>15.99</c:v>
                </c:pt>
                <c:pt idx="551">
                  <c:v>15.82</c:v>
                </c:pt>
                <c:pt idx="552">
                  <c:v>14.02</c:v>
                </c:pt>
                <c:pt idx="553">
                  <c:v>14.12</c:v>
                </c:pt>
                <c:pt idx="554">
                  <c:v>14.14</c:v>
                </c:pt>
                <c:pt idx="555">
                  <c:v>13.8</c:v>
                </c:pt>
                <c:pt idx="556">
                  <c:v>13.55</c:v>
                </c:pt>
                <c:pt idx="557">
                  <c:v>13.53</c:v>
                </c:pt>
                <c:pt idx="558">
                  <c:v>13.42</c:v>
                </c:pt>
                <c:pt idx="559">
                  <c:v>13.2</c:v>
                </c:pt>
                <c:pt idx="560">
                  <c:v>13.39</c:v>
                </c:pt>
                <c:pt idx="561">
                  <c:v>13.39</c:v>
                </c:pt>
                <c:pt idx="562">
                  <c:v>12.87</c:v>
                </c:pt>
                <c:pt idx="563">
                  <c:v>12.65</c:v>
                </c:pt>
                <c:pt idx="564">
                  <c:v>11.82</c:v>
                </c:pt>
                <c:pt idx="565">
                  <c:v>11.01</c:v>
                </c:pt>
                <c:pt idx="566">
                  <c:v>11.8</c:v>
                </c:pt>
                <c:pt idx="567">
                  <c:v>11.45</c:v>
                </c:pt>
                <c:pt idx="568">
                  <c:v>12.05</c:v>
                </c:pt>
                <c:pt idx="569">
                  <c:v>13.24</c:v>
                </c:pt>
                <c:pt idx="570">
                  <c:v>14.04</c:v>
                </c:pt>
                <c:pt idx="571">
                  <c:v>13.9</c:v>
                </c:pt>
                <c:pt idx="572">
                  <c:v>14.56</c:v>
                </c:pt>
                <c:pt idx="573">
                  <c:v>12.71</c:v>
                </c:pt>
                <c:pt idx="574">
                  <c:v>11.69</c:v>
                </c:pt>
                <c:pt idx="575">
                  <c:v>11.99</c:v>
                </c:pt>
                <c:pt idx="576">
                  <c:v>12.17</c:v>
                </c:pt>
                <c:pt idx="577">
                  <c:v>13.35</c:v>
                </c:pt>
                <c:pt idx="578">
                  <c:v>11.8</c:v>
                </c:pt>
                <c:pt idx="579">
                  <c:v>12.06</c:v>
                </c:pt>
                <c:pt idx="580">
                  <c:v>11.09</c:v>
                </c:pt>
                <c:pt idx="581">
                  <c:v>10.69</c:v>
                </c:pt>
                <c:pt idx="582">
                  <c:v>11.03</c:v>
                </c:pt>
                <c:pt idx="583">
                  <c:v>10.75</c:v>
                </c:pt>
                <c:pt idx="584">
                  <c:v>10.44</c:v>
                </c:pt>
                <c:pt idx="585">
                  <c:v>10.27</c:v>
                </c:pt>
                <c:pt idx="586">
                  <c:v>9.84</c:v>
                </c:pt>
                <c:pt idx="587">
                  <c:v>9.4600000000000009</c:v>
                </c:pt>
                <c:pt idx="588">
                  <c:v>10.76</c:v>
                </c:pt>
                <c:pt idx="589">
                  <c:v>12.55</c:v>
                </c:pt>
                <c:pt idx="590">
                  <c:v>13.42</c:v>
                </c:pt>
                <c:pt idx="591">
                  <c:v>14</c:v>
                </c:pt>
                <c:pt idx="592">
                  <c:v>16.04</c:v>
                </c:pt>
                <c:pt idx="593">
                  <c:v>16.61</c:v>
                </c:pt>
                <c:pt idx="594">
                  <c:v>18.579999999999998</c:v>
                </c:pt>
                <c:pt idx="595">
                  <c:v>17.940000000000001</c:v>
                </c:pt>
                <c:pt idx="596">
                  <c:v>16.89</c:v>
                </c:pt>
                <c:pt idx="597">
                  <c:v>16.41</c:v>
                </c:pt>
                <c:pt idx="598">
                  <c:v>17.12</c:v>
                </c:pt>
                <c:pt idx="599">
                  <c:v>16.809999999999999</c:v>
                </c:pt>
                <c:pt idx="600">
                  <c:v>15.96</c:v>
                </c:pt>
                <c:pt idx="601">
                  <c:v>16.32</c:v>
                </c:pt>
                <c:pt idx="602">
                  <c:v>16.53</c:v>
                </c:pt>
                <c:pt idx="603">
                  <c:v>17.47</c:v>
                </c:pt>
                <c:pt idx="604">
                  <c:v>18.079999999999998</c:v>
                </c:pt>
                <c:pt idx="605">
                  <c:v>18.87</c:v>
                </c:pt>
                <c:pt idx="606">
                  <c:v>18.7</c:v>
                </c:pt>
                <c:pt idx="607">
                  <c:v>18.71</c:v>
                </c:pt>
                <c:pt idx="608">
                  <c:v>19.79</c:v>
                </c:pt>
                <c:pt idx="609">
                  <c:v>21.86</c:v>
                </c:pt>
                <c:pt idx="610">
                  <c:v>21.86</c:v>
                </c:pt>
                <c:pt idx="611">
                  <c:v>21.95</c:v>
                </c:pt>
                <c:pt idx="612">
                  <c:v>22.29</c:v>
                </c:pt>
                <c:pt idx="613">
                  <c:v>22.31</c:v>
                </c:pt>
                <c:pt idx="614">
                  <c:v>24.56</c:v>
                </c:pt>
                <c:pt idx="615">
                  <c:v>24.75</c:v>
                </c:pt>
                <c:pt idx="616">
                  <c:v>25.85</c:v>
                </c:pt>
                <c:pt idx="617">
                  <c:v>26.85</c:v>
                </c:pt>
                <c:pt idx="618">
                  <c:v>26.79</c:v>
                </c:pt>
                <c:pt idx="619">
                  <c:v>28.1</c:v>
                </c:pt>
                <c:pt idx="620">
                  <c:v>26.77</c:v>
                </c:pt>
                <c:pt idx="621">
                  <c:v>26.85</c:v>
                </c:pt>
                <c:pt idx="622">
                  <c:v>27.12</c:v>
                </c:pt>
                <c:pt idx="623">
                  <c:v>28.05</c:v>
                </c:pt>
                <c:pt idx="624">
                  <c:v>28.05</c:v>
                </c:pt>
                <c:pt idx="625">
                  <c:v>27.5</c:v>
                </c:pt>
                <c:pt idx="626">
                  <c:v>27.9</c:v>
                </c:pt>
                <c:pt idx="627">
                  <c:v>28.92</c:v>
                </c:pt>
                <c:pt idx="628">
                  <c:v>28.41</c:v>
                </c:pt>
                <c:pt idx="629">
                  <c:v>26.98</c:v>
                </c:pt>
                <c:pt idx="630">
                  <c:v>25.88</c:v>
                </c:pt>
                <c:pt idx="631">
                  <c:v>25.89</c:v>
                </c:pt>
                <c:pt idx="632">
                  <c:v>27.22</c:v>
                </c:pt>
                <c:pt idx="633">
                  <c:v>28.54</c:v>
                </c:pt>
                <c:pt idx="634">
                  <c:v>25.45</c:v>
                </c:pt>
                <c:pt idx="635">
                  <c:v>24.34</c:v>
                </c:pt>
                <c:pt idx="636">
                  <c:v>25.64</c:v>
                </c:pt>
                <c:pt idx="637">
                  <c:v>27.38</c:v>
                </c:pt>
                <c:pt idx="638">
                  <c:v>26.08</c:v>
                </c:pt>
                <c:pt idx="639">
                  <c:v>25.8</c:v>
                </c:pt>
                <c:pt idx="640">
                  <c:v>22.8</c:v>
                </c:pt>
                <c:pt idx="641">
                  <c:v>21.39</c:v>
                </c:pt>
                <c:pt idx="642">
                  <c:v>22.09</c:v>
                </c:pt>
                <c:pt idx="643">
                  <c:v>22.93</c:v>
                </c:pt>
                <c:pt idx="644">
                  <c:v>25.49</c:v>
                </c:pt>
                <c:pt idx="645">
                  <c:v>26.19</c:v>
                </c:pt>
                <c:pt idx="646">
                  <c:v>26.23</c:v>
                </c:pt>
                <c:pt idx="647">
                  <c:v>25.69</c:v>
                </c:pt>
                <c:pt idx="648">
                  <c:v>24.54</c:v>
                </c:pt>
                <c:pt idx="649">
                  <c:v>26</c:v>
                </c:pt>
                <c:pt idx="650">
                  <c:v>26.28</c:v>
                </c:pt>
                <c:pt idx="651">
                  <c:v>26.74</c:v>
                </c:pt>
                <c:pt idx="652">
                  <c:v>27.88</c:v>
                </c:pt>
                <c:pt idx="653">
                  <c:v>27.31</c:v>
                </c:pt>
                <c:pt idx="654">
                  <c:v>28.73</c:v>
                </c:pt>
                <c:pt idx="655">
                  <c:v>28.21</c:v>
                </c:pt>
                <c:pt idx="656">
                  <c:v>27.64</c:v>
                </c:pt>
                <c:pt idx="657">
                  <c:v>27.9</c:v>
                </c:pt>
                <c:pt idx="658">
                  <c:v>28.52</c:v>
                </c:pt>
                <c:pt idx="659">
                  <c:v>28.17</c:v>
                </c:pt>
                <c:pt idx="660">
                  <c:v>28.54</c:v>
                </c:pt>
                <c:pt idx="661">
                  <c:v>29.36</c:v>
                </c:pt>
                <c:pt idx="662">
                  <c:v>28.03</c:v>
                </c:pt>
                <c:pt idx="663">
                  <c:v>26.52</c:v>
                </c:pt>
                <c:pt idx="664">
                  <c:v>25.58</c:v>
                </c:pt>
                <c:pt idx="665">
                  <c:v>22.19</c:v>
                </c:pt>
                <c:pt idx="666">
                  <c:v>19.399999999999999</c:v>
                </c:pt>
                <c:pt idx="667">
                  <c:v>19.8</c:v>
                </c:pt>
                <c:pt idx="668">
                  <c:v>16.350000000000001</c:v>
                </c:pt>
                <c:pt idx="669">
                  <c:v>15.84</c:v>
                </c:pt>
                <c:pt idx="670">
                  <c:v>15.58</c:v>
                </c:pt>
                <c:pt idx="671">
                  <c:v>17.18</c:v>
                </c:pt>
                <c:pt idx="672">
                  <c:v>16.940000000000001</c:v>
                </c:pt>
                <c:pt idx="673">
                  <c:v>18.39</c:v>
                </c:pt>
                <c:pt idx="674">
                  <c:v>20.38</c:v>
                </c:pt>
                <c:pt idx="675">
                  <c:v>20.72</c:v>
                </c:pt>
                <c:pt idx="676">
                  <c:v>21.65</c:v>
                </c:pt>
                <c:pt idx="677">
                  <c:v>21.39</c:v>
                </c:pt>
                <c:pt idx="678">
                  <c:v>21.23</c:v>
                </c:pt>
                <c:pt idx="679">
                  <c:v>23.19</c:v>
                </c:pt>
                <c:pt idx="680">
                  <c:v>23.18</c:v>
                </c:pt>
                <c:pt idx="681">
                  <c:v>22.34</c:v>
                </c:pt>
                <c:pt idx="682">
                  <c:v>22.82</c:v>
                </c:pt>
                <c:pt idx="683">
                  <c:v>24.36</c:v>
                </c:pt>
                <c:pt idx="684">
                  <c:v>24.44</c:v>
                </c:pt>
                <c:pt idx="685">
                  <c:v>25.12</c:v>
                </c:pt>
                <c:pt idx="686">
                  <c:v>24.93</c:v>
                </c:pt>
                <c:pt idx="687">
                  <c:v>24.33</c:v>
                </c:pt>
                <c:pt idx="688">
                  <c:v>24.85</c:v>
                </c:pt>
                <c:pt idx="689">
                  <c:v>25.19</c:v>
                </c:pt>
                <c:pt idx="690">
                  <c:v>24.21</c:v>
                </c:pt>
                <c:pt idx="691">
                  <c:v>25.45</c:v>
                </c:pt>
                <c:pt idx="692">
                  <c:v>24.84</c:v>
                </c:pt>
                <c:pt idx="693">
                  <c:v>25.2</c:v>
                </c:pt>
                <c:pt idx="694">
                  <c:v>25.81</c:v>
                </c:pt>
                <c:pt idx="695">
                  <c:v>27.11</c:v>
                </c:pt>
                <c:pt idx="696">
                  <c:v>28.8</c:v>
                </c:pt>
                <c:pt idx="697">
                  <c:v>28.99</c:v>
                </c:pt>
                <c:pt idx="698">
                  <c:v>30.77</c:v>
                </c:pt>
                <c:pt idx="699">
                  <c:v>31.31</c:v>
                </c:pt>
                <c:pt idx="700">
                  <c:v>30.17</c:v>
                </c:pt>
                <c:pt idx="701">
                  <c:v>30.19</c:v>
                </c:pt>
                <c:pt idx="702">
                  <c:v>30.95</c:v>
                </c:pt>
                <c:pt idx="703">
                  <c:v>29.6</c:v>
                </c:pt>
                <c:pt idx="704">
                  <c:v>29.22</c:v>
                </c:pt>
                <c:pt idx="705">
                  <c:v>29.63</c:v>
                </c:pt>
                <c:pt idx="706">
                  <c:v>30.38</c:v>
                </c:pt>
                <c:pt idx="707">
                  <c:v>29.81</c:v>
                </c:pt>
                <c:pt idx="708">
                  <c:v>30.41</c:v>
                </c:pt>
                <c:pt idx="709">
                  <c:v>32.299999999999997</c:v>
                </c:pt>
                <c:pt idx="710">
                  <c:v>33.11</c:v>
                </c:pt>
                <c:pt idx="711">
                  <c:v>33.79</c:v>
                </c:pt>
                <c:pt idx="712">
                  <c:v>33.340000000000003</c:v>
                </c:pt>
                <c:pt idx="713">
                  <c:v>34.119999999999997</c:v>
                </c:pt>
                <c:pt idx="714">
                  <c:v>34.4</c:v>
                </c:pt>
                <c:pt idx="715">
                  <c:v>33.99</c:v>
                </c:pt>
                <c:pt idx="716">
                  <c:v>33.61</c:v>
                </c:pt>
                <c:pt idx="717">
                  <c:v>33.93</c:v>
                </c:pt>
                <c:pt idx="718">
                  <c:v>34.75</c:v>
                </c:pt>
                <c:pt idx="719">
                  <c:v>32.51</c:v>
                </c:pt>
                <c:pt idx="720">
                  <c:v>32.58</c:v>
                </c:pt>
                <c:pt idx="721">
                  <c:v>30.28</c:v>
                </c:pt>
                <c:pt idx="722">
                  <c:v>28.28</c:v>
                </c:pt>
                <c:pt idx="723">
                  <c:v>29.25</c:v>
                </c:pt>
                <c:pt idx="724">
                  <c:v>28.32</c:v>
                </c:pt>
                <c:pt idx="725">
                  <c:v>29.19</c:v>
                </c:pt>
                <c:pt idx="726">
                  <c:v>28.6</c:v>
                </c:pt>
                <c:pt idx="727">
                  <c:v>29.45</c:v>
                </c:pt>
                <c:pt idx="728">
                  <c:v>29.57</c:v>
                </c:pt>
                <c:pt idx="729">
                  <c:v>29.93</c:v>
                </c:pt>
                <c:pt idx="730">
                  <c:v>30.9</c:v>
                </c:pt>
                <c:pt idx="731">
                  <c:v>29.11</c:v>
                </c:pt>
                <c:pt idx="732">
                  <c:v>29.54</c:v>
                </c:pt>
                <c:pt idx="733">
                  <c:v>27.57</c:v>
                </c:pt>
                <c:pt idx="734">
                  <c:v>25.66</c:v>
                </c:pt>
                <c:pt idx="735">
                  <c:v>26.66</c:v>
                </c:pt>
                <c:pt idx="736">
                  <c:v>25.04</c:v>
                </c:pt>
                <c:pt idx="737">
                  <c:v>24.99</c:v>
                </c:pt>
                <c:pt idx="738">
                  <c:v>24.42</c:v>
                </c:pt>
                <c:pt idx="739">
                  <c:v>21.73</c:v>
                </c:pt>
                <c:pt idx="740">
                  <c:v>19.55</c:v>
                </c:pt>
                <c:pt idx="741">
                  <c:v>18.73</c:v>
                </c:pt>
                <c:pt idx="742">
                  <c:v>20.170000000000002</c:v>
                </c:pt>
                <c:pt idx="743">
                  <c:v>16.239999999999998</c:v>
                </c:pt>
                <c:pt idx="744">
                  <c:v>15.23</c:v>
                </c:pt>
                <c:pt idx="745">
                  <c:v>17.63</c:v>
                </c:pt>
                <c:pt idx="746">
                  <c:v>18.7</c:v>
                </c:pt>
                <c:pt idx="747">
                  <c:v>18.05</c:v>
                </c:pt>
                <c:pt idx="748">
                  <c:v>15.18</c:v>
                </c:pt>
                <c:pt idx="749">
                  <c:v>14.37</c:v>
                </c:pt>
                <c:pt idx="750">
                  <c:v>14.03</c:v>
                </c:pt>
                <c:pt idx="751">
                  <c:v>13.38</c:v>
                </c:pt>
                <c:pt idx="752">
                  <c:v>11.58</c:v>
                </c:pt>
                <c:pt idx="753">
                  <c:v>13.72</c:v>
                </c:pt>
                <c:pt idx="754">
                  <c:v>12.03</c:v>
                </c:pt>
                <c:pt idx="755">
                  <c:v>14.08</c:v>
                </c:pt>
                <c:pt idx="756">
                  <c:v>14.86</c:v>
                </c:pt>
                <c:pt idx="757">
                  <c:v>14.76</c:v>
                </c:pt>
                <c:pt idx="758">
                  <c:v>13.18</c:v>
                </c:pt>
                <c:pt idx="759">
                  <c:v>13.92</c:v>
                </c:pt>
                <c:pt idx="760">
                  <c:v>13.26</c:v>
                </c:pt>
                <c:pt idx="761">
                  <c:v>14.89</c:v>
                </c:pt>
                <c:pt idx="762">
                  <c:v>15.26</c:v>
                </c:pt>
                <c:pt idx="763">
                  <c:v>17.100000000000001</c:v>
                </c:pt>
                <c:pt idx="764">
                  <c:v>18.68</c:v>
                </c:pt>
                <c:pt idx="765">
                  <c:v>19.420000000000002</c:v>
                </c:pt>
                <c:pt idx="766">
                  <c:v>20.09</c:v>
                </c:pt>
                <c:pt idx="767">
                  <c:v>19.47</c:v>
                </c:pt>
                <c:pt idx="768">
                  <c:v>19.91</c:v>
                </c:pt>
                <c:pt idx="769">
                  <c:v>20.12</c:v>
                </c:pt>
                <c:pt idx="770">
                  <c:v>18.559999999999999</c:v>
                </c:pt>
                <c:pt idx="771">
                  <c:v>18.940000000000001</c:v>
                </c:pt>
                <c:pt idx="772">
                  <c:v>17.98</c:v>
                </c:pt>
                <c:pt idx="773">
                  <c:v>21.37</c:v>
                </c:pt>
                <c:pt idx="774">
                  <c:v>20.7</c:v>
                </c:pt>
                <c:pt idx="775">
                  <c:v>19.84</c:v>
                </c:pt>
                <c:pt idx="776">
                  <c:v>20.440000000000001</c:v>
                </c:pt>
                <c:pt idx="777">
                  <c:v>20.239999999999998</c:v>
                </c:pt>
                <c:pt idx="778">
                  <c:v>19.55</c:v>
                </c:pt>
                <c:pt idx="779">
                  <c:v>20.7</c:v>
                </c:pt>
                <c:pt idx="780">
                  <c:v>22.2</c:v>
                </c:pt>
                <c:pt idx="781">
                  <c:v>23</c:v>
                </c:pt>
                <c:pt idx="782">
                  <c:v>23.02</c:v>
                </c:pt>
                <c:pt idx="783">
                  <c:v>23.2</c:v>
                </c:pt>
                <c:pt idx="784">
                  <c:v>23.6</c:v>
                </c:pt>
                <c:pt idx="785">
                  <c:v>22.12</c:v>
                </c:pt>
                <c:pt idx="786">
                  <c:v>22.1</c:v>
                </c:pt>
                <c:pt idx="787">
                  <c:v>24.26</c:v>
                </c:pt>
                <c:pt idx="788">
                  <c:v>23.17</c:v>
                </c:pt>
                <c:pt idx="789">
                  <c:v>22.38</c:v>
                </c:pt>
                <c:pt idx="790">
                  <c:v>20.82</c:v>
                </c:pt>
                <c:pt idx="791">
                  <c:v>20.190000000000001</c:v>
                </c:pt>
                <c:pt idx="792">
                  <c:v>19.940000000000001</c:v>
                </c:pt>
                <c:pt idx="793">
                  <c:v>19.48</c:v>
                </c:pt>
                <c:pt idx="794">
                  <c:v>19.66</c:v>
                </c:pt>
                <c:pt idx="795">
                  <c:v>20.64</c:v>
                </c:pt>
                <c:pt idx="796">
                  <c:v>21.25</c:v>
                </c:pt>
                <c:pt idx="797">
                  <c:v>20.53</c:v>
                </c:pt>
                <c:pt idx="798">
                  <c:v>18.68</c:v>
                </c:pt>
                <c:pt idx="799">
                  <c:v>16.59</c:v>
                </c:pt>
                <c:pt idx="800">
                  <c:v>15.92</c:v>
                </c:pt>
                <c:pt idx="801">
                  <c:v>15.56</c:v>
                </c:pt>
                <c:pt idx="802">
                  <c:v>17.190000000000001</c:v>
                </c:pt>
                <c:pt idx="803">
                  <c:v>16.579999999999998</c:v>
                </c:pt>
                <c:pt idx="804">
                  <c:v>17.649999999999999</c:v>
                </c:pt>
                <c:pt idx="805">
                  <c:v>17.649999999999999</c:v>
                </c:pt>
                <c:pt idx="806">
                  <c:v>17.59</c:v>
                </c:pt>
                <c:pt idx="807">
                  <c:v>16.82</c:v>
                </c:pt>
                <c:pt idx="808">
                  <c:v>17.309999999999999</c:v>
                </c:pt>
                <c:pt idx="809">
                  <c:v>16.190000000000001</c:v>
                </c:pt>
                <c:pt idx="810">
                  <c:v>16.47</c:v>
                </c:pt>
                <c:pt idx="811">
                  <c:v>17.25</c:v>
                </c:pt>
                <c:pt idx="812">
                  <c:v>18.8</c:v>
                </c:pt>
                <c:pt idx="813">
                  <c:v>18.36</c:v>
                </c:pt>
                <c:pt idx="814">
                  <c:v>20.010000000000002</c:v>
                </c:pt>
                <c:pt idx="815">
                  <c:v>19.72</c:v>
                </c:pt>
                <c:pt idx="816">
                  <c:v>19.89</c:v>
                </c:pt>
                <c:pt idx="817">
                  <c:v>20.94</c:v>
                </c:pt>
                <c:pt idx="818">
                  <c:v>21.25</c:v>
                </c:pt>
                <c:pt idx="819">
                  <c:v>21.26</c:v>
                </c:pt>
                <c:pt idx="820">
                  <c:v>21.36</c:v>
                </c:pt>
                <c:pt idx="821">
                  <c:v>21.59</c:v>
                </c:pt>
                <c:pt idx="822">
                  <c:v>19.96</c:v>
                </c:pt>
                <c:pt idx="823">
                  <c:v>19.850000000000001</c:v>
                </c:pt>
                <c:pt idx="824">
                  <c:v>20.440000000000001</c:v>
                </c:pt>
                <c:pt idx="825">
                  <c:v>19.84</c:v>
                </c:pt>
                <c:pt idx="826">
                  <c:v>19.82</c:v>
                </c:pt>
                <c:pt idx="827">
                  <c:v>19.489999999999998</c:v>
                </c:pt>
                <c:pt idx="828">
                  <c:v>20.399999999999999</c:v>
                </c:pt>
                <c:pt idx="829">
                  <c:v>20.58</c:v>
                </c:pt>
                <c:pt idx="830">
                  <c:v>19.489999999999998</c:v>
                </c:pt>
                <c:pt idx="831">
                  <c:v>20.34</c:v>
                </c:pt>
                <c:pt idx="832">
                  <c:v>20.14</c:v>
                </c:pt>
                <c:pt idx="833">
                  <c:v>20.78</c:v>
                </c:pt>
                <c:pt idx="834">
                  <c:v>19.72</c:v>
                </c:pt>
                <c:pt idx="835">
                  <c:v>20.53</c:v>
                </c:pt>
                <c:pt idx="836">
                  <c:v>20.82</c:v>
                </c:pt>
                <c:pt idx="837">
                  <c:v>19.809999999999999</c:v>
                </c:pt>
                <c:pt idx="838">
                  <c:v>18.89</c:v>
                </c:pt>
                <c:pt idx="839">
                  <c:v>20.7</c:v>
                </c:pt>
                <c:pt idx="840">
                  <c:v>21.19</c:v>
                </c:pt>
                <c:pt idx="841">
                  <c:v>20.82</c:v>
                </c:pt>
                <c:pt idx="842">
                  <c:v>21.37</c:v>
                </c:pt>
                <c:pt idx="843">
                  <c:v>20.6</c:v>
                </c:pt>
                <c:pt idx="844">
                  <c:v>20.47</c:v>
                </c:pt>
                <c:pt idx="845">
                  <c:v>20.399999999999999</c:v>
                </c:pt>
                <c:pt idx="846">
                  <c:v>18.829999999999998</c:v>
                </c:pt>
                <c:pt idx="847">
                  <c:v>18.52</c:v>
                </c:pt>
                <c:pt idx="848">
                  <c:v>19.23</c:v>
                </c:pt>
                <c:pt idx="849">
                  <c:v>18.82</c:v>
                </c:pt>
                <c:pt idx="850">
                  <c:v>18.48</c:v>
                </c:pt>
                <c:pt idx="851">
                  <c:v>17.260000000000002</c:v>
                </c:pt>
                <c:pt idx="852">
                  <c:v>15.94</c:v>
                </c:pt>
                <c:pt idx="853">
                  <c:v>17.309999999999999</c:v>
                </c:pt>
                <c:pt idx="854">
                  <c:v>19.010000000000002</c:v>
                </c:pt>
                <c:pt idx="855">
                  <c:v>19.010000000000002</c:v>
                </c:pt>
                <c:pt idx="856">
                  <c:v>17.25</c:v>
                </c:pt>
                <c:pt idx="857">
                  <c:v>18.11</c:v>
                </c:pt>
                <c:pt idx="858">
                  <c:v>16.86</c:v>
                </c:pt>
                <c:pt idx="859">
                  <c:v>14.96</c:v>
                </c:pt>
                <c:pt idx="860">
                  <c:v>15.47</c:v>
                </c:pt>
                <c:pt idx="861">
                  <c:v>16.34</c:v>
                </c:pt>
                <c:pt idx="862">
                  <c:v>16.579999999999998</c:v>
                </c:pt>
                <c:pt idx="863">
                  <c:v>16.940000000000001</c:v>
                </c:pt>
                <c:pt idx="864">
                  <c:v>15.44</c:v>
                </c:pt>
                <c:pt idx="865">
                  <c:v>15.66</c:v>
                </c:pt>
                <c:pt idx="866">
                  <c:v>14.68</c:v>
                </c:pt>
                <c:pt idx="867">
                  <c:v>13.01</c:v>
                </c:pt>
                <c:pt idx="868">
                  <c:v>11.63</c:v>
                </c:pt>
                <c:pt idx="869">
                  <c:v>13.9</c:v>
                </c:pt>
                <c:pt idx="870">
                  <c:v>14.02</c:v>
                </c:pt>
                <c:pt idx="871">
                  <c:v>14.12</c:v>
                </c:pt>
                <c:pt idx="872">
                  <c:v>15.9</c:v>
                </c:pt>
                <c:pt idx="873">
                  <c:v>16.059999999999999</c:v>
                </c:pt>
                <c:pt idx="874">
                  <c:v>17.190000000000001</c:v>
                </c:pt>
                <c:pt idx="875">
                  <c:v>16.86</c:v>
                </c:pt>
                <c:pt idx="876">
                  <c:v>16.579999999999998</c:v>
                </c:pt>
                <c:pt idx="877">
                  <c:v>18.62</c:v>
                </c:pt>
                <c:pt idx="878">
                  <c:v>19.010000000000002</c:v>
                </c:pt>
                <c:pt idx="879">
                  <c:v>19.010000000000002</c:v>
                </c:pt>
                <c:pt idx="880">
                  <c:v>19.850000000000001</c:v>
                </c:pt>
                <c:pt idx="881">
                  <c:v>19.739999999999998</c:v>
                </c:pt>
                <c:pt idx="882">
                  <c:v>19.36</c:v>
                </c:pt>
                <c:pt idx="883">
                  <c:v>18.96</c:v>
                </c:pt>
                <c:pt idx="884">
                  <c:v>18.22</c:v>
                </c:pt>
                <c:pt idx="885">
                  <c:v>19.45</c:v>
                </c:pt>
                <c:pt idx="886">
                  <c:v>18.760000000000002</c:v>
                </c:pt>
                <c:pt idx="887">
                  <c:v>19.21</c:v>
                </c:pt>
                <c:pt idx="888">
                  <c:v>18.510000000000002</c:v>
                </c:pt>
                <c:pt idx="889">
                  <c:v>18.32</c:v>
                </c:pt>
                <c:pt idx="890">
                  <c:v>18.27</c:v>
                </c:pt>
                <c:pt idx="891">
                  <c:v>18.23</c:v>
                </c:pt>
                <c:pt idx="892">
                  <c:v>16.940000000000001</c:v>
                </c:pt>
                <c:pt idx="893">
                  <c:v>18.05</c:v>
                </c:pt>
                <c:pt idx="894">
                  <c:v>18.29</c:v>
                </c:pt>
                <c:pt idx="895">
                  <c:v>18.690000000000001</c:v>
                </c:pt>
                <c:pt idx="896">
                  <c:v>16.670000000000002</c:v>
                </c:pt>
                <c:pt idx="897">
                  <c:v>15.72</c:v>
                </c:pt>
                <c:pt idx="898">
                  <c:v>16.690000000000001</c:v>
                </c:pt>
                <c:pt idx="899">
                  <c:v>18.03</c:v>
                </c:pt>
                <c:pt idx="900">
                  <c:v>17.690000000000001</c:v>
                </c:pt>
                <c:pt idx="901">
                  <c:v>18.38</c:v>
                </c:pt>
                <c:pt idx="902">
                  <c:v>18.45</c:v>
                </c:pt>
                <c:pt idx="903">
                  <c:v>18.100000000000001</c:v>
                </c:pt>
                <c:pt idx="904">
                  <c:v>19</c:v>
                </c:pt>
                <c:pt idx="905">
                  <c:v>18.149999999999999</c:v>
                </c:pt>
                <c:pt idx="906">
                  <c:v>16.39</c:v>
                </c:pt>
                <c:pt idx="907">
                  <c:v>16.850000000000001</c:v>
                </c:pt>
                <c:pt idx="908">
                  <c:v>16.48</c:v>
                </c:pt>
                <c:pt idx="909">
                  <c:v>16.37</c:v>
                </c:pt>
                <c:pt idx="910">
                  <c:v>16.57</c:v>
                </c:pt>
                <c:pt idx="911">
                  <c:v>16.07</c:v>
                </c:pt>
                <c:pt idx="912">
                  <c:v>15</c:v>
                </c:pt>
                <c:pt idx="913">
                  <c:v>14.06</c:v>
                </c:pt>
                <c:pt idx="914">
                  <c:v>14.06</c:v>
                </c:pt>
                <c:pt idx="915">
                  <c:v>14.47</c:v>
                </c:pt>
                <c:pt idx="916">
                  <c:v>13.98</c:v>
                </c:pt>
                <c:pt idx="917">
                  <c:v>14.65</c:v>
                </c:pt>
                <c:pt idx="918">
                  <c:v>14.59</c:v>
                </c:pt>
                <c:pt idx="919">
                  <c:v>16.52</c:v>
                </c:pt>
                <c:pt idx="920">
                  <c:v>16.37</c:v>
                </c:pt>
                <c:pt idx="921">
                  <c:v>16.87</c:v>
                </c:pt>
                <c:pt idx="922">
                  <c:v>17.850000000000001</c:v>
                </c:pt>
                <c:pt idx="923">
                  <c:v>17.39</c:v>
                </c:pt>
                <c:pt idx="924">
                  <c:v>16.8</c:v>
                </c:pt>
                <c:pt idx="925">
                  <c:v>16.510000000000002</c:v>
                </c:pt>
                <c:pt idx="926">
                  <c:v>16.2</c:v>
                </c:pt>
                <c:pt idx="927">
                  <c:v>15.93</c:v>
                </c:pt>
                <c:pt idx="928">
                  <c:v>16.190000000000001</c:v>
                </c:pt>
                <c:pt idx="929">
                  <c:v>16.190000000000001</c:v>
                </c:pt>
                <c:pt idx="930">
                  <c:v>16.190000000000001</c:v>
                </c:pt>
                <c:pt idx="931">
                  <c:v>15.27</c:v>
                </c:pt>
                <c:pt idx="932">
                  <c:v>14.84</c:v>
                </c:pt>
                <c:pt idx="933">
                  <c:v>13.9</c:v>
                </c:pt>
                <c:pt idx="934">
                  <c:v>13.17</c:v>
                </c:pt>
                <c:pt idx="935">
                  <c:v>13.79</c:v>
                </c:pt>
                <c:pt idx="936">
                  <c:v>14.2</c:v>
                </c:pt>
                <c:pt idx="937">
                  <c:v>14.77</c:v>
                </c:pt>
                <c:pt idx="938">
                  <c:v>15.1</c:v>
                </c:pt>
                <c:pt idx="939">
                  <c:v>15.78</c:v>
                </c:pt>
                <c:pt idx="940">
                  <c:v>16.420000000000002</c:v>
                </c:pt>
                <c:pt idx="941">
                  <c:v>16.48</c:v>
                </c:pt>
                <c:pt idx="942">
                  <c:v>16.52</c:v>
                </c:pt>
                <c:pt idx="943">
                  <c:v>15.1</c:v>
                </c:pt>
                <c:pt idx="944">
                  <c:v>14.16</c:v>
                </c:pt>
                <c:pt idx="945">
                  <c:v>13.58</c:v>
                </c:pt>
                <c:pt idx="946">
                  <c:v>14.61</c:v>
                </c:pt>
                <c:pt idx="947">
                  <c:v>14.95</c:v>
                </c:pt>
                <c:pt idx="948">
                  <c:v>15.16</c:v>
                </c:pt>
                <c:pt idx="949">
                  <c:v>13.95</c:v>
                </c:pt>
                <c:pt idx="950">
                  <c:v>12.71</c:v>
                </c:pt>
                <c:pt idx="951">
                  <c:v>12.62</c:v>
                </c:pt>
                <c:pt idx="952">
                  <c:v>13.96</c:v>
                </c:pt>
                <c:pt idx="953">
                  <c:v>14.73</c:v>
                </c:pt>
                <c:pt idx="954">
                  <c:v>15.57</c:v>
                </c:pt>
                <c:pt idx="955">
                  <c:v>16.329999999999998</c:v>
                </c:pt>
                <c:pt idx="956">
                  <c:v>16.260000000000002</c:v>
                </c:pt>
                <c:pt idx="957">
                  <c:v>16.46</c:v>
                </c:pt>
                <c:pt idx="958">
                  <c:v>16.37</c:v>
                </c:pt>
                <c:pt idx="959">
                  <c:v>15.43</c:v>
                </c:pt>
                <c:pt idx="960">
                  <c:v>16.02</c:v>
                </c:pt>
                <c:pt idx="961">
                  <c:v>15.22</c:v>
                </c:pt>
                <c:pt idx="962">
                  <c:v>14.63</c:v>
                </c:pt>
                <c:pt idx="963">
                  <c:v>13.34</c:v>
                </c:pt>
                <c:pt idx="964">
                  <c:v>12.39</c:v>
                </c:pt>
                <c:pt idx="965">
                  <c:v>12.54</c:v>
                </c:pt>
                <c:pt idx="966">
                  <c:v>13.16</c:v>
                </c:pt>
                <c:pt idx="967">
                  <c:v>13.57</c:v>
                </c:pt>
                <c:pt idx="968">
                  <c:v>13.47</c:v>
                </c:pt>
                <c:pt idx="969">
                  <c:v>13.99</c:v>
                </c:pt>
                <c:pt idx="970">
                  <c:v>13.63</c:v>
                </c:pt>
                <c:pt idx="971">
                  <c:v>12.13</c:v>
                </c:pt>
                <c:pt idx="972">
                  <c:v>11.62</c:v>
                </c:pt>
                <c:pt idx="973">
                  <c:v>11.24</c:v>
                </c:pt>
                <c:pt idx="974">
                  <c:v>11.47</c:v>
                </c:pt>
                <c:pt idx="975">
                  <c:v>10.77</c:v>
                </c:pt>
                <c:pt idx="976">
                  <c:v>11.17</c:v>
                </c:pt>
                <c:pt idx="977">
                  <c:v>11.81</c:v>
                </c:pt>
                <c:pt idx="978">
                  <c:v>11.44</c:v>
                </c:pt>
                <c:pt idx="979">
                  <c:v>12.25</c:v>
                </c:pt>
                <c:pt idx="980">
                  <c:v>12.46</c:v>
                </c:pt>
                <c:pt idx="981">
                  <c:v>13.1</c:v>
                </c:pt>
                <c:pt idx="982">
                  <c:v>12.51</c:v>
                </c:pt>
                <c:pt idx="983">
                  <c:v>12.34</c:v>
                </c:pt>
                <c:pt idx="984">
                  <c:v>12.76</c:v>
                </c:pt>
                <c:pt idx="985">
                  <c:v>12.93</c:v>
                </c:pt>
                <c:pt idx="986">
                  <c:v>12.66</c:v>
                </c:pt>
                <c:pt idx="987">
                  <c:v>11.26</c:v>
                </c:pt>
                <c:pt idx="988">
                  <c:v>12.31</c:v>
                </c:pt>
                <c:pt idx="989">
                  <c:v>12.63</c:v>
                </c:pt>
                <c:pt idx="990">
                  <c:v>12.44</c:v>
                </c:pt>
                <c:pt idx="991">
                  <c:v>13.28</c:v>
                </c:pt>
                <c:pt idx="992">
                  <c:v>13.14</c:v>
                </c:pt>
                <c:pt idx="993">
                  <c:v>15.68</c:v>
                </c:pt>
                <c:pt idx="994">
                  <c:v>15.47</c:v>
                </c:pt>
                <c:pt idx="995">
                  <c:v>14.98</c:v>
                </c:pt>
                <c:pt idx="996">
                  <c:v>14.6</c:v>
                </c:pt>
                <c:pt idx="997">
                  <c:v>14.61</c:v>
                </c:pt>
                <c:pt idx="998">
                  <c:v>12.76</c:v>
                </c:pt>
                <c:pt idx="999">
                  <c:v>12.5</c:v>
                </c:pt>
                <c:pt idx="1000">
                  <c:v>12.82</c:v>
                </c:pt>
                <c:pt idx="1001">
                  <c:v>10.98</c:v>
                </c:pt>
                <c:pt idx="1002">
                  <c:v>10.91</c:v>
                </c:pt>
                <c:pt idx="1003">
                  <c:v>10.130000000000001</c:v>
                </c:pt>
                <c:pt idx="1004">
                  <c:v>9.94</c:v>
                </c:pt>
                <c:pt idx="1005">
                  <c:v>7.85</c:v>
                </c:pt>
                <c:pt idx="1006">
                  <c:v>6.83</c:v>
                </c:pt>
                <c:pt idx="1007">
                  <c:v>6.63</c:v>
                </c:pt>
                <c:pt idx="1008">
                  <c:v>6.79</c:v>
                </c:pt>
                <c:pt idx="1009">
                  <c:v>7.54</c:v>
                </c:pt>
                <c:pt idx="1010">
                  <c:v>8.74</c:v>
                </c:pt>
                <c:pt idx="1011">
                  <c:v>9.74</c:v>
                </c:pt>
                <c:pt idx="1012">
                  <c:v>10.89</c:v>
                </c:pt>
                <c:pt idx="1013">
                  <c:v>10.75</c:v>
                </c:pt>
                <c:pt idx="1014">
                  <c:v>11.45</c:v>
                </c:pt>
                <c:pt idx="1015">
                  <c:v>11.83</c:v>
                </c:pt>
                <c:pt idx="1016">
                  <c:v>11.3</c:v>
                </c:pt>
                <c:pt idx="1017">
                  <c:v>10.37</c:v>
                </c:pt>
                <c:pt idx="1018">
                  <c:v>8.94</c:v>
                </c:pt>
                <c:pt idx="1019">
                  <c:v>7.86</c:v>
                </c:pt>
                <c:pt idx="1020">
                  <c:v>7.04</c:v>
                </c:pt>
                <c:pt idx="1021">
                  <c:v>8.1999999999999993</c:v>
                </c:pt>
                <c:pt idx="1022">
                  <c:v>8.2200000000000006</c:v>
                </c:pt>
                <c:pt idx="1023">
                  <c:v>9.35</c:v>
                </c:pt>
                <c:pt idx="1024">
                  <c:v>7.99</c:v>
                </c:pt>
                <c:pt idx="1025">
                  <c:v>8.24</c:v>
                </c:pt>
                <c:pt idx="1026">
                  <c:v>8.24</c:v>
                </c:pt>
                <c:pt idx="1027">
                  <c:v>10.83</c:v>
                </c:pt>
                <c:pt idx="1028">
                  <c:v>12.89</c:v>
                </c:pt>
                <c:pt idx="1029">
                  <c:v>13.17</c:v>
                </c:pt>
                <c:pt idx="1030">
                  <c:v>12.34</c:v>
                </c:pt>
                <c:pt idx="1031">
                  <c:v>11.9</c:v>
                </c:pt>
                <c:pt idx="1032">
                  <c:v>11.09</c:v>
                </c:pt>
                <c:pt idx="1033">
                  <c:v>10.9</c:v>
                </c:pt>
                <c:pt idx="1034">
                  <c:v>11.23</c:v>
                </c:pt>
                <c:pt idx="1035">
                  <c:v>11.16</c:v>
                </c:pt>
                <c:pt idx="1036">
                  <c:v>13.04</c:v>
                </c:pt>
                <c:pt idx="1037">
                  <c:v>13.4</c:v>
                </c:pt>
                <c:pt idx="1038">
                  <c:v>13.34</c:v>
                </c:pt>
                <c:pt idx="1039">
                  <c:v>13.93</c:v>
                </c:pt>
                <c:pt idx="1040">
                  <c:v>13.75</c:v>
                </c:pt>
                <c:pt idx="1041">
                  <c:v>13.9</c:v>
                </c:pt>
                <c:pt idx="1042">
                  <c:v>14.8</c:v>
                </c:pt>
                <c:pt idx="1043">
                  <c:v>14.57</c:v>
                </c:pt>
                <c:pt idx="1044">
                  <c:v>14.87</c:v>
                </c:pt>
                <c:pt idx="1045">
                  <c:v>14.93</c:v>
                </c:pt>
                <c:pt idx="1046">
                  <c:v>15.04</c:v>
                </c:pt>
                <c:pt idx="1047">
                  <c:v>15.38</c:v>
                </c:pt>
                <c:pt idx="1048">
                  <c:v>16.8</c:v>
                </c:pt>
                <c:pt idx="1049">
                  <c:v>18.37</c:v>
                </c:pt>
                <c:pt idx="1050">
                  <c:v>18.29</c:v>
                </c:pt>
                <c:pt idx="1051">
                  <c:v>17.96</c:v>
                </c:pt>
                <c:pt idx="1052">
                  <c:v>18.68</c:v>
                </c:pt>
                <c:pt idx="1053">
                  <c:v>18.63</c:v>
                </c:pt>
                <c:pt idx="1054">
                  <c:v>18.71</c:v>
                </c:pt>
                <c:pt idx="1055">
                  <c:v>18.77</c:v>
                </c:pt>
                <c:pt idx="1056">
                  <c:v>17.8</c:v>
                </c:pt>
                <c:pt idx="1057">
                  <c:v>19.68</c:v>
                </c:pt>
                <c:pt idx="1058">
                  <c:v>18.68</c:v>
                </c:pt>
                <c:pt idx="1059">
                  <c:v>18.440000000000001</c:v>
                </c:pt>
                <c:pt idx="1060">
                  <c:v>17.75</c:v>
                </c:pt>
                <c:pt idx="1061">
                  <c:v>17.98</c:v>
                </c:pt>
                <c:pt idx="1062">
                  <c:v>17.32</c:v>
                </c:pt>
                <c:pt idx="1063">
                  <c:v>17.8</c:v>
                </c:pt>
                <c:pt idx="1064">
                  <c:v>18.14</c:v>
                </c:pt>
                <c:pt idx="1065">
                  <c:v>18.12</c:v>
                </c:pt>
                <c:pt idx="1066">
                  <c:v>18.12</c:v>
                </c:pt>
                <c:pt idx="1067">
                  <c:v>18.07</c:v>
                </c:pt>
                <c:pt idx="1068">
                  <c:v>18.14</c:v>
                </c:pt>
                <c:pt idx="1069">
                  <c:v>18.48</c:v>
                </c:pt>
                <c:pt idx="1070">
                  <c:v>18.48</c:v>
                </c:pt>
                <c:pt idx="1071">
                  <c:v>19.899999999999999</c:v>
                </c:pt>
                <c:pt idx="1072">
                  <c:v>19.809999999999999</c:v>
                </c:pt>
                <c:pt idx="1073">
                  <c:v>19.559999999999999</c:v>
                </c:pt>
                <c:pt idx="1074">
                  <c:v>19.45</c:v>
                </c:pt>
                <c:pt idx="1075">
                  <c:v>19.86</c:v>
                </c:pt>
                <c:pt idx="1076">
                  <c:v>19.73</c:v>
                </c:pt>
                <c:pt idx="1077">
                  <c:v>19.25</c:v>
                </c:pt>
                <c:pt idx="1078">
                  <c:v>18.14</c:v>
                </c:pt>
                <c:pt idx="1079">
                  <c:v>18.79</c:v>
                </c:pt>
                <c:pt idx="1080">
                  <c:v>18.95</c:v>
                </c:pt>
                <c:pt idx="1081">
                  <c:v>18.38</c:v>
                </c:pt>
                <c:pt idx="1082">
                  <c:v>16.75</c:v>
                </c:pt>
                <c:pt idx="1083">
                  <c:v>16.28</c:v>
                </c:pt>
                <c:pt idx="1084">
                  <c:v>15.89</c:v>
                </c:pt>
                <c:pt idx="1085">
                  <c:v>16.05</c:v>
                </c:pt>
                <c:pt idx="1086">
                  <c:v>16.03</c:v>
                </c:pt>
                <c:pt idx="1087">
                  <c:v>14.96</c:v>
                </c:pt>
                <c:pt idx="1088">
                  <c:v>16.84</c:v>
                </c:pt>
                <c:pt idx="1089">
                  <c:v>17.010000000000002</c:v>
                </c:pt>
                <c:pt idx="1090">
                  <c:v>17.809999999999999</c:v>
                </c:pt>
                <c:pt idx="1091">
                  <c:v>17.260000000000002</c:v>
                </c:pt>
                <c:pt idx="1092">
                  <c:v>16.850000000000001</c:v>
                </c:pt>
                <c:pt idx="1093">
                  <c:v>17.62</c:v>
                </c:pt>
                <c:pt idx="1094">
                  <c:v>16.600000000000001</c:v>
                </c:pt>
                <c:pt idx="1095">
                  <c:v>15.81</c:v>
                </c:pt>
                <c:pt idx="1096">
                  <c:v>16.010000000000002</c:v>
                </c:pt>
                <c:pt idx="1097">
                  <c:v>15.79</c:v>
                </c:pt>
                <c:pt idx="1098">
                  <c:v>15.15</c:v>
                </c:pt>
                <c:pt idx="1099">
                  <c:v>14.67</c:v>
                </c:pt>
                <c:pt idx="1100">
                  <c:v>15.66</c:v>
                </c:pt>
                <c:pt idx="1101">
                  <c:v>14.32</c:v>
                </c:pt>
                <c:pt idx="1102">
                  <c:v>14.27</c:v>
                </c:pt>
                <c:pt idx="1103">
                  <c:v>15.76</c:v>
                </c:pt>
                <c:pt idx="1104">
                  <c:v>15.96</c:v>
                </c:pt>
                <c:pt idx="1105">
                  <c:v>16.22</c:v>
                </c:pt>
                <c:pt idx="1106">
                  <c:v>16.239999999999998</c:v>
                </c:pt>
                <c:pt idx="1107">
                  <c:v>17.260000000000002</c:v>
                </c:pt>
                <c:pt idx="1108">
                  <c:v>17.05</c:v>
                </c:pt>
                <c:pt idx="1109">
                  <c:v>17.25</c:v>
                </c:pt>
                <c:pt idx="1110">
                  <c:v>15.66</c:v>
                </c:pt>
                <c:pt idx="1111">
                  <c:v>16.09</c:v>
                </c:pt>
                <c:pt idx="1112">
                  <c:v>16.3</c:v>
                </c:pt>
                <c:pt idx="1113">
                  <c:v>17.11</c:v>
                </c:pt>
                <c:pt idx="1114">
                  <c:v>17.27</c:v>
                </c:pt>
                <c:pt idx="1115">
                  <c:v>17.690000000000001</c:v>
                </c:pt>
                <c:pt idx="1116">
                  <c:v>17.809999999999999</c:v>
                </c:pt>
                <c:pt idx="1117">
                  <c:v>18.07</c:v>
                </c:pt>
                <c:pt idx="1118">
                  <c:v>18.57</c:v>
                </c:pt>
                <c:pt idx="1119">
                  <c:v>18.829999999999998</c:v>
                </c:pt>
                <c:pt idx="1120">
                  <c:v>19.37</c:v>
                </c:pt>
                <c:pt idx="1121">
                  <c:v>18.89</c:v>
                </c:pt>
                <c:pt idx="1122">
                  <c:v>18.739999999999998</c:v>
                </c:pt>
                <c:pt idx="1123">
                  <c:v>18.07</c:v>
                </c:pt>
                <c:pt idx="1124">
                  <c:v>17.95</c:v>
                </c:pt>
                <c:pt idx="1125">
                  <c:v>17.82</c:v>
                </c:pt>
                <c:pt idx="1126">
                  <c:v>18.46</c:v>
                </c:pt>
                <c:pt idx="1127">
                  <c:v>18.760000000000002</c:v>
                </c:pt>
                <c:pt idx="1128">
                  <c:v>18.989999999999998</c:v>
                </c:pt>
                <c:pt idx="1129">
                  <c:v>19.11</c:v>
                </c:pt>
                <c:pt idx="1130">
                  <c:v>19.18</c:v>
                </c:pt>
                <c:pt idx="1131">
                  <c:v>18.670000000000002</c:v>
                </c:pt>
                <c:pt idx="1132">
                  <c:v>20.28</c:v>
                </c:pt>
                <c:pt idx="1133">
                  <c:v>20.9</c:v>
                </c:pt>
                <c:pt idx="1134">
                  <c:v>20.93</c:v>
                </c:pt>
                <c:pt idx="1135">
                  <c:v>20.65</c:v>
                </c:pt>
                <c:pt idx="1136">
                  <c:v>20.21</c:v>
                </c:pt>
                <c:pt idx="1137">
                  <c:v>19.66</c:v>
                </c:pt>
                <c:pt idx="1138">
                  <c:v>18.940000000000001</c:v>
                </c:pt>
                <c:pt idx="1139">
                  <c:v>18.45</c:v>
                </c:pt>
                <c:pt idx="1140">
                  <c:v>18.41</c:v>
                </c:pt>
                <c:pt idx="1141">
                  <c:v>18.989999999999998</c:v>
                </c:pt>
                <c:pt idx="1142">
                  <c:v>17.809999999999999</c:v>
                </c:pt>
                <c:pt idx="1143">
                  <c:v>17.64</c:v>
                </c:pt>
                <c:pt idx="1144">
                  <c:v>17.899999999999999</c:v>
                </c:pt>
                <c:pt idx="1145">
                  <c:v>16.97</c:v>
                </c:pt>
                <c:pt idx="1146">
                  <c:v>15.07</c:v>
                </c:pt>
                <c:pt idx="1147">
                  <c:v>15.86</c:v>
                </c:pt>
                <c:pt idx="1148">
                  <c:v>16.600000000000001</c:v>
                </c:pt>
                <c:pt idx="1149">
                  <c:v>17.77</c:v>
                </c:pt>
                <c:pt idx="1150">
                  <c:v>18.78</c:v>
                </c:pt>
                <c:pt idx="1151">
                  <c:v>19.190000000000001</c:v>
                </c:pt>
                <c:pt idx="1152">
                  <c:v>19.48</c:v>
                </c:pt>
                <c:pt idx="1153">
                  <c:v>19.21</c:v>
                </c:pt>
                <c:pt idx="1154">
                  <c:v>19.09</c:v>
                </c:pt>
                <c:pt idx="1155">
                  <c:v>19.09</c:v>
                </c:pt>
                <c:pt idx="1156">
                  <c:v>18.690000000000001</c:v>
                </c:pt>
                <c:pt idx="1157">
                  <c:v>19.05</c:v>
                </c:pt>
                <c:pt idx="1158">
                  <c:v>20.2</c:v>
                </c:pt>
                <c:pt idx="1159">
                  <c:v>20.23</c:v>
                </c:pt>
                <c:pt idx="1160">
                  <c:v>20.420000000000002</c:v>
                </c:pt>
                <c:pt idx="1161">
                  <c:v>21.42</c:v>
                </c:pt>
                <c:pt idx="1162">
                  <c:v>22.2</c:v>
                </c:pt>
                <c:pt idx="1163">
                  <c:v>22.2</c:v>
                </c:pt>
                <c:pt idx="1164">
                  <c:v>23.54</c:v>
                </c:pt>
                <c:pt idx="1165">
                  <c:v>23.2</c:v>
                </c:pt>
                <c:pt idx="1166">
                  <c:v>23.64</c:v>
                </c:pt>
                <c:pt idx="1167">
                  <c:v>24.33</c:v>
                </c:pt>
                <c:pt idx="1168">
                  <c:v>24.7</c:v>
                </c:pt>
                <c:pt idx="1169">
                  <c:v>24.68</c:v>
                </c:pt>
                <c:pt idx="1170">
                  <c:v>24.62</c:v>
                </c:pt>
                <c:pt idx="1171">
                  <c:v>24.77</c:v>
                </c:pt>
                <c:pt idx="1172">
                  <c:v>23.91</c:v>
                </c:pt>
                <c:pt idx="1173">
                  <c:v>21.48</c:v>
                </c:pt>
                <c:pt idx="1174">
                  <c:v>20.88</c:v>
                </c:pt>
                <c:pt idx="1175">
                  <c:v>20.88</c:v>
                </c:pt>
                <c:pt idx="1176">
                  <c:v>20.29</c:v>
                </c:pt>
                <c:pt idx="1177">
                  <c:v>19.329999999999998</c:v>
                </c:pt>
                <c:pt idx="1178">
                  <c:v>20.37</c:v>
                </c:pt>
                <c:pt idx="1179">
                  <c:v>22.42</c:v>
                </c:pt>
                <c:pt idx="1180">
                  <c:v>22.18</c:v>
                </c:pt>
                <c:pt idx="1181">
                  <c:v>22.63</c:v>
                </c:pt>
                <c:pt idx="1182">
                  <c:v>22.56</c:v>
                </c:pt>
                <c:pt idx="1183">
                  <c:v>22.45</c:v>
                </c:pt>
                <c:pt idx="1184">
                  <c:v>21.8</c:v>
                </c:pt>
                <c:pt idx="1185">
                  <c:v>22.4</c:v>
                </c:pt>
                <c:pt idx="1186">
                  <c:v>21.44</c:v>
                </c:pt>
                <c:pt idx="1187">
                  <c:v>20.92</c:v>
                </c:pt>
                <c:pt idx="1188">
                  <c:v>21.4</c:v>
                </c:pt>
                <c:pt idx="1189">
                  <c:v>21.69</c:v>
                </c:pt>
                <c:pt idx="1190">
                  <c:v>20.16</c:v>
                </c:pt>
                <c:pt idx="1191">
                  <c:v>20.85</c:v>
                </c:pt>
                <c:pt idx="1192">
                  <c:v>20.88</c:v>
                </c:pt>
                <c:pt idx="1193">
                  <c:v>21.81</c:v>
                </c:pt>
                <c:pt idx="1194">
                  <c:v>21.73</c:v>
                </c:pt>
                <c:pt idx="1195">
                  <c:v>22.68</c:v>
                </c:pt>
                <c:pt idx="1196">
                  <c:v>22.24</c:v>
                </c:pt>
                <c:pt idx="1197">
                  <c:v>22.02</c:v>
                </c:pt>
                <c:pt idx="1198">
                  <c:v>21.69</c:v>
                </c:pt>
                <c:pt idx="1199">
                  <c:v>21.78</c:v>
                </c:pt>
                <c:pt idx="1200">
                  <c:v>21.44</c:v>
                </c:pt>
                <c:pt idx="1201">
                  <c:v>21.35</c:v>
                </c:pt>
                <c:pt idx="1202">
                  <c:v>21.94</c:v>
                </c:pt>
                <c:pt idx="1203">
                  <c:v>22.18</c:v>
                </c:pt>
                <c:pt idx="1204">
                  <c:v>22.15</c:v>
                </c:pt>
                <c:pt idx="1205">
                  <c:v>21.87</c:v>
                </c:pt>
                <c:pt idx="1206">
                  <c:v>22</c:v>
                </c:pt>
                <c:pt idx="1207">
                  <c:v>23.06</c:v>
                </c:pt>
                <c:pt idx="1208">
                  <c:v>24.76</c:v>
                </c:pt>
                <c:pt idx="1209">
                  <c:v>25.42</c:v>
                </c:pt>
                <c:pt idx="1210">
                  <c:v>24.25</c:v>
                </c:pt>
                <c:pt idx="1211">
                  <c:v>24.93</c:v>
                </c:pt>
                <c:pt idx="1212">
                  <c:v>25.62</c:v>
                </c:pt>
                <c:pt idx="1213">
                  <c:v>25.99</c:v>
                </c:pt>
                <c:pt idx="1214">
                  <c:v>26.02</c:v>
                </c:pt>
                <c:pt idx="1215">
                  <c:v>26.83</c:v>
                </c:pt>
                <c:pt idx="1216">
                  <c:v>26.6</c:v>
                </c:pt>
                <c:pt idx="1217">
                  <c:v>26.42</c:v>
                </c:pt>
                <c:pt idx="1218">
                  <c:v>26</c:v>
                </c:pt>
                <c:pt idx="1219">
                  <c:v>27.2</c:v>
                </c:pt>
                <c:pt idx="1220">
                  <c:v>27.73</c:v>
                </c:pt>
                <c:pt idx="1221">
                  <c:v>28.99</c:v>
                </c:pt>
                <c:pt idx="1222">
                  <c:v>28.78</c:v>
                </c:pt>
                <c:pt idx="1223">
                  <c:v>29.72</c:v>
                </c:pt>
                <c:pt idx="1224">
                  <c:v>28.6</c:v>
                </c:pt>
                <c:pt idx="1225">
                  <c:v>25.08</c:v>
                </c:pt>
                <c:pt idx="1226">
                  <c:v>26.34</c:v>
                </c:pt>
                <c:pt idx="1227">
                  <c:v>27.24</c:v>
                </c:pt>
                <c:pt idx="1228">
                  <c:v>27.75</c:v>
                </c:pt>
                <c:pt idx="1229">
                  <c:v>27.85</c:v>
                </c:pt>
                <c:pt idx="1230">
                  <c:v>28.04</c:v>
                </c:pt>
                <c:pt idx="1231">
                  <c:v>28.3</c:v>
                </c:pt>
                <c:pt idx="1232">
                  <c:v>28.07</c:v>
                </c:pt>
                <c:pt idx="1233">
                  <c:v>28.55</c:v>
                </c:pt>
                <c:pt idx="1234">
                  <c:v>28.92</c:v>
                </c:pt>
                <c:pt idx="1235">
                  <c:v>29.13</c:v>
                </c:pt>
                <c:pt idx="1236">
                  <c:v>28.25</c:v>
                </c:pt>
                <c:pt idx="1237">
                  <c:v>28.07</c:v>
                </c:pt>
                <c:pt idx="1238">
                  <c:v>28.45</c:v>
                </c:pt>
                <c:pt idx="1239">
                  <c:v>29.32</c:v>
                </c:pt>
                <c:pt idx="1240">
                  <c:v>29.76</c:v>
                </c:pt>
                <c:pt idx="1241">
                  <c:v>29.52</c:v>
                </c:pt>
                <c:pt idx="1242">
                  <c:v>29.93</c:v>
                </c:pt>
                <c:pt idx="1243">
                  <c:v>30.73</c:v>
                </c:pt>
                <c:pt idx="1244">
                  <c:v>31.7</c:v>
                </c:pt>
                <c:pt idx="1245">
                  <c:v>31.66</c:v>
                </c:pt>
                <c:pt idx="1246">
                  <c:v>32.270000000000003</c:v>
                </c:pt>
                <c:pt idx="1247">
                  <c:v>32.130000000000003</c:v>
                </c:pt>
                <c:pt idx="1248">
                  <c:v>32.880000000000003</c:v>
                </c:pt>
                <c:pt idx="1249">
                  <c:v>32.020000000000003</c:v>
                </c:pt>
                <c:pt idx="1250">
                  <c:v>33.39</c:v>
                </c:pt>
                <c:pt idx="1251">
                  <c:v>33.68</c:v>
                </c:pt>
                <c:pt idx="1252">
                  <c:v>33.08</c:v>
                </c:pt>
                <c:pt idx="1253">
                  <c:v>33.020000000000003</c:v>
                </c:pt>
                <c:pt idx="1254">
                  <c:v>33.94</c:v>
                </c:pt>
                <c:pt idx="1255">
                  <c:v>34.6</c:v>
                </c:pt>
                <c:pt idx="1256">
                  <c:v>34.79</c:v>
                </c:pt>
                <c:pt idx="1257">
                  <c:v>33.89</c:v>
                </c:pt>
                <c:pt idx="1258">
                  <c:v>32.869999999999997</c:v>
                </c:pt>
                <c:pt idx="1259">
                  <c:v>33.31</c:v>
                </c:pt>
                <c:pt idx="1260">
                  <c:v>34.68</c:v>
                </c:pt>
                <c:pt idx="1261">
                  <c:v>34.36</c:v>
                </c:pt>
                <c:pt idx="1262">
                  <c:v>33.950000000000003</c:v>
                </c:pt>
                <c:pt idx="1263">
                  <c:v>33.270000000000003</c:v>
                </c:pt>
                <c:pt idx="1264">
                  <c:v>33.9</c:v>
                </c:pt>
                <c:pt idx="1265">
                  <c:v>34.020000000000003</c:v>
                </c:pt>
                <c:pt idx="1266">
                  <c:v>35.53</c:v>
                </c:pt>
                <c:pt idx="1267">
                  <c:v>35.950000000000003</c:v>
                </c:pt>
                <c:pt idx="1268">
                  <c:v>35.31</c:v>
                </c:pt>
                <c:pt idx="1269">
                  <c:v>35.799999999999997</c:v>
                </c:pt>
                <c:pt idx="1270">
                  <c:v>35.19</c:v>
                </c:pt>
                <c:pt idx="1271">
                  <c:v>34.619999999999997</c:v>
                </c:pt>
                <c:pt idx="1272">
                  <c:v>35.24</c:v>
                </c:pt>
                <c:pt idx="1273">
                  <c:v>35.090000000000003</c:v>
                </c:pt>
                <c:pt idx="1274">
                  <c:v>35.96</c:v>
                </c:pt>
                <c:pt idx="1275">
                  <c:v>37.130000000000003</c:v>
                </c:pt>
                <c:pt idx="1276">
                  <c:v>38.26</c:v>
                </c:pt>
                <c:pt idx="1277">
                  <c:v>39.39</c:v>
                </c:pt>
                <c:pt idx="1278">
                  <c:v>39.44</c:v>
                </c:pt>
                <c:pt idx="1279">
                  <c:v>39.82</c:v>
                </c:pt>
                <c:pt idx="1280">
                  <c:v>38.64</c:v>
                </c:pt>
                <c:pt idx="1281">
                  <c:v>38.68</c:v>
                </c:pt>
                <c:pt idx="1282">
                  <c:v>39.19</c:v>
                </c:pt>
                <c:pt idx="1283">
                  <c:v>39.08</c:v>
                </c:pt>
                <c:pt idx="1284">
                  <c:v>37.450000000000003</c:v>
                </c:pt>
                <c:pt idx="1285">
                  <c:v>37.869999999999997</c:v>
                </c:pt>
                <c:pt idx="1286">
                  <c:v>36.42</c:v>
                </c:pt>
                <c:pt idx="1287">
                  <c:v>35.75</c:v>
                </c:pt>
                <c:pt idx="1288">
                  <c:v>35.49</c:v>
                </c:pt>
                <c:pt idx="1289">
                  <c:v>34.61</c:v>
                </c:pt>
                <c:pt idx="1290">
                  <c:v>34.57</c:v>
                </c:pt>
                <c:pt idx="1291">
                  <c:v>35.83</c:v>
                </c:pt>
                <c:pt idx="1292">
                  <c:v>37.43</c:v>
                </c:pt>
                <c:pt idx="1293">
                  <c:v>37.51</c:v>
                </c:pt>
                <c:pt idx="1294">
                  <c:v>39.29</c:v>
                </c:pt>
                <c:pt idx="1295">
                  <c:v>41.33</c:v>
                </c:pt>
                <c:pt idx="1296">
                  <c:v>40.43</c:v>
                </c:pt>
                <c:pt idx="1297">
                  <c:v>39.97</c:v>
                </c:pt>
                <c:pt idx="1298">
                  <c:v>40.53</c:v>
                </c:pt>
                <c:pt idx="1299">
                  <c:v>41.97</c:v>
                </c:pt>
                <c:pt idx="1300">
                  <c:v>42.63</c:v>
                </c:pt>
                <c:pt idx="1301">
                  <c:v>43.6</c:v>
                </c:pt>
                <c:pt idx="1302">
                  <c:v>44.31</c:v>
                </c:pt>
                <c:pt idx="1303">
                  <c:v>46.08</c:v>
                </c:pt>
                <c:pt idx="1304">
                  <c:v>47.59</c:v>
                </c:pt>
                <c:pt idx="1305">
                  <c:v>46.18</c:v>
                </c:pt>
              </c:numCache>
            </c:numRef>
          </c:val>
          <c:smooth val="0"/>
          <c:extLst>
            <c:ext xmlns:c16="http://schemas.microsoft.com/office/drawing/2014/chart" uri="{C3380CC4-5D6E-409C-BE32-E72D297353CC}">
              <c16:uniqueId val="{00000000-E40B-41D7-B8CB-E87344B0AFDE}"/>
            </c:ext>
          </c:extLst>
        </c:ser>
        <c:ser>
          <c:idx val="1"/>
          <c:order val="1"/>
          <c:tx>
            <c:strRef>
              <c:f>Sheet1!$I$2</c:f>
              <c:strCache>
                <c:ptCount val="1"/>
                <c:pt idx="0">
                  <c:v>Stoxx 600 (EUR)</c:v>
                </c:pt>
              </c:strCache>
            </c:strRef>
          </c:tx>
          <c:spPr>
            <a:ln w="28575" cap="rnd">
              <a:solidFill>
                <a:schemeClr val="accent2"/>
              </a:solidFill>
              <a:round/>
            </a:ln>
            <a:effectLst/>
          </c:spPr>
          <c:marker>
            <c:symbol val="none"/>
          </c:marker>
          <c:cat>
            <c:numRef>
              <c:f>Sheet1!$G$4:$G$1309</c:f>
              <c:numCache>
                <c:formatCode>m/d/yyyy</c:formatCode>
                <c:ptCount val="1306"/>
                <c:pt idx="0">
                  <c:v>43794</c:v>
                </c:pt>
                <c:pt idx="1">
                  <c:v>43795</c:v>
                </c:pt>
                <c:pt idx="2">
                  <c:v>43796</c:v>
                </c:pt>
                <c:pt idx="3">
                  <c:v>43797</c:v>
                </c:pt>
                <c:pt idx="4">
                  <c:v>43798</c:v>
                </c:pt>
                <c:pt idx="5">
                  <c:v>43801</c:v>
                </c:pt>
                <c:pt idx="6">
                  <c:v>43802</c:v>
                </c:pt>
                <c:pt idx="7">
                  <c:v>43803</c:v>
                </c:pt>
                <c:pt idx="8">
                  <c:v>43804</c:v>
                </c:pt>
                <c:pt idx="9">
                  <c:v>43805</c:v>
                </c:pt>
                <c:pt idx="10">
                  <c:v>43808</c:v>
                </c:pt>
                <c:pt idx="11">
                  <c:v>43809</c:v>
                </c:pt>
                <c:pt idx="12">
                  <c:v>43810</c:v>
                </c:pt>
                <c:pt idx="13">
                  <c:v>43811</c:v>
                </c:pt>
                <c:pt idx="14">
                  <c:v>43812</c:v>
                </c:pt>
                <c:pt idx="15">
                  <c:v>43815</c:v>
                </c:pt>
                <c:pt idx="16">
                  <c:v>43816</c:v>
                </c:pt>
                <c:pt idx="17">
                  <c:v>43817</c:v>
                </c:pt>
                <c:pt idx="18">
                  <c:v>43818</c:v>
                </c:pt>
                <c:pt idx="19">
                  <c:v>43819</c:v>
                </c:pt>
                <c:pt idx="20">
                  <c:v>43822</c:v>
                </c:pt>
                <c:pt idx="21">
                  <c:v>43823</c:v>
                </c:pt>
                <c:pt idx="22">
                  <c:v>43824</c:v>
                </c:pt>
                <c:pt idx="23">
                  <c:v>43825</c:v>
                </c:pt>
                <c:pt idx="24">
                  <c:v>43826</c:v>
                </c:pt>
                <c:pt idx="25">
                  <c:v>43829</c:v>
                </c:pt>
                <c:pt idx="26">
                  <c:v>43830</c:v>
                </c:pt>
                <c:pt idx="27">
                  <c:v>43831</c:v>
                </c:pt>
                <c:pt idx="28">
                  <c:v>43832</c:v>
                </c:pt>
                <c:pt idx="29">
                  <c:v>43833</c:v>
                </c:pt>
                <c:pt idx="30">
                  <c:v>43836</c:v>
                </c:pt>
                <c:pt idx="31">
                  <c:v>43837</c:v>
                </c:pt>
                <c:pt idx="32">
                  <c:v>43838</c:v>
                </c:pt>
                <c:pt idx="33">
                  <c:v>43839</c:v>
                </c:pt>
                <c:pt idx="34">
                  <c:v>43840</c:v>
                </c:pt>
                <c:pt idx="35">
                  <c:v>43843</c:v>
                </c:pt>
                <c:pt idx="36">
                  <c:v>43844</c:v>
                </c:pt>
                <c:pt idx="37">
                  <c:v>43845</c:v>
                </c:pt>
                <c:pt idx="38">
                  <c:v>43846</c:v>
                </c:pt>
                <c:pt idx="39">
                  <c:v>43847</c:v>
                </c:pt>
                <c:pt idx="40">
                  <c:v>43850</c:v>
                </c:pt>
                <c:pt idx="41">
                  <c:v>43851</c:v>
                </c:pt>
                <c:pt idx="42">
                  <c:v>43852</c:v>
                </c:pt>
                <c:pt idx="43">
                  <c:v>43853</c:v>
                </c:pt>
                <c:pt idx="44">
                  <c:v>43854</c:v>
                </c:pt>
                <c:pt idx="45">
                  <c:v>43857</c:v>
                </c:pt>
                <c:pt idx="46">
                  <c:v>43858</c:v>
                </c:pt>
                <c:pt idx="47">
                  <c:v>43859</c:v>
                </c:pt>
                <c:pt idx="48">
                  <c:v>43860</c:v>
                </c:pt>
                <c:pt idx="49">
                  <c:v>43861</c:v>
                </c:pt>
                <c:pt idx="50">
                  <c:v>43864</c:v>
                </c:pt>
                <c:pt idx="51">
                  <c:v>43865</c:v>
                </c:pt>
                <c:pt idx="52">
                  <c:v>43866</c:v>
                </c:pt>
                <c:pt idx="53">
                  <c:v>43867</c:v>
                </c:pt>
                <c:pt idx="54">
                  <c:v>43868</c:v>
                </c:pt>
                <c:pt idx="55">
                  <c:v>43871</c:v>
                </c:pt>
                <c:pt idx="56">
                  <c:v>43872</c:v>
                </c:pt>
                <c:pt idx="57">
                  <c:v>43873</c:v>
                </c:pt>
                <c:pt idx="58">
                  <c:v>43874</c:v>
                </c:pt>
                <c:pt idx="59">
                  <c:v>43875</c:v>
                </c:pt>
                <c:pt idx="60">
                  <c:v>43878</c:v>
                </c:pt>
                <c:pt idx="61">
                  <c:v>43879</c:v>
                </c:pt>
                <c:pt idx="62">
                  <c:v>43880</c:v>
                </c:pt>
                <c:pt idx="63">
                  <c:v>43881</c:v>
                </c:pt>
                <c:pt idx="64">
                  <c:v>43882</c:v>
                </c:pt>
                <c:pt idx="65">
                  <c:v>43885</c:v>
                </c:pt>
                <c:pt idx="66">
                  <c:v>43886</c:v>
                </c:pt>
                <c:pt idx="67">
                  <c:v>43887</c:v>
                </c:pt>
                <c:pt idx="68">
                  <c:v>43888</c:v>
                </c:pt>
                <c:pt idx="69">
                  <c:v>43889</c:v>
                </c:pt>
                <c:pt idx="70">
                  <c:v>43892</c:v>
                </c:pt>
                <c:pt idx="71">
                  <c:v>43893</c:v>
                </c:pt>
                <c:pt idx="72">
                  <c:v>43894</c:v>
                </c:pt>
                <c:pt idx="73">
                  <c:v>43895</c:v>
                </c:pt>
                <c:pt idx="74">
                  <c:v>43896</c:v>
                </c:pt>
                <c:pt idx="75">
                  <c:v>43899</c:v>
                </c:pt>
                <c:pt idx="76">
                  <c:v>43900</c:v>
                </c:pt>
                <c:pt idx="77">
                  <c:v>43901</c:v>
                </c:pt>
                <c:pt idx="78">
                  <c:v>43902</c:v>
                </c:pt>
                <c:pt idx="79">
                  <c:v>43903</c:v>
                </c:pt>
                <c:pt idx="80">
                  <c:v>43906</c:v>
                </c:pt>
                <c:pt idx="81">
                  <c:v>43907</c:v>
                </c:pt>
                <c:pt idx="82">
                  <c:v>43908</c:v>
                </c:pt>
                <c:pt idx="83">
                  <c:v>43909</c:v>
                </c:pt>
                <c:pt idx="84">
                  <c:v>43910</c:v>
                </c:pt>
                <c:pt idx="85">
                  <c:v>43913</c:v>
                </c:pt>
                <c:pt idx="86">
                  <c:v>43914</c:v>
                </c:pt>
                <c:pt idx="87">
                  <c:v>43915</c:v>
                </c:pt>
                <c:pt idx="88">
                  <c:v>43916</c:v>
                </c:pt>
                <c:pt idx="89">
                  <c:v>43917</c:v>
                </c:pt>
                <c:pt idx="90">
                  <c:v>43920</c:v>
                </c:pt>
                <c:pt idx="91">
                  <c:v>43921</c:v>
                </c:pt>
                <c:pt idx="92">
                  <c:v>43922</c:v>
                </c:pt>
                <c:pt idx="93">
                  <c:v>43923</c:v>
                </c:pt>
                <c:pt idx="94">
                  <c:v>43924</c:v>
                </c:pt>
                <c:pt idx="95">
                  <c:v>43927</c:v>
                </c:pt>
                <c:pt idx="96">
                  <c:v>43928</c:v>
                </c:pt>
                <c:pt idx="97">
                  <c:v>43929</c:v>
                </c:pt>
                <c:pt idx="98">
                  <c:v>43930</c:v>
                </c:pt>
                <c:pt idx="99">
                  <c:v>43931</c:v>
                </c:pt>
                <c:pt idx="100">
                  <c:v>43934</c:v>
                </c:pt>
                <c:pt idx="101">
                  <c:v>43935</c:v>
                </c:pt>
                <c:pt idx="102">
                  <c:v>43936</c:v>
                </c:pt>
                <c:pt idx="103">
                  <c:v>43937</c:v>
                </c:pt>
                <c:pt idx="104">
                  <c:v>43938</c:v>
                </c:pt>
                <c:pt idx="105">
                  <c:v>43941</c:v>
                </c:pt>
                <c:pt idx="106">
                  <c:v>43942</c:v>
                </c:pt>
                <c:pt idx="107">
                  <c:v>43943</c:v>
                </c:pt>
                <c:pt idx="108">
                  <c:v>43944</c:v>
                </c:pt>
                <c:pt idx="109">
                  <c:v>43945</c:v>
                </c:pt>
                <c:pt idx="110">
                  <c:v>43948</c:v>
                </c:pt>
                <c:pt idx="111">
                  <c:v>43949</c:v>
                </c:pt>
                <c:pt idx="112">
                  <c:v>43950</c:v>
                </c:pt>
                <c:pt idx="113">
                  <c:v>43951</c:v>
                </c:pt>
                <c:pt idx="114">
                  <c:v>43952</c:v>
                </c:pt>
                <c:pt idx="115">
                  <c:v>43955</c:v>
                </c:pt>
                <c:pt idx="116">
                  <c:v>43956</c:v>
                </c:pt>
                <c:pt idx="117">
                  <c:v>43957</c:v>
                </c:pt>
                <c:pt idx="118">
                  <c:v>43958</c:v>
                </c:pt>
                <c:pt idx="119">
                  <c:v>43959</c:v>
                </c:pt>
                <c:pt idx="120">
                  <c:v>43962</c:v>
                </c:pt>
                <c:pt idx="121">
                  <c:v>43963</c:v>
                </c:pt>
                <c:pt idx="122">
                  <c:v>43964</c:v>
                </c:pt>
                <c:pt idx="123">
                  <c:v>43965</c:v>
                </c:pt>
                <c:pt idx="124">
                  <c:v>43966</c:v>
                </c:pt>
                <c:pt idx="125">
                  <c:v>43969</c:v>
                </c:pt>
                <c:pt idx="126">
                  <c:v>43970</c:v>
                </c:pt>
                <c:pt idx="127">
                  <c:v>43971</c:v>
                </c:pt>
                <c:pt idx="128">
                  <c:v>43972</c:v>
                </c:pt>
                <c:pt idx="129">
                  <c:v>43973</c:v>
                </c:pt>
                <c:pt idx="130">
                  <c:v>43976</c:v>
                </c:pt>
                <c:pt idx="131">
                  <c:v>43977</c:v>
                </c:pt>
                <c:pt idx="132">
                  <c:v>43978</c:v>
                </c:pt>
                <c:pt idx="133">
                  <c:v>43979</c:v>
                </c:pt>
                <c:pt idx="134">
                  <c:v>43980</c:v>
                </c:pt>
                <c:pt idx="135">
                  <c:v>43983</c:v>
                </c:pt>
                <c:pt idx="136">
                  <c:v>43984</c:v>
                </c:pt>
                <c:pt idx="137">
                  <c:v>43985</c:v>
                </c:pt>
                <c:pt idx="138">
                  <c:v>43986</c:v>
                </c:pt>
                <c:pt idx="139">
                  <c:v>43987</c:v>
                </c:pt>
                <c:pt idx="140">
                  <c:v>43990</c:v>
                </c:pt>
                <c:pt idx="141">
                  <c:v>43991</c:v>
                </c:pt>
                <c:pt idx="142">
                  <c:v>43992</c:v>
                </c:pt>
                <c:pt idx="143">
                  <c:v>43993</c:v>
                </c:pt>
                <c:pt idx="144">
                  <c:v>43994</c:v>
                </c:pt>
                <c:pt idx="145">
                  <c:v>43997</c:v>
                </c:pt>
                <c:pt idx="146">
                  <c:v>43998</c:v>
                </c:pt>
                <c:pt idx="147">
                  <c:v>43999</c:v>
                </c:pt>
                <c:pt idx="148">
                  <c:v>44000</c:v>
                </c:pt>
                <c:pt idx="149">
                  <c:v>44001</c:v>
                </c:pt>
                <c:pt idx="150">
                  <c:v>44004</c:v>
                </c:pt>
                <c:pt idx="151">
                  <c:v>44005</c:v>
                </c:pt>
                <c:pt idx="152">
                  <c:v>44006</c:v>
                </c:pt>
                <c:pt idx="153">
                  <c:v>44007</c:v>
                </c:pt>
                <c:pt idx="154">
                  <c:v>44008</c:v>
                </c:pt>
                <c:pt idx="155">
                  <c:v>44011</c:v>
                </c:pt>
                <c:pt idx="156">
                  <c:v>44012</c:v>
                </c:pt>
                <c:pt idx="157">
                  <c:v>44013</c:v>
                </c:pt>
                <c:pt idx="158">
                  <c:v>44014</c:v>
                </c:pt>
                <c:pt idx="159">
                  <c:v>44015</c:v>
                </c:pt>
                <c:pt idx="160">
                  <c:v>44018</c:v>
                </c:pt>
                <c:pt idx="161">
                  <c:v>44019</c:v>
                </c:pt>
                <c:pt idx="162">
                  <c:v>44020</c:v>
                </c:pt>
                <c:pt idx="163">
                  <c:v>44021</c:v>
                </c:pt>
                <c:pt idx="164">
                  <c:v>44022</c:v>
                </c:pt>
                <c:pt idx="165">
                  <c:v>44025</c:v>
                </c:pt>
                <c:pt idx="166">
                  <c:v>44026</c:v>
                </c:pt>
                <c:pt idx="167">
                  <c:v>44027</c:v>
                </c:pt>
                <c:pt idx="168">
                  <c:v>44028</c:v>
                </c:pt>
                <c:pt idx="169">
                  <c:v>44029</c:v>
                </c:pt>
                <c:pt idx="170">
                  <c:v>44032</c:v>
                </c:pt>
                <c:pt idx="171">
                  <c:v>44033</c:v>
                </c:pt>
                <c:pt idx="172">
                  <c:v>44034</c:v>
                </c:pt>
                <c:pt idx="173">
                  <c:v>44035</c:v>
                </c:pt>
                <c:pt idx="174">
                  <c:v>44036</c:v>
                </c:pt>
                <c:pt idx="175">
                  <c:v>44039</c:v>
                </c:pt>
                <c:pt idx="176">
                  <c:v>44040</c:v>
                </c:pt>
                <c:pt idx="177">
                  <c:v>44041</c:v>
                </c:pt>
                <c:pt idx="178">
                  <c:v>44042</c:v>
                </c:pt>
                <c:pt idx="179">
                  <c:v>44043</c:v>
                </c:pt>
                <c:pt idx="180">
                  <c:v>44046</c:v>
                </c:pt>
                <c:pt idx="181">
                  <c:v>44047</c:v>
                </c:pt>
                <c:pt idx="182">
                  <c:v>44048</c:v>
                </c:pt>
                <c:pt idx="183">
                  <c:v>44049</c:v>
                </c:pt>
                <c:pt idx="184">
                  <c:v>44050</c:v>
                </c:pt>
                <c:pt idx="185">
                  <c:v>44053</c:v>
                </c:pt>
                <c:pt idx="186">
                  <c:v>44054</c:v>
                </c:pt>
                <c:pt idx="187">
                  <c:v>44055</c:v>
                </c:pt>
                <c:pt idx="188">
                  <c:v>44056</c:v>
                </c:pt>
                <c:pt idx="189">
                  <c:v>44057</c:v>
                </c:pt>
                <c:pt idx="190">
                  <c:v>44060</c:v>
                </c:pt>
                <c:pt idx="191">
                  <c:v>44061</c:v>
                </c:pt>
                <c:pt idx="192">
                  <c:v>44062</c:v>
                </c:pt>
                <c:pt idx="193">
                  <c:v>44063</c:v>
                </c:pt>
                <c:pt idx="194">
                  <c:v>44064</c:v>
                </c:pt>
                <c:pt idx="195">
                  <c:v>44067</c:v>
                </c:pt>
                <c:pt idx="196">
                  <c:v>44068</c:v>
                </c:pt>
                <c:pt idx="197">
                  <c:v>44069</c:v>
                </c:pt>
                <c:pt idx="198">
                  <c:v>44070</c:v>
                </c:pt>
                <c:pt idx="199">
                  <c:v>44071</c:v>
                </c:pt>
                <c:pt idx="200">
                  <c:v>44074</c:v>
                </c:pt>
                <c:pt idx="201">
                  <c:v>44075</c:v>
                </c:pt>
                <c:pt idx="202">
                  <c:v>44076</c:v>
                </c:pt>
                <c:pt idx="203">
                  <c:v>44077</c:v>
                </c:pt>
                <c:pt idx="204">
                  <c:v>44078</c:v>
                </c:pt>
                <c:pt idx="205">
                  <c:v>44081</c:v>
                </c:pt>
                <c:pt idx="206">
                  <c:v>44082</c:v>
                </c:pt>
                <c:pt idx="207">
                  <c:v>44083</c:v>
                </c:pt>
                <c:pt idx="208">
                  <c:v>44084</c:v>
                </c:pt>
                <c:pt idx="209">
                  <c:v>44085</c:v>
                </c:pt>
                <c:pt idx="210">
                  <c:v>44088</c:v>
                </c:pt>
                <c:pt idx="211">
                  <c:v>44089</c:v>
                </c:pt>
                <c:pt idx="212">
                  <c:v>44090</c:v>
                </c:pt>
                <c:pt idx="213">
                  <c:v>44091</c:v>
                </c:pt>
                <c:pt idx="214">
                  <c:v>44092</c:v>
                </c:pt>
                <c:pt idx="215">
                  <c:v>44095</c:v>
                </c:pt>
                <c:pt idx="216">
                  <c:v>44096</c:v>
                </c:pt>
                <c:pt idx="217">
                  <c:v>44097</c:v>
                </c:pt>
                <c:pt idx="218">
                  <c:v>44098</c:v>
                </c:pt>
                <c:pt idx="219">
                  <c:v>44099</c:v>
                </c:pt>
                <c:pt idx="220">
                  <c:v>44102</c:v>
                </c:pt>
                <c:pt idx="221">
                  <c:v>44103</c:v>
                </c:pt>
                <c:pt idx="222">
                  <c:v>44104</c:v>
                </c:pt>
                <c:pt idx="223">
                  <c:v>44105</c:v>
                </c:pt>
                <c:pt idx="224">
                  <c:v>44106</c:v>
                </c:pt>
                <c:pt idx="225">
                  <c:v>44109</c:v>
                </c:pt>
                <c:pt idx="226">
                  <c:v>44110</c:v>
                </c:pt>
                <c:pt idx="227">
                  <c:v>44111</c:v>
                </c:pt>
                <c:pt idx="228">
                  <c:v>44112</c:v>
                </c:pt>
                <c:pt idx="229">
                  <c:v>44113</c:v>
                </c:pt>
                <c:pt idx="230">
                  <c:v>44116</c:v>
                </c:pt>
                <c:pt idx="231">
                  <c:v>44117</c:v>
                </c:pt>
                <c:pt idx="232">
                  <c:v>44118</c:v>
                </c:pt>
                <c:pt idx="233">
                  <c:v>44119</c:v>
                </c:pt>
                <c:pt idx="234">
                  <c:v>44120</c:v>
                </c:pt>
                <c:pt idx="235">
                  <c:v>44123</c:v>
                </c:pt>
                <c:pt idx="236">
                  <c:v>44124</c:v>
                </c:pt>
                <c:pt idx="237">
                  <c:v>44125</c:v>
                </c:pt>
                <c:pt idx="238">
                  <c:v>44126</c:v>
                </c:pt>
                <c:pt idx="239">
                  <c:v>44127</c:v>
                </c:pt>
                <c:pt idx="240">
                  <c:v>44130</c:v>
                </c:pt>
                <c:pt idx="241">
                  <c:v>44131</c:v>
                </c:pt>
                <c:pt idx="242">
                  <c:v>44132</c:v>
                </c:pt>
                <c:pt idx="243">
                  <c:v>44133</c:v>
                </c:pt>
                <c:pt idx="244">
                  <c:v>44134</c:v>
                </c:pt>
                <c:pt idx="245">
                  <c:v>44137</c:v>
                </c:pt>
                <c:pt idx="246">
                  <c:v>44138</c:v>
                </c:pt>
                <c:pt idx="247">
                  <c:v>44139</c:v>
                </c:pt>
                <c:pt idx="248">
                  <c:v>44140</c:v>
                </c:pt>
                <c:pt idx="249">
                  <c:v>44141</c:v>
                </c:pt>
                <c:pt idx="250">
                  <c:v>44144</c:v>
                </c:pt>
                <c:pt idx="251">
                  <c:v>44145</c:v>
                </c:pt>
                <c:pt idx="252">
                  <c:v>44146</c:v>
                </c:pt>
                <c:pt idx="253">
                  <c:v>44147</c:v>
                </c:pt>
                <c:pt idx="254">
                  <c:v>44148</c:v>
                </c:pt>
                <c:pt idx="255">
                  <c:v>44151</c:v>
                </c:pt>
                <c:pt idx="256">
                  <c:v>44152</c:v>
                </c:pt>
                <c:pt idx="257">
                  <c:v>44153</c:v>
                </c:pt>
                <c:pt idx="258">
                  <c:v>44154</c:v>
                </c:pt>
                <c:pt idx="259">
                  <c:v>44155</c:v>
                </c:pt>
                <c:pt idx="260">
                  <c:v>44158</c:v>
                </c:pt>
                <c:pt idx="261">
                  <c:v>44159</c:v>
                </c:pt>
                <c:pt idx="262">
                  <c:v>44160</c:v>
                </c:pt>
                <c:pt idx="263">
                  <c:v>44161</c:v>
                </c:pt>
                <c:pt idx="264">
                  <c:v>44162</c:v>
                </c:pt>
                <c:pt idx="265">
                  <c:v>44165</c:v>
                </c:pt>
                <c:pt idx="266">
                  <c:v>44166</c:v>
                </c:pt>
                <c:pt idx="267">
                  <c:v>44167</c:v>
                </c:pt>
                <c:pt idx="268">
                  <c:v>44168</c:v>
                </c:pt>
                <c:pt idx="269">
                  <c:v>44169</c:v>
                </c:pt>
                <c:pt idx="270">
                  <c:v>44172</c:v>
                </c:pt>
                <c:pt idx="271">
                  <c:v>44173</c:v>
                </c:pt>
                <c:pt idx="272">
                  <c:v>44174</c:v>
                </c:pt>
                <c:pt idx="273">
                  <c:v>44175</c:v>
                </c:pt>
                <c:pt idx="274">
                  <c:v>44176</c:v>
                </c:pt>
                <c:pt idx="275">
                  <c:v>44179</c:v>
                </c:pt>
                <c:pt idx="276">
                  <c:v>44180</c:v>
                </c:pt>
                <c:pt idx="277">
                  <c:v>44181</c:v>
                </c:pt>
                <c:pt idx="278">
                  <c:v>44182</c:v>
                </c:pt>
                <c:pt idx="279">
                  <c:v>44183</c:v>
                </c:pt>
                <c:pt idx="280">
                  <c:v>44186</c:v>
                </c:pt>
                <c:pt idx="281">
                  <c:v>44187</c:v>
                </c:pt>
                <c:pt idx="282">
                  <c:v>44188</c:v>
                </c:pt>
                <c:pt idx="283">
                  <c:v>44189</c:v>
                </c:pt>
                <c:pt idx="284">
                  <c:v>44190</c:v>
                </c:pt>
                <c:pt idx="285">
                  <c:v>44193</c:v>
                </c:pt>
                <c:pt idx="286">
                  <c:v>44194</c:v>
                </c:pt>
                <c:pt idx="287">
                  <c:v>44195</c:v>
                </c:pt>
                <c:pt idx="288">
                  <c:v>44196</c:v>
                </c:pt>
                <c:pt idx="289">
                  <c:v>44197</c:v>
                </c:pt>
                <c:pt idx="290">
                  <c:v>44200</c:v>
                </c:pt>
                <c:pt idx="291">
                  <c:v>44201</c:v>
                </c:pt>
                <c:pt idx="292">
                  <c:v>44202</c:v>
                </c:pt>
                <c:pt idx="293">
                  <c:v>44203</c:v>
                </c:pt>
                <c:pt idx="294">
                  <c:v>44204</c:v>
                </c:pt>
                <c:pt idx="295">
                  <c:v>44207</c:v>
                </c:pt>
                <c:pt idx="296">
                  <c:v>44208</c:v>
                </c:pt>
                <c:pt idx="297">
                  <c:v>44209</c:v>
                </c:pt>
                <c:pt idx="298">
                  <c:v>44210</c:v>
                </c:pt>
                <c:pt idx="299">
                  <c:v>44211</c:v>
                </c:pt>
                <c:pt idx="300">
                  <c:v>44214</c:v>
                </c:pt>
                <c:pt idx="301">
                  <c:v>44215</c:v>
                </c:pt>
                <c:pt idx="302">
                  <c:v>44216</c:v>
                </c:pt>
                <c:pt idx="303">
                  <c:v>44217</c:v>
                </c:pt>
                <c:pt idx="304">
                  <c:v>44218</c:v>
                </c:pt>
                <c:pt idx="305">
                  <c:v>44221</c:v>
                </c:pt>
                <c:pt idx="306">
                  <c:v>44222</c:v>
                </c:pt>
                <c:pt idx="307">
                  <c:v>44223</c:v>
                </c:pt>
                <c:pt idx="308">
                  <c:v>44224</c:v>
                </c:pt>
                <c:pt idx="309">
                  <c:v>44225</c:v>
                </c:pt>
                <c:pt idx="310">
                  <c:v>44228</c:v>
                </c:pt>
                <c:pt idx="311">
                  <c:v>44229</c:v>
                </c:pt>
                <c:pt idx="312">
                  <c:v>44230</c:v>
                </c:pt>
                <c:pt idx="313">
                  <c:v>44231</c:v>
                </c:pt>
                <c:pt idx="314">
                  <c:v>44232</c:v>
                </c:pt>
                <c:pt idx="315">
                  <c:v>44235</c:v>
                </c:pt>
                <c:pt idx="316">
                  <c:v>44236</c:v>
                </c:pt>
                <c:pt idx="317">
                  <c:v>44237</c:v>
                </c:pt>
                <c:pt idx="318">
                  <c:v>44238</c:v>
                </c:pt>
                <c:pt idx="319">
                  <c:v>44239</c:v>
                </c:pt>
                <c:pt idx="320">
                  <c:v>44242</c:v>
                </c:pt>
                <c:pt idx="321">
                  <c:v>44243</c:v>
                </c:pt>
                <c:pt idx="322">
                  <c:v>44244</c:v>
                </c:pt>
                <c:pt idx="323">
                  <c:v>44245</c:v>
                </c:pt>
                <c:pt idx="324">
                  <c:v>44246</c:v>
                </c:pt>
                <c:pt idx="325">
                  <c:v>44249</c:v>
                </c:pt>
                <c:pt idx="326">
                  <c:v>44250</c:v>
                </c:pt>
                <c:pt idx="327">
                  <c:v>44251</c:v>
                </c:pt>
                <c:pt idx="328">
                  <c:v>44252</c:v>
                </c:pt>
                <c:pt idx="329">
                  <c:v>44253</c:v>
                </c:pt>
                <c:pt idx="330">
                  <c:v>44256</c:v>
                </c:pt>
                <c:pt idx="331">
                  <c:v>44257</c:v>
                </c:pt>
                <c:pt idx="332">
                  <c:v>44258</c:v>
                </c:pt>
                <c:pt idx="333">
                  <c:v>44259</c:v>
                </c:pt>
                <c:pt idx="334">
                  <c:v>44260</c:v>
                </c:pt>
                <c:pt idx="335">
                  <c:v>44263</c:v>
                </c:pt>
                <c:pt idx="336">
                  <c:v>44264</c:v>
                </c:pt>
                <c:pt idx="337">
                  <c:v>44265</c:v>
                </c:pt>
                <c:pt idx="338">
                  <c:v>44266</c:v>
                </c:pt>
                <c:pt idx="339">
                  <c:v>44267</c:v>
                </c:pt>
                <c:pt idx="340">
                  <c:v>44270</c:v>
                </c:pt>
                <c:pt idx="341">
                  <c:v>44271</c:v>
                </c:pt>
                <c:pt idx="342">
                  <c:v>44272</c:v>
                </c:pt>
                <c:pt idx="343">
                  <c:v>44273</c:v>
                </c:pt>
                <c:pt idx="344">
                  <c:v>44274</c:v>
                </c:pt>
                <c:pt idx="345">
                  <c:v>44277</c:v>
                </c:pt>
                <c:pt idx="346">
                  <c:v>44278</c:v>
                </c:pt>
                <c:pt idx="347">
                  <c:v>44279</c:v>
                </c:pt>
                <c:pt idx="348">
                  <c:v>44280</c:v>
                </c:pt>
                <c:pt idx="349">
                  <c:v>44281</c:v>
                </c:pt>
                <c:pt idx="350">
                  <c:v>44284</c:v>
                </c:pt>
                <c:pt idx="351">
                  <c:v>44285</c:v>
                </c:pt>
                <c:pt idx="352">
                  <c:v>44286</c:v>
                </c:pt>
                <c:pt idx="353">
                  <c:v>44287</c:v>
                </c:pt>
                <c:pt idx="354">
                  <c:v>44288</c:v>
                </c:pt>
                <c:pt idx="355">
                  <c:v>44291</c:v>
                </c:pt>
                <c:pt idx="356">
                  <c:v>44292</c:v>
                </c:pt>
                <c:pt idx="357">
                  <c:v>44293</c:v>
                </c:pt>
                <c:pt idx="358">
                  <c:v>44294</c:v>
                </c:pt>
                <c:pt idx="359">
                  <c:v>44295</c:v>
                </c:pt>
                <c:pt idx="360">
                  <c:v>44298</c:v>
                </c:pt>
                <c:pt idx="361">
                  <c:v>44299</c:v>
                </c:pt>
                <c:pt idx="362">
                  <c:v>44300</c:v>
                </c:pt>
                <c:pt idx="363">
                  <c:v>44301</c:v>
                </c:pt>
                <c:pt idx="364">
                  <c:v>44302</c:v>
                </c:pt>
                <c:pt idx="365">
                  <c:v>44305</c:v>
                </c:pt>
                <c:pt idx="366">
                  <c:v>44306</c:v>
                </c:pt>
                <c:pt idx="367">
                  <c:v>44307</c:v>
                </c:pt>
                <c:pt idx="368">
                  <c:v>44308</c:v>
                </c:pt>
                <c:pt idx="369">
                  <c:v>44309</c:v>
                </c:pt>
                <c:pt idx="370">
                  <c:v>44312</c:v>
                </c:pt>
                <c:pt idx="371">
                  <c:v>44313</c:v>
                </c:pt>
                <c:pt idx="372">
                  <c:v>44314</c:v>
                </c:pt>
                <c:pt idx="373">
                  <c:v>44315</c:v>
                </c:pt>
                <c:pt idx="374">
                  <c:v>44316</c:v>
                </c:pt>
                <c:pt idx="375">
                  <c:v>44319</c:v>
                </c:pt>
                <c:pt idx="376">
                  <c:v>44320</c:v>
                </c:pt>
                <c:pt idx="377">
                  <c:v>44321</c:v>
                </c:pt>
                <c:pt idx="378">
                  <c:v>44322</c:v>
                </c:pt>
                <c:pt idx="379">
                  <c:v>44323</c:v>
                </c:pt>
                <c:pt idx="380">
                  <c:v>44326</c:v>
                </c:pt>
                <c:pt idx="381">
                  <c:v>44327</c:v>
                </c:pt>
                <c:pt idx="382">
                  <c:v>44328</c:v>
                </c:pt>
                <c:pt idx="383">
                  <c:v>44329</c:v>
                </c:pt>
                <c:pt idx="384">
                  <c:v>44330</c:v>
                </c:pt>
                <c:pt idx="385">
                  <c:v>44333</c:v>
                </c:pt>
                <c:pt idx="386">
                  <c:v>44334</c:v>
                </c:pt>
                <c:pt idx="387">
                  <c:v>44335</c:v>
                </c:pt>
                <c:pt idx="388">
                  <c:v>44336</c:v>
                </c:pt>
                <c:pt idx="389">
                  <c:v>44337</c:v>
                </c:pt>
                <c:pt idx="390">
                  <c:v>44340</c:v>
                </c:pt>
                <c:pt idx="391">
                  <c:v>44341</c:v>
                </c:pt>
                <c:pt idx="392">
                  <c:v>44342</c:v>
                </c:pt>
                <c:pt idx="393">
                  <c:v>44343</c:v>
                </c:pt>
                <c:pt idx="394">
                  <c:v>44344</c:v>
                </c:pt>
                <c:pt idx="395">
                  <c:v>44347</c:v>
                </c:pt>
                <c:pt idx="396">
                  <c:v>44348</c:v>
                </c:pt>
                <c:pt idx="397">
                  <c:v>44349</c:v>
                </c:pt>
                <c:pt idx="398">
                  <c:v>44350</c:v>
                </c:pt>
                <c:pt idx="399">
                  <c:v>44351</c:v>
                </c:pt>
                <c:pt idx="400">
                  <c:v>44354</c:v>
                </c:pt>
                <c:pt idx="401">
                  <c:v>44355</c:v>
                </c:pt>
                <c:pt idx="402">
                  <c:v>44356</c:v>
                </c:pt>
                <c:pt idx="403">
                  <c:v>44357</c:v>
                </c:pt>
                <c:pt idx="404">
                  <c:v>44358</c:v>
                </c:pt>
                <c:pt idx="405">
                  <c:v>44361</c:v>
                </c:pt>
                <c:pt idx="406">
                  <c:v>44362</c:v>
                </c:pt>
                <c:pt idx="407">
                  <c:v>44363</c:v>
                </c:pt>
                <c:pt idx="408">
                  <c:v>44364</c:v>
                </c:pt>
                <c:pt idx="409">
                  <c:v>44365</c:v>
                </c:pt>
                <c:pt idx="410">
                  <c:v>44368</c:v>
                </c:pt>
                <c:pt idx="411">
                  <c:v>44369</c:v>
                </c:pt>
                <c:pt idx="412">
                  <c:v>44370</c:v>
                </c:pt>
                <c:pt idx="413">
                  <c:v>44371</c:v>
                </c:pt>
                <c:pt idx="414">
                  <c:v>44372</c:v>
                </c:pt>
                <c:pt idx="415">
                  <c:v>44375</c:v>
                </c:pt>
                <c:pt idx="416">
                  <c:v>44376</c:v>
                </c:pt>
                <c:pt idx="417">
                  <c:v>44377</c:v>
                </c:pt>
                <c:pt idx="418">
                  <c:v>44378</c:v>
                </c:pt>
                <c:pt idx="419">
                  <c:v>44379</c:v>
                </c:pt>
                <c:pt idx="420">
                  <c:v>44382</c:v>
                </c:pt>
                <c:pt idx="421">
                  <c:v>44383</c:v>
                </c:pt>
                <c:pt idx="422">
                  <c:v>44384</c:v>
                </c:pt>
                <c:pt idx="423">
                  <c:v>44385</c:v>
                </c:pt>
                <c:pt idx="424">
                  <c:v>44386</c:v>
                </c:pt>
                <c:pt idx="425">
                  <c:v>44389</c:v>
                </c:pt>
                <c:pt idx="426">
                  <c:v>44390</c:v>
                </c:pt>
                <c:pt idx="427">
                  <c:v>44391</c:v>
                </c:pt>
                <c:pt idx="428">
                  <c:v>44392</c:v>
                </c:pt>
                <c:pt idx="429">
                  <c:v>44393</c:v>
                </c:pt>
                <c:pt idx="430">
                  <c:v>44396</c:v>
                </c:pt>
                <c:pt idx="431">
                  <c:v>44397</c:v>
                </c:pt>
                <c:pt idx="432">
                  <c:v>44398</c:v>
                </c:pt>
                <c:pt idx="433">
                  <c:v>44399</c:v>
                </c:pt>
                <c:pt idx="434">
                  <c:v>44400</c:v>
                </c:pt>
                <c:pt idx="435">
                  <c:v>44403</c:v>
                </c:pt>
                <c:pt idx="436">
                  <c:v>44404</c:v>
                </c:pt>
                <c:pt idx="437">
                  <c:v>44405</c:v>
                </c:pt>
                <c:pt idx="438">
                  <c:v>44406</c:v>
                </c:pt>
                <c:pt idx="439">
                  <c:v>44407</c:v>
                </c:pt>
                <c:pt idx="440">
                  <c:v>44410</c:v>
                </c:pt>
                <c:pt idx="441">
                  <c:v>44411</c:v>
                </c:pt>
                <c:pt idx="442">
                  <c:v>44412</c:v>
                </c:pt>
                <c:pt idx="443">
                  <c:v>44413</c:v>
                </c:pt>
                <c:pt idx="444">
                  <c:v>44414</c:v>
                </c:pt>
                <c:pt idx="445">
                  <c:v>44417</c:v>
                </c:pt>
                <c:pt idx="446">
                  <c:v>44418</c:v>
                </c:pt>
                <c:pt idx="447">
                  <c:v>44419</c:v>
                </c:pt>
                <c:pt idx="448">
                  <c:v>44420</c:v>
                </c:pt>
                <c:pt idx="449">
                  <c:v>44421</c:v>
                </c:pt>
                <c:pt idx="450">
                  <c:v>44424</c:v>
                </c:pt>
                <c:pt idx="451">
                  <c:v>44425</c:v>
                </c:pt>
                <c:pt idx="452">
                  <c:v>44426</c:v>
                </c:pt>
                <c:pt idx="453">
                  <c:v>44427</c:v>
                </c:pt>
                <c:pt idx="454">
                  <c:v>44428</c:v>
                </c:pt>
                <c:pt idx="455">
                  <c:v>44431</c:v>
                </c:pt>
                <c:pt idx="456">
                  <c:v>44432</c:v>
                </c:pt>
                <c:pt idx="457">
                  <c:v>44433</c:v>
                </c:pt>
                <c:pt idx="458">
                  <c:v>44434</c:v>
                </c:pt>
                <c:pt idx="459">
                  <c:v>44435</c:v>
                </c:pt>
                <c:pt idx="460">
                  <c:v>44438</c:v>
                </c:pt>
                <c:pt idx="461">
                  <c:v>44439</c:v>
                </c:pt>
                <c:pt idx="462">
                  <c:v>44440</c:v>
                </c:pt>
                <c:pt idx="463">
                  <c:v>44441</c:v>
                </c:pt>
                <c:pt idx="464">
                  <c:v>44442</c:v>
                </c:pt>
                <c:pt idx="465">
                  <c:v>44445</c:v>
                </c:pt>
                <c:pt idx="466">
                  <c:v>44446</c:v>
                </c:pt>
                <c:pt idx="467">
                  <c:v>44447</c:v>
                </c:pt>
                <c:pt idx="468">
                  <c:v>44448</c:v>
                </c:pt>
                <c:pt idx="469">
                  <c:v>44449</c:v>
                </c:pt>
                <c:pt idx="470">
                  <c:v>44452</c:v>
                </c:pt>
                <c:pt idx="471">
                  <c:v>44453</c:v>
                </c:pt>
                <c:pt idx="472">
                  <c:v>44454</c:v>
                </c:pt>
                <c:pt idx="473">
                  <c:v>44455</c:v>
                </c:pt>
                <c:pt idx="474">
                  <c:v>44456</c:v>
                </c:pt>
                <c:pt idx="475">
                  <c:v>44459</c:v>
                </c:pt>
                <c:pt idx="476">
                  <c:v>44460</c:v>
                </c:pt>
                <c:pt idx="477">
                  <c:v>44461</c:v>
                </c:pt>
                <c:pt idx="478">
                  <c:v>44462</c:v>
                </c:pt>
                <c:pt idx="479">
                  <c:v>44463</c:v>
                </c:pt>
                <c:pt idx="480">
                  <c:v>44466</c:v>
                </c:pt>
                <c:pt idx="481">
                  <c:v>44467</c:v>
                </c:pt>
                <c:pt idx="482">
                  <c:v>44468</c:v>
                </c:pt>
                <c:pt idx="483">
                  <c:v>44469</c:v>
                </c:pt>
                <c:pt idx="484">
                  <c:v>44470</c:v>
                </c:pt>
                <c:pt idx="485">
                  <c:v>44473</c:v>
                </c:pt>
                <c:pt idx="486">
                  <c:v>44474</c:v>
                </c:pt>
                <c:pt idx="487">
                  <c:v>44475</c:v>
                </c:pt>
                <c:pt idx="488">
                  <c:v>44476</c:v>
                </c:pt>
                <c:pt idx="489">
                  <c:v>44477</c:v>
                </c:pt>
                <c:pt idx="490">
                  <c:v>44480</c:v>
                </c:pt>
                <c:pt idx="491">
                  <c:v>44481</c:v>
                </c:pt>
                <c:pt idx="492">
                  <c:v>44482</c:v>
                </c:pt>
                <c:pt idx="493">
                  <c:v>44483</c:v>
                </c:pt>
                <c:pt idx="494">
                  <c:v>44484</c:v>
                </c:pt>
                <c:pt idx="495">
                  <c:v>44487</c:v>
                </c:pt>
                <c:pt idx="496">
                  <c:v>44488</c:v>
                </c:pt>
                <c:pt idx="497">
                  <c:v>44489</c:v>
                </c:pt>
                <c:pt idx="498">
                  <c:v>44490</c:v>
                </c:pt>
                <c:pt idx="499">
                  <c:v>44491</c:v>
                </c:pt>
                <c:pt idx="500">
                  <c:v>44494</c:v>
                </c:pt>
                <c:pt idx="501">
                  <c:v>44495</c:v>
                </c:pt>
                <c:pt idx="502">
                  <c:v>44496</c:v>
                </c:pt>
                <c:pt idx="503">
                  <c:v>44497</c:v>
                </c:pt>
                <c:pt idx="504">
                  <c:v>44498</c:v>
                </c:pt>
                <c:pt idx="505">
                  <c:v>44501</c:v>
                </c:pt>
                <c:pt idx="506">
                  <c:v>44502</c:v>
                </c:pt>
                <c:pt idx="507">
                  <c:v>44503</c:v>
                </c:pt>
                <c:pt idx="508">
                  <c:v>44504</c:v>
                </c:pt>
                <c:pt idx="509">
                  <c:v>44505</c:v>
                </c:pt>
                <c:pt idx="510">
                  <c:v>44508</c:v>
                </c:pt>
                <c:pt idx="511">
                  <c:v>44509</c:v>
                </c:pt>
                <c:pt idx="512">
                  <c:v>44510</c:v>
                </c:pt>
                <c:pt idx="513">
                  <c:v>44511</c:v>
                </c:pt>
                <c:pt idx="514">
                  <c:v>44512</c:v>
                </c:pt>
                <c:pt idx="515">
                  <c:v>44515</c:v>
                </c:pt>
                <c:pt idx="516">
                  <c:v>44516</c:v>
                </c:pt>
                <c:pt idx="517">
                  <c:v>44517</c:v>
                </c:pt>
                <c:pt idx="518">
                  <c:v>44518</c:v>
                </c:pt>
                <c:pt idx="519">
                  <c:v>44519</c:v>
                </c:pt>
                <c:pt idx="520">
                  <c:v>44522</c:v>
                </c:pt>
                <c:pt idx="521">
                  <c:v>44523</c:v>
                </c:pt>
                <c:pt idx="522">
                  <c:v>44524</c:v>
                </c:pt>
                <c:pt idx="523">
                  <c:v>44525</c:v>
                </c:pt>
                <c:pt idx="524">
                  <c:v>44526</c:v>
                </c:pt>
                <c:pt idx="525">
                  <c:v>44529</c:v>
                </c:pt>
                <c:pt idx="526">
                  <c:v>44530</c:v>
                </c:pt>
                <c:pt idx="527">
                  <c:v>44531</c:v>
                </c:pt>
                <c:pt idx="528">
                  <c:v>44532</c:v>
                </c:pt>
                <c:pt idx="529">
                  <c:v>44533</c:v>
                </c:pt>
                <c:pt idx="530">
                  <c:v>44536</c:v>
                </c:pt>
                <c:pt idx="531">
                  <c:v>44537</c:v>
                </c:pt>
                <c:pt idx="532">
                  <c:v>44538</c:v>
                </c:pt>
                <c:pt idx="533">
                  <c:v>44539</c:v>
                </c:pt>
                <c:pt idx="534">
                  <c:v>44540</c:v>
                </c:pt>
                <c:pt idx="535">
                  <c:v>44543</c:v>
                </c:pt>
                <c:pt idx="536">
                  <c:v>44544</c:v>
                </c:pt>
                <c:pt idx="537">
                  <c:v>44545</c:v>
                </c:pt>
                <c:pt idx="538">
                  <c:v>44546</c:v>
                </c:pt>
                <c:pt idx="539">
                  <c:v>44547</c:v>
                </c:pt>
                <c:pt idx="540">
                  <c:v>44550</c:v>
                </c:pt>
                <c:pt idx="541">
                  <c:v>44551</c:v>
                </c:pt>
                <c:pt idx="542">
                  <c:v>44552</c:v>
                </c:pt>
                <c:pt idx="543">
                  <c:v>44553</c:v>
                </c:pt>
                <c:pt idx="544">
                  <c:v>44554</c:v>
                </c:pt>
                <c:pt idx="545">
                  <c:v>44557</c:v>
                </c:pt>
                <c:pt idx="546">
                  <c:v>44558</c:v>
                </c:pt>
                <c:pt idx="547">
                  <c:v>44559</c:v>
                </c:pt>
                <c:pt idx="548">
                  <c:v>44560</c:v>
                </c:pt>
                <c:pt idx="549">
                  <c:v>44561</c:v>
                </c:pt>
                <c:pt idx="550">
                  <c:v>44564</c:v>
                </c:pt>
                <c:pt idx="551">
                  <c:v>44565</c:v>
                </c:pt>
                <c:pt idx="552">
                  <c:v>44566</c:v>
                </c:pt>
                <c:pt idx="553">
                  <c:v>44567</c:v>
                </c:pt>
                <c:pt idx="554">
                  <c:v>44568</c:v>
                </c:pt>
                <c:pt idx="555">
                  <c:v>44571</c:v>
                </c:pt>
                <c:pt idx="556">
                  <c:v>44572</c:v>
                </c:pt>
                <c:pt idx="557">
                  <c:v>44573</c:v>
                </c:pt>
                <c:pt idx="558">
                  <c:v>44574</c:v>
                </c:pt>
                <c:pt idx="559">
                  <c:v>44575</c:v>
                </c:pt>
                <c:pt idx="560">
                  <c:v>44578</c:v>
                </c:pt>
                <c:pt idx="561">
                  <c:v>44579</c:v>
                </c:pt>
                <c:pt idx="562">
                  <c:v>44580</c:v>
                </c:pt>
                <c:pt idx="563">
                  <c:v>44581</c:v>
                </c:pt>
                <c:pt idx="564">
                  <c:v>44582</c:v>
                </c:pt>
                <c:pt idx="565">
                  <c:v>44585</c:v>
                </c:pt>
                <c:pt idx="566">
                  <c:v>44586</c:v>
                </c:pt>
                <c:pt idx="567">
                  <c:v>44587</c:v>
                </c:pt>
                <c:pt idx="568">
                  <c:v>44588</c:v>
                </c:pt>
                <c:pt idx="569">
                  <c:v>44589</c:v>
                </c:pt>
                <c:pt idx="570">
                  <c:v>44592</c:v>
                </c:pt>
                <c:pt idx="571">
                  <c:v>44593</c:v>
                </c:pt>
                <c:pt idx="572">
                  <c:v>44594</c:v>
                </c:pt>
                <c:pt idx="573">
                  <c:v>44595</c:v>
                </c:pt>
                <c:pt idx="574">
                  <c:v>44596</c:v>
                </c:pt>
                <c:pt idx="575">
                  <c:v>44599</c:v>
                </c:pt>
                <c:pt idx="576">
                  <c:v>44600</c:v>
                </c:pt>
                <c:pt idx="577">
                  <c:v>44601</c:v>
                </c:pt>
                <c:pt idx="578">
                  <c:v>44602</c:v>
                </c:pt>
                <c:pt idx="579">
                  <c:v>44603</c:v>
                </c:pt>
                <c:pt idx="580">
                  <c:v>44606</c:v>
                </c:pt>
                <c:pt idx="581">
                  <c:v>44607</c:v>
                </c:pt>
                <c:pt idx="582">
                  <c:v>44608</c:v>
                </c:pt>
                <c:pt idx="583">
                  <c:v>44609</c:v>
                </c:pt>
                <c:pt idx="584">
                  <c:v>44610</c:v>
                </c:pt>
                <c:pt idx="585">
                  <c:v>44613</c:v>
                </c:pt>
                <c:pt idx="586">
                  <c:v>44614</c:v>
                </c:pt>
                <c:pt idx="587">
                  <c:v>44615</c:v>
                </c:pt>
                <c:pt idx="588">
                  <c:v>44616</c:v>
                </c:pt>
                <c:pt idx="589">
                  <c:v>44617</c:v>
                </c:pt>
                <c:pt idx="590">
                  <c:v>44620</c:v>
                </c:pt>
                <c:pt idx="591">
                  <c:v>44621</c:v>
                </c:pt>
                <c:pt idx="592">
                  <c:v>44622</c:v>
                </c:pt>
                <c:pt idx="593">
                  <c:v>44623</c:v>
                </c:pt>
                <c:pt idx="594">
                  <c:v>44624</c:v>
                </c:pt>
                <c:pt idx="595">
                  <c:v>44627</c:v>
                </c:pt>
                <c:pt idx="596">
                  <c:v>44628</c:v>
                </c:pt>
                <c:pt idx="597">
                  <c:v>44629</c:v>
                </c:pt>
                <c:pt idx="598">
                  <c:v>44630</c:v>
                </c:pt>
                <c:pt idx="599">
                  <c:v>44631</c:v>
                </c:pt>
                <c:pt idx="600">
                  <c:v>44634</c:v>
                </c:pt>
                <c:pt idx="601">
                  <c:v>44635</c:v>
                </c:pt>
                <c:pt idx="602">
                  <c:v>44636</c:v>
                </c:pt>
                <c:pt idx="603">
                  <c:v>44637</c:v>
                </c:pt>
                <c:pt idx="604">
                  <c:v>44638</c:v>
                </c:pt>
                <c:pt idx="605">
                  <c:v>44641</c:v>
                </c:pt>
                <c:pt idx="606">
                  <c:v>44642</c:v>
                </c:pt>
                <c:pt idx="607">
                  <c:v>44643</c:v>
                </c:pt>
                <c:pt idx="608">
                  <c:v>44644</c:v>
                </c:pt>
                <c:pt idx="609">
                  <c:v>44645</c:v>
                </c:pt>
                <c:pt idx="610">
                  <c:v>44648</c:v>
                </c:pt>
                <c:pt idx="611">
                  <c:v>44649</c:v>
                </c:pt>
                <c:pt idx="612">
                  <c:v>44650</c:v>
                </c:pt>
                <c:pt idx="613">
                  <c:v>44651</c:v>
                </c:pt>
                <c:pt idx="614">
                  <c:v>44652</c:v>
                </c:pt>
                <c:pt idx="615">
                  <c:v>44655</c:v>
                </c:pt>
                <c:pt idx="616">
                  <c:v>44656</c:v>
                </c:pt>
                <c:pt idx="617">
                  <c:v>44657</c:v>
                </c:pt>
                <c:pt idx="618">
                  <c:v>44658</c:v>
                </c:pt>
                <c:pt idx="619">
                  <c:v>44659</c:v>
                </c:pt>
                <c:pt idx="620">
                  <c:v>44662</c:v>
                </c:pt>
                <c:pt idx="621">
                  <c:v>44663</c:v>
                </c:pt>
                <c:pt idx="622">
                  <c:v>44664</c:v>
                </c:pt>
                <c:pt idx="623">
                  <c:v>44665</c:v>
                </c:pt>
                <c:pt idx="624">
                  <c:v>44666</c:v>
                </c:pt>
                <c:pt idx="625">
                  <c:v>44669</c:v>
                </c:pt>
                <c:pt idx="626">
                  <c:v>44670</c:v>
                </c:pt>
                <c:pt idx="627">
                  <c:v>44671</c:v>
                </c:pt>
                <c:pt idx="628">
                  <c:v>44672</c:v>
                </c:pt>
                <c:pt idx="629">
                  <c:v>44673</c:v>
                </c:pt>
                <c:pt idx="630">
                  <c:v>44676</c:v>
                </c:pt>
                <c:pt idx="631">
                  <c:v>44677</c:v>
                </c:pt>
                <c:pt idx="632">
                  <c:v>44678</c:v>
                </c:pt>
                <c:pt idx="633">
                  <c:v>44679</c:v>
                </c:pt>
                <c:pt idx="634">
                  <c:v>44680</c:v>
                </c:pt>
                <c:pt idx="635">
                  <c:v>44683</c:v>
                </c:pt>
                <c:pt idx="636">
                  <c:v>44684</c:v>
                </c:pt>
                <c:pt idx="637">
                  <c:v>44685</c:v>
                </c:pt>
                <c:pt idx="638">
                  <c:v>44686</c:v>
                </c:pt>
                <c:pt idx="639">
                  <c:v>44687</c:v>
                </c:pt>
                <c:pt idx="640">
                  <c:v>44690</c:v>
                </c:pt>
                <c:pt idx="641">
                  <c:v>44691</c:v>
                </c:pt>
                <c:pt idx="642">
                  <c:v>44692</c:v>
                </c:pt>
                <c:pt idx="643">
                  <c:v>44693</c:v>
                </c:pt>
                <c:pt idx="644">
                  <c:v>44694</c:v>
                </c:pt>
                <c:pt idx="645">
                  <c:v>44697</c:v>
                </c:pt>
                <c:pt idx="646">
                  <c:v>44698</c:v>
                </c:pt>
                <c:pt idx="647">
                  <c:v>44699</c:v>
                </c:pt>
                <c:pt idx="648">
                  <c:v>44700</c:v>
                </c:pt>
                <c:pt idx="649">
                  <c:v>44701</c:v>
                </c:pt>
                <c:pt idx="650">
                  <c:v>44704</c:v>
                </c:pt>
                <c:pt idx="651">
                  <c:v>44705</c:v>
                </c:pt>
                <c:pt idx="652">
                  <c:v>44706</c:v>
                </c:pt>
                <c:pt idx="653">
                  <c:v>44707</c:v>
                </c:pt>
                <c:pt idx="654">
                  <c:v>44708</c:v>
                </c:pt>
                <c:pt idx="655">
                  <c:v>44711</c:v>
                </c:pt>
                <c:pt idx="656">
                  <c:v>44712</c:v>
                </c:pt>
                <c:pt idx="657">
                  <c:v>44713</c:v>
                </c:pt>
                <c:pt idx="658">
                  <c:v>44714</c:v>
                </c:pt>
                <c:pt idx="659">
                  <c:v>44715</c:v>
                </c:pt>
                <c:pt idx="660">
                  <c:v>44718</c:v>
                </c:pt>
                <c:pt idx="661">
                  <c:v>44719</c:v>
                </c:pt>
                <c:pt idx="662">
                  <c:v>44720</c:v>
                </c:pt>
                <c:pt idx="663">
                  <c:v>44721</c:v>
                </c:pt>
                <c:pt idx="664">
                  <c:v>44722</c:v>
                </c:pt>
                <c:pt idx="665">
                  <c:v>44725</c:v>
                </c:pt>
                <c:pt idx="666">
                  <c:v>44726</c:v>
                </c:pt>
                <c:pt idx="667">
                  <c:v>44727</c:v>
                </c:pt>
                <c:pt idx="668">
                  <c:v>44728</c:v>
                </c:pt>
                <c:pt idx="669">
                  <c:v>44729</c:v>
                </c:pt>
                <c:pt idx="670">
                  <c:v>44732</c:v>
                </c:pt>
                <c:pt idx="671">
                  <c:v>44733</c:v>
                </c:pt>
                <c:pt idx="672">
                  <c:v>44734</c:v>
                </c:pt>
                <c:pt idx="673">
                  <c:v>44735</c:v>
                </c:pt>
                <c:pt idx="674">
                  <c:v>44736</c:v>
                </c:pt>
                <c:pt idx="675">
                  <c:v>44739</c:v>
                </c:pt>
                <c:pt idx="676">
                  <c:v>44740</c:v>
                </c:pt>
                <c:pt idx="677">
                  <c:v>44741</c:v>
                </c:pt>
                <c:pt idx="678">
                  <c:v>44742</c:v>
                </c:pt>
                <c:pt idx="679">
                  <c:v>44743</c:v>
                </c:pt>
                <c:pt idx="680">
                  <c:v>44746</c:v>
                </c:pt>
                <c:pt idx="681">
                  <c:v>44747</c:v>
                </c:pt>
                <c:pt idx="682">
                  <c:v>44748</c:v>
                </c:pt>
                <c:pt idx="683">
                  <c:v>44749</c:v>
                </c:pt>
                <c:pt idx="684">
                  <c:v>44750</c:v>
                </c:pt>
                <c:pt idx="685">
                  <c:v>44753</c:v>
                </c:pt>
                <c:pt idx="686">
                  <c:v>44754</c:v>
                </c:pt>
                <c:pt idx="687">
                  <c:v>44755</c:v>
                </c:pt>
                <c:pt idx="688">
                  <c:v>44756</c:v>
                </c:pt>
                <c:pt idx="689">
                  <c:v>44757</c:v>
                </c:pt>
                <c:pt idx="690">
                  <c:v>44760</c:v>
                </c:pt>
                <c:pt idx="691">
                  <c:v>44761</c:v>
                </c:pt>
                <c:pt idx="692">
                  <c:v>44762</c:v>
                </c:pt>
                <c:pt idx="693">
                  <c:v>44763</c:v>
                </c:pt>
                <c:pt idx="694">
                  <c:v>44764</c:v>
                </c:pt>
                <c:pt idx="695">
                  <c:v>44767</c:v>
                </c:pt>
                <c:pt idx="696">
                  <c:v>44768</c:v>
                </c:pt>
                <c:pt idx="697">
                  <c:v>44769</c:v>
                </c:pt>
                <c:pt idx="698">
                  <c:v>44770</c:v>
                </c:pt>
                <c:pt idx="699">
                  <c:v>44771</c:v>
                </c:pt>
                <c:pt idx="700">
                  <c:v>44774</c:v>
                </c:pt>
                <c:pt idx="701">
                  <c:v>44775</c:v>
                </c:pt>
                <c:pt idx="702">
                  <c:v>44776</c:v>
                </c:pt>
                <c:pt idx="703">
                  <c:v>44777</c:v>
                </c:pt>
                <c:pt idx="704">
                  <c:v>44778</c:v>
                </c:pt>
                <c:pt idx="705">
                  <c:v>44781</c:v>
                </c:pt>
                <c:pt idx="706">
                  <c:v>44782</c:v>
                </c:pt>
                <c:pt idx="707">
                  <c:v>44783</c:v>
                </c:pt>
                <c:pt idx="708">
                  <c:v>44784</c:v>
                </c:pt>
                <c:pt idx="709">
                  <c:v>44785</c:v>
                </c:pt>
                <c:pt idx="710">
                  <c:v>44788</c:v>
                </c:pt>
                <c:pt idx="711">
                  <c:v>44789</c:v>
                </c:pt>
                <c:pt idx="712">
                  <c:v>44790</c:v>
                </c:pt>
                <c:pt idx="713">
                  <c:v>44791</c:v>
                </c:pt>
                <c:pt idx="714">
                  <c:v>44792</c:v>
                </c:pt>
                <c:pt idx="715">
                  <c:v>44795</c:v>
                </c:pt>
                <c:pt idx="716">
                  <c:v>44796</c:v>
                </c:pt>
                <c:pt idx="717">
                  <c:v>44797</c:v>
                </c:pt>
                <c:pt idx="718">
                  <c:v>44798</c:v>
                </c:pt>
                <c:pt idx="719">
                  <c:v>44799</c:v>
                </c:pt>
                <c:pt idx="720">
                  <c:v>44802</c:v>
                </c:pt>
                <c:pt idx="721">
                  <c:v>44803</c:v>
                </c:pt>
                <c:pt idx="722">
                  <c:v>44804</c:v>
                </c:pt>
                <c:pt idx="723">
                  <c:v>44805</c:v>
                </c:pt>
                <c:pt idx="724">
                  <c:v>44806</c:v>
                </c:pt>
                <c:pt idx="725">
                  <c:v>44809</c:v>
                </c:pt>
                <c:pt idx="726">
                  <c:v>44810</c:v>
                </c:pt>
                <c:pt idx="727">
                  <c:v>44811</c:v>
                </c:pt>
                <c:pt idx="728">
                  <c:v>44812</c:v>
                </c:pt>
                <c:pt idx="729">
                  <c:v>44813</c:v>
                </c:pt>
                <c:pt idx="730">
                  <c:v>44816</c:v>
                </c:pt>
                <c:pt idx="731">
                  <c:v>44817</c:v>
                </c:pt>
                <c:pt idx="732">
                  <c:v>44818</c:v>
                </c:pt>
                <c:pt idx="733">
                  <c:v>44819</c:v>
                </c:pt>
                <c:pt idx="734">
                  <c:v>44820</c:v>
                </c:pt>
                <c:pt idx="735">
                  <c:v>44823</c:v>
                </c:pt>
                <c:pt idx="736">
                  <c:v>44824</c:v>
                </c:pt>
                <c:pt idx="737">
                  <c:v>44825</c:v>
                </c:pt>
                <c:pt idx="738">
                  <c:v>44826</c:v>
                </c:pt>
                <c:pt idx="739">
                  <c:v>44827</c:v>
                </c:pt>
                <c:pt idx="740">
                  <c:v>44830</c:v>
                </c:pt>
                <c:pt idx="741">
                  <c:v>44831</c:v>
                </c:pt>
                <c:pt idx="742">
                  <c:v>44832</c:v>
                </c:pt>
                <c:pt idx="743">
                  <c:v>44833</c:v>
                </c:pt>
                <c:pt idx="744">
                  <c:v>44834</c:v>
                </c:pt>
                <c:pt idx="745">
                  <c:v>44837</c:v>
                </c:pt>
                <c:pt idx="746">
                  <c:v>44838</c:v>
                </c:pt>
                <c:pt idx="747">
                  <c:v>44839</c:v>
                </c:pt>
                <c:pt idx="748">
                  <c:v>44840</c:v>
                </c:pt>
                <c:pt idx="749">
                  <c:v>44841</c:v>
                </c:pt>
                <c:pt idx="750">
                  <c:v>44844</c:v>
                </c:pt>
                <c:pt idx="751">
                  <c:v>44845</c:v>
                </c:pt>
                <c:pt idx="752">
                  <c:v>44846</c:v>
                </c:pt>
                <c:pt idx="753">
                  <c:v>44847</c:v>
                </c:pt>
                <c:pt idx="754">
                  <c:v>44848</c:v>
                </c:pt>
                <c:pt idx="755">
                  <c:v>44851</c:v>
                </c:pt>
                <c:pt idx="756">
                  <c:v>44852</c:v>
                </c:pt>
                <c:pt idx="757">
                  <c:v>44853</c:v>
                </c:pt>
                <c:pt idx="758">
                  <c:v>44854</c:v>
                </c:pt>
                <c:pt idx="759">
                  <c:v>44855</c:v>
                </c:pt>
                <c:pt idx="760">
                  <c:v>44858</c:v>
                </c:pt>
                <c:pt idx="761">
                  <c:v>44859</c:v>
                </c:pt>
                <c:pt idx="762">
                  <c:v>44860</c:v>
                </c:pt>
                <c:pt idx="763">
                  <c:v>44861</c:v>
                </c:pt>
                <c:pt idx="764">
                  <c:v>44862</c:v>
                </c:pt>
                <c:pt idx="765">
                  <c:v>44865</c:v>
                </c:pt>
                <c:pt idx="766">
                  <c:v>44866</c:v>
                </c:pt>
                <c:pt idx="767">
                  <c:v>44867</c:v>
                </c:pt>
                <c:pt idx="768">
                  <c:v>44868</c:v>
                </c:pt>
                <c:pt idx="769">
                  <c:v>44869</c:v>
                </c:pt>
                <c:pt idx="770">
                  <c:v>44872</c:v>
                </c:pt>
                <c:pt idx="771">
                  <c:v>44873</c:v>
                </c:pt>
                <c:pt idx="772">
                  <c:v>44874</c:v>
                </c:pt>
                <c:pt idx="773">
                  <c:v>44875</c:v>
                </c:pt>
                <c:pt idx="774">
                  <c:v>44876</c:v>
                </c:pt>
                <c:pt idx="775">
                  <c:v>44879</c:v>
                </c:pt>
                <c:pt idx="776">
                  <c:v>44880</c:v>
                </c:pt>
                <c:pt idx="777">
                  <c:v>44881</c:v>
                </c:pt>
                <c:pt idx="778">
                  <c:v>44882</c:v>
                </c:pt>
                <c:pt idx="779">
                  <c:v>44883</c:v>
                </c:pt>
                <c:pt idx="780">
                  <c:v>44886</c:v>
                </c:pt>
                <c:pt idx="781">
                  <c:v>44887</c:v>
                </c:pt>
                <c:pt idx="782">
                  <c:v>44888</c:v>
                </c:pt>
                <c:pt idx="783">
                  <c:v>44889</c:v>
                </c:pt>
                <c:pt idx="784">
                  <c:v>44890</c:v>
                </c:pt>
                <c:pt idx="785">
                  <c:v>44893</c:v>
                </c:pt>
                <c:pt idx="786">
                  <c:v>44894</c:v>
                </c:pt>
                <c:pt idx="787">
                  <c:v>44895</c:v>
                </c:pt>
                <c:pt idx="788">
                  <c:v>44896</c:v>
                </c:pt>
                <c:pt idx="789">
                  <c:v>44897</c:v>
                </c:pt>
                <c:pt idx="790">
                  <c:v>44900</c:v>
                </c:pt>
                <c:pt idx="791">
                  <c:v>44901</c:v>
                </c:pt>
                <c:pt idx="792">
                  <c:v>44902</c:v>
                </c:pt>
                <c:pt idx="793">
                  <c:v>44903</c:v>
                </c:pt>
                <c:pt idx="794">
                  <c:v>44904</c:v>
                </c:pt>
                <c:pt idx="795">
                  <c:v>44907</c:v>
                </c:pt>
                <c:pt idx="796">
                  <c:v>44908</c:v>
                </c:pt>
                <c:pt idx="797">
                  <c:v>44909</c:v>
                </c:pt>
                <c:pt idx="798">
                  <c:v>44910</c:v>
                </c:pt>
                <c:pt idx="799">
                  <c:v>44911</c:v>
                </c:pt>
                <c:pt idx="800">
                  <c:v>44914</c:v>
                </c:pt>
                <c:pt idx="801">
                  <c:v>44915</c:v>
                </c:pt>
                <c:pt idx="802">
                  <c:v>44916</c:v>
                </c:pt>
                <c:pt idx="803">
                  <c:v>44917</c:v>
                </c:pt>
                <c:pt idx="804">
                  <c:v>44918</c:v>
                </c:pt>
                <c:pt idx="805">
                  <c:v>44921</c:v>
                </c:pt>
                <c:pt idx="806">
                  <c:v>44922</c:v>
                </c:pt>
                <c:pt idx="807">
                  <c:v>44923</c:v>
                </c:pt>
                <c:pt idx="808">
                  <c:v>44924</c:v>
                </c:pt>
                <c:pt idx="809">
                  <c:v>44925</c:v>
                </c:pt>
                <c:pt idx="810">
                  <c:v>44928</c:v>
                </c:pt>
                <c:pt idx="811">
                  <c:v>44929</c:v>
                </c:pt>
                <c:pt idx="812">
                  <c:v>44930</c:v>
                </c:pt>
                <c:pt idx="813">
                  <c:v>44931</c:v>
                </c:pt>
                <c:pt idx="814">
                  <c:v>44932</c:v>
                </c:pt>
                <c:pt idx="815">
                  <c:v>44935</c:v>
                </c:pt>
                <c:pt idx="816">
                  <c:v>44936</c:v>
                </c:pt>
                <c:pt idx="817">
                  <c:v>44937</c:v>
                </c:pt>
                <c:pt idx="818">
                  <c:v>44938</c:v>
                </c:pt>
                <c:pt idx="819">
                  <c:v>44939</c:v>
                </c:pt>
                <c:pt idx="820">
                  <c:v>44942</c:v>
                </c:pt>
                <c:pt idx="821">
                  <c:v>44943</c:v>
                </c:pt>
                <c:pt idx="822">
                  <c:v>44944</c:v>
                </c:pt>
                <c:pt idx="823">
                  <c:v>44945</c:v>
                </c:pt>
                <c:pt idx="824">
                  <c:v>44946</c:v>
                </c:pt>
                <c:pt idx="825">
                  <c:v>44949</c:v>
                </c:pt>
                <c:pt idx="826">
                  <c:v>44950</c:v>
                </c:pt>
                <c:pt idx="827">
                  <c:v>44951</c:v>
                </c:pt>
                <c:pt idx="828">
                  <c:v>44952</c:v>
                </c:pt>
                <c:pt idx="829">
                  <c:v>44953</c:v>
                </c:pt>
                <c:pt idx="830">
                  <c:v>44956</c:v>
                </c:pt>
                <c:pt idx="831">
                  <c:v>44957</c:v>
                </c:pt>
                <c:pt idx="832">
                  <c:v>44958</c:v>
                </c:pt>
                <c:pt idx="833">
                  <c:v>44959</c:v>
                </c:pt>
                <c:pt idx="834">
                  <c:v>44960</c:v>
                </c:pt>
                <c:pt idx="835">
                  <c:v>44963</c:v>
                </c:pt>
                <c:pt idx="836">
                  <c:v>44964</c:v>
                </c:pt>
                <c:pt idx="837">
                  <c:v>44965</c:v>
                </c:pt>
                <c:pt idx="838">
                  <c:v>44966</c:v>
                </c:pt>
                <c:pt idx="839">
                  <c:v>44967</c:v>
                </c:pt>
                <c:pt idx="840">
                  <c:v>44970</c:v>
                </c:pt>
                <c:pt idx="841">
                  <c:v>44971</c:v>
                </c:pt>
                <c:pt idx="842">
                  <c:v>44972</c:v>
                </c:pt>
                <c:pt idx="843">
                  <c:v>44973</c:v>
                </c:pt>
                <c:pt idx="844">
                  <c:v>44974</c:v>
                </c:pt>
                <c:pt idx="845">
                  <c:v>44977</c:v>
                </c:pt>
                <c:pt idx="846">
                  <c:v>44978</c:v>
                </c:pt>
                <c:pt idx="847">
                  <c:v>44979</c:v>
                </c:pt>
                <c:pt idx="848">
                  <c:v>44980</c:v>
                </c:pt>
                <c:pt idx="849">
                  <c:v>44981</c:v>
                </c:pt>
                <c:pt idx="850">
                  <c:v>44984</c:v>
                </c:pt>
                <c:pt idx="851">
                  <c:v>44985</c:v>
                </c:pt>
                <c:pt idx="852">
                  <c:v>44986</c:v>
                </c:pt>
                <c:pt idx="853">
                  <c:v>44987</c:v>
                </c:pt>
                <c:pt idx="854">
                  <c:v>44988</c:v>
                </c:pt>
                <c:pt idx="855">
                  <c:v>44991</c:v>
                </c:pt>
                <c:pt idx="856">
                  <c:v>44992</c:v>
                </c:pt>
                <c:pt idx="857">
                  <c:v>44993</c:v>
                </c:pt>
                <c:pt idx="858">
                  <c:v>44994</c:v>
                </c:pt>
                <c:pt idx="859">
                  <c:v>44995</c:v>
                </c:pt>
                <c:pt idx="860">
                  <c:v>44998</c:v>
                </c:pt>
                <c:pt idx="861">
                  <c:v>44999</c:v>
                </c:pt>
                <c:pt idx="862">
                  <c:v>45000</c:v>
                </c:pt>
                <c:pt idx="863">
                  <c:v>45001</c:v>
                </c:pt>
                <c:pt idx="864">
                  <c:v>45002</c:v>
                </c:pt>
                <c:pt idx="865">
                  <c:v>45005</c:v>
                </c:pt>
                <c:pt idx="866">
                  <c:v>45006</c:v>
                </c:pt>
                <c:pt idx="867">
                  <c:v>45007</c:v>
                </c:pt>
                <c:pt idx="868">
                  <c:v>45008</c:v>
                </c:pt>
                <c:pt idx="869">
                  <c:v>45009</c:v>
                </c:pt>
                <c:pt idx="870">
                  <c:v>45012</c:v>
                </c:pt>
                <c:pt idx="871">
                  <c:v>45013</c:v>
                </c:pt>
                <c:pt idx="872">
                  <c:v>45014</c:v>
                </c:pt>
                <c:pt idx="873">
                  <c:v>45015</c:v>
                </c:pt>
                <c:pt idx="874">
                  <c:v>45016</c:v>
                </c:pt>
                <c:pt idx="875">
                  <c:v>45019</c:v>
                </c:pt>
                <c:pt idx="876">
                  <c:v>45020</c:v>
                </c:pt>
                <c:pt idx="877">
                  <c:v>45021</c:v>
                </c:pt>
                <c:pt idx="878">
                  <c:v>45022</c:v>
                </c:pt>
                <c:pt idx="879">
                  <c:v>45023</c:v>
                </c:pt>
                <c:pt idx="880">
                  <c:v>45026</c:v>
                </c:pt>
                <c:pt idx="881">
                  <c:v>45027</c:v>
                </c:pt>
                <c:pt idx="882">
                  <c:v>45028</c:v>
                </c:pt>
                <c:pt idx="883">
                  <c:v>45029</c:v>
                </c:pt>
                <c:pt idx="884">
                  <c:v>45030</c:v>
                </c:pt>
                <c:pt idx="885">
                  <c:v>45033</c:v>
                </c:pt>
                <c:pt idx="886">
                  <c:v>45034</c:v>
                </c:pt>
                <c:pt idx="887">
                  <c:v>45035</c:v>
                </c:pt>
                <c:pt idx="888">
                  <c:v>45036</c:v>
                </c:pt>
                <c:pt idx="889">
                  <c:v>45037</c:v>
                </c:pt>
                <c:pt idx="890">
                  <c:v>45040</c:v>
                </c:pt>
                <c:pt idx="891">
                  <c:v>45041</c:v>
                </c:pt>
                <c:pt idx="892">
                  <c:v>45042</c:v>
                </c:pt>
                <c:pt idx="893">
                  <c:v>45043</c:v>
                </c:pt>
                <c:pt idx="894">
                  <c:v>45044</c:v>
                </c:pt>
                <c:pt idx="895">
                  <c:v>45047</c:v>
                </c:pt>
                <c:pt idx="896">
                  <c:v>45048</c:v>
                </c:pt>
                <c:pt idx="897">
                  <c:v>45049</c:v>
                </c:pt>
                <c:pt idx="898">
                  <c:v>45050</c:v>
                </c:pt>
                <c:pt idx="899">
                  <c:v>45051</c:v>
                </c:pt>
                <c:pt idx="900">
                  <c:v>45054</c:v>
                </c:pt>
                <c:pt idx="901">
                  <c:v>45055</c:v>
                </c:pt>
                <c:pt idx="902">
                  <c:v>45056</c:v>
                </c:pt>
                <c:pt idx="903">
                  <c:v>45057</c:v>
                </c:pt>
                <c:pt idx="904">
                  <c:v>45058</c:v>
                </c:pt>
                <c:pt idx="905">
                  <c:v>45061</c:v>
                </c:pt>
                <c:pt idx="906">
                  <c:v>45062</c:v>
                </c:pt>
                <c:pt idx="907">
                  <c:v>45063</c:v>
                </c:pt>
                <c:pt idx="908">
                  <c:v>45064</c:v>
                </c:pt>
                <c:pt idx="909">
                  <c:v>45065</c:v>
                </c:pt>
                <c:pt idx="910">
                  <c:v>45068</c:v>
                </c:pt>
                <c:pt idx="911">
                  <c:v>45069</c:v>
                </c:pt>
                <c:pt idx="912">
                  <c:v>45070</c:v>
                </c:pt>
                <c:pt idx="913">
                  <c:v>45071</c:v>
                </c:pt>
                <c:pt idx="914">
                  <c:v>45072</c:v>
                </c:pt>
                <c:pt idx="915">
                  <c:v>45075</c:v>
                </c:pt>
                <c:pt idx="916">
                  <c:v>45076</c:v>
                </c:pt>
                <c:pt idx="917">
                  <c:v>45077</c:v>
                </c:pt>
                <c:pt idx="918">
                  <c:v>45078</c:v>
                </c:pt>
                <c:pt idx="919">
                  <c:v>45079</c:v>
                </c:pt>
                <c:pt idx="920">
                  <c:v>45082</c:v>
                </c:pt>
                <c:pt idx="921">
                  <c:v>45083</c:v>
                </c:pt>
                <c:pt idx="922">
                  <c:v>45084</c:v>
                </c:pt>
                <c:pt idx="923">
                  <c:v>45085</c:v>
                </c:pt>
                <c:pt idx="924">
                  <c:v>45086</c:v>
                </c:pt>
                <c:pt idx="925">
                  <c:v>45089</c:v>
                </c:pt>
                <c:pt idx="926">
                  <c:v>45090</c:v>
                </c:pt>
                <c:pt idx="927">
                  <c:v>45091</c:v>
                </c:pt>
                <c:pt idx="928">
                  <c:v>45092</c:v>
                </c:pt>
                <c:pt idx="929">
                  <c:v>45093</c:v>
                </c:pt>
                <c:pt idx="930">
                  <c:v>45096</c:v>
                </c:pt>
                <c:pt idx="931">
                  <c:v>45097</c:v>
                </c:pt>
                <c:pt idx="932">
                  <c:v>45098</c:v>
                </c:pt>
                <c:pt idx="933">
                  <c:v>45099</c:v>
                </c:pt>
                <c:pt idx="934">
                  <c:v>45100</c:v>
                </c:pt>
                <c:pt idx="935">
                  <c:v>45103</c:v>
                </c:pt>
                <c:pt idx="936">
                  <c:v>45104</c:v>
                </c:pt>
                <c:pt idx="937">
                  <c:v>45105</c:v>
                </c:pt>
                <c:pt idx="938">
                  <c:v>45106</c:v>
                </c:pt>
                <c:pt idx="939">
                  <c:v>45107</c:v>
                </c:pt>
                <c:pt idx="940">
                  <c:v>45110</c:v>
                </c:pt>
                <c:pt idx="941">
                  <c:v>45111</c:v>
                </c:pt>
                <c:pt idx="942">
                  <c:v>45112</c:v>
                </c:pt>
                <c:pt idx="943">
                  <c:v>45113</c:v>
                </c:pt>
                <c:pt idx="944">
                  <c:v>45114</c:v>
                </c:pt>
                <c:pt idx="945">
                  <c:v>45117</c:v>
                </c:pt>
                <c:pt idx="946">
                  <c:v>45118</c:v>
                </c:pt>
                <c:pt idx="947">
                  <c:v>45119</c:v>
                </c:pt>
                <c:pt idx="948">
                  <c:v>45120</c:v>
                </c:pt>
                <c:pt idx="949">
                  <c:v>45121</c:v>
                </c:pt>
                <c:pt idx="950">
                  <c:v>45124</c:v>
                </c:pt>
                <c:pt idx="951">
                  <c:v>45125</c:v>
                </c:pt>
                <c:pt idx="952">
                  <c:v>45126</c:v>
                </c:pt>
                <c:pt idx="953">
                  <c:v>45127</c:v>
                </c:pt>
                <c:pt idx="954">
                  <c:v>45128</c:v>
                </c:pt>
                <c:pt idx="955">
                  <c:v>45131</c:v>
                </c:pt>
                <c:pt idx="956">
                  <c:v>45132</c:v>
                </c:pt>
                <c:pt idx="957">
                  <c:v>45133</c:v>
                </c:pt>
                <c:pt idx="958">
                  <c:v>45134</c:v>
                </c:pt>
                <c:pt idx="959">
                  <c:v>45135</c:v>
                </c:pt>
                <c:pt idx="960">
                  <c:v>45138</c:v>
                </c:pt>
                <c:pt idx="961">
                  <c:v>45139</c:v>
                </c:pt>
                <c:pt idx="962">
                  <c:v>45140</c:v>
                </c:pt>
                <c:pt idx="963">
                  <c:v>45141</c:v>
                </c:pt>
                <c:pt idx="964">
                  <c:v>45142</c:v>
                </c:pt>
                <c:pt idx="965">
                  <c:v>45145</c:v>
                </c:pt>
                <c:pt idx="966">
                  <c:v>45146</c:v>
                </c:pt>
                <c:pt idx="967">
                  <c:v>45147</c:v>
                </c:pt>
                <c:pt idx="968">
                  <c:v>45148</c:v>
                </c:pt>
                <c:pt idx="969">
                  <c:v>45149</c:v>
                </c:pt>
                <c:pt idx="970">
                  <c:v>45152</c:v>
                </c:pt>
                <c:pt idx="971">
                  <c:v>45153</c:v>
                </c:pt>
                <c:pt idx="972">
                  <c:v>45154</c:v>
                </c:pt>
                <c:pt idx="973">
                  <c:v>45155</c:v>
                </c:pt>
                <c:pt idx="974">
                  <c:v>45156</c:v>
                </c:pt>
                <c:pt idx="975">
                  <c:v>45159</c:v>
                </c:pt>
                <c:pt idx="976">
                  <c:v>45160</c:v>
                </c:pt>
                <c:pt idx="977">
                  <c:v>45161</c:v>
                </c:pt>
                <c:pt idx="978">
                  <c:v>45162</c:v>
                </c:pt>
                <c:pt idx="979">
                  <c:v>45163</c:v>
                </c:pt>
                <c:pt idx="980">
                  <c:v>45166</c:v>
                </c:pt>
                <c:pt idx="981">
                  <c:v>45167</c:v>
                </c:pt>
                <c:pt idx="982">
                  <c:v>45168</c:v>
                </c:pt>
                <c:pt idx="983">
                  <c:v>45169</c:v>
                </c:pt>
                <c:pt idx="984">
                  <c:v>45170</c:v>
                </c:pt>
                <c:pt idx="985">
                  <c:v>45173</c:v>
                </c:pt>
                <c:pt idx="986">
                  <c:v>45174</c:v>
                </c:pt>
                <c:pt idx="987">
                  <c:v>45175</c:v>
                </c:pt>
                <c:pt idx="988">
                  <c:v>45176</c:v>
                </c:pt>
                <c:pt idx="989">
                  <c:v>45177</c:v>
                </c:pt>
                <c:pt idx="990">
                  <c:v>45180</c:v>
                </c:pt>
                <c:pt idx="991">
                  <c:v>45181</c:v>
                </c:pt>
                <c:pt idx="992">
                  <c:v>45182</c:v>
                </c:pt>
                <c:pt idx="993">
                  <c:v>45183</c:v>
                </c:pt>
                <c:pt idx="994">
                  <c:v>45184</c:v>
                </c:pt>
                <c:pt idx="995">
                  <c:v>45187</c:v>
                </c:pt>
                <c:pt idx="996">
                  <c:v>45188</c:v>
                </c:pt>
                <c:pt idx="997">
                  <c:v>45189</c:v>
                </c:pt>
                <c:pt idx="998">
                  <c:v>45190</c:v>
                </c:pt>
                <c:pt idx="999">
                  <c:v>45191</c:v>
                </c:pt>
                <c:pt idx="1000">
                  <c:v>45194</c:v>
                </c:pt>
                <c:pt idx="1001">
                  <c:v>45195</c:v>
                </c:pt>
                <c:pt idx="1002">
                  <c:v>45196</c:v>
                </c:pt>
                <c:pt idx="1003">
                  <c:v>45197</c:v>
                </c:pt>
                <c:pt idx="1004">
                  <c:v>45198</c:v>
                </c:pt>
                <c:pt idx="1005">
                  <c:v>45201</c:v>
                </c:pt>
                <c:pt idx="1006">
                  <c:v>45202</c:v>
                </c:pt>
                <c:pt idx="1007">
                  <c:v>45203</c:v>
                </c:pt>
                <c:pt idx="1008">
                  <c:v>45204</c:v>
                </c:pt>
                <c:pt idx="1009">
                  <c:v>45205</c:v>
                </c:pt>
                <c:pt idx="1010">
                  <c:v>45208</c:v>
                </c:pt>
                <c:pt idx="1011">
                  <c:v>45209</c:v>
                </c:pt>
                <c:pt idx="1012">
                  <c:v>45210</c:v>
                </c:pt>
                <c:pt idx="1013">
                  <c:v>45211</c:v>
                </c:pt>
                <c:pt idx="1014">
                  <c:v>45212</c:v>
                </c:pt>
                <c:pt idx="1015">
                  <c:v>45215</c:v>
                </c:pt>
                <c:pt idx="1016">
                  <c:v>45216</c:v>
                </c:pt>
                <c:pt idx="1017">
                  <c:v>45217</c:v>
                </c:pt>
                <c:pt idx="1018">
                  <c:v>45218</c:v>
                </c:pt>
                <c:pt idx="1019">
                  <c:v>45219</c:v>
                </c:pt>
                <c:pt idx="1020">
                  <c:v>45222</c:v>
                </c:pt>
                <c:pt idx="1021">
                  <c:v>45223</c:v>
                </c:pt>
                <c:pt idx="1022">
                  <c:v>45224</c:v>
                </c:pt>
                <c:pt idx="1023">
                  <c:v>45225</c:v>
                </c:pt>
                <c:pt idx="1024">
                  <c:v>45226</c:v>
                </c:pt>
                <c:pt idx="1025">
                  <c:v>45229</c:v>
                </c:pt>
                <c:pt idx="1026">
                  <c:v>45230</c:v>
                </c:pt>
                <c:pt idx="1027">
                  <c:v>45231</c:v>
                </c:pt>
                <c:pt idx="1028">
                  <c:v>45232</c:v>
                </c:pt>
                <c:pt idx="1029">
                  <c:v>45233</c:v>
                </c:pt>
                <c:pt idx="1030">
                  <c:v>45236</c:v>
                </c:pt>
                <c:pt idx="1031">
                  <c:v>45237</c:v>
                </c:pt>
                <c:pt idx="1032">
                  <c:v>45238</c:v>
                </c:pt>
                <c:pt idx="1033">
                  <c:v>45239</c:v>
                </c:pt>
                <c:pt idx="1034">
                  <c:v>45240</c:v>
                </c:pt>
                <c:pt idx="1035">
                  <c:v>45243</c:v>
                </c:pt>
                <c:pt idx="1036">
                  <c:v>45244</c:v>
                </c:pt>
                <c:pt idx="1037">
                  <c:v>45245</c:v>
                </c:pt>
                <c:pt idx="1038">
                  <c:v>45246</c:v>
                </c:pt>
                <c:pt idx="1039">
                  <c:v>45247</c:v>
                </c:pt>
                <c:pt idx="1040">
                  <c:v>45250</c:v>
                </c:pt>
                <c:pt idx="1041">
                  <c:v>45251</c:v>
                </c:pt>
                <c:pt idx="1042">
                  <c:v>45252</c:v>
                </c:pt>
                <c:pt idx="1043">
                  <c:v>45253</c:v>
                </c:pt>
                <c:pt idx="1044">
                  <c:v>45254</c:v>
                </c:pt>
                <c:pt idx="1045">
                  <c:v>45257</c:v>
                </c:pt>
                <c:pt idx="1046">
                  <c:v>45258</c:v>
                </c:pt>
                <c:pt idx="1047">
                  <c:v>45259</c:v>
                </c:pt>
                <c:pt idx="1048">
                  <c:v>45260</c:v>
                </c:pt>
                <c:pt idx="1049">
                  <c:v>45261</c:v>
                </c:pt>
                <c:pt idx="1050">
                  <c:v>45264</c:v>
                </c:pt>
                <c:pt idx="1051">
                  <c:v>45265</c:v>
                </c:pt>
                <c:pt idx="1052">
                  <c:v>45266</c:v>
                </c:pt>
                <c:pt idx="1053">
                  <c:v>45267</c:v>
                </c:pt>
                <c:pt idx="1054">
                  <c:v>45268</c:v>
                </c:pt>
                <c:pt idx="1055">
                  <c:v>45271</c:v>
                </c:pt>
                <c:pt idx="1056">
                  <c:v>45272</c:v>
                </c:pt>
                <c:pt idx="1057">
                  <c:v>45273</c:v>
                </c:pt>
                <c:pt idx="1058">
                  <c:v>45274</c:v>
                </c:pt>
                <c:pt idx="1059">
                  <c:v>45275</c:v>
                </c:pt>
                <c:pt idx="1060">
                  <c:v>45278</c:v>
                </c:pt>
                <c:pt idx="1061">
                  <c:v>45279</c:v>
                </c:pt>
                <c:pt idx="1062">
                  <c:v>45280</c:v>
                </c:pt>
                <c:pt idx="1063">
                  <c:v>45281</c:v>
                </c:pt>
                <c:pt idx="1064">
                  <c:v>45282</c:v>
                </c:pt>
                <c:pt idx="1065">
                  <c:v>45285</c:v>
                </c:pt>
                <c:pt idx="1066">
                  <c:v>45286</c:v>
                </c:pt>
                <c:pt idx="1067">
                  <c:v>45287</c:v>
                </c:pt>
                <c:pt idx="1068">
                  <c:v>45288</c:v>
                </c:pt>
                <c:pt idx="1069">
                  <c:v>45289</c:v>
                </c:pt>
                <c:pt idx="1070">
                  <c:v>45292</c:v>
                </c:pt>
                <c:pt idx="1071">
                  <c:v>45293</c:v>
                </c:pt>
                <c:pt idx="1072">
                  <c:v>45294</c:v>
                </c:pt>
                <c:pt idx="1073">
                  <c:v>45295</c:v>
                </c:pt>
                <c:pt idx="1074">
                  <c:v>45296</c:v>
                </c:pt>
                <c:pt idx="1075">
                  <c:v>45299</c:v>
                </c:pt>
                <c:pt idx="1076">
                  <c:v>45300</c:v>
                </c:pt>
                <c:pt idx="1077">
                  <c:v>45301</c:v>
                </c:pt>
                <c:pt idx="1078">
                  <c:v>45302</c:v>
                </c:pt>
                <c:pt idx="1079">
                  <c:v>45303</c:v>
                </c:pt>
                <c:pt idx="1080">
                  <c:v>45306</c:v>
                </c:pt>
                <c:pt idx="1081">
                  <c:v>45307</c:v>
                </c:pt>
                <c:pt idx="1082">
                  <c:v>45308</c:v>
                </c:pt>
                <c:pt idx="1083">
                  <c:v>45309</c:v>
                </c:pt>
                <c:pt idx="1084">
                  <c:v>45310</c:v>
                </c:pt>
                <c:pt idx="1085">
                  <c:v>45313</c:v>
                </c:pt>
                <c:pt idx="1086">
                  <c:v>45314</c:v>
                </c:pt>
                <c:pt idx="1087">
                  <c:v>45315</c:v>
                </c:pt>
                <c:pt idx="1088">
                  <c:v>45316</c:v>
                </c:pt>
                <c:pt idx="1089">
                  <c:v>45317</c:v>
                </c:pt>
                <c:pt idx="1090">
                  <c:v>45320</c:v>
                </c:pt>
                <c:pt idx="1091">
                  <c:v>45321</c:v>
                </c:pt>
                <c:pt idx="1092">
                  <c:v>45322</c:v>
                </c:pt>
                <c:pt idx="1093">
                  <c:v>45323</c:v>
                </c:pt>
                <c:pt idx="1094">
                  <c:v>45324</c:v>
                </c:pt>
                <c:pt idx="1095">
                  <c:v>45327</c:v>
                </c:pt>
                <c:pt idx="1096">
                  <c:v>45328</c:v>
                </c:pt>
                <c:pt idx="1097">
                  <c:v>45329</c:v>
                </c:pt>
                <c:pt idx="1098">
                  <c:v>45330</c:v>
                </c:pt>
                <c:pt idx="1099">
                  <c:v>45331</c:v>
                </c:pt>
                <c:pt idx="1100">
                  <c:v>45334</c:v>
                </c:pt>
                <c:pt idx="1101">
                  <c:v>45335</c:v>
                </c:pt>
                <c:pt idx="1102">
                  <c:v>45336</c:v>
                </c:pt>
                <c:pt idx="1103">
                  <c:v>45337</c:v>
                </c:pt>
                <c:pt idx="1104">
                  <c:v>45338</c:v>
                </c:pt>
                <c:pt idx="1105">
                  <c:v>45341</c:v>
                </c:pt>
                <c:pt idx="1106">
                  <c:v>45342</c:v>
                </c:pt>
                <c:pt idx="1107">
                  <c:v>45343</c:v>
                </c:pt>
                <c:pt idx="1108">
                  <c:v>45344</c:v>
                </c:pt>
                <c:pt idx="1109">
                  <c:v>45345</c:v>
                </c:pt>
                <c:pt idx="1110">
                  <c:v>45348</c:v>
                </c:pt>
                <c:pt idx="1111">
                  <c:v>45349</c:v>
                </c:pt>
                <c:pt idx="1112">
                  <c:v>45350</c:v>
                </c:pt>
                <c:pt idx="1113">
                  <c:v>45351</c:v>
                </c:pt>
                <c:pt idx="1114">
                  <c:v>45352</c:v>
                </c:pt>
                <c:pt idx="1115">
                  <c:v>45355</c:v>
                </c:pt>
                <c:pt idx="1116">
                  <c:v>45356</c:v>
                </c:pt>
                <c:pt idx="1117">
                  <c:v>45357</c:v>
                </c:pt>
                <c:pt idx="1118">
                  <c:v>45358</c:v>
                </c:pt>
                <c:pt idx="1119">
                  <c:v>45359</c:v>
                </c:pt>
                <c:pt idx="1120">
                  <c:v>45362</c:v>
                </c:pt>
                <c:pt idx="1121">
                  <c:v>45363</c:v>
                </c:pt>
                <c:pt idx="1122">
                  <c:v>45364</c:v>
                </c:pt>
                <c:pt idx="1123">
                  <c:v>45365</c:v>
                </c:pt>
                <c:pt idx="1124">
                  <c:v>45366</c:v>
                </c:pt>
                <c:pt idx="1125">
                  <c:v>45369</c:v>
                </c:pt>
                <c:pt idx="1126">
                  <c:v>45370</c:v>
                </c:pt>
                <c:pt idx="1127">
                  <c:v>45371</c:v>
                </c:pt>
                <c:pt idx="1128">
                  <c:v>45372</c:v>
                </c:pt>
                <c:pt idx="1129">
                  <c:v>45373</c:v>
                </c:pt>
                <c:pt idx="1130">
                  <c:v>45376</c:v>
                </c:pt>
                <c:pt idx="1131">
                  <c:v>45377</c:v>
                </c:pt>
                <c:pt idx="1132">
                  <c:v>45378</c:v>
                </c:pt>
                <c:pt idx="1133">
                  <c:v>45379</c:v>
                </c:pt>
                <c:pt idx="1134">
                  <c:v>45380</c:v>
                </c:pt>
                <c:pt idx="1135">
                  <c:v>45383</c:v>
                </c:pt>
                <c:pt idx="1136">
                  <c:v>45384</c:v>
                </c:pt>
                <c:pt idx="1137">
                  <c:v>45385</c:v>
                </c:pt>
                <c:pt idx="1138">
                  <c:v>45386</c:v>
                </c:pt>
                <c:pt idx="1139">
                  <c:v>45387</c:v>
                </c:pt>
                <c:pt idx="1140">
                  <c:v>45390</c:v>
                </c:pt>
                <c:pt idx="1141">
                  <c:v>45391</c:v>
                </c:pt>
                <c:pt idx="1142">
                  <c:v>45392</c:v>
                </c:pt>
                <c:pt idx="1143">
                  <c:v>45393</c:v>
                </c:pt>
                <c:pt idx="1144">
                  <c:v>45394</c:v>
                </c:pt>
                <c:pt idx="1145">
                  <c:v>45397</c:v>
                </c:pt>
                <c:pt idx="1146">
                  <c:v>45398</c:v>
                </c:pt>
                <c:pt idx="1147">
                  <c:v>45399</c:v>
                </c:pt>
                <c:pt idx="1148">
                  <c:v>45400</c:v>
                </c:pt>
                <c:pt idx="1149">
                  <c:v>45401</c:v>
                </c:pt>
                <c:pt idx="1150">
                  <c:v>45404</c:v>
                </c:pt>
                <c:pt idx="1151">
                  <c:v>45405</c:v>
                </c:pt>
                <c:pt idx="1152">
                  <c:v>45406</c:v>
                </c:pt>
                <c:pt idx="1153">
                  <c:v>45407</c:v>
                </c:pt>
                <c:pt idx="1154">
                  <c:v>45408</c:v>
                </c:pt>
                <c:pt idx="1155">
                  <c:v>45411</c:v>
                </c:pt>
                <c:pt idx="1156">
                  <c:v>45412</c:v>
                </c:pt>
                <c:pt idx="1157">
                  <c:v>45413</c:v>
                </c:pt>
                <c:pt idx="1158">
                  <c:v>45414</c:v>
                </c:pt>
                <c:pt idx="1159">
                  <c:v>45415</c:v>
                </c:pt>
                <c:pt idx="1160">
                  <c:v>45418</c:v>
                </c:pt>
                <c:pt idx="1161">
                  <c:v>45419</c:v>
                </c:pt>
                <c:pt idx="1162">
                  <c:v>45420</c:v>
                </c:pt>
                <c:pt idx="1163">
                  <c:v>45421</c:v>
                </c:pt>
                <c:pt idx="1164">
                  <c:v>45422</c:v>
                </c:pt>
                <c:pt idx="1165">
                  <c:v>45425</c:v>
                </c:pt>
                <c:pt idx="1166">
                  <c:v>45426</c:v>
                </c:pt>
                <c:pt idx="1167">
                  <c:v>45427</c:v>
                </c:pt>
                <c:pt idx="1168">
                  <c:v>45428</c:v>
                </c:pt>
                <c:pt idx="1169">
                  <c:v>45429</c:v>
                </c:pt>
                <c:pt idx="1170">
                  <c:v>45432</c:v>
                </c:pt>
                <c:pt idx="1171">
                  <c:v>45433</c:v>
                </c:pt>
                <c:pt idx="1172">
                  <c:v>45434</c:v>
                </c:pt>
                <c:pt idx="1173">
                  <c:v>45435</c:v>
                </c:pt>
                <c:pt idx="1174">
                  <c:v>45436</c:v>
                </c:pt>
                <c:pt idx="1175">
                  <c:v>45439</c:v>
                </c:pt>
                <c:pt idx="1176">
                  <c:v>45440</c:v>
                </c:pt>
                <c:pt idx="1177">
                  <c:v>45441</c:v>
                </c:pt>
                <c:pt idx="1178">
                  <c:v>45442</c:v>
                </c:pt>
                <c:pt idx="1179">
                  <c:v>45443</c:v>
                </c:pt>
                <c:pt idx="1180">
                  <c:v>45446</c:v>
                </c:pt>
                <c:pt idx="1181">
                  <c:v>45447</c:v>
                </c:pt>
                <c:pt idx="1182">
                  <c:v>45448</c:v>
                </c:pt>
                <c:pt idx="1183">
                  <c:v>45449</c:v>
                </c:pt>
                <c:pt idx="1184">
                  <c:v>45450</c:v>
                </c:pt>
                <c:pt idx="1185">
                  <c:v>45453</c:v>
                </c:pt>
                <c:pt idx="1186">
                  <c:v>45454</c:v>
                </c:pt>
                <c:pt idx="1187">
                  <c:v>45455</c:v>
                </c:pt>
                <c:pt idx="1188">
                  <c:v>45456</c:v>
                </c:pt>
                <c:pt idx="1189">
                  <c:v>45457</c:v>
                </c:pt>
                <c:pt idx="1190">
                  <c:v>45460</c:v>
                </c:pt>
                <c:pt idx="1191">
                  <c:v>45461</c:v>
                </c:pt>
                <c:pt idx="1192">
                  <c:v>45462</c:v>
                </c:pt>
                <c:pt idx="1193">
                  <c:v>45463</c:v>
                </c:pt>
                <c:pt idx="1194">
                  <c:v>45464</c:v>
                </c:pt>
                <c:pt idx="1195">
                  <c:v>45467</c:v>
                </c:pt>
                <c:pt idx="1196">
                  <c:v>45468</c:v>
                </c:pt>
                <c:pt idx="1197">
                  <c:v>45469</c:v>
                </c:pt>
                <c:pt idx="1198">
                  <c:v>45470</c:v>
                </c:pt>
                <c:pt idx="1199">
                  <c:v>45471</c:v>
                </c:pt>
                <c:pt idx="1200">
                  <c:v>45474</c:v>
                </c:pt>
                <c:pt idx="1201">
                  <c:v>45475</c:v>
                </c:pt>
                <c:pt idx="1202">
                  <c:v>45476</c:v>
                </c:pt>
                <c:pt idx="1203">
                  <c:v>45477</c:v>
                </c:pt>
                <c:pt idx="1204">
                  <c:v>45478</c:v>
                </c:pt>
                <c:pt idx="1205">
                  <c:v>45481</c:v>
                </c:pt>
                <c:pt idx="1206">
                  <c:v>45482</c:v>
                </c:pt>
                <c:pt idx="1207">
                  <c:v>45483</c:v>
                </c:pt>
                <c:pt idx="1208">
                  <c:v>45484</c:v>
                </c:pt>
                <c:pt idx="1209">
                  <c:v>45485</c:v>
                </c:pt>
                <c:pt idx="1210">
                  <c:v>45488</c:v>
                </c:pt>
                <c:pt idx="1211">
                  <c:v>45489</c:v>
                </c:pt>
                <c:pt idx="1212">
                  <c:v>45490</c:v>
                </c:pt>
                <c:pt idx="1213">
                  <c:v>45491</c:v>
                </c:pt>
                <c:pt idx="1214">
                  <c:v>45492</c:v>
                </c:pt>
                <c:pt idx="1215">
                  <c:v>45495</c:v>
                </c:pt>
                <c:pt idx="1216">
                  <c:v>45496</c:v>
                </c:pt>
                <c:pt idx="1217">
                  <c:v>45497</c:v>
                </c:pt>
                <c:pt idx="1218">
                  <c:v>45498</c:v>
                </c:pt>
                <c:pt idx="1219">
                  <c:v>45499</c:v>
                </c:pt>
                <c:pt idx="1220">
                  <c:v>45502</c:v>
                </c:pt>
                <c:pt idx="1221">
                  <c:v>45503</c:v>
                </c:pt>
                <c:pt idx="1222">
                  <c:v>45504</c:v>
                </c:pt>
                <c:pt idx="1223">
                  <c:v>45505</c:v>
                </c:pt>
                <c:pt idx="1224">
                  <c:v>45506</c:v>
                </c:pt>
                <c:pt idx="1225">
                  <c:v>45509</c:v>
                </c:pt>
                <c:pt idx="1226">
                  <c:v>45510</c:v>
                </c:pt>
                <c:pt idx="1227">
                  <c:v>45511</c:v>
                </c:pt>
                <c:pt idx="1228">
                  <c:v>45512</c:v>
                </c:pt>
                <c:pt idx="1229">
                  <c:v>45513</c:v>
                </c:pt>
                <c:pt idx="1230">
                  <c:v>45516</c:v>
                </c:pt>
                <c:pt idx="1231">
                  <c:v>45517</c:v>
                </c:pt>
                <c:pt idx="1232">
                  <c:v>45518</c:v>
                </c:pt>
                <c:pt idx="1233">
                  <c:v>45519</c:v>
                </c:pt>
                <c:pt idx="1234">
                  <c:v>45520</c:v>
                </c:pt>
                <c:pt idx="1235">
                  <c:v>45523</c:v>
                </c:pt>
                <c:pt idx="1236">
                  <c:v>45524</c:v>
                </c:pt>
                <c:pt idx="1237">
                  <c:v>45525</c:v>
                </c:pt>
                <c:pt idx="1238">
                  <c:v>45526</c:v>
                </c:pt>
                <c:pt idx="1239">
                  <c:v>45527</c:v>
                </c:pt>
                <c:pt idx="1240">
                  <c:v>45530</c:v>
                </c:pt>
                <c:pt idx="1241">
                  <c:v>45531</c:v>
                </c:pt>
                <c:pt idx="1242">
                  <c:v>45532</c:v>
                </c:pt>
                <c:pt idx="1243">
                  <c:v>45533</c:v>
                </c:pt>
                <c:pt idx="1244">
                  <c:v>45534</c:v>
                </c:pt>
                <c:pt idx="1245">
                  <c:v>45537</c:v>
                </c:pt>
                <c:pt idx="1246">
                  <c:v>45538</c:v>
                </c:pt>
                <c:pt idx="1247">
                  <c:v>45539</c:v>
                </c:pt>
                <c:pt idx="1248">
                  <c:v>45540</c:v>
                </c:pt>
                <c:pt idx="1249">
                  <c:v>45541</c:v>
                </c:pt>
                <c:pt idx="1250">
                  <c:v>45544</c:v>
                </c:pt>
                <c:pt idx="1251">
                  <c:v>45545</c:v>
                </c:pt>
                <c:pt idx="1252">
                  <c:v>45546</c:v>
                </c:pt>
                <c:pt idx="1253">
                  <c:v>45547</c:v>
                </c:pt>
                <c:pt idx="1254">
                  <c:v>45548</c:v>
                </c:pt>
                <c:pt idx="1255">
                  <c:v>45551</c:v>
                </c:pt>
                <c:pt idx="1256">
                  <c:v>45552</c:v>
                </c:pt>
                <c:pt idx="1257">
                  <c:v>45553</c:v>
                </c:pt>
                <c:pt idx="1258">
                  <c:v>45554</c:v>
                </c:pt>
                <c:pt idx="1259">
                  <c:v>45555</c:v>
                </c:pt>
                <c:pt idx="1260">
                  <c:v>45558</c:v>
                </c:pt>
                <c:pt idx="1261">
                  <c:v>45559</c:v>
                </c:pt>
                <c:pt idx="1262">
                  <c:v>45560</c:v>
                </c:pt>
                <c:pt idx="1263">
                  <c:v>45561</c:v>
                </c:pt>
                <c:pt idx="1264">
                  <c:v>45562</c:v>
                </c:pt>
                <c:pt idx="1265">
                  <c:v>45565</c:v>
                </c:pt>
                <c:pt idx="1266">
                  <c:v>45566</c:v>
                </c:pt>
                <c:pt idx="1267">
                  <c:v>45567</c:v>
                </c:pt>
                <c:pt idx="1268">
                  <c:v>45568</c:v>
                </c:pt>
                <c:pt idx="1269">
                  <c:v>45569</c:v>
                </c:pt>
                <c:pt idx="1270">
                  <c:v>45572</c:v>
                </c:pt>
                <c:pt idx="1271">
                  <c:v>45573</c:v>
                </c:pt>
                <c:pt idx="1272">
                  <c:v>45574</c:v>
                </c:pt>
                <c:pt idx="1273">
                  <c:v>45575</c:v>
                </c:pt>
                <c:pt idx="1274">
                  <c:v>45576</c:v>
                </c:pt>
                <c:pt idx="1275">
                  <c:v>45579</c:v>
                </c:pt>
                <c:pt idx="1276">
                  <c:v>45580</c:v>
                </c:pt>
                <c:pt idx="1277">
                  <c:v>45581</c:v>
                </c:pt>
                <c:pt idx="1278">
                  <c:v>45582</c:v>
                </c:pt>
                <c:pt idx="1279">
                  <c:v>45583</c:v>
                </c:pt>
                <c:pt idx="1280">
                  <c:v>45586</c:v>
                </c:pt>
                <c:pt idx="1281">
                  <c:v>45587</c:v>
                </c:pt>
                <c:pt idx="1282">
                  <c:v>45588</c:v>
                </c:pt>
                <c:pt idx="1283">
                  <c:v>45589</c:v>
                </c:pt>
                <c:pt idx="1284">
                  <c:v>45590</c:v>
                </c:pt>
                <c:pt idx="1285">
                  <c:v>45593</c:v>
                </c:pt>
                <c:pt idx="1286">
                  <c:v>45594</c:v>
                </c:pt>
                <c:pt idx="1287">
                  <c:v>45595</c:v>
                </c:pt>
                <c:pt idx="1288">
                  <c:v>45596</c:v>
                </c:pt>
                <c:pt idx="1289">
                  <c:v>45597</c:v>
                </c:pt>
                <c:pt idx="1290">
                  <c:v>45600</c:v>
                </c:pt>
                <c:pt idx="1291">
                  <c:v>45601</c:v>
                </c:pt>
                <c:pt idx="1292">
                  <c:v>45602</c:v>
                </c:pt>
                <c:pt idx="1293">
                  <c:v>45603</c:v>
                </c:pt>
                <c:pt idx="1294">
                  <c:v>45604</c:v>
                </c:pt>
                <c:pt idx="1295">
                  <c:v>45607</c:v>
                </c:pt>
                <c:pt idx="1296">
                  <c:v>45608</c:v>
                </c:pt>
                <c:pt idx="1297">
                  <c:v>45609</c:v>
                </c:pt>
                <c:pt idx="1298">
                  <c:v>45610</c:v>
                </c:pt>
                <c:pt idx="1299">
                  <c:v>45611</c:v>
                </c:pt>
                <c:pt idx="1300">
                  <c:v>45614</c:v>
                </c:pt>
                <c:pt idx="1301">
                  <c:v>45615</c:v>
                </c:pt>
                <c:pt idx="1302">
                  <c:v>45616</c:v>
                </c:pt>
                <c:pt idx="1303">
                  <c:v>45617</c:v>
                </c:pt>
                <c:pt idx="1304">
                  <c:v>45618</c:v>
                </c:pt>
                <c:pt idx="1305">
                  <c:v>45621</c:v>
                </c:pt>
              </c:numCache>
            </c:numRef>
          </c:cat>
          <c:val>
            <c:numRef>
              <c:f>Sheet1!$I$4:$I$1309</c:f>
              <c:numCache>
                <c:formatCode>General</c:formatCode>
                <c:ptCount val="1306"/>
                <c:pt idx="0">
                  <c:v>0</c:v>
                </c:pt>
                <c:pt idx="1">
                  <c:v>0.1</c:v>
                </c:pt>
                <c:pt idx="2">
                  <c:v>0.42</c:v>
                </c:pt>
                <c:pt idx="3">
                  <c:v>0.32</c:v>
                </c:pt>
                <c:pt idx="4">
                  <c:v>-0.13</c:v>
                </c:pt>
                <c:pt idx="5">
                  <c:v>-1.69</c:v>
                </c:pt>
                <c:pt idx="6">
                  <c:v>-2.31</c:v>
                </c:pt>
                <c:pt idx="7">
                  <c:v>-1.1499999999999999</c:v>
                </c:pt>
                <c:pt idx="8">
                  <c:v>-1.28</c:v>
                </c:pt>
                <c:pt idx="9">
                  <c:v>-0.12</c:v>
                </c:pt>
                <c:pt idx="10">
                  <c:v>-0.36</c:v>
                </c:pt>
                <c:pt idx="11">
                  <c:v>-0.62</c:v>
                </c:pt>
                <c:pt idx="12">
                  <c:v>-0.4</c:v>
                </c:pt>
                <c:pt idx="13">
                  <c:v>-0.06</c:v>
                </c:pt>
                <c:pt idx="14">
                  <c:v>1.03</c:v>
                </c:pt>
                <c:pt idx="15">
                  <c:v>2.4300000000000002</c:v>
                </c:pt>
                <c:pt idx="16">
                  <c:v>1.76</c:v>
                </c:pt>
                <c:pt idx="17">
                  <c:v>1.62</c:v>
                </c:pt>
                <c:pt idx="18">
                  <c:v>1.8</c:v>
                </c:pt>
                <c:pt idx="19">
                  <c:v>2.62</c:v>
                </c:pt>
                <c:pt idx="20">
                  <c:v>2.58</c:v>
                </c:pt>
                <c:pt idx="21">
                  <c:v>2.75</c:v>
                </c:pt>
                <c:pt idx="22">
                  <c:v>2.75</c:v>
                </c:pt>
                <c:pt idx="23">
                  <c:v>2.75</c:v>
                </c:pt>
                <c:pt idx="24">
                  <c:v>2.97</c:v>
                </c:pt>
                <c:pt idx="25">
                  <c:v>2.09</c:v>
                </c:pt>
                <c:pt idx="26">
                  <c:v>2.0099999999999998</c:v>
                </c:pt>
                <c:pt idx="27">
                  <c:v>2.0099999999999998</c:v>
                </c:pt>
                <c:pt idx="28">
                  <c:v>2.97</c:v>
                </c:pt>
                <c:pt idx="29">
                  <c:v>2.63</c:v>
                </c:pt>
                <c:pt idx="30">
                  <c:v>2.23</c:v>
                </c:pt>
                <c:pt idx="31">
                  <c:v>2.4900000000000002</c:v>
                </c:pt>
                <c:pt idx="32">
                  <c:v>2.66</c:v>
                </c:pt>
                <c:pt idx="33">
                  <c:v>2.98</c:v>
                </c:pt>
                <c:pt idx="34">
                  <c:v>2.86</c:v>
                </c:pt>
                <c:pt idx="35">
                  <c:v>2.67</c:v>
                </c:pt>
                <c:pt idx="36">
                  <c:v>2.97</c:v>
                </c:pt>
                <c:pt idx="37">
                  <c:v>2.99</c:v>
                </c:pt>
                <c:pt idx="38">
                  <c:v>3.22</c:v>
                </c:pt>
                <c:pt idx="39">
                  <c:v>4.21</c:v>
                </c:pt>
                <c:pt idx="40">
                  <c:v>4.08</c:v>
                </c:pt>
                <c:pt idx="41">
                  <c:v>3.93</c:v>
                </c:pt>
                <c:pt idx="42">
                  <c:v>3.85</c:v>
                </c:pt>
                <c:pt idx="43">
                  <c:v>3.11</c:v>
                </c:pt>
                <c:pt idx="44">
                  <c:v>4</c:v>
                </c:pt>
                <c:pt idx="45">
                  <c:v>1.65</c:v>
                </c:pt>
                <c:pt idx="46">
                  <c:v>2.5099999999999998</c:v>
                </c:pt>
                <c:pt idx="47">
                  <c:v>2.96</c:v>
                </c:pt>
                <c:pt idx="48">
                  <c:v>1.92</c:v>
                </c:pt>
                <c:pt idx="49">
                  <c:v>0.83</c:v>
                </c:pt>
                <c:pt idx="50">
                  <c:v>1.08</c:v>
                </c:pt>
                <c:pt idx="51">
                  <c:v>2.73</c:v>
                </c:pt>
                <c:pt idx="52">
                  <c:v>4</c:v>
                </c:pt>
                <c:pt idx="53">
                  <c:v>4.49</c:v>
                </c:pt>
                <c:pt idx="54">
                  <c:v>4.22</c:v>
                </c:pt>
                <c:pt idx="55">
                  <c:v>4.28</c:v>
                </c:pt>
                <c:pt idx="56">
                  <c:v>5.23</c:v>
                </c:pt>
                <c:pt idx="57">
                  <c:v>5.89</c:v>
                </c:pt>
                <c:pt idx="58">
                  <c:v>5.91</c:v>
                </c:pt>
                <c:pt idx="59">
                  <c:v>5.78</c:v>
                </c:pt>
                <c:pt idx="60">
                  <c:v>6.14</c:v>
                </c:pt>
                <c:pt idx="61">
                  <c:v>5.73</c:v>
                </c:pt>
                <c:pt idx="62">
                  <c:v>6.61</c:v>
                </c:pt>
                <c:pt idx="63">
                  <c:v>5.74</c:v>
                </c:pt>
                <c:pt idx="64">
                  <c:v>5.22</c:v>
                </c:pt>
                <c:pt idx="65">
                  <c:v>1.24</c:v>
                </c:pt>
                <c:pt idx="66">
                  <c:v>-0.55000000000000004</c:v>
                </c:pt>
                <c:pt idx="67">
                  <c:v>-0.53</c:v>
                </c:pt>
                <c:pt idx="68">
                  <c:v>-4.17</c:v>
                </c:pt>
                <c:pt idx="69">
                  <c:v>-7.56</c:v>
                </c:pt>
                <c:pt idx="70">
                  <c:v>-7.49</c:v>
                </c:pt>
                <c:pt idx="71">
                  <c:v>-6.14</c:v>
                </c:pt>
                <c:pt idx="72">
                  <c:v>-4.8600000000000003</c:v>
                </c:pt>
                <c:pt idx="73">
                  <c:v>-6.17</c:v>
                </c:pt>
                <c:pt idx="74">
                  <c:v>-9.6</c:v>
                </c:pt>
                <c:pt idx="75">
                  <c:v>-16.329999999999998</c:v>
                </c:pt>
                <c:pt idx="76">
                  <c:v>-17.28</c:v>
                </c:pt>
                <c:pt idx="77">
                  <c:v>-17.89</c:v>
                </c:pt>
                <c:pt idx="78">
                  <c:v>-27.3</c:v>
                </c:pt>
                <c:pt idx="79">
                  <c:v>-26.26</c:v>
                </c:pt>
                <c:pt idx="80">
                  <c:v>-29.84</c:v>
                </c:pt>
                <c:pt idx="81">
                  <c:v>-28.25</c:v>
                </c:pt>
                <c:pt idx="82">
                  <c:v>-31.06</c:v>
                </c:pt>
                <c:pt idx="83">
                  <c:v>-28.97</c:v>
                </c:pt>
                <c:pt idx="84">
                  <c:v>-27.68</c:v>
                </c:pt>
                <c:pt idx="85">
                  <c:v>-30.79</c:v>
                </c:pt>
                <c:pt idx="86">
                  <c:v>-24.96</c:v>
                </c:pt>
                <c:pt idx="87">
                  <c:v>-22.64</c:v>
                </c:pt>
                <c:pt idx="88">
                  <c:v>-20.63</c:v>
                </c:pt>
                <c:pt idx="89">
                  <c:v>-23.2</c:v>
                </c:pt>
                <c:pt idx="90">
                  <c:v>-22.18</c:v>
                </c:pt>
                <c:pt idx="91">
                  <c:v>-20.9</c:v>
                </c:pt>
                <c:pt idx="92">
                  <c:v>-23.18</c:v>
                </c:pt>
                <c:pt idx="93">
                  <c:v>-22.84</c:v>
                </c:pt>
                <c:pt idx="94">
                  <c:v>-23.54</c:v>
                </c:pt>
                <c:pt idx="95">
                  <c:v>-20.77</c:v>
                </c:pt>
                <c:pt idx="96">
                  <c:v>-19.27</c:v>
                </c:pt>
                <c:pt idx="97">
                  <c:v>-19.25</c:v>
                </c:pt>
                <c:pt idx="98">
                  <c:v>-17.98</c:v>
                </c:pt>
                <c:pt idx="99">
                  <c:v>-17.98</c:v>
                </c:pt>
                <c:pt idx="100">
                  <c:v>-17.98</c:v>
                </c:pt>
                <c:pt idx="101">
                  <c:v>-17.45</c:v>
                </c:pt>
                <c:pt idx="102">
                  <c:v>-20.13</c:v>
                </c:pt>
                <c:pt idx="103">
                  <c:v>-19.649999999999999</c:v>
                </c:pt>
                <c:pt idx="104">
                  <c:v>-17.53</c:v>
                </c:pt>
                <c:pt idx="105">
                  <c:v>-16.97</c:v>
                </c:pt>
                <c:pt idx="106">
                  <c:v>-19.77</c:v>
                </c:pt>
                <c:pt idx="107">
                  <c:v>-18.32</c:v>
                </c:pt>
                <c:pt idx="108">
                  <c:v>-17.53</c:v>
                </c:pt>
                <c:pt idx="109">
                  <c:v>-18.420000000000002</c:v>
                </c:pt>
                <c:pt idx="110">
                  <c:v>-16.87</c:v>
                </c:pt>
                <c:pt idx="111">
                  <c:v>-15.46</c:v>
                </c:pt>
                <c:pt idx="112">
                  <c:v>-13.94</c:v>
                </c:pt>
                <c:pt idx="113">
                  <c:v>-15.65</c:v>
                </c:pt>
                <c:pt idx="114">
                  <c:v>-16.309999999999999</c:v>
                </c:pt>
                <c:pt idx="115">
                  <c:v>-18.489999999999998</c:v>
                </c:pt>
                <c:pt idx="116">
                  <c:v>-16.7</c:v>
                </c:pt>
                <c:pt idx="117">
                  <c:v>-16.989999999999998</c:v>
                </c:pt>
                <c:pt idx="118">
                  <c:v>-16</c:v>
                </c:pt>
                <c:pt idx="119">
                  <c:v>-15.24</c:v>
                </c:pt>
                <c:pt idx="120">
                  <c:v>-15.55</c:v>
                </c:pt>
                <c:pt idx="121">
                  <c:v>-15.32</c:v>
                </c:pt>
                <c:pt idx="122">
                  <c:v>-16.96</c:v>
                </c:pt>
                <c:pt idx="123">
                  <c:v>-18.73</c:v>
                </c:pt>
                <c:pt idx="124">
                  <c:v>-18.32</c:v>
                </c:pt>
                <c:pt idx="125">
                  <c:v>-14.97</c:v>
                </c:pt>
                <c:pt idx="126">
                  <c:v>-15.48</c:v>
                </c:pt>
                <c:pt idx="127">
                  <c:v>-14.65</c:v>
                </c:pt>
                <c:pt idx="128">
                  <c:v>-15.25</c:v>
                </c:pt>
                <c:pt idx="129">
                  <c:v>-15.27</c:v>
                </c:pt>
                <c:pt idx="130">
                  <c:v>-14.01</c:v>
                </c:pt>
                <c:pt idx="131">
                  <c:v>-13.08</c:v>
                </c:pt>
                <c:pt idx="132">
                  <c:v>-12.88</c:v>
                </c:pt>
                <c:pt idx="133">
                  <c:v>-11.44</c:v>
                </c:pt>
                <c:pt idx="134">
                  <c:v>-12.7</c:v>
                </c:pt>
                <c:pt idx="135">
                  <c:v>-11.74</c:v>
                </c:pt>
                <c:pt idx="136">
                  <c:v>-10.34</c:v>
                </c:pt>
                <c:pt idx="137">
                  <c:v>-8.0500000000000007</c:v>
                </c:pt>
                <c:pt idx="138">
                  <c:v>-8.7200000000000006</c:v>
                </c:pt>
                <c:pt idx="139">
                  <c:v>-6.45</c:v>
                </c:pt>
                <c:pt idx="140">
                  <c:v>-6.75</c:v>
                </c:pt>
                <c:pt idx="141">
                  <c:v>-7.88</c:v>
                </c:pt>
                <c:pt idx="142">
                  <c:v>-8.23</c:v>
                </c:pt>
                <c:pt idx="143">
                  <c:v>-11.97</c:v>
                </c:pt>
                <c:pt idx="144">
                  <c:v>-11.72</c:v>
                </c:pt>
                <c:pt idx="145">
                  <c:v>-11.96</c:v>
                </c:pt>
                <c:pt idx="146">
                  <c:v>-9.4</c:v>
                </c:pt>
                <c:pt idx="147">
                  <c:v>-8.7200000000000006</c:v>
                </c:pt>
                <c:pt idx="148">
                  <c:v>-9.35</c:v>
                </c:pt>
                <c:pt idx="149">
                  <c:v>-8.81</c:v>
                </c:pt>
                <c:pt idx="150">
                  <c:v>-9.4600000000000009</c:v>
                </c:pt>
                <c:pt idx="151">
                  <c:v>-8.27</c:v>
                </c:pt>
                <c:pt idx="152">
                  <c:v>-10.83</c:v>
                </c:pt>
                <c:pt idx="153">
                  <c:v>-10.18</c:v>
                </c:pt>
                <c:pt idx="154">
                  <c:v>-10.53</c:v>
                </c:pt>
                <c:pt idx="155">
                  <c:v>-10.1</c:v>
                </c:pt>
                <c:pt idx="156">
                  <c:v>-9.99</c:v>
                </c:pt>
                <c:pt idx="157">
                  <c:v>-9.76</c:v>
                </c:pt>
                <c:pt idx="158">
                  <c:v>-7.97</c:v>
                </c:pt>
                <c:pt idx="159">
                  <c:v>-8.67</c:v>
                </c:pt>
                <c:pt idx="160">
                  <c:v>-7.23</c:v>
                </c:pt>
                <c:pt idx="161">
                  <c:v>-7.76</c:v>
                </c:pt>
                <c:pt idx="162">
                  <c:v>-8.36</c:v>
                </c:pt>
                <c:pt idx="163">
                  <c:v>-9.0399999999999991</c:v>
                </c:pt>
                <c:pt idx="164">
                  <c:v>-8.25</c:v>
                </c:pt>
                <c:pt idx="165">
                  <c:v>-7.32</c:v>
                </c:pt>
                <c:pt idx="166">
                  <c:v>-8.08</c:v>
                </c:pt>
                <c:pt idx="167">
                  <c:v>-6.46</c:v>
                </c:pt>
                <c:pt idx="168">
                  <c:v>-6.9</c:v>
                </c:pt>
                <c:pt idx="169">
                  <c:v>-6.75</c:v>
                </c:pt>
                <c:pt idx="170">
                  <c:v>-6.04</c:v>
                </c:pt>
                <c:pt idx="171">
                  <c:v>-5.74</c:v>
                </c:pt>
                <c:pt idx="172">
                  <c:v>-6.55</c:v>
                </c:pt>
                <c:pt idx="173">
                  <c:v>-6.49</c:v>
                </c:pt>
                <c:pt idx="174">
                  <c:v>-8.08</c:v>
                </c:pt>
                <c:pt idx="175">
                  <c:v>-8.3699999999999992</c:v>
                </c:pt>
                <c:pt idx="176">
                  <c:v>-7.99</c:v>
                </c:pt>
                <c:pt idx="177">
                  <c:v>-8.0399999999999991</c:v>
                </c:pt>
                <c:pt idx="178">
                  <c:v>-10.02</c:v>
                </c:pt>
                <c:pt idx="179">
                  <c:v>-10.82</c:v>
                </c:pt>
                <c:pt idx="180">
                  <c:v>-8.99</c:v>
                </c:pt>
                <c:pt idx="181">
                  <c:v>-9.0500000000000007</c:v>
                </c:pt>
                <c:pt idx="182">
                  <c:v>-8.61</c:v>
                </c:pt>
                <c:pt idx="183">
                  <c:v>-9.24</c:v>
                </c:pt>
                <c:pt idx="184">
                  <c:v>-8.9700000000000006</c:v>
                </c:pt>
                <c:pt idx="185">
                  <c:v>-8.68</c:v>
                </c:pt>
                <c:pt idx="186">
                  <c:v>-7.15</c:v>
                </c:pt>
                <c:pt idx="187">
                  <c:v>-6.12</c:v>
                </c:pt>
                <c:pt idx="188">
                  <c:v>-6.64</c:v>
                </c:pt>
                <c:pt idx="189">
                  <c:v>-7.74</c:v>
                </c:pt>
                <c:pt idx="190">
                  <c:v>-7.45</c:v>
                </c:pt>
                <c:pt idx="191">
                  <c:v>-7.97</c:v>
                </c:pt>
                <c:pt idx="192">
                  <c:v>-7.37</c:v>
                </c:pt>
                <c:pt idx="193">
                  <c:v>-8.32</c:v>
                </c:pt>
                <c:pt idx="194">
                  <c:v>-8.4600000000000009</c:v>
                </c:pt>
                <c:pt idx="195">
                  <c:v>-7.02</c:v>
                </c:pt>
                <c:pt idx="196">
                  <c:v>-7.29</c:v>
                </c:pt>
                <c:pt idx="197">
                  <c:v>-6.45</c:v>
                </c:pt>
                <c:pt idx="198">
                  <c:v>-7.05</c:v>
                </c:pt>
                <c:pt idx="199">
                  <c:v>-7.51</c:v>
                </c:pt>
                <c:pt idx="200">
                  <c:v>-8.08</c:v>
                </c:pt>
                <c:pt idx="201">
                  <c:v>-8.39</c:v>
                </c:pt>
                <c:pt idx="202">
                  <c:v>-6.87</c:v>
                </c:pt>
                <c:pt idx="203">
                  <c:v>-8.16</c:v>
                </c:pt>
                <c:pt idx="204">
                  <c:v>-9.1999999999999993</c:v>
                </c:pt>
                <c:pt idx="205">
                  <c:v>-7.68</c:v>
                </c:pt>
                <c:pt idx="206">
                  <c:v>-8.74</c:v>
                </c:pt>
                <c:pt idx="207">
                  <c:v>-7.25</c:v>
                </c:pt>
                <c:pt idx="208">
                  <c:v>-7.8</c:v>
                </c:pt>
                <c:pt idx="209">
                  <c:v>-7.68</c:v>
                </c:pt>
                <c:pt idx="210">
                  <c:v>-7.54</c:v>
                </c:pt>
                <c:pt idx="211">
                  <c:v>-6.92</c:v>
                </c:pt>
                <c:pt idx="212">
                  <c:v>-6.37</c:v>
                </c:pt>
                <c:pt idx="213">
                  <c:v>-6.85</c:v>
                </c:pt>
                <c:pt idx="214">
                  <c:v>-7.46</c:v>
                </c:pt>
                <c:pt idx="215">
                  <c:v>-10.46</c:v>
                </c:pt>
                <c:pt idx="216">
                  <c:v>-10.27</c:v>
                </c:pt>
                <c:pt idx="217">
                  <c:v>-9.7799999999999994</c:v>
                </c:pt>
                <c:pt idx="218">
                  <c:v>-10.7</c:v>
                </c:pt>
                <c:pt idx="219">
                  <c:v>-10.76</c:v>
                </c:pt>
                <c:pt idx="220">
                  <c:v>-8.7799999999999994</c:v>
                </c:pt>
                <c:pt idx="221">
                  <c:v>-9.26</c:v>
                </c:pt>
                <c:pt idx="222">
                  <c:v>-9.36</c:v>
                </c:pt>
                <c:pt idx="223">
                  <c:v>-9.15</c:v>
                </c:pt>
                <c:pt idx="224">
                  <c:v>-8.92</c:v>
                </c:pt>
                <c:pt idx="225">
                  <c:v>-8.18</c:v>
                </c:pt>
                <c:pt idx="226">
                  <c:v>-8.11</c:v>
                </c:pt>
                <c:pt idx="227">
                  <c:v>-8.2200000000000006</c:v>
                </c:pt>
                <c:pt idx="228">
                  <c:v>-7.5</c:v>
                </c:pt>
                <c:pt idx="229">
                  <c:v>-6.99</c:v>
                </c:pt>
                <c:pt idx="230">
                  <c:v>-6.32</c:v>
                </c:pt>
                <c:pt idx="231">
                  <c:v>-6.83</c:v>
                </c:pt>
                <c:pt idx="232">
                  <c:v>-6.92</c:v>
                </c:pt>
                <c:pt idx="233">
                  <c:v>-8.85</c:v>
                </c:pt>
                <c:pt idx="234">
                  <c:v>-7.7</c:v>
                </c:pt>
                <c:pt idx="235">
                  <c:v>-7.87</c:v>
                </c:pt>
                <c:pt idx="236">
                  <c:v>-8.19</c:v>
                </c:pt>
                <c:pt idx="237">
                  <c:v>-9.3800000000000008</c:v>
                </c:pt>
                <c:pt idx="238">
                  <c:v>-9.5</c:v>
                </c:pt>
                <c:pt idx="239">
                  <c:v>-8.94</c:v>
                </c:pt>
                <c:pt idx="240">
                  <c:v>-10.58</c:v>
                </c:pt>
                <c:pt idx="241">
                  <c:v>-11.43</c:v>
                </c:pt>
                <c:pt idx="242">
                  <c:v>-14.04</c:v>
                </c:pt>
                <c:pt idx="243">
                  <c:v>-14.12</c:v>
                </c:pt>
                <c:pt idx="244">
                  <c:v>-13.97</c:v>
                </c:pt>
                <c:pt idx="245">
                  <c:v>-12.58</c:v>
                </c:pt>
                <c:pt idx="246">
                  <c:v>-10.53</c:v>
                </c:pt>
                <c:pt idx="247">
                  <c:v>-8.69</c:v>
                </c:pt>
                <c:pt idx="248">
                  <c:v>-7.72</c:v>
                </c:pt>
                <c:pt idx="249">
                  <c:v>-7.9</c:v>
                </c:pt>
                <c:pt idx="250">
                  <c:v>-4.2300000000000004</c:v>
                </c:pt>
                <c:pt idx="251">
                  <c:v>-3.37</c:v>
                </c:pt>
                <c:pt idx="252">
                  <c:v>-2.33</c:v>
                </c:pt>
                <c:pt idx="253">
                  <c:v>-3.16</c:v>
                </c:pt>
                <c:pt idx="254">
                  <c:v>-3.15</c:v>
                </c:pt>
                <c:pt idx="255">
                  <c:v>-2.0099999999999998</c:v>
                </c:pt>
                <c:pt idx="256">
                  <c:v>-2.23</c:v>
                </c:pt>
                <c:pt idx="257">
                  <c:v>-1.8</c:v>
                </c:pt>
                <c:pt idx="258">
                  <c:v>-2.54</c:v>
                </c:pt>
                <c:pt idx="259">
                  <c:v>-2.0299999999999998</c:v>
                </c:pt>
                <c:pt idx="260">
                  <c:v>-2.2200000000000002</c:v>
                </c:pt>
                <c:pt idx="261">
                  <c:v>-1.32</c:v>
                </c:pt>
                <c:pt idx="262">
                  <c:v>-1.39</c:v>
                </c:pt>
                <c:pt idx="263">
                  <c:v>-1.49</c:v>
                </c:pt>
                <c:pt idx="264">
                  <c:v>-1.08</c:v>
                </c:pt>
                <c:pt idx="265">
                  <c:v>-2.0499999999999998</c:v>
                </c:pt>
                <c:pt idx="266">
                  <c:v>-1.41</c:v>
                </c:pt>
                <c:pt idx="267">
                  <c:v>-1.45</c:v>
                </c:pt>
                <c:pt idx="268">
                  <c:v>-1.44</c:v>
                </c:pt>
                <c:pt idx="269">
                  <c:v>-0.85</c:v>
                </c:pt>
                <c:pt idx="270">
                  <c:v>-1.1399999999999999</c:v>
                </c:pt>
                <c:pt idx="271">
                  <c:v>-0.94</c:v>
                </c:pt>
                <c:pt idx="272">
                  <c:v>-0.62</c:v>
                </c:pt>
                <c:pt idx="273">
                  <c:v>-1.05</c:v>
                </c:pt>
                <c:pt idx="274">
                  <c:v>-1.8</c:v>
                </c:pt>
                <c:pt idx="275">
                  <c:v>-1.37</c:v>
                </c:pt>
                <c:pt idx="276">
                  <c:v>-1.1200000000000001</c:v>
                </c:pt>
                <c:pt idx="277">
                  <c:v>-0.3</c:v>
                </c:pt>
                <c:pt idx="278">
                  <c:v>0.04</c:v>
                </c:pt>
                <c:pt idx="279">
                  <c:v>-0.31</c:v>
                </c:pt>
                <c:pt idx="280">
                  <c:v>-2.63</c:v>
                </c:pt>
                <c:pt idx="281">
                  <c:v>-1.48</c:v>
                </c:pt>
                <c:pt idx="282">
                  <c:v>-0.41</c:v>
                </c:pt>
                <c:pt idx="283">
                  <c:v>-0.28000000000000003</c:v>
                </c:pt>
                <c:pt idx="284">
                  <c:v>-0.28000000000000003</c:v>
                </c:pt>
                <c:pt idx="285">
                  <c:v>0.37</c:v>
                </c:pt>
                <c:pt idx="286">
                  <c:v>1.1399999999999999</c:v>
                </c:pt>
                <c:pt idx="287">
                  <c:v>0.8</c:v>
                </c:pt>
                <c:pt idx="288">
                  <c:v>0.49</c:v>
                </c:pt>
                <c:pt idx="289">
                  <c:v>0.49</c:v>
                </c:pt>
                <c:pt idx="290">
                  <c:v>1.18</c:v>
                </c:pt>
                <c:pt idx="291">
                  <c:v>0.99</c:v>
                </c:pt>
                <c:pt idx="292">
                  <c:v>2.37</c:v>
                </c:pt>
                <c:pt idx="293">
                  <c:v>2.9</c:v>
                </c:pt>
                <c:pt idx="294">
                  <c:v>3.57</c:v>
                </c:pt>
                <c:pt idx="295">
                  <c:v>2.88</c:v>
                </c:pt>
                <c:pt idx="296">
                  <c:v>2.94</c:v>
                </c:pt>
                <c:pt idx="297">
                  <c:v>3.05</c:v>
                </c:pt>
                <c:pt idx="298">
                  <c:v>3.8</c:v>
                </c:pt>
                <c:pt idx="299">
                  <c:v>2.76</c:v>
                </c:pt>
                <c:pt idx="300">
                  <c:v>2.98</c:v>
                </c:pt>
                <c:pt idx="301">
                  <c:v>2.79</c:v>
                </c:pt>
                <c:pt idx="302">
                  <c:v>3.53</c:v>
                </c:pt>
                <c:pt idx="303">
                  <c:v>3.54</c:v>
                </c:pt>
                <c:pt idx="304">
                  <c:v>2.95</c:v>
                </c:pt>
                <c:pt idx="305">
                  <c:v>2.09</c:v>
                </c:pt>
                <c:pt idx="306">
                  <c:v>2.74</c:v>
                </c:pt>
                <c:pt idx="307">
                  <c:v>1.55</c:v>
                </c:pt>
                <c:pt idx="308">
                  <c:v>1.65</c:v>
                </c:pt>
                <c:pt idx="309">
                  <c:v>-0.25</c:v>
                </c:pt>
                <c:pt idx="310">
                  <c:v>0.99</c:v>
                </c:pt>
                <c:pt idx="311">
                  <c:v>2.29</c:v>
                </c:pt>
                <c:pt idx="312">
                  <c:v>2.63</c:v>
                </c:pt>
                <c:pt idx="313">
                  <c:v>3.23</c:v>
                </c:pt>
                <c:pt idx="314">
                  <c:v>3.23</c:v>
                </c:pt>
                <c:pt idx="315">
                  <c:v>3.55</c:v>
                </c:pt>
                <c:pt idx="316">
                  <c:v>3.46</c:v>
                </c:pt>
                <c:pt idx="317">
                  <c:v>3.22</c:v>
                </c:pt>
                <c:pt idx="318">
                  <c:v>3.69</c:v>
                </c:pt>
                <c:pt idx="319">
                  <c:v>4.3600000000000003</c:v>
                </c:pt>
                <c:pt idx="320">
                  <c:v>5.74</c:v>
                </c:pt>
                <c:pt idx="321">
                  <c:v>5.68</c:v>
                </c:pt>
                <c:pt idx="322">
                  <c:v>4.9000000000000004</c:v>
                </c:pt>
                <c:pt idx="323">
                  <c:v>4.08</c:v>
                </c:pt>
                <c:pt idx="324">
                  <c:v>4.63</c:v>
                </c:pt>
                <c:pt idx="325">
                  <c:v>4.17</c:v>
                </c:pt>
                <c:pt idx="326">
                  <c:v>3.74</c:v>
                </c:pt>
                <c:pt idx="327">
                  <c:v>4.22</c:v>
                </c:pt>
                <c:pt idx="328">
                  <c:v>3.9</c:v>
                </c:pt>
                <c:pt idx="329">
                  <c:v>2.2000000000000002</c:v>
                </c:pt>
                <c:pt idx="330">
                  <c:v>4.08</c:v>
                </c:pt>
                <c:pt idx="331">
                  <c:v>4.28</c:v>
                </c:pt>
                <c:pt idx="332">
                  <c:v>4.34</c:v>
                </c:pt>
                <c:pt idx="333">
                  <c:v>4.0999999999999996</c:v>
                </c:pt>
                <c:pt idx="334">
                  <c:v>3.28</c:v>
                </c:pt>
                <c:pt idx="335">
                  <c:v>5.45</c:v>
                </c:pt>
                <c:pt idx="336">
                  <c:v>6.25</c:v>
                </c:pt>
                <c:pt idx="337">
                  <c:v>6.67</c:v>
                </c:pt>
                <c:pt idx="338">
                  <c:v>7.24</c:v>
                </c:pt>
                <c:pt idx="339">
                  <c:v>6.96</c:v>
                </c:pt>
                <c:pt idx="340">
                  <c:v>6.96</c:v>
                </c:pt>
                <c:pt idx="341">
                  <c:v>7.91</c:v>
                </c:pt>
                <c:pt idx="342">
                  <c:v>7.43</c:v>
                </c:pt>
                <c:pt idx="343">
                  <c:v>7.95</c:v>
                </c:pt>
                <c:pt idx="344">
                  <c:v>7.13</c:v>
                </c:pt>
                <c:pt idx="345">
                  <c:v>7.34</c:v>
                </c:pt>
                <c:pt idx="346">
                  <c:v>7.12</c:v>
                </c:pt>
                <c:pt idx="347">
                  <c:v>7.15</c:v>
                </c:pt>
                <c:pt idx="348">
                  <c:v>7.13</c:v>
                </c:pt>
                <c:pt idx="349">
                  <c:v>8.14</c:v>
                </c:pt>
                <c:pt idx="350">
                  <c:v>8.33</c:v>
                </c:pt>
                <c:pt idx="351">
                  <c:v>9.1</c:v>
                </c:pt>
                <c:pt idx="352">
                  <c:v>8.86</c:v>
                </c:pt>
                <c:pt idx="353">
                  <c:v>9.56</c:v>
                </c:pt>
                <c:pt idx="354">
                  <c:v>9.56</c:v>
                </c:pt>
                <c:pt idx="355">
                  <c:v>9.56</c:v>
                </c:pt>
                <c:pt idx="356">
                  <c:v>10.36</c:v>
                </c:pt>
                <c:pt idx="357">
                  <c:v>10.119999999999999</c:v>
                </c:pt>
                <c:pt idx="358">
                  <c:v>10.79</c:v>
                </c:pt>
                <c:pt idx="359">
                  <c:v>10.92</c:v>
                </c:pt>
                <c:pt idx="360">
                  <c:v>10.42</c:v>
                </c:pt>
                <c:pt idx="361">
                  <c:v>10.57</c:v>
                </c:pt>
                <c:pt idx="362">
                  <c:v>10.78</c:v>
                </c:pt>
                <c:pt idx="363">
                  <c:v>11.31</c:v>
                </c:pt>
                <c:pt idx="364">
                  <c:v>12.33</c:v>
                </c:pt>
                <c:pt idx="365">
                  <c:v>12.36</c:v>
                </c:pt>
                <c:pt idx="366">
                  <c:v>10.28</c:v>
                </c:pt>
                <c:pt idx="367">
                  <c:v>11</c:v>
                </c:pt>
                <c:pt idx="368">
                  <c:v>11.79</c:v>
                </c:pt>
                <c:pt idx="369">
                  <c:v>11.65</c:v>
                </c:pt>
                <c:pt idx="370">
                  <c:v>11.96</c:v>
                </c:pt>
                <c:pt idx="371">
                  <c:v>11.89</c:v>
                </c:pt>
                <c:pt idx="372">
                  <c:v>11.95</c:v>
                </c:pt>
                <c:pt idx="373">
                  <c:v>11.71</c:v>
                </c:pt>
                <c:pt idx="374">
                  <c:v>11.4</c:v>
                </c:pt>
                <c:pt idx="375">
                  <c:v>12.06</c:v>
                </c:pt>
                <c:pt idx="376">
                  <c:v>10.49</c:v>
                </c:pt>
                <c:pt idx="377">
                  <c:v>12.55</c:v>
                </c:pt>
                <c:pt idx="378">
                  <c:v>12.51</c:v>
                </c:pt>
                <c:pt idx="379">
                  <c:v>13.58</c:v>
                </c:pt>
                <c:pt idx="380">
                  <c:v>13.75</c:v>
                </c:pt>
                <c:pt idx="381">
                  <c:v>11.5</c:v>
                </c:pt>
                <c:pt idx="382">
                  <c:v>11.85</c:v>
                </c:pt>
                <c:pt idx="383">
                  <c:v>11.74</c:v>
                </c:pt>
                <c:pt idx="384">
                  <c:v>13.08</c:v>
                </c:pt>
                <c:pt idx="385">
                  <c:v>13.05</c:v>
                </c:pt>
                <c:pt idx="386">
                  <c:v>13.26</c:v>
                </c:pt>
                <c:pt idx="387">
                  <c:v>11.55</c:v>
                </c:pt>
                <c:pt idx="388">
                  <c:v>13.04</c:v>
                </c:pt>
                <c:pt idx="389">
                  <c:v>13.7</c:v>
                </c:pt>
                <c:pt idx="390">
                  <c:v>13.93</c:v>
                </c:pt>
                <c:pt idx="391">
                  <c:v>13.98</c:v>
                </c:pt>
                <c:pt idx="392">
                  <c:v>14</c:v>
                </c:pt>
                <c:pt idx="393">
                  <c:v>14.32</c:v>
                </c:pt>
                <c:pt idx="394">
                  <c:v>14.99</c:v>
                </c:pt>
                <c:pt idx="395">
                  <c:v>14.42</c:v>
                </c:pt>
                <c:pt idx="396">
                  <c:v>15.29</c:v>
                </c:pt>
                <c:pt idx="397">
                  <c:v>15.63</c:v>
                </c:pt>
                <c:pt idx="398">
                  <c:v>15.51</c:v>
                </c:pt>
                <c:pt idx="399">
                  <c:v>15.97</c:v>
                </c:pt>
                <c:pt idx="400">
                  <c:v>16.23</c:v>
                </c:pt>
                <c:pt idx="401">
                  <c:v>16.350000000000001</c:v>
                </c:pt>
                <c:pt idx="402">
                  <c:v>16.46</c:v>
                </c:pt>
                <c:pt idx="403">
                  <c:v>16.5</c:v>
                </c:pt>
                <c:pt idx="404">
                  <c:v>17.260000000000002</c:v>
                </c:pt>
                <c:pt idx="405">
                  <c:v>17.47</c:v>
                </c:pt>
                <c:pt idx="406">
                  <c:v>17.61</c:v>
                </c:pt>
                <c:pt idx="407">
                  <c:v>17.88</c:v>
                </c:pt>
                <c:pt idx="408">
                  <c:v>17.75</c:v>
                </c:pt>
                <c:pt idx="409">
                  <c:v>15.89</c:v>
                </c:pt>
                <c:pt idx="410">
                  <c:v>16.72</c:v>
                </c:pt>
                <c:pt idx="411">
                  <c:v>17.03</c:v>
                </c:pt>
                <c:pt idx="412">
                  <c:v>16.18</c:v>
                </c:pt>
                <c:pt idx="413">
                  <c:v>17.23</c:v>
                </c:pt>
                <c:pt idx="414">
                  <c:v>17.39</c:v>
                </c:pt>
                <c:pt idx="415">
                  <c:v>16.7</c:v>
                </c:pt>
                <c:pt idx="416">
                  <c:v>17.07</c:v>
                </c:pt>
                <c:pt idx="417">
                  <c:v>16.170000000000002</c:v>
                </c:pt>
                <c:pt idx="418">
                  <c:v>16.899999999999999</c:v>
                </c:pt>
                <c:pt idx="419">
                  <c:v>17.2</c:v>
                </c:pt>
                <c:pt idx="420">
                  <c:v>17.61</c:v>
                </c:pt>
                <c:pt idx="421">
                  <c:v>17</c:v>
                </c:pt>
                <c:pt idx="422">
                  <c:v>17.920000000000002</c:v>
                </c:pt>
                <c:pt idx="423">
                  <c:v>15.92</c:v>
                </c:pt>
                <c:pt idx="424">
                  <c:v>17.48</c:v>
                </c:pt>
                <c:pt idx="425">
                  <c:v>18.29</c:v>
                </c:pt>
                <c:pt idx="426">
                  <c:v>18.32</c:v>
                </c:pt>
                <c:pt idx="427">
                  <c:v>18.22</c:v>
                </c:pt>
                <c:pt idx="428">
                  <c:v>17.100000000000001</c:v>
                </c:pt>
                <c:pt idx="429">
                  <c:v>16.73</c:v>
                </c:pt>
                <c:pt idx="430">
                  <c:v>14.06</c:v>
                </c:pt>
                <c:pt idx="431">
                  <c:v>14.66</c:v>
                </c:pt>
                <c:pt idx="432">
                  <c:v>16.55</c:v>
                </c:pt>
                <c:pt idx="433">
                  <c:v>17.21</c:v>
                </c:pt>
                <c:pt idx="434">
                  <c:v>18.5</c:v>
                </c:pt>
                <c:pt idx="435">
                  <c:v>18.41</c:v>
                </c:pt>
                <c:pt idx="436">
                  <c:v>17.77</c:v>
                </c:pt>
                <c:pt idx="437">
                  <c:v>18.559999999999999</c:v>
                </c:pt>
                <c:pt idx="438">
                  <c:v>19.11</c:v>
                </c:pt>
                <c:pt idx="439">
                  <c:v>18.579999999999998</c:v>
                </c:pt>
                <c:pt idx="440">
                  <c:v>19.27</c:v>
                </c:pt>
                <c:pt idx="441">
                  <c:v>19.510000000000002</c:v>
                </c:pt>
                <c:pt idx="442">
                  <c:v>20.239999999999998</c:v>
                </c:pt>
                <c:pt idx="443">
                  <c:v>20.73</c:v>
                </c:pt>
                <c:pt idx="444">
                  <c:v>20.73</c:v>
                </c:pt>
                <c:pt idx="445">
                  <c:v>20.91</c:v>
                </c:pt>
                <c:pt idx="446">
                  <c:v>21.33</c:v>
                </c:pt>
                <c:pt idx="447">
                  <c:v>21.85</c:v>
                </c:pt>
                <c:pt idx="448">
                  <c:v>22.08</c:v>
                </c:pt>
                <c:pt idx="449">
                  <c:v>22.34</c:v>
                </c:pt>
                <c:pt idx="450">
                  <c:v>21.73</c:v>
                </c:pt>
                <c:pt idx="451">
                  <c:v>21.82</c:v>
                </c:pt>
                <c:pt idx="452">
                  <c:v>21.98</c:v>
                </c:pt>
                <c:pt idx="453">
                  <c:v>20.2</c:v>
                </c:pt>
                <c:pt idx="454">
                  <c:v>20.61</c:v>
                </c:pt>
                <c:pt idx="455">
                  <c:v>21.4</c:v>
                </c:pt>
                <c:pt idx="456">
                  <c:v>21.38</c:v>
                </c:pt>
                <c:pt idx="457">
                  <c:v>21.39</c:v>
                </c:pt>
                <c:pt idx="458">
                  <c:v>21.02</c:v>
                </c:pt>
                <c:pt idx="459">
                  <c:v>21.54</c:v>
                </c:pt>
                <c:pt idx="460">
                  <c:v>21.63</c:v>
                </c:pt>
                <c:pt idx="461">
                  <c:v>21.17</c:v>
                </c:pt>
                <c:pt idx="462">
                  <c:v>21.74</c:v>
                </c:pt>
                <c:pt idx="463">
                  <c:v>22.18</c:v>
                </c:pt>
                <c:pt idx="464">
                  <c:v>21.5</c:v>
                </c:pt>
                <c:pt idx="465">
                  <c:v>22.33</c:v>
                </c:pt>
                <c:pt idx="466">
                  <c:v>21.74</c:v>
                </c:pt>
                <c:pt idx="467">
                  <c:v>20.45</c:v>
                </c:pt>
                <c:pt idx="468">
                  <c:v>20.38</c:v>
                </c:pt>
                <c:pt idx="469">
                  <c:v>20.059999999999999</c:v>
                </c:pt>
                <c:pt idx="470">
                  <c:v>20.41</c:v>
                </c:pt>
                <c:pt idx="471">
                  <c:v>20.41</c:v>
                </c:pt>
                <c:pt idx="472">
                  <c:v>19.440000000000001</c:v>
                </c:pt>
                <c:pt idx="473">
                  <c:v>19.97</c:v>
                </c:pt>
                <c:pt idx="474">
                  <c:v>18.91</c:v>
                </c:pt>
                <c:pt idx="475">
                  <c:v>16.940000000000001</c:v>
                </c:pt>
                <c:pt idx="476">
                  <c:v>18.14</c:v>
                </c:pt>
                <c:pt idx="477">
                  <c:v>19.309999999999999</c:v>
                </c:pt>
                <c:pt idx="478">
                  <c:v>20.420000000000002</c:v>
                </c:pt>
                <c:pt idx="479">
                  <c:v>19.34</c:v>
                </c:pt>
                <c:pt idx="480">
                  <c:v>19.12</c:v>
                </c:pt>
                <c:pt idx="481">
                  <c:v>16.54</c:v>
                </c:pt>
                <c:pt idx="482">
                  <c:v>17.239999999999998</c:v>
                </c:pt>
                <c:pt idx="483">
                  <c:v>17.2</c:v>
                </c:pt>
                <c:pt idx="484">
                  <c:v>16.72</c:v>
                </c:pt>
                <c:pt idx="485">
                  <c:v>16.23</c:v>
                </c:pt>
                <c:pt idx="486">
                  <c:v>17.579999999999998</c:v>
                </c:pt>
                <c:pt idx="487">
                  <c:v>16.37</c:v>
                </c:pt>
                <c:pt idx="488">
                  <c:v>18.25</c:v>
                </c:pt>
                <c:pt idx="489">
                  <c:v>17.920000000000002</c:v>
                </c:pt>
                <c:pt idx="490">
                  <c:v>17.989999999999998</c:v>
                </c:pt>
                <c:pt idx="491">
                  <c:v>17.91</c:v>
                </c:pt>
                <c:pt idx="492">
                  <c:v>18.73</c:v>
                </c:pt>
                <c:pt idx="493">
                  <c:v>20.16</c:v>
                </c:pt>
                <c:pt idx="494">
                  <c:v>21.06</c:v>
                </c:pt>
                <c:pt idx="495">
                  <c:v>20.48</c:v>
                </c:pt>
                <c:pt idx="496">
                  <c:v>20.87</c:v>
                </c:pt>
                <c:pt idx="497">
                  <c:v>21.26</c:v>
                </c:pt>
                <c:pt idx="498">
                  <c:v>21.17</c:v>
                </c:pt>
                <c:pt idx="499">
                  <c:v>21.74</c:v>
                </c:pt>
                <c:pt idx="500">
                  <c:v>21.82</c:v>
                </c:pt>
                <c:pt idx="501">
                  <c:v>22.73</c:v>
                </c:pt>
                <c:pt idx="502">
                  <c:v>22.3</c:v>
                </c:pt>
                <c:pt idx="503">
                  <c:v>22.6</c:v>
                </c:pt>
                <c:pt idx="504">
                  <c:v>22.72</c:v>
                </c:pt>
                <c:pt idx="505">
                  <c:v>23.58</c:v>
                </c:pt>
                <c:pt idx="506">
                  <c:v>23.76</c:v>
                </c:pt>
                <c:pt idx="507">
                  <c:v>24.2</c:v>
                </c:pt>
                <c:pt idx="508">
                  <c:v>24.73</c:v>
                </c:pt>
                <c:pt idx="509">
                  <c:v>24.79</c:v>
                </c:pt>
                <c:pt idx="510">
                  <c:v>24.84</c:v>
                </c:pt>
                <c:pt idx="511">
                  <c:v>24.61</c:v>
                </c:pt>
                <c:pt idx="512">
                  <c:v>24.87</c:v>
                </c:pt>
                <c:pt idx="513">
                  <c:v>25.3</c:v>
                </c:pt>
                <c:pt idx="514">
                  <c:v>25.68</c:v>
                </c:pt>
                <c:pt idx="515">
                  <c:v>26.13</c:v>
                </c:pt>
                <c:pt idx="516">
                  <c:v>26.35</c:v>
                </c:pt>
                <c:pt idx="517">
                  <c:v>26.52</c:v>
                </c:pt>
                <c:pt idx="518">
                  <c:v>25.96</c:v>
                </c:pt>
                <c:pt idx="519">
                  <c:v>25.54</c:v>
                </c:pt>
                <c:pt idx="520">
                  <c:v>25.42</c:v>
                </c:pt>
                <c:pt idx="521">
                  <c:v>23.81</c:v>
                </c:pt>
                <c:pt idx="522">
                  <c:v>23.92</c:v>
                </c:pt>
                <c:pt idx="523">
                  <c:v>24.47</c:v>
                </c:pt>
                <c:pt idx="524">
                  <c:v>19.91</c:v>
                </c:pt>
                <c:pt idx="525">
                  <c:v>20.73</c:v>
                </c:pt>
                <c:pt idx="526">
                  <c:v>19.64</c:v>
                </c:pt>
                <c:pt idx="527">
                  <c:v>21.69</c:v>
                </c:pt>
                <c:pt idx="528">
                  <c:v>20.309999999999999</c:v>
                </c:pt>
                <c:pt idx="529">
                  <c:v>19.63</c:v>
                </c:pt>
                <c:pt idx="530">
                  <c:v>21.16</c:v>
                </c:pt>
                <c:pt idx="531">
                  <c:v>24.13</c:v>
                </c:pt>
                <c:pt idx="532">
                  <c:v>23.4</c:v>
                </c:pt>
                <c:pt idx="533">
                  <c:v>23.3</c:v>
                </c:pt>
                <c:pt idx="534">
                  <c:v>22.93</c:v>
                </c:pt>
                <c:pt idx="535">
                  <c:v>22.42</c:v>
                </c:pt>
                <c:pt idx="536">
                  <c:v>21.39</c:v>
                </c:pt>
                <c:pt idx="537">
                  <c:v>21.7</c:v>
                </c:pt>
                <c:pt idx="538">
                  <c:v>23.2</c:v>
                </c:pt>
                <c:pt idx="539">
                  <c:v>22.52</c:v>
                </c:pt>
                <c:pt idx="540">
                  <c:v>20.83</c:v>
                </c:pt>
                <c:pt idx="541">
                  <c:v>22.54</c:v>
                </c:pt>
                <c:pt idx="542">
                  <c:v>23.67</c:v>
                </c:pt>
                <c:pt idx="543">
                  <c:v>24.89</c:v>
                </c:pt>
                <c:pt idx="544">
                  <c:v>24.76</c:v>
                </c:pt>
                <c:pt idx="545">
                  <c:v>25.53</c:v>
                </c:pt>
                <c:pt idx="546">
                  <c:v>26.31</c:v>
                </c:pt>
                <c:pt idx="547">
                  <c:v>26.18</c:v>
                </c:pt>
                <c:pt idx="548">
                  <c:v>26.37</c:v>
                </c:pt>
                <c:pt idx="549">
                  <c:v>26.14</c:v>
                </c:pt>
                <c:pt idx="550">
                  <c:v>26.72</c:v>
                </c:pt>
                <c:pt idx="551">
                  <c:v>27.77</c:v>
                </c:pt>
                <c:pt idx="552">
                  <c:v>27.85</c:v>
                </c:pt>
                <c:pt idx="553">
                  <c:v>26.26</c:v>
                </c:pt>
                <c:pt idx="554">
                  <c:v>25.77</c:v>
                </c:pt>
                <c:pt idx="555">
                  <c:v>23.91</c:v>
                </c:pt>
                <c:pt idx="556">
                  <c:v>24.96</c:v>
                </c:pt>
                <c:pt idx="557">
                  <c:v>25.77</c:v>
                </c:pt>
                <c:pt idx="558">
                  <c:v>25.74</c:v>
                </c:pt>
                <c:pt idx="559">
                  <c:v>24.47</c:v>
                </c:pt>
                <c:pt idx="560">
                  <c:v>25.34</c:v>
                </c:pt>
                <c:pt idx="561">
                  <c:v>24.12</c:v>
                </c:pt>
                <c:pt idx="562">
                  <c:v>24.41</c:v>
                </c:pt>
                <c:pt idx="563">
                  <c:v>25.04</c:v>
                </c:pt>
                <c:pt idx="564">
                  <c:v>22.74</c:v>
                </c:pt>
                <c:pt idx="565">
                  <c:v>18.079999999999998</c:v>
                </c:pt>
                <c:pt idx="566">
                  <c:v>18.920000000000002</c:v>
                </c:pt>
                <c:pt idx="567">
                  <c:v>20.91</c:v>
                </c:pt>
                <c:pt idx="568">
                  <c:v>21.7</c:v>
                </c:pt>
                <c:pt idx="569">
                  <c:v>20.46</c:v>
                </c:pt>
                <c:pt idx="570">
                  <c:v>21.32</c:v>
                </c:pt>
                <c:pt idx="571">
                  <c:v>22.87</c:v>
                </c:pt>
                <c:pt idx="572">
                  <c:v>23.43</c:v>
                </c:pt>
                <c:pt idx="573">
                  <c:v>21.26</c:v>
                </c:pt>
                <c:pt idx="574">
                  <c:v>19.579999999999998</c:v>
                </c:pt>
                <c:pt idx="575">
                  <c:v>20.39</c:v>
                </c:pt>
                <c:pt idx="576">
                  <c:v>20.41</c:v>
                </c:pt>
                <c:pt idx="577">
                  <c:v>22.48</c:v>
                </c:pt>
                <c:pt idx="578">
                  <c:v>22.22</c:v>
                </c:pt>
                <c:pt idx="579">
                  <c:v>21.54</c:v>
                </c:pt>
                <c:pt idx="580">
                  <c:v>19.309999999999999</c:v>
                </c:pt>
                <c:pt idx="581">
                  <c:v>21.02</c:v>
                </c:pt>
                <c:pt idx="582">
                  <c:v>21.07</c:v>
                </c:pt>
                <c:pt idx="583">
                  <c:v>20.28</c:v>
                </c:pt>
                <c:pt idx="584">
                  <c:v>19.32</c:v>
                </c:pt>
                <c:pt idx="585">
                  <c:v>17.760000000000002</c:v>
                </c:pt>
                <c:pt idx="586">
                  <c:v>17.84</c:v>
                </c:pt>
                <c:pt idx="587">
                  <c:v>17.52</c:v>
                </c:pt>
                <c:pt idx="588">
                  <c:v>13.73</c:v>
                </c:pt>
                <c:pt idx="589">
                  <c:v>17.510000000000002</c:v>
                </c:pt>
                <c:pt idx="590">
                  <c:v>17.399999999999999</c:v>
                </c:pt>
                <c:pt idx="591">
                  <c:v>14.62</c:v>
                </c:pt>
                <c:pt idx="592">
                  <c:v>15.65</c:v>
                </c:pt>
                <c:pt idx="593">
                  <c:v>13.34</c:v>
                </c:pt>
                <c:pt idx="594">
                  <c:v>9.3000000000000007</c:v>
                </c:pt>
                <c:pt idx="595">
                  <c:v>8.1</c:v>
                </c:pt>
                <c:pt idx="596">
                  <c:v>7.63</c:v>
                </c:pt>
                <c:pt idx="597">
                  <c:v>12.67</c:v>
                </c:pt>
                <c:pt idx="598">
                  <c:v>10.88</c:v>
                </c:pt>
                <c:pt idx="599">
                  <c:v>11.93</c:v>
                </c:pt>
                <c:pt idx="600">
                  <c:v>13.28</c:v>
                </c:pt>
                <c:pt idx="601">
                  <c:v>12.96</c:v>
                </c:pt>
                <c:pt idx="602">
                  <c:v>16.45</c:v>
                </c:pt>
                <c:pt idx="603">
                  <c:v>17.09</c:v>
                </c:pt>
                <c:pt idx="604">
                  <c:v>18.16</c:v>
                </c:pt>
                <c:pt idx="605">
                  <c:v>18.21</c:v>
                </c:pt>
                <c:pt idx="606">
                  <c:v>19.23</c:v>
                </c:pt>
                <c:pt idx="607">
                  <c:v>18.05</c:v>
                </c:pt>
                <c:pt idx="608">
                  <c:v>17.84</c:v>
                </c:pt>
                <c:pt idx="609">
                  <c:v>18.02</c:v>
                </c:pt>
                <c:pt idx="610">
                  <c:v>18.2</c:v>
                </c:pt>
                <c:pt idx="611">
                  <c:v>20.27</c:v>
                </c:pt>
                <c:pt idx="612">
                  <c:v>19.79</c:v>
                </c:pt>
                <c:pt idx="613">
                  <c:v>18.7</c:v>
                </c:pt>
                <c:pt idx="614">
                  <c:v>19.36</c:v>
                </c:pt>
                <c:pt idx="615">
                  <c:v>20.36</c:v>
                </c:pt>
                <c:pt idx="616">
                  <c:v>20.6</c:v>
                </c:pt>
                <c:pt idx="617">
                  <c:v>18.77</c:v>
                </c:pt>
                <c:pt idx="618">
                  <c:v>18.59</c:v>
                </c:pt>
                <c:pt idx="619">
                  <c:v>20.21</c:v>
                </c:pt>
                <c:pt idx="620">
                  <c:v>19.600000000000001</c:v>
                </c:pt>
                <c:pt idx="621">
                  <c:v>19.2</c:v>
                </c:pt>
                <c:pt idx="622">
                  <c:v>19.239999999999998</c:v>
                </c:pt>
                <c:pt idx="623">
                  <c:v>20.05</c:v>
                </c:pt>
                <c:pt idx="624">
                  <c:v>20.05</c:v>
                </c:pt>
                <c:pt idx="625">
                  <c:v>20.05</c:v>
                </c:pt>
                <c:pt idx="626">
                  <c:v>19.23</c:v>
                </c:pt>
                <c:pt idx="627">
                  <c:v>20.23</c:v>
                </c:pt>
                <c:pt idx="628">
                  <c:v>20.66</c:v>
                </c:pt>
                <c:pt idx="629">
                  <c:v>18.510000000000002</c:v>
                </c:pt>
                <c:pt idx="630">
                  <c:v>16.399999999999999</c:v>
                </c:pt>
                <c:pt idx="631">
                  <c:v>15.41</c:v>
                </c:pt>
                <c:pt idx="632">
                  <c:v>16.309999999999999</c:v>
                </c:pt>
                <c:pt idx="633">
                  <c:v>17.09</c:v>
                </c:pt>
                <c:pt idx="634">
                  <c:v>18</c:v>
                </c:pt>
                <c:pt idx="635">
                  <c:v>16.420000000000002</c:v>
                </c:pt>
                <c:pt idx="636">
                  <c:v>17.09</c:v>
                </c:pt>
                <c:pt idx="637">
                  <c:v>15.83</c:v>
                </c:pt>
                <c:pt idx="638">
                  <c:v>15.08</c:v>
                </c:pt>
                <c:pt idx="639">
                  <c:v>12.98</c:v>
                </c:pt>
                <c:pt idx="640">
                  <c:v>9.75</c:v>
                </c:pt>
                <c:pt idx="641">
                  <c:v>10.52</c:v>
                </c:pt>
                <c:pt idx="642">
                  <c:v>12.45</c:v>
                </c:pt>
                <c:pt idx="643">
                  <c:v>11.68</c:v>
                </c:pt>
                <c:pt idx="644">
                  <c:v>14.11</c:v>
                </c:pt>
                <c:pt idx="645">
                  <c:v>14.2</c:v>
                </c:pt>
                <c:pt idx="646">
                  <c:v>15.63</c:v>
                </c:pt>
                <c:pt idx="647">
                  <c:v>14.31</c:v>
                </c:pt>
                <c:pt idx="648">
                  <c:v>12.85</c:v>
                </c:pt>
                <c:pt idx="649">
                  <c:v>13.69</c:v>
                </c:pt>
                <c:pt idx="650">
                  <c:v>15.26</c:v>
                </c:pt>
                <c:pt idx="651">
                  <c:v>13.95</c:v>
                </c:pt>
                <c:pt idx="652">
                  <c:v>14.69</c:v>
                </c:pt>
                <c:pt idx="653">
                  <c:v>15.6</c:v>
                </c:pt>
                <c:pt idx="654">
                  <c:v>17.25</c:v>
                </c:pt>
                <c:pt idx="655">
                  <c:v>17.989999999999998</c:v>
                </c:pt>
                <c:pt idx="656">
                  <c:v>17.14</c:v>
                </c:pt>
                <c:pt idx="657">
                  <c:v>15.97</c:v>
                </c:pt>
                <c:pt idx="658">
                  <c:v>16.649999999999999</c:v>
                </c:pt>
                <c:pt idx="659">
                  <c:v>16.350000000000001</c:v>
                </c:pt>
                <c:pt idx="660">
                  <c:v>17.420000000000002</c:v>
                </c:pt>
                <c:pt idx="661">
                  <c:v>17.11</c:v>
                </c:pt>
                <c:pt idx="662">
                  <c:v>16.45</c:v>
                </c:pt>
                <c:pt idx="663">
                  <c:v>14.88</c:v>
                </c:pt>
                <c:pt idx="664">
                  <c:v>11.8</c:v>
                </c:pt>
                <c:pt idx="665">
                  <c:v>9.1</c:v>
                </c:pt>
                <c:pt idx="666">
                  <c:v>7.73</c:v>
                </c:pt>
                <c:pt idx="667">
                  <c:v>9.26</c:v>
                </c:pt>
                <c:pt idx="668">
                  <c:v>6.57</c:v>
                </c:pt>
                <c:pt idx="669">
                  <c:v>6.67</c:v>
                </c:pt>
                <c:pt idx="670">
                  <c:v>7.71</c:v>
                </c:pt>
                <c:pt idx="671">
                  <c:v>8.11</c:v>
                </c:pt>
                <c:pt idx="672">
                  <c:v>7.36</c:v>
                </c:pt>
                <c:pt idx="673">
                  <c:v>6.49</c:v>
                </c:pt>
                <c:pt idx="674">
                  <c:v>9.27</c:v>
                </c:pt>
                <c:pt idx="675">
                  <c:v>9.85</c:v>
                </c:pt>
                <c:pt idx="676">
                  <c:v>10.14</c:v>
                </c:pt>
                <c:pt idx="677">
                  <c:v>9.41</c:v>
                </c:pt>
                <c:pt idx="678">
                  <c:v>7.77</c:v>
                </c:pt>
                <c:pt idx="679">
                  <c:v>7.76</c:v>
                </c:pt>
                <c:pt idx="680">
                  <c:v>8.35</c:v>
                </c:pt>
                <c:pt idx="681">
                  <c:v>6.08</c:v>
                </c:pt>
                <c:pt idx="682">
                  <c:v>7.85</c:v>
                </c:pt>
                <c:pt idx="683">
                  <c:v>9.9</c:v>
                </c:pt>
                <c:pt idx="684">
                  <c:v>10.48</c:v>
                </c:pt>
                <c:pt idx="685">
                  <c:v>9.93</c:v>
                </c:pt>
                <c:pt idx="686">
                  <c:v>10.46</c:v>
                </c:pt>
                <c:pt idx="687">
                  <c:v>9.34</c:v>
                </c:pt>
                <c:pt idx="688">
                  <c:v>7.67</c:v>
                </c:pt>
                <c:pt idx="689">
                  <c:v>9.6</c:v>
                </c:pt>
                <c:pt idx="690">
                  <c:v>10.64</c:v>
                </c:pt>
                <c:pt idx="691">
                  <c:v>12.17</c:v>
                </c:pt>
                <c:pt idx="692">
                  <c:v>11.93</c:v>
                </c:pt>
                <c:pt idx="693">
                  <c:v>12.43</c:v>
                </c:pt>
                <c:pt idx="694">
                  <c:v>12.78</c:v>
                </c:pt>
                <c:pt idx="695">
                  <c:v>12.93</c:v>
                </c:pt>
                <c:pt idx="696">
                  <c:v>12.9</c:v>
                </c:pt>
                <c:pt idx="697">
                  <c:v>13.43</c:v>
                </c:pt>
                <c:pt idx="698">
                  <c:v>14.67</c:v>
                </c:pt>
                <c:pt idx="699">
                  <c:v>16.13</c:v>
                </c:pt>
                <c:pt idx="700">
                  <c:v>15.92</c:v>
                </c:pt>
                <c:pt idx="701">
                  <c:v>15.55</c:v>
                </c:pt>
                <c:pt idx="702">
                  <c:v>16.14</c:v>
                </c:pt>
                <c:pt idx="703">
                  <c:v>16.39</c:v>
                </c:pt>
                <c:pt idx="704">
                  <c:v>15.51</c:v>
                </c:pt>
                <c:pt idx="705">
                  <c:v>16.37</c:v>
                </c:pt>
                <c:pt idx="706">
                  <c:v>15.59</c:v>
                </c:pt>
                <c:pt idx="707">
                  <c:v>16.62</c:v>
                </c:pt>
                <c:pt idx="708">
                  <c:v>16.8</c:v>
                </c:pt>
                <c:pt idx="709">
                  <c:v>17</c:v>
                </c:pt>
                <c:pt idx="710">
                  <c:v>17.399999999999999</c:v>
                </c:pt>
                <c:pt idx="711">
                  <c:v>17.600000000000001</c:v>
                </c:pt>
                <c:pt idx="712">
                  <c:v>16.53</c:v>
                </c:pt>
                <c:pt idx="713">
                  <c:v>17.05</c:v>
                </c:pt>
                <c:pt idx="714">
                  <c:v>16.149999999999999</c:v>
                </c:pt>
                <c:pt idx="715">
                  <c:v>15.04</c:v>
                </c:pt>
                <c:pt idx="716">
                  <c:v>14.56</c:v>
                </c:pt>
                <c:pt idx="717">
                  <c:v>14.75</c:v>
                </c:pt>
                <c:pt idx="718">
                  <c:v>15.12</c:v>
                </c:pt>
                <c:pt idx="719">
                  <c:v>13.19</c:v>
                </c:pt>
                <c:pt idx="720">
                  <c:v>12.28</c:v>
                </c:pt>
                <c:pt idx="721">
                  <c:v>11.52</c:v>
                </c:pt>
                <c:pt idx="722">
                  <c:v>10.28</c:v>
                </c:pt>
                <c:pt idx="723">
                  <c:v>8.32</c:v>
                </c:pt>
                <c:pt idx="724">
                  <c:v>10.54</c:v>
                </c:pt>
                <c:pt idx="725">
                  <c:v>9.85</c:v>
                </c:pt>
                <c:pt idx="726">
                  <c:v>10.11</c:v>
                </c:pt>
                <c:pt idx="727">
                  <c:v>9.48</c:v>
                </c:pt>
                <c:pt idx="728">
                  <c:v>10.039999999999999</c:v>
                </c:pt>
                <c:pt idx="729">
                  <c:v>11.71</c:v>
                </c:pt>
                <c:pt idx="730">
                  <c:v>13.67</c:v>
                </c:pt>
                <c:pt idx="731">
                  <c:v>11.91</c:v>
                </c:pt>
                <c:pt idx="732">
                  <c:v>10.95</c:v>
                </c:pt>
                <c:pt idx="733">
                  <c:v>10.23</c:v>
                </c:pt>
                <c:pt idx="734">
                  <c:v>8.49</c:v>
                </c:pt>
                <c:pt idx="735">
                  <c:v>8.4</c:v>
                </c:pt>
                <c:pt idx="736">
                  <c:v>7.22</c:v>
                </c:pt>
                <c:pt idx="737">
                  <c:v>8.2200000000000006</c:v>
                </c:pt>
                <c:pt idx="738">
                  <c:v>6.28</c:v>
                </c:pt>
                <c:pt idx="739">
                  <c:v>3.8</c:v>
                </c:pt>
                <c:pt idx="740">
                  <c:v>3.36</c:v>
                </c:pt>
                <c:pt idx="741">
                  <c:v>3.22</c:v>
                </c:pt>
                <c:pt idx="742">
                  <c:v>3.54</c:v>
                </c:pt>
                <c:pt idx="743">
                  <c:v>1.84</c:v>
                </c:pt>
                <c:pt idx="744">
                  <c:v>3.16</c:v>
                </c:pt>
                <c:pt idx="745">
                  <c:v>3.95</c:v>
                </c:pt>
                <c:pt idx="746">
                  <c:v>7.19</c:v>
                </c:pt>
                <c:pt idx="747">
                  <c:v>6.1</c:v>
                </c:pt>
                <c:pt idx="748">
                  <c:v>5.43</c:v>
                </c:pt>
                <c:pt idx="749">
                  <c:v>4.1900000000000004</c:v>
                </c:pt>
                <c:pt idx="750">
                  <c:v>3.78</c:v>
                </c:pt>
                <c:pt idx="751">
                  <c:v>3.21</c:v>
                </c:pt>
                <c:pt idx="752">
                  <c:v>2.66</c:v>
                </c:pt>
                <c:pt idx="753">
                  <c:v>3.54</c:v>
                </c:pt>
                <c:pt idx="754">
                  <c:v>4.1100000000000003</c:v>
                </c:pt>
                <c:pt idx="755">
                  <c:v>6.02</c:v>
                </c:pt>
                <c:pt idx="756">
                  <c:v>6.38</c:v>
                </c:pt>
                <c:pt idx="757">
                  <c:v>5.82</c:v>
                </c:pt>
                <c:pt idx="758">
                  <c:v>6.11</c:v>
                </c:pt>
                <c:pt idx="759">
                  <c:v>5.45</c:v>
                </c:pt>
                <c:pt idx="760">
                  <c:v>6.93</c:v>
                </c:pt>
                <c:pt idx="761">
                  <c:v>8.4600000000000009</c:v>
                </c:pt>
                <c:pt idx="762">
                  <c:v>9.19</c:v>
                </c:pt>
                <c:pt idx="763">
                  <c:v>9.17</c:v>
                </c:pt>
                <c:pt idx="764">
                  <c:v>9.32</c:v>
                </c:pt>
                <c:pt idx="765">
                  <c:v>9.7200000000000006</c:v>
                </c:pt>
                <c:pt idx="766">
                  <c:v>10.36</c:v>
                </c:pt>
                <c:pt idx="767">
                  <c:v>10.029999999999999</c:v>
                </c:pt>
                <c:pt idx="768">
                  <c:v>9.02</c:v>
                </c:pt>
                <c:pt idx="769">
                  <c:v>11</c:v>
                </c:pt>
                <c:pt idx="770">
                  <c:v>11.36</c:v>
                </c:pt>
                <c:pt idx="771">
                  <c:v>12.23</c:v>
                </c:pt>
                <c:pt idx="772">
                  <c:v>11.9</c:v>
                </c:pt>
                <c:pt idx="773">
                  <c:v>15.01</c:v>
                </c:pt>
                <c:pt idx="774">
                  <c:v>15.11</c:v>
                </c:pt>
                <c:pt idx="775">
                  <c:v>15.28</c:v>
                </c:pt>
                <c:pt idx="776">
                  <c:v>15.71</c:v>
                </c:pt>
                <c:pt idx="777">
                  <c:v>14.57</c:v>
                </c:pt>
                <c:pt idx="778">
                  <c:v>14.12</c:v>
                </c:pt>
                <c:pt idx="779">
                  <c:v>15.43</c:v>
                </c:pt>
                <c:pt idx="780">
                  <c:v>15.4</c:v>
                </c:pt>
                <c:pt idx="781">
                  <c:v>16.239999999999998</c:v>
                </c:pt>
                <c:pt idx="782">
                  <c:v>16.93</c:v>
                </c:pt>
                <c:pt idx="783">
                  <c:v>17.510000000000002</c:v>
                </c:pt>
                <c:pt idx="784">
                  <c:v>17.48</c:v>
                </c:pt>
                <c:pt idx="785">
                  <c:v>16.72</c:v>
                </c:pt>
                <c:pt idx="786">
                  <c:v>16.57</c:v>
                </c:pt>
                <c:pt idx="787">
                  <c:v>17.3</c:v>
                </c:pt>
                <c:pt idx="788">
                  <c:v>18.38</c:v>
                </c:pt>
                <c:pt idx="789">
                  <c:v>18.2</c:v>
                </c:pt>
                <c:pt idx="790">
                  <c:v>17.72</c:v>
                </c:pt>
                <c:pt idx="791">
                  <c:v>17.04</c:v>
                </c:pt>
                <c:pt idx="792">
                  <c:v>16.32</c:v>
                </c:pt>
                <c:pt idx="793">
                  <c:v>16.13</c:v>
                </c:pt>
                <c:pt idx="794">
                  <c:v>17.100000000000001</c:v>
                </c:pt>
                <c:pt idx="795">
                  <c:v>16.53</c:v>
                </c:pt>
                <c:pt idx="796">
                  <c:v>18.04</c:v>
                </c:pt>
                <c:pt idx="797">
                  <c:v>18.02</c:v>
                </c:pt>
                <c:pt idx="798">
                  <c:v>14.66</c:v>
                </c:pt>
                <c:pt idx="799">
                  <c:v>13.28</c:v>
                </c:pt>
                <c:pt idx="800">
                  <c:v>13.59</c:v>
                </c:pt>
                <c:pt idx="801">
                  <c:v>13.14</c:v>
                </c:pt>
                <c:pt idx="802">
                  <c:v>15.07</c:v>
                </c:pt>
                <c:pt idx="803">
                  <c:v>13.98</c:v>
                </c:pt>
                <c:pt idx="804">
                  <c:v>14.03</c:v>
                </c:pt>
                <c:pt idx="805">
                  <c:v>14.03</c:v>
                </c:pt>
                <c:pt idx="806">
                  <c:v>14.18</c:v>
                </c:pt>
                <c:pt idx="807">
                  <c:v>14.03</c:v>
                </c:pt>
                <c:pt idx="808">
                  <c:v>14.81</c:v>
                </c:pt>
                <c:pt idx="809">
                  <c:v>13.35</c:v>
                </c:pt>
                <c:pt idx="810">
                  <c:v>14.46</c:v>
                </c:pt>
                <c:pt idx="811">
                  <c:v>15.85</c:v>
                </c:pt>
                <c:pt idx="812">
                  <c:v>17.46</c:v>
                </c:pt>
                <c:pt idx="813">
                  <c:v>17.23</c:v>
                </c:pt>
                <c:pt idx="814">
                  <c:v>18.600000000000001</c:v>
                </c:pt>
                <c:pt idx="815">
                  <c:v>19.66</c:v>
                </c:pt>
                <c:pt idx="816">
                  <c:v>18.96</c:v>
                </c:pt>
                <c:pt idx="817">
                  <c:v>19.41</c:v>
                </c:pt>
                <c:pt idx="818">
                  <c:v>20.170000000000002</c:v>
                </c:pt>
                <c:pt idx="819">
                  <c:v>20.79</c:v>
                </c:pt>
                <c:pt idx="820">
                  <c:v>21.35</c:v>
                </c:pt>
                <c:pt idx="821">
                  <c:v>21.84</c:v>
                </c:pt>
                <c:pt idx="822">
                  <c:v>22.12</c:v>
                </c:pt>
                <c:pt idx="823">
                  <c:v>20.239999999999998</c:v>
                </c:pt>
                <c:pt idx="824">
                  <c:v>20.69</c:v>
                </c:pt>
                <c:pt idx="825">
                  <c:v>21.34</c:v>
                </c:pt>
                <c:pt idx="826">
                  <c:v>21.05</c:v>
                </c:pt>
                <c:pt idx="827">
                  <c:v>20.7</c:v>
                </c:pt>
                <c:pt idx="828">
                  <c:v>21.21</c:v>
                </c:pt>
                <c:pt idx="829">
                  <c:v>21.53</c:v>
                </c:pt>
                <c:pt idx="830">
                  <c:v>21.32</c:v>
                </c:pt>
                <c:pt idx="831">
                  <c:v>21.01</c:v>
                </c:pt>
                <c:pt idx="832">
                  <c:v>20.97</c:v>
                </c:pt>
                <c:pt idx="833">
                  <c:v>22.61</c:v>
                </c:pt>
                <c:pt idx="834">
                  <c:v>23.02</c:v>
                </c:pt>
                <c:pt idx="835">
                  <c:v>22.07</c:v>
                </c:pt>
                <c:pt idx="836">
                  <c:v>22.34</c:v>
                </c:pt>
                <c:pt idx="837">
                  <c:v>22.68</c:v>
                </c:pt>
                <c:pt idx="838">
                  <c:v>23.44</c:v>
                </c:pt>
                <c:pt idx="839">
                  <c:v>22.3</c:v>
                </c:pt>
                <c:pt idx="840">
                  <c:v>23.41</c:v>
                </c:pt>
                <c:pt idx="841">
                  <c:v>23.51</c:v>
                </c:pt>
                <c:pt idx="842">
                  <c:v>24.03</c:v>
                </c:pt>
                <c:pt idx="843">
                  <c:v>24.31</c:v>
                </c:pt>
                <c:pt idx="844">
                  <c:v>24.07</c:v>
                </c:pt>
                <c:pt idx="845">
                  <c:v>24.16</c:v>
                </c:pt>
                <c:pt idx="846">
                  <c:v>23.93</c:v>
                </c:pt>
                <c:pt idx="847">
                  <c:v>23.51</c:v>
                </c:pt>
                <c:pt idx="848">
                  <c:v>23.66</c:v>
                </c:pt>
                <c:pt idx="849">
                  <c:v>22.38</c:v>
                </c:pt>
                <c:pt idx="850">
                  <c:v>23.68</c:v>
                </c:pt>
                <c:pt idx="851">
                  <c:v>23.29</c:v>
                </c:pt>
                <c:pt idx="852">
                  <c:v>22.38</c:v>
                </c:pt>
                <c:pt idx="853">
                  <c:v>23.08</c:v>
                </c:pt>
                <c:pt idx="854">
                  <c:v>24.21</c:v>
                </c:pt>
                <c:pt idx="855">
                  <c:v>24.19</c:v>
                </c:pt>
                <c:pt idx="856">
                  <c:v>23.23</c:v>
                </c:pt>
                <c:pt idx="857">
                  <c:v>23.34</c:v>
                </c:pt>
                <c:pt idx="858">
                  <c:v>23.19</c:v>
                </c:pt>
                <c:pt idx="859">
                  <c:v>21.53</c:v>
                </c:pt>
                <c:pt idx="860">
                  <c:v>18.59</c:v>
                </c:pt>
                <c:pt idx="861">
                  <c:v>20.41</c:v>
                </c:pt>
                <c:pt idx="862">
                  <c:v>16.899999999999999</c:v>
                </c:pt>
                <c:pt idx="863">
                  <c:v>18.41</c:v>
                </c:pt>
                <c:pt idx="864">
                  <c:v>16.989999999999998</c:v>
                </c:pt>
                <c:pt idx="865">
                  <c:v>18.149999999999999</c:v>
                </c:pt>
                <c:pt idx="866">
                  <c:v>19.73</c:v>
                </c:pt>
                <c:pt idx="867">
                  <c:v>19.93</c:v>
                </c:pt>
                <c:pt idx="868">
                  <c:v>19.72</c:v>
                </c:pt>
                <c:pt idx="869">
                  <c:v>18.149999999999999</c:v>
                </c:pt>
                <c:pt idx="870">
                  <c:v>19.41</c:v>
                </c:pt>
                <c:pt idx="871">
                  <c:v>19.34</c:v>
                </c:pt>
                <c:pt idx="872">
                  <c:v>20.91</c:v>
                </c:pt>
                <c:pt idx="873">
                  <c:v>22.22</c:v>
                </c:pt>
                <c:pt idx="874">
                  <c:v>23.04</c:v>
                </c:pt>
                <c:pt idx="875">
                  <c:v>23.04</c:v>
                </c:pt>
                <c:pt idx="876">
                  <c:v>22.94</c:v>
                </c:pt>
                <c:pt idx="877">
                  <c:v>22.77</c:v>
                </c:pt>
                <c:pt idx="878">
                  <c:v>23.47</c:v>
                </c:pt>
                <c:pt idx="879">
                  <c:v>23.47</c:v>
                </c:pt>
                <c:pt idx="880">
                  <c:v>23.47</c:v>
                </c:pt>
                <c:pt idx="881">
                  <c:v>24.24</c:v>
                </c:pt>
                <c:pt idx="882">
                  <c:v>24.46</c:v>
                </c:pt>
                <c:pt idx="883">
                  <c:v>24.99</c:v>
                </c:pt>
                <c:pt idx="884">
                  <c:v>25.76</c:v>
                </c:pt>
                <c:pt idx="885">
                  <c:v>25.75</c:v>
                </c:pt>
                <c:pt idx="886">
                  <c:v>26.23</c:v>
                </c:pt>
                <c:pt idx="887">
                  <c:v>26.11</c:v>
                </c:pt>
                <c:pt idx="888">
                  <c:v>25.94</c:v>
                </c:pt>
                <c:pt idx="889">
                  <c:v>26.38</c:v>
                </c:pt>
                <c:pt idx="890">
                  <c:v>26.57</c:v>
                </c:pt>
                <c:pt idx="891">
                  <c:v>26.14</c:v>
                </c:pt>
                <c:pt idx="892">
                  <c:v>25.15</c:v>
                </c:pt>
                <c:pt idx="893">
                  <c:v>25.42</c:v>
                </c:pt>
                <c:pt idx="894">
                  <c:v>26.24</c:v>
                </c:pt>
                <c:pt idx="895">
                  <c:v>26.31</c:v>
                </c:pt>
                <c:pt idx="896">
                  <c:v>24.79</c:v>
                </c:pt>
                <c:pt idx="897">
                  <c:v>25.21</c:v>
                </c:pt>
                <c:pt idx="898">
                  <c:v>24.72</c:v>
                </c:pt>
                <c:pt idx="899">
                  <c:v>26.17</c:v>
                </c:pt>
                <c:pt idx="900">
                  <c:v>26.68</c:v>
                </c:pt>
                <c:pt idx="901">
                  <c:v>26.35</c:v>
                </c:pt>
                <c:pt idx="902">
                  <c:v>25.87</c:v>
                </c:pt>
                <c:pt idx="903">
                  <c:v>25.97</c:v>
                </c:pt>
                <c:pt idx="904">
                  <c:v>26.56</c:v>
                </c:pt>
                <c:pt idx="905">
                  <c:v>26.92</c:v>
                </c:pt>
                <c:pt idx="906">
                  <c:v>26.39</c:v>
                </c:pt>
                <c:pt idx="907">
                  <c:v>26.22</c:v>
                </c:pt>
                <c:pt idx="908">
                  <c:v>26.81</c:v>
                </c:pt>
                <c:pt idx="909">
                  <c:v>27.66</c:v>
                </c:pt>
                <c:pt idx="910">
                  <c:v>27.82</c:v>
                </c:pt>
                <c:pt idx="911">
                  <c:v>27.06</c:v>
                </c:pt>
                <c:pt idx="912">
                  <c:v>24.76</c:v>
                </c:pt>
                <c:pt idx="913">
                  <c:v>24.37</c:v>
                </c:pt>
                <c:pt idx="914">
                  <c:v>25.81</c:v>
                </c:pt>
                <c:pt idx="915">
                  <c:v>25.67</c:v>
                </c:pt>
                <c:pt idx="916">
                  <c:v>24.62</c:v>
                </c:pt>
                <c:pt idx="917">
                  <c:v>23.3</c:v>
                </c:pt>
                <c:pt idx="918">
                  <c:v>24.29</c:v>
                </c:pt>
                <c:pt idx="919">
                  <c:v>26.18</c:v>
                </c:pt>
                <c:pt idx="920">
                  <c:v>25.58</c:v>
                </c:pt>
                <c:pt idx="921">
                  <c:v>26.08</c:v>
                </c:pt>
                <c:pt idx="922">
                  <c:v>25.84</c:v>
                </c:pt>
                <c:pt idx="923">
                  <c:v>25.84</c:v>
                </c:pt>
                <c:pt idx="924">
                  <c:v>25.66</c:v>
                </c:pt>
                <c:pt idx="925">
                  <c:v>25.87</c:v>
                </c:pt>
                <c:pt idx="926">
                  <c:v>26.58</c:v>
                </c:pt>
                <c:pt idx="927">
                  <c:v>27.04</c:v>
                </c:pt>
                <c:pt idx="928">
                  <c:v>26.88</c:v>
                </c:pt>
                <c:pt idx="929">
                  <c:v>27.56</c:v>
                </c:pt>
                <c:pt idx="930">
                  <c:v>26.27</c:v>
                </c:pt>
                <c:pt idx="931">
                  <c:v>25.53</c:v>
                </c:pt>
                <c:pt idx="932">
                  <c:v>24.92</c:v>
                </c:pt>
                <c:pt idx="933">
                  <c:v>24.32</c:v>
                </c:pt>
                <c:pt idx="934">
                  <c:v>23.89</c:v>
                </c:pt>
                <c:pt idx="935">
                  <c:v>23.77</c:v>
                </c:pt>
                <c:pt idx="936">
                  <c:v>23.83</c:v>
                </c:pt>
                <c:pt idx="937">
                  <c:v>24.69</c:v>
                </c:pt>
                <c:pt idx="938">
                  <c:v>24.86</c:v>
                </c:pt>
                <c:pt idx="939">
                  <c:v>26.31</c:v>
                </c:pt>
                <c:pt idx="940">
                  <c:v>26.07</c:v>
                </c:pt>
                <c:pt idx="941">
                  <c:v>26.18</c:v>
                </c:pt>
                <c:pt idx="942">
                  <c:v>25.27</c:v>
                </c:pt>
                <c:pt idx="943">
                  <c:v>22.34</c:v>
                </c:pt>
                <c:pt idx="944">
                  <c:v>22.48</c:v>
                </c:pt>
                <c:pt idx="945">
                  <c:v>22.71</c:v>
                </c:pt>
                <c:pt idx="946">
                  <c:v>23.6</c:v>
                </c:pt>
                <c:pt idx="947">
                  <c:v>25.47</c:v>
                </c:pt>
                <c:pt idx="948">
                  <c:v>26.26</c:v>
                </c:pt>
                <c:pt idx="949">
                  <c:v>26.12</c:v>
                </c:pt>
                <c:pt idx="950">
                  <c:v>25.32</c:v>
                </c:pt>
                <c:pt idx="951">
                  <c:v>26.1</c:v>
                </c:pt>
                <c:pt idx="952">
                  <c:v>26.43</c:v>
                </c:pt>
                <c:pt idx="953">
                  <c:v>26.97</c:v>
                </c:pt>
                <c:pt idx="954">
                  <c:v>27.37</c:v>
                </c:pt>
                <c:pt idx="955">
                  <c:v>27.48</c:v>
                </c:pt>
                <c:pt idx="956">
                  <c:v>28.1</c:v>
                </c:pt>
                <c:pt idx="957">
                  <c:v>27.42</c:v>
                </c:pt>
                <c:pt idx="958">
                  <c:v>29.15</c:v>
                </c:pt>
                <c:pt idx="959">
                  <c:v>28.89</c:v>
                </c:pt>
                <c:pt idx="960">
                  <c:v>29.05</c:v>
                </c:pt>
                <c:pt idx="961">
                  <c:v>27.91</c:v>
                </c:pt>
                <c:pt idx="962">
                  <c:v>26.18</c:v>
                </c:pt>
                <c:pt idx="963">
                  <c:v>25.43</c:v>
                </c:pt>
                <c:pt idx="964">
                  <c:v>25.8</c:v>
                </c:pt>
                <c:pt idx="965">
                  <c:v>25.93</c:v>
                </c:pt>
                <c:pt idx="966">
                  <c:v>25.63</c:v>
                </c:pt>
                <c:pt idx="967">
                  <c:v>26.18</c:v>
                </c:pt>
                <c:pt idx="968">
                  <c:v>27.31</c:v>
                </c:pt>
                <c:pt idx="969">
                  <c:v>25.93</c:v>
                </c:pt>
                <c:pt idx="970">
                  <c:v>26.12</c:v>
                </c:pt>
                <c:pt idx="971">
                  <c:v>24.95</c:v>
                </c:pt>
                <c:pt idx="972">
                  <c:v>24.87</c:v>
                </c:pt>
                <c:pt idx="973">
                  <c:v>23.78</c:v>
                </c:pt>
                <c:pt idx="974">
                  <c:v>23.04</c:v>
                </c:pt>
                <c:pt idx="975">
                  <c:v>23.1</c:v>
                </c:pt>
                <c:pt idx="976">
                  <c:v>23.93</c:v>
                </c:pt>
                <c:pt idx="977">
                  <c:v>24.41</c:v>
                </c:pt>
                <c:pt idx="978">
                  <c:v>23.93</c:v>
                </c:pt>
                <c:pt idx="979">
                  <c:v>23.88</c:v>
                </c:pt>
                <c:pt idx="980">
                  <c:v>24.99</c:v>
                </c:pt>
                <c:pt idx="981">
                  <c:v>26.2</c:v>
                </c:pt>
                <c:pt idx="982">
                  <c:v>26.01</c:v>
                </c:pt>
                <c:pt idx="983">
                  <c:v>25.79</c:v>
                </c:pt>
                <c:pt idx="984">
                  <c:v>25.77</c:v>
                </c:pt>
                <c:pt idx="985">
                  <c:v>25.72</c:v>
                </c:pt>
                <c:pt idx="986">
                  <c:v>25.43</c:v>
                </c:pt>
                <c:pt idx="987">
                  <c:v>24.72</c:v>
                </c:pt>
                <c:pt idx="988">
                  <c:v>24.56</c:v>
                </c:pt>
                <c:pt idx="989">
                  <c:v>24.83</c:v>
                </c:pt>
                <c:pt idx="990">
                  <c:v>25.26</c:v>
                </c:pt>
                <c:pt idx="991">
                  <c:v>25.04</c:v>
                </c:pt>
                <c:pt idx="992">
                  <c:v>24.64</c:v>
                </c:pt>
                <c:pt idx="993">
                  <c:v>26.54</c:v>
                </c:pt>
                <c:pt idx="994">
                  <c:v>26.83</c:v>
                </c:pt>
                <c:pt idx="995">
                  <c:v>25.41</c:v>
                </c:pt>
                <c:pt idx="996">
                  <c:v>25.36</c:v>
                </c:pt>
                <c:pt idx="997">
                  <c:v>26.54</c:v>
                </c:pt>
                <c:pt idx="998">
                  <c:v>24.89</c:v>
                </c:pt>
                <c:pt idx="999">
                  <c:v>24.51</c:v>
                </c:pt>
                <c:pt idx="1000">
                  <c:v>23.74</c:v>
                </c:pt>
                <c:pt idx="1001">
                  <c:v>22.98</c:v>
                </c:pt>
                <c:pt idx="1002">
                  <c:v>22.76</c:v>
                </c:pt>
                <c:pt idx="1003">
                  <c:v>23.24</c:v>
                </c:pt>
                <c:pt idx="1004">
                  <c:v>23.72</c:v>
                </c:pt>
                <c:pt idx="1005">
                  <c:v>22.44</c:v>
                </c:pt>
                <c:pt idx="1006">
                  <c:v>21.1</c:v>
                </c:pt>
                <c:pt idx="1007">
                  <c:v>20.93</c:v>
                </c:pt>
                <c:pt idx="1008">
                  <c:v>21.28</c:v>
                </c:pt>
                <c:pt idx="1009">
                  <c:v>22.27</c:v>
                </c:pt>
                <c:pt idx="1010">
                  <c:v>21.97</c:v>
                </c:pt>
                <c:pt idx="1011">
                  <c:v>24.36</c:v>
                </c:pt>
                <c:pt idx="1012">
                  <c:v>24.55</c:v>
                </c:pt>
                <c:pt idx="1013">
                  <c:v>24.69</c:v>
                </c:pt>
                <c:pt idx="1014">
                  <c:v>23.47</c:v>
                </c:pt>
                <c:pt idx="1015">
                  <c:v>23.75</c:v>
                </c:pt>
                <c:pt idx="1016">
                  <c:v>23.63</c:v>
                </c:pt>
                <c:pt idx="1017">
                  <c:v>22.33</c:v>
                </c:pt>
                <c:pt idx="1018">
                  <c:v>20.89</c:v>
                </c:pt>
                <c:pt idx="1019">
                  <c:v>19.239999999999998</c:v>
                </c:pt>
                <c:pt idx="1020">
                  <c:v>19.09</c:v>
                </c:pt>
                <c:pt idx="1021">
                  <c:v>19.62</c:v>
                </c:pt>
                <c:pt idx="1022">
                  <c:v>19.68</c:v>
                </c:pt>
                <c:pt idx="1023">
                  <c:v>19.11</c:v>
                </c:pt>
                <c:pt idx="1024">
                  <c:v>18.12</c:v>
                </c:pt>
                <c:pt idx="1025">
                  <c:v>18.54</c:v>
                </c:pt>
                <c:pt idx="1026">
                  <c:v>19.260000000000002</c:v>
                </c:pt>
                <c:pt idx="1027">
                  <c:v>20.07</c:v>
                </c:pt>
                <c:pt idx="1028">
                  <c:v>21.97</c:v>
                </c:pt>
                <c:pt idx="1029">
                  <c:v>22.19</c:v>
                </c:pt>
                <c:pt idx="1030">
                  <c:v>21.99</c:v>
                </c:pt>
                <c:pt idx="1031">
                  <c:v>21.79</c:v>
                </c:pt>
                <c:pt idx="1032">
                  <c:v>22.14</c:v>
                </c:pt>
                <c:pt idx="1033">
                  <c:v>23.21</c:v>
                </c:pt>
                <c:pt idx="1034">
                  <c:v>21.98</c:v>
                </c:pt>
                <c:pt idx="1035">
                  <c:v>22.89</c:v>
                </c:pt>
                <c:pt idx="1036">
                  <c:v>24.55</c:v>
                </c:pt>
                <c:pt idx="1037">
                  <c:v>25.08</c:v>
                </c:pt>
                <c:pt idx="1038">
                  <c:v>24.23</c:v>
                </c:pt>
                <c:pt idx="1039">
                  <c:v>25.49</c:v>
                </c:pt>
                <c:pt idx="1040">
                  <c:v>25.66</c:v>
                </c:pt>
                <c:pt idx="1041">
                  <c:v>25.55</c:v>
                </c:pt>
                <c:pt idx="1042">
                  <c:v>25.93</c:v>
                </c:pt>
                <c:pt idx="1043">
                  <c:v>26.3</c:v>
                </c:pt>
                <c:pt idx="1044">
                  <c:v>26.72</c:v>
                </c:pt>
                <c:pt idx="1045">
                  <c:v>26.29</c:v>
                </c:pt>
                <c:pt idx="1046">
                  <c:v>25.91</c:v>
                </c:pt>
                <c:pt idx="1047">
                  <c:v>26.48</c:v>
                </c:pt>
                <c:pt idx="1048">
                  <c:v>27.19</c:v>
                </c:pt>
                <c:pt idx="1049">
                  <c:v>28.45</c:v>
                </c:pt>
                <c:pt idx="1050">
                  <c:v>28.36</c:v>
                </c:pt>
                <c:pt idx="1051">
                  <c:v>28.87</c:v>
                </c:pt>
                <c:pt idx="1052">
                  <c:v>29.54</c:v>
                </c:pt>
                <c:pt idx="1053">
                  <c:v>29.19</c:v>
                </c:pt>
                <c:pt idx="1054">
                  <c:v>30.15</c:v>
                </c:pt>
                <c:pt idx="1055">
                  <c:v>30.55</c:v>
                </c:pt>
                <c:pt idx="1056">
                  <c:v>30.29</c:v>
                </c:pt>
                <c:pt idx="1057">
                  <c:v>30.22</c:v>
                </c:pt>
                <c:pt idx="1058">
                  <c:v>31.37</c:v>
                </c:pt>
                <c:pt idx="1059">
                  <c:v>31.38</c:v>
                </c:pt>
                <c:pt idx="1060">
                  <c:v>31.03</c:v>
                </c:pt>
                <c:pt idx="1061">
                  <c:v>31.5</c:v>
                </c:pt>
                <c:pt idx="1062">
                  <c:v>31.75</c:v>
                </c:pt>
                <c:pt idx="1063">
                  <c:v>31.5</c:v>
                </c:pt>
                <c:pt idx="1064">
                  <c:v>31.68</c:v>
                </c:pt>
                <c:pt idx="1065">
                  <c:v>31.68</c:v>
                </c:pt>
                <c:pt idx="1066">
                  <c:v>31.68</c:v>
                </c:pt>
                <c:pt idx="1067">
                  <c:v>31.97</c:v>
                </c:pt>
                <c:pt idx="1068">
                  <c:v>31.82</c:v>
                </c:pt>
                <c:pt idx="1069">
                  <c:v>32.08</c:v>
                </c:pt>
                <c:pt idx="1070">
                  <c:v>32.08</c:v>
                </c:pt>
                <c:pt idx="1071">
                  <c:v>31.97</c:v>
                </c:pt>
                <c:pt idx="1072">
                  <c:v>30.83</c:v>
                </c:pt>
                <c:pt idx="1073">
                  <c:v>31.74</c:v>
                </c:pt>
                <c:pt idx="1074">
                  <c:v>31.38</c:v>
                </c:pt>
                <c:pt idx="1075">
                  <c:v>31.88</c:v>
                </c:pt>
                <c:pt idx="1076">
                  <c:v>31.65</c:v>
                </c:pt>
                <c:pt idx="1077">
                  <c:v>31.42</c:v>
                </c:pt>
                <c:pt idx="1078">
                  <c:v>30.42</c:v>
                </c:pt>
                <c:pt idx="1079">
                  <c:v>31.52</c:v>
                </c:pt>
                <c:pt idx="1080">
                  <c:v>30.81</c:v>
                </c:pt>
                <c:pt idx="1081">
                  <c:v>30.5</c:v>
                </c:pt>
                <c:pt idx="1082">
                  <c:v>29.03</c:v>
                </c:pt>
                <c:pt idx="1083">
                  <c:v>29.79</c:v>
                </c:pt>
                <c:pt idx="1084">
                  <c:v>29.46</c:v>
                </c:pt>
                <c:pt idx="1085">
                  <c:v>30.49</c:v>
                </c:pt>
                <c:pt idx="1086">
                  <c:v>30.12</c:v>
                </c:pt>
                <c:pt idx="1087">
                  <c:v>31.66</c:v>
                </c:pt>
                <c:pt idx="1088">
                  <c:v>32.049999999999997</c:v>
                </c:pt>
                <c:pt idx="1089">
                  <c:v>33.520000000000003</c:v>
                </c:pt>
                <c:pt idx="1090">
                  <c:v>33.799999999999997</c:v>
                </c:pt>
                <c:pt idx="1091">
                  <c:v>34.020000000000003</c:v>
                </c:pt>
                <c:pt idx="1092">
                  <c:v>34.03</c:v>
                </c:pt>
                <c:pt idx="1093">
                  <c:v>33.53</c:v>
                </c:pt>
                <c:pt idx="1094">
                  <c:v>33.549999999999997</c:v>
                </c:pt>
                <c:pt idx="1095">
                  <c:v>33.49</c:v>
                </c:pt>
                <c:pt idx="1096">
                  <c:v>34.340000000000003</c:v>
                </c:pt>
                <c:pt idx="1097">
                  <c:v>34.03</c:v>
                </c:pt>
                <c:pt idx="1098">
                  <c:v>33.93</c:v>
                </c:pt>
                <c:pt idx="1099">
                  <c:v>33.85</c:v>
                </c:pt>
                <c:pt idx="1100">
                  <c:v>34.58</c:v>
                </c:pt>
                <c:pt idx="1101">
                  <c:v>33.299999999999997</c:v>
                </c:pt>
                <c:pt idx="1102">
                  <c:v>33.979999999999997</c:v>
                </c:pt>
                <c:pt idx="1103">
                  <c:v>34.94</c:v>
                </c:pt>
                <c:pt idx="1104">
                  <c:v>35.78</c:v>
                </c:pt>
                <c:pt idx="1105">
                  <c:v>36</c:v>
                </c:pt>
                <c:pt idx="1106">
                  <c:v>35.869999999999997</c:v>
                </c:pt>
                <c:pt idx="1107">
                  <c:v>35.630000000000003</c:v>
                </c:pt>
                <c:pt idx="1108">
                  <c:v>36.81</c:v>
                </c:pt>
                <c:pt idx="1109">
                  <c:v>37.409999999999997</c:v>
                </c:pt>
                <c:pt idx="1110">
                  <c:v>36.909999999999997</c:v>
                </c:pt>
                <c:pt idx="1111">
                  <c:v>37.159999999999997</c:v>
                </c:pt>
                <c:pt idx="1112">
                  <c:v>36.68</c:v>
                </c:pt>
                <c:pt idx="1113">
                  <c:v>36.71</c:v>
                </c:pt>
                <c:pt idx="1114">
                  <c:v>37.54</c:v>
                </c:pt>
                <c:pt idx="1115">
                  <c:v>37.49</c:v>
                </c:pt>
                <c:pt idx="1116">
                  <c:v>37.18</c:v>
                </c:pt>
                <c:pt idx="1117">
                  <c:v>37.71</c:v>
                </c:pt>
                <c:pt idx="1118">
                  <c:v>39.29</c:v>
                </c:pt>
                <c:pt idx="1119">
                  <c:v>39.32</c:v>
                </c:pt>
                <c:pt idx="1120">
                  <c:v>38.83</c:v>
                </c:pt>
                <c:pt idx="1121">
                  <c:v>40.22</c:v>
                </c:pt>
                <c:pt idx="1122">
                  <c:v>40.450000000000003</c:v>
                </c:pt>
                <c:pt idx="1123">
                  <c:v>40.31</c:v>
                </c:pt>
                <c:pt idx="1124">
                  <c:v>39.880000000000003</c:v>
                </c:pt>
                <c:pt idx="1125">
                  <c:v>39.65</c:v>
                </c:pt>
                <c:pt idx="1126">
                  <c:v>40</c:v>
                </c:pt>
                <c:pt idx="1127">
                  <c:v>40.04</c:v>
                </c:pt>
                <c:pt idx="1128">
                  <c:v>41.36</c:v>
                </c:pt>
                <c:pt idx="1129">
                  <c:v>41.42</c:v>
                </c:pt>
                <c:pt idx="1130">
                  <c:v>41.51</c:v>
                </c:pt>
                <c:pt idx="1131">
                  <c:v>41.86</c:v>
                </c:pt>
                <c:pt idx="1132">
                  <c:v>42.07</c:v>
                </c:pt>
                <c:pt idx="1133">
                  <c:v>42.39</c:v>
                </c:pt>
                <c:pt idx="1134">
                  <c:v>42.39</c:v>
                </c:pt>
                <c:pt idx="1135">
                  <c:v>42.39</c:v>
                </c:pt>
                <c:pt idx="1136">
                  <c:v>41.27</c:v>
                </c:pt>
                <c:pt idx="1137">
                  <c:v>41.67</c:v>
                </c:pt>
                <c:pt idx="1138">
                  <c:v>41.91</c:v>
                </c:pt>
                <c:pt idx="1139">
                  <c:v>40.729999999999997</c:v>
                </c:pt>
                <c:pt idx="1140">
                  <c:v>41.42</c:v>
                </c:pt>
                <c:pt idx="1141">
                  <c:v>40.56</c:v>
                </c:pt>
                <c:pt idx="1142">
                  <c:v>40.78</c:v>
                </c:pt>
                <c:pt idx="1143">
                  <c:v>40.31</c:v>
                </c:pt>
                <c:pt idx="1144">
                  <c:v>40.57</c:v>
                </c:pt>
                <c:pt idx="1145">
                  <c:v>40.770000000000003</c:v>
                </c:pt>
                <c:pt idx="1146">
                  <c:v>38.67</c:v>
                </c:pt>
                <c:pt idx="1147">
                  <c:v>38.76</c:v>
                </c:pt>
                <c:pt idx="1148">
                  <c:v>39.11</c:v>
                </c:pt>
                <c:pt idx="1149">
                  <c:v>39.01</c:v>
                </c:pt>
                <c:pt idx="1150">
                  <c:v>40.08</c:v>
                </c:pt>
                <c:pt idx="1151">
                  <c:v>41.68</c:v>
                </c:pt>
                <c:pt idx="1152">
                  <c:v>41.11</c:v>
                </c:pt>
                <c:pt idx="1153">
                  <c:v>40.24</c:v>
                </c:pt>
                <c:pt idx="1154">
                  <c:v>41.93</c:v>
                </c:pt>
                <c:pt idx="1155">
                  <c:v>42.1</c:v>
                </c:pt>
                <c:pt idx="1156">
                  <c:v>41.25</c:v>
                </c:pt>
                <c:pt idx="1157">
                  <c:v>41.09</c:v>
                </c:pt>
                <c:pt idx="1158">
                  <c:v>40.86</c:v>
                </c:pt>
                <c:pt idx="1159">
                  <c:v>41.56</c:v>
                </c:pt>
                <c:pt idx="1160">
                  <c:v>42.37</c:v>
                </c:pt>
                <c:pt idx="1161">
                  <c:v>44</c:v>
                </c:pt>
                <c:pt idx="1162">
                  <c:v>44.52</c:v>
                </c:pt>
                <c:pt idx="1163">
                  <c:v>44.99</c:v>
                </c:pt>
                <c:pt idx="1164">
                  <c:v>46.13</c:v>
                </c:pt>
                <c:pt idx="1165">
                  <c:v>46.25</c:v>
                </c:pt>
                <c:pt idx="1166">
                  <c:v>46.48</c:v>
                </c:pt>
                <c:pt idx="1167">
                  <c:v>47.38</c:v>
                </c:pt>
                <c:pt idx="1168">
                  <c:v>47.24</c:v>
                </c:pt>
                <c:pt idx="1169">
                  <c:v>47.1</c:v>
                </c:pt>
                <c:pt idx="1170">
                  <c:v>47.5</c:v>
                </c:pt>
                <c:pt idx="1171">
                  <c:v>47.32</c:v>
                </c:pt>
                <c:pt idx="1172">
                  <c:v>46.83</c:v>
                </c:pt>
                <c:pt idx="1173">
                  <c:v>46.96</c:v>
                </c:pt>
                <c:pt idx="1174">
                  <c:v>46.69</c:v>
                </c:pt>
                <c:pt idx="1175">
                  <c:v>47.18</c:v>
                </c:pt>
                <c:pt idx="1176">
                  <c:v>46.36</c:v>
                </c:pt>
                <c:pt idx="1177">
                  <c:v>44.81</c:v>
                </c:pt>
                <c:pt idx="1178">
                  <c:v>45.71</c:v>
                </c:pt>
                <c:pt idx="1179">
                  <c:v>46.19</c:v>
                </c:pt>
                <c:pt idx="1180">
                  <c:v>46.67</c:v>
                </c:pt>
                <c:pt idx="1181">
                  <c:v>45.9</c:v>
                </c:pt>
                <c:pt idx="1182">
                  <c:v>47.09</c:v>
                </c:pt>
                <c:pt idx="1183">
                  <c:v>48.12</c:v>
                </c:pt>
                <c:pt idx="1184">
                  <c:v>47.81</c:v>
                </c:pt>
                <c:pt idx="1185">
                  <c:v>47.44</c:v>
                </c:pt>
                <c:pt idx="1186">
                  <c:v>46.06</c:v>
                </c:pt>
                <c:pt idx="1187">
                  <c:v>47.65</c:v>
                </c:pt>
                <c:pt idx="1188">
                  <c:v>45.73</c:v>
                </c:pt>
                <c:pt idx="1189">
                  <c:v>44.33</c:v>
                </c:pt>
                <c:pt idx="1190">
                  <c:v>44.45</c:v>
                </c:pt>
                <c:pt idx="1191">
                  <c:v>45.46</c:v>
                </c:pt>
                <c:pt idx="1192">
                  <c:v>45.24</c:v>
                </c:pt>
                <c:pt idx="1193">
                  <c:v>46.61</c:v>
                </c:pt>
                <c:pt idx="1194">
                  <c:v>45.53</c:v>
                </c:pt>
                <c:pt idx="1195">
                  <c:v>46.61</c:v>
                </c:pt>
                <c:pt idx="1196">
                  <c:v>46.28</c:v>
                </c:pt>
                <c:pt idx="1197">
                  <c:v>45.47</c:v>
                </c:pt>
                <c:pt idx="1198">
                  <c:v>44.87</c:v>
                </c:pt>
                <c:pt idx="1199">
                  <c:v>44.54</c:v>
                </c:pt>
                <c:pt idx="1200">
                  <c:v>45.01</c:v>
                </c:pt>
                <c:pt idx="1201">
                  <c:v>44.42</c:v>
                </c:pt>
                <c:pt idx="1202">
                  <c:v>45.49</c:v>
                </c:pt>
                <c:pt idx="1203">
                  <c:v>46.34</c:v>
                </c:pt>
                <c:pt idx="1204">
                  <c:v>46.07</c:v>
                </c:pt>
                <c:pt idx="1205">
                  <c:v>46.03</c:v>
                </c:pt>
                <c:pt idx="1206">
                  <c:v>44.71</c:v>
                </c:pt>
                <c:pt idx="1207">
                  <c:v>46.03</c:v>
                </c:pt>
                <c:pt idx="1208">
                  <c:v>46.9</c:v>
                </c:pt>
                <c:pt idx="1209">
                  <c:v>48.2</c:v>
                </c:pt>
                <c:pt idx="1210">
                  <c:v>46.68</c:v>
                </c:pt>
                <c:pt idx="1211">
                  <c:v>46.28</c:v>
                </c:pt>
                <c:pt idx="1212">
                  <c:v>45.59</c:v>
                </c:pt>
                <c:pt idx="1213">
                  <c:v>45.36</c:v>
                </c:pt>
                <c:pt idx="1214">
                  <c:v>44.23</c:v>
                </c:pt>
                <c:pt idx="1215">
                  <c:v>45.61</c:v>
                </c:pt>
                <c:pt idx="1216">
                  <c:v>45.8</c:v>
                </c:pt>
                <c:pt idx="1217">
                  <c:v>44.91</c:v>
                </c:pt>
                <c:pt idx="1218">
                  <c:v>43.88</c:v>
                </c:pt>
                <c:pt idx="1219">
                  <c:v>45.07</c:v>
                </c:pt>
                <c:pt idx="1220">
                  <c:v>44.79</c:v>
                </c:pt>
                <c:pt idx="1221">
                  <c:v>45.44</c:v>
                </c:pt>
                <c:pt idx="1222">
                  <c:v>46.6</c:v>
                </c:pt>
                <c:pt idx="1223">
                  <c:v>44.83</c:v>
                </c:pt>
                <c:pt idx="1224">
                  <c:v>40.869999999999997</c:v>
                </c:pt>
                <c:pt idx="1225">
                  <c:v>37.83</c:v>
                </c:pt>
                <c:pt idx="1226">
                  <c:v>38.22</c:v>
                </c:pt>
                <c:pt idx="1227">
                  <c:v>40.36</c:v>
                </c:pt>
                <c:pt idx="1228">
                  <c:v>40.56</c:v>
                </c:pt>
                <c:pt idx="1229">
                  <c:v>41.36</c:v>
                </c:pt>
                <c:pt idx="1230">
                  <c:v>41.33</c:v>
                </c:pt>
                <c:pt idx="1231">
                  <c:v>42.06</c:v>
                </c:pt>
                <c:pt idx="1232">
                  <c:v>42.75</c:v>
                </c:pt>
                <c:pt idx="1233">
                  <c:v>44.52</c:v>
                </c:pt>
                <c:pt idx="1234">
                  <c:v>44.97</c:v>
                </c:pt>
                <c:pt idx="1235">
                  <c:v>45.87</c:v>
                </c:pt>
                <c:pt idx="1236">
                  <c:v>45.21</c:v>
                </c:pt>
                <c:pt idx="1237">
                  <c:v>45.69</c:v>
                </c:pt>
                <c:pt idx="1238">
                  <c:v>46.21</c:v>
                </c:pt>
                <c:pt idx="1239">
                  <c:v>46.89</c:v>
                </c:pt>
                <c:pt idx="1240">
                  <c:v>46.86</c:v>
                </c:pt>
                <c:pt idx="1241">
                  <c:v>47.11</c:v>
                </c:pt>
                <c:pt idx="1242">
                  <c:v>47.6</c:v>
                </c:pt>
                <c:pt idx="1243">
                  <c:v>48.75</c:v>
                </c:pt>
                <c:pt idx="1244">
                  <c:v>48.89</c:v>
                </c:pt>
                <c:pt idx="1245">
                  <c:v>48.86</c:v>
                </c:pt>
                <c:pt idx="1246">
                  <c:v>47.41</c:v>
                </c:pt>
                <c:pt idx="1247">
                  <c:v>45.99</c:v>
                </c:pt>
                <c:pt idx="1248">
                  <c:v>45.22</c:v>
                </c:pt>
                <c:pt idx="1249">
                  <c:v>43.66</c:v>
                </c:pt>
                <c:pt idx="1250">
                  <c:v>44.84</c:v>
                </c:pt>
                <c:pt idx="1251">
                  <c:v>44.06</c:v>
                </c:pt>
                <c:pt idx="1252">
                  <c:v>44.08</c:v>
                </c:pt>
                <c:pt idx="1253">
                  <c:v>45.23</c:v>
                </c:pt>
                <c:pt idx="1254">
                  <c:v>46.33</c:v>
                </c:pt>
                <c:pt idx="1255">
                  <c:v>46.1</c:v>
                </c:pt>
                <c:pt idx="1256">
                  <c:v>46.69</c:v>
                </c:pt>
                <c:pt idx="1257">
                  <c:v>45.96</c:v>
                </c:pt>
                <c:pt idx="1258">
                  <c:v>48</c:v>
                </c:pt>
                <c:pt idx="1259">
                  <c:v>45.89</c:v>
                </c:pt>
                <c:pt idx="1260">
                  <c:v>46.49</c:v>
                </c:pt>
                <c:pt idx="1261">
                  <c:v>47.45</c:v>
                </c:pt>
                <c:pt idx="1262">
                  <c:v>47.32</c:v>
                </c:pt>
                <c:pt idx="1263">
                  <c:v>49.18</c:v>
                </c:pt>
                <c:pt idx="1264">
                  <c:v>49.88</c:v>
                </c:pt>
                <c:pt idx="1265">
                  <c:v>48.41</c:v>
                </c:pt>
                <c:pt idx="1266">
                  <c:v>47.85</c:v>
                </c:pt>
                <c:pt idx="1267">
                  <c:v>47.93</c:v>
                </c:pt>
                <c:pt idx="1268">
                  <c:v>46.56</c:v>
                </c:pt>
                <c:pt idx="1269">
                  <c:v>47.21</c:v>
                </c:pt>
                <c:pt idx="1270">
                  <c:v>47.47</c:v>
                </c:pt>
                <c:pt idx="1271">
                  <c:v>46.69</c:v>
                </c:pt>
                <c:pt idx="1272">
                  <c:v>47.65</c:v>
                </c:pt>
                <c:pt idx="1273">
                  <c:v>47.4</c:v>
                </c:pt>
                <c:pt idx="1274">
                  <c:v>48.22</c:v>
                </c:pt>
                <c:pt idx="1275">
                  <c:v>49.01</c:v>
                </c:pt>
                <c:pt idx="1276">
                  <c:v>47.83</c:v>
                </c:pt>
                <c:pt idx="1277">
                  <c:v>47.56</c:v>
                </c:pt>
                <c:pt idx="1278">
                  <c:v>48.79</c:v>
                </c:pt>
                <c:pt idx="1279">
                  <c:v>49.1</c:v>
                </c:pt>
                <c:pt idx="1280">
                  <c:v>48.12</c:v>
                </c:pt>
                <c:pt idx="1281">
                  <c:v>47.8</c:v>
                </c:pt>
                <c:pt idx="1282">
                  <c:v>47.36</c:v>
                </c:pt>
                <c:pt idx="1283">
                  <c:v>47.41</c:v>
                </c:pt>
                <c:pt idx="1284">
                  <c:v>47.36</c:v>
                </c:pt>
                <c:pt idx="1285">
                  <c:v>47.97</c:v>
                </c:pt>
                <c:pt idx="1286">
                  <c:v>47.14</c:v>
                </c:pt>
                <c:pt idx="1287">
                  <c:v>45.33</c:v>
                </c:pt>
                <c:pt idx="1288">
                  <c:v>43.6</c:v>
                </c:pt>
                <c:pt idx="1289">
                  <c:v>45.16</c:v>
                </c:pt>
                <c:pt idx="1290">
                  <c:v>44.69</c:v>
                </c:pt>
                <c:pt idx="1291">
                  <c:v>44.79</c:v>
                </c:pt>
                <c:pt idx="1292">
                  <c:v>44.01</c:v>
                </c:pt>
                <c:pt idx="1293">
                  <c:v>44.96</c:v>
                </c:pt>
                <c:pt idx="1294">
                  <c:v>44.03</c:v>
                </c:pt>
                <c:pt idx="1295">
                  <c:v>45.66</c:v>
                </c:pt>
                <c:pt idx="1296">
                  <c:v>42.78</c:v>
                </c:pt>
                <c:pt idx="1297">
                  <c:v>42.6</c:v>
                </c:pt>
                <c:pt idx="1298">
                  <c:v>44.19</c:v>
                </c:pt>
                <c:pt idx="1299">
                  <c:v>43.08</c:v>
                </c:pt>
                <c:pt idx="1300">
                  <c:v>43.09</c:v>
                </c:pt>
                <c:pt idx="1301">
                  <c:v>42.45</c:v>
                </c:pt>
                <c:pt idx="1302">
                  <c:v>42.42</c:v>
                </c:pt>
                <c:pt idx="1303">
                  <c:v>43.03</c:v>
                </c:pt>
                <c:pt idx="1304">
                  <c:v>44.72</c:v>
                </c:pt>
                <c:pt idx="1305">
                  <c:v>44.81</c:v>
                </c:pt>
              </c:numCache>
            </c:numRef>
          </c:val>
          <c:smooth val="0"/>
          <c:extLst>
            <c:ext xmlns:c16="http://schemas.microsoft.com/office/drawing/2014/chart" uri="{C3380CC4-5D6E-409C-BE32-E72D297353CC}">
              <c16:uniqueId val="{00000001-E40B-41D7-B8CB-E87344B0AFDE}"/>
            </c:ext>
          </c:extLst>
        </c:ser>
        <c:dLbls>
          <c:showLegendKey val="0"/>
          <c:showVal val="0"/>
          <c:showCatName val="0"/>
          <c:showSerName val="0"/>
          <c:showPercent val="0"/>
          <c:showBubbleSize val="0"/>
        </c:dLbls>
        <c:smooth val="0"/>
        <c:axId val="927020303"/>
        <c:axId val="927021967"/>
      </c:lineChart>
      <c:dateAx>
        <c:axId val="927020303"/>
        <c:scaling>
          <c:orientation val="minMax"/>
        </c:scaling>
        <c:delete val="0"/>
        <c:axPos val="b"/>
        <c:numFmt formatCode="yy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days"/>
        <c:majorUnit val="12"/>
        <c:majorTimeUnit val="months"/>
      </c:dateAx>
      <c:valAx>
        <c:axId val="927021967"/>
        <c:scaling>
          <c:orientation val="minMax"/>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74482055722416E-2"/>
          <c:y val="4.6717705607841761E-2"/>
          <c:w val="0.82991242074122173"/>
          <c:h val="0.73180021434683218"/>
        </c:manualLayout>
      </c:layout>
      <c:lineChart>
        <c:grouping val="standard"/>
        <c:varyColors val="0"/>
        <c:ser>
          <c:idx val="0"/>
          <c:order val="0"/>
          <c:tx>
            <c:strRef>
              <c:f>Sheet1!$I$4</c:f>
              <c:strCache>
                <c:ptCount val="1"/>
                <c:pt idx="0">
                  <c:v>Gold (USD je Feinunze, links)</c:v>
                </c:pt>
              </c:strCache>
            </c:strRef>
          </c:tx>
          <c:spPr>
            <a:ln w="28575" cap="rnd">
              <a:solidFill>
                <a:schemeClr val="accent1"/>
              </a:solidFill>
              <a:round/>
            </a:ln>
            <a:effectLst/>
          </c:spPr>
          <c:marker>
            <c:symbol val="none"/>
          </c:marker>
          <c:cat>
            <c:numRef>
              <c:f>Sheet1!$H$7:$H$2616</c:f>
              <c:numCache>
                <c:formatCode>m/d/yyyy</c:formatCode>
                <c:ptCount val="2610"/>
                <c:pt idx="0">
                  <c:v>45607</c:v>
                </c:pt>
                <c:pt idx="1">
                  <c:v>45604</c:v>
                </c:pt>
                <c:pt idx="2">
                  <c:v>45603</c:v>
                </c:pt>
                <c:pt idx="3">
                  <c:v>45602</c:v>
                </c:pt>
                <c:pt idx="4">
                  <c:v>45601</c:v>
                </c:pt>
                <c:pt idx="5">
                  <c:v>45600</c:v>
                </c:pt>
                <c:pt idx="6">
                  <c:v>45597</c:v>
                </c:pt>
                <c:pt idx="7">
                  <c:v>45596</c:v>
                </c:pt>
                <c:pt idx="8">
                  <c:v>45595</c:v>
                </c:pt>
                <c:pt idx="9">
                  <c:v>45594</c:v>
                </c:pt>
                <c:pt idx="10">
                  <c:v>45593</c:v>
                </c:pt>
                <c:pt idx="11">
                  <c:v>45590</c:v>
                </c:pt>
                <c:pt idx="12">
                  <c:v>45589</c:v>
                </c:pt>
                <c:pt idx="13">
                  <c:v>45588</c:v>
                </c:pt>
                <c:pt idx="14">
                  <c:v>45587</c:v>
                </c:pt>
                <c:pt idx="15">
                  <c:v>45586</c:v>
                </c:pt>
                <c:pt idx="16">
                  <c:v>45583</c:v>
                </c:pt>
                <c:pt idx="17">
                  <c:v>45582</c:v>
                </c:pt>
                <c:pt idx="18">
                  <c:v>45581</c:v>
                </c:pt>
                <c:pt idx="19">
                  <c:v>45580</c:v>
                </c:pt>
                <c:pt idx="20">
                  <c:v>45579</c:v>
                </c:pt>
                <c:pt idx="21">
                  <c:v>45576</c:v>
                </c:pt>
                <c:pt idx="22">
                  <c:v>45575</c:v>
                </c:pt>
                <c:pt idx="23">
                  <c:v>45574</c:v>
                </c:pt>
                <c:pt idx="24">
                  <c:v>45573</c:v>
                </c:pt>
                <c:pt idx="25">
                  <c:v>45572</c:v>
                </c:pt>
                <c:pt idx="26">
                  <c:v>45569</c:v>
                </c:pt>
                <c:pt idx="27">
                  <c:v>45568</c:v>
                </c:pt>
                <c:pt idx="28">
                  <c:v>45567</c:v>
                </c:pt>
                <c:pt idx="29">
                  <c:v>45566</c:v>
                </c:pt>
                <c:pt idx="30">
                  <c:v>45565</c:v>
                </c:pt>
                <c:pt idx="31">
                  <c:v>45562</c:v>
                </c:pt>
                <c:pt idx="32">
                  <c:v>45561</c:v>
                </c:pt>
                <c:pt idx="33">
                  <c:v>45560</c:v>
                </c:pt>
                <c:pt idx="34">
                  <c:v>45559</c:v>
                </c:pt>
                <c:pt idx="35">
                  <c:v>45558</c:v>
                </c:pt>
                <c:pt idx="36">
                  <c:v>45555</c:v>
                </c:pt>
                <c:pt idx="37">
                  <c:v>45554</c:v>
                </c:pt>
                <c:pt idx="38">
                  <c:v>45553</c:v>
                </c:pt>
                <c:pt idx="39">
                  <c:v>45552</c:v>
                </c:pt>
                <c:pt idx="40">
                  <c:v>45551</c:v>
                </c:pt>
                <c:pt idx="41">
                  <c:v>45548</c:v>
                </c:pt>
                <c:pt idx="42">
                  <c:v>45547</c:v>
                </c:pt>
                <c:pt idx="43">
                  <c:v>45546</c:v>
                </c:pt>
                <c:pt idx="44">
                  <c:v>45545</c:v>
                </c:pt>
                <c:pt idx="45">
                  <c:v>45544</c:v>
                </c:pt>
                <c:pt idx="46">
                  <c:v>45541</c:v>
                </c:pt>
                <c:pt idx="47">
                  <c:v>45540</c:v>
                </c:pt>
                <c:pt idx="48">
                  <c:v>45539</c:v>
                </c:pt>
                <c:pt idx="49">
                  <c:v>45538</c:v>
                </c:pt>
                <c:pt idx="50">
                  <c:v>45537</c:v>
                </c:pt>
                <c:pt idx="51">
                  <c:v>45534</c:v>
                </c:pt>
                <c:pt idx="52">
                  <c:v>45533</c:v>
                </c:pt>
                <c:pt idx="53">
                  <c:v>45532</c:v>
                </c:pt>
                <c:pt idx="54">
                  <c:v>45531</c:v>
                </c:pt>
                <c:pt idx="55">
                  <c:v>45530</c:v>
                </c:pt>
                <c:pt idx="56">
                  <c:v>45527</c:v>
                </c:pt>
                <c:pt idx="57">
                  <c:v>45526</c:v>
                </c:pt>
                <c:pt idx="58">
                  <c:v>45525</c:v>
                </c:pt>
                <c:pt idx="59">
                  <c:v>45524</c:v>
                </c:pt>
                <c:pt idx="60">
                  <c:v>45523</c:v>
                </c:pt>
                <c:pt idx="61">
                  <c:v>45520</c:v>
                </c:pt>
                <c:pt idx="62">
                  <c:v>45519</c:v>
                </c:pt>
                <c:pt idx="63">
                  <c:v>45518</c:v>
                </c:pt>
                <c:pt idx="64">
                  <c:v>45517</c:v>
                </c:pt>
                <c:pt idx="65">
                  <c:v>45516</c:v>
                </c:pt>
                <c:pt idx="66">
                  <c:v>45513</c:v>
                </c:pt>
                <c:pt idx="67">
                  <c:v>45512</c:v>
                </c:pt>
                <c:pt idx="68">
                  <c:v>45511</c:v>
                </c:pt>
                <c:pt idx="69">
                  <c:v>45510</c:v>
                </c:pt>
                <c:pt idx="70">
                  <c:v>45509</c:v>
                </c:pt>
                <c:pt idx="71">
                  <c:v>45506</c:v>
                </c:pt>
                <c:pt idx="72">
                  <c:v>45505</c:v>
                </c:pt>
                <c:pt idx="73">
                  <c:v>45504</c:v>
                </c:pt>
                <c:pt idx="74">
                  <c:v>45503</c:v>
                </c:pt>
                <c:pt idx="75">
                  <c:v>45502</c:v>
                </c:pt>
                <c:pt idx="76">
                  <c:v>45499</c:v>
                </c:pt>
                <c:pt idx="77">
                  <c:v>45498</c:v>
                </c:pt>
                <c:pt idx="78">
                  <c:v>45497</c:v>
                </c:pt>
                <c:pt idx="79">
                  <c:v>45496</c:v>
                </c:pt>
                <c:pt idx="80">
                  <c:v>45495</c:v>
                </c:pt>
                <c:pt idx="81">
                  <c:v>45492</c:v>
                </c:pt>
                <c:pt idx="82">
                  <c:v>45491</c:v>
                </c:pt>
                <c:pt idx="83">
                  <c:v>45490</c:v>
                </c:pt>
                <c:pt idx="84">
                  <c:v>45489</c:v>
                </c:pt>
                <c:pt idx="85">
                  <c:v>45488</c:v>
                </c:pt>
                <c:pt idx="86">
                  <c:v>45485</c:v>
                </c:pt>
                <c:pt idx="87">
                  <c:v>45484</c:v>
                </c:pt>
                <c:pt idx="88">
                  <c:v>45483</c:v>
                </c:pt>
                <c:pt idx="89">
                  <c:v>45482</c:v>
                </c:pt>
                <c:pt idx="90">
                  <c:v>45481</c:v>
                </c:pt>
                <c:pt idx="91">
                  <c:v>45478</c:v>
                </c:pt>
                <c:pt idx="92">
                  <c:v>45477</c:v>
                </c:pt>
                <c:pt idx="93">
                  <c:v>45476</c:v>
                </c:pt>
                <c:pt idx="94">
                  <c:v>45475</c:v>
                </c:pt>
                <c:pt idx="95">
                  <c:v>45474</c:v>
                </c:pt>
                <c:pt idx="96">
                  <c:v>45471</c:v>
                </c:pt>
                <c:pt idx="97">
                  <c:v>45470</c:v>
                </c:pt>
                <c:pt idx="98">
                  <c:v>45469</c:v>
                </c:pt>
                <c:pt idx="99">
                  <c:v>45468</c:v>
                </c:pt>
                <c:pt idx="100">
                  <c:v>45467</c:v>
                </c:pt>
                <c:pt idx="101">
                  <c:v>45464</c:v>
                </c:pt>
                <c:pt idx="102">
                  <c:v>45463</c:v>
                </c:pt>
                <c:pt idx="103">
                  <c:v>45462</c:v>
                </c:pt>
                <c:pt idx="104">
                  <c:v>45461</c:v>
                </c:pt>
                <c:pt idx="105">
                  <c:v>45460</c:v>
                </c:pt>
                <c:pt idx="106">
                  <c:v>45457</c:v>
                </c:pt>
                <c:pt idx="107">
                  <c:v>45456</c:v>
                </c:pt>
                <c:pt idx="108">
                  <c:v>45455</c:v>
                </c:pt>
                <c:pt idx="109">
                  <c:v>45454</c:v>
                </c:pt>
                <c:pt idx="110">
                  <c:v>45453</c:v>
                </c:pt>
                <c:pt idx="111">
                  <c:v>45450</c:v>
                </c:pt>
                <c:pt idx="112">
                  <c:v>45449</c:v>
                </c:pt>
                <c:pt idx="113">
                  <c:v>45448</c:v>
                </c:pt>
                <c:pt idx="114">
                  <c:v>45447</c:v>
                </c:pt>
                <c:pt idx="115">
                  <c:v>45446</c:v>
                </c:pt>
                <c:pt idx="116">
                  <c:v>45443</c:v>
                </c:pt>
                <c:pt idx="117">
                  <c:v>45442</c:v>
                </c:pt>
                <c:pt idx="118">
                  <c:v>45441</c:v>
                </c:pt>
                <c:pt idx="119">
                  <c:v>45440</c:v>
                </c:pt>
                <c:pt idx="120">
                  <c:v>45439</c:v>
                </c:pt>
                <c:pt idx="121">
                  <c:v>45436</c:v>
                </c:pt>
                <c:pt idx="122">
                  <c:v>45435</c:v>
                </c:pt>
                <c:pt idx="123">
                  <c:v>45434</c:v>
                </c:pt>
                <c:pt idx="124">
                  <c:v>45433</c:v>
                </c:pt>
                <c:pt idx="125">
                  <c:v>45432</c:v>
                </c:pt>
                <c:pt idx="126">
                  <c:v>45429</c:v>
                </c:pt>
                <c:pt idx="127">
                  <c:v>45428</c:v>
                </c:pt>
                <c:pt idx="128">
                  <c:v>45427</c:v>
                </c:pt>
                <c:pt idx="129">
                  <c:v>45426</c:v>
                </c:pt>
                <c:pt idx="130">
                  <c:v>45425</c:v>
                </c:pt>
                <c:pt idx="131">
                  <c:v>45422</c:v>
                </c:pt>
                <c:pt idx="132">
                  <c:v>45421</c:v>
                </c:pt>
                <c:pt idx="133">
                  <c:v>45420</c:v>
                </c:pt>
                <c:pt idx="134">
                  <c:v>45419</c:v>
                </c:pt>
                <c:pt idx="135">
                  <c:v>45418</c:v>
                </c:pt>
                <c:pt idx="136">
                  <c:v>45415</c:v>
                </c:pt>
                <c:pt idx="137">
                  <c:v>45414</c:v>
                </c:pt>
                <c:pt idx="138">
                  <c:v>45413</c:v>
                </c:pt>
                <c:pt idx="139">
                  <c:v>45412</c:v>
                </c:pt>
                <c:pt idx="140">
                  <c:v>45411</c:v>
                </c:pt>
                <c:pt idx="141">
                  <c:v>45408</c:v>
                </c:pt>
                <c:pt idx="142">
                  <c:v>45407</c:v>
                </c:pt>
                <c:pt idx="143">
                  <c:v>45406</c:v>
                </c:pt>
                <c:pt idx="144">
                  <c:v>45405</c:v>
                </c:pt>
                <c:pt idx="145">
                  <c:v>45404</c:v>
                </c:pt>
                <c:pt idx="146">
                  <c:v>45401</c:v>
                </c:pt>
                <c:pt idx="147">
                  <c:v>45400</c:v>
                </c:pt>
                <c:pt idx="148">
                  <c:v>45399</c:v>
                </c:pt>
                <c:pt idx="149">
                  <c:v>45398</c:v>
                </c:pt>
                <c:pt idx="150">
                  <c:v>45397</c:v>
                </c:pt>
                <c:pt idx="151">
                  <c:v>45394</c:v>
                </c:pt>
                <c:pt idx="152">
                  <c:v>45393</c:v>
                </c:pt>
                <c:pt idx="153">
                  <c:v>45392</c:v>
                </c:pt>
                <c:pt idx="154">
                  <c:v>45391</c:v>
                </c:pt>
                <c:pt idx="155">
                  <c:v>45390</c:v>
                </c:pt>
                <c:pt idx="156">
                  <c:v>45387</c:v>
                </c:pt>
                <c:pt idx="157">
                  <c:v>45386</c:v>
                </c:pt>
                <c:pt idx="158">
                  <c:v>45385</c:v>
                </c:pt>
                <c:pt idx="159">
                  <c:v>45384</c:v>
                </c:pt>
                <c:pt idx="160">
                  <c:v>45383</c:v>
                </c:pt>
                <c:pt idx="161">
                  <c:v>45380</c:v>
                </c:pt>
                <c:pt idx="162">
                  <c:v>45379</c:v>
                </c:pt>
                <c:pt idx="163">
                  <c:v>45378</c:v>
                </c:pt>
                <c:pt idx="164">
                  <c:v>45377</c:v>
                </c:pt>
                <c:pt idx="165">
                  <c:v>45376</c:v>
                </c:pt>
                <c:pt idx="166">
                  <c:v>45373</c:v>
                </c:pt>
                <c:pt idx="167">
                  <c:v>45372</c:v>
                </c:pt>
                <c:pt idx="168">
                  <c:v>45371</c:v>
                </c:pt>
                <c:pt idx="169">
                  <c:v>45370</c:v>
                </c:pt>
                <c:pt idx="170">
                  <c:v>45369</c:v>
                </c:pt>
                <c:pt idx="171">
                  <c:v>45366</c:v>
                </c:pt>
                <c:pt idx="172">
                  <c:v>45365</c:v>
                </c:pt>
                <c:pt idx="173">
                  <c:v>45364</c:v>
                </c:pt>
                <c:pt idx="174">
                  <c:v>45363</c:v>
                </c:pt>
                <c:pt idx="175">
                  <c:v>45362</c:v>
                </c:pt>
                <c:pt idx="176">
                  <c:v>45359</c:v>
                </c:pt>
                <c:pt idx="177">
                  <c:v>45358</c:v>
                </c:pt>
                <c:pt idx="178">
                  <c:v>45357</c:v>
                </c:pt>
                <c:pt idx="179">
                  <c:v>45356</c:v>
                </c:pt>
                <c:pt idx="180">
                  <c:v>45355</c:v>
                </c:pt>
                <c:pt idx="181">
                  <c:v>45352</c:v>
                </c:pt>
                <c:pt idx="182">
                  <c:v>45351</c:v>
                </c:pt>
                <c:pt idx="183">
                  <c:v>45350</c:v>
                </c:pt>
                <c:pt idx="184">
                  <c:v>45349</c:v>
                </c:pt>
                <c:pt idx="185">
                  <c:v>45348</c:v>
                </c:pt>
                <c:pt idx="186">
                  <c:v>45345</c:v>
                </c:pt>
                <c:pt idx="187">
                  <c:v>45344</c:v>
                </c:pt>
                <c:pt idx="188">
                  <c:v>45343</c:v>
                </c:pt>
                <c:pt idx="189">
                  <c:v>45342</c:v>
                </c:pt>
                <c:pt idx="190">
                  <c:v>45341</c:v>
                </c:pt>
                <c:pt idx="191">
                  <c:v>45338</c:v>
                </c:pt>
                <c:pt idx="192">
                  <c:v>45337</c:v>
                </c:pt>
                <c:pt idx="193">
                  <c:v>45336</c:v>
                </c:pt>
                <c:pt idx="194">
                  <c:v>45335</c:v>
                </c:pt>
                <c:pt idx="195">
                  <c:v>45334</c:v>
                </c:pt>
                <c:pt idx="196">
                  <c:v>45331</c:v>
                </c:pt>
                <c:pt idx="197">
                  <c:v>45330</c:v>
                </c:pt>
                <c:pt idx="198">
                  <c:v>45329</c:v>
                </c:pt>
                <c:pt idx="199">
                  <c:v>45328</c:v>
                </c:pt>
                <c:pt idx="200">
                  <c:v>45327</c:v>
                </c:pt>
                <c:pt idx="201">
                  <c:v>45324</c:v>
                </c:pt>
                <c:pt idx="202">
                  <c:v>45323</c:v>
                </c:pt>
                <c:pt idx="203">
                  <c:v>45322</c:v>
                </c:pt>
                <c:pt idx="204">
                  <c:v>45321</c:v>
                </c:pt>
                <c:pt idx="205">
                  <c:v>45320</c:v>
                </c:pt>
                <c:pt idx="206">
                  <c:v>45317</c:v>
                </c:pt>
                <c:pt idx="207">
                  <c:v>45316</c:v>
                </c:pt>
                <c:pt idx="208">
                  <c:v>45315</c:v>
                </c:pt>
                <c:pt idx="209">
                  <c:v>45314</c:v>
                </c:pt>
                <c:pt idx="210">
                  <c:v>45313</c:v>
                </c:pt>
                <c:pt idx="211">
                  <c:v>45310</c:v>
                </c:pt>
                <c:pt idx="212">
                  <c:v>45309</c:v>
                </c:pt>
                <c:pt idx="213">
                  <c:v>45308</c:v>
                </c:pt>
                <c:pt idx="214">
                  <c:v>45307</c:v>
                </c:pt>
                <c:pt idx="215">
                  <c:v>45306</c:v>
                </c:pt>
                <c:pt idx="216">
                  <c:v>45303</c:v>
                </c:pt>
                <c:pt idx="217">
                  <c:v>45302</c:v>
                </c:pt>
                <c:pt idx="218">
                  <c:v>45301</c:v>
                </c:pt>
                <c:pt idx="219">
                  <c:v>45300</c:v>
                </c:pt>
                <c:pt idx="220">
                  <c:v>45299</c:v>
                </c:pt>
                <c:pt idx="221">
                  <c:v>45296</c:v>
                </c:pt>
                <c:pt idx="222">
                  <c:v>45295</c:v>
                </c:pt>
                <c:pt idx="223">
                  <c:v>45294</c:v>
                </c:pt>
                <c:pt idx="224">
                  <c:v>45293</c:v>
                </c:pt>
                <c:pt idx="225">
                  <c:v>45292</c:v>
                </c:pt>
                <c:pt idx="226">
                  <c:v>45289</c:v>
                </c:pt>
                <c:pt idx="227">
                  <c:v>45288</c:v>
                </c:pt>
                <c:pt idx="228">
                  <c:v>45287</c:v>
                </c:pt>
                <c:pt idx="229">
                  <c:v>45286</c:v>
                </c:pt>
                <c:pt idx="230">
                  <c:v>45285</c:v>
                </c:pt>
                <c:pt idx="231">
                  <c:v>45282</c:v>
                </c:pt>
                <c:pt idx="232">
                  <c:v>45281</c:v>
                </c:pt>
                <c:pt idx="233">
                  <c:v>45280</c:v>
                </c:pt>
                <c:pt idx="234">
                  <c:v>45279</c:v>
                </c:pt>
                <c:pt idx="235">
                  <c:v>45278</c:v>
                </c:pt>
                <c:pt idx="236">
                  <c:v>45275</c:v>
                </c:pt>
                <c:pt idx="237">
                  <c:v>45274</c:v>
                </c:pt>
                <c:pt idx="238">
                  <c:v>45273</c:v>
                </c:pt>
                <c:pt idx="239">
                  <c:v>45272</c:v>
                </c:pt>
                <c:pt idx="240">
                  <c:v>45271</c:v>
                </c:pt>
                <c:pt idx="241">
                  <c:v>45268</c:v>
                </c:pt>
                <c:pt idx="242">
                  <c:v>45267</c:v>
                </c:pt>
                <c:pt idx="243">
                  <c:v>45266</c:v>
                </c:pt>
                <c:pt idx="244">
                  <c:v>45265</c:v>
                </c:pt>
                <c:pt idx="245">
                  <c:v>45264</c:v>
                </c:pt>
                <c:pt idx="246">
                  <c:v>45261</c:v>
                </c:pt>
                <c:pt idx="247">
                  <c:v>45260</c:v>
                </c:pt>
                <c:pt idx="248">
                  <c:v>45259</c:v>
                </c:pt>
                <c:pt idx="249">
                  <c:v>45258</c:v>
                </c:pt>
                <c:pt idx="250">
                  <c:v>45257</c:v>
                </c:pt>
                <c:pt idx="251">
                  <c:v>45254</c:v>
                </c:pt>
                <c:pt idx="252">
                  <c:v>45253</c:v>
                </c:pt>
                <c:pt idx="253">
                  <c:v>45252</c:v>
                </c:pt>
                <c:pt idx="254">
                  <c:v>45251</c:v>
                </c:pt>
                <c:pt idx="255">
                  <c:v>45250</c:v>
                </c:pt>
                <c:pt idx="256">
                  <c:v>45247</c:v>
                </c:pt>
                <c:pt idx="257">
                  <c:v>45246</c:v>
                </c:pt>
                <c:pt idx="258">
                  <c:v>45245</c:v>
                </c:pt>
                <c:pt idx="259">
                  <c:v>45244</c:v>
                </c:pt>
                <c:pt idx="260">
                  <c:v>45243</c:v>
                </c:pt>
                <c:pt idx="261">
                  <c:v>45240</c:v>
                </c:pt>
                <c:pt idx="262">
                  <c:v>45239</c:v>
                </c:pt>
                <c:pt idx="263">
                  <c:v>45238</c:v>
                </c:pt>
                <c:pt idx="264">
                  <c:v>45237</c:v>
                </c:pt>
                <c:pt idx="265">
                  <c:v>45236</c:v>
                </c:pt>
                <c:pt idx="266">
                  <c:v>45233</c:v>
                </c:pt>
                <c:pt idx="267">
                  <c:v>45232</c:v>
                </c:pt>
                <c:pt idx="268">
                  <c:v>45231</c:v>
                </c:pt>
                <c:pt idx="269">
                  <c:v>45230</c:v>
                </c:pt>
                <c:pt idx="270">
                  <c:v>45229</c:v>
                </c:pt>
                <c:pt idx="271">
                  <c:v>45226</c:v>
                </c:pt>
                <c:pt idx="272">
                  <c:v>45225</c:v>
                </c:pt>
                <c:pt idx="273">
                  <c:v>45224</c:v>
                </c:pt>
                <c:pt idx="274">
                  <c:v>45223</c:v>
                </c:pt>
                <c:pt idx="275">
                  <c:v>45222</c:v>
                </c:pt>
                <c:pt idx="276">
                  <c:v>45219</c:v>
                </c:pt>
                <c:pt idx="277">
                  <c:v>45218</c:v>
                </c:pt>
                <c:pt idx="278">
                  <c:v>45217</c:v>
                </c:pt>
                <c:pt idx="279">
                  <c:v>45216</c:v>
                </c:pt>
                <c:pt idx="280">
                  <c:v>45215</c:v>
                </c:pt>
                <c:pt idx="281">
                  <c:v>45212</c:v>
                </c:pt>
                <c:pt idx="282">
                  <c:v>45211</c:v>
                </c:pt>
                <c:pt idx="283">
                  <c:v>45210</c:v>
                </c:pt>
                <c:pt idx="284">
                  <c:v>45209</c:v>
                </c:pt>
                <c:pt idx="285">
                  <c:v>45208</c:v>
                </c:pt>
                <c:pt idx="286">
                  <c:v>45205</c:v>
                </c:pt>
                <c:pt idx="287">
                  <c:v>45204</c:v>
                </c:pt>
                <c:pt idx="288">
                  <c:v>45203</c:v>
                </c:pt>
                <c:pt idx="289">
                  <c:v>45202</c:v>
                </c:pt>
                <c:pt idx="290">
                  <c:v>45201</c:v>
                </c:pt>
                <c:pt idx="291">
                  <c:v>45198</c:v>
                </c:pt>
                <c:pt idx="292">
                  <c:v>45197</c:v>
                </c:pt>
                <c:pt idx="293">
                  <c:v>45196</c:v>
                </c:pt>
                <c:pt idx="294">
                  <c:v>45195</c:v>
                </c:pt>
                <c:pt idx="295">
                  <c:v>45194</c:v>
                </c:pt>
                <c:pt idx="296">
                  <c:v>45191</c:v>
                </c:pt>
                <c:pt idx="297">
                  <c:v>45190</c:v>
                </c:pt>
                <c:pt idx="298">
                  <c:v>45189</c:v>
                </c:pt>
                <c:pt idx="299">
                  <c:v>45188</c:v>
                </c:pt>
                <c:pt idx="300">
                  <c:v>45187</c:v>
                </c:pt>
                <c:pt idx="301">
                  <c:v>45184</c:v>
                </c:pt>
                <c:pt idx="302">
                  <c:v>45183</c:v>
                </c:pt>
                <c:pt idx="303">
                  <c:v>45182</c:v>
                </c:pt>
                <c:pt idx="304">
                  <c:v>45181</c:v>
                </c:pt>
                <c:pt idx="305">
                  <c:v>45180</c:v>
                </c:pt>
                <c:pt idx="306">
                  <c:v>45177</c:v>
                </c:pt>
                <c:pt idx="307">
                  <c:v>45176</c:v>
                </c:pt>
                <c:pt idx="308">
                  <c:v>45175</c:v>
                </c:pt>
                <c:pt idx="309">
                  <c:v>45174</c:v>
                </c:pt>
                <c:pt idx="310">
                  <c:v>45173</c:v>
                </c:pt>
                <c:pt idx="311">
                  <c:v>45170</c:v>
                </c:pt>
                <c:pt idx="312">
                  <c:v>45169</c:v>
                </c:pt>
                <c:pt idx="313">
                  <c:v>45168</c:v>
                </c:pt>
                <c:pt idx="314">
                  <c:v>45167</c:v>
                </c:pt>
                <c:pt idx="315">
                  <c:v>45166</c:v>
                </c:pt>
                <c:pt idx="316">
                  <c:v>45163</c:v>
                </c:pt>
                <c:pt idx="317">
                  <c:v>45162</c:v>
                </c:pt>
                <c:pt idx="318">
                  <c:v>45161</c:v>
                </c:pt>
                <c:pt idx="319">
                  <c:v>45160</c:v>
                </c:pt>
                <c:pt idx="320">
                  <c:v>45159</c:v>
                </c:pt>
                <c:pt idx="321">
                  <c:v>45156</c:v>
                </c:pt>
                <c:pt idx="322">
                  <c:v>45155</c:v>
                </c:pt>
                <c:pt idx="323">
                  <c:v>45154</c:v>
                </c:pt>
                <c:pt idx="324">
                  <c:v>45153</c:v>
                </c:pt>
                <c:pt idx="325">
                  <c:v>45152</c:v>
                </c:pt>
                <c:pt idx="326">
                  <c:v>45149</c:v>
                </c:pt>
                <c:pt idx="327">
                  <c:v>45148</c:v>
                </c:pt>
                <c:pt idx="328">
                  <c:v>45147</c:v>
                </c:pt>
                <c:pt idx="329">
                  <c:v>45146</c:v>
                </c:pt>
                <c:pt idx="330">
                  <c:v>45145</c:v>
                </c:pt>
                <c:pt idx="331">
                  <c:v>45142</c:v>
                </c:pt>
                <c:pt idx="332">
                  <c:v>45141</c:v>
                </c:pt>
                <c:pt idx="333">
                  <c:v>45140</c:v>
                </c:pt>
                <c:pt idx="334">
                  <c:v>45139</c:v>
                </c:pt>
                <c:pt idx="335">
                  <c:v>45138</c:v>
                </c:pt>
                <c:pt idx="336">
                  <c:v>45135</c:v>
                </c:pt>
                <c:pt idx="337">
                  <c:v>45134</c:v>
                </c:pt>
                <c:pt idx="338">
                  <c:v>45133</c:v>
                </c:pt>
                <c:pt idx="339">
                  <c:v>45132</c:v>
                </c:pt>
                <c:pt idx="340">
                  <c:v>45131</c:v>
                </c:pt>
                <c:pt idx="341">
                  <c:v>45128</c:v>
                </c:pt>
                <c:pt idx="342">
                  <c:v>45127</c:v>
                </c:pt>
                <c:pt idx="343">
                  <c:v>45126</c:v>
                </c:pt>
                <c:pt idx="344">
                  <c:v>45125</c:v>
                </c:pt>
                <c:pt idx="345">
                  <c:v>45124</c:v>
                </c:pt>
                <c:pt idx="346">
                  <c:v>45121</c:v>
                </c:pt>
                <c:pt idx="347">
                  <c:v>45120</c:v>
                </c:pt>
                <c:pt idx="348">
                  <c:v>45119</c:v>
                </c:pt>
                <c:pt idx="349">
                  <c:v>45118</c:v>
                </c:pt>
                <c:pt idx="350">
                  <c:v>45117</c:v>
                </c:pt>
                <c:pt idx="351">
                  <c:v>45114</c:v>
                </c:pt>
                <c:pt idx="352">
                  <c:v>45113</c:v>
                </c:pt>
                <c:pt idx="353">
                  <c:v>45112</c:v>
                </c:pt>
                <c:pt idx="354">
                  <c:v>45111</c:v>
                </c:pt>
                <c:pt idx="355">
                  <c:v>45110</c:v>
                </c:pt>
                <c:pt idx="356">
                  <c:v>45107</c:v>
                </c:pt>
                <c:pt idx="357">
                  <c:v>45106</c:v>
                </c:pt>
                <c:pt idx="358">
                  <c:v>45105</c:v>
                </c:pt>
                <c:pt idx="359">
                  <c:v>45104</c:v>
                </c:pt>
                <c:pt idx="360">
                  <c:v>45103</c:v>
                </c:pt>
                <c:pt idx="361">
                  <c:v>45100</c:v>
                </c:pt>
                <c:pt idx="362">
                  <c:v>45099</c:v>
                </c:pt>
                <c:pt idx="363">
                  <c:v>45098</c:v>
                </c:pt>
                <c:pt idx="364">
                  <c:v>45097</c:v>
                </c:pt>
                <c:pt idx="365">
                  <c:v>45096</c:v>
                </c:pt>
                <c:pt idx="366">
                  <c:v>45093</c:v>
                </c:pt>
                <c:pt idx="367">
                  <c:v>45092</c:v>
                </c:pt>
                <c:pt idx="368">
                  <c:v>45091</c:v>
                </c:pt>
                <c:pt idx="369">
                  <c:v>45090</c:v>
                </c:pt>
                <c:pt idx="370">
                  <c:v>45089</c:v>
                </c:pt>
                <c:pt idx="371">
                  <c:v>45086</c:v>
                </c:pt>
                <c:pt idx="372">
                  <c:v>45085</c:v>
                </c:pt>
                <c:pt idx="373">
                  <c:v>45084</c:v>
                </c:pt>
                <c:pt idx="374">
                  <c:v>45083</c:v>
                </c:pt>
                <c:pt idx="375">
                  <c:v>45082</c:v>
                </c:pt>
                <c:pt idx="376">
                  <c:v>45079</c:v>
                </c:pt>
                <c:pt idx="377">
                  <c:v>45078</c:v>
                </c:pt>
                <c:pt idx="378">
                  <c:v>45077</c:v>
                </c:pt>
                <c:pt idx="379">
                  <c:v>45076</c:v>
                </c:pt>
                <c:pt idx="380">
                  <c:v>45075</c:v>
                </c:pt>
                <c:pt idx="381">
                  <c:v>45072</c:v>
                </c:pt>
                <c:pt idx="382">
                  <c:v>45071</c:v>
                </c:pt>
                <c:pt idx="383">
                  <c:v>45070</c:v>
                </c:pt>
                <c:pt idx="384">
                  <c:v>45069</c:v>
                </c:pt>
                <c:pt idx="385">
                  <c:v>45068</c:v>
                </c:pt>
                <c:pt idx="386">
                  <c:v>45065</c:v>
                </c:pt>
                <c:pt idx="387">
                  <c:v>45064</c:v>
                </c:pt>
                <c:pt idx="388">
                  <c:v>45063</c:v>
                </c:pt>
                <c:pt idx="389">
                  <c:v>45062</c:v>
                </c:pt>
                <c:pt idx="390">
                  <c:v>45061</c:v>
                </c:pt>
                <c:pt idx="391">
                  <c:v>45058</c:v>
                </c:pt>
                <c:pt idx="392">
                  <c:v>45057</c:v>
                </c:pt>
                <c:pt idx="393">
                  <c:v>45056</c:v>
                </c:pt>
                <c:pt idx="394">
                  <c:v>45055</c:v>
                </c:pt>
                <c:pt idx="395">
                  <c:v>45054</c:v>
                </c:pt>
                <c:pt idx="396">
                  <c:v>45051</c:v>
                </c:pt>
                <c:pt idx="397">
                  <c:v>45050</c:v>
                </c:pt>
                <c:pt idx="398">
                  <c:v>45049</c:v>
                </c:pt>
                <c:pt idx="399">
                  <c:v>45048</c:v>
                </c:pt>
                <c:pt idx="400">
                  <c:v>45047</c:v>
                </c:pt>
                <c:pt idx="401">
                  <c:v>45044</c:v>
                </c:pt>
                <c:pt idx="402">
                  <c:v>45043</c:v>
                </c:pt>
                <c:pt idx="403">
                  <c:v>45042</c:v>
                </c:pt>
                <c:pt idx="404">
                  <c:v>45041</c:v>
                </c:pt>
                <c:pt idx="405">
                  <c:v>45040</c:v>
                </c:pt>
                <c:pt idx="406">
                  <c:v>45037</c:v>
                </c:pt>
                <c:pt idx="407">
                  <c:v>45036</c:v>
                </c:pt>
                <c:pt idx="408">
                  <c:v>45035</c:v>
                </c:pt>
                <c:pt idx="409">
                  <c:v>45034</c:v>
                </c:pt>
                <c:pt idx="410">
                  <c:v>45033</c:v>
                </c:pt>
                <c:pt idx="411">
                  <c:v>45030</c:v>
                </c:pt>
                <c:pt idx="412">
                  <c:v>45029</c:v>
                </c:pt>
                <c:pt idx="413">
                  <c:v>45028</c:v>
                </c:pt>
                <c:pt idx="414">
                  <c:v>45027</c:v>
                </c:pt>
                <c:pt idx="415">
                  <c:v>45026</c:v>
                </c:pt>
                <c:pt idx="416">
                  <c:v>45023</c:v>
                </c:pt>
                <c:pt idx="417">
                  <c:v>45022</c:v>
                </c:pt>
                <c:pt idx="418">
                  <c:v>45021</c:v>
                </c:pt>
                <c:pt idx="419">
                  <c:v>45020</c:v>
                </c:pt>
                <c:pt idx="420">
                  <c:v>45019</c:v>
                </c:pt>
                <c:pt idx="421">
                  <c:v>45016</c:v>
                </c:pt>
                <c:pt idx="422">
                  <c:v>45015</c:v>
                </c:pt>
                <c:pt idx="423">
                  <c:v>45014</c:v>
                </c:pt>
                <c:pt idx="424">
                  <c:v>45013</c:v>
                </c:pt>
                <c:pt idx="425">
                  <c:v>45012</c:v>
                </c:pt>
                <c:pt idx="426">
                  <c:v>45009</c:v>
                </c:pt>
                <c:pt idx="427">
                  <c:v>45008</c:v>
                </c:pt>
                <c:pt idx="428">
                  <c:v>45007</c:v>
                </c:pt>
                <c:pt idx="429">
                  <c:v>45006</c:v>
                </c:pt>
                <c:pt idx="430">
                  <c:v>45005</c:v>
                </c:pt>
                <c:pt idx="431">
                  <c:v>45002</c:v>
                </c:pt>
                <c:pt idx="432">
                  <c:v>45001</c:v>
                </c:pt>
                <c:pt idx="433">
                  <c:v>45000</c:v>
                </c:pt>
                <c:pt idx="434">
                  <c:v>44999</c:v>
                </c:pt>
                <c:pt idx="435">
                  <c:v>44998</c:v>
                </c:pt>
                <c:pt idx="436">
                  <c:v>44995</c:v>
                </c:pt>
                <c:pt idx="437">
                  <c:v>44994</c:v>
                </c:pt>
                <c:pt idx="438">
                  <c:v>44993</c:v>
                </c:pt>
                <c:pt idx="439">
                  <c:v>44992</c:v>
                </c:pt>
                <c:pt idx="440">
                  <c:v>44991</c:v>
                </c:pt>
                <c:pt idx="441">
                  <c:v>44988</c:v>
                </c:pt>
                <c:pt idx="442">
                  <c:v>44987</c:v>
                </c:pt>
                <c:pt idx="443">
                  <c:v>44986</c:v>
                </c:pt>
                <c:pt idx="444">
                  <c:v>44985</c:v>
                </c:pt>
                <c:pt idx="445">
                  <c:v>44984</c:v>
                </c:pt>
                <c:pt idx="446">
                  <c:v>44981</c:v>
                </c:pt>
                <c:pt idx="447">
                  <c:v>44980</c:v>
                </c:pt>
                <c:pt idx="448">
                  <c:v>44979</c:v>
                </c:pt>
                <c:pt idx="449">
                  <c:v>44978</c:v>
                </c:pt>
                <c:pt idx="450">
                  <c:v>44977</c:v>
                </c:pt>
                <c:pt idx="451">
                  <c:v>44974</c:v>
                </c:pt>
                <c:pt idx="452">
                  <c:v>44973</c:v>
                </c:pt>
                <c:pt idx="453">
                  <c:v>44972</c:v>
                </c:pt>
                <c:pt idx="454">
                  <c:v>44971</c:v>
                </c:pt>
                <c:pt idx="455">
                  <c:v>44970</c:v>
                </c:pt>
                <c:pt idx="456">
                  <c:v>44967</c:v>
                </c:pt>
                <c:pt idx="457">
                  <c:v>44966</c:v>
                </c:pt>
                <c:pt idx="458">
                  <c:v>44965</c:v>
                </c:pt>
                <c:pt idx="459">
                  <c:v>44964</c:v>
                </c:pt>
                <c:pt idx="460">
                  <c:v>44963</c:v>
                </c:pt>
                <c:pt idx="461">
                  <c:v>44960</c:v>
                </c:pt>
                <c:pt idx="462">
                  <c:v>44959</c:v>
                </c:pt>
                <c:pt idx="463">
                  <c:v>44958</c:v>
                </c:pt>
                <c:pt idx="464">
                  <c:v>44957</c:v>
                </c:pt>
                <c:pt idx="465">
                  <c:v>44956</c:v>
                </c:pt>
                <c:pt idx="466">
                  <c:v>44953</c:v>
                </c:pt>
                <c:pt idx="467">
                  <c:v>44952</c:v>
                </c:pt>
                <c:pt idx="468">
                  <c:v>44951</c:v>
                </c:pt>
                <c:pt idx="469">
                  <c:v>44950</c:v>
                </c:pt>
                <c:pt idx="470">
                  <c:v>44949</c:v>
                </c:pt>
                <c:pt idx="471">
                  <c:v>44946</c:v>
                </c:pt>
                <c:pt idx="472">
                  <c:v>44945</c:v>
                </c:pt>
                <c:pt idx="473">
                  <c:v>44944</c:v>
                </c:pt>
                <c:pt idx="474">
                  <c:v>44943</c:v>
                </c:pt>
                <c:pt idx="475">
                  <c:v>44942</c:v>
                </c:pt>
                <c:pt idx="476">
                  <c:v>44939</c:v>
                </c:pt>
                <c:pt idx="477">
                  <c:v>44938</c:v>
                </c:pt>
                <c:pt idx="478">
                  <c:v>44937</c:v>
                </c:pt>
                <c:pt idx="479">
                  <c:v>44936</c:v>
                </c:pt>
                <c:pt idx="480">
                  <c:v>44935</c:v>
                </c:pt>
                <c:pt idx="481">
                  <c:v>44932</c:v>
                </c:pt>
                <c:pt idx="482">
                  <c:v>44931</c:v>
                </c:pt>
                <c:pt idx="483">
                  <c:v>44930</c:v>
                </c:pt>
                <c:pt idx="484">
                  <c:v>44929</c:v>
                </c:pt>
                <c:pt idx="485">
                  <c:v>44928</c:v>
                </c:pt>
                <c:pt idx="486">
                  <c:v>44925</c:v>
                </c:pt>
                <c:pt idx="487">
                  <c:v>44924</c:v>
                </c:pt>
                <c:pt idx="488">
                  <c:v>44923</c:v>
                </c:pt>
                <c:pt idx="489">
                  <c:v>44922</c:v>
                </c:pt>
                <c:pt idx="490">
                  <c:v>44921</c:v>
                </c:pt>
                <c:pt idx="491">
                  <c:v>44918</c:v>
                </c:pt>
                <c:pt idx="492">
                  <c:v>44917</c:v>
                </c:pt>
                <c:pt idx="493">
                  <c:v>44916</c:v>
                </c:pt>
                <c:pt idx="494">
                  <c:v>44915</c:v>
                </c:pt>
                <c:pt idx="495">
                  <c:v>44914</c:v>
                </c:pt>
                <c:pt idx="496">
                  <c:v>44911</c:v>
                </c:pt>
                <c:pt idx="497">
                  <c:v>44910</c:v>
                </c:pt>
                <c:pt idx="498">
                  <c:v>44909</c:v>
                </c:pt>
                <c:pt idx="499">
                  <c:v>44908</c:v>
                </c:pt>
                <c:pt idx="500">
                  <c:v>44907</c:v>
                </c:pt>
                <c:pt idx="501">
                  <c:v>44904</c:v>
                </c:pt>
                <c:pt idx="502">
                  <c:v>44903</c:v>
                </c:pt>
                <c:pt idx="503">
                  <c:v>44902</c:v>
                </c:pt>
                <c:pt idx="504">
                  <c:v>44901</c:v>
                </c:pt>
                <c:pt idx="505">
                  <c:v>44900</c:v>
                </c:pt>
                <c:pt idx="506">
                  <c:v>44897</c:v>
                </c:pt>
                <c:pt idx="507">
                  <c:v>44896</c:v>
                </c:pt>
                <c:pt idx="508">
                  <c:v>44895</c:v>
                </c:pt>
                <c:pt idx="509">
                  <c:v>44894</c:v>
                </c:pt>
                <c:pt idx="510">
                  <c:v>44893</c:v>
                </c:pt>
                <c:pt idx="511">
                  <c:v>44890</c:v>
                </c:pt>
                <c:pt idx="512">
                  <c:v>44889</c:v>
                </c:pt>
                <c:pt idx="513">
                  <c:v>44888</c:v>
                </c:pt>
                <c:pt idx="514">
                  <c:v>44887</c:v>
                </c:pt>
                <c:pt idx="515">
                  <c:v>44886</c:v>
                </c:pt>
                <c:pt idx="516">
                  <c:v>44883</c:v>
                </c:pt>
                <c:pt idx="517">
                  <c:v>44882</c:v>
                </c:pt>
                <c:pt idx="518">
                  <c:v>44881</c:v>
                </c:pt>
                <c:pt idx="519">
                  <c:v>44880</c:v>
                </c:pt>
                <c:pt idx="520">
                  <c:v>44879</c:v>
                </c:pt>
                <c:pt idx="521">
                  <c:v>44876</c:v>
                </c:pt>
                <c:pt idx="522">
                  <c:v>44875</c:v>
                </c:pt>
                <c:pt idx="523">
                  <c:v>44874</c:v>
                </c:pt>
                <c:pt idx="524">
                  <c:v>44873</c:v>
                </c:pt>
                <c:pt idx="525">
                  <c:v>44872</c:v>
                </c:pt>
                <c:pt idx="526">
                  <c:v>44869</c:v>
                </c:pt>
                <c:pt idx="527">
                  <c:v>44868</c:v>
                </c:pt>
                <c:pt idx="528">
                  <c:v>44867</c:v>
                </c:pt>
                <c:pt idx="529">
                  <c:v>44866</c:v>
                </c:pt>
                <c:pt idx="530">
                  <c:v>44865</c:v>
                </c:pt>
                <c:pt idx="531">
                  <c:v>44862</c:v>
                </c:pt>
                <c:pt idx="532">
                  <c:v>44861</c:v>
                </c:pt>
                <c:pt idx="533">
                  <c:v>44860</c:v>
                </c:pt>
                <c:pt idx="534">
                  <c:v>44859</c:v>
                </c:pt>
                <c:pt idx="535">
                  <c:v>44858</c:v>
                </c:pt>
                <c:pt idx="536">
                  <c:v>44855</c:v>
                </c:pt>
                <c:pt idx="537">
                  <c:v>44854</c:v>
                </c:pt>
                <c:pt idx="538">
                  <c:v>44853</c:v>
                </c:pt>
                <c:pt idx="539">
                  <c:v>44852</c:v>
                </c:pt>
                <c:pt idx="540">
                  <c:v>44851</c:v>
                </c:pt>
                <c:pt idx="541">
                  <c:v>44848</c:v>
                </c:pt>
                <c:pt idx="542">
                  <c:v>44847</c:v>
                </c:pt>
                <c:pt idx="543">
                  <c:v>44846</c:v>
                </c:pt>
                <c:pt idx="544">
                  <c:v>44845</c:v>
                </c:pt>
                <c:pt idx="545">
                  <c:v>44844</c:v>
                </c:pt>
                <c:pt idx="546">
                  <c:v>44841</c:v>
                </c:pt>
                <c:pt idx="547">
                  <c:v>44840</c:v>
                </c:pt>
                <c:pt idx="548">
                  <c:v>44839</c:v>
                </c:pt>
                <c:pt idx="549">
                  <c:v>44838</c:v>
                </c:pt>
                <c:pt idx="550">
                  <c:v>44837</c:v>
                </c:pt>
                <c:pt idx="551">
                  <c:v>44834</c:v>
                </c:pt>
                <c:pt idx="552">
                  <c:v>44833</c:v>
                </c:pt>
                <c:pt idx="553">
                  <c:v>44832</c:v>
                </c:pt>
                <c:pt idx="554">
                  <c:v>44831</c:v>
                </c:pt>
                <c:pt idx="555">
                  <c:v>44830</c:v>
                </c:pt>
                <c:pt idx="556">
                  <c:v>44827</c:v>
                </c:pt>
                <c:pt idx="557">
                  <c:v>44826</c:v>
                </c:pt>
                <c:pt idx="558">
                  <c:v>44825</c:v>
                </c:pt>
                <c:pt idx="559">
                  <c:v>44824</c:v>
                </c:pt>
                <c:pt idx="560">
                  <c:v>44823</c:v>
                </c:pt>
                <c:pt idx="561">
                  <c:v>44820</c:v>
                </c:pt>
                <c:pt idx="562">
                  <c:v>44819</c:v>
                </c:pt>
                <c:pt idx="563">
                  <c:v>44818</c:v>
                </c:pt>
                <c:pt idx="564">
                  <c:v>44817</c:v>
                </c:pt>
                <c:pt idx="565">
                  <c:v>44816</c:v>
                </c:pt>
                <c:pt idx="566">
                  <c:v>44813</c:v>
                </c:pt>
                <c:pt idx="567">
                  <c:v>44812</c:v>
                </c:pt>
                <c:pt idx="568">
                  <c:v>44811</c:v>
                </c:pt>
                <c:pt idx="569">
                  <c:v>44810</c:v>
                </c:pt>
                <c:pt idx="570">
                  <c:v>44809</c:v>
                </c:pt>
                <c:pt idx="571">
                  <c:v>44806</c:v>
                </c:pt>
                <c:pt idx="572">
                  <c:v>44805</c:v>
                </c:pt>
                <c:pt idx="573">
                  <c:v>44804</c:v>
                </c:pt>
                <c:pt idx="574">
                  <c:v>44803</c:v>
                </c:pt>
                <c:pt idx="575">
                  <c:v>44802</c:v>
                </c:pt>
                <c:pt idx="576">
                  <c:v>44799</c:v>
                </c:pt>
                <c:pt idx="577">
                  <c:v>44798</c:v>
                </c:pt>
                <c:pt idx="578">
                  <c:v>44797</c:v>
                </c:pt>
                <c:pt idx="579">
                  <c:v>44796</c:v>
                </c:pt>
                <c:pt idx="580">
                  <c:v>44795</c:v>
                </c:pt>
                <c:pt idx="581">
                  <c:v>44792</c:v>
                </c:pt>
                <c:pt idx="582">
                  <c:v>44791</c:v>
                </c:pt>
                <c:pt idx="583">
                  <c:v>44790</c:v>
                </c:pt>
                <c:pt idx="584">
                  <c:v>44789</c:v>
                </c:pt>
                <c:pt idx="585">
                  <c:v>44788</c:v>
                </c:pt>
                <c:pt idx="586">
                  <c:v>44785</c:v>
                </c:pt>
                <c:pt idx="587">
                  <c:v>44784</c:v>
                </c:pt>
                <c:pt idx="588">
                  <c:v>44783</c:v>
                </c:pt>
                <c:pt idx="589">
                  <c:v>44782</c:v>
                </c:pt>
                <c:pt idx="590">
                  <c:v>44781</c:v>
                </c:pt>
                <c:pt idx="591">
                  <c:v>44778</c:v>
                </c:pt>
                <c:pt idx="592">
                  <c:v>44777</c:v>
                </c:pt>
                <c:pt idx="593">
                  <c:v>44776</c:v>
                </c:pt>
                <c:pt idx="594">
                  <c:v>44775</c:v>
                </c:pt>
                <c:pt idx="595">
                  <c:v>44774</c:v>
                </c:pt>
                <c:pt idx="596">
                  <c:v>44771</c:v>
                </c:pt>
                <c:pt idx="597">
                  <c:v>44770</c:v>
                </c:pt>
                <c:pt idx="598">
                  <c:v>44769</c:v>
                </c:pt>
                <c:pt idx="599">
                  <c:v>44768</c:v>
                </c:pt>
                <c:pt idx="600">
                  <c:v>44767</c:v>
                </c:pt>
                <c:pt idx="601">
                  <c:v>44764</c:v>
                </c:pt>
                <c:pt idx="602">
                  <c:v>44763</c:v>
                </c:pt>
                <c:pt idx="603">
                  <c:v>44762</c:v>
                </c:pt>
                <c:pt idx="604">
                  <c:v>44761</c:v>
                </c:pt>
                <c:pt idx="605">
                  <c:v>44760</c:v>
                </c:pt>
                <c:pt idx="606">
                  <c:v>44757</c:v>
                </c:pt>
                <c:pt idx="607">
                  <c:v>44756</c:v>
                </c:pt>
                <c:pt idx="608">
                  <c:v>44755</c:v>
                </c:pt>
                <c:pt idx="609">
                  <c:v>44754</c:v>
                </c:pt>
                <c:pt idx="610">
                  <c:v>44753</c:v>
                </c:pt>
                <c:pt idx="611">
                  <c:v>44750</c:v>
                </c:pt>
                <c:pt idx="612">
                  <c:v>44749</c:v>
                </c:pt>
                <c:pt idx="613">
                  <c:v>44748</c:v>
                </c:pt>
                <c:pt idx="614">
                  <c:v>44747</c:v>
                </c:pt>
                <c:pt idx="615">
                  <c:v>44746</c:v>
                </c:pt>
                <c:pt idx="616">
                  <c:v>44743</c:v>
                </c:pt>
                <c:pt idx="617">
                  <c:v>44742</c:v>
                </c:pt>
                <c:pt idx="618">
                  <c:v>44741</c:v>
                </c:pt>
                <c:pt idx="619">
                  <c:v>44740</c:v>
                </c:pt>
                <c:pt idx="620">
                  <c:v>44739</c:v>
                </c:pt>
                <c:pt idx="621">
                  <c:v>44736</c:v>
                </c:pt>
                <c:pt idx="622">
                  <c:v>44735</c:v>
                </c:pt>
                <c:pt idx="623">
                  <c:v>44734</c:v>
                </c:pt>
                <c:pt idx="624">
                  <c:v>44733</c:v>
                </c:pt>
                <c:pt idx="625">
                  <c:v>44732</c:v>
                </c:pt>
                <c:pt idx="626">
                  <c:v>44729</c:v>
                </c:pt>
                <c:pt idx="627">
                  <c:v>44728</c:v>
                </c:pt>
                <c:pt idx="628">
                  <c:v>44727</c:v>
                </c:pt>
                <c:pt idx="629">
                  <c:v>44726</c:v>
                </c:pt>
                <c:pt idx="630">
                  <c:v>44725</c:v>
                </c:pt>
                <c:pt idx="631">
                  <c:v>44722</c:v>
                </c:pt>
                <c:pt idx="632">
                  <c:v>44721</c:v>
                </c:pt>
                <c:pt idx="633">
                  <c:v>44720</c:v>
                </c:pt>
                <c:pt idx="634">
                  <c:v>44719</c:v>
                </c:pt>
                <c:pt idx="635">
                  <c:v>44718</c:v>
                </c:pt>
                <c:pt idx="636">
                  <c:v>44715</c:v>
                </c:pt>
                <c:pt idx="637">
                  <c:v>44714</c:v>
                </c:pt>
                <c:pt idx="638">
                  <c:v>44713</c:v>
                </c:pt>
                <c:pt idx="639">
                  <c:v>44712</c:v>
                </c:pt>
                <c:pt idx="640">
                  <c:v>44711</c:v>
                </c:pt>
                <c:pt idx="641">
                  <c:v>44708</c:v>
                </c:pt>
                <c:pt idx="642">
                  <c:v>44707</c:v>
                </c:pt>
                <c:pt idx="643">
                  <c:v>44706</c:v>
                </c:pt>
                <c:pt idx="644">
                  <c:v>44705</c:v>
                </c:pt>
                <c:pt idx="645">
                  <c:v>44704</c:v>
                </c:pt>
                <c:pt idx="646">
                  <c:v>44701</c:v>
                </c:pt>
                <c:pt idx="647">
                  <c:v>44700</c:v>
                </c:pt>
                <c:pt idx="648">
                  <c:v>44699</c:v>
                </c:pt>
                <c:pt idx="649">
                  <c:v>44698</c:v>
                </c:pt>
                <c:pt idx="650">
                  <c:v>44697</c:v>
                </c:pt>
                <c:pt idx="651">
                  <c:v>44694</c:v>
                </c:pt>
                <c:pt idx="652">
                  <c:v>44693</c:v>
                </c:pt>
                <c:pt idx="653">
                  <c:v>44692</c:v>
                </c:pt>
                <c:pt idx="654">
                  <c:v>44691</c:v>
                </c:pt>
                <c:pt idx="655">
                  <c:v>44690</c:v>
                </c:pt>
                <c:pt idx="656">
                  <c:v>44687</c:v>
                </c:pt>
                <c:pt idx="657">
                  <c:v>44686</c:v>
                </c:pt>
                <c:pt idx="658">
                  <c:v>44685</c:v>
                </c:pt>
                <c:pt idx="659">
                  <c:v>44684</c:v>
                </c:pt>
                <c:pt idx="660">
                  <c:v>44683</c:v>
                </c:pt>
                <c:pt idx="661">
                  <c:v>44680</c:v>
                </c:pt>
                <c:pt idx="662">
                  <c:v>44679</c:v>
                </c:pt>
                <c:pt idx="663">
                  <c:v>44678</c:v>
                </c:pt>
                <c:pt idx="664">
                  <c:v>44677</c:v>
                </c:pt>
                <c:pt idx="665">
                  <c:v>44676</c:v>
                </c:pt>
                <c:pt idx="666">
                  <c:v>44673</c:v>
                </c:pt>
                <c:pt idx="667">
                  <c:v>44672</c:v>
                </c:pt>
                <c:pt idx="668">
                  <c:v>44671</c:v>
                </c:pt>
                <c:pt idx="669">
                  <c:v>44670</c:v>
                </c:pt>
                <c:pt idx="670">
                  <c:v>44669</c:v>
                </c:pt>
                <c:pt idx="671">
                  <c:v>44666</c:v>
                </c:pt>
                <c:pt idx="672">
                  <c:v>44665</c:v>
                </c:pt>
                <c:pt idx="673">
                  <c:v>44664</c:v>
                </c:pt>
                <c:pt idx="674">
                  <c:v>44663</c:v>
                </c:pt>
                <c:pt idx="675">
                  <c:v>44662</c:v>
                </c:pt>
                <c:pt idx="676">
                  <c:v>44659</c:v>
                </c:pt>
                <c:pt idx="677">
                  <c:v>44658</c:v>
                </c:pt>
                <c:pt idx="678">
                  <c:v>44657</c:v>
                </c:pt>
                <c:pt idx="679">
                  <c:v>44656</c:v>
                </c:pt>
                <c:pt idx="680">
                  <c:v>44655</c:v>
                </c:pt>
                <c:pt idx="681">
                  <c:v>44652</c:v>
                </c:pt>
                <c:pt idx="682">
                  <c:v>44651</c:v>
                </c:pt>
                <c:pt idx="683">
                  <c:v>44650</c:v>
                </c:pt>
                <c:pt idx="684">
                  <c:v>44649</c:v>
                </c:pt>
                <c:pt idx="685">
                  <c:v>44648</c:v>
                </c:pt>
                <c:pt idx="686">
                  <c:v>44645</c:v>
                </c:pt>
                <c:pt idx="687">
                  <c:v>44644</c:v>
                </c:pt>
                <c:pt idx="688">
                  <c:v>44643</c:v>
                </c:pt>
                <c:pt idx="689">
                  <c:v>44642</c:v>
                </c:pt>
                <c:pt idx="690">
                  <c:v>44641</c:v>
                </c:pt>
                <c:pt idx="691">
                  <c:v>44638</c:v>
                </c:pt>
                <c:pt idx="692">
                  <c:v>44637</c:v>
                </c:pt>
                <c:pt idx="693">
                  <c:v>44636</c:v>
                </c:pt>
                <c:pt idx="694">
                  <c:v>44635</c:v>
                </c:pt>
                <c:pt idx="695">
                  <c:v>44634</c:v>
                </c:pt>
                <c:pt idx="696">
                  <c:v>44631</c:v>
                </c:pt>
                <c:pt idx="697">
                  <c:v>44630</c:v>
                </c:pt>
                <c:pt idx="698">
                  <c:v>44629</c:v>
                </c:pt>
                <c:pt idx="699">
                  <c:v>44628</c:v>
                </c:pt>
                <c:pt idx="700">
                  <c:v>44627</c:v>
                </c:pt>
                <c:pt idx="701">
                  <c:v>44624</c:v>
                </c:pt>
                <c:pt idx="702">
                  <c:v>44623</c:v>
                </c:pt>
                <c:pt idx="703">
                  <c:v>44622</c:v>
                </c:pt>
                <c:pt idx="704">
                  <c:v>44621</c:v>
                </c:pt>
                <c:pt idx="705">
                  <c:v>44620</c:v>
                </c:pt>
                <c:pt idx="706">
                  <c:v>44617</c:v>
                </c:pt>
                <c:pt idx="707">
                  <c:v>44616</c:v>
                </c:pt>
                <c:pt idx="708">
                  <c:v>44615</c:v>
                </c:pt>
                <c:pt idx="709">
                  <c:v>44614</c:v>
                </c:pt>
                <c:pt idx="710">
                  <c:v>44613</c:v>
                </c:pt>
                <c:pt idx="711">
                  <c:v>44610</c:v>
                </c:pt>
                <c:pt idx="712">
                  <c:v>44609</c:v>
                </c:pt>
                <c:pt idx="713">
                  <c:v>44608</c:v>
                </c:pt>
                <c:pt idx="714">
                  <c:v>44607</c:v>
                </c:pt>
                <c:pt idx="715">
                  <c:v>44606</c:v>
                </c:pt>
                <c:pt idx="716">
                  <c:v>44603</c:v>
                </c:pt>
                <c:pt idx="717">
                  <c:v>44602</c:v>
                </c:pt>
                <c:pt idx="718">
                  <c:v>44601</c:v>
                </c:pt>
                <c:pt idx="719">
                  <c:v>44600</c:v>
                </c:pt>
                <c:pt idx="720">
                  <c:v>44599</c:v>
                </c:pt>
                <c:pt idx="721">
                  <c:v>44596</c:v>
                </c:pt>
                <c:pt idx="722">
                  <c:v>44595</c:v>
                </c:pt>
                <c:pt idx="723">
                  <c:v>44594</c:v>
                </c:pt>
                <c:pt idx="724">
                  <c:v>44593</c:v>
                </c:pt>
                <c:pt idx="725">
                  <c:v>44592</c:v>
                </c:pt>
                <c:pt idx="726">
                  <c:v>44589</c:v>
                </c:pt>
                <c:pt idx="727">
                  <c:v>44588</c:v>
                </c:pt>
                <c:pt idx="728">
                  <c:v>44587</c:v>
                </c:pt>
                <c:pt idx="729">
                  <c:v>44586</c:v>
                </c:pt>
                <c:pt idx="730">
                  <c:v>44585</c:v>
                </c:pt>
                <c:pt idx="731">
                  <c:v>44582</c:v>
                </c:pt>
                <c:pt idx="732">
                  <c:v>44581</c:v>
                </c:pt>
                <c:pt idx="733">
                  <c:v>44580</c:v>
                </c:pt>
                <c:pt idx="734">
                  <c:v>44579</c:v>
                </c:pt>
                <c:pt idx="735">
                  <c:v>44578</c:v>
                </c:pt>
                <c:pt idx="736">
                  <c:v>44575</c:v>
                </c:pt>
                <c:pt idx="737">
                  <c:v>44574</c:v>
                </c:pt>
                <c:pt idx="738">
                  <c:v>44573</c:v>
                </c:pt>
                <c:pt idx="739">
                  <c:v>44572</c:v>
                </c:pt>
                <c:pt idx="740">
                  <c:v>44571</c:v>
                </c:pt>
                <c:pt idx="741">
                  <c:v>44568</c:v>
                </c:pt>
                <c:pt idx="742">
                  <c:v>44567</c:v>
                </c:pt>
                <c:pt idx="743">
                  <c:v>44566</c:v>
                </c:pt>
                <c:pt idx="744">
                  <c:v>44565</c:v>
                </c:pt>
                <c:pt idx="745">
                  <c:v>44564</c:v>
                </c:pt>
                <c:pt idx="746">
                  <c:v>44561</c:v>
                </c:pt>
                <c:pt idx="747">
                  <c:v>44560</c:v>
                </c:pt>
                <c:pt idx="748">
                  <c:v>44559</c:v>
                </c:pt>
                <c:pt idx="749">
                  <c:v>44558</c:v>
                </c:pt>
                <c:pt idx="750">
                  <c:v>44557</c:v>
                </c:pt>
                <c:pt idx="751">
                  <c:v>44554</c:v>
                </c:pt>
                <c:pt idx="752">
                  <c:v>44553</c:v>
                </c:pt>
                <c:pt idx="753">
                  <c:v>44552</c:v>
                </c:pt>
                <c:pt idx="754">
                  <c:v>44551</c:v>
                </c:pt>
                <c:pt idx="755">
                  <c:v>44550</c:v>
                </c:pt>
                <c:pt idx="756">
                  <c:v>44547</c:v>
                </c:pt>
                <c:pt idx="757">
                  <c:v>44546</c:v>
                </c:pt>
                <c:pt idx="758">
                  <c:v>44545</c:v>
                </c:pt>
                <c:pt idx="759">
                  <c:v>44544</c:v>
                </c:pt>
                <c:pt idx="760">
                  <c:v>44543</c:v>
                </c:pt>
                <c:pt idx="761">
                  <c:v>44540</c:v>
                </c:pt>
                <c:pt idx="762">
                  <c:v>44539</c:v>
                </c:pt>
                <c:pt idx="763">
                  <c:v>44538</c:v>
                </c:pt>
                <c:pt idx="764">
                  <c:v>44537</c:v>
                </c:pt>
                <c:pt idx="765">
                  <c:v>44536</c:v>
                </c:pt>
                <c:pt idx="766">
                  <c:v>44533</c:v>
                </c:pt>
                <c:pt idx="767">
                  <c:v>44532</c:v>
                </c:pt>
                <c:pt idx="768">
                  <c:v>44531</c:v>
                </c:pt>
                <c:pt idx="769">
                  <c:v>44530</c:v>
                </c:pt>
                <c:pt idx="770">
                  <c:v>44529</c:v>
                </c:pt>
                <c:pt idx="771">
                  <c:v>44526</c:v>
                </c:pt>
                <c:pt idx="772">
                  <c:v>44525</c:v>
                </c:pt>
                <c:pt idx="773">
                  <c:v>44524</c:v>
                </c:pt>
                <c:pt idx="774">
                  <c:v>44523</c:v>
                </c:pt>
                <c:pt idx="775">
                  <c:v>44522</c:v>
                </c:pt>
                <c:pt idx="776">
                  <c:v>44519</c:v>
                </c:pt>
                <c:pt idx="777">
                  <c:v>44518</c:v>
                </c:pt>
                <c:pt idx="778">
                  <c:v>44517</c:v>
                </c:pt>
                <c:pt idx="779">
                  <c:v>44516</c:v>
                </c:pt>
                <c:pt idx="780">
                  <c:v>44515</c:v>
                </c:pt>
                <c:pt idx="781">
                  <c:v>44512</c:v>
                </c:pt>
                <c:pt idx="782">
                  <c:v>44511</c:v>
                </c:pt>
                <c:pt idx="783">
                  <c:v>44510</c:v>
                </c:pt>
                <c:pt idx="784">
                  <c:v>44509</c:v>
                </c:pt>
                <c:pt idx="785">
                  <c:v>44508</c:v>
                </c:pt>
                <c:pt idx="786">
                  <c:v>44505</c:v>
                </c:pt>
                <c:pt idx="787">
                  <c:v>44504</c:v>
                </c:pt>
                <c:pt idx="788">
                  <c:v>44503</c:v>
                </c:pt>
                <c:pt idx="789">
                  <c:v>44502</c:v>
                </c:pt>
                <c:pt idx="790">
                  <c:v>44501</c:v>
                </c:pt>
                <c:pt idx="791">
                  <c:v>44498</c:v>
                </c:pt>
                <c:pt idx="792">
                  <c:v>44497</c:v>
                </c:pt>
                <c:pt idx="793">
                  <c:v>44496</c:v>
                </c:pt>
                <c:pt idx="794">
                  <c:v>44495</c:v>
                </c:pt>
                <c:pt idx="795">
                  <c:v>44494</c:v>
                </c:pt>
                <c:pt idx="796">
                  <c:v>44491</c:v>
                </c:pt>
                <c:pt idx="797">
                  <c:v>44490</c:v>
                </c:pt>
                <c:pt idx="798">
                  <c:v>44489</c:v>
                </c:pt>
                <c:pt idx="799">
                  <c:v>44488</c:v>
                </c:pt>
                <c:pt idx="800">
                  <c:v>44487</c:v>
                </c:pt>
                <c:pt idx="801">
                  <c:v>44484</c:v>
                </c:pt>
                <c:pt idx="802">
                  <c:v>44483</c:v>
                </c:pt>
                <c:pt idx="803">
                  <c:v>44482</c:v>
                </c:pt>
                <c:pt idx="804">
                  <c:v>44481</c:v>
                </c:pt>
                <c:pt idx="805">
                  <c:v>44480</c:v>
                </c:pt>
                <c:pt idx="806">
                  <c:v>44477</c:v>
                </c:pt>
                <c:pt idx="807">
                  <c:v>44476</c:v>
                </c:pt>
                <c:pt idx="808">
                  <c:v>44475</c:v>
                </c:pt>
                <c:pt idx="809">
                  <c:v>44474</c:v>
                </c:pt>
                <c:pt idx="810">
                  <c:v>44473</c:v>
                </c:pt>
                <c:pt idx="811">
                  <c:v>44470</c:v>
                </c:pt>
                <c:pt idx="812">
                  <c:v>44469</c:v>
                </c:pt>
                <c:pt idx="813">
                  <c:v>44468</c:v>
                </c:pt>
                <c:pt idx="814">
                  <c:v>44467</c:v>
                </c:pt>
                <c:pt idx="815">
                  <c:v>44466</c:v>
                </c:pt>
                <c:pt idx="816">
                  <c:v>44463</c:v>
                </c:pt>
                <c:pt idx="817">
                  <c:v>44462</c:v>
                </c:pt>
                <c:pt idx="818">
                  <c:v>44461</c:v>
                </c:pt>
                <c:pt idx="819">
                  <c:v>44460</c:v>
                </c:pt>
                <c:pt idx="820">
                  <c:v>44459</c:v>
                </c:pt>
                <c:pt idx="821">
                  <c:v>44456</c:v>
                </c:pt>
                <c:pt idx="822">
                  <c:v>44455</c:v>
                </c:pt>
                <c:pt idx="823">
                  <c:v>44454</c:v>
                </c:pt>
                <c:pt idx="824">
                  <c:v>44453</c:v>
                </c:pt>
                <c:pt idx="825">
                  <c:v>44452</c:v>
                </c:pt>
                <c:pt idx="826">
                  <c:v>44449</c:v>
                </c:pt>
                <c:pt idx="827">
                  <c:v>44448</c:v>
                </c:pt>
                <c:pt idx="828">
                  <c:v>44447</c:v>
                </c:pt>
                <c:pt idx="829">
                  <c:v>44446</c:v>
                </c:pt>
                <c:pt idx="830">
                  <c:v>44445</c:v>
                </c:pt>
                <c:pt idx="831">
                  <c:v>44442</c:v>
                </c:pt>
                <c:pt idx="832">
                  <c:v>44441</c:v>
                </c:pt>
                <c:pt idx="833">
                  <c:v>44440</c:v>
                </c:pt>
                <c:pt idx="834">
                  <c:v>44439</c:v>
                </c:pt>
                <c:pt idx="835">
                  <c:v>44438</c:v>
                </c:pt>
                <c:pt idx="836">
                  <c:v>44435</c:v>
                </c:pt>
                <c:pt idx="837">
                  <c:v>44434</c:v>
                </c:pt>
                <c:pt idx="838">
                  <c:v>44433</c:v>
                </c:pt>
                <c:pt idx="839">
                  <c:v>44432</c:v>
                </c:pt>
                <c:pt idx="840">
                  <c:v>44431</c:v>
                </c:pt>
                <c:pt idx="841">
                  <c:v>44428</c:v>
                </c:pt>
                <c:pt idx="842">
                  <c:v>44427</c:v>
                </c:pt>
                <c:pt idx="843">
                  <c:v>44426</c:v>
                </c:pt>
                <c:pt idx="844">
                  <c:v>44425</c:v>
                </c:pt>
                <c:pt idx="845">
                  <c:v>44424</c:v>
                </c:pt>
                <c:pt idx="846">
                  <c:v>44421</c:v>
                </c:pt>
                <c:pt idx="847">
                  <c:v>44420</c:v>
                </c:pt>
                <c:pt idx="848">
                  <c:v>44419</c:v>
                </c:pt>
                <c:pt idx="849">
                  <c:v>44418</c:v>
                </c:pt>
                <c:pt idx="850">
                  <c:v>44417</c:v>
                </c:pt>
                <c:pt idx="851">
                  <c:v>44414</c:v>
                </c:pt>
                <c:pt idx="852">
                  <c:v>44413</c:v>
                </c:pt>
                <c:pt idx="853">
                  <c:v>44412</c:v>
                </c:pt>
                <c:pt idx="854">
                  <c:v>44411</c:v>
                </c:pt>
                <c:pt idx="855">
                  <c:v>44410</c:v>
                </c:pt>
                <c:pt idx="856">
                  <c:v>44407</c:v>
                </c:pt>
                <c:pt idx="857">
                  <c:v>44406</c:v>
                </c:pt>
                <c:pt idx="858">
                  <c:v>44405</c:v>
                </c:pt>
                <c:pt idx="859">
                  <c:v>44404</c:v>
                </c:pt>
                <c:pt idx="860">
                  <c:v>44403</c:v>
                </c:pt>
                <c:pt idx="861">
                  <c:v>44400</c:v>
                </c:pt>
                <c:pt idx="862">
                  <c:v>44399</c:v>
                </c:pt>
                <c:pt idx="863">
                  <c:v>44398</c:v>
                </c:pt>
                <c:pt idx="864">
                  <c:v>44397</c:v>
                </c:pt>
                <c:pt idx="865">
                  <c:v>44396</c:v>
                </c:pt>
                <c:pt idx="866">
                  <c:v>44393</c:v>
                </c:pt>
                <c:pt idx="867">
                  <c:v>44392</c:v>
                </c:pt>
                <c:pt idx="868">
                  <c:v>44391</c:v>
                </c:pt>
                <c:pt idx="869">
                  <c:v>44390</c:v>
                </c:pt>
                <c:pt idx="870">
                  <c:v>44389</c:v>
                </c:pt>
                <c:pt idx="871">
                  <c:v>44386</c:v>
                </c:pt>
                <c:pt idx="872">
                  <c:v>44385</c:v>
                </c:pt>
                <c:pt idx="873">
                  <c:v>44384</c:v>
                </c:pt>
                <c:pt idx="874">
                  <c:v>44383</c:v>
                </c:pt>
                <c:pt idx="875">
                  <c:v>44382</c:v>
                </c:pt>
                <c:pt idx="876">
                  <c:v>44379</c:v>
                </c:pt>
                <c:pt idx="877">
                  <c:v>44378</c:v>
                </c:pt>
                <c:pt idx="878">
                  <c:v>44377</c:v>
                </c:pt>
                <c:pt idx="879">
                  <c:v>44376</c:v>
                </c:pt>
                <c:pt idx="880">
                  <c:v>44375</c:v>
                </c:pt>
                <c:pt idx="881">
                  <c:v>44372</c:v>
                </c:pt>
                <c:pt idx="882">
                  <c:v>44371</c:v>
                </c:pt>
                <c:pt idx="883">
                  <c:v>44370</c:v>
                </c:pt>
                <c:pt idx="884">
                  <c:v>44369</c:v>
                </c:pt>
                <c:pt idx="885">
                  <c:v>44368</c:v>
                </c:pt>
                <c:pt idx="886">
                  <c:v>44365</c:v>
                </c:pt>
                <c:pt idx="887">
                  <c:v>44364</c:v>
                </c:pt>
                <c:pt idx="888">
                  <c:v>44363</c:v>
                </c:pt>
                <c:pt idx="889">
                  <c:v>44362</c:v>
                </c:pt>
                <c:pt idx="890">
                  <c:v>44361</c:v>
                </c:pt>
                <c:pt idx="891">
                  <c:v>44358</c:v>
                </c:pt>
                <c:pt idx="892">
                  <c:v>44357</c:v>
                </c:pt>
                <c:pt idx="893">
                  <c:v>44356</c:v>
                </c:pt>
                <c:pt idx="894">
                  <c:v>44355</c:v>
                </c:pt>
                <c:pt idx="895">
                  <c:v>44354</c:v>
                </c:pt>
                <c:pt idx="896">
                  <c:v>44351</c:v>
                </c:pt>
                <c:pt idx="897">
                  <c:v>44350</c:v>
                </c:pt>
                <c:pt idx="898">
                  <c:v>44349</c:v>
                </c:pt>
                <c:pt idx="899">
                  <c:v>44348</c:v>
                </c:pt>
                <c:pt idx="900">
                  <c:v>44347</c:v>
                </c:pt>
                <c:pt idx="901">
                  <c:v>44344</c:v>
                </c:pt>
                <c:pt idx="902">
                  <c:v>44343</c:v>
                </c:pt>
                <c:pt idx="903">
                  <c:v>44342</c:v>
                </c:pt>
                <c:pt idx="904">
                  <c:v>44341</c:v>
                </c:pt>
                <c:pt idx="905">
                  <c:v>44340</c:v>
                </c:pt>
                <c:pt idx="906">
                  <c:v>44337</c:v>
                </c:pt>
                <c:pt idx="907">
                  <c:v>44336</c:v>
                </c:pt>
                <c:pt idx="908">
                  <c:v>44335</c:v>
                </c:pt>
                <c:pt idx="909">
                  <c:v>44334</c:v>
                </c:pt>
                <c:pt idx="910">
                  <c:v>44333</c:v>
                </c:pt>
                <c:pt idx="911">
                  <c:v>44330</c:v>
                </c:pt>
                <c:pt idx="912">
                  <c:v>44329</c:v>
                </c:pt>
                <c:pt idx="913">
                  <c:v>44328</c:v>
                </c:pt>
                <c:pt idx="914">
                  <c:v>44327</c:v>
                </c:pt>
                <c:pt idx="915">
                  <c:v>44326</c:v>
                </c:pt>
                <c:pt idx="916">
                  <c:v>44323</c:v>
                </c:pt>
                <c:pt idx="917">
                  <c:v>44322</c:v>
                </c:pt>
                <c:pt idx="918">
                  <c:v>44321</c:v>
                </c:pt>
                <c:pt idx="919">
                  <c:v>44320</c:v>
                </c:pt>
                <c:pt idx="920">
                  <c:v>44319</c:v>
                </c:pt>
                <c:pt idx="921">
                  <c:v>44316</c:v>
                </c:pt>
                <c:pt idx="922">
                  <c:v>44315</c:v>
                </c:pt>
                <c:pt idx="923">
                  <c:v>44314</c:v>
                </c:pt>
                <c:pt idx="924">
                  <c:v>44313</c:v>
                </c:pt>
                <c:pt idx="925">
                  <c:v>44312</c:v>
                </c:pt>
                <c:pt idx="926">
                  <c:v>44309</c:v>
                </c:pt>
                <c:pt idx="927">
                  <c:v>44308</c:v>
                </c:pt>
                <c:pt idx="928">
                  <c:v>44307</c:v>
                </c:pt>
                <c:pt idx="929">
                  <c:v>44306</c:v>
                </c:pt>
                <c:pt idx="930">
                  <c:v>44305</c:v>
                </c:pt>
                <c:pt idx="931">
                  <c:v>44302</c:v>
                </c:pt>
                <c:pt idx="932">
                  <c:v>44301</c:v>
                </c:pt>
                <c:pt idx="933">
                  <c:v>44300</c:v>
                </c:pt>
                <c:pt idx="934">
                  <c:v>44299</c:v>
                </c:pt>
                <c:pt idx="935">
                  <c:v>44298</c:v>
                </c:pt>
                <c:pt idx="936">
                  <c:v>44295</c:v>
                </c:pt>
                <c:pt idx="937">
                  <c:v>44294</c:v>
                </c:pt>
                <c:pt idx="938">
                  <c:v>44293</c:v>
                </c:pt>
                <c:pt idx="939">
                  <c:v>44292</c:v>
                </c:pt>
                <c:pt idx="940">
                  <c:v>44291</c:v>
                </c:pt>
                <c:pt idx="941">
                  <c:v>44288</c:v>
                </c:pt>
                <c:pt idx="942">
                  <c:v>44287</c:v>
                </c:pt>
                <c:pt idx="943">
                  <c:v>44286</c:v>
                </c:pt>
                <c:pt idx="944">
                  <c:v>44285</c:v>
                </c:pt>
                <c:pt idx="945">
                  <c:v>44284</c:v>
                </c:pt>
                <c:pt idx="946">
                  <c:v>44281</c:v>
                </c:pt>
                <c:pt idx="947">
                  <c:v>44280</c:v>
                </c:pt>
                <c:pt idx="948">
                  <c:v>44279</c:v>
                </c:pt>
                <c:pt idx="949">
                  <c:v>44278</c:v>
                </c:pt>
                <c:pt idx="950">
                  <c:v>44277</c:v>
                </c:pt>
                <c:pt idx="951">
                  <c:v>44274</c:v>
                </c:pt>
                <c:pt idx="952">
                  <c:v>44273</c:v>
                </c:pt>
                <c:pt idx="953">
                  <c:v>44272</c:v>
                </c:pt>
                <c:pt idx="954">
                  <c:v>44271</c:v>
                </c:pt>
                <c:pt idx="955">
                  <c:v>44270</c:v>
                </c:pt>
                <c:pt idx="956">
                  <c:v>44267</c:v>
                </c:pt>
                <c:pt idx="957">
                  <c:v>44266</c:v>
                </c:pt>
                <c:pt idx="958">
                  <c:v>44265</c:v>
                </c:pt>
                <c:pt idx="959">
                  <c:v>44264</c:v>
                </c:pt>
                <c:pt idx="960">
                  <c:v>44263</c:v>
                </c:pt>
                <c:pt idx="961">
                  <c:v>44260</c:v>
                </c:pt>
                <c:pt idx="962">
                  <c:v>44259</c:v>
                </c:pt>
                <c:pt idx="963">
                  <c:v>44258</c:v>
                </c:pt>
                <c:pt idx="964">
                  <c:v>44257</c:v>
                </c:pt>
                <c:pt idx="965">
                  <c:v>44256</c:v>
                </c:pt>
                <c:pt idx="966">
                  <c:v>44253</c:v>
                </c:pt>
                <c:pt idx="967">
                  <c:v>44252</c:v>
                </c:pt>
                <c:pt idx="968">
                  <c:v>44251</c:v>
                </c:pt>
                <c:pt idx="969">
                  <c:v>44250</c:v>
                </c:pt>
                <c:pt idx="970">
                  <c:v>44249</c:v>
                </c:pt>
                <c:pt idx="971">
                  <c:v>44246</c:v>
                </c:pt>
                <c:pt idx="972">
                  <c:v>44245</c:v>
                </c:pt>
                <c:pt idx="973">
                  <c:v>44244</c:v>
                </c:pt>
                <c:pt idx="974">
                  <c:v>44243</c:v>
                </c:pt>
                <c:pt idx="975">
                  <c:v>44242</c:v>
                </c:pt>
                <c:pt idx="976">
                  <c:v>44239</c:v>
                </c:pt>
                <c:pt idx="977">
                  <c:v>44238</c:v>
                </c:pt>
                <c:pt idx="978">
                  <c:v>44237</c:v>
                </c:pt>
                <c:pt idx="979">
                  <c:v>44236</c:v>
                </c:pt>
                <c:pt idx="980">
                  <c:v>44235</c:v>
                </c:pt>
                <c:pt idx="981">
                  <c:v>44232</c:v>
                </c:pt>
                <c:pt idx="982">
                  <c:v>44231</c:v>
                </c:pt>
                <c:pt idx="983">
                  <c:v>44230</c:v>
                </c:pt>
                <c:pt idx="984">
                  <c:v>44229</c:v>
                </c:pt>
                <c:pt idx="985">
                  <c:v>44228</c:v>
                </c:pt>
                <c:pt idx="986">
                  <c:v>44225</c:v>
                </c:pt>
                <c:pt idx="987">
                  <c:v>44224</c:v>
                </c:pt>
                <c:pt idx="988">
                  <c:v>44223</c:v>
                </c:pt>
                <c:pt idx="989">
                  <c:v>44222</c:v>
                </c:pt>
                <c:pt idx="990">
                  <c:v>44221</c:v>
                </c:pt>
                <c:pt idx="991">
                  <c:v>44218</c:v>
                </c:pt>
                <c:pt idx="992">
                  <c:v>44217</c:v>
                </c:pt>
                <c:pt idx="993">
                  <c:v>44216</c:v>
                </c:pt>
                <c:pt idx="994">
                  <c:v>44215</c:v>
                </c:pt>
                <c:pt idx="995">
                  <c:v>44214</c:v>
                </c:pt>
                <c:pt idx="996">
                  <c:v>44211</c:v>
                </c:pt>
                <c:pt idx="997">
                  <c:v>44210</c:v>
                </c:pt>
                <c:pt idx="998">
                  <c:v>44209</c:v>
                </c:pt>
                <c:pt idx="999">
                  <c:v>44208</c:v>
                </c:pt>
                <c:pt idx="1000">
                  <c:v>44207</c:v>
                </c:pt>
                <c:pt idx="1001">
                  <c:v>44204</c:v>
                </c:pt>
                <c:pt idx="1002">
                  <c:v>44203</c:v>
                </c:pt>
                <c:pt idx="1003">
                  <c:v>44202</c:v>
                </c:pt>
                <c:pt idx="1004">
                  <c:v>44201</c:v>
                </c:pt>
                <c:pt idx="1005">
                  <c:v>44200</c:v>
                </c:pt>
                <c:pt idx="1006">
                  <c:v>44197</c:v>
                </c:pt>
                <c:pt idx="1007">
                  <c:v>44196</c:v>
                </c:pt>
                <c:pt idx="1008">
                  <c:v>44195</c:v>
                </c:pt>
                <c:pt idx="1009">
                  <c:v>44194</c:v>
                </c:pt>
                <c:pt idx="1010">
                  <c:v>44193</c:v>
                </c:pt>
                <c:pt idx="1011">
                  <c:v>44190</c:v>
                </c:pt>
                <c:pt idx="1012">
                  <c:v>44189</c:v>
                </c:pt>
                <c:pt idx="1013">
                  <c:v>44188</c:v>
                </c:pt>
                <c:pt idx="1014">
                  <c:v>44187</c:v>
                </c:pt>
                <c:pt idx="1015">
                  <c:v>44186</c:v>
                </c:pt>
                <c:pt idx="1016">
                  <c:v>44183</c:v>
                </c:pt>
                <c:pt idx="1017">
                  <c:v>44182</c:v>
                </c:pt>
                <c:pt idx="1018">
                  <c:v>44181</c:v>
                </c:pt>
                <c:pt idx="1019">
                  <c:v>44180</c:v>
                </c:pt>
                <c:pt idx="1020">
                  <c:v>44179</c:v>
                </c:pt>
                <c:pt idx="1021">
                  <c:v>44176</c:v>
                </c:pt>
                <c:pt idx="1022">
                  <c:v>44175</c:v>
                </c:pt>
                <c:pt idx="1023">
                  <c:v>44174</c:v>
                </c:pt>
                <c:pt idx="1024">
                  <c:v>44173</c:v>
                </c:pt>
                <c:pt idx="1025">
                  <c:v>44172</c:v>
                </c:pt>
                <c:pt idx="1026">
                  <c:v>44169</c:v>
                </c:pt>
                <c:pt idx="1027">
                  <c:v>44168</c:v>
                </c:pt>
                <c:pt idx="1028">
                  <c:v>44167</c:v>
                </c:pt>
                <c:pt idx="1029">
                  <c:v>44166</c:v>
                </c:pt>
                <c:pt idx="1030">
                  <c:v>44165</c:v>
                </c:pt>
                <c:pt idx="1031">
                  <c:v>44162</c:v>
                </c:pt>
                <c:pt idx="1032">
                  <c:v>44161</c:v>
                </c:pt>
                <c:pt idx="1033">
                  <c:v>44160</c:v>
                </c:pt>
                <c:pt idx="1034">
                  <c:v>44159</c:v>
                </c:pt>
                <c:pt idx="1035">
                  <c:v>44158</c:v>
                </c:pt>
                <c:pt idx="1036">
                  <c:v>44155</c:v>
                </c:pt>
                <c:pt idx="1037">
                  <c:v>44154</c:v>
                </c:pt>
                <c:pt idx="1038">
                  <c:v>44153</c:v>
                </c:pt>
                <c:pt idx="1039">
                  <c:v>44152</c:v>
                </c:pt>
                <c:pt idx="1040">
                  <c:v>44151</c:v>
                </c:pt>
                <c:pt idx="1041">
                  <c:v>44148</c:v>
                </c:pt>
                <c:pt idx="1042">
                  <c:v>44147</c:v>
                </c:pt>
                <c:pt idx="1043">
                  <c:v>44146</c:v>
                </c:pt>
                <c:pt idx="1044">
                  <c:v>44145</c:v>
                </c:pt>
                <c:pt idx="1045">
                  <c:v>44144</c:v>
                </c:pt>
                <c:pt idx="1046">
                  <c:v>44141</c:v>
                </c:pt>
                <c:pt idx="1047">
                  <c:v>44140</c:v>
                </c:pt>
                <c:pt idx="1048">
                  <c:v>44139</c:v>
                </c:pt>
                <c:pt idx="1049">
                  <c:v>44138</c:v>
                </c:pt>
                <c:pt idx="1050">
                  <c:v>44137</c:v>
                </c:pt>
                <c:pt idx="1051">
                  <c:v>44134</c:v>
                </c:pt>
                <c:pt idx="1052">
                  <c:v>44133</c:v>
                </c:pt>
                <c:pt idx="1053">
                  <c:v>44132</c:v>
                </c:pt>
                <c:pt idx="1054">
                  <c:v>44131</c:v>
                </c:pt>
                <c:pt idx="1055">
                  <c:v>44130</c:v>
                </c:pt>
                <c:pt idx="1056">
                  <c:v>44127</c:v>
                </c:pt>
                <c:pt idx="1057">
                  <c:v>44126</c:v>
                </c:pt>
                <c:pt idx="1058">
                  <c:v>44125</c:v>
                </c:pt>
                <c:pt idx="1059">
                  <c:v>44124</c:v>
                </c:pt>
                <c:pt idx="1060">
                  <c:v>44123</c:v>
                </c:pt>
                <c:pt idx="1061">
                  <c:v>44120</c:v>
                </c:pt>
                <c:pt idx="1062">
                  <c:v>44119</c:v>
                </c:pt>
                <c:pt idx="1063">
                  <c:v>44118</c:v>
                </c:pt>
                <c:pt idx="1064">
                  <c:v>44117</c:v>
                </c:pt>
                <c:pt idx="1065">
                  <c:v>44116</c:v>
                </c:pt>
                <c:pt idx="1066">
                  <c:v>44113</c:v>
                </c:pt>
                <c:pt idx="1067">
                  <c:v>44112</c:v>
                </c:pt>
                <c:pt idx="1068">
                  <c:v>44111</c:v>
                </c:pt>
                <c:pt idx="1069">
                  <c:v>44110</c:v>
                </c:pt>
                <c:pt idx="1070">
                  <c:v>44109</c:v>
                </c:pt>
                <c:pt idx="1071">
                  <c:v>44106</c:v>
                </c:pt>
                <c:pt idx="1072">
                  <c:v>44105</c:v>
                </c:pt>
                <c:pt idx="1073">
                  <c:v>44104</c:v>
                </c:pt>
                <c:pt idx="1074">
                  <c:v>44103</c:v>
                </c:pt>
                <c:pt idx="1075">
                  <c:v>44102</c:v>
                </c:pt>
                <c:pt idx="1076">
                  <c:v>44099</c:v>
                </c:pt>
                <c:pt idx="1077">
                  <c:v>44098</c:v>
                </c:pt>
                <c:pt idx="1078">
                  <c:v>44097</c:v>
                </c:pt>
                <c:pt idx="1079">
                  <c:v>44096</c:v>
                </c:pt>
                <c:pt idx="1080">
                  <c:v>44095</c:v>
                </c:pt>
                <c:pt idx="1081">
                  <c:v>44092</c:v>
                </c:pt>
                <c:pt idx="1082">
                  <c:v>44091</c:v>
                </c:pt>
                <c:pt idx="1083">
                  <c:v>44090</c:v>
                </c:pt>
                <c:pt idx="1084">
                  <c:v>44089</c:v>
                </c:pt>
                <c:pt idx="1085">
                  <c:v>44088</c:v>
                </c:pt>
                <c:pt idx="1086">
                  <c:v>44085</c:v>
                </c:pt>
                <c:pt idx="1087">
                  <c:v>44084</c:v>
                </c:pt>
                <c:pt idx="1088">
                  <c:v>44083</c:v>
                </c:pt>
                <c:pt idx="1089">
                  <c:v>44082</c:v>
                </c:pt>
                <c:pt idx="1090">
                  <c:v>44081</c:v>
                </c:pt>
                <c:pt idx="1091">
                  <c:v>44078</c:v>
                </c:pt>
                <c:pt idx="1092">
                  <c:v>44077</c:v>
                </c:pt>
                <c:pt idx="1093">
                  <c:v>44076</c:v>
                </c:pt>
                <c:pt idx="1094">
                  <c:v>44075</c:v>
                </c:pt>
                <c:pt idx="1095">
                  <c:v>44074</c:v>
                </c:pt>
                <c:pt idx="1096">
                  <c:v>44071</c:v>
                </c:pt>
                <c:pt idx="1097">
                  <c:v>44070</c:v>
                </c:pt>
                <c:pt idx="1098">
                  <c:v>44069</c:v>
                </c:pt>
                <c:pt idx="1099">
                  <c:v>44068</c:v>
                </c:pt>
                <c:pt idx="1100">
                  <c:v>44067</c:v>
                </c:pt>
                <c:pt idx="1101">
                  <c:v>44064</c:v>
                </c:pt>
                <c:pt idx="1102">
                  <c:v>44063</c:v>
                </c:pt>
                <c:pt idx="1103">
                  <c:v>44062</c:v>
                </c:pt>
                <c:pt idx="1104">
                  <c:v>44061</c:v>
                </c:pt>
                <c:pt idx="1105">
                  <c:v>44060</c:v>
                </c:pt>
                <c:pt idx="1106">
                  <c:v>44057</c:v>
                </c:pt>
                <c:pt idx="1107">
                  <c:v>44056</c:v>
                </c:pt>
                <c:pt idx="1108">
                  <c:v>44055</c:v>
                </c:pt>
                <c:pt idx="1109">
                  <c:v>44054</c:v>
                </c:pt>
                <c:pt idx="1110">
                  <c:v>44053</c:v>
                </c:pt>
                <c:pt idx="1111">
                  <c:v>44050</c:v>
                </c:pt>
                <c:pt idx="1112">
                  <c:v>44049</c:v>
                </c:pt>
                <c:pt idx="1113">
                  <c:v>44048</c:v>
                </c:pt>
                <c:pt idx="1114">
                  <c:v>44047</c:v>
                </c:pt>
                <c:pt idx="1115">
                  <c:v>44046</c:v>
                </c:pt>
                <c:pt idx="1116">
                  <c:v>44043</c:v>
                </c:pt>
                <c:pt idx="1117">
                  <c:v>44042</c:v>
                </c:pt>
                <c:pt idx="1118">
                  <c:v>44041</c:v>
                </c:pt>
                <c:pt idx="1119">
                  <c:v>44040</c:v>
                </c:pt>
                <c:pt idx="1120">
                  <c:v>44039</c:v>
                </c:pt>
                <c:pt idx="1121">
                  <c:v>44036</c:v>
                </c:pt>
                <c:pt idx="1122">
                  <c:v>44035</c:v>
                </c:pt>
                <c:pt idx="1123">
                  <c:v>44034</c:v>
                </c:pt>
                <c:pt idx="1124">
                  <c:v>44033</c:v>
                </c:pt>
                <c:pt idx="1125">
                  <c:v>44032</c:v>
                </c:pt>
                <c:pt idx="1126">
                  <c:v>44029</c:v>
                </c:pt>
                <c:pt idx="1127">
                  <c:v>44028</c:v>
                </c:pt>
                <c:pt idx="1128">
                  <c:v>44027</c:v>
                </c:pt>
                <c:pt idx="1129">
                  <c:v>44026</c:v>
                </c:pt>
                <c:pt idx="1130">
                  <c:v>44025</c:v>
                </c:pt>
                <c:pt idx="1131">
                  <c:v>44022</c:v>
                </c:pt>
                <c:pt idx="1132">
                  <c:v>44021</c:v>
                </c:pt>
                <c:pt idx="1133">
                  <c:v>44020</c:v>
                </c:pt>
                <c:pt idx="1134">
                  <c:v>44019</c:v>
                </c:pt>
                <c:pt idx="1135">
                  <c:v>44018</c:v>
                </c:pt>
                <c:pt idx="1136">
                  <c:v>44015</c:v>
                </c:pt>
                <c:pt idx="1137">
                  <c:v>44014</c:v>
                </c:pt>
                <c:pt idx="1138">
                  <c:v>44013</c:v>
                </c:pt>
                <c:pt idx="1139">
                  <c:v>44012</c:v>
                </c:pt>
                <c:pt idx="1140">
                  <c:v>44011</c:v>
                </c:pt>
                <c:pt idx="1141">
                  <c:v>44008</c:v>
                </c:pt>
                <c:pt idx="1142">
                  <c:v>44007</c:v>
                </c:pt>
                <c:pt idx="1143">
                  <c:v>44006</c:v>
                </c:pt>
                <c:pt idx="1144">
                  <c:v>44005</c:v>
                </c:pt>
                <c:pt idx="1145">
                  <c:v>44004</c:v>
                </c:pt>
                <c:pt idx="1146">
                  <c:v>44001</c:v>
                </c:pt>
                <c:pt idx="1147">
                  <c:v>44000</c:v>
                </c:pt>
                <c:pt idx="1148">
                  <c:v>43999</c:v>
                </c:pt>
                <c:pt idx="1149">
                  <c:v>43998</c:v>
                </c:pt>
                <c:pt idx="1150">
                  <c:v>43997</c:v>
                </c:pt>
                <c:pt idx="1151">
                  <c:v>43994</c:v>
                </c:pt>
                <c:pt idx="1152">
                  <c:v>43993</c:v>
                </c:pt>
                <c:pt idx="1153">
                  <c:v>43992</c:v>
                </c:pt>
                <c:pt idx="1154">
                  <c:v>43991</c:v>
                </c:pt>
                <c:pt idx="1155">
                  <c:v>43990</c:v>
                </c:pt>
                <c:pt idx="1156">
                  <c:v>43987</c:v>
                </c:pt>
                <c:pt idx="1157">
                  <c:v>43986</c:v>
                </c:pt>
                <c:pt idx="1158">
                  <c:v>43985</c:v>
                </c:pt>
                <c:pt idx="1159">
                  <c:v>43984</c:v>
                </c:pt>
                <c:pt idx="1160">
                  <c:v>43983</c:v>
                </c:pt>
                <c:pt idx="1161">
                  <c:v>43980</c:v>
                </c:pt>
                <c:pt idx="1162">
                  <c:v>43979</c:v>
                </c:pt>
                <c:pt idx="1163">
                  <c:v>43978</c:v>
                </c:pt>
                <c:pt idx="1164">
                  <c:v>43977</c:v>
                </c:pt>
                <c:pt idx="1165">
                  <c:v>43976</c:v>
                </c:pt>
                <c:pt idx="1166">
                  <c:v>43973</c:v>
                </c:pt>
                <c:pt idx="1167">
                  <c:v>43972</c:v>
                </c:pt>
                <c:pt idx="1168">
                  <c:v>43971</c:v>
                </c:pt>
                <c:pt idx="1169">
                  <c:v>43970</c:v>
                </c:pt>
                <c:pt idx="1170">
                  <c:v>43969</c:v>
                </c:pt>
                <c:pt idx="1171">
                  <c:v>43966</c:v>
                </c:pt>
                <c:pt idx="1172">
                  <c:v>43965</c:v>
                </c:pt>
                <c:pt idx="1173">
                  <c:v>43964</c:v>
                </c:pt>
                <c:pt idx="1174">
                  <c:v>43963</c:v>
                </c:pt>
                <c:pt idx="1175">
                  <c:v>43962</c:v>
                </c:pt>
                <c:pt idx="1176">
                  <c:v>43959</c:v>
                </c:pt>
                <c:pt idx="1177">
                  <c:v>43958</c:v>
                </c:pt>
                <c:pt idx="1178">
                  <c:v>43957</c:v>
                </c:pt>
                <c:pt idx="1179">
                  <c:v>43956</c:v>
                </c:pt>
                <c:pt idx="1180">
                  <c:v>43955</c:v>
                </c:pt>
                <c:pt idx="1181">
                  <c:v>43952</c:v>
                </c:pt>
                <c:pt idx="1182">
                  <c:v>43951</c:v>
                </c:pt>
                <c:pt idx="1183">
                  <c:v>43950</c:v>
                </c:pt>
                <c:pt idx="1184">
                  <c:v>43949</c:v>
                </c:pt>
                <c:pt idx="1185">
                  <c:v>43948</c:v>
                </c:pt>
                <c:pt idx="1186">
                  <c:v>43945</c:v>
                </c:pt>
                <c:pt idx="1187">
                  <c:v>43944</c:v>
                </c:pt>
                <c:pt idx="1188">
                  <c:v>43943</c:v>
                </c:pt>
                <c:pt idx="1189">
                  <c:v>43942</c:v>
                </c:pt>
                <c:pt idx="1190">
                  <c:v>43941</c:v>
                </c:pt>
                <c:pt idx="1191">
                  <c:v>43938</c:v>
                </c:pt>
                <c:pt idx="1192">
                  <c:v>43937</c:v>
                </c:pt>
                <c:pt idx="1193">
                  <c:v>43936</c:v>
                </c:pt>
                <c:pt idx="1194">
                  <c:v>43935</c:v>
                </c:pt>
                <c:pt idx="1195">
                  <c:v>43934</c:v>
                </c:pt>
                <c:pt idx="1196">
                  <c:v>43931</c:v>
                </c:pt>
                <c:pt idx="1197">
                  <c:v>43930</c:v>
                </c:pt>
                <c:pt idx="1198">
                  <c:v>43929</c:v>
                </c:pt>
                <c:pt idx="1199">
                  <c:v>43928</c:v>
                </c:pt>
                <c:pt idx="1200">
                  <c:v>43927</c:v>
                </c:pt>
                <c:pt idx="1201">
                  <c:v>43924</c:v>
                </c:pt>
                <c:pt idx="1202">
                  <c:v>43923</c:v>
                </c:pt>
                <c:pt idx="1203">
                  <c:v>43922</c:v>
                </c:pt>
                <c:pt idx="1204">
                  <c:v>43921</c:v>
                </c:pt>
                <c:pt idx="1205">
                  <c:v>43920</c:v>
                </c:pt>
                <c:pt idx="1206">
                  <c:v>43917</c:v>
                </c:pt>
                <c:pt idx="1207">
                  <c:v>43916</c:v>
                </c:pt>
                <c:pt idx="1208">
                  <c:v>43915</c:v>
                </c:pt>
                <c:pt idx="1209">
                  <c:v>43914</c:v>
                </c:pt>
                <c:pt idx="1210">
                  <c:v>43913</c:v>
                </c:pt>
                <c:pt idx="1211">
                  <c:v>43910</c:v>
                </c:pt>
                <c:pt idx="1212">
                  <c:v>43909</c:v>
                </c:pt>
                <c:pt idx="1213">
                  <c:v>43908</c:v>
                </c:pt>
                <c:pt idx="1214">
                  <c:v>43907</c:v>
                </c:pt>
                <c:pt idx="1215">
                  <c:v>43906</c:v>
                </c:pt>
                <c:pt idx="1216">
                  <c:v>43903</c:v>
                </c:pt>
                <c:pt idx="1217">
                  <c:v>43902</c:v>
                </c:pt>
                <c:pt idx="1218">
                  <c:v>43901</c:v>
                </c:pt>
                <c:pt idx="1219">
                  <c:v>43900</c:v>
                </c:pt>
                <c:pt idx="1220">
                  <c:v>43899</c:v>
                </c:pt>
                <c:pt idx="1221">
                  <c:v>43896</c:v>
                </c:pt>
                <c:pt idx="1222">
                  <c:v>43895</c:v>
                </c:pt>
                <c:pt idx="1223">
                  <c:v>43894</c:v>
                </c:pt>
                <c:pt idx="1224">
                  <c:v>43893</c:v>
                </c:pt>
                <c:pt idx="1225">
                  <c:v>43892</c:v>
                </c:pt>
                <c:pt idx="1226">
                  <c:v>43889</c:v>
                </c:pt>
                <c:pt idx="1227">
                  <c:v>43888</c:v>
                </c:pt>
                <c:pt idx="1228">
                  <c:v>43887</c:v>
                </c:pt>
                <c:pt idx="1229">
                  <c:v>43886</c:v>
                </c:pt>
                <c:pt idx="1230">
                  <c:v>43885</c:v>
                </c:pt>
                <c:pt idx="1231">
                  <c:v>43882</c:v>
                </c:pt>
                <c:pt idx="1232">
                  <c:v>43881</c:v>
                </c:pt>
                <c:pt idx="1233">
                  <c:v>43880</c:v>
                </c:pt>
                <c:pt idx="1234">
                  <c:v>43879</c:v>
                </c:pt>
                <c:pt idx="1235">
                  <c:v>43878</c:v>
                </c:pt>
                <c:pt idx="1236">
                  <c:v>43875</c:v>
                </c:pt>
                <c:pt idx="1237">
                  <c:v>43874</c:v>
                </c:pt>
                <c:pt idx="1238">
                  <c:v>43873</c:v>
                </c:pt>
                <c:pt idx="1239">
                  <c:v>43872</c:v>
                </c:pt>
                <c:pt idx="1240">
                  <c:v>43871</c:v>
                </c:pt>
                <c:pt idx="1241">
                  <c:v>43868</c:v>
                </c:pt>
                <c:pt idx="1242">
                  <c:v>43867</c:v>
                </c:pt>
                <c:pt idx="1243">
                  <c:v>43866</c:v>
                </c:pt>
                <c:pt idx="1244">
                  <c:v>43865</c:v>
                </c:pt>
                <c:pt idx="1245">
                  <c:v>43864</c:v>
                </c:pt>
                <c:pt idx="1246">
                  <c:v>43861</c:v>
                </c:pt>
                <c:pt idx="1247">
                  <c:v>43860</c:v>
                </c:pt>
                <c:pt idx="1248">
                  <c:v>43859</c:v>
                </c:pt>
                <c:pt idx="1249">
                  <c:v>43858</c:v>
                </c:pt>
                <c:pt idx="1250">
                  <c:v>43857</c:v>
                </c:pt>
                <c:pt idx="1251">
                  <c:v>43854</c:v>
                </c:pt>
                <c:pt idx="1252">
                  <c:v>43853</c:v>
                </c:pt>
                <c:pt idx="1253">
                  <c:v>43852</c:v>
                </c:pt>
                <c:pt idx="1254">
                  <c:v>43851</c:v>
                </c:pt>
                <c:pt idx="1255">
                  <c:v>43850</c:v>
                </c:pt>
                <c:pt idx="1256">
                  <c:v>43847</c:v>
                </c:pt>
                <c:pt idx="1257">
                  <c:v>43846</c:v>
                </c:pt>
                <c:pt idx="1258">
                  <c:v>43845</c:v>
                </c:pt>
                <c:pt idx="1259">
                  <c:v>43844</c:v>
                </c:pt>
                <c:pt idx="1260">
                  <c:v>43843</c:v>
                </c:pt>
                <c:pt idx="1261">
                  <c:v>43840</c:v>
                </c:pt>
                <c:pt idx="1262">
                  <c:v>43839</c:v>
                </c:pt>
                <c:pt idx="1263">
                  <c:v>43838</c:v>
                </c:pt>
                <c:pt idx="1264">
                  <c:v>43837</c:v>
                </c:pt>
                <c:pt idx="1265">
                  <c:v>43836</c:v>
                </c:pt>
                <c:pt idx="1266">
                  <c:v>43833</c:v>
                </c:pt>
                <c:pt idx="1267">
                  <c:v>43832</c:v>
                </c:pt>
                <c:pt idx="1268">
                  <c:v>43831</c:v>
                </c:pt>
                <c:pt idx="1269">
                  <c:v>43830</c:v>
                </c:pt>
                <c:pt idx="1270">
                  <c:v>43829</c:v>
                </c:pt>
                <c:pt idx="1271">
                  <c:v>43826</c:v>
                </c:pt>
                <c:pt idx="1272">
                  <c:v>43825</c:v>
                </c:pt>
                <c:pt idx="1273">
                  <c:v>43824</c:v>
                </c:pt>
                <c:pt idx="1274">
                  <c:v>43823</c:v>
                </c:pt>
                <c:pt idx="1275">
                  <c:v>43822</c:v>
                </c:pt>
                <c:pt idx="1276">
                  <c:v>43819</c:v>
                </c:pt>
                <c:pt idx="1277">
                  <c:v>43818</c:v>
                </c:pt>
                <c:pt idx="1278">
                  <c:v>43817</c:v>
                </c:pt>
                <c:pt idx="1279">
                  <c:v>43816</c:v>
                </c:pt>
                <c:pt idx="1280">
                  <c:v>43815</c:v>
                </c:pt>
                <c:pt idx="1281">
                  <c:v>43812</c:v>
                </c:pt>
                <c:pt idx="1282">
                  <c:v>43811</c:v>
                </c:pt>
                <c:pt idx="1283">
                  <c:v>43810</c:v>
                </c:pt>
                <c:pt idx="1284">
                  <c:v>43809</c:v>
                </c:pt>
                <c:pt idx="1285">
                  <c:v>43808</c:v>
                </c:pt>
                <c:pt idx="1286">
                  <c:v>43805</c:v>
                </c:pt>
                <c:pt idx="1287">
                  <c:v>43804</c:v>
                </c:pt>
                <c:pt idx="1288">
                  <c:v>43803</c:v>
                </c:pt>
                <c:pt idx="1289">
                  <c:v>43802</c:v>
                </c:pt>
                <c:pt idx="1290">
                  <c:v>43801</c:v>
                </c:pt>
                <c:pt idx="1291">
                  <c:v>43798</c:v>
                </c:pt>
                <c:pt idx="1292">
                  <c:v>43797</c:v>
                </c:pt>
                <c:pt idx="1293">
                  <c:v>43796</c:v>
                </c:pt>
                <c:pt idx="1294">
                  <c:v>43795</c:v>
                </c:pt>
                <c:pt idx="1295">
                  <c:v>43794</c:v>
                </c:pt>
                <c:pt idx="1296">
                  <c:v>43791</c:v>
                </c:pt>
                <c:pt idx="1297">
                  <c:v>43790</c:v>
                </c:pt>
                <c:pt idx="1298">
                  <c:v>43789</c:v>
                </c:pt>
                <c:pt idx="1299">
                  <c:v>43788</c:v>
                </c:pt>
                <c:pt idx="1300">
                  <c:v>43787</c:v>
                </c:pt>
                <c:pt idx="1301">
                  <c:v>43784</c:v>
                </c:pt>
                <c:pt idx="1302">
                  <c:v>43783</c:v>
                </c:pt>
                <c:pt idx="1303">
                  <c:v>43782</c:v>
                </c:pt>
                <c:pt idx="1304">
                  <c:v>43781</c:v>
                </c:pt>
                <c:pt idx="1305">
                  <c:v>43780</c:v>
                </c:pt>
                <c:pt idx="1306">
                  <c:v>43777</c:v>
                </c:pt>
                <c:pt idx="1307">
                  <c:v>43776</c:v>
                </c:pt>
                <c:pt idx="1308">
                  <c:v>43775</c:v>
                </c:pt>
                <c:pt idx="1309">
                  <c:v>43774</c:v>
                </c:pt>
                <c:pt idx="1310">
                  <c:v>43773</c:v>
                </c:pt>
                <c:pt idx="1311">
                  <c:v>43770</c:v>
                </c:pt>
                <c:pt idx="1312">
                  <c:v>43769</c:v>
                </c:pt>
                <c:pt idx="1313">
                  <c:v>43768</c:v>
                </c:pt>
                <c:pt idx="1314">
                  <c:v>43767</c:v>
                </c:pt>
                <c:pt idx="1315">
                  <c:v>43766</c:v>
                </c:pt>
                <c:pt idx="1316">
                  <c:v>43763</c:v>
                </c:pt>
                <c:pt idx="1317">
                  <c:v>43762</c:v>
                </c:pt>
                <c:pt idx="1318">
                  <c:v>43761</c:v>
                </c:pt>
                <c:pt idx="1319">
                  <c:v>43760</c:v>
                </c:pt>
                <c:pt idx="1320">
                  <c:v>43759</c:v>
                </c:pt>
                <c:pt idx="1321">
                  <c:v>43756</c:v>
                </c:pt>
                <c:pt idx="1322">
                  <c:v>43755</c:v>
                </c:pt>
                <c:pt idx="1323">
                  <c:v>43754</c:v>
                </c:pt>
                <c:pt idx="1324">
                  <c:v>43753</c:v>
                </c:pt>
                <c:pt idx="1325">
                  <c:v>43752</c:v>
                </c:pt>
                <c:pt idx="1326">
                  <c:v>43749</c:v>
                </c:pt>
                <c:pt idx="1327">
                  <c:v>43748</c:v>
                </c:pt>
                <c:pt idx="1328">
                  <c:v>43747</c:v>
                </c:pt>
                <c:pt idx="1329">
                  <c:v>43746</c:v>
                </c:pt>
                <c:pt idx="1330">
                  <c:v>43745</c:v>
                </c:pt>
                <c:pt idx="1331">
                  <c:v>43742</c:v>
                </c:pt>
                <c:pt idx="1332">
                  <c:v>43741</c:v>
                </c:pt>
                <c:pt idx="1333">
                  <c:v>43740</c:v>
                </c:pt>
                <c:pt idx="1334">
                  <c:v>43739</c:v>
                </c:pt>
                <c:pt idx="1335">
                  <c:v>43738</c:v>
                </c:pt>
                <c:pt idx="1336">
                  <c:v>43735</c:v>
                </c:pt>
                <c:pt idx="1337">
                  <c:v>43734</c:v>
                </c:pt>
                <c:pt idx="1338">
                  <c:v>43733</c:v>
                </c:pt>
                <c:pt idx="1339">
                  <c:v>43732</c:v>
                </c:pt>
                <c:pt idx="1340">
                  <c:v>43731</c:v>
                </c:pt>
                <c:pt idx="1341">
                  <c:v>43728</c:v>
                </c:pt>
                <c:pt idx="1342">
                  <c:v>43727</c:v>
                </c:pt>
                <c:pt idx="1343">
                  <c:v>43726</c:v>
                </c:pt>
                <c:pt idx="1344">
                  <c:v>43725</c:v>
                </c:pt>
                <c:pt idx="1345">
                  <c:v>43724</c:v>
                </c:pt>
                <c:pt idx="1346">
                  <c:v>43721</c:v>
                </c:pt>
                <c:pt idx="1347">
                  <c:v>43720</c:v>
                </c:pt>
                <c:pt idx="1348">
                  <c:v>43719</c:v>
                </c:pt>
                <c:pt idx="1349">
                  <c:v>43718</c:v>
                </c:pt>
                <c:pt idx="1350">
                  <c:v>43717</c:v>
                </c:pt>
                <c:pt idx="1351">
                  <c:v>43714</c:v>
                </c:pt>
                <c:pt idx="1352">
                  <c:v>43713</c:v>
                </c:pt>
                <c:pt idx="1353">
                  <c:v>43712</c:v>
                </c:pt>
                <c:pt idx="1354">
                  <c:v>43711</c:v>
                </c:pt>
                <c:pt idx="1355">
                  <c:v>43710</c:v>
                </c:pt>
                <c:pt idx="1356">
                  <c:v>43707</c:v>
                </c:pt>
                <c:pt idx="1357">
                  <c:v>43706</c:v>
                </c:pt>
                <c:pt idx="1358">
                  <c:v>43705</c:v>
                </c:pt>
                <c:pt idx="1359">
                  <c:v>43704</c:v>
                </c:pt>
                <c:pt idx="1360">
                  <c:v>43703</c:v>
                </c:pt>
                <c:pt idx="1361">
                  <c:v>43700</c:v>
                </c:pt>
                <c:pt idx="1362">
                  <c:v>43699</c:v>
                </c:pt>
                <c:pt idx="1363">
                  <c:v>43698</c:v>
                </c:pt>
                <c:pt idx="1364">
                  <c:v>43697</c:v>
                </c:pt>
                <c:pt idx="1365">
                  <c:v>43696</c:v>
                </c:pt>
                <c:pt idx="1366">
                  <c:v>43693</c:v>
                </c:pt>
                <c:pt idx="1367">
                  <c:v>43692</c:v>
                </c:pt>
                <c:pt idx="1368">
                  <c:v>43691</c:v>
                </c:pt>
                <c:pt idx="1369">
                  <c:v>43690</c:v>
                </c:pt>
                <c:pt idx="1370">
                  <c:v>43689</c:v>
                </c:pt>
                <c:pt idx="1371">
                  <c:v>43686</c:v>
                </c:pt>
                <c:pt idx="1372">
                  <c:v>43685</c:v>
                </c:pt>
                <c:pt idx="1373">
                  <c:v>43684</c:v>
                </c:pt>
                <c:pt idx="1374">
                  <c:v>43683</c:v>
                </c:pt>
                <c:pt idx="1375">
                  <c:v>43682</c:v>
                </c:pt>
                <c:pt idx="1376">
                  <c:v>43679</c:v>
                </c:pt>
                <c:pt idx="1377">
                  <c:v>43678</c:v>
                </c:pt>
                <c:pt idx="1378">
                  <c:v>43677</c:v>
                </c:pt>
                <c:pt idx="1379">
                  <c:v>43676</c:v>
                </c:pt>
                <c:pt idx="1380">
                  <c:v>43675</c:v>
                </c:pt>
                <c:pt idx="1381">
                  <c:v>43672</c:v>
                </c:pt>
                <c:pt idx="1382">
                  <c:v>43671</c:v>
                </c:pt>
                <c:pt idx="1383">
                  <c:v>43670</c:v>
                </c:pt>
                <c:pt idx="1384">
                  <c:v>43669</c:v>
                </c:pt>
                <c:pt idx="1385">
                  <c:v>43668</c:v>
                </c:pt>
                <c:pt idx="1386">
                  <c:v>43665</c:v>
                </c:pt>
                <c:pt idx="1387">
                  <c:v>43664</c:v>
                </c:pt>
                <c:pt idx="1388">
                  <c:v>43663</c:v>
                </c:pt>
                <c:pt idx="1389">
                  <c:v>43662</c:v>
                </c:pt>
                <c:pt idx="1390">
                  <c:v>43661</c:v>
                </c:pt>
                <c:pt idx="1391">
                  <c:v>43658</c:v>
                </c:pt>
                <c:pt idx="1392">
                  <c:v>43657</c:v>
                </c:pt>
                <c:pt idx="1393">
                  <c:v>43656</c:v>
                </c:pt>
                <c:pt idx="1394">
                  <c:v>43655</c:v>
                </c:pt>
                <c:pt idx="1395">
                  <c:v>43654</c:v>
                </c:pt>
                <c:pt idx="1396">
                  <c:v>43651</c:v>
                </c:pt>
                <c:pt idx="1397">
                  <c:v>43650</c:v>
                </c:pt>
                <c:pt idx="1398">
                  <c:v>43649</c:v>
                </c:pt>
                <c:pt idx="1399">
                  <c:v>43648</c:v>
                </c:pt>
                <c:pt idx="1400">
                  <c:v>43647</c:v>
                </c:pt>
                <c:pt idx="1401">
                  <c:v>43644</c:v>
                </c:pt>
                <c:pt idx="1402">
                  <c:v>43643</c:v>
                </c:pt>
                <c:pt idx="1403">
                  <c:v>43642</c:v>
                </c:pt>
                <c:pt idx="1404">
                  <c:v>43641</c:v>
                </c:pt>
                <c:pt idx="1405">
                  <c:v>43640</c:v>
                </c:pt>
                <c:pt idx="1406">
                  <c:v>43637</c:v>
                </c:pt>
                <c:pt idx="1407">
                  <c:v>43636</c:v>
                </c:pt>
                <c:pt idx="1408">
                  <c:v>43635</c:v>
                </c:pt>
                <c:pt idx="1409">
                  <c:v>43634</c:v>
                </c:pt>
                <c:pt idx="1410">
                  <c:v>43633</c:v>
                </c:pt>
                <c:pt idx="1411">
                  <c:v>43630</c:v>
                </c:pt>
                <c:pt idx="1412">
                  <c:v>43629</c:v>
                </c:pt>
                <c:pt idx="1413">
                  <c:v>43628</c:v>
                </c:pt>
                <c:pt idx="1414">
                  <c:v>43627</c:v>
                </c:pt>
                <c:pt idx="1415">
                  <c:v>43626</c:v>
                </c:pt>
                <c:pt idx="1416">
                  <c:v>43623</c:v>
                </c:pt>
                <c:pt idx="1417">
                  <c:v>43622</c:v>
                </c:pt>
                <c:pt idx="1418">
                  <c:v>43621</c:v>
                </c:pt>
                <c:pt idx="1419">
                  <c:v>43620</c:v>
                </c:pt>
                <c:pt idx="1420">
                  <c:v>43619</c:v>
                </c:pt>
                <c:pt idx="1421">
                  <c:v>43616</c:v>
                </c:pt>
                <c:pt idx="1422">
                  <c:v>43615</c:v>
                </c:pt>
                <c:pt idx="1423">
                  <c:v>43614</c:v>
                </c:pt>
                <c:pt idx="1424">
                  <c:v>43613</c:v>
                </c:pt>
                <c:pt idx="1425">
                  <c:v>43612</c:v>
                </c:pt>
                <c:pt idx="1426">
                  <c:v>43609</c:v>
                </c:pt>
                <c:pt idx="1427">
                  <c:v>43608</c:v>
                </c:pt>
                <c:pt idx="1428">
                  <c:v>43607</c:v>
                </c:pt>
                <c:pt idx="1429">
                  <c:v>43606</c:v>
                </c:pt>
                <c:pt idx="1430">
                  <c:v>43605</c:v>
                </c:pt>
                <c:pt idx="1431">
                  <c:v>43602</c:v>
                </c:pt>
                <c:pt idx="1432">
                  <c:v>43601</c:v>
                </c:pt>
                <c:pt idx="1433">
                  <c:v>43600</c:v>
                </c:pt>
                <c:pt idx="1434">
                  <c:v>43599</c:v>
                </c:pt>
                <c:pt idx="1435">
                  <c:v>43598</c:v>
                </c:pt>
                <c:pt idx="1436">
                  <c:v>43595</c:v>
                </c:pt>
                <c:pt idx="1437">
                  <c:v>43594</c:v>
                </c:pt>
                <c:pt idx="1438">
                  <c:v>43593</c:v>
                </c:pt>
                <c:pt idx="1439">
                  <c:v>43592</c:v>
                </c:pt>
                <c:pt idx="1440">
                  <c:v>43591</c:v>
                </c:pt>
                <c:pt idx="1441">
                  <c:v>43588</c:v>
                </c:pt>
                <c:pt idx="1442">
                  <c:v>43587</c:v>
                </c:pt>
                <c:pt idx="1443">
                  <c:v>43586</c:v>
                </c:pt>
                <c:pt idx="1444">
                  <c:v>43585</c:v>
                </c:pt>
                <c:pt idx="1445">
                  <c:v>43584</c:v>
                </c:pt>
                <c:pt idx="1446">
                  <c:v>43581</c:v>
                </c:pt>
                <c:pt idx="1447">
                  <c:v>43580</c:v>
                </c:pt>
                <c:pt idx="1448">
                  <c:v>43579</c:v>
                </c:pt>
                <c:pt idx="1449">
                  <c:v>43578</c:v>
                </c:pt>
                <c:pt idx="1450">
                  <c:v>43577</c:v>
                </c:pt>
                <c:pt idx="1451">
                  <c:v>43574</c:v>
                </c:pt>
                <c:pt idx="1452">
                  <c:v>43573</c:v>
                </c:pt>
                <c:pt idx="1453">
                  <c:v>43572</c:v>
                </c:pt>
                <c:pt idx="1454">
                  <c:v>43571</c:v>
                </c:pt>
                <c:pt idx="1455">
                  <c:v>43570</c:v>
                </c:pt>
                <c:pt idx="1456">
                  <c:v>43567</c:v>
                </c:pt>
                <c:pt idx="1457">
                  <c:v>43566</c:v>
                </c:pt>
                <c:pt idx="1458">
                  <c:v>43565</c:v>
                </c:pt>
                <c:pt idx="1459">
                  <c:v>43564</c:v>
                </c:pt>
                <c:pt idx="1460">
                  <c:v>43563</c:v>
                </c:pt>
                <c:pt idx="1461">
                  <c:v>43560</c:v>
                </c:pt>
                <c:pt idx="1462">
                  <c:v>43559</c:v>
                </c:pt>
                <c:pt idx="1463">
                  <c:v>43558</c:v>
                </c:pt>
                <c:pt idx="1464">
                  <c:v>43557</c:v>
                </c:pt>
                <c:pt idx="1465">
                  <c:v>43556</c:v>
                </c:pt>
                <c:pt idx="1466">
                  <c:v>43553</c:v>
                </c:pt>
                <c:pt idx="1467">
                  <c:v>43552</c:v>
                </c:pt>
                <c:pt idx="1468">
                  <c:v>43551</c:v>
                </c:pt>
                <c:pt idx="1469">
                  <c:v>43550</c:v>
                </c:pt>
                <c:pt idx="1470">
                  <c:v>43549</c:v>
                </c:pt>
                <c:pt idx="1471">
                  <c:v>43546</c:v>
                </c:pt>
                <c:pt idx="1472">
                  <c:v>43545</c:v>
                </c:pt>
                <c:pt idx="1473">
                  <c:v>43544</c:v>
                </c:pt>
                <c:pt idx="1474">
                  <c:v>43543</c:v>
                </c:pt>
                <c:pt idx="1475">
                  <c:v>43542</c:v>
                </c:pt>
                <c:pt idx="1476">
                  <c:v>43539</c:v>
                </c:pt>
                <c:pt idx="1477">
                  <c:v>43538</c:v>
                </c:pt>
                <c:pt idx="1478">
                  <c:v>43537</c:v>
                </c:pt>
                <c:pt idx="1479">
                  <c:v>43536</c:v>
                </c:pt>
                <c:pt idx="1480">
                  <c:v>43535</c:v>
                </c:pt>
                <c:pt idx="1481">
                  <c:v>43532</c:v>
                </c:pt>
                <c:pt idx="1482">
                  <c:v>43531</c:v>
                </c:pt>
                <c:pt idx="1483">
                  <c:v>43530</c:v>
                </c:pt>
                <c:pt idx="1484">
                  <c:v>43529</c:v>
                </c:pt>
                <c:pt idx="1485">
                  <c:v>43528</c:v>
                </c:pt>
                <c:pt idx="1486">
                  <c:v>43525</c:v>
                </c:pt>
                <c:pt idx="1487">
                  <c:v>43524</c:v>
                </c:pt>
                <c:pt idx="1488">
                  <c:v>43523</c:v>
                </c:pt>
                <c:pt idx="1489">
                  <c:v>43522</c:v>
                </c:pt>
                <c:pt idx="1490">
                  <c:v>43521</c:v>
                </c:pt>
                <c:pt idx="1491">
                  <c:v>43518</c:v>
                </c:pt>
                <c:pt idx="1492">
                  <c:v>43517</c:v>
                </c:pt>
                <c:pt idx="1493">
                  <c:v>43516</c:v>
                </c:pt>
                <c:pt idx="1494">
                  <c:v>43515</c:v>
                </c:pt>
                <c:pt idx="1495">
                  <c:v>43514</c:v>
                </c:pt>
                <c:pt idx="1496">
                  <c:v>43511</c:v>
                </c:pt>
                <c:pt idx="1497">
                  <c:v>43510</c:v>
                </c:pt>
                <c:pt idx="1498">
                  <c:v>43509</c:v>
                </c:pt>
                <c:pt idx="1499">
                  <c:v>43508</c:v>
                </c:pt>
                <c:pt idx="1500">
                  <c:v>43507</c:v>
                </c:pt>
                <c:pt idx="1501">
                  <c:v>43504</c:v>
                </c:pt>
                <c:pt idx="1502">
                  <c:v>43503</c:v>
                </c:pt>
                <c:pt idx="1503">
                  <c:v>43502</c:v>
                </c:pt>
                <c:pt idx="1504">
                  <c:v>43501</c:v>
                </c:pt>
                <c:pt idx="1505">
                  <c:v>43500</c:v>
                </c:pt>
                <c:pt idx="1506">
                  <c:v>43497</c:v>
                </c:pt>
                <c:pt idx="1507">
                  <c:v>43496</c:v>
                </c:pt>
                <c:pt idx="1508">
                  <c:v>43495</c:v>
                </c:pt>
                <c:pt idx="1509">
                  <c:v>43494</c:v>
                </c:pt>
                <c:pt idx="1510">
                  <c:v>43493</c:v>
                </c:pt>
                <c:pt idx="1511">
                  <c:v>43490</c:v>
                </c:pt>
                <c:pt idx="1512">
                  <c:v>43489</c:v>
                </c:pt>
                <c:pt idx="1513">
                  <c:v>43488</c:v>
                </c:pt>
                <c:pt idx="1514">
                  <c:v>43487</c:v>
                </c:pt>
                <c:pt idx="1515">
                  <c:v>43486</c:v>
                </c:pt>
                <c:pt idx="1516">
                  <c:v>43483</c:v>
                </c:pt>
                <c:pt idx="1517">
                  <c:v>43482</c:v>
                </c:pt>
                <c:pt idx="1518">
                  <c:v>43481</c:v>
                </c:pt>
                <c:pt idx="1519">
                  <c:v>43480</c:v>
                </c:pt>
                <c:pt idx="1520">
                  <c:v>43479</c:v>
                </c:pt>
                <c:pt idx="1521">
                  <c:v>43476</c:v>
                </c:pt>
                <c:pt idx="1522">
                  <c:v>43475</c:v>
                </c:pt>
                <c:pt idx="1523">
                  <c:v>43474</c:v>
                </c:pt>
                <c:pt idx="1524">
                  <c:v>43473</c:v>
                </c:pt>
                <c:pt idx="1525">
                  <c:v>43472</c:v>
                </c:pt>
                <c:pt idx="1526">
                  <c:v>43469</c:v>
                </c:pt>
                <c:pt idx="1527">
                  <c:v>43468</c:v>
                </c:pt>
                <c:pt idx="1528">
                  <c:v>43467</c:v>
                </c:pt>
                <c:pt idx="1529">
                  <c:v>43466</c:v>
                </c:pt>
                <c:pt idx="1530">
                  <c:v>43465</c:v>
                </c:pt>
                <c:pt idx="1531">
                  <c:v>43462</c:v>
                </c:pt>
                <c:pt idx="1532">
                  <c:v>43461</c:v>
                </c:pt>
                <c:pt idx="1533">
                  <c:v>43460</c:v>
                </c:pt>
                <c:pt idx="1534">
                  <c:v>43459</c:v>
                </c:pt>
                <c:pt idx="1535">
                  <c:v>43458</c:v>
                </c:pt>
                <c:pt idx="1536">
                  <c:v>43455</c:v>
                </c:pt>
                <c:pt idx="1537">
                  <c:v>43454</c:v>
                </c:pt>
                <c:pt idx="1538">
                  <c:v>43453</c:v>
                </c:pt>
                <c:pt idx="1539">
                  <c:v>43452</c:v>
                </c:pt>
                <c:pt idx="1540">
                  <c:v>43451</c:v>
                </c:pt>
                <c:pt idx="1541">
                  <c:v>43448</c:v>
                </c:pt>
                <c:pt idx="1542">
                  <c:v>43447</c:v>
                </c:pt>
                <c:pt idx="1543">
                  <c:v>43446</c:v>
                </c:pt>
                <c:pt idx="1544">
                  <c:v>43445</c:v>
                </c:pt>
                <c:pt idx="1545">
                  <c:v>43444</c:v>
                </c:pt>
                <c:pt idx="1546">
                  <c:v>43441</c:v>
                </c:pt>
                <c:pt idx="1547">
                  <c:v>43440</c:v>
                </c:pt>
                <c:pt idx="1548">
                  <c:v>43439</c:v>
                </c:pt>
                <c:pt idx="1549">
                  <c:v>43438</c:v>
                </c:pt>
                <c:pt idx="1550">
                  <c:v>43437</c:v>
                </c:pt>
                <c:pt idx="1551">
                  <c:v>43434</c:v>
                </c:pt>
                <c:pt idx="1552">
                  <c:v>43433</c:v>
                </c:pt>
                <c:pt idx="1553">
                  <c:v>43432</c:v>
                </c:pt>
                <c:pt idx="1554">
                  <c:v>43431</c:v>
                </c:pt>
                <c:pt idx="1555">
                  <c:v>43430</c:v>
                </c:pt>
                <c:pt idx="1556">
                  <c:v>43427</c:v>
                </c:pt>
                <c:pt idx="1557">
                  <c:v>43426</c:v>
                </c:pt>
                <c:pt idx="1558">
                  <c:v>43425</c:v>
                </c:pt>
                <c:pt idx="1559">
                  <c:v>43424</c:v>
                </c:pt>
                <c:pt idx="1560">
                  <c:v>43423</c:v>
                </c:pt>
                <c:pt idx="1561">
                  <c:v>43420</c:v>
                </c:pt>
                <c:pt idx="1562">
                  <c:v>43419</c:v>
                </c:pt>
                <c:pt idx="1563">
                  <c:v>43418</c:v>
                </c:pt>
                <c:pt idx="1564">
                  <c:v>43417</c:v>
                </c:pt>
                <c:pt idx="1565">
                  <c:v>43416</c:v>
                </c:pt>
                <c:pt idx="1566">
                  <c:v>43413</c:v>
                </c:pt>
                <c:pt idx="1567">
                  <c:v>43412</c:v>
                </c:pt>
                <c:pt idx="1568">
                  <c:v>43411</c:v>
                </c:pt>
                <c:pt idx="1569">
                  <c:v>43410</c:v>
                </c:pt>
                <c:pt idx="1570">
                  <c:v>43409</c:v>
                </c:pt>
                <c:pt idx="1571">
                  <c:v>43406</c:v>
                </c:pt>
                <c:pt idx="1572">
                  <c:v>43405</c:v>
                </c:pt>
                <c:pt idx="1573">
                  <c:v>43404</c:v>
                </c:pt>
                <c:pt idx="1574">
                  <c:v>43403</c:v>
                </c:pt>
                <c:pt idx="1575">
                  <c:v>43402</c:v>
                </c:pt>
                <c:pt idx="1576">
                  <c:v>43399</c:v>
                </c:pt>
                <c:pt idx="1577">
                  <c:v>43398</c:v>
                </c:pt>
                <c:pt idx="1578">
                  <c:v>43397</c:v>
                </c:pt>
                <c:pt idx="1579">
                  <c:v>43396</c:v>
                </c:pt>
                <c:pt idx="1580">
                  <c:v>43395</c:v>
                </c:pt>
                <c:pt idx="1581">
                  <c:v>43392</c:v>
                </c:pt>
                <c:pt idx="1582">
                  <c:v>43391</c:v>
                </c:pt>
                <c:pt idx="1583">
                  <c:v>43390</c:v>
                </c:pt>
                <c:pt idx="1584">
                  <c:v>43389</c:v>
                </c:pt>
                <c:pt idx="1585">
                  <c:v>43388</c:v>
                </c:pt>
                <c:pt idx="1586">
                  <c:v>43385</c:v>
                </c:pt>
                <c:pt idx="1587">
                  <c:v>43384</c:v>
                </c:pt>
                <c:pt idx="1588">
                  <c:v>43383</c:v>
                </c:pt>
                <c:pt idx="1589">
                  <c:v>43382</c:v>
                </c:pt>
                <c:pt idx="1590">
                  <c:v>43381</c:v>
                </c:pt>
                <c:pt idx="1591">
                  <c:v>43378</c:v>
                </c:pt>
                <c:pt idx="1592">
                  <c:v>43377</c:v>
                </c:pt>
                <c:pt idx="1593">
                  <c:v>43376</c:v>
                </c:pt>
                <c:pt idx="1594">
                  <c:v>43375</c:v>
                </c:pt>
                <c:pt idx="1595">
                  <c:v>43374</c:v>
                </c:pt>
                <c:pt idx="1596">
                  <c:v>43371</c:v>
                </c:pt>
                <c:pt idx="1597">
                  <c:v>43370</c:v>
                </c:pt>
                <c:pt idx="1598">
                  <c:v>43369</c:v>
                </c:pt>
                <c:pt idx="1599">
                  <c:v>43368</c:v>
                </c:pt>
                <c:pt idx="1600">
                  <c:v>43367</c:v>
                </c:pt>
                <c:pt idx="1601">
                  <c:v>43364</c:v>
                </c:pt>
                <c:pt idx="1602">
                  <c:v>43363</c:v>
                </c:pt>
                <c:pt idx="1603">
                  <c:v>43362</c:v>
                </c:pt>
                <c:pt idx="1604">
                  <c:v>43361</c:v>
                </c:pt>
                <c:pt idx="1605">
                  <c:v>43360</c:v>
                </c:pt>
                <c:pt idx="1606">
                  <c:v>43357</c:v>
                </c:pt>
                <c:pt idx="1607">
                  <c:v>43356</c:v>
                </c:pt>
                <c:pt idx="1608">
                  <c:v>43355</c:v>
                </c:pt>
                <c:pt idx="1609">
                  <c:v>43354</c:v>
                </c:pt>
                <c:pt idx="1610">
                  <c:v>43353</c:v>
                </c:pt>
                <c:pt idx="1611">
                  <c:v>43350</c:v>
                </c:pt>
                <c:pt idx="1612">
                  <c:v>43349</c:v>
                </c:pt>
                <c:pt idx="1613">
                  <c:v>43348</c:v>
                </c:pt>
                <c:pt idx="1614">
                  <c:v>43347</c:v>
                </c:pt>
                <c:pt idx="1615">
                  <c:v>43346</c:v>
                </c:pt>
                <c:pt idx="1616">
                  <c:v>43343</c:v>
                </c:pt>
                <c:pt idx="1617">
                  <c:v>43342</c:v>
                </c:pt>
                <c:pt idx="1618">
                  <c:v>43341</c:v>
                </c:pt>
                <c:pt idx="1619">
                  <c:v>43340</c:v>
                </c:pt>
                <c:pt idx="1620">
                  <c:v>43339</c:v>
                </c:pt>
                <c:pt idx="1621">
                  <c:v>43336</c:v>
                </c:pt>
                <c:pt idx="1622">
                  <c:v>43335</c:v>
                </c:pt>
                <c:pt idx="1623">
                  <c:v>43334</c:v>
                </c:pt>
                <c:pt idx="1624">
                  <c:v>43333</c:v>
                </c:pt>
                <c:pt idx="1625">
                  <c:v>43332</c:v>
                </c:pt>
                <c:pt idx="1626">
                  <c:v>43329</c:v>
                </c:pt>
                <c:pt idx="1627">
                  <c:v>43328</c:v>
                </c:pt>
                <c:pt idx="1628">
                  <c:v>43327</c:v>
                </c:pt>
                <c:pt idx="1629">
                  <c:v>43326</c:v>
                </c:pt>
                <c:pt idx="1630">
                  <c:v>43325</c:v>
                </c:pt>
                <c:pt idx="1631">
                  <c:v>43322</c:v>
                </c:pt>
                <c:pt idx="1632">
                  <c:v>43321</c:v>
                </c:pt>
                <c:pt idx="1633">
                  <c:v>43320</c:v>
                </c:pt>
                <c:pt idx="1634">
                  <c:v>43319</c:v>
                </c:pt>
                <c:pt idx="1635">
                  <c:v>43318</c:v>
                </c:pt>
                <c:pt idx="1636">
                  <c:v>43315</c:v>
                </c:pt>
                <c:pt idx="1637">
                  <c:v>43314</c:v>
                </c:pt>
                <c:pt idx="1638">
                  <c:v>43313</c:v>
                </c:pt>
                <c:pt idx="1639">
                  <c:v>43312</c:v>
                </c:pt>
                <c:pt idx="1640">
                  <c:v>43311</c:v>
                </c:pt>
                <c:pt idx="1641">
                  <c:v>43308</c:v>
                </c:pt>
                <c:pt idx="1642">
                  <c:v>43307</c:v>
                </c:pt>
                <c:pt idx="1643">
                  <c:v>43306</c:v>
                </c:pt>
                <c:pt idx="1644">
                  <c:v>43305</c:v>
                </c:pt>
                <c:pt idx="1645">
                  <c:v>43304</c:v>
                </c:pt>
                <c:pt idx="1646">
                  <c:v>43301</c:v>
                </c:pt>
                <c:pt idx="1647">
                  <c:v>43300</c:v>
                </c:pt>
                <c:pt idx="1648">
                  <c:v>43299</c:v>
                </c:pt>
                <c:pt idx="1649">
                  <c:v>43298</c:v>
                </c:pt>
                <c:pt idx="1650">
                  <c:v>43297</c:v>
                </c:pt>
                <c:pt idx="1651">
                  <c:v>43294</c:v>
                </c:pt>
                <c:pt idx="1652">
                  <c:v>43293</c:v>
                </c:pt>
                <c:pt idx="1653">
                  <c:v>43292</c:v>
                </c:pt>
                <c:pt idx="1654">
                  <c:v>43291</c:v>
                </c:pt>
                <c:pt idx="1655">
                  <c:v>43290</c:v>
                </c:pt>
                <c:pt idx="1656">
                  <c:v>43287</c:v>
                </c:pt>
                <c:pt idx="1657">
                  <c:v>43286</c:v>
                </c:pt>
                <c:pt idx="1658">
                  <c:v>43285</c:v>
                </c:pt>
                <c:pt idx="1659">
                  <c:v>43284</c:v>
                </c:pt>
                <c:pt idx="1660">
                  <c:v>43283</c:v>
                </c:pt>
                <c:pt idx="1661">
                  <c:v>43280</c:v>
                </c:pt>
                <c:pt idx="1662">
                  <c:v>43279</c:v>
                </c:pt>
                <c:pt idx="1663">
                  <c:v>43278</c:v>
                </c:pt>
                <c:pt idx="1664">
                  <c:v>43277</c:v>
                </c:pt>
                <c:pt idx="1665">
                  <c:v>43276</c:v>
                </c:pt>
                <c:pt idx="1666">
                  <c:v>43273</c:v>
                </c:pt>
                <c:pt idx="1667">
                  <c:v>43272</c:v>
                </c:pt>
                <c:pt idx="1668">
                  <c:v>43271</c:v>
                </c:pt>
                <c:pt idx="1669">
                  <c:v>43270</c:v>
                </c:pt>
                <c:pt idx="1670">
                  <c:v>43269</c:v>
                </c:pt>
                <c:pt idx="1671">
                  <c:v>43266</c:v>
                </c:pt>
                <c:pt idx="1672">
                  <c:v>43265</c:v>
                </c:pt>
                <c:pt idx="1673">
                  <c:v>43264</c:v>
                </c:pt>
                <c:pt idx="1674">
                  <c:v>43263</c:v>
                </c:pt>
                <c:pt idx="1675">
                  <c:v>43262</c:v>
                </c:pt>
                <c:pt idx="1676">
                  <c:v>43259</c:v>
                </c:pt>
                <c:pt idx="1677">
                  <c:v>43258</c:v>
                </c:pt>
                <c:pt idx="1678">
                  <c:v>43257</c:v>
                </c:pt>
                <c:pt idx="1679">
                  <c:v>43256</c:v>
                </c:pt>
                <c:pt idx="1680">
                  <c:v>43255</c:v>
                </c:pt>
                <c:pt idx="1681">
                  <c:v>43252</c:v>
                </c:pt>
                <c:pt idx="1682">
                  <c:v>43251</c:v>
                </c:pt>
                <c:pt idx="1683">
                  <c:v>43250</c:v>
                </c:pt>
                <c:pt idx="1684">
                  <c:v>43249</c:v>
                </c:pt>
                <c:pt idx="1685">
                  <c:v>43248</c:v>
                </c:pt>
                <c:pt idx="1686">
                  <c:v>43245</c:v>
                </c:pt>
                <c:pt idx="1687">
                  <c:v>43244</c:v>
                </c:pt>
                <c:pt idx="1688">
                  <c:v>43243</c:v>
                </c:pt>
                <c:pt idx="1689">
                  <c:v>43242</c:v>
                </c:pt>
                <c:pt idx="1690">
                  <c:v>43241</c:v>
                </c:pt>
                <c:pt idx="1691">
                  <c:v>43238</c:v>
                </c:pt>
                <c:pt idx="1692">
                  <c:v>43237</c:v>
                </c:pt>
                <c:pt idx="1693">
                  <c:v>43236</c:v>
                </c:pt>
                <c:pt idx="1694">
                  <c:v>43235</c:v>
                </c:pt>
                <c:pt idx="1695">
                  <c:v>43234</c:v>
                </c:pt>
                <c:pt idx="1696">
                  <c:v>43231</c:v>
                </c:pt>
                <c:pt idx="1697">
                  <c:v>43230</c:v>
                </c:pt>
                <c:pt idx="1698">
                  <c:v>43229</c:v>
                </c:pt>
                <c:pt idx="1699">
                  <c:v>43228</c:v>
                </c:pt>
                <c:pt idx="1700">
                  <c:v>43227</c:v>
                </c:pt>
                <c:pt idx="1701">
                  <c:v>43224</c:v>
                </c:pt>
                <c:pt idx="1702">
                  <c:v>43223</c:v>
                </c:pt>
                <c:pt idx="1703">
                  <c:v>43222</c:v>
                </c:pt>
                <c:pt idx="1704">
                  <c:v>43221</c:v>
                </c:pt>
                <c:pt idx="1705">
                  <c:v>43220</c:v>
                </c:pt>
                <c:pt idx="1706">
                  <c:v>43217</c:v>
                </c:pt>
                <c:pt idx="1707">
                  <c:v>43216</c:v>
                </c:pt>
                <c:pt idx="1708">
                  <c:v>43215</c:v>
                </c:pt>
                <c:pt idx="1709">
                  <c:v>43214</c:v>
                </c:pt>
                <c:pt idx="1710">
                  <c:v>43213</c:v>
                </c:pt>
                <c:pt idx="1711">
                  <c:v>43210</c:v>
                </c:pt>
                <c:pt idx="1712">
                  <c:v>43209</c:v>
                </c:pt>
                <c:pt idx="1713">
                  <c:v>43208</c:v>
                </c:pt>
                <c:pt idx="1714">
                  <c:v>43207</c:v>
                </c:pt>
                <c:pt idx="1715">
                  <c:v>43206</c:v>
                </c:pt>
                <c:pt idx="1716">
                  <c:v>43203</c:v>
                </c:pt>
                <c:pt idx="1717">
                  <c:v>43202</c:v>
                </c:pt>
                <c:pt idx="1718">
                  <c:v>43201</c:v>
                </c:pt>
                <c:pt idx="1719">
                  <c:v>43200</c:v>
                </c:pt>
                <c:pt idx="1720">
                  <c:v>43199</c:v>
                </c:pt>
                <c:pt idx="1721">
                  <c:v>43196</c:v>
                </c:pt>
                <c:pt idx="1722">
                  <c:v>43195</c:v>
                </c:pt>
                <c:pt idx="1723">
                  <c:v>43194</c:v>
                </c:pt>
                <c:pt idx="1724">
                  <c:v>43193</c:v>
                </c:pt>
                <c:pt idx="1725">
                  <c:v>43192</c:v>
                </c:pt>
                <c:pt idx="1726">
                  <c:v>43189</c:v>
                </c:pt>
                <c:pt idx="1727">
                  <c:v>43188</c:v>
                </c:pt>
                <c:pt idx="1728">
                  <c:v>43187</c:v>
                </c:pt>
                <c:pt idx="1729">
                  <c:v>43186</c:v>
                </c:pt>
                <c:pt idx="1730">
                  <c:v>43185</c:v>
                </c:pt>
                <c:pt idx="1731">
                  <c:v>43182</c:v>
                </c:pt>
                <c:pt idx="1732">
                  <c:v>43181</c:v>
                </c:pt>
                <c:pt idx="1733">
                  <c:v>43180</c:v>
                </c:pt>
                <c:pt idx="1734">
                  <c:v>43179</c:v>
                </c:pt>
                <c:pt idx="1735">
                  <c:v>43178</c:v>
                </c:pt>
                <c:pt idx="1736">
                  <c:v>43175</c:v>
                </c:pt>
                <c:pt idx="1737">
                  <c:v>43174</c:v>
                </c:pt>
                <c:pt idx="1738">
                  <c:v>43173</c:v>
                </c:pt>
                <c:pt idx="1739">
                  <c:v>43172</c:v>
                </c:pt>
                <c:pt idx="1740">
                  <c:v>43171</c:v>
                </c:pt>
                <c:pt idx="1741">
                  <c:v>43168</c:v>
                </c:pt>
                <c:pt idx="1742">
                  <c:v>43167</c:v>
                </c:pt>
                <c:pt idx="1743">
                  <c:v>43166</c:v>
                </c:pt>
                <c:pt idx="1744">
                  <c:v>43165</c:v>
                </c:pt>
                <c:pt idx="1745">
                  <c:v>43164</c:v>
                </c:pt>
                <c:pt idx="1746">
                  <c:v>43161</c:v>
                </c:pt>
                <c:pt idx="1747">
                  <c:v>43160</c:v>
                </c:pt>
                <c:pt idx="1748">
                  <c:v>43159</c:v>
                </c:pt>
                <c:pt idx="1749">
                  <c:v>43158</c:v>
                </c:pt>
                <c:pt idx="1750">
                  <c:v>43157</c:v>
                </c:pt>
                <c:pt idx="1751">
                  <c:v>43154</c:v>
                </c:pt>
                <c:pt idx="1752">
                  <c:v>43153</c:v>
                </c:pt>
                <c:pt idx="1753">
                  <c:v>43152</c:v>
                </c:pt>
                <c:pt idx="1754">
                  <c:v>43151</c:v>
                </c:pt>
                <c:pt idx="1755">
                  <c:v>43150</c:v>
                </c:pt>
                <c:pt idx="1756">
                  <c:v>43147</c:v>
                </c:pt>
                <c:pt idx="1757">
                  <c:v>43146</c:v>
                </c:pt>
                <c:pt idx="1758">
                  <c:v>43145</c:v>
                </c:pt>
                <c:pt idx="1759">
                  <c:v>43144</c:v>
                </c:pt>
                <c:pt idx="1760">
                  <c:v>43143</c:v>
                </c:pt>
                <c:pt idx="1761">
                  <c:v>43140</c:v>
                </c:pt>
                <c:pt idx="1762">
                  <c:v>43139</c:v>
                </c:pt>
                <c:pt idx="1763">
                  <c:v>43138</c:v>
                </c:pt>
                <c:pt idx="1764">
                  <c:v>43137</c:v>
                </c:pt>
                <c:pt idx="1765">
                  <c:v>43136</c:v>
                </c:pt>
                <c:pt idx="1766">
                  <c:v>43133</c:v>
                </c:pt>
                <c:pt idx="1767">
                  <c:v>43132</c:v>
                </c:pt>
                <c:pt idx="1768">
                  <c:v>43131</c:v>
                </c:pt>
                <c:pt idx="1769">
                  <c:v>43130</c:v>
                </c:pt>
                <c:pt idx="1770">
                  <c:v>43129</c:v>
                </c:pt>
                <c:pt idx="1771">
                  <c:v>43126</c:v>
                </c:pt>
                <c:pt idx="1772">
                  <c:v>43125</c:v>
                </c:pt>
                <c:pt idx="1773">
                  <c:v>43124</c:v>
                </c:pt>
                <c:pt idx="1774">
                  <c:v>43123</c:v>
                </c:pt>
                <c:pt idx="1775">
                  <c:v>43122</c:v>
                </c:pt>
                <c:pt idx="1776">
                  <c:v>43119</c:v>
                </c:pt>
                <c:pt idx="1777">
                  <c:v>43118</c:v>
                </c:pt>
                <c:pt idx="1778">
                  <c:v>43117</c:v>
                </c:pt>
                <c:pt idx="1779">
                  <c:v>43116</c:v>
                </c:pt>
                <c:pt idx="1780">
                  <c:v>43115</c:v>
                </c:pt>
                <c:pt idx="1781">
                  <c:v>43112</c:v>
                </c:pt>
                <c:pt idx="1782">
                  <c:v>43111</c:v>
                </c:pt>
                <c:pt idx="1783">
                  <c:v>43110</c:v>
                </c:pt>
                <c:pt idx="1784">
                  <c:v>43109</c:v>
                </c:pt>
                <c:pt idx="1785">
                  <c:v>43108</c:v>
                </c:pt>
                <c:pt idx="1786">
                  <c:v>43105</c:v>
                </c:pt>
                <c:pt idx="1787">
                  <c:v>43104</c:v>
                </c:pt>
                <c:pt idx="1788">
                  <c:v>43103</c:v>
                </c:pt>
                <c:pt idx="1789">
                  <c:v>43102</c:v>
                </c:pt>
                <c:pt idx="1790">
                  <c:v>43101</c:v>
                </c:pt>
                <c:pt idx="1791">
                  <c:v>43098</c:v>
                </c:pt>
                <c:pt idx="1792">
                  <c:v>43097</c:v>
                </c:pt>
                <c:pt idx="1793">
                  <c:v>43096</c:v>
                </c:pt>
                <c:pt idx="1794">
                  <c:v>43095</c:v>
                </c:pt>
                <c:pt idx="1795">
                  <c:v>43094</c:v>
                </c:pt>
                <c:pt idx="1796">
                  <c:v>43091</c:v>
                </c:pt>
                <c:pt idx="1797">
                  <c:v>43090</c:v>
                </c:pt>
                <c:pt idx="1798">
                  <c:v>43089</c:v>
                </c:pt>
                <c:pt idx="1799">
                  <c:v>43088</c:v>
                </c:pt>
                <c:pt idx="1800">
                  <c:v>43087</c:v>
                </c:pt>
                <c:pt idx="1801">
                  <c:v>43084</c:v>
                </c:pt>
                <c:pt idx="1802">
                  <c:v>43083</c:v>
                </c:pt>
                <c:pt idx="1803">
                  <c:v>43082</c:v>
                </c:pt>
                <c:pt idx="1804">
                  <c:v>43081</c:v>
                </c:pt>
                <c:pt idx="1805">
                  <c:v>43080</c:v>
                </c:pt>
                <c:pt idx="1806">
                  <c:v>43077</c:v>
                </c:pt>
                <c:pt idx="1807">
                  <c:v>43076</c:v>
                </c:pt>
                <c:pt idx="1808">
                  <c:v>43075</c:v>
                </c:pt>
                <c:pt idx="1809">
                  <c:v>43074</c:v>
                </c:pt>
                <c:pt idx="1810">
                  <c:v>43073</c:v>
                </c:pt>
                <c:pt idx="1811">
                  <c:v>43070</c:v>
                </c:pt>
                <c:pt idx="1812">
                  <c:v>43069</c:v>
                </c:pt>
                <c:pt idx="1813">
                  <c:v>43068</c:v>
                </c:pt>
                <c:pt idx="1814">
                  <c:v>43067</c:v>
                </c:pt>
                <c:pt idx="1815">
                  <c:v>43066</c:v>
                </c:pt>
                <c:pt idx="1816">
                  <c:v>43063</c:v>
                </c:pt>
                <c:pt idx="1817">
                  <c:v>43062</c:v>
                </c:pt>
                <c:pt idx="1818">
                  <c:v>43061</c:v>
                </c:pt>
                <c:pt idx="1819">
                  <c:v>43060</c:v>
                </c:pt>
                <c:pt idx="1820">
                  <c:v>43059</c:v>
                </c:pt>
                <c:pt idx="1821">
                  <c:v>43056</c:v>
                </c:pt>
                <c:pt idx="1822">
                  <c:v>43055</c:v>
                </c:pt>
                <c:pt idx="1823">
                  <c:v>43054</c:v>
                </c:pt>
                <c:pt idx="1824">
                  <c:v>43053</c:v>
                </c:pt>
                <c:pt idx="1825">
                  <c:v>43052</c:v>
                </c:pt>
                <c:pt idx="1826">
                  <c:v>43049</c:v>
                </c:pt>
                <c:pt idx="1827">
                  <c:v>43048</c:v>
                </c:pt>
                <c:pt idx="1828">
                  <c:v>43047</c:v>
                </c:pt>
                <c:pt idx="1829">
                  <c:v>43046</c:v>
                </c:pt>
                <c:pt idx="1830">
                  <c:v>43045</c:v>
                </c:pt>
                <c:pt idx="1831">
                  <c:v>43042</c:v>
                </c:pt>
                <c:pt idx="1832">
                  <c:v>43041</c:v>
                </c:pt>
                <c:pt idx="1833">
                  <c:v>43040</c:v>
                </c:pt>
                <c:pt idx="1834">
                  <c:v>43039</c:v>
                </c:pt>
                <c:pt idx="1835">
                  <c:v>43038</c:v>
                </c:pt>
                <c:pt idx="1836">
                  <c:v>43035</c:v>
                </c:pt>
                <c:pt idx="1837">
                  <c:v>43034</c:v>
                </c:pt>
                <c:pt idx="1838">
                  <c:v>43033</c:v>
                </c:pt>
                <c:pt idx="1839">
                  <c:v>43032</c:v>
                </c:pt>
                <c:pt idx="1840">
                  <c:v>43031</c:v>
                </c:pt>
                <c:pt idx="1841">
                  <c:v>43028</c:v>
                </c:pt>
                <c:pt idx="1842">
                  <c:v>43027</c:v>
                </c:pt>
                <c:pt idx="1843">
                  <c:v>43026</c:v>
                </c:pt>
                <c:pt idx="1844">
                  <c:v>43025</c:v>
                </c:pt>
                <c:pt idx="1845">
                  <c:v>43024</c:v>
                </c:pt>
                <c:pt idx="1846">
                  <c:v>43021</c:v>
                </c:pt>
                <c:pt idx="1847">
                  <c:v>43020</c:v>
                </c:pt>
                <c:pt idx="1848">
                  <c:v>43019</c:v>
                </c:pt>
                <c:pt idx="1849">
                  <c:v>43018</c:v>
                </c:pt>
                <c:pt idx="1850">
                  <c:v>43017</c:v>
                </c:pt>
                <c:pt idx="1851">
                  <c:v>43014</c:v>
                </c:pt>
                <c:pt idx="1852">
                  <c:v>43013</c:v>
                </c:pt>
                <c:pt idx="1853">
                  <c:v>43012</c:v>
                </c:pt>
                <c:pt idx="1854">
                  <c:v>43011</c:v>
                </c:pt>
                <c:pt idx="1855">
                  <c:v>43010</c:v>
                </c:pt>
                <c:pt idx="1856">
                  <c:v>43007</c:v>
                </c:pt>
                <c:pt idx="1857">
                  <c:v>43006</c:v>
                </c:pt>
                <c:pt idx="1858">
                  <c:v>43005</c:v>
                </c:pt>
                <c:pt idx="1859">
                  <c:v>43004</c:v>
                </c:pt>
                <c:pt idx="1860">
                  <c:v>43003</c:v>
                </c:pt>
                <c:pt idx="1861">
                  <c:v>43000</c:v>
                </c:pt>
                <c:pt idx="1862">
                  <c:v>42999</c:v>
                </c:pt>
                <c:pt idx="1863">
                  <c:v>42998</c:v>
                </c:pt>
                <c:pt idx="1864">
                  <c:v>42997</c:v>
                </c:pt>
                <c:pt idx="1865">
                  <c:v>42996</c:v>
                </c:pt>
                <c:pt idx="1866">
                  <c:v>42993</c:v>
                </c:pt>
                <c:pt idx="1867">
                  <c:v>42992</c:v>
                </c:pt>
                <c:pt idx="1868">
                  <c:v>42991</c:v>
                </c:pt>
                <c:pt idx="1869">
                  <c:v>42990</c:v>
                </c:pt>
                <c:pt idx="1870">
                  <c:v>42989</c:v>
                </c:pt>
                <c:pt idx="1871">
                  <c:v>42986</c:v>
                </c:pt>
                <c:pt idx="1872">
                  <c:v>42985</c:v>
                </c:pt>
                <c:pt idx="1873">
                  <c:v>42984</c:v>
                </c:pt>
                <c:pt idx="1874">
                  <c:v>42983</c:v>
                </c:pt>
                <c:pt idx="1875">
                  <c:v>42982</c:v>
                </c:pt>
                <c:pt idx="1876">
                  <c:v>42979</c:v>
                </c:pt>
                <c:pt idx="1877">
                  <c:v>42978</c:v>
                </c:pt>
                <c:pt idx="1878">
                  <c:v>42977</c:v>
                </c:pt>
                <c:pt idx="1879">
                  <c:v>42976</c:v>
                </c:pt>
                <c:pt idx="1880">
                  <c:v>42975</c:v>
                </c:pt>
                <c:pt idx="1881">
                  <c:v>42972</c:v>
                </c:pt>
                <c:pt idx="1882">
                  <c:v>42971</c:v>
                </c:pt>
                <c:pt idx="1883">
                  <c:v>42970</c:v>
                </c:pt>
                <c:pt idx="1884">
                  <c:v>42969</c:v>
                </c:pt>
                <c:pt idx="1885">
                  <c:v>42968</c:v>
                </c:pt>
                <c:pt idx="1886">
                  <c:v>42965</c:v>
                </c:pt>
                <c:pt idx="1887">
                  <c:v>42964</c:v>
                </c:pt>
                <c:pt idx="1888">
                  <c:v>42963</c:v>
                </c:pt>
                <c:pt idx="1889">
                  <c:v>42962</c:v>
                </c:pt>
                <c:pt idx="1890">
                  <c:v>42961</c:v>
                </c:pt>
                <c:pt idx="1891">
                  <c:v>42958</c:v>
                </c:pt>
                <c:pt idx="1892">
                  <c:v>42957</c:v>
                </c:pt>
                <c:pt idx="1893">
                  <c:v>42956</c:v>
                </c:pt>
                <c:pt idx="1894">
                  <c:v>42955</c:v>
                </c:pt>
                <c:pt idx="1895">
                  <c:v>42954</c:v>
                </c:pt>
                <c:pt idx="1896">
                  <c:v>42951</c:v>
                </c:pt>
                <c:pt idx="1897">
                  <c:v>42950</c:v>
                </c:pt>
                <c:pt idx="1898">
                  <c:v>42949</c:v>
                </c:pt>
                <c:pt idx="1899">
                  <c:v>42948</c:v>
                </c:pt>
                <c:pt idx="1900">
                  <c:v>42947</c:v>
                </c:pt>
                <c:pt idx="1901">
                  <c:v>42944</c:v>
                </c:pt>
                <c:pt idx="1902">
                  <c:v>42943</c:v>
                </c:pt>
                <c:pt idx="1903">
                  <c:v>42942</c:v>
                </c:pt>
                <c:pt idx="1904">
                  <c:v>42941</c:v>
                </c:pt>
                <c:pt idx="1905">
                  <c:v>42940</c:v>
                </c:pt>
                <c:pt idx="1906">
                  <c:v>42937</c:v>
                </c:pt>
                <c:pt idx="1907">
                  <c:v>42936</c:v>
                </c:pt>
                <c:pt idx="1908">
                  <c:v>42935</c:v>
                </c:pt>
                <c:pt idx="1909">
                  <c:v>42934</c:v>
                </c:pt>
                <c:pt idx="1910">
                  <c:v>42933</c:v>
                </c:pt>
                <c:pt idx="1911">
                  <c:v>42930</c:v>
                </c:pt>
                <c:pt idx="1912">
                  <c:v>42929</c:v>
                </c:pt>
                <c:pt idx="1913">
                  <c:v>42928</c:v>
                </c:pt>
                <c:pt idx="1914">
                  <c:v>42927</c:v>
                </c:pt>
                <c:pt idx="1915">
                  <c:v>42926</c:v>
                </c:pt>
                <c:pt idx="1916">
                  <c:v>42923</c:v>
                </c:pt>
                <c:pt idx="1917">
                  <c:v>42922</c:v>
                </c:pt>
                <c:pt idx="1918">
                  <c:v>42921</c:v>
                </c:pt>
                <c:pt idx="1919">
                  <c:v>42920</c:v>
                </c:pt>
                <c:pt idx="1920">
                  <c:v>42919</c:v>
                </c:pt>
                <c:pt idx="1921">
                  <c:v>42916</c:v>
                </c:pt>
                <c:pt idx="1922">
                  <c:v>42915</c:v>
                </c:pt>
                <c:pt idx="1923">
                  <c:v>42914</c:v>
                </c:pt>
                <c:pt idx="1924">
                  <c:v>42913</c:v>
                </c:pt>
                <c:pt idx="1925">
                  <c:v>42912</c:v>
                </c:pt>
                <c:pt idx="1926">
                  <c:v>42909</c:v>
                </c:pt>
                <c:pt idx="1927">
                  <c:v>42908</c:v>
                </c:pt>
                <c:pt idx="1928">
                  <c:v>42907</c:v>
                </c:pt>
                <c:pt idx="1929">
                  <c:v>42906</c:v>
                </c:pt>
                <c:pt idx="1930">
                  <c:v>42905</c:v>
                </c:pt>
                <c:pt idx="1931">
                  <c:v>42902</c:v>
                </c:pt>
                <c:pt idx="1932">
                  <c:v>42901</c:v>
                </c:pt>
                <c:pt idx="1933">
                  <c:v>42900</c:v>
                </c:pt>
                <c:pt idx="1934">
                  <c:v>42899</c:v>
                </c:pt>
                <c:pt idx="1935">
                  <c:v>42898</c:v>
                </c:pt>
                <c:pt idx="1936">
                  <c:v>42895</c:v>
                </c:pt>
                <c:pt idx="1937">
                  <c:v>42894</c:v>
                </c:pt>
                <c:pt idx="1938">
                  <c:v>42893</c:v>
                </c:pt>
                <c:pt idx="1939">
                  <c:v>42892</c:v>
                </c:pt>
                <c:pt idx="1940">
                  <c:v>42891</c:v>
                </c:pt>
                <c:pt idx="1941">
                  <c:v>42888</c:v>
                </c:pt>
                <c:pt idx="1942">
                  <c:v>42887</c:v>
                </c:pt>
                <c:pt idx="1943">
                  <c:v>42886</c:v>
                </c:pt>
                <c:pt idx="1944">
                  <c:v>42885</c:v>
                </c:pt>
                <c:pt idx="1945">
                  <c:v>42884</c:v>
                </c:pt>
                <c:pt idx="1946">
                  <c:v>42881</c:v>
                </c:pt>
                <c:pt idx="1947">
                  <c:v>42880</c:v>
                </c:pt>
                <c:pt idx="1948">
                  <c:v>42879</c:v>
                </c:pt>
                <c:pt idx="1949">
                  <c:v>42878</c:v>
                </c:pt>
                <c:pt idx="1950">
                  <c:v>42877</c:v>
                </c:pt>
                <c:pt idx="1951">
                  <c:v>42874</c:v>
                </c:pt>
                <c:pt idx="1952">
                  <c:v>42873</c:v>
                </c:pt>
                <c:pt idx="1953">
                  <c:v>42872</c:v>
                </c:pt>
                <c:pt idx="1954">
                  <c:v>42871</c:v>
                </c:pt>
                <c:pt idx="1955">
                  <c:v>42870</c:v>
                </c:pt>
                <c:pt idx="1956">
                  <c:v>42867</c:v>
                </c:pt>
                <c:pt idx="1957">
                  <c:v>42866</c:v>
                </c:pt>
                <c:pt idx="1958">
                  <c:v>42865</c:v>
                </c:pt>
                <c:pt idx="1959">
                  <c:v>42864</c:v>
                </c:pt>
                <c:pt idx="1960">
                  <c:v>42863</c:v>
                </c:pt>
                <c:pt idx="1961">
                  <c:v>42860</c:v>
                </c:pt>
                <c:pt idx="1962">
                  <c:v>42859</c:v>
                </c:pt>
                <c:pt idx="1963">
                  <c:v>42858</c:v>
                </c:pt>
                <c:pt idx="1964">
                  <c:v>42857</c:v>
                </c:pt>
                <c:pt idx="1965">
                  <c:v>42856</c:v>
                </c:pt>
                <c:pt idx="1966">
                  <c:v>42853</c:v>
                </c:pt>
                <c:pt idx="1967">
                  <c:v>42852</c:v>
                </c:pt>
                <c:pt idx="1968">
                  <c:v>42851</c:v>
                </c:pt>
                <c:pt idx="1969">
                  <c:v>42850</c:v>
                </c:pt>
                <c:pt idx="1970">
                  <c:v>42849</c:v>
                </c:pt>
                <c:pt idx="1971">
                  <c:v>42846</c:v>
                </c:pt>
                <c:pt idx="1972">
                  <c:v>42845</c:v>
                </c:pt>
                <c:pt idx="1973">
                  <c:v>42844</c:v>
                </c:pt>
                <c:pt idx="1974">
                  <c:v>42843</c:v>
                </c:pt>
                <c:pt idx="1975">
                  <c:v>42842</c:v>
                </c:pt>
                <c:pt idx="1976">
                  <c:v>42839</c:v>
                </c:pt>
                <c:pt idx="1977">
                  <c:v>42838</c:v>
                </c:pt>
                <c:pt idx="1978">
                  <c:v>42837</c:v>
                </c:pt>
                <c:pt idx="1979">
                  <c:v>42836</c:v>
                </c:pt>
                <c:pt idx="1980">
                  <c:v>42835</c:v>
                </c:pt>
                <c:pt idx="1981">
                  <c:v>42832</c:v>
                </c:pt>
                <c:pt idx="1982">
                  <c:v>42831</c:v>
                </c:pt>
                <c:pt idx="1983">
                  <c:v>42830</c:v>
                </c:pt>
                <c:pt idx="1984">
                  <c:v>42829</c:v>
                </c:pt>
                <c:pt idx="1985">
                  <c:v>42828</c:v>
                </c:pt>
                <c:pt idx="1986">
                  <c:v>42825</c:v>
                </c:pt>
                <c:pt idx="1987">
                  <c:v>42824</c:v>
                </c:pt>
                <c:pt idx="1988">
                  <c:v>42823</c:v>
                </c:pt>
                <c:pt idx="1989">
                  <c:v>42822</c:v>
                </c:pt>
                <c:pt idx="1990">
                  <c:v>42821</c:v>
                </c:pt>
                <c:pt idx="1991">
                  <c:v>42818</c:v>
                </c:pt>
                <c:pt idx="1992">
                  <c:v>42817</c:v>
                </c:pt>
                <c:pt idx="1993">
                  <c:v>42816</c:v>
                </c:pt>
                <c:pt idx="1994">
                  <c:v>42815</c:v>
                </c:pt>
                <c:pt idx="1995">
                  <c:v>42814</c:v>
                </c:pt>
                <c:pt idx="1996">
                  <c:v>42811</c:v>
                </c:pt>
                <c:pt idx="1997">
                  <c:v>42810</c:v>
                </c:pt>
                <c:pt idx="1998">
                  <c:v>42809</c:v>
                </c:pt>
                <c:pt idx="1999">
                  <c:v>42808</c:v>
                </c:pt>
                <c:pt idx="2000">
                  <c:v>42807</c:v>
                </c:pt>
                <c:pt idx="2001">
                  <c:v>42804</c:v>
                </c:pt>
                <c:pt idx="2002">
                  <c:v>42803</c:v>
                </c:pt>
                <c:pt idx="2003">
                  <c:v>42802</c:v>
                </c:pt>
                <c:pt idx="2004">
                  <c:v>42801</c:v>
                </c:pt>
                <c:pt idx="2005">
                  <c:v>42800</c:v>
                </c:pt>
                <c:pt idx="2006">
                  <c:v>42797</c:v>
                </c:pt>
                <c:pt idx="2007">
                  <c:v>42796</c:v>
                </c:pt>
                <c:pt idx="2008">
                  <c:v>42795</c:v>
                </c:pt>
                <c:pt idx="2009">
                  <c:v>42794</c:v>
                </c:pt>
                <c:pt idx="2010">
                  <c:v>42793</c:v>
                </c:pt>
                <c:pt idx="2011">
                  <c:v>42790</c:v>
                </c:pt>
                <c:pt idx="2012">
                  <c:v>42789</c:v>
                </c:pt>
                <c:pt idx="2013">
                  <c:v>42788</c:v>
                </c:pt>
                <c:pt idx="2014">
                  <c:v>42787</c:v>
                </c:pt>
                <c:pt idx="2015">
                  <c:v>42786</c:v>
                </c:pt>
                <c:pt idx="2016">
                  <c:v>42783</c:v>
                </c:pt>
                <c:pt idx="2017">
                  <c:v>42782</c:v>
                </c:pt>
                <c:pt idx="2018">
                  <c:v>42781</c:v>
                </c:pt>
                <c:pt idx="2019">
                  <c:v>42780</c:v>
                </c:pt>
                <c:pt idx="2020">
                  <c:v>42779</c:v>
                </c:pt>
                <c:pt idx="2021">
                  <c:v>42776</c:v>
                </c:pt>
                <c:pt idx="2022">
                  <c:v>42775</c:v>
                </c:pt>
                <c:pt idx="2023">
                  <c:v>42774</c:v>
                </c:pt>
                <c:pt idx="2024">
                  <c:v>42773</c:v>
                </c:pt>
                <c:pt idx="2025">
                  <c:v>42772</c:v>
                </c:pt>
                <c:pt idx="2026">
                  <c:v>42769</c:v>
                </c:pt>
                <c:pt idx="2027">
                  <c:v>42768</c:v>
                </c:pt>
                <c:pt idx="2028">
                  <c:v>42767</c:v>
                </c:pt>
                <c:pt idx="2029">
                  <c:v>42766</c:v>
                </c:pt>
                <c:pt idx="2030">
                  <c:v>42765</c:v>
                </c:pt>
                <c:pt idx="2031">
                  <c:v>42762</c:v>
                </c:pt>
                <c:pt idx="2032">
                  <c:v>42761</c:v>
                </c:pt>
                <c:pt idx="2033">
                  <c:v>42760</c:v>
                </c:pt>
                <c:pt idx="2034">
                  <c:v>42759</c:v>
                </c:pt>
                <c:pt idx="2035">
                  <c:v>42758</c:v>
                </c:pt>
                <c:pt idx="2036">
                  <c:v>42755</c:v>
                </c:pt>
                <c:pt idx="2037">
                  <c:v>42754</c:v>
                </c:pt>
                <c:pt idx="2038">
                  <c:v>42753</c:v>
                </c:pt>
                <c:pt idx="2039">
                  <c:v>42752</c:v>
                </c:pt>
                <c:pt idx="2040">
                  <c:v>42751</c:v>
                </c:pt>
                <c:pt idx="2041">
                  <c:v>42748</c:v>
                </c:pt>
                <c:pt idx="2042">
                  <c:v>42747</c:v>
                </c:pt>
                <c:pt idx="2043">
                  <c:v>42746</c:v>
                </c:pt>
                <c:pt idx="2044">
                  <c:v>42745</c:v>
                </c:pt>
                <c:pt idx="2045">
                  <c:v>42744</c:v>
                </c:pt>
                <c:pt idx="2046">
                  <c:v>42741</c:v>
                </c:pt>
                <c:pt idx="2047">
                  <c:v>42740</c:v>
                </c:pt>
                <c:pt idx="2048">
                  <c:v>42739</c:v>
                </c:pt>
                <c:pt idx="2049">
                  <c:v>42738</c:v>
                </c:pt>
                <c:pt idx="2050">
                  <c:v>42737</c:v>
                </c:pt>
                <c:pt idx="2051">
                  <c:v>42734</c:v>
                </c:pt>
                <c:pt idx="2052">
                  <c:v>42733</c:v>
                </c:pt>
                <c:pt idx="2053">
                  <c:v>42732</c:v>
                </c:pt>
                <c:pt idx="2054">
                  <c:v>42731</c:v>
                </c:pt>
                <c:pt idx="2055">
                  <c:v>42730</c:v>
                </c:pt>
                <c:pt idx="2056">
                  <c:v>42727</c:v>
                </c:pt>
                <c:pt idx="2057">
                  <c:v>42726</c:v>
                </c:pt>
                <c:pt idx="2058">
                  <c:v>42725</c:v>
                </c:pt>
                <c:pt idx="2059">
                  <c:v>42724</c:v>
                </c:pt>
                <c:pt idx="2060">
                  <c:v>42723</c:v>
                </c:pt>
                <c:pt idx="2061">
                  <c:v>42720</c:v>
                </c:pt>
                <c:pt idx="2062">
                  <c:v>42719</c:v>
                </c:pt>
                <c:pt idx="2063">
                  <c:v>42718</c:v>
                </c:pt>
                <c:pt idx="2064">
                  <c:v>42717</c:v>
                </c:pt>
                <c:pt idx="2065">
                  <c:v>42716</c:v>
                </c:pt>
                <c:pt idx="2066">
                  <c:v>42713</c:v>
                </c:pt>
                <c:pt idx="2067">
                  <c:v>42712</c:v>
                </c:pt>
                <c:pt idx="2068">
                  <c:v>42711</c:v>
                </c:pt>
                <c:pt idx="2069">
                  <c:v>42710</c:v>
                </c:pt>
                <c:pt idx="2070">
                  <c:v>42709</c:v>
                </c:pt>
                <c:pt idx="2071">
                  <c:v>42706</c:v>
                </c:pt>
                <c:pt idx="2072">
                  <c:v>42705</c:v>
                </c:pt>
                <c:pt idx="2073">
                  <c:v>42704</c:v>
                </c:pt>
                <c:pt idx="2074">
                  <c:v>42703</c:v>
                </c:pt>
                <c:pt idx="2075">
                  <c:v>42702</c:v>
                </c:pt>
                <c:pt idx="2076">
                  <c:v>42699</c:v>
                </c:pt>
                <c:pt idx="2077">
                  <c:v>42698</c:v>
                </c:pt>
                <c:pt idx="2078">
                  <c:v>42697</c:v>
                </c:pt>
                <c:pt idx="2079">
                  <c:v>42696</c:v>
                </c:pt>
                <c:pt idx="2080">
                  <c:v>42695</c:v>
                </c:pt>
                <c:pt idx="2081">
                  <c:v>42692</c:v>
                </c:pt>
                <c:pt idx="2082">
                  <c:v>42691</c:v>
                </c:pt>
                <c:pt idx="2083">
                  <c:v>42690</c:v>
                </c:pt>
                <c:pt idx="2084">
                  <c:v>42689</c:v>
                </c:pt>
                <c:pt idx="2085">
                  <c:v>42688</c:v>
                </c:pt>
                <c:pt idx="2086">
                  <c:v>42685</c:v>
                </c:pt>
                <c:pt idx="2087">
                  <c:v>42684</c:v>
                </c:pt>
                <c:pt idx="2088">
                  <c:v>42683</c:v>
                </c:pt>
                <c:pt idx="2089">
                  <c:v>42682</c:v>
                </c:pt>
                <c:pt idx="2090">
                  <c:v>42681</c:v>
                </c:pt>
                <c:pt idx="2091">
                  <c:v>42678</c:v>
                </c:pt>
                <c:pt idx="2092">
                  <c:v>42677</c:v>
                </c:pt>
                <c:pt idx="2093">
                  <c:v>42676</c:v>
                </c:pt>
                <c:pt idx="2094">
                  <c:v>42675</c:v>
                </c:pt>
                <c:pt idx="2095">
                  <c:v>42674</c:v>
                </c:pt>
                <c:pt idx="2096">
                  <c:v>42671</c:v>
                </c:pt>
                <c:pt idx="2097">
                  <c:v>42670</c:v>
                </c:pt>
                <c:pt idx="2098">
                  <c:v>42669</c:v>
                </c:pt>
                <c:pt idx="2099">
                  <c:v>42668</c:v>
                </c:pt>
                <c:pt idx="2100">
                  <c:v>42667</c:v>
                </c:pt>
                <c:pt idx="2101">
                  <c:v>42664</c:v>
                </c:pt>
                <c:pt idx="2102">
                  <c:v>42663</c:v>
                </c:pt>
                <c:pt idx="2103">
                  <c:v>42662</c:v>
                </c:pt>
                <c:pt idx="2104">
                  <c:v>42661</c:v>
                </c:pt>
                <c:pt idx="2105">
                  <c:v>42660</c:v>
                </c:pt>
                <c:pt idx="2106">
                  <c:v>42657</c:v>
                </c:pt>
                <c:pt idx="2107">
                  <c:v>42656</c:v>
                </c:pt>
                <c:pt idx="2108">
                  <c:v>42655</c:v>
                </c:pt>
                <c:pt idx="2109">
                  <c:v>42654</c:v>
                </c:pt>
                <c:pt idx="2110">
                  <c:v>42653</c:v>
                </c:pt>
                <c:pt idx="2111">
                  <c:v>42650</c:v>
                </c:pt>
                <c:pt idx="2112">
                  <c:v>42649</c:v>
                </c:pt>
                <c:pt idx="2113">
                  <c:v>42648</c:v>
                </c:pt>
                <c:pt idx="2114">
                  <c:v>42647</c:v>
                </c:pt>
                <c:pt idx="2115">
                  <c:v>42646</c:v>
                </c:pt>
                <c:pt idx="2116">
                  <c:v>42643</c:v>
                </c:pt>
                <c:pt idx="2117">
                  <c:v>42642</c:v>
                </c:pt>
                <c:pt idx="2118">
                  <c:v>42641</c:v>
                </c:pt>
                <c:pt idx="2119">
                  <c:v>42640</c:v>
                </c:pt>
                <c:pt idx="2120">
                  <c:v>42639</c:v>
                </c:pt>
                <c:pt idx="2121">
                  <c:v>42636</c:v>
                </c:pt>
                <c:pt idx="2122">
                  <c:v>42635</c:v>
                </c:pt>
                <c:pt idx="2123">
                  <c:v>42634</c:v>
                </c:pt>
                <c:pt idx="2124">
                  <c:v>42633</c:v>
                </c:pt>
                <c:pt idx="2125">
                  <c:v>42632</c:v>
                </c:pt>
                <c:pt idx="2126">
                  <c:v>42629</c:v>
                </c:pt>
                <c:pt idx="2127">
                  <c:v>42628</c:v>
                </c:pt>
                <c:pt idx="2128">
                  <c:v>42627</c:v>
                </c:pt>
                <c:pt idx="2129">
                  <c:v>42626</c:v>
                </c:pt>
                <c:pt idx="2130">
                  <c:v>42625</c:v>
                </c:pt>
                <c:pt idx="2131">
                  <c:v>42622</c:v>
                </c:pt>
                <c:pt idx="2132">
                  <c:v>42621</c:v>
                </c:pt>
                <c:pt idx="2133">
                  <c:v>42620</c:v>
                </c:pt>
                <c:pt idx="2134">
                  <c:v>42619</c:v>
                </c:pt>
                <c:pt idx="2135">
                  <c:v>42618</c:v>
                </c:pt>
                <c:pt idx="2136">
                  <c:v>42615</c:v>
                </c:pt>
                <c:pt idx="2137">
                  <c:v>42614</c:v>
                </c:pt>
                <c:pt idx="2138">
                  <c:v>42613</c:v>
                </c:pt>
                <c:pt idx="2139">
                  <c:v>42612</c:v>
                </c:pt>
                <c:pt idx="2140">
                  <c:v>42611</c:v>
                </c:pt>
                <c:pt idx="2141">
                  <c:v>42608</c:v>
                </c:pt>
                <c:pt idx="2142">
                  <c:v>42607</c:v>
                </c:pt>
                <c:pt idx="2143">
                  <c:v>42606</c:v>
                </c:pt>
                <c:pt idx="2144">
                  <c:v>42605</c:v>
                </c:pt>
                <c:pt idx="2145">
                  <c:v>42604</c:v>
                </c:pt>
                <c:pt idx="2146">
                  <c:v>42601</c:v>
                </c:pt>
                <c:pt idx="2147">
                  <c:v>42600</c:v>
                </c:pt>
                <c:pt idx="2148">
                  <c:v>42599</c:v>
                </c:pt>
                <c:pt idx="2149">
                  <c:v>42598</c:v>
                </c:pt>
                <c:pt idx="2150">
                  <c:v>42597</c:v>
                </c:pt>
                <c:pt idx="2151">
                  <c:v>42594</c:v>
                </c:pt>
                <c:pt idx="2152">
                  <c:v>42593</c:v>
                </c:pt>
                <c:pt idx="2153">
                  <c:v>42592</c:v>
                </c:pt>
                <c:pt idx="2154">
                  <c:v>42591</c:v>
                </c:pt>
                <c:pt idx="2155">
                  <c:v>42590</c:v>
                </c:pt>
                <c:pt idx="2156">
                  <c:v>42587</c:v>
                </c:pt>
                <c:pt idx="2157">
                  <c:v>42586</c:v>
                </c:pt>
                <c:pt idx="2158">
                  <c:v>42585</c:v>
                </c:pt>
                <c:pt idx="2159">
                  <c:v>42584</c:v>
                </c:pt>
                <c:pt idx="2160">
                  <c:v>42583</c:v>
                </c:pt>
                <c:pt idx="2161">
                  <c:v>42580</c:v>
                </c:pt>
                <c:pt idx="2162">
                  <c:v>42579</c:v>
                </c:pt>
                <c:pt idx="2163">
                  <c:v>42578</c:v>
                </c:pt>
                <c:pt idx="2164">
                  <c:v>42577</c:v>
                </c:pt>
                <c:pt idx="2165">
                  <c:v>42576</c:v>
                </c:pt>
                <c:pt idx="2166">
                  <c:v>42573</c:v>
                </c:pt>
                <c:pt idx="2167">
                  <c:v>42572</c:v>
                </c:pt>
                <c:pt idx="2168">
                  <c:v>42571</c:v>
                </c:pt>
                <c:pt idx="2169">
                  <c:v>42570</c:v>
                </c:pt>
                <c:pt idx="2170">
                  <c:v>42569</c:v>
                </c:pt>
                <c:pt idx="2171">
                  <c:v>42566</c:v>
                </c:pt>
                <c:pt idx="2172">
                  <c:v>42565</c:v>
                </c:pt>
                <c:pt idx="2173">
                  <c:v>42564</c:v>
                </c:pt>
                <c:pt idx="2174">
                  <c:v>42563</c:v>
                </c:pt>
                <c:pt idx="2175">
                  <c:v>42562</c:v>
                </c:pt>
                <c:pt idx="2176">
                  <c:v>42559</c:v>
                </c:pt>
                <c:pt idx="2177">
                  <c:v>42558</c:v>
                </c:pt>
                <c:pt idx="2178">
                  <c:v>42557</c:v>
                </c:pt>
                <c:pt idx="2179">
                  <c:v>42556</c:v>
                </c:pt>
                <c:pt idx="2180">
                  <c:v>42555</c:v>
                </c:pt>
                <c:pt idx="2181">
                  <c:v>42552</c:v>
                </c:pt>
                <c:pt idx="2182">
                  <c:v>42551</c:v>
                </c:pt>
                <c:pt idx="2183">
                  <c:v>42550</c:v>
                </c:pt>
                <c:pt idx="2184">
                  <c:v>42549</c:v>
                </c:pt>
                <c:pt idx="2185">
                  <c:v>42548</c:v>
                </c:pt>
                <c:pt idx="2186">
                  <c:v>42545</c:v>
                </c:pt>
                <c:pt idx="2187">
                  <c:v>42544</c:v>
                </c:pt>
                <c:pt idx="2188">
                  <c:v>42543</c:v>
                </c:pt>
                <c:pt idx="2189">
                  <c:v>42542</c:v>
                </c:pt>
                <c:pt idx="2190">
                  <c:v>42541</c:v>
                </c:pt>
                <c:pt idx="2191">
                  <c:v>42538</c:v>
                </c:pt>
                <c:pt idx="2192">
                  <c:v>42537</c:v>
                </c:pt>
                <c:pt idx="2193">
                  <c:v>42536</c:v>
                </c:pt>
                <c:pt idx="2194">
                  <c:v>42535</c:v>
                </c:pt>
                <c:pt idx="2195">
                  <c:v>42534</c:v>
                </c:pt>
                <c:pt idx="2196">
                  <c:v>42531</c:v>
                </c:pt>
                <c:pt idx="2197">
                  <c:v>42530</c:v>
                </c:pt>
                <c:pt idx="2198">
                  <c:v>42529</c:v>
                </c:pt>
                <c:pt idx="2199">
                  <c:v>42528</c:v>
                </c:pt>
                <c:pt idx="2200">
                  <c:v>42527</c:v>
                </c:pt>
                <c:pt idx="2201">
                  <c:v>42524</c:v>
                </c:pt>
                <c:pt idx="2202">
                  <c:v>42523</c:v>
                </c:pt>
                <c:pt idx="2203">
                  <c:v>42522</c:v>
                </c:pt>
                <c:pt idx="2204">
                  <c:v>42521</c:v>
                </c:pt>
                <c:pt idx="2205">
                  <c:v>42520</c:v>
                </c:pt>
                <c:pt idx="2206">
                  <c:v>42517</c:v>
                </c:pt>
                <c:pt idx="2207">
                  <c:v>42516</c:v>
                </c:pt>
                <c:pt idx="2208">
                  <c:v>42515</c:v>
                </c:pt>
                <c:pt idx="2209">
                  <c:v>42514</c:v>
                </c:pt>
                <c:pt idx="2210">
                  <c:v>42513</c:v>
                </c:pt>
                <c:pt idx="2211">
                  <c:v>42510</c:v>
                </c:pt>
                <c:pt idx="2212">
                  <c:v>42509</c:v>
                </c:pt>
                <c:pt idx="2213">
                  <c:v>42508</c:v>
                </c:pt>
                <c:pt idx="2214">
                  <c:v>42507</c:v>
                </c:pt>
                <c:pt idx="2215">
                  <c:v>42506</c:v>
                </c:pt>
                <c:pt idx="2216">
                  <c:v>42503</c:v>
                </c:pt>
                <c:pt idx="2217">
                  <c:v>42502</c:v>
                </c:pt>
                <c:pt idx="2218">
                  <c:v>42501</c:v>
                </c:pt>
                <c:pt idx="2219">
                  <c:v>42500</c:v>
                </c:pt>
                <c:pt idx="2220">
                  <c:v>42499</c:v>
                </c:pt>
                <c:pt idx="2221">
                  <c:v>42496</c:v>
                </c:pt>
                <c:pt idx="2222">
                  <c:v>42495</c:v>
                </c:pt>
                <c:pt idx="2223">
                  <c:v>42494</c:v>
                </c:pt>
                <c:pt idx="2224">
                  <c:v>42493</c:v>
                </c:pt>
                <c:pt idx="2225">
                  <c:v>42492</c:v>
                </c:pt>
                <c:pt idx="2226">
                  <c:v>42489</c:v>
                </c:pt>
                <c:pt idx="2227">
                  <c:v>42488</c:v>
                </c:pt>
                <c:pt idx="2228">
                  <c:v>42487</c:v>
                </c:pt>
                <c:pt idx="2229">
                  <c:v>42486</c:v>
                </c:pt>
                <c:pt idx="2230">
                  <c:v>42485</c:v>
                </c:pt>
                <c:pt idx="2231">
                  <c:v>42482</c:v>
                </c:pt>
                <c:pt idx="2232">
                  <c:v>42481</c:v>
                </c:pt>
                <c:pt idx="2233">
                  <c:v>42480</c:v>
                </c:pt>
                <c:pt idx="2234">
                  <c:v>42479</c:v>
                </c:pt>
                <c:pt idx="2235">
                  <c:v>42478</c:v>
                </c:pt>
                <c:pt idx="2236">
                  <c:v>42475</c:v>
                </c:pt>
                <c:pt idx="2237">
                  <c:v>42474</c:v>
                </c:pt>
                <c:pt idx="2238">
                  <c:v>42473</c:v>
                </c:pt>
                <c:pt idx="2239">
                  <c:v>42472</c:v>
                </c:pt>
                <c:pt idx="2240">
                  <c:v>42471</c:v>
                </c:pt>
                <c:pt idx="2241">
                  <c:v>42468</c:v>
                </c:pt>
                <c:pt idx="2242">
                  <c:v>42467</c:v>
                </c:pt>
                <c:pt idx="2243">
                  <c:v>42466</c:v>
                </c:pt>
                <c:pt idx="2244">
                  <c:v>42465</c:v>
                </c:pt>
                <c:pt idx="2245">
                  <c:v>42464</c:v>
                </c:pt>
                <c:pt idx="2246">
                  <c:v>42461</c:v>
                </c:pt>
                <c:pt idx="2247">
                  <c:v>42460</c:v>
                </c:pt>
                <c:pt idx="2248">
                  <c:v>42459</c:v>
                </c:pt>
                <c:pt idx="2249">
                  <c:v>42458</c:v>
                </c:pt>
                <c:pt idx="2250">
                  <c:v>42457</c:v>
                </c:pt>
                <c:pt idx="2251">
                  <c:v>42454</c:v>
                </c:pt>
                <c:pt idx="2252">
                  <c:v>42453</c:v>
                </c:pt>
                <c:pt idx="2253">
                  <c:v>42452</c:v>
                </c:pt>
                <c:pt idx="2254">
                  <c:v>42451</c:v>
                </c:pt>
                <c:pt idx="2255">
                  <c:v>42450</c:v>
                </c:pt>
                <c:pt idx="2256">
                  <c:v>42447</c:v>
                </c:pt>
                <c:pt idx="2257">
                  <c:v>42446</c:v>
                </c:pt>
                <c:pt idx="2258">
                  <c:v>42445</c:v>
                </c:pt>
                <c:pt idx="2259">
                  <c:v>42444</c:v>
                </c:pt>
                <c:pt idx="2260">
                  <c:v>42443</c:v>
                </c:pt>
                <c:pt idx="2261">
                  <c:v>42440</c:v>
                </c:pt>
                <c:pt idx="2262">
                  <c:v>42439</c:v>
                </c:pt>
                <c:pt idx="2263">
                  <c:v>42438</c:v>
                </c:pt>
                <c:pt idx="2264">
                  <c:v>42437</c:v>
                </c:pt>
                <c:pt idx="2265">
                  <c:v>42436</c:v>
                </c:pt>
                <c:pt idx="2266">
                  <c:v>42433</c:v>
                </c:pt>
                <c:pt idx="2267">
                  <c:v>42432</c:v>
                </c:pt>
                <c:pt idx="2268">
                  <c:v>42431</c:v>
                </c:pt>
                <c:pt idx="2269">
                  <c:v>42430</c:v>
                </c:pt>
                <c:pt idx="2270">
                  <c:v>42429</c:v>
                </c:pt>
                <c:pt idx="2271">
                  <c:v>42426</c:v>
                </c:pt>
                <c:pt idx="2272">
                  <c:v>42425</c:v>
                </c:pt>
                <c:pt idx="2273">
                  <c:v>42424</c:v>
                </c:pt>
                <c:pt idx="2274">
                  <c:v>42423</c:v>
                </c:pt>
                <c:pt idx="2275">
                  <c:v>42422</c:v>
                </c:pt>
                <c:pt idx="2276">
                  <c:v>42419</c:v>
                </c:pt>
                <c:pt idx="2277">
                  <c:v>42418</c:v>
                </c:pt>
                <c:pt idx="2278">
                  <c:v>42417</c:v>
                </c:pt>
                <c:pt idx="2279">
                  <c:v>42416</c:v>
                </c:pt>
                <c:pt idx="2280">
                  <c:v>42415</c:v>
                </c:pt>
                <c:pt idx="2281">
                  <c:v>42412</c:v>
                </c:pt>
                <c:pt idx="2282">
                  <c:v>42411</c:v>
                </c:pt>
                <c:pt idx="2283">
                  <c:v>42410</c:v>
                </c:pt>
                <c:pt idx="2284">
                  <c:v>42409</c:v>
                </c:pt>
                <c:pt idx="2285">
                  <c:v>42408</c:v>
                </c:pt>
                <c:pt idx="2286">
                  <c:v>42405</c:v>
                </c:pt>
                <c:pt idx="2287">
                  <c:v>42404</c:v>
                </c:pt>
                <c:pt idx="2288">
                  <c:v>42403</c:v>
                </c:pt>
                <c:pt idx="2289">
                  <c:v>42402</c:v>
                </c:pt>
                <c:pt idx="2290">
                  <c:v>42401</c:v>
                </c:pt>
                <c:pt idx="2291">
                  <c:v>42398</c:v>
                </c:pt>
                <c:pt idx="2292">
                  <c:v>42397</c:v>
                </c:pt>
                <c:pt idx="2293">
                  <c:v>42396</c:v>
                </c:pt>
                <c:pt idx="2294">
                  <c:v>42395</c:v>
                </c:pt>
                <c:pt idx="2295">
                  <c:v>42394</c:v>
                </c:pt>
                <c:pt idx="2296">
                  <c:v>42391</c:v>
                </c:pt>
                <c:pt idx="2297">
                  <c:v>42390</c:v>
                </c:pt>
                <c:pt idx="2298">
                  <c:v>42389</c:v>
                </c:pt>
                <c:pt idx="2299">
                  <c:v>42388</c:v>
                </c:pt>
                <c:pt idx="2300">
                  <c:v>42387</c:v>
                </c:pt>
                <c:pt idx="2301">
                  <c:v>42384</c:v>
                </c:pt>
                <c:pt idx="2302">
                  <c:v>42383</c:v>
                </c:pt>
                <c:pt idx="2303">
                  <c:v>42382</c:v>
                </c:pt>
                <c:pt idx="2304">
                  <c:v>42381</c:v>
                </c:pt>
                <c:pt idx="2305">
                  <c:v>42380</c:v>
                </c:pt>
                <c:pt idx="2306">
                  <c:v>42377</c:v>
                </c:pt>
                <c:pt idx="2307">
                  <c:v>42376</c:v>
                </c:pt>
                <c:pt idx="2308">
                  <c:v>42375</c:v>
                </c:pt>
                <c:pt idx="2309">
                  <c:v>42374</c:v>
                </c:pt>
                <c:pt idx="2310">
                  <c:v>42373</c:v>
                </c:pt>
                <c:pt idx="2311">
                  <c:v>42370</c:v>
                </c:pt>
                <c:pt idx="2312">
                  <c:v>42369</c:v>
                </c:pt>
                <c:pt idx="2313">
                  <c:v>42368</c:v>
                </c:pt>
                <c:pt idx="2314">
                  <c:v>42367</c:v>
                </c:pt>
                <c:pt idx="2315">
                  <c:v>42366</c:v>
                </c:pt>
                <c:pt idx="2316">
                  <c:v>42363</c:v>
                </c:pt>
                <c:pt idx="2317">
                  <c:v>42362</c:v>
                </c:pt>
                <c:pt idx="2318">
                  <c:v>42361</c:v>
                </c:pt>
                <c:pt idx="2319">
                  <c:v>42360</c:v>
                </c:pt>
                <c:pt idx="2320">
                  <c:v>42359</c:v>
                </c:pt>
                <c:pt idx="2321">
                  <c:v>42356</c:v>
                </c:pt>
                <c:pt idx="2322">
                  <c:v>42355</c:v>
                </c:pt>
                <c:pt idx="2323">
                  <c:v>42354</c:v>
                </c:pt>
                <c:pt idx="2324">
                  <c:v>42353</c:v>
                </c:pt>
                <c:pt idx="2325">
                  <c:v>42352</c:v>
                </c:pt>
                <c:pt idx="2326">
                  <c:v>42349</c:v>
                </c:pt>
                <c:pt idx="2327">
                  <c:v>42348</c:v>
                </c:pt>
                <c:pt idx="2328">
                  <c:v>42347</c:v>
                </c:pt>
                <c:pt idx="2329">
                  <c:v>42346</c:v>
                </c:pt>
                <c:pt idx="2330">
                  <c:v>42345</c:v>
                </c:pt>
                <c:pt idx="2331">
                  <c:v>42342</c:v>
                </c:pt>
                <c:pt idx="2332">
                  <c:v>42341</c:v>
                </c:pt>
                <c:pt idx="2333">
                  <c:v>42340</c:v>
                </c:pt>
                <c:pt idx="2334">
                  <c:v>42339</c:v>
                </c:pt>
                <c:pt idx="2335">
                  <c:v>42338</c:v>
                </c:pt>
                <c:pt idx="2336">
                  <c:v>42335</c:v>
                </c:pt>
                <c:pt idx="2337">
                  <c:v>42334</c:v>
                </c:pt>
                <c:pt idx="2338">
                  <c:v>42333</c:v>
                </c:pt>
                <c:pt idx="2339">
                  <c:v>42332</c:v>
                </c:pt>
                <c:pt idx="2340">
                  <c:v>42331</c:v>
                </c:pt>
                <c:pt idx="2341">
                  <c:v>42328</c:v>
                </c:pt>
                <c:pt idx="2342">
                  <c:v>42327</c:v>
                </c:pt>
                <c:pt idx="2343">
                  <c:v>42326</c:v>
                </c:pt>
                <c:pt idx="2344">
                  <c:v>42325</c:v>
                </c:pt>
                <c:pt idx="2345">
                  <c:v>42324</c:v>
                </c:pt>
                <c:pt idx="2346">
                  <c:v>42321</c:v>
                </c:pt>
                <c:pt idx="2347">
                  <c:v>42320</c:v>
                </c:pt>
                <c:pt idx="2348">
                  <c:v>42319</c:v>
                </c:pt>
                <c:pt idx="2349">
                  <c:v>42318</c:v>
                </c:pt>
                <c:pt idx="2350">
                  <c:v>42317</c:v>
                </c:pt>
                <c:pt idx="2351">
                  <c:v>42314</c:v>
                </c:pt>
                <c:pt idx="2352">
                  <c:v>42313</c:v>
                </c:pt>
                <c:pt idx="2353">
                  <c:v>42312</c:v>
                </c:pt>
                <c:pt idx="2354">
                  <c:v>42311</c:v>
                </c:pt>
                <c:pt idx="2355">
                  <c:v>42310</c:v>
                </c:pt>
                <c:pt idx="2356">
                  <c:v>42307</c:v>
                </c:pt>
                <c:pt idx="2357">
                  <c:v>42306</c:v>
                </c:pt>
                <c:pt idx="2358">
                  <c:v>42305</c:v>
                </c:pt>
                <c:pt idx="2359">
                  <c:v>42304</c:v>
                </c:pt>
                <c:pt idx="2360">
                  <c:v>42303</c:v>
                </c:pt>
                <c:pt idx="2361">
                  <c:v>42300</c:v>
                </c:pt>
                <c:pt idx="2362">
                  <c:v>42299</c:v>
                </c:pt>
                <c:pt idx="2363">
                  <c:v>42298</c:v>
                </c:pt>
                <c:pt idx="2364">
                  <c:v>42297</c:v>
                </c:pt>
                <c:pt idx="2365">
                  <c:v>42296</c:v>
                </c:pt>
                <c:pt idx="2366">
                  <c:v>42293</c:v>
                </c:pt>
                <c:pt idx="2367">
                  <c:v>42292</c:v>
                </c:pt>
                <c:pt idx="2368">
                  <c:v>42291</c:v>
                </c:pt>
                <c:pt idx="2369">
                  <c:v>42290</c:v>
                </c:pt>
                <c:pt idx="2370">
                  <c:v>42289</c:v>
                </c:pt>
                <c:pt idx="2371">
                  <c:v>42286</c:v>
                </c:pt>
                <c:pt idx="2372">
                  <c:v>42285</c:v>
                </c:pt>
                <c:pt idx="2373">
                  <c:v>42284</c:v>
                </c:pt>
                <c:pt idx="2374">
                  <c:v>42283</c:v>
                </c:pt>
                <c:pt idx="2375">
                  <c:v>42282</c:v>
                </c:pt>
                <c:pt idx="2376">
                  <c:v>42279</c:v>
                </c:pt>
                <c:pt idx="2377">
                  <c:v>42278</c:v>
                </c:pt>
                <c:pt idx="2378">
                  <c:v>42277</c:v>
                </c:pt>
                <c:pt idx="2379">
                  <c:v>42276</c:v>
                </c:pt>
                <c:pt idx="2380">
                  <c:v>42275</c:v>
                </c:pt>
                <c:pt idx="2381">
                  <c:v>42272</c:v>
                </c:pt>
                <c:pt idx="2382">
                  <c:v>42271</c:v>
                </c:pt>
                <c:pt idx="2383">
                  <c:v>42270</c:v>
                </c:pt>
                <c:pt idx="2384">
                  <c:v>42269</c:v>
                </c:pt>
                <c:pt idx="2385">
                  <c:v>42268</c:v>
                </c:pt>
                <c:pt idx="2386">
                  <c:v>42265</c:v>
                </c:pt>
                <c:pt idx="2387">
                  <c:v>42264</c:v>
                </c:pt>
                <c:pt idx="2388">
                  <c:v>42263</c:v>
                </c:pt>
                <c:pt idx="2389">
                  <c:v>42262</c:v>
                </c:pt>
                <c:pt idx="2390">
                  <c:v>42261</c:v>
                </c:pt>
                <c:pt idx="2391">
                  <c:v>42258</c:v>
                </c:pt>
                <c:pt idx="2392">
                  <c:v>42257</c:v>
                </c:pt>
                <c:pt idx="2393">
                  <c:v>42256</c:v>
                </c:pt>
                <c:pt idx="2394">
                  <c:v>42255</c:v>
                </c:pt>
                <c:pt idx="2395">
                  <c:v>42254</c:v>
                </c:pt>
                <c:pt idx="2396">
                  <c:v>42251</c:v>
                </c:pt>
                <c:pt idx="2397">
                  <c:v>42250</c:v>
                </c:pt>
                <c:pt idx="2398">
                  <c:v>42249</c:v>
                </c:pt>
                <c:pt idx="2399">
                  <c:v>42248</c:v>
                </c:pt>
                <c:pt idx="2400">
                  <c:v>42247</c:v>
                </c:pt>
                <c:pt idx="2401">
                  <c:v>42244</c:v>
                </c:pt>
                <c:pt idx="2402">
                  <c:v>42243</c:v>
                </c:pt>
                <c:pt idx="2403">
                  <c:v>42242</c:v>
                </c:pt>
                <c:pt idx="2404">
                  <c:v>42241</c:v>
                </c:pt>
                <c:pt idx="2405">
                  <c:v>42240</c:v>
                </c:pt>
                <c:pt idx="2406">
                  <c:v>42237</c:v>
                </c:pt>
                <c:pt idx="2407">
                  <c:v>42236</c:v>
                </c:pt>
                <c:pt idx="2408">
                  <c:v>42235</c:v>
                </c:pt>
                <c:pt idx="2409">
                  <c:v>42234</c:v>
                </c:pt>
                <c:pt idx="2410">
                  <c:v>42233</c:v>
                </c:pt>
                <c:pt idx="2411">
                  <c:v>42230</c:v>
                </c:pt>
                <c:pt idx="2412">
                  <c:v>42229</c:v>
                </c:pt>
                <c:pt idx="2413">
                  <c:v>42228</c:v>
                </c:pt>
                <c:pt idx="2414">
                  <c:v>42227</c:v>
                </c:pt>
                <c:pt idx="2415">
                  <c:v>42226</c:v>
                </c:pt>
                <c:pt idx="2416">
                  <c:v>42223</c:v>
                </c:pt>
                <c:pt idx="2417">
                  <c:v>42222</c:v>
                </c:pt>
                <c:pt idx="2418">
                  <c:v>42221</c:v>
                </c:pt>
                <c:pt idx="2419">
                  <c:v>42220</c:v>
                </c:pt>
                <c:pt idx="2420">
                  <c:v>42219</c:v>
                </c:pt>
                <c:pt idx="2421">
                  <c:v>42216</c:v>
                </c:pt>
                <c:pt idx="2422">
                  <c:v>42215</c:v>
                </c:pt>
                <c:pt idx="2423">
                  <c:v>42214</c:v>
                </c:pt>
                <c:pt idx="2424">
                  <c:v>42213</c:v>
                </c:pt>
                <c:pt idx="2425">
                  <c:v>42212</c:v>
                </c:pt>
                <c:pt idx="2426">
                  <c:v>42209</c:v>
                </c:pt>
                <c:pt idx="2427">
                  <c:v>42208</c:v>
                </c:pt>
                <c:pt idx="2428">
                  <c:v>42207</c:v>
                </c:pt>
                <c:pt idx="2429">
                  <c:v>42206</c:v>
                </c:pt>
                <c:pt idx="2430">
                  <c:v>42205</c:v>
                </c:pt>
                <c:pt idx="2431">
                  <c:v>42202</c:v>
                </c:pt>
                <c:pt idx="2432">
                  <c:v>42201</c:v>
                </c:pt>
                <c:pt idx="2433">
                  <c:v>42200</c:v>
                </c:pt>
                <c:pt idx="2434">
                  <c:v>42199</c:v>
                </c:pt>
                <c:pt idx="2435">
                  <c:v>42198</c:v>
                </c:pt>
                <c:pt idx="2436">
                  <c:v>42195</c:v>
                </c:pt>
                <c:pt idx="2437">
                  <c:v>42194</c:v>
                </c:pt>
                <c:pt idx="2438">
                  <c:v>42193</c:v>
                </c:pt>
                <c:pt idx="2439">
                  <c:v>42192</c:v>
                </c:pt>
                <c:pt idx="2440">
                  <c:v>42191</c:v>
                </c:pt>
                <c:pt idx="2441">
                  <c:v>42188</c:v>
                </c:pt>
                <c:pt idx="2442">
                  <c:v>42187</c:v>
                </c:pt>
                <c:pt idx="2443">
                  <c:v>42186</c:v>
                </c:pt>
                <c:pt idx="2444">
                  <c:v>42185</c:v>
                </c:pt>
                <c:pt idx="2445">
                  <c:v>42184</c:v>
                </c:pt>
                <c:pt idx="2446">
                  <c:v>42181</c:v>
                </c:pt>
                <c:pt idx="2447">
                  <c:v>42180</c:v>
                </c:pt>
                <c:pt idx="2448">
                  <c:v>42179</c:v>
                </c:pt>
                <c:pt idx="2449">
                  <c:v>42178</c:v>
                </c:pt>
                <c:pt idx="2450">
                  <c:v>42177</c:v>
                </c:pt>
                <c:pt idx="2451">
                  <c:v>42174</c:v>
                </c:pt>
                <c:pt idx="2452">
                  <c:v>42173</c:v>
                </c:pt>
                <c:pt idx="2453">
                  <c:v>42172</c:v>
                </c:pt>
                <c:pt idx="2454">
                  <c:v>42171</c:v>
                </c:pt>
                <c:pt idx="2455">
                  <c:v>42170</c:v>
                </c:pt>
                <c:pt idx="2456">
                  <c:v>42167</c:v>
                </c:pt>
                <c:pt idx="2457">
                  <c:v>42166</c:v>
                </c:pt>
                <c:pt idx="2458">
                  <c:v>42165</c:v>
                </c:pt>
                <c:pt idx="2459">
                  <c:v>42164</c:v>
                </c:pt>
                <c:pt idx="2460">
                  <c:v>42163</c:v>
                </c:pt>
                <c:pt idx="2461">
                  <c:v>42160</c:v>
                </c:pt>
                <c:pt idx="2462">
                  <c:v>42159</c:v>
                </c:pt>
                <c:pt idx="2463">
                  <c:v>42158</c:v>
                </c:pt>
                <c:pt idx="2464">
                  <c:v>42157</c:v>
                </c:pt>
                <c:pt idx="2465">
                  <c:v>42156</c:v>
                </c:pt>
                <c:pt idx="2466">
                  <c:v>42153</c:v>
                </c:pt>
                <c:pt idx="2467">
                  <c:v>42152</c:v>
                </c:pt>
                <c:pt idx="2468">
                  <c:v>42151</c:v>
                </c:pt>
                <c:pt idx="2469">
                  <c:v>42150</c:v>
                </c:pt>
                <c:pt idx="2470">
                  <c:v>42149</c:v>
                </c:pt>
                <c:pt idx="2471">
                  <c:v>42146</c:v>
                </c:pt>
                <c:pt idx="2472">
                  <c:v>42145</c:v>
                </c:pt>
                <c:pt idx="2473">
                  <c:v>42144</c:v>
                </c:pt>
                <c:pt idx="2474">
                  <c:v>42143</c:v>
                </c:pt>
                <c:pt idx="2475">
                  <c:v>42142</c:v>
                </c:pt>
                <c:pt idx="2476">
                  <c:v>42139</c:v>
                </c:pt>
                <c:pt idx="2477">
                  <c:v>42138</c:v>
                </c:pt>
                <c:pt idx="2478">
                  <c:v>42137</c:v>
                </c:pt>
                <c:pt idx="2479">
                  <c:v>42136</c:v>
                </c:pt>
                <c:pt idx="2480">
                  <c:v>42135</c:v>
                </c:pt>
                <c:pt idx="2481">
                  <c:v>42132</c:v>
                </c:pt>
                <c:pt idx="2482">
                  <c:v>42131</c:v>
                </c:pt>
                <c:pt idx="2483">
                  <c:v>42130</c:v>
                </c:pt>
                <c:pt idx="2484">
                  <c:v>42129</c:v>
                </c:pt>
                <c:pt idx="2485">
                  <c:v>42128</c:v>
                </c:pt>
                <c:pt idx="2486">
                  <c:v>42125</c:v>
                </c:pt>
                <c:pt idx="2487">
                  <c:v>42124</c:v>
                </c:pt>
                <c:pt idx="2488">
                  <c:v>42123</c:v>
                </c:pt>
                <c:pt idx="2489">
                  <c:v>42122</c:v>
                </c:pt>
                <c:pt idx="2490">
                  <c:v>42121</c:v>
                </c:pt>
                <c:pt idx="2491">
                  <c:v>42118</c:v>
                </c:pt>
                <c:pt idx="2492">
                  <c:v>42117</c:v>
                </c:pt>
                <c:pt idx="2493">
                  <c:v>42116</c:v>
                </c:pt>
                <c:pt idx="2494">
                  <c:v>42115</c:v>
                </c:pt>
                <c:pt idx="2495">
                  <c:v>42114</c:v>
                </c:pt>
                <c:pt idx="2496">
                  <c:v>42111</c:v>
                </c:pt>
                <c:pt idx="2497">
                  <c:v>42110</c:v>
                </c:pt>
                <c:pt idx="2498">
                  <c:v>42109</c:v>
                </c:pt>
                <c:pt idx="2499">
                  <c:v>42108</c:v>
                </c:pt>
                <c:pt idx="2500">
                  <c:v>42107</c:v>
                </c:pt>
                <c:pt idx="2501">
                  <c:v>42104</c:v>
                </c:pt>
                <c:pt idx="2502">
                  <c:v>42103</c:v>
                </c:pt>
                <c:pt idx="2503">
                  <c:v>42102</c:v>
                </c:pt>
                <c:pt idx="2504">
                  <c:v>42101</c:v>
                </c:pt>
                <c:pt idx="2505">
                  <c:v>42100</c:v>
                </c:pt>
                <c:pt idx="2506">
                  <c:v>42097</c:v>
                </c:pt>
                <c:pt idx="2507">
                  <c:v>42096</c:v>
                </c:pt>
                <c:pt idx="2508">
                  <c:v>42095</c:v>
                </c:pt>
                <c:pt idx="2509">
                  <c:v>42094</c:v>
                </c:pt>
                <c:pt idx="2510">
                  <c:v>42093</c:v>
                </c:pt>
                <c:pt idx="2511">
                  <c:v>42090</c:v>
                </c:pt>
                <c:pt idx="2512">
                  <c:v>42089</c:v>
                </c:pt>
                <c:pt idx="2513">
                  <c:v>42088</c:v>
                </c:pt>
                <c:pt idx="2514">
                  <c:v>42087</c:v>
                </c:pt>
                <c:pt idx="2515">
                  <c:v>42086</c:v>
                </c:pt>
                <c:pt idx="2516">
                  <c:v>42083</c:v>
                </c:pt>
                <c:pt idx="2517">
                  <c:v>42082</c:v>
                </c:pt>
                <c:pt idx="2518">
                  <c:v>42081</c:v>
                </c:pt>
                <c:pt idx="2519">
                  <c:v>42080</c:v>
                </c:pt>
                <c:pt idx="2520">
                  <c:v>42079</c:v>
                </c:pt>
                <c:pt idx="2521">
                  <c:v>42076</c:v>
                </c:pt>
                <c:pt idx="2522">
                  <c:v>42075</c:v>
                </c:pt>
                <c:pt idx="2523">
                  <c:v>42074</c:v>
                </c:pt>
                <c:pt idx="2524">
                  <c:v>42073</c:v>
                </c:pt>
                <c:pt idx="2525">
                  <c:v>42072</c:v>
                </c:pt>
                <c:pt idx="2526">
                  <c:v>42069</c:v>
                </c:pt>
                <c:pt idx="2527">
                  <c:v>42068</c:v>
                </c:pt>
                <c:pt idx="2528">
                  <c:v>42067</c:v>
                </c:pt>
                <c:pt idx="2529">
                  <c:v>42066</c:v>
                </c:pt>
                <c:pt idx="2530">
                  <c:v>42065</c:v>
                </c:pt>
                <c:pt idx="2531">
                  <c:v>42062</c:v>
                </c:pt>
                <c:pt idx="2532">
                  <c:v>42061</c:v>
                </c:pt>
                <c:pt idx="2533">
                  <c:v>42060</c:v>
                </c:pt>
                <c:pt idx="2534">
                  <c:v>42059</c:v>
                </c:pt>
                <c:pt idx="2535">
                  <c:v>42058</c:v>
                </c:pt>
                <c:pt idx="2536">
                  <c:v>42055</c:v>
                </c:pt>
                <c:pt idx="2537">
                  <c:v>42054</c:v>
                </c:pt>
                <c:pt idx="2538">
                  <c:v>42053</c:v>
                </c:pt>
                <c:pt idx="2539">
                  <c:v>42052</c:v>
                </c:pt>
                <c:pt idx="2540">
                  <c:v>42051</c:v>
                </c:pt>
                <c:pt idx="2541">
                  <c:v>42048</c:v>
                </c:pt>
                <c:pt idx="2542">
                  <c:v>42047</c:v>
                </c:pt>
                <c:pt idx="2543">
                  <c:v>42046</c:v>
                </c:pt>
                <c:pt idx="2544">
                  <c:v>42045</c:v>
                </c:pt>
                <c:pt idx="2545">
                  <c:v>42044</c:v>
                </c:pt>
                <c:pt idx="2546">
                  <c:v>42041</c:v>
                </c:pt>
                <c:pt idx="2547">
                  <c:v>42040</c:v>
                </c:pt>
                <c:pt idx="2548">
                  <c:v>42039</c:v>
                </c:pt>
                <c:pt idx="2549">
                  <c:v>42038</c:v>
                </c:pt>
                <c:pt idx="2550">
                  <c:v>42037</c:v>
                </c:pt>
                <c:pt idx="2551">
                  <c:v>42034</c:v>
                </c:pt>
                <c:pt idx="2552">
                  <c:v>42033</c:v>
                </c:pt>
                <c:pt idx="2553">
                  <c:v>42032</c:v>
                </c:pt>
                <c:pt idx="2554">
                  <c:v>42031</c:v>
                </c:pt>
                <c:pt idx="2555">
                  <c:v>42030</c:v>
                </c:pt>
                <c:pt idx="2556">
                  <c:v>42027</c:v>
                </c:pt>
                <c:pt idx="2557">
                  <c:v>42026</c:v>
                </c:pt>
                <c:pt idx="2558">
                  <c:v>42025</c:v>
                </c:pt>
                <c:pt idx="2559">
                  <c:v>42024</c:v>
                </c:pt>
                <c:pt idx="2560">
                  <c:v>42023</c:v>
                </c:pt>
                <c:pt idx="2561">
                  <c:v>42020</c:v>
                </c:pt>
                <c:pt idx="2562">
                  <c:v>42019</c:v>
                </c:pt>
                <c:pt idx="2563">
                  <c:v>42018</c:v>
                </c:pt>
                <c:pt idx="2564">
                  <c:v>42017</c:v>
                </c:pt>
                <c:pt idx="2565">
                  <c:v>42016</c:v>
                </c:pt>
                <c:pt idx="2566">
                  <c:v>42013</c:v>
                </c:pt>
                <c:pt idx="2567">
                  <c:v>42012</c:v>
                </c:pt>
                <c:pt idx="2568">
                  <c:v>42011</c:v>
                </c:pt>
                <c:pt idx="2569">
                  <c:v>42010</c:v>
                </c:pt>
                <c:pt idx="2570">
                  <c:v>42009</c:v>
                </c:pt>
                <c:pt idx="2571">
                  <c:v>42006</c:v>
                </c:pt>
                <c:pt idx="2572">
                  <c:v>42005</c:v>
                </c:pt>
                <c:pt idx="2573">
                  <c:v>42004</c:v>
                </c:pt>
                <c:pt idx="2574">
                  <c:v>42003</c:v>
                </c:pt>
                <c:pt idx="2575">
                  <c:v>42002</c:v>
                </c:pt>
                <c:pt idx="2576">
                  <c:v>41999</c:v>
                </c:pt>
                <c:pt idx="2577">
                  <c:v>41998</c:v>
                </c:pt>
                <c:pt idx="2578">
                  <c:v>41997</c:v>
                </c:pt>
                <c:pt idx="2579">
                  <c:v>41996</c:v>
                </c:pt>
                <c:pt idx="2580">
                  <c:v>41995</c:v>
                </c:pt>
                <c:pt idx="2581">
                  <c:v>41992</c:v>
                </c:pt>
                <c:pt idx="2582">
                  <c:v>41991</c:v>
                </c:pt>
                <c:pt idx="2583">
                  <c:v>41990</c:v>
                </c:pt>
                <c:pt idx="2584">
                  <c:v>41989</c:v>
                </c:pt>
                <c:pt idx="2585">
                  <c:v>41988</c:v>
                </c:pt>
                <c:pt idx="2586">
                  <c:v>41985</c:v>
                </c:pt>
                <c:pt idx="2587">
                  <c:v>41984</c:v>
                </c:pt>
                <c:pt idx="2588">
                  <c:v>41983</c:v>
                </c:pt>
                <c:pt idx="2589">
                  <c:v>41982</c:v>
                </c:pt>
                <c:pt idx="2590">
                  <c:v>41981</c:v>
                </c:pt>
                <c:pt idx="2591">
                  <c:v>41978</c:v>
                </c:pt>
                <c:pt idx="2592">
                  <c:v>41977</c:v>
                </c:pt>
                <c:pt idx="2593">
                  <c:v>41976</c:v>
                </c:pt>
                <c:pt idx="2594">
                  <c:v>41975</c:v>
                </c:pt>
                <c:pt idx="2595">
                  <c:v>41974</c:v>
                </c:pt>
                <c:pt idx="2596">
                  <c:v>41971</c:v>
                </c:pt>
                <c:pt idx="2597">
                  <c:v>41970</c:v>
                </c:pt>
                <c:pt idx="2598">
                  <c:v>41969</c:v>
                </c:pt>
                <c:pt idx="2599">
                  <c:v>41968</c:v>
                </c:pt>
                <c:pt idx="2600">
                  <c:v>41967</c:v>
                </c:pt>
                <c:pt idx="2601">
                  <c:v>41964</c:v>
                </c:pt>
                <c:pt idx="2602">
                  <c:v>41963</c:v>
                </c:pt>
                <c:pt idx="2603">
                  <c:v>41962</c:v>
                </c:pt>
                <c:pt idx="2604">
                  <c:v>41961</c:v>
                </c:pt>
                <c:pt idx="2605">
                  <c:v>41960</c:v>
                </c:pt>
                <c:pt idx="2606">
                  <c:v>41957</c:v>
                </c:pt>
                <c:pt idx="2607">
                  <c:v>41956</c:v>
                </c:pt>
                <c:pt idx="2608">
                  <c:v>41955</c:v>
                </c:pt>
                <c:pt idx="2609">
                  <c:v>41954</c:v>
                </c:pt>
              </c:numCache>
            </c:numRef>
          </c:cat>
          <c:val>
            <c:numRef>
              <c:f>Sheet1!$I$7:$I$2616</c:f>
              <c:numCache>
                <c:formatCode>General</c:formatCode>
                <c:ptCount val="2610"/>
                <c:pt idx="0">
                  <c:v>2615.1999999999998</c:v>
                </c:pt>
                <c:pt idx="1">
                  <c:v>2686.3</c:v>
                </c:pt>
                <c:pt idx="2">
                  <c:v>2697.11</c:v>
                </c:pt>
                <c:pt idx="3">
                  <c:v>2668.7</c:v>
                </c:pt>
                <c:pt idx="4">
                  <c:v>2742.16</c:v>
                </c:pt>
                <c:pt idx="5">
                  <c:v>2735.55</c:v>
                </c:pt>
                <c:pt idx="6">
                  <c:v>2743.41</c:v>
                </c:pt>
                <c:pt idx="7">
                  <c:v>2740.75</c:v>
                </c:pt>
                <c:pt idx="8">
                  <c:v>2784.42</c:v>
                </c:pt>
                <c:pt idx="9">
                  <c:v>2767.5</c:v>
                </c:pt>
                <c:pt idx="10">
                  <c:v>2743.13</c:v>
                </c:pt>
                <c:pt idx="11">
                  <c:v>2740.38</c:v>
                </c:pt>
                <c:pt idx="12">
                  <c:v>2734.15</c:v>
                </c:pt>
                <c:pt idx="13">
                  <c:v>2710.92</c:v>
                </c:pt>
                <c:pt idx="14">
                  <c:v>2743.94</c:v>
                </c:pt>
                <c:pt idx="15">
                  <c:v>2720.82</c:v>
                </c:pt>
                <c:pt idx="16">
                  <c:v>2718.35</c:v>
                </c:pt>
                <c:pt idx="17">
                  <c:v>2691.7</c:v>
                </c:pt>
                <c:pt idx="18">
                  <c:v>2670.88</c:v>
                </c:pt>
                <c:pt idx="19">
                  <c:v>2662.43</c:v>
                </c:pt>
                <c:pt idx="20">
                  <c:v>2647.35</c:v>
                </c:pt>
                <c:pt idx="21">
                  <c:v>2657.38</c:v>
                </c:pt>
                <c:pt idx="22">
                  <c:v>2624.65</c:v>
                </c:pt>
                <c:pt idx="23">
                  <c:v>2615.9</c:v>
                </c:pt>
                <c:pt idx="24">
                  <c:v>2612.4</c:v>
                </c:pt>
                <c:pt idx="25">
                  <c:v>2641.13</c:v>
                </c:pt>
                <c:pt idx="26">
                  <c:v>2666.66</c:v>
                </c:pt>
                <c:pt idx="27">
                  <c:v>2652.75</c:v>
                </c:pt>
                <c:pt idx="28">
                  <c:v>2641.75</c:v>
                </c:pt>
                <c:pt idx="29">
                  <c:v>2660.62</c:v>
                </c:pt>
                <c:pt idx="30">
                  <c:v>2633.96</c:v>
                </c:pt>
                <c:pt idx="31">
                  <c:v>2648.24</c:v>
                </c:pt>
                <c:pt idx="32">
                  <c:v>2666.5</c:v>
                </c:pt>
                <c:pt idx="33">
                  <c:v>2660.3</c:v>
                </c:pt>
                <c:pt idx="34">
                  <c:v>2645.54</c:v>
                </c:pt>
                <c:pt idx="35">
                  <c:v>2628.58</c:v>
                </c:pt>
                <c:pt idx="36">
                  <c:v>2614.0500000000002</c:v>
                </c:pt>
                <c:pt idx="37">
                  <c:v>2581.85</c:v>
                </c:pt>
                <c:pt idx="38">
                  <c:v>2571.3000000000002</c:v>
                </c:pt>
                <c:pt idx="39">
                  <c:v>2575.3000000000002</c:v>
                </c:pt>
                <c:pt idx="40">
                  <c:v>2581.1999999999998</c:v>
                </c:pt>
                <c:pt idx="41">
                  <c:v>2574.63</c:v>
                </c:pt>
                <c:pt idx="42">
                  <c:v>2550.44</c:v>
                </c:pt>
                <c:pt idx="43">
                  <c:v>2513.65</c:v>
                </c:pt>
                <c:pt idx="44">
                  <c:v>2509.8000000000002</c:v>
                </c:pt>
                <c:pt idx="45">
                  <c:v>2495</c:v>
                </c:pt>
                <c:pt idx="46">
                  <c:v>2514.63</c:v>
                </c:pt>
                <c:pt idx="47">
                  <c:v>2507.63</c:v>
                </c:pt>
                <c:pt idx="48">
                  <c:v>2496.1799999999998</c:v>
                </c:pt>
                <c:pt idx="49">
                  <c:v>2480.4499999999998</c:v>
                </c:pt>
                <c:pt idx="50">
                  <c:v>2500.8000000000002</c:v>
                </c:pt>
                <c:pt idx="51">
                  <c:v>2505.2800000000002</c:v>
                </c:pt>
                <c:pt idx="52">
                  <c:v>2523.75</c:v>
                </c:pt>
                <c:pt idx="53">
                  <c:v>2506.94</c:v>
                </c:pt>
                <c:pt idx="54">
                  <c:v>2515.83</c:v>
                </c:pt>
                <c:pt idx="55">
                  <c:v>2514.0300000000002</c:v>
                </c:pt>
                <c:pt idx="56">
                  <c:v>2516.0500000000002</c:v>
                </c:pt>
                <c:pt idx="57">
                  <c:v>2478.0100000000002</c:v>
                </c:pt>
                <c:pt idx="58">
                  <c:v>2504.9699999999998</c:v>
                </c:pt>
                <c:pt idx="59">
                  <c:v>2511.2800000000002</c:v>
                </c:pt>
                <c:pt idx="60">
                  <c:v>2503.81</c:v>
                </c:pt>
                <c:pt idx="61">
                  <c:v>2490</c:v>
                </c:pt>
                <c:pt idx="62">
                  <c:v>2457.37</c:v>
                </c:pt>
                <c:pt idx="63">
                  <c:v>2450.6999999999998</c:v>
                </c:pt>
                <c:pt idx="64">
                  <c:v>2471.1</c:v>
                </c:pt>
                <c:pt idx="65">
                  <c:v>2458.6799999999998</c:v>
                </c:pt>
                <c:pt idx="66">
                  <c:v>2428.21</c:v>
                </c:pt>
                <c:pt idx="67">
                  <c:v>2412.87</c:v>
                </c:pt>
                <c:pt idx="68">
                  <c:v>2400.38</c:v>
                </c:pt>
                <c:pt idx="69">
                  <c:v>2385.84</c:v>
                </c:pt>
                <c:pt idx="70">
                  <c:v>2407.9</c:v>
                </c:pt>
                <c:pt idx="71">
                  <c:v>2413.88</c:v>
                </c:pt>
                <c:pt idx="72">
                  <c:v>2446.35</c:v>
                </c:pt>
                <c:pt idx="73">
                  <c:v>2421.91</c:v>
                </c:pt>
                <c:pt idx="74">
                  <c:v>2390.2399999999998</c:v>
                </c:pt>
                <c:pt idx="75">
                  <c:v>2376.6999999999998</c:v>
                </c:pt>
                <c:pt idx="76">
                  <c:v>2382.6999999999998</c:v>
                </c:pt>
                <c:pt idx="77">
                  <c:v>2366.13</c:v>
                </c:pt>
                <c:pt idx="78">
                  <c:v>2426.54</c:v>
                </c:pt>
                <c:pt idx="79">
                  <c:v>2388.1</c:v>
                </c:pt>
                <c:pt idx="80">
                  <c:v>2388.1</c:v>
                </c:pt>
                <c:pt idx="81">
                  <c:v>2407.2399999999998</c:v>
                </c:pt>
                <c:pt idx="82">
                  <c:v>2466.5</c:v>
                </c:pt>
                <c:pt idx="83">
                  <c:v>2460.1</c:v>
                </c:pt>
                <c:pt idx="84">
                  <c:v>2456.29</c:v>
                </c:pt>
                <c:pt idx="85">
                  <c:v>2433.6</c:v>
                </c:pt>
                <c:pt idx="86">
                  <c:v>2411.77</c:v>
                </c:pt>
                <c:pt idx="87">
                  <c:v>2418.75</c:v>
                </c:pt>
                <c:pt idx="88">
                  <c:v>2377.17</c:v>
                </c:pt>
                <c:pt idx="89">
                  <c:v>2353.0500000000002</c:v>
                </c:pt>
                <c:pt idx="90">
                  <c:v>2373.0500000000002</c:v>
                </c:pt>
                <c:pt idx="91">
                  <c:v>2383.3000000000002</c:v>
                </c:pt>
                <c:pt idx="92">
                  <c:v>2359.5100000000002</c:v>
                </c:pt>
                <c:pt idx="93">
                  <c:v>2363.2399999999998</c:v>
                </c:pt>
                <c:pt idx="94">
                  <c:v>2328.8000000000002</c:v>
                </c:pt>
                <c:pt idx="95">
                  <c:v>2328.34</c:v>
                </c:pt>
                <c:pt idx="96">
                  <c:v>2326.3000000000002</c:v>
                </c:pt>
                <c:pt idx="97">
                  <c:v>2329.7399999999998</c:v>
                </c:pt>
                <c:pt idx="98">
                  <c:v>2301.87</c:v>
                </c:pt>
                <c:pt idx="99">
                  <c:v>2324.37</c:v>
                </c:pt>
                <c:pt idx="100">
                  <c:v>2332.42</c:v>
                </c:pt>
                <c:pt idx="101">
                  <c:v>2332.2199999999998</c:v>
                </c:pt>
                <c:pt idx="102">
                  <c:v>2358.69</c:v>
                </c:pt>
                <c:pt idx="103">
                  <c:v>2325.5100000000002</c:v>
                </c:pt>
                <c:pt idx="104">
                  <c:v>2323.16</c:v>
                </c:pt>
                <c:pt idx="105">
                  <c:v>2323.19</c:v>
                </c:pt>
                <c:pt idx="106">
                  <c:v>2331.65</c:v>
                </c:pt>
                <c:pt idx="107">
                  <c:v>2309.6799999999998</c:v>
                </c:pt>
                <c:pt idx="108">
                  <c:v>2325.7399999999998</c:v>
                </c:pt>
                <c:pt idx="109">
                  <c:v>2312.1</c:v>
                </c:pt>
                <c:pt idx="110">
                  <c:v>2304.69</c:v>
                </c:pt>
                <c:pt idx="111">
                  <c:v>2315.44</c:v>
                </c:pt>
                <c:pt idx="112">
                  <c:v>2370.33</c:v>
                </c:pt>
                <c:pt idx="113">
                  <c:v>2352.38</c:v>
                </c:pt>
                <c:pt idx="114">
                  <c:v>2326.79</c:v>
                </c:pt>
                <c:pt idx="115">
                  <c:v>2338.98</c:v>
                </c:pt>
                <c:pt idx="116">
                  <c:v>2330.65</c:v>
                </c:pt>
                <c:pt idx="117">
                  <c:v>2344.7199999999998</c:v>
                </c:pt>
                <c:pt idx="118">
                  <c:v>2340.48</c:v>
                </c:pt>
                <c:pt idx="119">
                  <c:v>2356.12</c:v>
                </c:pt>
                <c:pt idx="120">
                  <c:v>2354.54</c:v>
                </c:pt>
                <c:pt idx="121">
                  <c:v>2339.3000000000002</c:v>
                </c:pt>
                <c:pt idx="122">
                  <c:v>2342.31</c:v>
                </c:pt>
                <c:pt idx="123">
                  <c:v>2391.9499999999998</c:v>
                </c:pt>
                <c:pt idx="124">
                  <c:v>2431.75</c:v>
                </c:pt>
                <c:pt idx="125">
                  <c:v>2424.37</c:v>
                </c:pt>
                <c:pt idx="126">
                  <c:v>2408.25</c:v>
                </c:pt>
                <c:pt idx="127">
                  <c:v>2377.58</c:v>
                </c:pt>
                <c:pt idx="128">
                  <c:v>2380.75</c:v>
                </c:pt>
                <c:pt idx="129">
                  <c:v>2350.8000000000002</c:v>
                </c:pt>
                <c:pt idx="130">
                  <c:v>2337.4299999999998</c:v>
                </c:pt>
                <c:pt idx="131">
                  <c:v>2361.96</c:v>
                </c:pt>
                <c:pt idx="132">
                  <c:v>2336.7600000000002</c:v>
                </c:pt>
                <c:pt idx="133">
                  <c:v>2313.75</c:v>
                </c:pt>
                <c:pt idx="134">
                  <c:v>2316.5500000000002</c:v>
                </c:pt>
                <c:pt idx="135">
                  <c:v>2323.06</c:v>
                </c:pt>
                <c:pt idx="136">
                  <c:v>2293.6799999999998</c:v>
                </c:pt>
                <c:pt idx="137">
                  <c:v>2302.13</c:v>
                </c:pt>
                <c:pt idx="138">
                  <c:v>2304.83</c:v>
                </c:pt>
                <c:pt idx="139">
                  <c:v>2296.4899999999998</c:v>
                </c:pt>
                <c:pt idx="140">
                  <c:v>2335.16</c:v>
                </c:pt>
                <c:pt idx="141">
                  <c:v>2333.34</c:v>
                </c:pt>
                <c:pt idx="142">
                  <c:v>2334.59</c:v>
                </c:pt>
                <c:pt idx="143">
                  <c:v>2332.0700000000002</c:v>
                </c:pt>
                <c:pt idx="144">
                  <c:v>2319.17</c:v>
                </c:pt>
                <c:pt idx="145">
                  <c:v>2336.4899999999998</c:v>
                </c:pt>
                <c:pt idx="146">
                  <c:v>2394.0500000000002</c:v>
                </c:pt>
                <c:pt idx="147">
                  <c:v>2381.02</c:v>
                </c:pt>
                <c:pt idx="148">
                  <c:v>2390.15</c:v>
                </c:pt>
                <c:pt idx="149">
                  <c:v>2386.23</c:v>
                </c:pt>
                <c:pt idx="150">
                  <c:v>2346.1999999999998</c:v>
                </c:pt>
                <c:pt idx="151">
                  <c:v>2412.9699999999998</c:v>
                </c:pt>
                <c:pt idx="152">
                  <c:v>2339.12</c:v>
                </c:pt>
                <c:pt idx="153">
                  <c:v>2332.0500000000002</c:v>
                </c:pt>
                <c:pt idx="154">
                  <c:v>2346.17</c:v>
                </c:pt>
                <c:pt idx="155">
                  <c:v>2330.31</c:v>
                </c:pt>
                <c:pt idx="156">
                  <c:v>2323.04</c:v>
                </c:pt>
                <c:pt idx="157">
                  <c:v>2292.4699999999998</c:v>
                </c:pt>
                <c:pt idx="158">
                  <c:v>2282.9699999999998</c:v>
                </c:pt>
                <c:pt idx="159">
                  <c:v>2258.9299999999998</c:v>
                </c:pt>
                <c:pt idx="160">
                  <c:v>2235.12</c:v>
                </c:pt>
                <c:pt idx="161">
                  <c:v>2214.3000000000002</c:v>
                </c:pt>
                <c:pt idx="162">
                  <c:v>2214.3000000000002</c:v>
                </c:pt>
                <c:pt idx="163">
                  <c:v>2190.84</c:v>
                </c:pt>
                <c:pt idx="164">
                  <c:v>2176.2199999999998</c:v>
                </c:pt>
                <c:pt idx="165">
                  <c:v>2176.36</c:v>
                </c:pt>
                <c:pt idx="166">
                  <c:v>2166.41</c:v>
                </c:pt>
                <c:pt idx="167">
                  <c:v>2176.85</c:v>
                </c:pt>
                <c:pt idx="168">
                  <c:v>2157.1999999999998</c:v>
                </c:pt>
                <c:pt idx="169">
                  <c:v>2154.14</c:v>
                </c:pt>
                <c:pt idx="170">
                  <c:v>2156.4499999999998</c:v>
                </c:pt>
                <c:pt idx="171">
                  <c:v>2162.0500000000002</c:v>
                </c:pt>
                <c:pt idx="172">
                  <c:v>2158.4</c:v>
                </c:pt>
                <c:pt idx="173">
                  <c:v>2170.85</c:v>
                </c:pt>
                <c:pt idx="174">
                  <c:v>2163.1</c:v>
                </c:pt>
                <c:pt idx="175">
                  <c:v>2184.65</c:v>
                </c:pt>
                <c:pt idx="176">
                  <c:v>2173.25</c:v>
                </c:pt>
                <c:pt idx="177">
                  <c:v>2151.75</c:v>
                </c:pt>
                <c:pt idx="178">
                  <c:v>2145.9</c:v>
                </c:pt>
                <c:pt idx="179">
                  <c:v>2127.1</c:v>
                </c:pt>
                <c:pt idx="180">
                  <c:v>2115.5500000000002</c:v>
                </c:pt>
                <c:pt idx="181">
                  <c:v>2073.6</c:v>
                </c:pt>
                <c:pt idx="182">
                  <c:v>2045.45</c:v>
                </c:pt>
                <c:pt idx="183">
                  <c:v>2032.4</c:v>
                </c:pt>
                <c:pt idx="184">
                  <c:v>2032.7</c:v>
                </c:pt>
                <c:pt idx="185">
                  <c:v>2027.45</c:v>
                </c:pt>
                <c:pt idx="186">
                  <c:v>2033.4</c:v>
                </c:pt>
                <c:pt idx="187">
                  <c:v>2022.87</c:v>
                </c:pt>
                <c:pt idx="188">
                  <c:v>2024.55</c:v>
                </c:pt>
                <c:pt idx="189">
                  <c:v>2026.66</c:v>
                </c:pt>
                <c:pt idx="190">
                  <c:v>2014.8</c:v>
                </c:pt>
                <c:pt idx="191">
                  <c:v>2010.1</c:v>
                </c:pt>
                <c:pt idx="192">
                  <c:v>2000.55</c:v>
                </c:pt>
                <c:pt idx="193">
                  <c:v>1989.3</c:v>
                </c:pt>
                <c:pt idx="194">
                  <c:v>1994.81</c:v>
                </c:pt>
                <c:pt idx="195">
                  <c:v>2013.85</c:v>
                </c:pt>
                <c:pt idx="196">
                  <c:v>2021.35</c:v>
                </c:pt>
                <c:pt idx="197">
                  <c:v>2030.71</c:v>
                </c:pt>
                <c:pt idx="198">
                  <c:v>2040.9</c:v>
                </c:pt>
                <c:pt idx="199">
                  <c:v>2036.72</c:v>
                </c:pt>
                <c:pt idx="200">
                  <c:v>2019.55</c:v>
                </c:pt>
                <c:pt idx="201">
                  <c:v>2035.4</c:v>
                </c:pt>
                <c:pt idx="202">
                  <c:v>2059.85</c:v>
                </c:pt>
                <c:pt idx="203">
                  <c:v>2048.35</c:v>
                </c:pt>
                <c:pt idx="204">
                  <c:v>2033.38</c:v>
                </c:pt>
                <c:pt idx="205">
                  <c:v>2025.53</c:v>
                </c:pt>
                <c:pt idx="206">
                  <c:v>2016.55</c:v>
                </c:pt>
                <c:pt idx="207">
                  <c:v>2019.8</c:v>
                </c:pt>
                <c:pt idx="208">
                  <c:v>2013.6</c:v>
                </c:pt>
                <c:pt idx="209">
                  <c:v>2026.23</c:v>
                </c:pt>
                <c:pt idx="210">
                  <c:v>2021.91</c:v>
                </c:pt>
                <c:pt idx="211">
                  <c:v>2027.25</c:v>
                </c:pt>
                <c:pt idx="212">
                  <c:v>2014.45</c:v>
                </c:pt>
                <c:pt idx="213">
                  <c:v>2010.2</c:v>
                </c:pt>
                <c:pt idx="214">
                  <c:v>2035.8</c:v>
                </c:pt>
                <c:pt idx="215">
                  <c:v>2053.7399999999998</c:v>
                </c:pt>
                <c:pt idx="216">
                  <c:v>2052.6999999999998</c:v>
                </c:pt>
                <c:pt idx="217">
                  <c:v>2025.5</c:v>
                </c:pt>
                <c:pt idx="218">
                  <c:v>2026.15</c:v>
                </c:pt>
                <c:pt idx="219">
                  <c:v>2027.45</c:v>
                </c:pt>
                <c:pt idx="220">
                  <c:v>2036.45</c:v>
                </c:pt>
                <c:pt idx="221">
                  <c:v>2056.0500000000002</c:v>
                </c:pt>
                <c:pt idx="222">
                  <c:v>2045.2</c:v>
                </c:pt>
                <c:pt idx="223">
                  <c:v>2033.85</c:v>
                </c:pt>
                <c:pt idx="224">
                  <c:v>2066.5500000000002</c:v>
                </c:pt>
                <c:pt idx="225">
                  <c:v>2065.4499999999998</c:v>
                </c:pt>
                <c:pt idx="226">
                  <c:v>2065.4499999999998</c:v>
                </c:pt>
                <c:pt idx="227">
                  <c:v>2075.1999999999998</c:v>
                </c:pt>
                <c:pt idx="228">
                  <c:v>2078.9499999999998</c:v>
                </c:pt>
                <c:pt idx="229">
                  <c:v>2057.6</c:v>
                </c:pt>
                <c:pt idx="230">
                  <c:v>2061.35</c:v>
                </c:pt>
                <c:pt idx="231">
                  <c:v>2061.35</c:v>
                </c:pt>
                <c:pt idx="232">
                  <c:v>2042.65</c:v>
                </c:pt>
                <c:pt idx="233">
                  <c:v>2034.65</c:v>
                </c:pt>
                <c:pt idx="234">
                  <c:v>2043.8</c:v>
                </c:pt>
                <c:pt idx="235">
                  <c:v>2022.4</c:v>
                </c:pt>
                <c:pt idx="236">
                  <c:v>2035.25</c:v>
                </c:pt>
                <c:pt idx="237">
                  <c:v>2040.25</c:v>
                </c:pt>
                <c:pt idx="238">
                  <c:v>1982.05</c:v>
                </c:pt>
                <c:pt idx="239">
                  <c:v>1983.19</c:v>
                </c:pt>
                <c:pt idx="240">
                  <c:v>1982.35</c:v>
                </c:pt>
                <c:pt idx="241">
                  <c:v>2004.2</c:v>
                </c:pt>
                <c:pt idx="242">
                  <c:v>2030</c:v>
                </c:pt>
                <c:pt idx="243">
                  <c:v>2029.2</c:v>
                </c:pt>
                <c:pt idx="244">
                  <c:v>2016.3</c:v>
                </c:pt>
                <c:pt idx="245">
                  <c:v>2026.45</c:v>
                </c:pt>
                <c:pt idx="246">
                  <c:v>2056.15</c:v>
                </c:pt>
                <c:pt idx="247">
                  <c:v>2037.8</c:v>
                </c:pt>
                <c:pt idx="248">
                  <c:v>2041.44</c:v>
                </c:pt>
                <c:pt idx="249">
                  <c:v>2034.55</c:v>
                </c:pt>
                <c:pt idx="250">
                  <c:v>2008.95</c:v>
                </c:pt>
                <c:pt idx="251">
                  <c:v>1998.85</c:v>
                </c:pt>
                <c:pt idx="252">
                  <c:v>1990.41</c:v>
                </c:pt>
                <c:pt idx="253">
                  <c:v>1994.25</c:v>
                </c:pt>
                <c:pt idx="254">
                  <c:v>2002.55</c:v>
                </c:pt>
                <c:pt idx="255">
                  <c:v>1974.4</c:v>
                </c:pt>
                <c:pt idx="256">
                  <c:v>1980.95</c:v>
                </c:pt>
                <c:pt idx="257">
                  <c:v>1982.65</c:v>
                </c:pt>
                <c:pt idx="258">
                  <c:v>1958.4</c:v>
                </c:pt>
                <c:pt idx="259">
                  <c:v>1968.7</c:v>
                </c:pt>
                <c:pt idx="260">
                  <c:v>1935.95</c:v>
                </c:pt>
                <c:pt idx="261">
                  <c:v>1946.7</c:v>
                </c:pt>
                <c:pt idx="262">
                  <c:v>1959.85</c:v>
                </c:pt>
                <c:pt idx="263">
                  <c:v>1958.4</c:v>
                </c:pt>
                <c:pt idx="264">
                  <c:v>1963.85</c:v>
                </c:pt>
                <c:pt idx="265">
                  <c:v>1984.05</c:v>
                </c:pt>
                <c:pt idx="266">
                  <c:v>1995.41</c:v>
                </c:pt>
                <c:pt idx="267">
                  <c:v>1983.85</c:v>
                </c:pt>
                <c:pt idx="268">
                  <c:v>1985.15</c:v>
                </c:pt>
                <c:pt idx="269">
                  <c:v>1995.9</c:v>
                </c:pt>
                <c:pt idx="270">
                  <c:v>1997.8</c:v>
                </c:pt>
                <c:pt idx="271">
                  <c:v>1981.9</c:v>
                </c:pt>
                <c:pt idx="272">
                  <c:v>1980.25</c:v>
                </c:pt>
                <c:pt idx="273">
                  <c:v>1975.25</c:v>
                </c:pt>
                <c:pt idx="274">
                  <c:v>1961.75</c:v>
                </c:pt>
                <c:pt idx="275">
                  <c:v>1977.45</c:v>
                </c:pt>
                <c:pt idx="276">
                  <c:v>1993.85</c:v>
                </c:pt>
                <c:pt idx="277">
                  <c:v>1954.55</c:v>
                </c:pt>
                <c:pt idx="278">
                  <c:v>1941.4</c:v>
                </c:pt>
                <c:pt idx="279">
                  <c:v>1926.15</c:v>
                </c:pt>
                <c:pt idx="280">
                  <c:v>1920.9</c:v>
                </c:pt>
                <c:pt idx="281">
                  <c:v>1919.3</c:v>
                </c:pt>
                <c:pt idx="282">
                  <c:v>1873.05</c:v>
                </c:pt>
                <c:pt idx="283">
                  <c:v>1870.51</c:v>
                </c:pt>
                <c:pt idx="284">
                  <c:v>1858.25</c:v>
                </c:pt>
                <c:pt idx="285">
                  <c:v>1852.3</c:v>
                </c:pt>
                <c:pt idx="286">
                  <c:v>1829.8</c:v>
                </c:pt>
                <c:pt idx="287">
                  <c:v>1818.4</c:v>
                </c:pt>
                <c:pt idx="288">
                  <c:v>1823</c:v>
                </c:pt>
                <c:pt idx="289">
                  <c:v>1825.55</c:v>
                </c:pt>
                <c:pt idx="290">
                  <c:v>1830.35</c:v>
                </c:pt>
                <c:pt idx="291">
                  <c:v>1856.75</c:v>
                </c:pt>
                <c:pt idx="292">
                  <c:v>1860.09</c:v>
                </c:pt>
                <c:pt idx="293">
                  <c:v>1883.4</c:v>
                </c:pt>
                <c:pt idx="294">
                  <c:v>1904.15</c:v>
                </c:pt>
                <c:pt idx="295">
                  <c:v>1917.05</c:v>
                </c:pt>
                <c:pt idx="296">
                  <c:v>1927.45</c:v>
                </c:pt>
                <c:pt idx="297">
                  <c:v>1919.86</c:v>
                </c:pt>
                <c:pt idx="298">
                  <c:v>1945.35</c:v>
                </c:pt>
                <c:pt idx="299">
                  <c:v>1933.7</c:v>
                </c:pt>
                <c:pt idx="300">
                  <c:v>1926.85</c:v>
                </c:pt>
                <c:pt idx="301">
                  <c:v>1928.05</c:v>
                </c:pt>
                <c:pt idx="302">
                  <c:v>1911.2</c:v>
                </c:pt>
                <c:pt idx="303">
                  <c:v>1912.47</c:v>
                </c:pt>
                <c:pt idx="304">
                  <c:v>1912.97</c:v>
                </c:pt>
                <c:pt idx="305">
                  <c:v>1921.9</c:v>
                </c:pt>
                <c:pt idx="306">
                  <c:v>1921.95</c:v>
                </c:pt>
                <c:pt idx="307">
                  <c:v>1917.8</c:v>
                </c:pt>
                <c:pt idx="308">
                  <c:v>1916.7</c:v>
                </c:pt>
                <c:pt idx="309">
                  <c:v>1928.8</c:v>
                </c:pt>
                <c:pt idx="310">
                  <c:v>1938.39</c:v>
                </c:pt>
                <c:pt idx="311">
                  <c:v>1939.25</c:v>
                </c:pt>
                <c:pt idx="312">
                  <c:v>1942.45</c:v>
                </c:pt>
                <c:pt idx="313">
                  <c:v>1945.6</c:v>
                </c:pt>
                <c:pt idx="314">
                  <c:v>1934.7</c:v>
                </c:pt>
                <c:pt idx="315">
                  <c:v>1919.29</c:v>
                </c:pt>
                <c:pt idx="316">
                  <c:v>1905.05</c:v>
                </c:pt>
                <c:pt idx="317">
                  <c:v>1921.15</c:v>
                </c:pt>
                <c:pt idx="318">
                  <c:v>1917.1</c:v>
                </c:pt>
                <c:pt idx="319">
                  <c:v>1897.05</c:v>
                </c:pt>
                <c:pt idx="320">
                  <c:v>1888.35</c:v>
                </c:pt>
                <c:pt idx="321">
                  <c:v>1892.45</c:v>
                </c:pt>
                <c:pt idx="322">
                  <c:v>1895.25</c:v>
                </c:pt>
                <c:pt idx="323">
                  <c:v>1903.9</c:v>
                </c:pt>
                <c:pt idx="324">
                  <c:v>1908.2</c:v>
                </c:pt>
                <c:pt idx="325">
                  <c:v>1908.65</c:v>
                </c:pt>
                <c:pt idx="326">
                  <c:v>1917.85</c:v>
                </c:pt>
                <c:pt idx="327">
                  <c:v>1913.85</c:v>
                </c:pt>
                <c:pt idx="328">
                  <c:v>1917.56</c:v>
                </c:pt>
                <c:pt idx="329">
                  <c:v>1927.5</c:v>
                </c:pt>
                <c:pt idx="330">
                  <c:v>1934.3</c:v>
                </c:pt>
                <c:pt idx="331">
                  <c:v>1939.75</c:v>
                </c:pt>
                <c:pt idx="332">
                  <c:v>1936.25</c:v>
                </c:pt>
                <c:pt idx="333">
                  <c:v>1934.6</c:v>
                </c:pt>
                <c:pt idx="334">
                  <c:v>1943.1</c:v>
                </c:pt>
                <c:pt idx="335">
                  <c:v>1968.4</c:v>
                </c:pt>
                <c:pt idx="336">
                  <c:v>1960.75</c:v>
                </c:pt>
                <c:pt idx="337">
                  <c:v>1945.01</c:v>
                </c:pt>
                <c:pt idx="338">
                  <c:v>1970.95</c:v>
                </c:pt>
                <c:pt idx="339">
                  <c:v>1962.04</c:v>
                </c:pt>
                <c:pt idx="340">
                  <c:v>1960.6</c:v>
                </c:pt>
                <c:pt idx="341">
                  <c:v>1960.65</c:v>
                </c:pt>
                <c:pt idx="342">
                  <c:v>1970.1</c:v>
                </c:pt>
                <c:pt idx="343">
                  <c:v>1976.05</c:v>
                </c:pt>
                <c:pt idx="344">
                  <c:v>1982.75</c:v>
                </c:pt>
                <c:pt idx="345">
                  <c:v>1953.35</c:v>
                </c:pt>
                <c:pt idx="346">
                  <c:v>1959.25</c:v>
                </c:pt>
                <c:pt idx="347">
                  <c:v>1959.9</c:v>
                </c:pt>
                <c:pt idx="348">
                  <c:v>1953.65</c:v>
                </c:pt>
                <c:pt idx="349">
                  <c:v>1932.05</c:v>
                </c:pt>
                <c:pt idx="350">
                  <c:v>1922.4</c:v>
                </c:pt>
                <c:pt idx="351">
                  <c:v>1929.5</c:v>
                </c:pt>
                <c:pt idx="352">
                  <c:v>1909.92</c:v>
                </c:pt>
                <c:pt idx="353">
                  <c:v>1923.71</c:v>
                </c:pt>
                <c:pt idx="354">
                  <c:v>1927.3</c:v>
                </c:pt>
                <c:pt idx="355">
                  <c:v>1927.34</c:v>
                </c:pt>
                <c:pt idx="356">
                  <c:v>1916</c:v>
                </c:pt>
                <c:pt idx="357">
                  <c:v>1911.45</c:v>
                </c:pt>
                <c:pt idx="358">
                  <c:v>1909.55</c:v>
                </c:pt>
                <c:pt idx="359">
                  <c:v>1915.05</c:v>
                </c:pt>
                <c:pt idx="360">
                  <c:v>1925.86</c:v>
                </c:pt>
                <c:pt idx="361">
                  <c:v>1924.05</c:v>
                </c:pt>
                <c:pt idx="362">
                  <c:v>1935.85</c:v>
                </c:pt>
                <c:pt idx="363">
                  <c:v>1930.2</c:v>
                </c:pt>
                <c:pt idx="364">
                  <c:v>1935.8</c:v>
                </c:pt>
                <c:pt idx="365">
                  <c:v>1952.55</c:v>
                </c:pt>
                <c:pt idx="366">
                  <c:v>1959.35</c:v>
                </c:pt>
                <c:pt idx="367">
                  <c:v>1952.6</c:v>
                </c:pt>
                <c:pt idx="368">
                  <c:v>1957.7</c:v>
                </c:pt>
                <c:pt idx="369">
                  <c:v>1950.9</c:v>
                </c:pt>
                <c:pt idx="370">
                  <c:v>1956.45</c:v>
                </c:pt>
                <c:pt idx="371">
                  <c:v>1963.48</c:v>
                </c:pt>
                <c:pt idx="372">
                  <c:v>1968.32</c:v>
                </c:pt>
                <c:pt idx="373">
                  <c:v>1958</c:v>
                </c:pt>
                <c:pt idx="374">
                  <c:v>1959.4</c:v>
                </c:pt>
                <c:pt idx="375">
                  <c:v>1957.45</c:v>
                </c:pt>
                <c:pt idx="376">
                  <c:v>1965.02</c:v>
                </c:pt>
                <c:pt idx="377">
                  <c:v>1979</c:v>
                </c:pt>
                <c:pt idx="378">
                  <c:v>1971.45</c:v>
                </c:pt>
                <c:pt idx="379">
                  <c:v>1958.3</c:v>
                </c:pt>
                <c:pt idx="380">
                  <c:v>1946.84</c:v>
                </c:pt>
                <c:pt idx="381">
                  <c:v>1940.4</c:v>
                </c:pt>
                <c:pt idx="382">
                  <c:v>1944.8</c:v>
                </c:pt>
                <c:pt idx="383">
                  <c:v>1969.12</c:v>
                </c:pt>
                <c:pt idx="384">
                  <c:v>1967.3</c:v>
                </c:pt>
                <c:pt idx="385">
                  <c:v>1972.65</c:v>
                </c:pt>
                <c:pt idx="386">
                  <c:v>1967.25</c:v>
                </c:pt>
                <c:pt idx="387">
                  <c:v>1953.7</c:v>
                </c:pt>
                <c:pt idx="388">
                  <c:v>1980.6</c:v>
                </c:pt>
                <c:pt idx="389">
                  <c:v>1999.15</c:v>
                </c:pt>
                <c:pt idx="390">
                  <c:v>2014.98</c:v>
                </c:pt>
                <c:pt idx="391">
                  <c:v>2010.3</c:v>
                </c:pt>
                <c:pt idx="392">
                  <c:v>2020.3</c:v>
                </c:pt>
                <c:pt idx="393">
                  <c:v>2022.62</c:v>
                </c:pt>
                <c:pt idx="394">
                  <c:v>2026.14</c:v>
                </c:pt>
                <c:pt idx="395">
                  <c:v>2023.41</c:v>
                </c:pt>
                <c:pt idx="396">
                  <c:v>2011.6</c:v>
                </c:pt>
                <c:pt idx="397">
                  <c:v>2047.01</c:v>
                </c:pt>
                <c:pt idx="398">
                  <c:v>2022.39</c:v>
                </c:pt>
                <c:pt idx="399">
                  <c:v>2012.45</c:v>
                </c:pt>
                <c:pt idx="400">
                  <c:v>1983.26</c:v>
                </c:pt>
                <c:pt idx="401">
                  <c:v>1990.4</c:v>
                </c:pt>
                <c:pt idx="402">
                  <c:v>1984.83</c:v>
                </c:pt>
                <c:pt idx="403">
                  <c:v>1995.05</c:v>
                </c:pt>
                <c:pt idx="404">
                  <c:v>1987.51</c:v>
                </c:pt>
                <c:pt idx="405">
                  <c:v>1984.49</c:v>
                </c:pt>
                <c:pt idx="406">
                  <c:v>1978.07</c:v>
                </c:pt>
                <c:pt idx="407">
                  <c:v>2000.17</c:v>
                </c:pt>
                <c:pt idx="408">
                  <c:v>1993.72</c:v>
                </c:pt>
                <c:pt idx="409">
                  <c:v>2008.25</c:v>
                </c:pt>
                <c:pt idx="410">
                  <c:v>1990.75</c:v>
                </c:pt>
                <c:pt idx="411">
                  <c:v>1998.71</c:v>
                </c:pt>
                <c:pt idx="412">
                  <c:v>2037.33</c:v>
                </c:pt>
                <c:pt idx="413">
                  <c:v>2007.09</c:v>
                </c:pt>
                <c:pt idx="414">
                  <c:v>2004.39</c:v>
                </c:pt>
                <c:pt idx="415">
                  <c:v>1989.27</c:v>
                </c:pt>
                <c:pt idx="416">
                  <c:v>2008.37</c:v>
                </c:pt>
                <c:pt idx="417">
                  <c:v>2009.6</c:v>
                </c:pt>
                <c:pt idx="418">
                  <c:v>2017.25</c:v>
                </c:pt>
                <c:pt idx="419">
                  <c:v>2021.85</c:v>
                </c:pt>
                <c:pt idx="420">
                  <c:v>1986.27</c:v>
                </c:pt>
                <c:pt idx="421">
                  <c:v>1976.5</c:v>
                </c:pt>
                <c:pt idx="422">
                  <c:v>1974.42</c:v>
                </c:pt>
                <c:pt idx="423">
                  <c:v>1965.52</c:v>
                </c:pt>
                <c:pt idx="424">
                  <c:v>1969.62</c:v>
                </c:pt>
                <c:pt idx="425">
                  <c:v>1958.08</c:v>
                </c:pt>
                <c:pt idx="426">
                  <c:v>1993.15</c:v>
                </c:pt>
                <c:pt idx="427">
                  <c:v>1988.08</c:v>
                </c:pt>
                <c:pt idx="428">
                  <c:v>1946.39</c:v>
                </c:pt>
                <c:pt idx="429">
                  <c:v>1946.34</c:v>
                </c:pt>
                <c:pt idx="430">
                  <c:v>1978.47</c:v>
                </c:pt>
                <c:pt idx="431">
                  <c:v>1961.15</c:v>
                </c:pt>
                <c:pt idx="432">
                  <c:v>1918.06</c:v>
                </c:pt>
                <c:pt idx="433">
                  <c:v>1929.14</c:v>
                </c:pt>
                <c:pt idx="434">
                  <c:v>1904.15</c:v>
                </c:pt>
                <c:pt idx="435">
                  <c:v>1904.78</c:v>
                </c:pt>
                <c:pt idx="436">
                  <c:v>1859.13</c:v>
                </c:pt>
                <c:pt idx="437">
                  <c:v>1827.89</c:v>
                </c:pt>
                <c:pt idx="438">
                  <c:v>1820.8</c:v>
                </c:pt>
                <c:pt idx="439">
                  <c:v>1819.4</c:v>
                </c:pt>
                <c:pt idx="440">
                  <c:v>1851.29</c:v>
                </c:pt>
                <c:pt idx="441">
                  <c:v>1846.15</c:v>
                </c:pt>
                <c:pt idx="442">
                  <c:v>1836.85</c:v>
                </c:pt>
                <c:pt idx="443">
                  <c:v>1838.55</c:v>
                </c:pt>
                <c:pt idx="444">
                  <c:v>1825.97</c:v>
                </c:pt>
                <c:pt idx="445">
                  <c:v>1814.06</c:v>
                </c:pt>
                <c:pt idx="446">
                  <c:v>1809.85</c:v>
                </c:pt>
                <c:pt idx="447">
                  <c:v>1820.69</c:v>
                </c:pt>
                <c:pt idx="448">
                  <c:v>1835.13</c:v>
                </c:pt>
                <c:pt idx="449">
                  <c:v>1835.6</c:v>
                </c:pt>
                <c:pt idx="450">
                  <c:v>1843.77</c:v>
                </c:pt>
                <c:pt idx="451">
                  <c:v>1837.4</c:v>
                </c:pt>
                <c:pt idx="452">
                  <c:v>1832.97</c:v>
                </c:pt>
                <c:pt idx="453">
                  <c:v>1834.27</c:v>
                </c:pt>
                <c:pt idx="454">
                  <c:v>1850.15</c:v>
                </c:pt>
                <c:pt idx="455">
                  <c:v>1852.97</c:v>
                </c:pt>
                <c:pt idx="456">
                  <c:v>1860.06</c:v>
                </c:pt>
                <c:pt idx="457">
                  <c:v>1874.28</c:v>
                </c:pt>
                <c:pt idx="458">
                  <c:v>1875.17</c:v>
                </c:pt>
                <c:pt idx="459">
                  <c:v>1875.17</c:v>
                </c:pt>
                <c:pt idx="460">
                  <c:v>1867.15</c:v>
                </c:pt>
                <c:pt idx="461">
                  <c:v>1870.38</c:v>
                </c:pt>
                <c:pt idx="462">
                  <c:v>1923.15</c:v>
                </c:pt>
                <c:pt idx="463">
                  <c:v>1929.99</c:v>
                </c:pt>
                <c:pt idx="464">
                  <c:v>1928.19</c:v>
                </c:pt>
                <c:pt idx="465">
                  <c:v>1924.61</c:v>
                </c:pt>
                <c:pt idx="466">
                  <c:v>1928.09</c:v>
                </c:pt>
                <c:pt idx="467">
                  <c:v>1926.83</c:v>
                </c:pt>
                <c:pt idx="468">
                  <c:v>1929.6</c:v>
                </c:pt>
                <c:pt idx="469">
                  <c:v>1934.8</c:v>
                </c:pt>
                <c:pt idx="470">
                  <c:v>1924.71</c:v>
                </c:pt>
                <c:pt idx="471">
                  <c:v>1928.55</c:v>
                </c:pt>
                <c:pt idx="472">
                  <c:v>1920.24</c:v>
                </c:pt>
                <c:pt idx="473">
                  <c:v>1912.42</c:v>
                </c:pt>
                <c:pt idx="474">
                  <c:v>1910.61</c:v>
                </c:pt>
                <c:pt idx="475">
                  <c:v>1915.93</c:v>
                </c:pt>
                <c:pt idx="476">
                  <c:v>1911.17</c:v>
                </c:pt>
                <c:pt idx="477">
                  <c:v>1890.77</c:v>
                </c:pt>
                <c:pt idx="478">
                  <c:v>1870.17</c:v>
                </c:pt>
                <c:pt idx="479">
                  <c:v>1875.29</c:v>
                </c:pt>
                <c:pt idx="480">
                  <c:v>1875.23</c:v>
                </c:pt>
                <c:pt idx="481">
                  <c:v>1862.21</c:v>
                </c:pt>
                <c:pt idx="482">
                  <c:v>1830.69</c:v>
                </c:pt>
                <c:pt idx="483">
                  <c:v>1859.3</c:v>
                </c:pt>
                <c:pt idx="484">
                  <c:v>1829.95</c:v>
                </c:pt>
                <c:pt idx="485">
                  <c:v>1823.95</c:v>
                </c:pt>
                <c:pt idx="486">
                  <c:v>1815.64</c:v>
                </c:pt>
                <c:pt idx="487">
                  <c:v>1812.36</c:v>
                </c:pt>
                <c:pt idx="488">
                  <c:v>1797.94</c:v>
                </c:pt>
                <c:pt idx="489">
                  <c:v>1823.91</c:v>
                </c:pt>
                <c:pt idx="490">
                  <c:v>1798.24</c:v>
                </c:pt>
                <c:pt idx="491">
                  <c:v>1802.61</c:v>
                </c:pt>
                <c:pt idx="492">
                  <c:v>1796.1</c:v>
                </c:pt>
                <c:pt idx="493">
                  <c:v>1816.42</c:v>
                </c:pt>
                <c:pt idx="494">
                  <c:v>1817.3</c:v>
                </c:pt>
                <c:pt idx="495">
                  <c:v>1785.97</c:v>
                </c:pt>
                <c:pt idx="496">
                  <c:v>1789.78</c:v>
                </c:pt>
                <c:pt idx="497">
                  <c:v>1777.45</c:v>
                </c:pt>
                <c:pt idx="498">
                  <c:v>1811.05</c:v>
                </c:pt>
                <c:pt idx="499">
                  <c:v>1813.45</c:v>
                </c:pt>
                <c:pt idx="500">
                  <c:v>1782.25</c:v>
                </c:pt>
                <c:pt idx="501">
                  <c:v>1798.42</c:v>
                </c:pt>
                <c:pt idx="502">
                  <c:v>1788.01</c:v>
                </c:pt>
                <c:pt idx="503">
                  <c:v>1776.88</c:v>
                </c:pt>
                <c:pt idx="504">
                  <c:v>1774.54</c:v>
                </c:pt>
                <c:pt idx="505">
                  <c:v>1778.21</c:v>
                </c:pt>
                <c:pt idx="506">
                  <c:v>1789.75</c:v>
                </c:pt>
                <c:pt idx="507">
                  <c:v>1799.98</c:v>
                </c:pt>
                <c:pt idx="508">
                  <c:v>1751.94</c:v>
                </c:pt>
                <c:pt idx="509">
                  <c:v>1753.2</c:v>
                </c:pt>
                <c:pt idx="510">
                  <c:v>1749.03</c:v>
                </c:pt>
                <c:pt idx="511">
                  <c:v>1749.74</c:v>
                </c:pt>
                <c:pt idx="512">
                  <c:v>1756.11</c:v>
                </c:pt>
                <c:pt idx="513">
                  <c:v>1739.85</c:v>
                </c:pt>
                <c:pt idx="514">
                  <c:v>1744.25</c:v>
                </c:pt>
                <c:pt idx="515">
                  <c:v>1736.85</c:v>
                </c:pt>
                <c:pt idx="516">
                  <c:v>1754.26</c:v>
                </c:pt>
                <c:pt idx="517">
                  <c:v>1760.05</c:v>
                </c:pt>
                <c:pt idx="518">
                  <c:v>1775.2</c:v>
                </c:pt>
                <c:pt idx="519">
                  <c:v>1770.22</c:v>
                </c:pt>
                <c:pt idx="520">
                  <c:v>1774.78</c:v>
                </c:pt>
                <c:pt idx="521">
                  <c:v>1762.55</c:v>
                </c:pt>
                <c:pt idx="522">
                  <c:v>1746.93</c:v>
                </c:pt>
                <c:pt idx="523">
                  <c:v>1716.59</c:v>
                </c:pt>
                <c:pt idx="524">
                  <c:v>1698.8</c:v>
                </c:pt>
                <c:pt idx="525">
                  <c:v>1679.35</c:v>
                </c:pt>
                <c:pt idx="526">
                  <c:v>1673.4</c:v>
                </c:pt>
                <c:pt idx="527">
                  <c:v>1628</c:v>
                </c:pt>
                <c:pt idx="528">
                  <c:v>1647.53</c:v>
                </c:pt>
                <c:pt idx="529">
                  <c:v>1645.14</c:v>
                </c:pt>
                <c:pt idx="530">
                  <c:v>1638.03</c:v>
                </c:pt>
                <c:pt idx="531">
                  <c:v>1641.2</c:v>
                </c:pt>
                <c:pt idx="532">
                  <c:v>1663.85</c:v>
                </c:pt>
                <c:pt idx="533">
                  <c:v>1671.55</c:v>
                </c:pt>
                <c:pt idx="534">
                  <c:v>1654.75</c:v>
                </c:pt>
                <c:pt idx="535">
                  <c:v>1647.7</c:v>
                </c:pt>
                <c:pt idx="536">
                  <c:v>1642.4</c:v>
                </c:pt>
                <c:pt idx="537">
                  <c:v>1645.03</c:v>
                </c:pt>
                <c:pt idx="538">
                  <c:v>1634.23</c:v>
                </c:pt>
                <c:pt idx="539">
                  <c:v>1651.73</c:v>
                </c:pt>
                <c:pt idx="540">
                  <c:v>1660.9</c:v>
                </c:pt>
                <c:pt idx="541">
                  <c:v>1647.2</c:v>
                </c:pt>
                <c:pt idx="542">
                  <c:v>1653.75</c:v>
                </c:pt>
                <c:pt idx="543">
                  <c:v>1669</c:v>
                </c:pt>
                <c:pt idx="544">
                  <c:v>1671.35</c:v>
                </c:pt>
                <c:pt idx="545">
                  <c:v>1668.1</c:v>
                </c:pt>
                <c:pt idx="546">
                  <c:v>1702.29</c:v>
                </c:pt>
                <c:pt idx="547">
                  <c:v>1712.15</c:v>
                </c:pt>
                <c:pt idx="548">
                  <c:v>1708.05</c:v>
                </c:pt>
                <c:pt idx="549">
                  <c:v>1724.5</c:v>
                </c:pt>
                <c:pt idx="550">
                  <c:v>1691.4</c:v>
                </c:pt>
                <c:pt idx="551">
                  <c:v>1674.06</c:v>
                </c:pt>
                <c:pt idx="552">
                  <c:v>1657.45</c:v>
                </c:pt>
                <c:pt idx="553">
                  <c:v>1652.2</c:v>
                </c:pt>
                <c:pt idx="554">
                  <c:v>1635.05</c:v>
                </c:pt>
                <c:pt idx="555">
                  <c:v>1644.2</c:v>
                </c:pt>
                <c:pt idx="556">
                  <c:v>1643.85</c:v>
                </c:pt>
                <c:pt idx="557">
                  <c:v>1669.6</c:v>
                </c:pt>
                <c:pt idx="558">
                  <c:v>1668.1</c:v>
                </c:pt>
                <c:pt idx="559">
                  <c:v>1666.4</c:v>
                </c:pt>
                <c:pt idx="560">
                  <c:v>1674.28</c:v>
                </c:pt>
                <c:pt idx="561">
                  <c:v>1675.2</c:v>
                </c:pt>
                <c:pt idx="562">
                  <c:v>1667.1</c:v>
                </c:pt>
                <c:pt idx="563">
                  <c:v>1705.15</c:v>
                </c:pt>
                <c:pt idx="564">
                  <c:v>1704.5</c:v>
                </c:pt>
                <c:pt idx="565">
                  <c:v>1729.6</c:v>
                </c:pt>
                <c:pt idx="566">
                  <c:v>1714.4</c:v>
                </c:pt>
                <c:pt idx="567">
                  <c:v>1706.86</c:v>
                </c:pt>
                <c:pt idx="568">
                  <c:v>1712.33</c:v>
                </c:pt>
                <c:pt idx="569">
                  <c:v>1704.55</c:v>
                </c:pt>
                <c:pt idx="570">
                  <c:v>1711.35</c:v>
                </c:pt>
                <c:pt idx="571">
                  <c:v>1716.6</c:v>
                </c:pt>
                <c:pt idx="572">
                  <c:v>1697.75</c:v>
                </c:pt>
                <c:pt idx="573">
                  <c:v>1719.56</c:v>
                </c:pt>
                <c:pt idx="574">
                  <c:v>1725</c:v>
                </c:pt>
                <c:pt idx="575">
                  <c:v>1740.33</c:v>
                </c:pt>
                <c:pt idx="576">
                  <c:v>1736.75</c:v>
                </c:pt>
                <c:pt idx="577">
                  <c:v>1757.19</c:v>
                </c:pt>
                <c:pt idx="578">
                  <c:v>1753.77</c:v>
                </c:pt>
                <c:pt idx="579">
                  <c:v>1752</c:v>
                </c:pt>
                <c:pt idx="580">
                  <c:v>1736.22</c:v>
                </c:pt>
                <c:pt idx="581">
                  <c:v>1749.55</c:v>
                </c:pt>
                <c:pt idx="582">
                  <c:v>1761.08</c:v>
                </c:pt>
                <c:pt idx="583">
                  <c:v>1762.75</c:v>
                </c:pt>
                <c:pt idx="584">
                  <c:v>1777.2</c:v>
                </c:pt>
                <c:pt idx="585">
                  <c:v>1779.04</c:v>
                </c:pt>
                <c:pt idx="586">
                  <c:v>1794.5</c:v>
                </c:pt>
                <c:pt idx="587">
                  <c:v>1788.3</c:v>
                </c:pt>
                <c:pt idx="588">
                  <c:v>1800.03</c:v>
                </c:pt>
                <c:pt idx="589">
                  <c:v>1792.65</c:v>
                </c:pt>
                <c:pt idx="590">
                  <c:v>1786.87</c:v>
                </c:pt>
                <c:pt idx="591">
                  <c:v>1775.83</c:v>
                </c:pt>
                <c:pt idx="592">
                  <c:v>1786.31</c:v>
                </c:pt>
                <c:pt idx="593">
                  <c:v>1757.41</c:v>
                </c:pt>
                <c:pt idx="594">
                  <c:v>1777.14</c:v>
                </c:pt>
                <c:pt idx="595">
                  <c:v>1765.57</c:v>
                </c:pt>
                <c:pt idx="596">
                  <c:v>1764.24</c:v>
                </c:pt>
                <c:pt idx="597">
                  <c:v>1753.25</c:v>
                </c:pt>
                <c:pt idx="598">
                  <c:v>1716.77</c:v>
                </c:pt>
                <c:pt idx="599">
                  <c:v>1719.05</c:v>
                </c:pt>
                <c:pt idx="600">
                  <c:v>1717.13</c:v>
                </c:pt>
                <c:pt idx="601">
                  <c:v>1730.95</c:v>
                </c:pt>
                <c:pt idx="602">
                  <c:v>1713.9</c:v>
                </c:pt>
                <c:pt idx="603">
                  <c:v>1708.51</c:v>
                </c:pt>
                <c:pt idx="604">
                  <c:v>1713.92</c:v>
                </c:pt>
                <c:pt idx="605">
                  <c:v>1711.22</c:v>
                </c:pt>
                <c:pt idx="606">
                  <c:v>1705.3</c:v>
                </c:pt>
                <c:pt idx="607">
                  <c:v>1706.16</c:v>
                </c:pt>
                <c:pt idx="608">
                  <c:v>1744.9</c:v>
                </c:pt>
                <c:pt idx="609">
                  <c:v>1732.39</c:v>
                </c:pt>
                <c:pt idx="610">
                  <c:v>1737.9</c:v>
                </c:pt>
                <c:pt idx="611">
                  <c:v>1745.9</c:v>
                </c:pt>
                <c:pt idx="612">
                  <c:v>1741.4</c:v>
                </c:pt>
                <c:pt idx="613">
                  <c:v>1738.95</c:v>
                </c:pt>
                <c:pt idx="614">
                  <c:v>1767.85</c:v>
                </c:pt>
                <c:pt idx="615">
                  <c:v>1807.8</c:v>
                </c:pt>
                <c:pt idx="616">
                  <c:v>1807.5</c:v>
                </c:pt>
                <c:pt idx="617">
                  <c:v>1806.87</c:v>
                </c:pt>
                <c:pt idx="618">
                  <c:v>1816.64</c:v>
                </c:pt>
                <c:pt idx="619">
                  <c:v>1820.4</c:v>
                </c:pt>
                <c:pt idx="620">
                  <c:v>1824.7</c:v>
                </c:pt>
                <c:pt idx="621">
                  <c:v>1828.5</c:v>
                </c:pt>
                <c:pt idx="622">
                  <c:v>1841.05</c:v>
                </c:pt>
                <c:pt idx="623">
                  <c:v>1839.6</c:v>
                </c:pt>
                <c:pt idx="624">
                  <c:v>1838.5</c:v>
                </c:pt>
                <c:pt idx="625">
                  <c:v>1837.75</c:v>
                </c:pt>
                <c:pt idx="626">
                  <c:v>1840.35</c:v>
                </c:pt>
                <c:pt idx="627">
                  <c:v>1835.51</c:v>
                </c:pt>
                <c:pt idx="628">
                  <c:v>1821.95</c:v>
                </c:pt>
                <c:pt idx="629">
                  <c:v>1813.55</c:v>
                </c:pt>
                <c:pt idx="630">
                  <c:v>1826.24</c:v>
                </c:pt>
                <c:pt idx="631">
                  <c:v>1858.4</c:v>
                </c:pt>
                <c:pt idx="632">
                  <c:v>1843.42</c:v>
                </c:pt>
                <c:pt idx="633">
                  <c:v>1858.08</c:v>
                </c:pt>
                <c:pt idx="634">
                  <c:v>1851.45</c:v>
                </c:pt>
                <c:pt idx="635">
                  <c:v>1843.79</c:v>
                </c:pt>
                <c:pt idx="636">
                  <c:v>1856.81</c:v>
                </c:pt>
                <c:pt idx="637">
                  <c:v>1868</c:v>
                </c:pt>
                <c:pt idx="638">
                  <c:v>1843.85</c:v>
                </c:pt>
                <c:pt idx="639">
                  <c:v>1845.14</c:v>
                </c:pt>
                <c:pt idx="640">
                  <c:v>1857.22</c:v>
                </c:pt>
                <c:pt idx="641">
                  <c:v>1852.17</c:v>
                </c:pt>
                <c:pt idx="642">
                  <c:v>1845.32</c:v>
                </c:pt>
                <c:pt idx="643">
                  <c:v>1849.95</c:v>
                </c:pt>
                <c:pt idx="644">
                  <c:v>1866.3</c:v>
                </c:pt>
                <c:pt idx="645">
                  <c:v>1854.35</c:v>
                </c:pt>
                <c:pt idx="646">
                  <c:v>1843.73</c:v>
                </c:pt>
                <c:pt idx="647">
                  <c:v>1845.77</c:v>
                </c:pt>
                <c:pt idx="648">
                  <c:v>1815.98</c:v>
                </c:pt>
                <c:pt idx="649">
                  <c:v>1821.8</c:v>
                </c:pt>
                <c:pt idx="650">
                  <c:v>1813.11</c:v>
                </c:pt>
                <c:pt idx="651">
                  <c:v>1815.18</c:v>
                </c:pt>
                <c:pt idx="652">
                  <c:v>1841.65</c:v>
                </c:pt>
                <c:pt idx="653">
                  <c:v>1849.36</c:v>
                </c:pt>
                <c:pt idx="654">
                  <c:v>1845.95</c:v>
                </c:pt>
                <c:pt idx="655">
                  <c:v>1861.81</c:v>
                </c:pt>
                <c:pt idx="656">
                  <c:v>1885.9</c:v>
                </c:pt>
                <c:pt idx="657">
                  <c:v>1880.85</c:v>
                </c:pt>
                <c:pt idx="658">
                  <c:v>1867.43</c:v>
                </c:pt>
                <c:pt idx="659">
                  <c:v>1876.4</c:v>
                </c:pt>
                <c:pt idx="660">
                  <c:v>1860.96</c:v>
                </c:pt>
                <c:pt idx="661">
                  <c:v>1908.49</c:v>
                </c:pt>
                <c:pt idx="662">
                  <c:v>1887.25</c:v>
                </c:pt>
                <c:pt idx="663">
                  <c:v>1885.36</c:v>
                </c:pt>
                <c:pt idx="664">
                  <c:v>1905.32</c:v>
                </c:pt>
                <c:pt idx="665">
                  <c:v>1898.4</c:v>
                </c:pt>
                <c:pt idx="666">
                  <c:v>1928.45</c:v>
                </c:pt>
                <c:pt idx="667">
                  <c:v>1944.5</c:v>
                </c:pt>
                <c:pt idx="668">
                  <c:v>1953</c:v>
                </c:pt>
                <c:pt idx="669">
                  <c:v>1953.22</c:v>
                </c:pt>
                <c:pt idx="670">
                  <c:v>1984.13</c:v>
                </c:pt>
                <c:pt idx="671">
                  <c:v>1968.75</c:v>
                </c:pt>
                <c:pt idx="672">
                  <c:v>1968.75</c:v>
                </c:pt>
                <c:pt idx="673">
                  <c:v>1977.17</c:v>
                </c:pt>
                <c:pt idx="674">
                  <c:v>1975.63</c:v>
                </c:pt>
                <c:pt idx="675">
                  <c:v>1952.79</c:v>
                </c:pt>
                <c:pt idx="676">
                  <c:v>1942.86</c:v>
                </c:pt>
                <c:pt idx="677">
                  <c:v>1932.9</c:v>
                </c:pt>
                <c:pt idx="678">
                  <c:v>1928.85</c:v>
                </c:pt>
                <c:pt idx="679">
                  <c:v>1930.83</c:v>
                </c:pt>
                <c:pt idx="680">
                  <c:v>1933.91</c:v>
                </c:pt>
                <c:pt idx="681">
                  <c:v>1927.5</c:v>
                </c:pt>
                <c:pt idx="682">
                  <c:v>1941.15</c:v>
                </c:pt>
                <c:pt idx="683">
                  <c:v>1937.4</c:v>
                </c:pt>
                <c:pt idx="684">
                  <c:v>1911.05</c:v>
                </c:pt>
                <c:pt idx="685">
                  <c:v>1937.25</c:v>
                </c:pt>
                <c:pt idx="686">
                  <c:v>1958.8</c:v>
                </c:pt>
                <c:pt idx="687">
                  <c:v>1962.8</c:v>
                </c:pt>
                <c:pt idx="688">
                  <c:v>1929.93</c:v>
                </c:pt>
                <c:pt idx="689">
                  <c:v>1919.93</c:v>
                </c:pt>
                <c:pt idx="690">
                  <c:v>1937.17</c:v>
                </c:pt>
                <c:pt idx="691">
                  <c:v>1930.48</c:v>
                </c:pt>
                <c:pt idx="692">
                  <c:v>1943.15</c:v>
                </c:pt>
                <c:pt idx="693">
                  <c:v>1909.91</c:v>
                </c:pt>
                <c:pt idx="694">
                  <c:v>1925.05</c:v>
                </c:pt>
                <c:pt idx="695">
                  <c:v>1956.35</c:v>
                </c:pt>
                <c:pt idx="696">
                  <c:v>1983.2</c:v>
                </c:pt>
                <c:pt idx="697">
                  <c:v>1997.1</c:v>
                </c:pt>
                <c:pt idx="698">
                  <c:v>2001.75</c:v>
                </c:pt>
                <c:pt idx="699">
                  <c:v>2056.1</c:v>
                </c:pt>
                <c:pt idx="700">
                  <c:v>1979.83</c:v>
                </c:pt>
                <c:pt idx="701">
                  <c:v>1961.1</c:v>
                </c:pt>
                <c:pt idx="702">
                  <c:v>1926.45</c:v>
                </c:pt>
                <c:pt idx="703">
                  <c:v>1919.1</c:v>
                </c:pt>
                <c:pt idx="704">
                  <c:v>1925.55</c:v>
                </c:pt>
                <c:pt idx="705">
                  <c:v>1903.75</c:v>
                </c:pt>
                <c:pt idx="706">
                  <c:v>1887.3</c:v>
                </c:pt>
                <c:pt idx="707">
                  <c:v>1925</c:v>
                </c:pt>
                <c:pt idx="708">
                  <c:v>1906.95</c:v>
                </c:pt>
                <c:pt idx="709">
                  <c:v>1899.1</c:v>
                </c:pt>
                <c:pt idx="710">
                  <c:v>1896.39</c:v>
                </c:pt>
                <c:pt idx="711">
                  <c:v>1895.4</c:v>
                </c:pt>
                <c:pt idx="712">
                  <c:v>1895.61</c:v>
                </c:pt>
                <c:pt idx="713">
                  <c:v>1862.07</c:v>
                </c:pt>
                <c:pt idx="714">
                  <c:v>1849.15</c:v>
                </c:pt>
                <c:pt idx="715">
                  <c:v>1866.37</c:v>
                </c:pt>
                <c:pt idx="716">
                  <c:v>1833.51</c:v>
                </c:pt>
                <c:pt idx="717">
                  <c:v>1839.18</c:v>
                </c:pt>
                <c:pt idx="718">
                  <c:v>1830.5</c:v>
                </c:pt>
                <c:pt idx="719">
                  <c:v>1826.35</c:v>
                </c:pt>
                <c:pt idx="720">
                  <c:v>1815.07</c:v>
                </c:pt>
                <c:pt idx="721">
                  <c:v>1803.92</c:v>
                </c:pt>
                <c:pt idx="722">
                  <c:v>1804.9</c:v>
                </c:pt>
                <c:pt idx="723">
                  <c:v>1809.15</c:v>
                </c:pt>
                <c:pt idx="724">
                  <c:v>1806.36</c:v>
                </c:pt>
                <c:pt idx="725">
                  <c:v>1796.65</c:v>
                </c:pt>
                <c:pt idx="726">
                  <c:v>1784.65</c:v>
                </c:pt>
                <c:pt idx="727">
                  <c:v>1797</c:v>
                </c:pt>
                <c:pt idx="728">
                  <c:v>1833.31</c:v>
                </c:pt>
                <c:pt idx="729">
                  <c:v>1847.28</c:v>
                </c:pt>
                <c:pt idx="730">
                  <c:v>1834.69</c:v>
                </c:pt>
                <c:pt idx="731">
                  <c:v>1832.12</c:v>
                </c:pt>
                <c:pt idx="732">
                  <c:v>1844.8</c:v>
                </c:pt>
                <c:pt idx="733">
                  <c:v>1840.16</c:v>
                </c:pt>
                <c:pt idx="734">
                  <c:v>1815.7</c:v>
                </c:pt>
                <c:pt idx="735">
                  <c:v>1818.73</c:v>
                </c:pt>
                <c:pt idx="736">
                  <c:v>1821.25</c:v>
                </c:pt>
                <c:pt idx="737">
                  <c:v>1815.59</c:v>
                </c:pt>
                <c:pt idx="738">
                  <c:v>1821.81</c:v>
                </c:pt>
                <c:pt idx="739">
                  <c:v>1813.35</c:v>
                </c:pt>
                <c:pt idx="740">
                  <c:v>1794.95</c:v>
                </c:pt>
                <c:pt idx="741">
                  <c:v>1791.65</c:v>
                </c:pt>
                <c:pt idx="742">
                  <c:v>1792.45</c:v>
                </c:pt>
                <c:pt idx="743">
                  <c:v>1824.6</c:v>
                </c:pt>
                <c:pt idx="744">
                  <c:v>1813.95</c:v>
                </c:pt>
                <c:pt idx="745">
                  <c:v>1800.3</c:v>
                </c:pt>
                <c:pt idx="746">
                  <c:v>1822.39</c:v>
                </c:pt>
                <c:pt idx="747">
                  <c:v>1810.1</c:v>
                </c:pt>
                <c:pt idx="748">
                  <c:v>1803.35</c:v>
                </c:pt>
                <c:pt idx="749">
                  <c:v>1809.9</c:v>
                </c:pt>
                <c:pt idx="750">
                  <c:v>1812.46</c:v>
                </c:pt>
                <c:pt idx="751">
                  <c:v>1808.4</c:v>
                </c:pt>
                <c:pt idx="752">
                  <c:v>1807.9</c:v>
                </c:pt>
                <c:pt idx="753">
                  <c:v>1799.18</c:v>
                </c:pt>
                <c:pt idx="754">
                  <c:v>1786.9</c:v>
                </c:pt>
                <c:pt idx="755">
                  <c:v>1795.3</c:v>
                </c:pt>
                <c:pt idx="756">
                  <c:v>1803.45</c:v>
                </c:pt>
                <c:pt idx="757">
                  <c:v>1797</c:v>
                </c:pt>
                <c:pt idx="758">
                  <c:v>1767.38</c:v>
                </c:pt>
                <c:pt idx="759">
                  <c:v>1775.32</c:v>
                </c:pt>
                <c:pt idx="760">
                  <c:v>1788.2</c:v>
                </c:pt>
                <c:pt idx="761">
                  <c:v>1784.9</c:v>
                </c:pt>
                <c:pt idx="762">
                  <c:v>1779.2</c:v>
                </c:pt>
                <c:pt idx="763">
                  <c:v>1782.27</c:v>
                </c:pt>
                <c:pt idx="764">
                  <c:v>1783.11</c:v>
                </c:pt>
                <c:pt idx="765">
                  <c:v>1780.04</c:v>
                </c:pt>
                <c:pt idx="766">
                  <c:v>1774.9</c:v>
                </c:pt>
                <c:pt idx="767">
                  <c:v>1765.79</c:v>
                </c:pt>
                <c:pt idx="768">
                  <c:v>1786.6</c:v>
                </c:pt>
                <c:pt idx="769">
                  <c:v>1780.05</c:v>
                </c:pt>
                <c:pt idx="770">
                  <c:v>1786.23</c:v>
                </c:pt>
                <c:pt idx="771">
                  <c:v>1799.35</c:v>
                </c:pt>
                <c:pt idx="772">
                  <c:v>1789.82</c:v>
                </c:pt>
                <c:pt idx="773">
                  <c:v>1784.54</c:v>
                </c:pt>
                <c:pt idx="774">
                  <c:v>1782.94</c:v>
                </c:pt>
                <c:pt idx="775">
                  <c:v>1821</c:v>
                </c:pt>
                <c:pt idx="776">
                  <c:v>1859.66</c:v>
                </c:pt>
                <c:pt idx="777">
                  <c:v>1861.35</c:v>
                </c:pt>
                <c:pt idx="778">
                  <c:v>1863.82</c:v>
                </c:pt>
                <c:pt idx="779">
                  <c:v>1861.25</c:v>
                </c:pt>
                <c:pt idx="780">
                  <c:v>1860.55</c:v>
                </c:pt>
                <c:pt idx="781">
                  <c:v>1862.36</c:v>
                </c:pt>
                <c:pt idx="782">
                  <c:v>1860.5</c:v>
                </c:pt>
                <c:pt idx="783">
                  <c:v>1854.66</c:v>
                </c:pt>
                <c:pt idx="784">
                  <c:v>1824</c:v>
                </c:pt>
                <c:pt idx="785">
                  <c:v>1822.59</c:v>
                </c:pt>
                <c:pt idx="786">
                  <c:v>1810.47</c:v>
                </c:pt>
                <c:pt idx="787">
                  <c:v>1792.59</c:v>
                </c:pt>
                <c:pt idx="788">
                  <c:v>1762.85</c:v>
                </c:pt>
                <c:pt idx="789">
                  <c:v>1789.11</c:v>
                </c:pt>
                <c:pt idx="790">
                  <c:v>1790.55</c:v>
                </c:pt>
                <c:pt idx="791">
                  <c:v>1776.81</c:v>
                </c:pt>
                <c:pt idx="792">
                  <c:v>1801.15</c:v>
                </c:pt>
                <c:pt idx="793">
                  <c:v>1792.35</c:v>
                </c:pt>
                <c:pt idx="794">
                  <c:v>1788</c:v>
                </c:pt>
                <c:pt idx="795">
                  <c:v>1806.97</c:v>
                </c:pt>
                <c:pt idx="796">
                  <c:v>1806.38</c:v>
                </c:pt>
                <c:pt idx="797">
                  <c:v>1780.5</c:v>
                </c:pt>
                <c:pt idx="798">
                  <c:v>1783.66</c:v>
                </c:pt>
                <c:pt idx="799">
                  <c:v>1772.55</c:v>
                </c:pt>
                <c:pt idx="800">
                  <c:v>1767.9</c:v>
                </c:pt>
                <c:pt idx="801">
                  <c:v>1773.45</c:v>
                </c:pt>
                <c:pt idx="802">
                  <c:v>1797.15</c:v>
                </c:pt>
                <c:pt idx="803">
                  <c:v>1792.7</c:v>
                </c:pt>
                <c:pt idx="804">
                  <c:v>1763.21</c:v>
                </c:pt>
                <c:pt idx="805">
                  <c:v>1758</c:v>
                </c:pt>
                <c:pt idx="806">
                  <c:v>1759.45</c:v>
                </c:pt>
                <c:pt idx="807">
                  <c:v>1758.75</c:v>
                </c:pt>
                <c:pt idx="808">
                  <c:v>1756.89</c:v>
                </c:pt>
                <c:pt idx="809">
                  <c:v>1754.6</c:v>
                </c:pt>
                <c:pt idx="810">
                  <c:v>1764.6</c:v>
                </c:pt>
                <c:pt idx="811">
                  <c:v>1756.1</c:v>
                </c:pt>
                <c:pt idx="812">
                  <c:v>1760.95</c:v>
                </c:pt>
                <c:pt idx="813">
                  <c:v>1731.4</c:v>
                </c:pt>
                <c:pt idx="814">
                  <c:v>1736.95</c:v>
                </c:pt>
                <c:pt idx="815">
                  <c:v>1750.15</c:v>
                </c:pt>
                <c:pt idx="816">
                  <c:v>1752.18</c:v>
                </c:pt>
                <c:pt idx="817">
                  <c:v>1748.75</c:v>
                </c:pt>
                <c:pt idx="818">
                  <c:v>1776.84</c:v>
                </c:pt>
                <c:pt idx="819">
                  <c:v>1779</c:v>
                </c:pt>
                <c:pt idx="820">
                  <c:v>1764.6</c:v>
                </c:pt>
                <c:pt idx="821">
                  <c:v>1753.95</c:v>
                </c:pt>
                <c:pt idx="822">
                  <c:v>1757.39</c:v>
                </c:pt>
                <c:pt idx="823">
                  <c:v>1793.97</c:v>
                </c:pt>
                <c:pt idx="824">
                  <c:v>1807.8</c:v>
                </c:pt>
                <c:pt idx="825">
                  <c:v>1795.24</c:v>
                </c:pt>
                <c:pt idx="826">
                  <c:v>1794.44</c:v>
                </c:pt>
                <c:pt idx="827">
                  <c:v>1791.35</c:v>
                </c:pt>
                <c:pt idx="828">
                  <c:v>1793.76</c:v>
                </c:pt>
                <c:pt idx="829">
                  <c:v>1793.3</c:v>
                </c:pt>
                <c:pt idx="830">
                  <c:v>1822.21</c:v>
                </c:pt>
                <c:pt idx="831">
                  <c:v>1833.8</c:v>
                </c:pt>
                <c:pt idx="832">
                  <c:v>1812.6</c:v>
                </c:pt>
                <c:pt idx="833">
                  <c:v>1811.1</c:v>
                </c:pt>
                <c:pt idx="834">
                  <c:v>1806.3</c:v>
                </c:pt>
                <c:pt idx="835">
                  <c:v>1811.11</c:v>
                </c:pt>
                <c:pt idx="836">
                  <c:v>1807.61</c:v>
                </c:pt>
                <c:pt idx="837">
                  <c:v>1795.7</c:v>
                </c:pt>
                <c:pt idx="838">
                  <c:v>1786.75</c:v>
                </c:pt>
                <c:pt idx="839">
                  <c:v>1805.67</c:v>
                </c:pt>
                <c:pt idx="840">
                  <c:v>1802.35</c:v>
                </c:pt>
                <c:pt idx="841">
                  <c:v>1782.6</c:v>
                </c:pt>
                <c:pt idx="842">
                  <c:v>1781.68</c:v>
                </c:pt>
                <c:pt idx="843">
                  <c:v>1779.9</c:v>
                </c:pt>
                <c:pt idx="844">
                  <c:v>1783</c:v>
                </c:pt>
                <c:pt idx="845">
                  <c:v>1787.34</c:v>
                </c:pt>
                <c:pt idx="846">
                  <c:v>1774.35</c:v>
                </c:pt>
                <c:pt idx="847">
                  <c:v>1748.35</c:v>
                </c:pt>
                <c:pt idx="848">
                  <c:v>1749.47</c:v>
                </c:pt>
                <c:pt idx="849">
                  <c:v>1727.58</c:v>
                </c:pt>
                <c:pt idx="850">
                  <c:v>1729.14</c:v>
                </c:pt>
                <c:pt idx="851">
                  <c:v>1763.95</c:v>
                </c:pt>
                <c:pt idx="852">
                  <c:v>1802.65</c:v>
                </c:pt>
                <c:pt idx="853">
                  <c:v>1808.32</c:v>
                </c:pt>
                <c:pt idx="854">
                  <c:v>1808.92</c:v>
                </c:pt>
                <c:pt idx="855">
                  <c:v>1815.17</c:v>
                </c:pt>
                <c:pt idx="856">
                  <c:v>1823.24</c:v>
                </c:pt>
                <c:pt idx="857">
                  <c:v>1829.2</c:v>
                </c:pt>
                <c:pt idx="858">
                  <c:v>1801.68</c:v>
                </c:pt>
                <c:pt idx="859">
                  <c:v>1797.53</c:v>
                </c:pt>
                <c:pt idx="860">
                  <c:v>1799.95</c:v>
                </c:pt>
                <c:pt idx="861">
                  <c:v>1798.95</c:v>
                </c:pt>
                <c:pt idx="862">
                  <c:v>1804.26</c:v>
                </c:pt>
                <c:pt idx="863">
                  <c:v>1802.65</c:v>
                </c:pt>
                <c:pt idx="864">
                  <c:v>1810.1</c:v>
                </c:pt>
                <c:pt idx="865">
                  <c:v>1807.5</c:v>
                </c:pt>
                <c:pt idx="866">
                  <c:v>1812.56</c:v>
                </c:pt>
                <c:pt idx="867">
                  <c:v>1823.32</c:v>
                </c:pt>
                <c:pt idx="868">
                  <c:v>1822.61</c:v>
                </c:pt>
                <c:pt idx="869">
                  <c:v>1812.59</c:v>
                </c:pt>
                <c:pt idx="870">
                  <c:v>1804.35</c:v>
                </c:pt>
                <c:pt idx="871">
                  <c:v>1808.25</c:v>
                </c:pt>
                <c:pt idx="872">
                  <c:v>1798.31</c:v>
                </c:pt>
                <c:pt idx="873">
                  <c:v>1803.55</c:v>
                </c:pt>
                <c:pt idx="874">
                  <c:v>1802.95</c:v>
                </c:pt>
                <c:pt idx="875">
                  <c:v>1790.97</c:v>
                </c:pt>
                <c:pt idx="876">
                  <c:v>1783.7</c:v>
                </c:pt>
                <c:pt idx="877">
                  <c:v>1770.53</c:v>
                </c:pt>
                <c:pt idx="878">
                  <c:v>1765.43</c:v>
                </c:pt>
                <c:pt idx="879">
                  <c:v>1758.48</c:v>
                </c:pt>
                <c:pt idx="880">
                  <c:v>1781.7</c:v>
                </c:pt>
                <c:pt idx="881">
                  <c:v>1780.98</c:v>
                </c:pt>
                <c:pt idx="882">
                  <c:v>1780.74</c:v>
                </c:pt>
                <c:pt idx="883">
                  <c:v>1788.38</c:v>
                </c:pt>
                <c:pt idx="884">
                  <c:v>1780.75</c:v>
                </c:pt>
                <c:pt idx="885">
                  <c:v>1784.96</c:v>
                </c:pt>
                <c:pt idx="886">
                  <c:v>1775.97</c:v>
                </c:pt>
                <c:pt idx="887">
                  <c:v>1773.55</c:v>
                </c:pt>
                <c:pt idx="888">
                  <c:v>1856.3</c:v>
                </c:pt>
                <c:pt idx="889">
                  <c:v>1860.65</c:v>
                </c:pt>
                <c:pt idx="890">
                  <c:v>1864.56</c:v>
                </c:pt>
                <c:pt idx="891">
                  <c:v>1882.28</c:v>
                </c:pt>
                <c:pt idx="892">
                  <c:v>1890.7</c:v>
                </c:pt>
                <c:pt idx="893">
                  <c:v>1890.38</c:v>
                </c:pt>
                <c:pt idx="894">
                  <c:v>1893.15</c:v>
                </c:pt>
                <c:pt idx="895">
                  <c:v>1893.1</c:v>
                </c:pt>
                <c:pt idx="896">
                  <c:v>1894.25</c:v>
                </c:pt>
                <c:pt idx="897">
                  <c:v>1871.58</c:v>
                </c:pt>
                <c:pt idx="898">
                  <c:v>1903.45</c:v>
                </c:pt>
                <c:pt idx="899">
                  <c:v>1898.7</c:v>
                </c:pt>
                <c:pt idx="900">
                  <c:v>1905.99</c:v>
                </c:pt>
                <c:pt idx="901">
                  <c:v>1895.21</c:v>
                </c:pt>
                <c:pt idx="902">
                  <c:v>1891.3</c:v>
                </c:pt>
                <c:pt idx="903">
                  <c:v>1904.1</c:v>
                </c:pt>
                <c:pt idx="904">
                  <c:v>1892</c:v>
                </c:pt>
                <c:pt idx="905">
                  <c:v>1884.53</c:v>
                </c:pt>
                <c:pt idx="906">
                  <c:v>1874.94</c:v>
                </c:pt>
                <c:pt idx="907">
                  <c:v>1879.55</c:v>
                </c:pt>
                <c:pt idx="908">
                  <c:v>1883.59</c:v>
                </c:pt>
                <c:pt idx="909">
                  <c:v>1868.1</c:v>
                </c:pt>
                <c:pt idx="910">
                  <c:v>1863.3</c:v>
                </c:pt>
                <c:pt idx="911">
                  <c:v>1837.32</c:v>
                </c:pt>
                <c:pt idx="912">
                  <c:v>1821.7</c:v>
                </c:pt>
                <c:pt idx="913">
                  <c:v>1830.15</c:v>
                </c:pt>
                <c:pt idx="914">
                  <c:v>1829.7</c:v>
                </c:pt>
                <c:pt idx="915">
                  <c:v>1837.95</c:v>
                </c:pt>
                <c:pt idx="916">
                  <c:v>1835.08</c:v>
                </c:pt>
                <c:pt idx="917">
                  <c:v>1814.74</c:v>
                </c:pt>
                <c:pt idx="918">
                  <c:v>1783.33</c:v>
                </c:pt>
                <c:pt idx="919">
                  <c:v>1777.6</c:v>
                </c:pt>
                <c:pt idx="920">
                  <c:v>1792.91</c:v>
                </c:pt>
                <c:pt idx="921">
                  <c:v>1770.46</c:v>
                </c:pt>
                <c:pt idx="922">
                  <c:v>1769.01</c:v>
                </c:pt>
                <c:pt idx="923">
                  <c:v>1773.5</c:v>
                </c:pt>
                <c:pt idx="924">
                  <c:v>1779.8</c:v>
                </c:pt>
                <c:pt idx="925">
                  <c:v>1777.75</c:v>
                </c:pt>
                <c:pt idx="926">
                  <c:v>1775.76</c:v>
                </c:pt>
                <c:pt idx="927">
                  <c:v>1784.52</c:v>
                </c:pt>
                <c:pt idx="928">
                  <c:v>1792.35</c:v>
                </c:pt>
                <c:pt idx="929">
                  <c:v>1776.02</c:v>
                </c:pt>
                <c:pt idx="930">
                  <c:v>1775.44</c:v>
                </c:pt>
                <c:pt idx="931">
                  <c:v>1778.91</c:v>
                </c:pt>
                <c:pt idx="932">
                  <c:v>1765.62</c:v>
                </c:pt>
                <c:pt idx="933">
                  <c:v>1735.27</c:v>
                </c:pt>
                <c:pt idx="934">
                  <c:v>1742.64</c:v>
                </c:pt>
                <c:pt idx="935">
                  <c:v>1734.6</c:v>
                </c:pt>
                <c:pt idx="936">
                  <c:v>1742.84</c:v>
                </c:pt>
                <c:pt idx="937">
                  <c:v>1756.04</c:v>
                </c:pt>
                <c:pt idx="938">
                  <c:v>1742.66</c:v>
                </c:pt>
                <c:pt idx="939">
                  <c:v>1744.13</c:v>
                </c:pt>
                <c:pt idx="940">
                  <c:v>1727.68</c:v>
                </c:pt>
                <c:pt idx="941">
                  <c:v>1729.6</c:v>
                </c:pt>
                <c:pt idx="942">
                  <c:v>1729.6</c:v>
                </c:pt>
                <c:pt idx="943">
                  <c:v>1704.74</c:v>
                </c:pt>
                <c:pt idx="944">
                  <c:v>1685.74</c:v>
                </c:pt>
                <c:pt idx="945">
                  <c:v>1711.05</c:v>
                </c:pt>
                <c:pt idx="946">
                  <c:v>1733.21</c:v>
                </c:pt>
                <c:pt idx="947">
                  <c:v>1730.71</c:v>
                </c:pt>
                <c:pt idx="948">
                  <c:v>1736.84</c:v>
                </c:pt>
                <c:pt idx="949">
                  <c:v>1727.67</c:v>
                </c:pt>
                <c:pt idx="950">
                  <c:v>1738.26</c:v>
                </c:pt>
                <c:pt idx="951">
                  <c:v>1740.01</c:v>
                </c:pt>
                <c:pt idx="952">
                  <c:v>1735.59</c:v>
                </c:pt>
                <c:pt idx="953">
                  <c:v>1727.24</c:v>
                </c:pt>
                <c:pt idx="954">
                  <c:v>1728.53</c:v>
                </c:pt>
                <c:pt idx="955">
                  <c:v>1729.58</c:v>
                </c:pt>
                <c:pt idx="956">
                  <c:v>1710.69</c:v>
                </c:pt>
                <c:pt idx="957">
                  <c:v>1722.16</c:v>
                </c:pt>
                <c:pt idx="958">
                  <c:v>1717.3</c:v>
                </c:pt>
                <c:pt idx="959">
                  <c:v>1716.7</c:v>
                </c:pt>
                <c:pt idx="960">
                  <c:v>1681.84</c:v>
                </c:pt>
                <c:pt idx="961">
                  <c:v>1696.1</c:v>
                </c:pt>
                <c:pt idx="962">
                  <c:v>1719.14</c:v>
                </c:pt>
                <c:pt idx="963">
                  <c:v>1721.09</c:v>
                </c:pt>
                <c:pt idx="964">
                  <c:v>1727.1</c:v>
                </c:pt>
                <c:pt idx="965">
                  <c:v>1738.72</c:v>
                </c:pt>
                <c:pt idx="966">
                  <c:v>1727.44</c:v>
                </c:pt>
                <c:pt idx="967">
                  <c:v>1777.67</c:v>
                </c:pt>
                <c:pt idx="968">
                  <c:v>1794.92</c:v>
                </c:pt>
                <c:pt idx="969">
                  <c:v>1805.4</c:v>
                </c:pt>
                <c:pt idx="970">
                  <c:v>1808.19</c:v>
                </c:pt>
                <c:pt idx="971">
                  <c:v>1785.19</c:v>
                </c:pt>
                <c:pt idx="972">
                  <c:v>1778.1</c:v>
                </c:pt>
                <c:pt idx="973">
                  <c:v>1770.17</c:v>
                </c:pt>
                <c:pt idx="974">
                  <c:v>1810.49</c:v>
                </c:pt>
                <c:pt idx="975">
                  <c:v>1819.17</c:v>
                </c:pt>
                <c:pt idx="976">
                  <c:v>1826.76</c:v>
                </c:pt>
                <c:pt idx="977">
                  <c:v>1836.85</c:v>
                </c:pt>
                <c:pt idx="978">
                  <c:v>1836.66</c:v>
                </c:pt>
                <c:pt idx="979">
                  <c:v>1838.34</c:v>
                </c:pt>
                <c:pt idx="980">
                  <c:v>1836.15</c:v>
                </c:pt>
                <c:pt idx="981">
                  <c:v>1808.24</c:v>
                </c:pt>
                <c:pt idx="982">
                  <c:v>1789.94</c:v>
                </c:pt>
                <c:pt idx="983">
                  <c:v>1834.69</c:v>
                </c:pt>
                <c:pt idx="984">
                  <c:v>1838.56</c:v>
                </c:pt>
                <c:pt idx="985">
                  <c:v>1862.56</c:v>
                </c:pt>
                <c:pt idx="986">
                  <c:v>1858.01</c:v>
                </c:pt>
                <c:pt idx="987">
                  <c:v>1855.88</c:v>
                </c:pt>
                <c:pt idx="988">
                  <c:v>1847.79</c:v>
                </c:pt>
                <c:pt idx="989">
                  <c:v>1853.45</c:v>
                </c:pt>
                <c:pt idx="990">
                  <c:v>1848.97</c:v>
                </c:pt>
                <c:pt idx="991">
                  <c:v>1854.08</c:v>
                </c:pt>
                <c:pt idx="992">
                  <c:v>1864.58</c:v>
                </c:pt>
                <c:pt idx="993">
                  <c:v>1865.59</c:v>
                </c:pt>
                <c:pt idx="994">
                  <c:v>1841.9</c:v>
                </c:pt>
                <c:pt idx="995">
                  <c:v>1837.23</c:v>
                </c:pt>
                <c:pt idx="996">
                  <c:v>1825.48</c:v>
                </c:pt>
                <c:pt idx="997">
                  <c:v>1849.15</c:v>
                </c:pt>
                <c:pt idx="998">
                  <c:v>1858.31</c:v>
                </c:pt>
                <c:pt idx="999">
                  <c:v>1845.49</c:v>
                </c:pt>
                <c:pt idx="1000">
                  <c:v>1849.06</c:v>
                </c:pt>
                <c:pt idx="1001">
                  <c:v>1854.99</c:v>
                </c:pt>
                <c:pt idx="1002">
                  <c:v>1917.18</c:v>
                </c:pt>
                <c:pt idx="1003">
                  <c:v>1901.5</c:v>
                </c:pt>
                <c:pt idx="1004">
                  <c:v>1946.69</c:v>
                </c:pt>
                <c:pt idx="1005">
                  <c:v>1939.47</c:v>
                </c:pt>
                <c:pt idx="1006">
                  <c:v>1897.77</c:v>
                </c:pt>
                <c:pt idx="1007">
                  <c:v>1897.77</c:v>
                </c:pt>
                <c:pt idx="1008">
                  <c:v>1885.07</c:v>
                </c:pt>
                <c:pt idx="1009">
                  <c:v>1880.24</c:v>
                </c:pt>
                <c:pt idx="1010">
                  <c:v>1881.86</c:v>
                </c:pt>
                <c:pt idx="1011">
                  <c:v>1878.44</c:v>
                </c:pt>
                <c:pt idx="1012">
                  <c:v>1878.44</c:v>
                </c:pt>
                <c:pt idx="1013">
                  <c:v>1871.43</c:v>
                </c:pt>
                <c:pt idx="1014">
                  <c:v>1864.24</c:v>
                </c:pt>
                <c:pt idx="1015">
                  <c:v>1877.2</c:v>
                </c:pt>
                <c:pt idx="1016">
                  <c:v>1884.24</c:v>
                </c:pt>
                <c:pt idx="1017">
                  <c:v>1888.09</c:v>
                </c:pt>
                <c:pt idx="1018">
                  <c:v>1862.49</c:v>
                </c:pt>
                <c:pt idx="1019">
                  <c:v>1847.49</c:v>
                </c:pt>
                <c:pt idx="1020">
                  <c:v>1826.96</c:v>
                </c:pt>
                <c:pt idx="1021">
                  <c:v>1845.61</c:v>
                </c:pt>
                <c:pt idx="1022">
                  <c:v>1834.44</c:v>
                </c:pt>
                <c:pt idx="1023">
                  <c:v>1848.21</c:v>
                </c:pt>
                <c:pt idx="1024">
                  <c:v>1867.21</c:v>
                </c:pt>
                <c:pt idx="1025">
                  <c:v>1865.82</c:v>
                </c:pt>
                <c:pt idx="1026">
                  <c:v>1833.94</c:v>
                </c:pt>
                <c:pt idx="1027">
                  <c:v>1827.49</c:v>
                </c:pt>
                <c:pt idx="1028">
                  <c:v>1827.5</c:v>
                </c:pt>
                <c:pt idx="1029">
                  <c:v>1810.06</c:v>
                </c:pt>
                <c:pt idx="1030">
                  <c:v>1774.39</c:v>
                </c:pt>
                <c:pt idx="1031">
                  <c:v>1784.73</c:v>
                </c:pt>
                <c:pt idx="1032">
                  <c:v>1809.94</c:v>
                </c:pt>
                <c:pt idx="1033">
                  <c:v>1812.8</c:v>
                </c:pt>
                <c:pt idx="1034">
                  <c:v>1805.54</c:v>
                </c:pt>
                <c:pt idx="1035">
                  <c:v>1832.1</c:v>
                </c:pt>
                <c:pt idx="1036">
                  <c:v>1873.93</c:v>
                </c:pt>
                <c:pt idx="1037">
                  <c:v>1859.44</c:v>
                </c:pt>
                <c:pt idx="1038">
                  <c:v>1880.58</c:v>
                </c:pt>
                <c:pt idx="1039">
                  <c:v>1887.27</c:v>
                </c:pt>
                <c:pt idx="1040">
                  <c:v>1890.88</c:v>
                </c:pt>
                <c:pt idx="1041">
                  <c:v>1893.05</c:v>
                </c:pt>
                <c:pt idx="1042">
                  <c:v>1879.3</c:v>
                </c:pt>
                <c:pt idx="1043">
                  <c:v>1865.58</c:v>
                </c:pt>
                <c:pt idx="1044">
                  <c:v>1884.61</c:v>
                </c:pt>
                <c:pt idx="1045">
                  <c:v>1855.21</c:v>
                </c:pt>
                <c:pt idx="1046">
                  <c:v>1951.65</c:v>
                </c:pt>
                <c:pt idx="1047">
                  <c:v>1948.94</c:v>
                </c:pt>
                <c:pt idx="1048">
                  <c:v>1899.19</c:v>
                </c:pt>
                <c:pt idx="1049">
                  <c:v>1905.12</c:v>
                </c:pt>
                <c:pt idx="1050">
                  <c:v>1894.44</c:v>
                </c:pt>
                <c:pt idx="1051">
                  <c:v>1880.77</c:v>
                </c:pt>
                <c:pt idx="1052">
                  <c:v>1872.14</c:v>
                </c:pt>
                <c:pt idx="1053">
                  <c:v>1882.04</c:v>
                </c:pt>
                <c:pt idx="1054">
                  <c:v>1909.74</c:v>
                </c:pt>
                <c:pt idx="1055">
                  <c:v>1904.99</c:v>
                </c:pt>
                <c:pt idx="1056">
                  <c:v>1899.92</c:v>
                </c:pt>
                <c:pt idx="1057">
                  <c:v>1899.38</c:v>
                </c:pt>
                <c:pt idx="1058">
                  <c:v>1923.29</c:v>
                </c:pt>
                <c:pt idx="1059">
                  <c:v>1908.43</c:v>
                </c:pt>
                <c:pt idx="1060">
                  <c:v>1906.81</c:v>
                </c:pt>
                <c:pt idx="1061">
                  <c:v>1903.31</c:v>
                </c:pt>
                <c:pt idx="1062">
                  <c:v>1900.24</c:v>
                </c:pt>
                <c:pt idx="1063">
                  <c:v>1910.19</c:v>
                </c:pt>
                <c:pt idx="1064">
                  <c:v>1891.63</c:v>
                </c:pt>
                <c:pt idx="1065">
                  <c:v>1921.98</c:v>
                </c:pt>
                <c:pt idx="1066">
                  <c:v>1926.15</c:v>
                </c:pt>
                <c:pt idx="1067">
                  <c:v>1889.49</c:v>
                </c:pt>
                <c:pt idx="1068">
                  <c:v>1883.72</c:v>
                </c:pt>
                <c:pt idx="1069">
                  <c:v>1912.99</c:v>
                </c:pt>
                <c:pt idx="1070">
                  <c:v>1913.4</c:v>
                </c:pt>
                <c:pt idx="1071">
                  <c:v>1907.74</c:v>
                </c:pt>
                <c:pt idx="1072">
                  <c:v>1908.54</c:v>
                </c:pt>
                <c:pt idx="1073">
                  <c:v>1899.84</c:v>
                </c:pt>
                <c:pt idx="1074">
                  <c:v>1886.19</c:v>
                </c:pt>
                <c:pt idx="1075">
                  <c:v>1869.9</c:v>
                </c:pt>
                <c:pt idx="1076">
                  <c:v>1862.09</c:v>
                </c:pt>
                <c:pt idx="1077">
                  <c:v>1863.8</c:v>
                </c:pt>
                <c:pt idx="1078">
                  <c:v>1868.69</c:v>
                </c:pt>
                <c:pt idx="1079">
                  <c:v>1903.6</c:v>
                </c:pt>
                <c:pt idx="1080">
                  <c:v>1897.09</c:v>
                </c:pt>
                <c:pt idx="1081">
                  <c:v>1954.65</c:v>
                </c:pt>
                <c:pt idx="1082">
                  <c:v>1948.3</c:v>
                </c:pt>
                <c:pt idx="1083">
                  <c:v>1966.77</c:v>
                </c:pt>
                <c:pt idx="1084">
                  <c:v>1953.24</c:v>
                </c:pt>
                <c:pt idx="1085">
                  <c:v>1959.39</c:v>
                </c:pt>
                <c:pt idx="1086">
                  <c:v>1947.8</c:v>
                </c:pt>
                <c:pt idx="1087">
                  <c:v>1958.04</c:v>
                </c:pt>
                <c:pt idx="1088">
                  <c:v>1945.89</c:v>
                </c:pt>
                <c:pt idx="1089">
                  <c:v>1926.65</c:v>
                </c:pt>
                <c:pt idx="1090">
                  <c:v>1929.41</c:v>
                </c:pt>
                <c:pt idx="1091">
                  <c:v>1921.33</c:v>
                </c:pt>
                <c:pt idx="1092">
                  <c:v>1935.33</c:v>
                </c:pt>
                <c:pt idx="1093">
                  <c:v>1940.23</c:v>
                </c:pt>
                <c:pt idx="1094">
                  <c:v>1976.52</c:v>
                </c:pt>
                <c:pt idx="1095">
                  <c:v>1967.93</c:v>
                </c:pt>
                <c:pt idx="1096">
                  <c:v>1966.36</c:v>
                </c:pt>
                <c:pt idx="1097">
                  <c:v>1918.27</c:v>
                </c:pt>
                <c:pt idx="1098">
                  <c:v>1940.06</c:v>
                </c:pt>
                <c:pt idx="1099">
                  <c:v>1920.86</c:v>
                </c:pt>
                <c:pt idx="1100">
                  <c:v>1931.69</c:v>
                </c:pt>
                <c:pt idx="1101">
                  <c:v>1939.85</c:v>
                </c:pt>
                <c:pt idx="1102">
                  <c:v>1942.01</c:v>
                </c:pt>
                <c:pt idx="1103">
                  <c:v>1963.24</c:v>
                </c:pt>
                <c:pt idx="1104">
                  <c:v>1995.56</c:v>
                </c:pt>
                <c:pt idx="1105">
                  <c:v>1983.71</c:v>
                </c:pt>
                <c:pt idx="1106">
                  <c:v>1948.09</c:v>
                </c:pt>
                <c:pt idx="1107">
                  <c:v>1947.7</c:v>
                </c:pt>
                <c:pt idx="1108">
                  <c:v>1944.14</c:v>
                </c:pt>
                <c:pt idx="1109">
                  <c:v>1950.13</c:v>
                </c:pt>
                <c:pt idx="1110">
                  <c:v>2036.19</c:v>
                </c:pt>
                <c:pt idx="1111">
                  <c:v>2039.08</c:v>
                </c:pt>
                <c:pt idx="1112">
                  <c:v>2052.5</c:v>
                </c:pt>
                <c:pt idx="1113">
                  <c:v>2047.55</c:v>
                </c:pt>
                <c:pt idx="1114">
                  <c:v>1994.05</c:v>
                </c:pt>
                <c:pt idx="1115">
                  <c:v>1973.74</c:v>
                </c:pt>
                <c:pt idx="1116">
                  <c:v>1975.1</c:v>
                </c:pt>
                <c:pt idx="1117">
                  <c:v>1940.1</c:v>
                </c:pt>
                <c:pt idx="1118">
                  <c:v>1955.46</c:v>
                </c:pt>
                <c:pt idx="1119">
                  <c:v>1949.97</c:v>
                </c:pt>
                <c:pt idx="1120">
                  <c:v>1941.43</c:v>
                </c:pt>
                <c:pt idx="1121">
                  <c:v>1902.48</c:v>
                </c:pt>
                <c:pt idx="1122">
                  <c:v>1887.7</c:v>
                </c:pt>
                <c:pt idx="1123">
                  <c:v>1856.7</c:v>
                </c:pt>
                <c:pt idx="1124">
                  <c:v>1838.3</c:v>
                </c:pt>
                <c:pt idx="1125">
                  <c:v>1817.09</c:v>
                </c:pt>
                <c:pt idx="1126">
                  <c:v>1810.06</c:v>
                </c:pt>
                <c:pt idx="1127">
                  <c:v>1805.56</c:v>
                </c:pt>
                <c:pt idx="1128">
                  <c:v>1806.74</c:v>
                </c:pt>
                <c:pt idx="1129">
                  <c:v>1809.04</c:v>
                </c:pt>
                <c:pt idx="1130">
                  <c:v>1806.22</c:v>
                </c:pt>
                <c:pt idx="1131">
                  <c:v>1800.69</c:v>
                </c:pt>
                <c:pt idx="1132">
                  <c:v>1801.65</c:v>
                </c:pt>
                <c:pt idx="1133">
                  <c:v>1812.09</c:v>
                </c:pt>
                <c:pt idx="1134">
                  <c:v>1793.97</c:v>
                </c:pt>
                <c:pt idx="1135">
                  <c:v>1783.27</c:v>
                </c:pt>
                <c:pt idx="1136">
                  <c:v>1775.36</c:v>
                </c:pt>
                <c:pt idx="1137">
                  <c:v>1776.31</c:v>
                </c:pt>
                <c:pt idx="1138">
                  <c:v>1763.12</c:v>
                </c:pt>
                <c:pt idx="1139">
                  <c:v>1783.66</c:v>
                </c:pt>
                <c:pt idx="1140">
                  <c:v>1772.68</c:v>
                </c:pt>
                <c:pt idx="1141">
                  <c:v>1760.56</c:v>
                </c:pt>
                <c:pt idx="1142">
                  <c:v>1760.27</c:v>
                </c:pt>
                <c:pt idx="1143">
                  <c:v>1772.24</c:v>
                </c:pt>
                <c:pt idx="1144">
                  <c:v>1767.04</c:v>
                </c:pt>
                <c:pt idx="1145">
                  <c:v>1756.93</c:v>
                </c:pt>
                <c:pt idx="1146">
                  <c:v>1741.04</c:v>
                </c:pt>
                <c:pt idx="1147">
                  <c:v>1724.09</c:v>
                </c:pt>
                <c:pt idx="1148">
                  <c:v>1748.03</c:v>
                </c:pt>
                <c:pt idx="1149">
                  <c:v>1727.34</c:v>
                </c:pt>
                <c:pt idx="1150">
                  <c:v>1721.16</c:v>
                </c:pt>
                <c:pt idx="1151">
                  <c:v>1733.8</c:v>
                </c:pt>
                <c:pt idx="1152">
                  <c:v>1741.94</c:v>
                </c:pt>
                <c:pt idx="1153">
                  <c:v>1717.54</c:v>
                </c:pt>
                <c:pt idx="1154">
                  <c:v>1718.72</c:v>
                </c:pt>
                <c:pt idx="1155">
                  <c:v>1690.47</c:v>
                </c:pt>
                <c:pt idx="1156">
                  <c:v>1681.39</c:v>
                </c:pt>
                <c:pt idx="1157">
                  <c:v>1712.17</c:v>
                </c:pt>
                <c:pt idx="1158">
                  <c:v>1696.19</c:v>
                </c:pt>
                <c:pt idx="1159">
                  <c:v>1739.61</c:v>
                </c:pt>
                <c:pt idx="1160">
                  <c:v>1738.02</c:v>
                </c:pt>
                <c:pt idx="1161">
                  <c:v>1731.55</c:v>
                </c:pt>
                <c:pt idx="1162">
                  <c:v>1722.73</c:v>
                </c:pt>
                <c:pt idx="1163">
                  <c:v>1700.95</c:v>
                </c:pt>
                <c:pt idx="1164">
                  <c:v>1709.48</c:v>
                </c:pt>
                <c:pt idx="1165">
                  <c:v>1731.03</c:v>
                </c:pt>
                <c:pt idx="1166">
                  <c:v>1736.32</c:v>
                </c:pt>
                <c:pt idx="1167">
                  <c:v>1724.32</c:v>
                </c:pt>
                <c:pt idx="1168">
                  <c:v>1745.99</c:v>
                </c:pt>
                <c:pt idx="1169">
                  <c:v>1739.13</c:v>
                </c:pt>
                <c:pt idx="1170">
                  <c:v>1736.54</c:v>
                </c:pt>
                <c:pt idx="1171">
                  <c:v>1744.07</c:v>
                </c:pt>
                <c:pt idx="1172">
                  <c:v>1730.11</c:v>
                </c:pt>
                <c:pt idx="1173">
                  <c:v>1715.12</c:v>
                </c:pt>
                <c:pt idx="1174">
                  <c:v>1708.97</c:v>
                </c:pt>
                <c:pt idx="1175">
                  <c:v>1695.7</c:v>
                </c:pt>
                <c:pt idx="1176">
                  <c:v>1713.78</c:v>
                </c:pt>
                <c:pt idx="1177">
                  <c:v>1698.76</c:v>
                </c:pt>
                <c:pt idx="1178">
                  <c:v>1686.94</c:v>
                </c:pt>
                <c:pt idx="1179">
                  <c:v>1698.9</c:v>
                </c:pt>
                <c:pt idx="1180">
                  <c:v>1704.49</c:v>
                </c:pt>
                <c:pt idx="1181">
                  <c:v>1691.97</c:v>
                </c:pt>
                <c:pt idx="1182">
                  <c:v>1704.81</c:v>
                </c:pt>
                <c:pt idx="1183">
                  <c:v>1700.88</c:v>
                </c:pt>
                <c:pt idx="1184">
                  <c:v>1702.28</c:v>
                </c:pt>
                <c:pt idx="1185">
                  <c:v>1713.53</c:v>
                </c:pt>
                <c:pt idx="1186">
                  <c:v>1718.82</c:v>
                </c:pt>
                <c:pt idx="1187">
                  <c:v>1737.64</c:v>
                </c:pt>
                <c:pt idx="1188">
                  <c:v>1710.39</c:v>
                </c:pt>
                <c:pt idx="1189">
                  <c:v>1681.19</c:v>
                </c:pt>
                <c:pt idx="1190">
                  <c:v>1692.74</c:v>
                </c:pt>
                <c:pt idx="1191">
                  <c:v>1693.9</c:v>
                </c:pt>
                <c:pt idx="1192">
                  <c:v>1724.73</c:v>
                </c:pt>
                <c:pt idx="1193">
                  <c:v>1717.36</c:v>
                </c:pt>
                <c:pt idx="1194">
                  <c:v>1731.06</c:v>
                </c:pt>
                <c:pt idx="1195">
                  <c:v>1702.32</c:v>
                </c:pt>
                <c:pt idx="1196">
                  <c:v>1681.76</c:v>
                </c:pt>
                <c:pt idx="1197">
                  <c:v>1681.76</c:v>
                </c:pt>
                <c:pt idx="1198">
                  <c:v>1648.74</c:v>
                </c:pt>
                <c:pt idx="1199">
                  <c:v>1651.11</c:v>
                </c:pt>
                <c:pt idx="1200">
                  <c:v>1649.1</c:v>
                </c:pt>
                <c:pt idx="1201">
                  <c:v>1618.74</c:v>
                </c:pt>
                <c:pt idx="1202">
                  <c:v>1606.88</c:v>
                </c:pt>
                <c:pt idx="1203">
                  <c:v>1587.82</c:v>
                </c:pt>
                <c:pt idx="1204">
                  <c:v>1612.1</c:v>
                </c:pt>
                <c:pt idx="1205">
                  <c:v>1621.69</c:v>
                </c:pt>
                <c:pt idx="1206">
                  <c:v>1626.54</c:v>
                </c:pt>
                <c:pt idx="1207">
                  <c:v>1630.56</c:v>
                </c:pt>
                <c:pt idx="1208">
                  <c:v>1612.98</c:v>
                </c:pt>
                <c:pt idx="1209">
                  <c:v>1622.25</c:v>
                </c:pt>
                <c:pt idx="1210">
                  <c:v>1543.67</c:v>
                </c:pt>
                <c:pt idx="1211">
                  <c:v>1486.54</c:v>
                </c:pt>
                <c:pt idx="1212">
                  <c:v>1475.03</c:v>
                </c:pt>
                <c:pt idx="1213">
                  <c:v>1490.6</c:v>
                </c:pt>
                <c:pt idx="1214">
                  <c:v>1539.44</c:v>
                </c:pt>
                <c:pt idx="1215">
                  <c:v>1502.23</c:v>
                </c:pt>
                <c:pt idx="1216">
                  <c:v>1530.94</c:v>
                </c:pt>
                <c:pt idx="1217">
                  <c:v>1570.53</c:v>
                </c:pt>
                <c:pt idx="1218">
                  <c:v>1649.06</c:v>
                </c:pt>
                <c:pt idx="1219">
                  <c:v>1654.22</c:v>
                </c:pt>
                <c:pt idx="1220">
                  <c:v>1665.68</c:v>
                </c:pt>
                <c:pt idx="1221">
                  <c:v>1667.99</c:v>
                </c:pt>
                <c:pt idx="1222">
                  <c:v>1659.7</c:v>
                </c:pt>
                <c:pt idx="1223">
                  <c:v>1640.3</c:v>
                </c:pt>
                <c:pt idx="1224">
                  <c:v>1638.34</c:v>
                </c:pt>
                <c:pt idx="1225">
                  <c:v>1596.46</c:v>
                </c:pt>
                <c:pt idx="1226">
                  <c:v>1586.71</c:v>
                </c:pt>
                <c:pt idx="1227">
                  <c:v>1647.79</c:v>
                </c:pt>
                <c:pt idx="1228">
                  <c:v>1639.23</c:v>
                </c:pt>
                <c:pt idx="1229">
                  <c:v>1654.65</c:v>
                </c:pt>
                <c:pt idx="1230">
                  <c:v>1673.86</c:v>
                </c:pt>
                <c:pt idx="1231">
                  <c:v>1642.4</c:v>
                </c:pt>
                <c:pt idx="1232">
                  <c:v>1621.2</c:v>
                </c:pt>
                <c:pt idx="1233">
                  <c:v>1606.18</c:v>
                </c:pt>
                <c:pt idx="1234">
                  <c:v>1602.43</c:v>
                </c:pt>
                <c:pt idx="1235">
                  <c:v>1582.17</c:v>
                </c:pt>
                <c:pt idx="1236">
                  <c:v>1581.57</c:v>
                </c:pt>
                <c:pt idx="1237">
                  <c:v>1575.71</c:v>
                </c:pt>
                <c:pt idx="1238">
                  <c:v>1566.69</c:v>
                </c:pt>
                <c:pt idx="1239">
                  <c:v>1564.53</c:v>
                </c:pt>
                <c:pt idx="1240">
                  <c:v>1574.48</c:v>
                </c:pt>
                <c:pt idx="1241">
                  <c:v>1567.48</c:v>
                </c:pt>
                <c:pt idx="1242">
                  <c:v>1563.9</c:v>
                </c:pt>
                <c:pt idx="1243">
                  <c:v>1558.14</c:v>
                </c:pt>
                <c:pt idx="1244">
                  <c:v>1555.66</c:v>
                </c:pt>
                <c:pt idx="1245">
                  <c:v>1576.06</c:v>
                </c:pt>
                <c:pt idx="1246">
                  <c:v>1586.7</c:v>
                </c:pt>
                <c:pt idx="1247">
                  <c:v>1582.44</c:v>
                </c:pt>
                <c:pt idx="1248">
                  <c:v>1571.2</c:v>
                </c:pt>
                <c:pt idx="1249">
                  <c:v>1570.88</c:v>
                </c:pt>
                <c:pt idx="1250">
                  <c:v>1582.84</c:v>
                </c:pt>
                <c:pt idx="1251">
                  <c:v>1571.2</c:v>
                </c:pt>
                <c:pt idx="1252">
                  <c:v>1563.91</c:v>
                </c:pt>
                <c:pt idx="1253">
                  <c:v>1557.59</c:v>
                </c:pt>
                <c:pt idx="1254">
                  <c:v>1557.77</c:v>
                </c:pt>
                <c:pt idx="1255">
                  <c:v>1560.78</c:v>
                </c:pt>
                <c:pt idx="1256">
                  <c:v>1557.06</c:v>
                </c:pt>
                <c:pt idx="1257">
                  <c:v>1550.49</c:v>
                </c:pt>
                <c:pt idx="1258">
                  <c:v>1550.38</c:v>
                </c:pt>
                <c:pt idx="1259">
                  <c:v>1543.56</c:v>
                </c:pt>
                <c:pt idx="1260">
                  <c:v>1551.76</c:v>
                </c:pt>
                <c:pt idx="1261">
                  <c:v>1559.69</c:v>
                </c:pt>
                <c:pt idx="1262">
                  <c:v>1547.81</c:v>
                </c:pt>
                <c:pt idx="1263">
                  <c:v>1568.67</c:v>
                </c:pt>
                <c:pt idx="1264">
                  <c:v>1569.65</c:v>
                </c:pt>
                <c:pt idx="1265">
                  <c:v>1565.02</c:v>
                </c:pt>
                <c:pt idx="1266">
                  <c:v>1548.22</c:v>
                </c:pt>
                <c:pt idx="1267">
                  <c:v>1527.8</c:v>
                </c:pt>
                <c:pt idx="1268">
                  <c:v>1520.5</c:v>
                </c:pt>
                <c:pt idx="1269">
                  <c:v>1520.5</c:v>
                </c:pt>
                <c:pt idx="1270">
                  <c:v>1514.92</c:v>
                </c:pt>
                <c:pt idx="1271">
                  <c:v>1512.74</c:v>
                </c:pt>
                <c:pt idx="1272">
                  <c:v>1499.54</c:v>
                </c:pt>
                <c:pt idx="1273">
                  <c:v>1499.54</c:v>
                </c:pt>
                <c:pt idx="1274">
                  <c:v>1499.54</c:v>
                </c:pt>
                <c:pt idx="1275">
                  <c:v>1482.88</c:v>
                </c:pt>
                <c:pt idx="1276">
                  <c:v>1477.4</c:v>
                </c:pt>
                <c:pt idx="1277">
                  <c:v>1476.67</c:v>
                </c:pt>
                <c:pt idx="1278">
                  <c:v>1475.6</c:v>
                </c:pt>
                <c:pt idx="1279">
                  <c:v>1476.57</c:v>
                </c:pt>
                <c:pt idx="1280">
                  <c:v>1474.3</c:v>
                </c:pt>
                <c:pt idx="1281">
                  <c:v>1472.23</c:v>
                </c:pt>
                <c:pt idx="1282">
                  <c:v>1466.15</c:v>
                </c:pt>
                <c:pt idx="1283">
                  <c:v>1471.36</c:v>
                </c:pt>
                <c:pt idx="1284">
                  <c:v>1463.3</c:v>
                </c:pt>
                <c:pt idx="1285">
                  <c:v>1461.78</c:v>
                </c:pt>
                <c:pt idx="1286">
                  <c:v>1459.55</c:v>
                </c:pt>
                <c:pt idx="1287">
                  <c:v>1477.21</c:v>
                </c:pt>
                <c:pt idx="1288">
                  <c:v>1473.09</c:v>
                </c:pt>
                <c:pt idx="1289">
                  <c:v>1478.84</c:v>
                </c:pt>
                <c:pt idx="1290">
                  <c:v>1464.4</c:v>
                </c:pt>
                <c:pt idx="1291">
                  <c:v>1461.54</c:v>
                </c:pt>
                <c:pt idx="1292">
                  <c:v>1455.7</c:v>
                </c:pt>
                <c:pt idx="1293">
                  <c:v>1454.27</c:v>
                </c:pt>
                <c:pt idx="1294">
                  <c:v>1459.65</c:v>
                </c:pt>
                <c:pt idx="1295">
                  <c:v>1457.24</c:v>
                </c:pt>
                <c:pt idx="1296">
                  <c:v>1466.13</c:v>
                </c:pt>
                <c:pt idx="1297">
                  <c:v>1468.35</c:v>
                </c:pt>
                <c:pt idx="1298">
                  <c:v>1468.99</c:v>
                </c:pt>
                <c:pt idx="1299">
                  <c:v>1472.94</c:v>
                </c:pt>
                <c:pt idx="1300">
                  <c:v>1473.03</c:v>
                </c:pt>
                <c:pt idx="1301">
                  <c:v>1466.78</c:v>
                </c:pt>
                <c:pt idx="1302">
                  <c:v>1471.32</c:v>
                </c:pt>
                <c:pt idx="1303">
                  <c:v>1464.71</c:v>
                </c:pt>
                <c:pt idx="1304">
                  <c:v>1451.31</c:v>
                </c:pt>
                <c:pt idx="1305">
                  <c:v>1452.55</c:v>
                </c:pt>
                <c:pt idx="1306">
                  <c:v>1466.6</c:v>
                </c:pt>
                <c:pt idx="1307">
                  <c:v>1469.55</c:v>
                </c:pt>
                <c:pt idx="1308">
                  <c:v>1488.8</c:v>
                </c:pt>
                <c:pt idx="1309">
                  <c:v>1485.49</c:v>
                </c:pt>
                <c:pt idx="1310">
                  <c:v>1507.53</c:v>
                </c:pt>
                <c:pt idx="1311">
                  <c:v>1511.25</c:v>
                </c:pt>
                <c:pt idx="1312">
                  <c:v>1510.23</c:v>
                </c:pt>
                <c:pt idx="1313">
                  <c:v>1494.46</c:v>
                </c:pt>
                <c:pt idx="1314">
                  <c:v>1490.27</c:v>
                </c:pt>
                <c:pt idx="1315">
                  <c:v>1491.19</c:v>
                </c:pt>
                <c:pt idx="1316">
                  <c:v>1509.25</c:v>
                </c:pt>
                <c:pt idx="1317">
                  <c:v>1502.05</c:v>
                </c:pt>
                <c:pt idx="1318">
                  <c:v>1493.69</c:v>
                </c:pt>
                <c:pt idx="1319">
                  <c:v>1484.71</c:v>
                </c:pt>
                <c:pt idx="1320">
                  <c:v>1485.41</c:v>
                </c:pt>
                <c:pt idx="1321">
                  <c:v>1489.9</c:v>
                </c:pt>
                <c:pt idx="1322">
                  <c:v>1491.48</c:v>
                </c:pt>
                <c:pt idx="1323">
                  <c:v>1486.08</c:v>
                </c:pt>
                <c:pt idx="1324">
                  <c:v>1480.8</c:v>
                </c:pt>
                <c:pt idx="1325">
                  <c:v>1491.9</c:v>
                </c:pt>
                <c:pt idx="1326">
                  <c:v>1482.15</c:v>
                </c:pt>
                <c:pt idx="1327">
                  <c:v>1492.14</c:v>
                </c:pt>
                <c:pt idx="1328">
                  <c:v>1507.54</c:v>
                </c:pt>
                <c:pt idx="1329">
                  <c:v>1502.91</c:v>
                </c:pt>
                <c:pt idx="1330">
                  <c:v>1501.79</c:v>
                </c:pt>
                <c:pt idx="1331">
                  <c:v>1507.51</c:v>
                </c:pt>
                <c:pt idx="1332">
                  <c:v>1509.56</c:v>
                </c:pt>
                <c:pt idx="1333">
                  <c:v>1498.58</c:v>
                </c:pt>
                <c:pt idx="1334">
                  <c:v>1482.96</c:v>
                </c:pt>
                <c:pt idx="1335">
                  <c:v>1473.85</c:v>
                </c:pt>
                <c:pt idx="1336">
                  <c:v>1491.9</c:v>
                </c:pt>
                <c:pt idx="1337">
                  <c:v>1510.02</c:v>
                </c:pt>
                <c:pt idx="1338">
                  <c:v>1517.94</c:v>
                </c:pt>
                <c:pt idx="1339">
                  <c:v>1525.19</c:v>
                </c:pt>
                <c:pt idx="1340">
                  <c:v>1525.27</c:v>
                </c:pt>
                <c:pt idx="1341">
                  <c:v>1503.68</c:v>
                </c:pt>
                <c:pt idx="1342">
                  <c:v>1500.4</c:v>
                </c:pt>
                <c:pt idx="1343">
                  <c:v>1508.2</c:v>
                </c:pt>
                <c:pt idx="1344">
                  <c:v>1504.15</c:v>
                </c:pt>
                <c:pt idx="1345">
                  <c:v>1504.65</c:v>
                </c:pt>
                <c:pt idx="1346">
                  <c:v>1493.4</c:v>
                </c:pt>
                <c:pt idx="1347">
                  <c:v>1513.02</c:v>
                </c:pt>
                <c:pt idx="1348">
                  <c:v>1495.35</c:v>
                </c:pt>
                <c:pt idx="1349">
                  <c:v>1496.5</c:v>
                </c:pt>
                <c:pt idx="1350">
                  <c:v>1501.94</c:v>
                </c:pt>
                <c:pt idx="1351">
                  <c:v>1520.8</c:v>
                </c:pt>
                <c:pt idx="1352">
                  <c:v>1518.97</c:v>
                </c:pt>
                <c:pt idx="1353">
                  <c:v>1545.45</c:v>
                </c:pt>
                <c:pt idx="1354">
                  <c:v>1548.98</c:v>
                </c:pt>
                <c:pt idx="1355">
                  <c:v>1526.05</c:v>
                </c:pt>
                <c:pt idx="1356">
                  <c:v>1529.31</c:v>
                </c:pt>
                <c:pt idx="1357">
                  <c:v>1536.9</c:v>
                </c:pt>
                <c:pt idx="1358">
                  <c:v>1537.47</c:v>
                </c:pt>
                <c:pt idx="1359">
                  <c:v>1539.04</c:v>
                </c:pt>
                <c:pt idx="1360">
                  <c:v>1533.97</c:v>
                </c:pt>
                <c:pt idx="1361">
                  <c:v>1534.16</c:v>
                </c:pt>
                <c:pt idx="1362">
                  <c:v>1500.7</c:v>
                </c:pt>
                <c:pt idx="1363">
                  <c:v>1503.35</c:v>
                </c:pt>
                <c:pt idx="1364">
                  <c:v>1502.31</c:v>
                </c:pt>
                <c:pt idx="1365">
                  <c:v>1501.18</c:v>
                </c:pt>
                <c:pt idx="1366">
                  <c:v>1507.8</c:v>
                </c:pt>
                <c:pt idx="1367">
                  <c:v>1518.6</c:v>
                </c:pt>
                <c:pt idx="1368">
                  <c:v>1518.42</c:v>
                </c:pt>
                <c:pt idx="1369">
                  <c:v>1501.27</c:v>
                </c:pt>
                <c:pt idx="1370">
                  <c:v>1505.46</c:v>
                </c:pt>
                <c:pt idx="1371">
                  <c:v>1502.47</c:v>
                </c:pt>
                <c:pt idx="1372">
                  <c:v>1496.49</c:v>
                </c:pt>
                <c:pt idx="1373">
                  <c:v>1502.56</c:v>
                </c:pt>
                <c:pt idx="1374">
                  <c:v>1473.73</c:v>
                </c:pt>
                <c:pt idx="1375">
                  <c:v>1457.49</c:v>
                </c:pt>
                <c:pt idx="1376">
                  <c:v>1445.94</c:v>
                </c:pt>
                <c:pt idx="1377">
                  <c:v>1413.94</c:v>
                </c:pt>
                <c:pt idx="1378">
                  <c:v>1427.68</c:v>
                </c:pt>
                <c:pt idx="1379">
                  <c:v>1428.8</c:v>
                </c:pt>
                <c:pt idx="1380">
                  <c:v>1419.63</c:v>
                </c:pt>
                <c:pt idx="1381">
                  <c:v>1419.49</c:v>
                </c:pt>
                <c:pt idx="1382">
                  <c:v>1418.64</c:v>
                </c:pt>
                <c:pt idx="1383">
                  <c:v>1423.9</c:v>
                </c:pt>
                <c:pt idx="1384">
                  <c:v>1424.23</c:v>
                </c:pt>
                <c:pt idx="1385">
                  <c:v>1426.8</c:v>
                </c:pt>
                <c:pt idx="1386">
                  <c:v>1429.33</c:v>
                </c:pt>
                <c:pt idx="1387">
                  <c:v>1425.53</c:v>
                </c:pt>
                <c:pt idx="1388">
                  <c:v>1422.06</c:v>
                </c:pt>
                <c:pt idx="1389">
                  <c:v>1409.56</c:v>
                </c:pt>
                <c:pt idx="1390">
                  <c:v>1410.51</c:v>
                </c:pt>
                <c:pt idx="1391">
                  <c:v>1407.99</c:v>
                </c:pt>
                <c:pt idx="1392">
                  <c:v>1411.21</c:v>
                </c:pt>
                <c:pt idx="1393">
                  <c:v>1406.26</c:v>
                </c:pt>
                <c:pt idx="1394">
                  <c:v>1397.13</c:v>
                </c:pt>
                <c:pt idx="1395">
                  <c:v>1398.46</c:v>
                </c:pt>
                <c:pt idx="1396">
                  <c:v>1394.93</c:v>
                </c:pt>
                <c:pt idx="1397">
                  <c:v>1415.51</c:v>
                </c:pt>
                <c:pt idx="1398">
                  <c:v>1420.58</c:v>
                </c:pt>
                <c:pt idx="1399">
                  <c:v>1397.04</c:v>
                </c:pt>
                <c:pt idx="1400">
                  <c:v>1393.3</c:v>
                </c:pt>
                <c:pt idx="1401">
                  <c:v>1412.3</c:v>
                </c:pt>
                <c:pt idx="1402">
                  <c:v>1404.85</c:v>
                </c:pt>
                <c:pt idx="1403">
                  <c:v>1410.14</c:v>
                </c:pt>
                <c:pt idx="1404">
                  <c:v>1432.35</c:v>
                </c:pt>
                <c:pt idx="1405">
                  <c:v>1410.04</c:v>
                </c:pt>
                <c:pt idx="1406">
                  <c:v>1393.47</c:v>
                </c:pt>
                <c:pt idx="1407">
                  <c:v>1384.84</c:v>
                </c:pt>
                <c:pt idx="1408">
                  <c:v>1344.15</c:v>
                </c:pt>
                <c:pt idx="1409">
                  <c:v>1348.58</c:v>
                </c:pt>
                <c:pt idx="1410">
                  <c:v>1338.98</c:v>
                </c:pt>
                <c:pt idx="1411">
                  <c:v>1350.18</c:v>
                </c:pt>
                <c:pt idx="1412">
                  <c:v>1338.19</c:v>
                </c:pt>
                <c:pt idx="1413">
                  <c:v>1335.17</c:v>
                </c:pt>
                <c:pt idx="1414">
                  <c:v>1326.26</c:v>
                </c:pt>
                <c:pt idx="1415">
                  <c:v>1329.04</c:v>
                </c:pt>
                <c:pt idx="1416">
                  <c:v>1345.85</c:v>
                </c:pt>
                <c:pt idx="1417">
                  <c:v>1335.64</c:v>
                </c:pt>
                <c:pt idx="1418">
                  <c:v>1330.56</c:v>
                </c:pt>
                <c:pt idx="1419">
                  <c:v>1321.4</c:v>
                </c:pt>
                <c:pt idx="1420">
                  <c:v>1319.82</c:v>
                </c:pt>
                <c:pt idx="1421">
                  <c:v>1300.1099999999999</c:v>
                </c:pt>
                <c:pt idx="1422">
                  <c:v>1288.26</c:v>
                </c:pt>
                <c:pt idx="1423">
                  <c:v>1282</c:v>
                </c:pt>
                <c:pt idx="1424">
                  <c:v>1278.78</c:v>
                </c:pt>
                <c:pt idx="1425">
                  <c:v>1285.44</c:v>
                </c:pt>
                <c:pt idx="1426">
                  <c:v>1283.77</c:v>
                </c:pt>
                <c:pt idx="1427">
                  <c:v>1286.69</c:v>
                </c:pt>
                <c:pt idx="1428">
                  <c:v>1275.31</c:v>
                </c:pt>
                <c:pt idx="1429">
                  <c:v>1274.19</c:v>
                </c:pt>
                <c:pt idx="1430">
                  <c:v>1278.1300000000001</c:v>
                </c:pt>
                <c:pt idx="1431">
                  <c:v>1276.5</c:v>
                </c:pt>
                <c:pt idx="1432">
                  <c:v>1287.05</c:v>
                </c:pt>
                <c:pt idx="1433">
                  <c:v>1296.2</c:v>
                </c:pt>
                <c:pt idx="1434">
                  <c:v>1296.96</c:v>
                </c:pt>
                <c:pt idx="1435">
                  <c:v>1297.4000000000001</c:v>
                </c:pt>
                <c:pt idx="1436">
                  <c:v>1287.27</c:v>
                </c:pt>
                <c:pt idx="1437">
                  <c:v>1283.8399999999999</c:v>
                </c:pt>
                <c:pt idx="1438">
                  <c:v>1282.72</c:v>
                </c:pt>
                <c:pt idx="1439">
                  <c:v>1283.83</c:v>
                </c:pt>
                <c:pt idx="1440">
                  <c:v>1279.05</c:v>
                </c:pt>
                <c:pt idx="1441">
                  <c:v>1281.04</c:v>
                </c:pt>
                <c:pt idx="1442">
                  <c:v>1268.45</c:v>
                </c:pt>
                <c:pt idx="1443">
                  <c:v>1281.9100000000001</c:v>
                </c:pt>
                <c:pt idx="1444">
                  <c:v>1283.06</c:v>
                </c:pt>
                <c:pt idx="1445">
                  <c:v>1279.54</c:v>
                </c:pt>
                <c:pt idx="1446">
                  <c:v>1287.52</c:v>
                </c:pt>
                <c:pt idx="1447">
                  <c:v>1280.04</c:v>
                </c:pt>
                <c:pt idx="1448">
                  <c:v>1274.8900000000001</c:v>
                </c:pt>
                <c:pt idx="1449">
                  <c:v>1268.83</c:v>
                </c:pt>
                <c:pt idx="1450">
                  <c:v>1275.19</c:v>
                </c:pt>
                <c:pt idx="1451">
                  <c:v>1275.31</c:v>
                </c:pt>
                <c:pt idx="1452">
                  <c:v>1275.31</c:v>
                </c:pt>
                <c:pt idx="1453">
                  <c:v>1273.5899999999999</c:v>
                </c:pt>
                <c:pt idx="1454">
                  <c:v>1276.2</c:v>
                </c:pt>
                <c:pt idx="1455">
                  <c:v>1287.29</c:v>
                </c:pt>
                <c:pt idx="1456">
                  <c:v>1292.28</c:v>
                </c:pt>
                <c:pt idx="1457">
                  <c:v>1295.73</c:v>
                </c:pt>
                <c:pt idx="1458">
                  <c:v>1307.8800000000001</c:v>
                </c:pt>
                <c:pt idx="1459">
                  <c:v>1304.93</c:v>
                </c:pt>
                <c:pt idx="1460">
                  <c:v>1299.3599999999999</c:v>
                </c:pt>
                <c:pt idx="1461">
                  <c:v>1292.3</c:v>
                </c:pt>
                <c:pt idx="1462">
                  <c:v>1288.23</c:v>
                </c:pt>
                <c:pt idx="1463">
                  <c:v>1291.1500000000001</c:v>
                </c:pt>
                <c:pt idx="1464">
                  <c:v>1290.6300000000001</c:v>
                </c:pt>
                <c:pt idx="1465">
                  <c:v>1291.98</c:v>
                </c:pt>
                <c:pt idx="1466">
                  <c:v>1295.72</c:v>
                </c:pt>
                <c:pt idx="1467">
                  <c:v>1290.23</c:v>
                </c:pt>
                <c:pt idx="1468">
                  <c:v>1310.5899999999999</c:v>
                </c:pt>
                <c:pt idx="1469">
                  <c:v>1314.08</c:v>
                </c:pt>
                <c:pt idx="1470">
                  <c:v>1321.4</c:v>
                </c:pt>
                <c:pt idx="1471">
                  <c:v>1312.6</c:v>
                </c:pt>
                <c:pt idx="1472">
                  <c:v>1309.53</c:v>
                </c:pt>
                <c:pt idx="1473">
                  <c:v>1301.49</c:v>
                </c:pt>
                <c:pt idx="1474">
                  <c:v>1307.29</c:v>
                </c:pt>
                <c:pt idx="1475">
                  <c:v>1304.69</c:v>
                </c:pt>
                <c:pt idx="1476">
                  <c:v>1302.04</c:v>
                </c:pt>
                <c:pt idx="1477">
                  <c:v>1294.31</c:v>
                </c:pt>
                <c:pt idx="1478">
                  <c:v>1308.18</c:v>
                </c:pt>
                <c:pt idx="1479">
                  <c:v>1297.4000000000001</c:v>
                </c:pt>
                <c:pt idx="1480">
                  <c:v>1292.51</c:v>
                </c:pt>
                <c:pt idx="1481">
                  <c:v>1298.26</c:v>
                </c:pt>
                <c:pt idx="1482">
                  <c:v>1285.9100000000001</c:v>
                </c:pt>
                <c:pt idx="1483">
                  <c:v>1286.74</c:v>
                </c:pt>
                <c:pt idx="1484">
                  <c:v>1285.05</c:v>
                </c:pt>
                <c:pt idx="1485">
                  <c:v>1286.1400000000001</c:v>
                </c:pt>
                <c:pt idx="1486">
                  <c:v>1303.67</c:v>
                </c:pt>
                <c:pt idx="1487">
                  <c:v>1315.65</c:v>
                </c:pt>
                <c:pt idx="1488">
                  <c:v>1322.36</c:v>
                </c:pt>
                <c:pt idx="1489">
                  <c:v>1328.33</c:v>
                </c:pt>
                <c:pt idx="1490">
                  <c:v>1328.34</c:v>
                </c:pt>
                <c:pt idx="1491">
                  <c:v>1330.09</c:v>
                </c:pt>
                <c:pt idx="1492">
                  <c:v>1331.29</c:v>
                </c:pt>
                <c:pt idx="1493">
                  <c:v>1345.45</c:v>
                </c:pt>
                <c:pt idx="1494">
                  <c:v>1337.75</c:v>
                </c:pt>
                <c:pt idx="1495">
                  <c:v>1326.19</c:v>
                </c:pt>
                <c:pt idx="1496">
                  <c:v>1315.3</c:v>
                </c:pt>
                <c:pt idx="1497">
                  <c:v>1310.67</c:v>
                </c:pt>
                <c:pt idx="1498">
                  <c:v>1313.6</c:v>
                </c:pt>
                <c:pt idx="1499">
                  <c:v>1309.52</c:v>
                </c:pt>
                <c:pt idx="1500">
                  <c:v>1309.25</c:v>
                </c:pt>
                <c:pt idx="1501">
                  <c:v>1314.26</c:v>
                </c:pt>
                <c:pt idx="1502">
                  <c:v>1310.48</c:v>
                </c:pt>
                <c:pt idx="1503">
                  <c:v>1312.17</c:v>
                </c:pt>
                <c:pt idx="1504">
                  <c:v>1313.48</c:v>
                </c:pt>
                <c:pt idx="1505">
                  <c:v>1314.58</c:v>
                </c:pt>
                <c:pt idx="1506">
                  <c:v>1317.94</c:v>
                </c:pt>
                <c:pt idx="1507">
                  <c:v>1322.59</c:v>
                </c:pt>
                <c:pt idx="1508">
                  <c:v>1311.66</c:v>
                </c:pt>
                <c:pt idx="1509">
                  <c:v>1310.67</c:v>
                </c:pt>
                <c:pt idx="1510">
                  <c:v>1302.55</c:v>
                </c:pt>
                <c:pt idx="1511">
                  <c:v>1298.5899999999999</c:v>
                </c:pt>
                <c:pt idx="1512">
                  <c:v>1282.6500000000001</c:v>
                </c:pt>
                <c:pt idx="1513">
                  <c:v>1282.68</c:v>
                </c:pt>
                <c:pt idx="1514">
                  <c:v>1281.04</c:v>
                </c:pt>
                <c:pt idx="1515">
                  <c:v>1280.8499999999999</c:v>
                </c:pt>
                <c:pt idx="1516">
                  <c:v>1283.55</c:v>
                </c:pt>
                <c:pt idx="1517">
                  <c:v>1291.74</c:v>
                </c:pt>
                <c:pt idx="1518">
                  <c:v>1294.48</c:v>
                </c:pt>
                <c:pt idx="1519">
                  <c:v>1289.4000000000001</c:v>
                </c:pt>
                <c:pt idx="1520">
                  <c:v>1289.8499999999999</c:v>
                </c:pt>
                <c:pt idx="1521">
                  <c:v>1290.3</c:v>
                </c:pt>
                <c:pt idx="1522">
                  <c:v>1289.31</c:v>
                </c:pt>
                <c:pt idx="1523">
                  <c:v>1289.6500000000001</c:v>
                </c:pt>
                <c:pt idx="1524">
                  <c:v>1284.48</c:v>
                </c:pt>
                <c:pt idx="1525">
                  <c:v>1288.24</c:v>
                </c:pt>
                <c:pt idx="1526">
                  <c:v>1282.97</c:v>
                </c:pt>
                <c:pt idx="1527">
                  <c:v>1289.0999999999999</c:v>
                </c:pt>
                <c:pt idx="1528">
                  <c:v>1287.08</c:v>
                </c:pt>
                <c:pt idx="1529">
                  <c:v>1281.3399999999999</c:v>
                </c:pt>
                <c:pt idx="1530">
                  <c:v>1281.3399999999999</c:v>
                </c:pt>
                <c:pt idx="1531">
                  <c:v>1277.53</c:v>
                </c:pt>
                <c:pt idx="1532">
                  <c:v>1275.31</c:v>
                </c:pt>
                <c:pt idx="1533">
                  <c:v>1278.5999999999999</c:v>
                </c:pt>
                <c:pt idx="1534">
                  <c:v>1265.54</c:v>
                </c:pt>
                <c:pt idx="1535">
                  <c:v>1265.54</c:v>
                </c:pt>
                <c:pt idx="1536">
                  <c:v>1259.93</c:v>
                </c:pt>
                <c:pt idx="1537">
                  <c:v>1258.05</c:v>
                </c:pt>
                <c:pt idx="1538">
                  <c:v>1255.8800000000001</c:v>
                </c:pt>
                <c:pt idx="1539">
                  <c:v>1246.4000000000001</c:v>
                </c:pt>
                <c:pt idx="1540">
                  <c:v>1242.5899999999999</c:v>
                </c:pt>
                <c:pt idx="1541">
                  <c:v>1238.7</c:v>
                </c:pt>
                <c:pt idx="1542">
                  <c:v>1242.6500000000001</c:v>
                </c:pt>
                <c:pt idx="1543">
                  <c:v>1246.22</c:v>
                </c:pt>
                <c:pt idx="1544">
                  <c:v>1244.18</c:v>
                </c:pt>
                <c:pt idx="1545">
                  <c:v>1246.7</c:v>
                </c:pt>
                <c:pt idx="1546">
                  <c:v>1245.81</c:v>
                </c:pt>
                <c:pt idx="1547">
                  <c:v>1242.94</c:v>
                </c:pt>
                <c:pt idx="1548">
                  <c:v>1237.77</c:v>
                </c:pt>
                <c:pt idx="1549">
                  <c:v>1238.44</c:v>
                </c:pt>
                <c:pt idx="1550">
                  <c:v>1234.19</c:v>
                </c:pt>
                <c:pt idx="1551">
                  <c:v>1219.1500000000001</c:v>
                </c:pt>
                <c:pt idx="1552">
                  <c:v>1227.3499999999999</c:v>
                </c:pt>
                <c:pt idx="1553">
                  <c:v>1213.52</c:v>
                </c:pt>
                <c:pt idx="1554">
                  <c:v>1213.22</c:v>
                </c:pt>
                <c:pt idx="1555">
                  <c:v>1223.3</c:v>
                </c:pt>
                <c:pt idx="1556">
                  <c:v>1223.22</c:v>
                </c:pt>
                <c:pt idx="1557">
                  <c:v>1227.82</c:v>
                </c:pt>
                <c:pt idx="1558">
                  <c:v>1226.6400000000001</c:v>
                </c:pt>
                <c:pt idx="1559">
                  <c:v>1224.17</c:v>
                </c:pt>
                <c:pt idx="1560">
                  <c:v>1222.79</c:v>
                </c:pt>
                <c:pt idx="1561">
                  <c:v>1220.92</c:v>
                </c:pt>
                <c:pt idx="1562">
                  <c:v>1213.32</c:v>
                </c:pt>
                <c:pt idx="1563">
                  <c:v>1201.8</c:v>
                </c:pt>
                <c:pt idx="1564">
                  <c:v>1204.26</c:v>
                </c:pt>
                <c:pt idx="1565">
                  <c:v>1203.3599999999999</c:v>
                </c:pt>
                <c:pt idx="1566">
                  <c:v>1210.72</c:v>
                </c:pt>
                <c:pt idx="1567">
                  <c:v>1224.24</c:v>
                </c:pt>
                <c:pt idx="1568">
                  <c:v>1227.6500000000001</c:v>
                </c:pt>
                <c:pt idx="1569">
                  <c:v>1227.95</c:v>
                </c:pt>
                <c:pt idx="1570">
                  <c:v>1230.6099999999999</c:v>
                </c:pt>
                <c:pt idx="1571">
                  <c:v>1231.3499999999999</c:v>
                </c:pt>
                <c:pt idx="1572">
                  <c:v>1231.45</c:v>
                </c:pt>
                <c:pt idx="1573">
                  <c:v>1215.54</c:v>
                </c:pt>
                <c:pt idx="1574">
                  <c:v>1224.3900000000001</c:v>
                </c:pt>
                <c:pt idx="1575">
                  <c:v>1230.69</c:v>
                </c:pt>
                <c:pt idx="1576">
                  <c:v>1241.8</c:v>
                </c:pt>
                <c:pt idx="1577">
                  <c:v>1229.45</c:v>
                </c:pt>
                <c:pt idx="1578">
                  <c:v>1230.54</c:v>
                </c:pt>
                <c:pt idx="1579">
                  <c:v>1233.08</c:v>
                </c:pt>
                <c:pt idx="1580">
                  <c:v>1221.69</c:v>
                </c:pt>
                <c:pt idx="1581">
                  <c:v>1226.52</c:v>
                </c:pt>
                <c:pt idx="1582">
                  <c:v>1227.19</c:v>
                </c:pt>
                <c:pt idx="1583">
                  <c:v>1226.6500000000001</c:v>
                </c:pt>
                <c:pt idx="1584">
                  <c:v>1228.01</c:v>
                </c:pt>
                <c:pt idx="1585">
                  <c:v>1227.74</c:v>
                </c:pt>
                <c:pt idx="1586">
                  <c:v>1218.8800000000001</c:v>
                </c:pt>
                <c:pt idx="1587">
                  <c:v>1218.5</c:v>
                </c:pt>
                <c:pt idx="1588">
                  <c:v>1187.45</c:v>
                </c:pt>
                <c:pt idx="1589">
                  <c:v>1188.18</c:v>
                </c:pt>
                <c:pt idx="1590">
                  <c:v>1185.56</c:v>
                </c:pt>
                <c:pt idx="1591">
                  <c:v>1201.98</c:v>
                </c:pt>
                <c:pt idx="1592">
                  <c:v>1203.3399999999999</c:v>
                </c:pt>
                <c:pt idx="1593">
                  <c:v>1201.7</c:v>
                </c:pt>
                <c:pt idx="1594">
                  <c:v>1207.0999999999999</c:v>
                </c:pt>
                <c:pt idx="1595">
                  <c:v>1188.49</c:v>
                </c:pt>
                <c:pt idx="1596">
                  <c:v>1191.49</c:v>
                </c:pt>
                <c:pt idx="1597">
                  <c:v>1182.49</c:v>
                </c:pt>
                <c:pt idx="1598">
                  <c:v>1194.1600000000001</c:v>
                </c:pt>
                <c:pt idx="1599">
                  <c:v>1202.5899999999999</c:v>
                </c:pt>
                <c:pt idx="1600">
                  <c:v>1201.99</c:v>
                </c:pt>
                <c:pt idx="1601">
                  <c:v>1198.05</c:v>
                </c:pt>
                <c:pt idx="1602">
                  <c:v>1203.99</c:v>
                </c:pt>
                <c:pt idx="1603">
                  <c:v>1204.5899999999999</c:v>
                </c:pt>
                <c:pt idx="1604">
                  <c:v>1199.25</c:v>
                </c:pt>
                <c:pt idx="1605">
                  <c:v>1204.23</c:v>
                </c:pt>
                <c:pt idx="1606">
                  <c:v>1196.72</c:v>
                </c:pt>
                <c:pt idx="1607">
                  <c:v>1203.07</c:v>
                </c:pt>
                <c:pt idx="1608">
                  <c:v>1199.03</c:v>
                </c:pt>
                <c:pt idx="1609">
                  <c:v>1190.71</c:v>
                </c:pt>
                <c:pt idx="1610">
                  <c:v>1196.71</c:v>
                </c:pt>
                <c:pt idx="1611">
                  <c:v>1198.42</c:v>
                </c:pt>
                <c:pt idx="1612">
                  <c:v>1199.4000000000001</c:v>
                </c:pt>
                <c:pt idx="1613">
                  <c:v>1197.53</c:v>
                </c:pt>
                <c:pt idx="1614">
                  <c:v>1192.52</c:v>
                </c:pt>
                <c:pt idx="1615">
                  <c:v>1201.3800000000001</c:v>
                </c:pt>
                <c:pt idx="1616">
                  <c:v>1202.8399999999999</c:v>
                </c:pt>
                <c:pt idx="1617">
                  <c:v>1200.8</c:v>
                </c:pt>
                <c:pt idx="1618">
                  <c:v>1203.67</c:v>
                </c:pt>
                <c:pt idx="1619">
                  <c:v>1209.3</c:v>
                </c:pt>
                <c:pt idx="1620">
                  <c:v>1210.0899999999999</c:v>
                </c:pt>
                <c:pt idx="1621">
                  <c:v>1207.49</c:v>
                </c:pt>
                <c:pt idx="1622">
                  <c:v>1189.55</c:v>
                </c:pt>
                <c:pt idx="1623">
                  <c:v>1195.27</c:v>
                </c:pt>
                <c:pt idx="1624">
                  <c:v>1187.9000000000001</c:v>
                </c:pt>
                <c:pt idx="1625">
                  <c:v>1186.6199999999999</c:v>
                </c:pt>
                <c:pt idx="1626">
                  <c:v>1179.1600000000001</c:v>
                </c:pt>
                <c:pt idx="1627">
                  <c:v>1181.3399999999999</c:v>
                </c:pt>
                <c:pt idx="1628">
                  <c:v>1179.69</c:v>
                </c:pt>
                <c:pt idx="1629">
                  <c:v>1197.68</c:v>
                </c:pt>
                <c:pt idx="1630">
                  <c:v>1195.8900000000001</c:v>
                </c:pt>
                <c:pt idx="1631">
                  <c:v>1214.99</c:v>
                </c:pt>
                <c:pt idx="1632">
                  <c:v>1213.49</c:v>
                </c:pt>
                <c:pt idx="1633">
                  <c:v>1210.45</c:v>
                </c:pt>
                <c:pt idx="1634">
                  <c:v>1211.9000000000001</c:v>
                </c:pt>
                <c:pt idx="1635">
                  <c:v>1210.98</c:v>
                </c:pt>
                <c:pt idx="1636">
                  <c:v>1219.6300000000001</c:v>
                </c:pt>
                <c:pt idx="1637">
                  <c:v>1214.1500000000001</c:v>
                </c:pt>
                <c:pt idx="1638">
                  <c:v>1217.51</c:v>
                </c:pt>
                <c:pt idx="1639">
                  <c:v>1222.01</c:v>
                </c:pt>
                <c:pt idx="1640">
                  <c:v>1224.31</c:v>
                </c:pt>
                <c:pt idx="1641">
                  <c:v>1224.03</c:v>
                </c:pt>
                <c:pt idx="1642">
                  <c:v>1227.06</c:v>
                </c:pt>
                <c:pt idx="1643">
                  <c:v>1228.75</c:v>
                </c:pt>
                <c:pt idx="1644">
                  <c:v>1227.72</c:v>
                </c:pt>
                <c:pt idx="1645">
                  <c:v>1224.76</c:v>
                </c:pt>
                <c:pt idx="1646">
                  <c:v>1229.1400000000001</c:v>
                </c:pt>
                <c:pt idx="1647">
                  <c:v>1217.45</c:v>
                </c:pt>
                <c:pt idx="1648">
                  <c:v>1226.3900000000001</c:v>
                </c:pt>
                <c:pt idx="1649">
                  <c:v>1227.74</c:v>
                </c:pt>
                <c:pt idx="1650">
                  <c:v>1239.6300000000001</c:v>
                </c:pt>
                <c:pt idx="1651">
                  <c:v>1242.19</c:v>
                </c:pt>
                <c:pt idx="1652">
                  <c:v>1247.32</c:v>
                </c:pt>
                <c:pt idx="1653">
                  <c:v>1246.32</c:v>
                </c:pt>
                <c:pt idx="1654">
                  <c:v>1254.45</c:v>
                </c:pt>
                <c:pt idx="1655">
                  <c:v>1261.56</c:v>
                </c:pt>
                <c:pt idx="1656">
                  <c:v>1254.8399999999999</c:v>
                </c:pt>
                <c:pt idx="1657">
                  <c:v>1258.19</c:v>
                </c:pt>
                <c:pt idx="1658">
                  <c:v>1256</c:v>
                </c:pt>
                <c:pt idx="1659">
                  <c:v>1254.68</c:v>
                </c:pt>
                <c:pt idx="1660">
                  <c:v>1246.32</c:v>
                </c:pt>
                <c:pt idx="1661">
                  <c:v>1251.1300000000001</c:v>
                </c:pt>
                <c:pt idx="1662">
                  <c:v>1249.94</c:v>
                </c:pt>
                <c:pt idx="1663">
                  <c:v>1255.49</c:v>
                </c:pt>
                <c:pt idx="1664">
                  <c:v>1260.82</c:v>
                </c:pt>
                <c:pt idx="1665">
                  <c:v>1266.33</c:v>
                </c:pt>
                <c:pt idx="1666">
                  <c:v>1269.52</c:v>
                </c:pt>
                <c:pt idx="1667">
                  <c:v>1268.1500000000001</c:v>
                </c:pt>
                <c:pt idx="1668">
                  <c:v>1274.19</c:v>
                </c:pt>
                <c:pt idx="1669">
                  <c:v>1274.06</c:v>
                </c:pt>
                <c:pt idx="1670">
                  <c:v>1278.74</c:v>
                </c:pt>
                <c:pt idx="1671">
                  <c:v>1281.08</c:v>
                </c:pt>
                <c:pt idx="1672">
                  <c:v>1305.5999999999999</c:v>
                </c:pt>
                <c:pt idx="1673">
                  <c:v>1298.07</c:v>
                </c:pt>
                <c:pt idx="1674">
                  <c:v>1298.94</c:v>
                </c:pt>
                <c:pt idx="1675">
                  <c:v>1300.92</c:v>
                </c:pt>
                <c:pt idx="1676">
                  <c:v>1297.79</c:v>
                </c:pt>
                <c:pt idx="1677">
                  <c:v>1297.8800000000001</c:v>
                </c:pt>
                <c:pt idx="1678">
                  <c:v>1299.28</c:v>
                </c:pt>
                <c:pt idx="1679">
                  <c:v>1295.3399999999999</c:v>
                </c:pt>
                <c:pt idx="1680">
                  <c:v>1293.47</c:v>
                </c:pt>
                <c:pt idx="1681">
                  <c:v>1298.25</c:v>
                </c:pt>
                <c:pt idx="1682">
                  <c:v>1304.08</c:v>
                </c:pt>
                <c:pt idx="1683">
                  <c:v>1301.83</c:v>
                </c:pt>
                <c:pt idx="1684">
                  <c:v>1302.01</c:v>
                </c:pt>
                <c:pt idx="1685">
                  <c:v>1299.0999999999999</c:v>
                </c:pt>
                <c:pt idx="1686">
                  <c:v>1303.76</c:v>
                </c:pt>
                <c:pt idx="1687">
                  <c:v>1304.8499999999999</c:v>
                </c:pt>
                <c:pt idx="1688">
                  <c:v>1293.94</c:v>
                </c:pt>
                <c:pt idx="1689">
                  <c:v>1292.5999999999999</c:v>
                </c:pt>
                <c:pt idx="1690">
                  <c:v>1288.69</c:v>
                </c:pt>
                <c:pt idx="1691">
                  <c:v>1291.8900000000001</c:v>
                </c:pt>
                <c:pt idx="1692">
                  <c:v>1288.43</c:v>
                </c:pt>
                <c:pt idx="1693">
                  <c:v>1288.6199999999999</c:v>
                </c:pt>
                <c:pt idx="1694">
                  <c:v>1294</c:v>
                </c:pt>
                <c:pt idx="1695">
                  <c:v>1319.34</c:v>
                </c:pt>
                <c:pt idx="1696">
                  <c:v>1321.46</c:v>
                </c:pt>
                <c:pt idx="1697">
                  <c:v>1317.36</c:v>
                </c:pt>
                <c:pt idx="1698">
                  <c:v>1315</c:v>
                </c:pt>
                <c:pt idx="1699">
                  <c:v>1307.8</c:v>
                </c:pt>
                <c:pt idx="1700">
                  <c:v>1315.2</c:v>
                </c:pt>
                <c:pt idx="1701">
                  <c:v>1310.91</c:v>
                </c:pt>
                <c:pt idx="1702">
                  <c:v>1313.89</c:v>
                </c:pt>
                <c:pt idx="1703">
                  <c:v>1306.4100000000001</c:v>
                </c:pt>
                <c:pt idx="1704">
                  <c:v>1304.05</c:v>
                </c:pt>
                <c:pt idx="1705">
                  <c:v>1313.18</c:v>
                </c:pt>
                <c:pt idx="1706">
                  <c:v>1322.49</c:v>
                </c:pt>
                <c:pt idx="1707">
                  <c:v>1317.67</c:v>
                </c:pt>
                <c:pt idx="1708">
                  <c:v>1320.48</c:v>
                </c:pt>
                <c:pt idx="1709">
                  <c:v>1328.4</c:v>
                </c:pt>
                <c:pt idx="1710">
                  <c:v>1324.32</c:v>
                </c:pt>
                <c:pt idx="1711">
                  <c:v>1338.58</c:v>
                </c:pt>
                <c:pt idx="1712">
                  <c:v>1345.3</c:v>
                </c:pt>
                <c:pt idx="1713">
                  <c:v>1351.67</c:v>
                </c:pt>
                <c:pt idx="1714">
                  <c:v>1343.67</c:v>
                </c:pt>
                <c:pt idx="1715">
                  <c:v>1349.18</c:v>
                </c:pt>
                <c:pt idx="1716">
                  <c:v>1345.54</c:v>
                </c:pt>
                <c:pt idx="1717">
                  <c:v>1338.49</c:v>
                </c:pt>
                <c:pt idx="1718">
                  <c:v>1358.84</c:v>
                </c:pt>
                <c:pt idx="1719">
                  <c:v>1339.3</c:v>
                </c:pt>
                <c:pt idx="1720">
                  <c:v>1333.76</c:v>
                </c:pt>
                <c:pt idx="1721">
                  <c:v>1332.39</c:v>
                </c:pt>
                <c:pt idx="1722">
                  <c:v>1325.34</c:v>
                </c:pt>
                <c:pt idx="1723">
                  <c:v>1337.16</c:v>
                </c:pt>
                <c:pt idx="1724">
                  <c:v>1330.16</c:v>
                </c:pt>
                <c:pt idx="1725">
                  <c:v>1338.8</c:v>
                </c:pt>
                <c:pt idx="1726">
                  <c:v>1323.43</c:v>
                </c:pt>
                <c:pt idx="1727">
                  <c:v>1323.43</c:v>
                </c:pt>
                <c:pt idx="1728">
                  <c:v>1330.33</c:v>
                </c:pt>
                <c:pt idx="1729">
                  <c:v>1342.83</c:v>
                </c:pt>
                <c:pt idx="1730">
                  <c:v>1355.32</c:v>
                </c:pt>
                <c:pt idx="1731">
                  <c:v>1348.55</c:v>
                </c:pt>
                <c:pt idx="1732">
                  <c:v>1327.32</c:v>
                </c:pt>
                <c:pt idx="1733">
                  <c:v>1324.46</c:v>
                </c:pt>
                <c:pt idx="1734">
                  <c:v>1312.69</c:v>
                </c:pt>
                <c:pt idx="1735">
                  <c:v>1319.17</c:v>
                </c:pt>
                <c:pt idx="1736">
                  <c:v>1314.49</c:v>
                </c:pt>
                <c:pt idx="1737">
                  <c:v>1316.61</c:v>
                </c:pt>
                <c:pt idx="1738">
                  <c:v>1324.94</c:v>
                </c:pt>
                <c:pt idx="1739">
                  <c:v>1326.04</c:v>
                </c:pt>
                <c:pt idx="1740">
                  <c:v>1318.84</c:v>
                </c:pt>
                <c:pt idx="1741">
                  <c:v>1321.86</c:v>
                </c:pt>
                <c:pt idx="1742">
                  <c:v>1321.43</c:v>
                </c:pt>
                <c:pt idx="1743">
                  <c:v>1326.31</c:v>
                </c:pt>
                <c:pt idx="1744">
                  <c:v>1338.19</c:v>
                </c:pt>
                <c:pt idx="1745">
                  <c:v>1321.07</c:v>
                </c:pt>
                <c:pt idx="1746">
                  <c:v>1320.07</c:v>
                </c:pt>
                <c:pt idx="1747">
                  <c:v>1305.33</c:v>
                </c:pt>
                <c:pt idx="1748">
                  <c:v>1319.34</c:v>
                </c:pt>
                <c:pt idx="1749">
                  <c:v>1318.45</c:v>
                </c:pt>
                <c:pt idx="1750">
                  <c:v>1332.78</c:v>
                </c:pt>
                <c:pt idx="1751">
                  <c:v>1328.38</c:v>
                </c:pt>
                <c:pt idx="1752">
                  <c:v>1329.14</c:v>
                </c:pt>
                <c:pt idx="1753">
                  <c:v>1329.86</c:v>
                </c:pt>
                <c:pt idx="1754">
                  <c:v>1336.31</c:v>
                </c:pt>
                <c:pt idx="1755">
                  <c:v>1348.06</c:v>
                </c:pt>
                <c:pt idx="1756">
                  <c:v>1356.19</c:v>
                </c:pt>
                <c:pt idx="1757">
                  <c:v>1351.7</c:v>
                </c:pt>
                <c:pt idx="1758">
                  <c:v>1347.82</c:v>
                </c:pt>
                <c:pt idx="1759">
                  <c:v>1329.63</c:v>
                </c:pt>
                <c:pt idx="1760">
                  <c:v>1324.74</c:v>
                </c:pt>
                <c:pt idx="1761">
                  <c:v>1313.27</c:v>
                </c:pt>
                <c:pt idx="1762">
                  <c:v>1316.11</c:v>
                </c:pt>
                <c:pt idx="1763">
                  <c:v>1322.45</c:v>
                </c:pt>
                <c:pt idx="1764">
                  <c:v>1327.41</c:v>
                </c:pt>
                <c:pt idx="1765">
                  <c:v>1334.99</c:v>
                </c:pt>
                <c:pt idx="1766">
                  <c:v>1330.58</c:v>
                </c:pt>
                <c:pt idx="1767">
                  <c:v>1342.98</c:v>
                </c:pt>
                <c:pt idx="1768">
                  <c:v>1341.67</c:v>
                </c:pt>
                <c:pt idx="1769">
                  <c:v>1340.35</c:v>
                </c:pt>
                <c:pt idx="1770">
                  <c:v>1338.4</c:v>
                </c:pt>
                <c:pt idx="1771">
                  <c:v>1352.59</c:v>
                </c:pt>
                <c:pt idx="1772">
                  <c:v>1359.26</c:v>
                </c:pt>
                <c:pt idx="1773">
                  <c:v>1352.7</c:v>
                </c:pt>
                <c:pt idx="1774">
                  <c:v>1337.31</c:v>
                </c:pt>
                <c:pt idx="1775">
                  <c:v>1333.88</c:v>
                </c:pt>
                <c:pt idx="1776">
                  <c:v>1333.45</c:v>
                </c:pt>
                <c:pt idx="1777">
                  <c:v>1329.41</c:v>
                </c:pt>
                <c:pt idx="1778">
                  <c:v>1335.69</c:v>
                </c:pt>
                <c:pt idx="1779">
                  <c:v>1335.11</c:v>
                </c:pt>
                <c:pt idx="1780">
                  <c:v>1340.92</c:v>
                </c:pt>
                <c:pt idx="1781">
                  <c:v>1331.02</c:v>
                </c:pt>
                <c:pt idx="1782">
                  <c:v>1321.05</c:v>
                </c:pt>
                <c:pt idx="1783">
                  <c:v>1318.91</c:v>
                </c:pt>
                <c:pt idx="1784">
                  <c:v>1311.35</c:v>
                </c:pt>
                <c:pt idx="1785">
                  <c:v>1318.87</c:v>
                </c:pt>
                <c:pt idx="1786">
                  <c:v>1319.36</c:v>
                </c:pt>
                <c:pt idx="1787">
                  <c:v>1317.88</c:v>
                </c:pt>
                <c:pt idx="1788">
                  <c:v>1316.26</c:v>
                </c:pt>
                <c:pt idx="1789">
                  <c:v>1313.1</c:v>
                </c:pt>
                <c:pt idx="1790">
                  <c:v>1303.46</c:v>
                </c:pt>
                <c:pt idx="1791">
                  <c:v>1303.46</c:v>
                </c:pt>
                <c:pt idx="1792">
                  <c:v>1294.0899999999999</c:v>
                </c:pt>
                <c:pt idx="1793">
                  <c:v>1286.08</c:v>
                </c:pt>
                <c:pt idx="1794">
                  <c:v>1282.51</c:v>
                </c:pt>
                <c:pt idx="1795">
                  <c:v>1274.29</c:v>
                </c:pt>
                <c:pt idx="1796">
                  <c:v>1274.29</c:v>
                </c:pt>
                <c:pt idx="1797">
                  <c:v>1265.9000000000001</c:v>
                </c:pt>
                <c:pt idx="1798">
                  <c:v>1264.69</c:v>
                </c:pt>
                <c:pt idx="1799">
                  <c:v>1260.3599999999999</c:v>
                </c:pt>
                <c:pt idx="1800">
                  <c:v>1262.94</c:v>
                </c:pt>
                <c:pt idx="1801">
                  <c:v>1254.69</c:v>
                </c:pt>
                <c:pt idx="1802">
                  <c:v>1253.0899999999999</c:v>
                </c:pt>
                <c:pt idx="1803">
                  <c:v>1247.3800000000001</c:v>
                </c:pt>
                <c:pt idx="1804">
                  <c:v>1237.6500000000001</c:v>
                </c:pt>
                <c:pt idx="1805">
                  <c:v>1247.77</c:v>
                </c:pt>
                <c:pt idx="1806">
                  <c:v>1248.06</c:v>
                </c:pt>
                <c:pt idx="1807">
                  <c:v>1254.2</c:v>
                </c:pt>
                <c:pt idx="1808">
                  <c:v>1263.27</c:v>
                </c:pt>
                <c:pt idx="1809">
                  <c:v>1263.72</c:v>
                </c:pt>
                <c:pt idx="1810">
                  <c:v>1274.97</c:v>
                </c:pt>
                <c:pt idx="1811">
                  <c:v>1282.96</c:v>
                </c:pt>
                <c:pt idx="1812">
                  <c:v>1279.1300000000001</c:v>
                </c:pt>
                <c:pt idx="1813">
                  <c:v>1284.1199999999999</c:v>
                </c:pt>
                <c:pt idx="1814">
                  <c:v>1294.3499999999999</c:v>
                </c:pt>
                <c:pt idx="1815">
                  <c:v>1296.17</c:v>
                </c:pt>
                <c:pt idx="1816">
                  <c:v>1288.83</c:v>
                </c:pt>
                <c:pt idx="1817">
                  <c:v>1291.0899999999999</c:v>
                </c:pt>
                <c:pt idx="1818">
                  <c:v>1289.44</c:v>
                </c:pt>
                <c:pt idx="1819">
                  <c:v>1282.48</c:v>
                </c:pt>
                <c:pt idx="1820">
                  <c:v>1285.6500000000001</c:v>
                </c:pt>
                <c:pt idx="1821">
                  <c:v>1287.7</c:v>
                </c:pt>
                <c:pt idx="1822">
                  <c:v>1280.3</c:v>
                </c:pt>
                <c:pt idx="1823">
                  <c:v>1278.6300000000001</c:v>
                </c:pt>
                <c:pt idx="1824">
                  <c:v>1279.27</c:v>
                </c:pt>
                <c:pt idx="1825">
                  <c:v>1279.04</c:v>
                </c:pt>
                <c:pt idx="1826">
                  <c:v>1276.33</c:v>
                </c:pt>
                <c:pt idx="1827">
                  <c:v>1284.1099999999999</c:v>
                </c:pt>
                <c:pt idx="1828">
                  <c:v>1285.17</c:v>
                </c:pt>
                <c:pt idx="1829">
                  <c:v>1274.45</c:v>
                </c:pt>
                <c:pt idx="1830">
                  <c:v>1273.8499999999999</c:v>
                </c:pt>
                <c:pt idx="1831">
                  <c:v>1267.8</c:v>
                </c:pt>
                <c:pt idx="1832">
                  <c:v>1276.47</c:v>
                </c:pt>
                <c:pt idx="1833">
                  <c:v>1276.71</c:v>
                </c:pt>
                <c:pt idx="1834">
                  <c:v>1269.46</c:v>
                </c:pt>
                <c:pt idx="1835">
                  <c:v>1276.03</c:v>
                </c:pt>
                <c:pt idx="1836">
                  <c:v>1269.69</c:v>
                </c:pt>
                <c:pt idx="1837">
                  <c:v>1272.57</c:v>
                </c:pt>
                <c:pt idx="1838">
                  <c:v>1276.4000000000001</c:v>
                </c:pt>
                <c:pt idx="1839">
                  <c:v>1275.03</c:v>
                </c:pt>
                <c:pt idx="1840">
                  <c:v>1274.8900000000001</c:v>
                </c:pt>
                <c:pt idx="1841">
                  <c:v>1282.44</c:v>
                </c:pt>
                <c:pt idx="1842">
                  <c:v>1288.49</c:v>
                </c:pt>
                <c:pt idx="1843">
                  <c:v>1280.47</c:v>
                </c:pt>
                <c:pt idx="1844">
                  <c:v>1282.57</c:v>
                </c:pt>
                <c:pt idx="1845">
                  <c:v>1303.8</c:v>
                </c:pt>
                <c:pt idx="1846">
                  <c:v>1299.57</c:v>
                </c:pt>
                <c:pt idx="1847">
                  <c:v>1292.9100000000001</c:v>
                </c:pt>
                <c:pt idx="1848">
                  <c:v>1288.57</c:v>
                </c:pt>
                <c:pt idx="1849">
                  <c:v>1292.8800000000001</c:v>
                </c:pt>
                <c:pt idx="1850">
                  <c:v>1281.8599999999999</c:v>
                </c:pt>
                <c:pt idx="1851">
                  <c:v>1271.67</c:v>
                </c:pt>
                <c:pt idx="1852">
                  <c:v>1273.46</c:v>
                </c:pt>
                <c:pt idx="1853">
                  <c:v>1274.8800000000001</c:v>
                </c:pt>
                <c:pt idx="1854">
                  <c:v>1274.1600000000001</c:v>
                </c:pt>
                <c:pt idx="1855">
                  <c:v>1273.71</c:v>
                </c:pt>
                <c:pt idx="1856">
                  <c:v>1283.83</c:v>
                </c:pt>
                <c:pt idx="1857">
                  <c:v>1285.0999999999999</c:v>
                </c:pt>
                <c:pt idx="1858">
                  <c:v>1287.68</c:v>
                </c:pt>
                <c:pt idx="1859">
                  <c:v>1301.27</c:v>
                </c:pt>
                <c:pt idx="1860">
                  <c:v>1305.1300000000001</c:v>
                </c:pt>
                <c:pt idx="1861">
                  <c:v>1296.03</c:v>
                </c:pt>
                <c:pt idx="1862">
                  <c:v>1291.75</c:v>
                </c:pt>
                <c:pt idx="1863">
                  <c:v>1312.78</c:v>
                </c:pt>
                <c:pt idx="1864">
                  <c:v>1308.6400000000001</c:v>
                </c:pt>
                <c:pt idx="1865">
                  <c:v>1309.22</c:v>
                </c:pt>
                <c:pt idx="1866">
                  <c:v>1322.07</c:v>
                </c:pt>
                <c:pt idx="1867">
                  <c:v>1325.17</c:v>
                </c:pt>
                <c:pt idx="1868">
                  <c:v>1323.07</c:v>
                </c:pt>
                <c:pt idx="1869">
                  <c:v>1326.59</c:v>
                </c:pt>
                <c:pt idx="1870">
                  <c:v>1335.27</c:v>
                </c:pt>
                <c:pt idx="1871">
                  <c:v>1345.93</c:v>
                </c:pt>
                <c:pt idx="1872">
                  <c:v>1347.38</c:v>
                </c:pt>
                <c:pt idx="1873">
                  <c:v>1340.82</c:v>
                </c:pt>
                <c:pt idx="1874">
                  <c:v>1336.54</c:v>
                </c:pt>
                <c:pt idx="1875">
                  <c:v>1335.69</c:v>
                </c:pt>
                <c:pt idx="1876">
                  <c:v>1321.86</c:v>
                </c:pt>
                <c:pt idx="1877">
                  <c:v>1316.02</c:v>
                </c:pt>
                <c:pt idx="1878">
                  <c:v>1308.73</c:v>
                </c:pt>
                <c:pt idx="1879">
                  <c:v>1317.06</c:v>
                </c:pt>
                <c:pt idx="1880">
                  <c:v>1307.24</c:v>
                </c:pt>
                <c:pt idx="1881">
                  <c:v>1292.94</c:v>
                </c:pt>
                <c:pt idx="1882">
                  <c:v>1287.3399999999999</c:v>
                </c:pt>
                <c:pt idx="1883">
                  <c:v>1289.3</c:v>
                </c:pt>
                <c:pt idx="1884">
                  <c:v>1287.32</c:v>
                </c:pt>
                <c:pt idx="1885">
                  <c:v>1291.7</c:v>
                </c:pt>
                <c:pt idx="1886">
                  <c:v>1295.8</c:v>
                </c:pt>
                <c:pt idx="1887">
                  <c:v>1284.53</c:v>
                </c:pt>
                <c:pt idx="1888">
                  <c:v>1274.26</c:v>
                </c:pt>
                <c:pt idx="1889">
                  <c:v>1271.19</c:v>
                </c:pt>
                <c:pt idx="1890">
                  <c:v>1284.33</c:v>
                </c:pt>
                <c:pt idx="1891">
                  <c:v>1287.3800000000001</c:v>
                </c:pt>
                <c:pt idx="1892">
                  <c:v>1285.7</c:v>
                </c:pt>
                <c:pt idx="1893">
                  <c:v>1272.8499999999999</c:v>
                </c:pt>
                <c:pt idx="1894">
                  <c:v>1254.3800000000001</c:v>
                </c:pt>
                <c:pt idx="1895">
                  <c:v>1258.57</c:v>
                </c:pt>
                <c:pt idx="1896">
                  <c:v>1257.75</c:v>
                </c:pt>
                <c:pt idx="1897">
                  <c:v>1268.94</c:v>
                </c:pt>
                <c:pt idx="1898">
                  <c:v>1270.23</c:v>
                </c:pt>
                <c:pt idx="1899">
                  <c:v>1272.47</c:v>
                </c:pt>
                <c:pt idx="1900">
                  <c:v>1268.8499999999999</c:v>
                </c:pt>
                <c:pt idx="1901">
                  <c:v>1267.82</c:v>
                </c:pt>
                <c:pt idx="1902">
                  <c:v>1259.3599999999999</c:v>
                </c:pt>
                <c:pt idx="1903">
                  <c:v>1248.2</c:v>
                </c:pt>
                <c:pt idx="1904">
                  <c:v>1250.58</c:v>
                </c:pt>
                <c:pt idx="1905">
                  <c:v>1255.77</c:v>
                </c:pt>
                <c:pt idx="1906">
                  <c:v>1251.6600000000001</c:v>
                </c:pt>
                <c:pt idx="1907">
                  <c:v>1246.0899999999999</c:v>
                </c:pt>
                <c:pt idx="1908">
                  <c:v>1242.22</c:v>
                </c:pt>
                <c:pt idx="1909">
                  <c:v>1242.01</c:v>
                </c:pt>
                <c:pt idx="1910">
                  <c:v>1233.6500000000001</c:v>
                </c:pt>
                <c:pt idx="1911">
                  <c:v>1227.67</c:v>
                </c:pt>
                <c:pt idx="1912">
                  <c:v>1218.07</c:v>
                </c:pt>
                <c:pt idx="1913">
                  <c:v>1221.8900000000001</c:v>
                </c:pt>
                <c:pt idx="1914">
                  <c:v>1210.74</c:v>
                </c:pt>
                <c:pt idx="1915">
                  <c:v>1212.9000000000001</c:v>
                </c:pt>
                <c:pt idx="1916">
                  <c:v>1210.29</c:v>
                </c:pt>
                <c:pt idx="1917">
                  <c:v>1223.56</c:v>
                </c:pt>
                <c:pt idx="1918">
                  <c:v>1221.69</c:v>
                </c:pt>
                <c:pt idx="1919">
                  <c:v>1223.23</c:v>
                </c:pt>
                <c:pt idx="1920">
                  <c:v>1222.73</c:v>
                </c:pt>
                <c:pt idx="1921">
                  <c:v>1243.47</c:v>
                </c:pt>
                <c:pt idx="1922">
                  <c:v>1243.92</c:v>
                </c:pt>
                <c:pt idx="1923">
                  <c:v>1250.19</c:v>
                </c:pt>
                <c:pt idx="1924">
                  <c:v>1247.4100000000001</c:v>
                </c:pt>
                <c:pt idx="1925">
                  <c:v>1244.72</c:v>
                </c:pt>
                <c:pt idx="1926">
                  <c:v>1256.3699999999999</c:v>
                </c:pt>
                <c:pt idx="1927">
                  <c:v>1250.8599999999999</c:v>
                </c:pt>
                <c:pt idx="1928">
                  <c:v>1246.4000000000001</c:v>
                </c:pt>
                <c:pt idx="1929">
                  <c:v>1242.8399999999999</c:v>
                </c:pt>
                <c:pt idx="1930">
                  <c:v>1248.82</c:v>
                </c:pt>
                <c:pt idx="1931">
                  <c:v>1255.5899999999999</c:v>
                </c:pt>
                <c:pt idx="1932">
                  <c:v>1254.78</c:v>
                </c:pt>
                <c:pt idx="1933">
                  <c:v>1276.55</c:v>
                </c:pt>
                <c:pt idx="1934">
                  <c:v>1263.72</c:v>
                </c:pt>
                <c:pt idx="1935">
                  <c:v>1265.58</c:v>
                </c:pt>
                <c:pt idx="1936">
                  <c:v>1266.31</c:v>
                </c:pt>
                <c:pt idx="1937">
                  <c:v>1276.28</c:v>
                </c:pt>
                <c:pt idx="1938">
                  <c:v>1293.47</c:v>
                </c:pt>
                <c:pt idx="1939">
                  <c:v>1295.28</c:v>
                </c:pt>
                <c:pt idx="1940">
                  <c:v>1280.69</c:v>
                </c:pt>
                <c:pt idx="1941">
                  <c:v>1278.28</c:v>
                </c:pt>
                <c:pt idx="1942">
                  <c:v>1263.99</c:v>
                </c:pt>
                <c:pt idx="1943">
                  <c:v>1267.97</c:v>
                </c:pt>
                <c:pt idx="1944">
                  <c:v>1262.54</c:v>
                </c:pt>
                <c:pt idx="1945">
                  <c:v>1267.45</c:v>
                </c:pt>
                <c:pt idx="1946">
                  <c:v>1267.52</c:v>
                </c:pt>
                <c:pt idx="1947">
                  <c:v>1256.49</c:v>
                </c:pt>
                <c:pt idx="1948">
                  <c:v>1253.26</c:v>
                </c:pt>
                <c:pt idx="1949">
                  <c:v>1260.28</c:v>
                </c:pt>
                <c:pt idx="1950">
                  <c:v>1260.24</c:v>
                </c:pt>
                <c:pt idx="1951">
                  <c:v>1253.47</c:v>
                </c:pt>
                <c:pt idx="1952">
                  <c:v>1253.8</c:v>
                </c:pt>
                <c:pt idx="1953">
                  <c:v>1257.9000000000001</c:v>
                </c:pt>
                <c:pt idx="1954">
                  <c:v>1237.44</c:v>
                </c:pt>
                <c:pt idx="1955">
                  <c:v>1234.2</c:v>
                </c:pt>
                <c:pt idx="1956">
                  <c:v>1229.69</c:v>
                </c:pt>
                <c:pt idx="1957">
                  <c:v>1224.45</c:v>
                </c:pt>
                <c:pt idx="1958">
                  <c:v>1221.19</c:v>
                </c:pt>
                <c:pt idx="1959">
                  <c:v>1217.79</c:v>
                </c:pt>
                <c:pt idx="1960">
                  <c:v>1228.74</c:v>
                </c:pt>
                <c:pt idx="1961">
                  <c:v>1227.71</c:v>
                </c:pt>
                <c:pt idx="1962">
                  <c:v>1229.69</c:v>
                </c:pt>
                <c:pt idx="1963">
                  <c:v>1249.04</c:v>
                </c:pt>
                <c:pt idx="1964">
                  <c:v>1254.6199999999999</c:v>
                </c:pt>
                <c:pt idx="1965">
                  <c:v>1263.1500000000001</c:v>
                </c:pt>
                <c:pt idx="1966">
                  <c:v>1267.8599999999999</c:v>
                </c:pt>
                <c:pt idx="1967">
                  <c:v>1265.22</c:v>
                </c:pt>
                <c:pt idx="1968">
                  <c:v>1264.28</c:v>
                </c:pt>
                <c:pt idx="1969">
                  <c:v>1268.07</c:v>
                </c:pt>
                <c:pt idx="1970">
                  <c:v>1273.57</c:v>
                </c:pt>
                <c:pt idx="1971">
                  <c:v>1285.8900000000001</c:v>
                </c:pt>
                <c:pt idx="1972">
                  <c:v>1282.53</c:v>
                </c:pt>
                <c:pt idx="1973">
                  <c:v>1280.8</c:v>
                </c:pt>
                <c:pt idx="1974">
                  <c:v>1287.53</c:v>
                </c:pt>
                <c:pt idx="1975">
                  <c:v>1290.8699999999999</c:v>
                </c:pt>
                <c:pt idx="1976">
                  <c:v>1285.5899999999999</c:v>
                </c:pt>
                <c:pt idx="1977">
                  <c:v>1285.5899999999999</c:v>
                </c:pt>
                <c:pt idx="1978">
                  <c:v>1275.3800000000001</c:v>
                </c:pt>
                <c:pt idx="1979">
                  <c:v>1272.17</c:v>
                </c:pt>
                <c:pt idx="1980">
                  <c:v>1251.9100000000001</c:v>
                </c:pt>
                <c:pt idx="1981">
                  <c:v>1265.7</c:v>
                </c:pt>
                <c:pt idx="1982">
                  <c:v>1252.07</c:v>
                </c:pt>
                <c:pt idx="1983">
                  <c:v>1248.05</c:v>
                </c:pt>
                <c:pt idx="1984">
                  <c:v>1256.81</c:v>
                </c:pt>
                <c:pt idx="1985">
                  <c:v>1253.4000000000001</c:v>
                </c:pt>
                <c:pt idx="1986">
                  <c:v>1247.25</c:v>
                </c:pt>
                <c:pt idx="1987">
                  <c:v>1249.81</c:v>
                </c:pt>
                <c:pt idx="1988">
                  <c:v>1252.4100000000001</c:v>
                </c:pt>
                <c:pt idx="1989">
                  <c:v>1255.28</c:v>
                </c:pt>
                <c:pt idx="1990">
                  <c:v>1255.8399999999999</c:v>
                </c:pt>
                <c:pt idx="1991">
                  <c:v>1248.5899999999999</c:v>
                </c:pt>
                <c:pt idx="1992">
                  <c:v>1243.82</c:v>
                </c:pt>
                <c:pt idx="1993">
                  <c:v>1249.08</c:v>
                </c:pt>
                <c:pt idx="1994">
                  <c:v>1243.28</c:v>
                </c:pt>
                <c:pt idx="1995">
                  <c:v>1234.1600000000001</c:v>
                </c:pt>
                <c:pt idx="1996">
                  <c:v>1229.3800000000001</c:v>
                </c:pt>
                <c:pt idx="1997">
                  <c:v>1229.1500000000001</c:v>
                </c:pt>
                <c:pt idx="1998">
                  <c:v>1200.04</c:v>
                </c:pt>
                <c:pt idx="1999">
                  <c:v>1205.5999999999999</c:v>
                </c:pt>
                <c:pt idx="2000">
                  <c:v>1205.47</c:v>
                </c:pt>
                <c:pt idx="2001">
                  <c:v>1200.3</c:v>
                </c:pt>
                <c:pt idx="2002">
                  <c:v>1202.5899999999999</c:v>
                </c:pt>
                <c:pt idx="2003">
                  <c:v>1208.0899999999999</c:v>
                </c:pt>
                <c:pt idx="2004">
                  <c:v>1218.9000000000001</c:v>
                </c:pt>
                <c:pt idx="2005">
                  <c:v>1227.48</c:v>
                </c:pt>
                <c:pt idx="2006">
                  <c:v>1224.99</c:v>
                </c:pt>
                <c:pt idx="2007">
                  <c:v>1241.78</c:v>
                </c:pt>
                <c:pt idx="2008">
                  <c:v>1245.18</c:v>
                </c:pt>
                <c:pt idx="2009">
                  <c:v>1256.6400000000001</c:v>
                </c:pt>
                <c:pt idx="2010">
                  <c:v>1262.24</c:v>
                </c:pt>
                <c:pt idx="2011">
                  <c:v>1255.3399999999999</c:v>
                </c:pt>
                <c:pt idx="2012">
                  <c:v>1249.23</c:v>
                </c:pt>
                <c:pt idx="2013">
                  <c:v>1233.57</c:v>
                </c:pt>
                <c:pt idx="2014">
                  <c:v>1234.68</c:v>
                </c:pt>
                <c:pt idx="2015">
                  <c:v>1237.74</c:v>
                </c:pt>
                <c:pt idx="2016">
                  <c:v>1237.68</c:v>
                </c:pt>
                <c:pt idx="2017">
                  <c:v>1242.19</c:v>
                </c:pt>
                <c:pt idx="2018">
                  <c:v>1227.3900000000001</c:v>
                </c:pt>
                <c:pt idx="2019">
                  <c:v>1226.18</c:v>
                </c:pt>
                <c:pt idx="2020">
                  <c:v>1223.19</c:v>
                </c:pt>
                <c:pt idx="2021">
                  <c:v>1231.31</c:v>
                </c:pt>
                <c:pt idx="2022">
                  <c:v>1234.82</c:v>
                </c:pt>
                <c:pt idx="2023">
                  <c:v>1241.19</c:v>
                </c:pt>
                <c:pt idx="2024">
                  <c:v>1234.01</c:v>
                </c:pt>
                <c:pt idx="2025">
                  <c:v>1228.9000000000001</c:v>
                </c:pt>
                <c:pt idx="2026">
                  <c:v>1217.97</c:v>
                </c:pt>
                <c:pt idx="2027">
                  <c:v>1217.06</c:v>
                </c:pt>
                <c:pt idx="2028">
                  <c:v>1202.92</c:v>
                </c:pt>
                <c:pt idx="2029">
                  <c:v>1211.49</c:v>
                </c:pt>
                <c:pt idx="2030">
                  <c:v>1196.19</c:v>
                </c:pt>
                <c:pt idx="2031">
                  <c:v>1188.74</c:v>
                </c:pt>
                <c:pt idx="2032">
                  <c:v>1187.1300000000001</c:v>
                </c:pt>
                <c:pt idx="2033">
                  <c:v>1197.3399999999999</c:v>
                </c:pt>
                <c:pt idx="2034">
                  <c:v>1213.23</c:v>
                </c:pt>
                <c:pt idx="2035">
                  <c:v>1216.3900000000001</c:v>
                </c:pt>
                <c:pt idx="2036">
                  <c:v>1202.07</c:v>
                </c:pt>
                <c:pt idx="2037">
                  <c:v>1201.54</c:v>
                </c:pt>
                <c:pt idx="2038">
                  <c:v>1215.48</c:v>
                </c:pt>
                <c:pt idx="2039">
                  <c:v>1215.3</c:v>
                </c:pt>
                <c:pt idx="2040">
                  <c:v>1202.46</c:v>
                </c:pt>
                <c:pt idx="2041">
                  <c:v>1194.8</c:v>
                </c:pt>
                <c:pt idx="2042">
                  <c:v>1203.6300000000001</c:v>
                </c:pt>
                <c:pt idx="2043">
                  <c:v>1179.73</c:v>
                </c:pt>
                <c:pt idx="2044">
                  <c:v>1188.08</c:v>
                </c:pt>
                <c:pt idx="2045">
                  <c:v>1179.8399999999999</c:v>
                </c:pt>
                <c:pt idx="2046">
                  <c:v>1174.3499999999999</c:v>
                </c:pt>
                <c:pt idx="2047">
                  <c:v>1183.56</c:v>
                </c:pt>
                <c:pt idx="2048">
                  <c:v>1164.57</c:v>
                </c:pt>
                <c:pt idx="2049">
                  <c:v>1156.1099999999999</c:v>
                </c:pt>
                <c:pt idx="2050">
                  <c:v>1157.49</c:v>
                </c:pt>
                <c:pt idx="2051">
                  <c:v>1157.49</c:v>
                </c:pt>
                <c:pt idx="2052">
                  <c:v>1146.5899999999999</c:v>
                </c:pt>
                <c:pt idx="2053">
                  <c:v>1139.03</c:v>
                </c:pt>
                <c:pt idx="2054">
                  <c:v>1136.73</c:v>
                </c:pt>
                <c:pt idx="2055">
                  <c:v>1133.5</c:v>
                </c:pt>
                <c:pt idx="2056">
                  <c:v>1133.5</c:v>
                </c:pt>
                <c:pt idx="2057">
                  <c:v>1132.5</c:v>
                </c:pt>
                <c:pt idx="2058">
                  <c:v>1131.8599999999999</c:v>
                </c:pt>
                <c:pt idx="2059">
                  <c:v>1127.47</c:v>
                </c:pt>
                <c:pt idx="2060">
                  <c:v>1139.6600000000001</c:v>
                </c:pt>
                <c:pt idx="2061">
                  <c:v>1131.56</c:v>
                </c:pt>
                <c:pt idx="2062">
                  <c:v>1126.52</c:v>
                </c:pt>
                <c:pt idx="2063">
                  <c:v>1163.43</c:v>
                </c:pt>
                <c:pt idx="2064">
                  <c:v>1159.75</c:v>
                </c:pt>
                <c:pt idx="2065">
                  <c:v>1159.52</c:v>
                </c:pt>
                <c:pt idx="2066">
                  <c:v>1162.9000000000001</c:v>
                </c:pt>
                <c:pt idx="2067">
                  <c:v>1170.52</c:v>
                </c:pt>
                <c:pt idx="2068">
                  <c:v>1176.94</c:v>
                </c:pt>
                <c:pt idx="2069">
                  <c:v>1171.23</c:v>
                </c:pt>
                <c:pt idx="2070">
                  <c:v>1163.8800000000001</c:v>
                </c:pt>
                <c:pt idx="2071">
                  <c:v>1175</c:v>
                </c:pt>
                <c:pt idx="2072">
                  <c:v>1167.8900000000001</c:v>
                </c:pt>
                <c:pt idx="2073">
                  <c:v>1173.76</c:v>
                </c:pt>
                <c:pt idx="2074">
                  <c:v>1185.8800000000001</c:v>
                </c:pt>
                <c:pt idx="2075">
                  <c:v>1191.8699999999999</c:v>
                </c:pt>
                <c:pt idx="2076">
                  <c:v>1184.53</c:v>
                </c:pt>
                <c:pt idx="2077">
                  <c:v>1186.05</c:v>
                </c:pt>
                <c:pt idx="2078">
                  <c:v>1187.31</c:v>
                </c:pt>
                <c:pt idx="2079">
                  <c:v>1209.69</c:v>
                </c:pt>
                <c:pt idx="2080">
                  <c:v>1213.97</c:v>
                </c:pt>
                <c:pt idx="2081">
                  <c:v>1207.53</c:v>
                </c:pt>
                <c:pt idx="2082">
                  <c:v>1228</c:v>
                </c:pt>
                <c:pt idx="2083">
                  <c:v>1225.9100000000001</c:v>
                </c:pt>
                <c:pt idx="2084">
                  <c:v>1225.29</c:v>
                </c:pt>
                <c:pt idx="2085">
                  <c:v>1215.6300000000001</c:v>
                </c:pt>
                <c:pt idx="2086">
                  <c:v>1228.5</c:v>
                </c:pt>
                <c:pt idx="2087">
                  <c:v>1265.3800000000001</c:v>
                </c:pt>
                <c:pt idx="2088">
                  <c:v>1288.9000000000001</c:v>
                </c:pt>
                <c:pt idx="2089">
                  <c:v>1281.0899999999999</c:v>
                </c:pt>
                <c:pt idx="2090">
                  <c:v>1280.9000000000001</c:v>
                </c:pt>
                <c:pt idx="2091">
                  <c:v>1303.82</c:v>
                </c:pt>
                <c:pt idx="2092">
                  <c:v>1298.72</c:v>
                </c:pt>
                <c:pt idx="2093">
                  <c:v>1304.9100000000001</c:v>
                </c:pt>
                <c:pt idx="2094">
                  <c:v>1288.8</c:v>
                </c:pt>
                <c:pt idx="2095">
                  <c:v>1273.8800000000001</c:v>
                </c:pt>
                <c:pt idx="2096">
                  <c:v>1270.03</c:v>
                </c:pt>
                <c:pt idx="2097">
                  <c:v>1268.47</c:v>
                </c:pt>
                <c:pt idx="2098">
                  <c:v>1268.58</c:v>
                </c:pt>
                <c:pt idx="2099">
                  <c:v>1272.55</c:v>
                </c:pt>
                <c:pt idx="2100">
                  <c:v>1261.5899999999999</c:v>
                </c:pt>
                <c:pt idx="2101">
                  <c:v>1266.05</c:v>
                </c:pt>
                <c:pt idx="2102">
                  <c:v>1266.51</c:v>
                </c:pt>
                <c:pt idx="2103">
                  <c:v>1272.1500000000001</c:v>
                </c:pt>
                <c:pt idx="2104">
                  <c:v>1261.74</c:v>
                </c:pt>
                <c:pt idx="2105">
                  <c:v>1256.6600000000001</c:v>
                </c:pt>
                <c:pt idx="2106">
                  <c:v>1253.45</c:v>
                </c:pt>
                <c:pt idx="2107">
                  <c:v>1257.76</c:v>
                </c:pt>
                <c:pt idx="2108">
                  <c:v>1251.9100000000001</c:v>
                </c:pt>
                <c:pt idx="2109">
                  <c:v>1256.73</c:v>
                </c:pt>
                <c:pt idx="2110">
                  <c:v>1259.81</c:v>
                </c:pt>
                <c:pt idx="2111">
                  <c:v>1253.3599999999999</c:v>
                </c:pt>
                <c:pt idx="2112">
                  <c:v>1251.44</c:v>
                </c:pt>
                <c:pt idx="2113">
                  <c:v>1269.72</c:v>
                </c:pt>
                <c:pt idx="2114">
                  <c:v>1283.52</c:v>
                </c:pt>
                <c:pt idx="2115">
                  <c:v>1311.74</c:v>
                </c:pt>
                <c:pt idx="2116">
                  <c:v>1321.51</c:v>
                </c:pt>
                <c:pt idx="2117">
                  <c:v>1317.4</c:v>
                </c:pt>
                <c:pt idx="2118">
                  <c:v>1319.86</c:v>
                </c:pt>
                <c:pt idx="2119">
                  <c:v>1327.15</c:v>
                </c:pt>
                <c:pt idx="2120">
                  <c:v>1341.19</c:v>
                </c:pt>
                <c:pt idx="2121">
                  <c:v>1339.71</c:v>
                </c:pt>
                <c:pt idx="2122">
                  <c:v>1339.53</c:v>
                </c:pt>
                <c:pt idx="2123">
                  <c:v>1325.9</c:v>
                </c:pt>
                <c:pt idx="2124">
                  <c:v>1315.31</c:v>
                </c:pt>
                <c:pt idx="2125">
                  <c:v>1313.41</c:v>
                </c:pt>
                <c:pt idx="2126">
                  <c:v>1311.22</c:v>
                </c:pt>
                <c:pt idx="2127">
                  <c:v>1319.88</c:v>
                </c:pt>
                <c:pt idx="2128">
                  <c:v>1323.45</c:v>
                </c:pt>
                <c:pt idx="2129">
                  <c:v>1324.95</c:v>
                </c:pt>
                <c:pt idx="2130">
                  <c:v>1324.57</c:v>
                </c:pt>
                <c:pt idx="2131">
                  <c:v>1333.94</c:v>
                </c:pt>
                <c:pt idx="2132">
                  <c:v>1344.34</c:v>
                </c:pt>
                <c:pt idx="2133">
                  <c:v>1344.94</c:v>
                </c:pt>
                <c:pt idx="2134">
                  <c:v>1340.74</c:v>
                </c:pt>
                <c:pt idx="2135">
                  <c:v>1326.67</c:v>
                </c:pt>
                <c:pt idx="2136">
                  <c:v>1318.55</c:v>
                </c:pt>
                <c:pt idx="2137">
                  <c:v>1312.72</c:v>
                </c:pt>
                <c:pt idx="2138">
                  <c:v>1307.93</c:v>
                </c:pt>
                <c:pt idx="2139">
                  <c:v>1318.11</c:v>
                </c:pt>
                <c:pt idx="2140">
                  <c:v>1322.42</c:v>
                </c:pt>
                <c:pt idx="2141">
                  <c:v>1334.07</c:v>
                </c:pt>
                <c:pt idx="2142">
                  <c:v>1323.07</c:v>
                </c:pt>
                <c:pt idx="2143">
                  <c:v>1327.49</c:v>
                </c:pt>
                <c:pt idx="2144">
                  <c:v>1339.69</c:v>
                </c:pt>
                <c:pt idx="2145">
                  <c:v>1338.71</c:v>
                </c:pt>
                <c:pt idx="2146">
                  <c:v>1345.42</c:v>
                </c:pt>
                <c:pt idx="2147">
                  <c:v>1349.8</c:v>
                </c:pt>
                <c:pt idx="2148">
                  <c:v>1346.22</c:v>
                </c:pt>
                <c:pt idx="2149">
                  <c:v>1348.07</c:v>
                </c:pt>
                <c:pt idx="2150">
                  <c:v>1342.06</c:v>
                </c:pt>
                <c:pt idx="2151">
                  <c:v>1353.43</c:v>
                </c:pt>
                <c:pt idx="2152">
                  <c:v>1352.57</c:v>
                </c:pt>
                <c:pt idx="2153">
                  <c:v>1344.7</c:v>
                </c:pt>
                <c:pt idx="2154">
                  <c:v>1340.08</c:v>
                </c:pt>
                <c:pt idx="2155">
                  <c:v>1335.57</c:v>
                </c:pt>
                <c:pt idx="2156">
                  <c:v>1339.5</c:v>
                </c:pt>
                <c:pt idx="2157">
                  <c:v>1363.4</c:v>
                </c:pt>
                <c:pt idx="2158">
                  <c:v>1357.29</c:v>
                </c:pt>
                <c:pt idx="2159">
                  <c:v>1367.38</c:v>
                </c:pt>
                <c:pt idx="2160">
                  <c:v>1349.98</c:v>
                </c:pt>
                <c:pt idx="2161">
                  <c:v>1349.09</c:v>
                </c:pt>
                <c:pt idx="2162">
                  <c:v>1337.79</c:v>
                </c:pt>
                <c:pt idx="2163">
                  <c:v>1328.07</c:v>
                </c:pt>
                <c:pt idx="2164">
                  <c:v>1320.47</c:v>
                </c:pt>
                <c:pt idx="2165">
                  <c:v>1317.78</c:v>
                </c:pt>
                <c:pt idx="2166">
                  <c:v>1320.71</c:v>
                </c:pt>
                <c:pt idx="2167">
                  <c:v>1322.53</c:v>
                </c:pt>
                <c:pt idx="2168">
                  <c:v>1318.23</c:v>
                </c:pt>
                <c:pt idx="2169">
                  <c:v>1330.74</c:v>
                </c:pt>
                <c:pt idx="2170">
                  <c:v>1329.56</c:v>
                </c:pt>
                <c:pt idx="2171">
                  <c:v>1327.57</c:v>
                </c:pt>
                <c:pt idx="2172">
                  <c:v>1329.41</c:v>
                </c:pt>
                <c:pt idx="2173">
                  <c:v>1340.28</c:v>
                </c:pt>
                <c:pt idx="2174">
                  <c:v>1342.44</c:v>
                </c:pt>
                <c:pt idx="2175">
                  <c:v>1359.57</c:v>
                </c:pt>
                <c:pt idx="2176">
                  <c:v>1355.69</c:v>
                </c:pt>
                <c:pt idx="2177">
                  <c:v>1356.83</c:v>
                </c:pt>
                <c:pt idx="2178">
                  <c:v>1368.74</c:v>
                </c:pt>
                <c:pt idx="2179">
                  <c:v>1345.34</c:v>
                </c:pt>
                <c:pt idx="2180">
                  <c:v>1351.1</c:v>
                </c:pt>
                <c:pt idx="2181">
                  <c:v>1335.97</c:v>
                </c:pt>
                <c:pt idx="2182">
                  <c:v>1321.07</c:v>
                </c:pt>
                <c:pt idx="2183">
                  <c:v>1323.38</c:v>
                </c:pt>
                <c:pt idx="2184">
                  <c:v>1311.84</c:v>
                </c:pt>
                <c:pt idx="2185">
                  <c:v>1323.62</c:v>
                </c:pt>
                <c:pt idx="2186">
                  <c:v>1313.88</c:v>
                </c:pt>
                <c:pt idx="2187">
                  <c:v>1263.69</c:v>
                </c:pt>
                <c:pt idx="2188">
                  <c:v>1266.97</c:v>
                </c:pt>
                <c:pt idx="2189">
                  <c:v>1270.55</c:v>
                </c:pt>
                <c:pt idx="2190">
                  <c:v>1285.3800000000001</c:v>
                </c:pt>
                <c:pt idx="2191">
                  <c:v>1287.05</c:v>
                </c:pt>
                <c:pt idx="2192">
                  <c:v>1310.47</c:v>
                </c:pt>
                <c:pt idx="2193">
                  <c:v>1283.3800000000001</c:v>
                </c:pt>
                <c:pt idx="2194">
                  <c:v>1285.8800000000001</c:v>
                </c:pt>
                <c:pt idx="2195">
                  <c:v>1282.07</c:v>
                </c:pt>
                <c:pt idx="2196">
                  <c:v>1273.5899999999999</c:v>
                </c:pt>
                <c:pt idx="2197">
                  <c:v>1269.6500000000001</c:v>
                </c:pt>
                <c:pt idx="2198">
                  <c:v>1259.49</c:v>
                </c:pt>
                <c:pt idx="2199">
                  <c:v>1241.3800000000001</c:v>
                </c:pt>
                <c:pt idx="2200">
                  <c:v>1245.5999999999999</c:v>
                </c:pt>
                <c:pt idx="2201">
                  <c:v>1239.8800000000001</c:v>
                </c:pt>
                <c:pt idx="2202">
                  <c:v>1210.55</c:v>
                </c:pt>
                <c:pt idx="2203">
                  <c:v>1210.07</c:v>
                </c:pt>
                <c:pt idx="2204">
                  <c:v>1214.28</c:v>
                </c:pt>
                <c:pt idx="2205">
                  <c:v>1206.44</c:v>
                </c:pt>
                <c:pt idx="2206">
                  <c:v>1211.9000000000001</c:v>
                </c:pt>
                <c:pt idx="2207">
                  <c:v>1222.8499999999999</c:v>
                </c:pt>
                <c:pt idx="2208">
                  <c:v>1222.24</c:v>
                </c:pt>
                <c:pt idx="2209">
                  <c:v>1234.6199999999999</c:v>
                </c:pt>
                <c:pt idx="2210">
                  <c:v>1248.18</c:v>
                </c:pt>
                <c:pt idx="2211">
                  <c:v>1252.68</c:v>
                </c:pt>
                <c:pt idx="2212">
                  <c:v>1249.49</c:v>
                </c:pt>
                <c:pt idx="2213">
                  <c:v>1271.28</c:v>
                </c:pt>
                <c:pt idx="2214">
                  <c:v>1279.47</c:v>
                </c:pt>
                <c:pt idx="2215">
                  <c:v>1275.4000000000001</c:v>
                </c:pt>
                <c:pt idx="2216">
                  <c:v>1270.99</c:v>
                </c:pt>
                <c:pt idx="2217">
                  <c:v>1267.68</c:v>
                </c:pt>
                <c:pt idx="2218">
                  <c:v>1274.68</c:v>
                </c:pt>
                <c:pt idx="2219">
                  <c:v>1261.18</c:v>
                </c:pt>
                <c:pt idx="2220">
                  <c:v>1265.97</c:v>
                </c:pt>
                <c:pt idx="2221">
                  <c:v>1290.3800000000001</c:v>
                </c:pt>
                <c:pt idx="2222">
                  <c:v>1274.68</c:v>
                </c:pt>
                <c:pt idx="2223">
                  <c:v>1281.8399999999999</c:v>
                </c:pt>
                <c:pt idx="2224">
                  <c:v>1285.5</c:v>
                </c:pt>
                <c:pt idx="2225">
                  <c:v>1294.3399999999999</c:v>
                </c:pt>
                <c:pt idx="2226">
                  <c:v>1292.3399999999999</c:v>
                </c:pt>
                <c:pt idx="2227">
                  <c:v>1260.69</c:v>
                </c:pt>
                <c:pt idx="2228">
                  <c:v>1248.07</c:v>
                </c:pt>
                <c:pt idx="2229">
                  <c:v>1241.6099999999999</c:v>
                </c:pt>
                <c:pt idx="2230">
                  <c:v>1240.5999999999999</c:v>
                </c:pt>
                <c:pt idx="2231">
                  <c:v>1241.5899999999999</c:v>
                </c:pt>
                <c:pt idx="2232">
                  <c:v>1250.07</c:v>
                </c:pt>
                <c:pt idx="2233">
                  <c:v>1254.82</c:v>
                </c:pt>
                <c:pt idx="2234">
                  <c:v>1254.19</c:v>
                </c:pt>
                <c:pt idx="2235">
                  <c:v>1234.99</c:v>
                </c:pt>
                <c:pt idx="2236">
                  <c:v>1229.8800000000001</c:v>
                </c:pt>
                <c:pt idx="2237">
                  <c:v>1230.8399999999999</c:v>
                </c:pt>
                <c:pt idx="2238">
                  <c:v>1247.3800000000001</c:v>
                </c:pt>
                <c:pt idx="2239">
                  <c:v>1254.3800000000001</c:v>
                </c:pt>
                <c:pt idx="2240">
                  <c:v>1257.57</c:v>
                </c:pt>
                <c:pt idx="2241">
                  <c:v>1241.57</c:v>
                </c:pt>
                <c:pt idx="2242">
                  <c:v>1240.28</c:v>
                </c:pt>
                <c:pt idx="2243">
                  <c:v>1222.22</c:v>
                </c:pt>
                <c:pt idx="2244">
                  <c:v>1229.3399999999999</c:v>
                </c:pt>
                <c:pt idx="2245">
                  <c:v>1218.55</c:v>
                </c:pt>
                <c:pt idx="2246">
                  <c:v>1212.3800000000001</c:v>
                </c:pt>
                <c:pt idx="2247">
                  <c:v>1234.3399999999999</c:v>
                </c:pt>
                <c:pt idx="2248">
                  <c:v>1226.74</c:v>
                </c:pt>
                <c:pt idx="2249">
                  <c:v>1226.28</c:v>
                </c:pt>
                <c:pt idx="2250">
                  <c:v>1220.24</c:v>
                </c:pt>
                <c:pt idx="2251">
                  <c:v>1220.55</c:v>
                </c:pt>
                <c:pt idx="2252">
                  <c:v>1220.55</c:v>
                </c:pt>
                <c:pt idx="2253">
                  <c:v>1223.3800000000001</c:v>
                </c:pt>
                <c:pt idx="2254">
                  <c:v>1252.28</c:v>
                </c:pt>
                <c:pt idx="2255">
                  <c:v>1246.0899999999999</c:v>
                </c:pt>
                <c:pt idx="2256">
                  <c:v>1253.55</c:v>
                </c:pt>
                <c:pt idx="2257">
                  <c:v>1263.4000000000001</c:v>
                </c:pt>
                <c:pt idx="2258">
                  <c:v>1229.53</c:v>
                </c:pt>
                <c:pt idx="2259">
                  <c:v>1232.47</c:v>
                </c:pt>
                <c:pt idx="2260">
                  <c:v>1242.72</c:v>
                </c:pt>
                <c:pt idx="2261">
                  <c:v>1258.28</c:v>
                </c:pt>
                <c:pt idx="2262">
                  <c:v>1266.32</c:v>
                </c:pt>
                <c:pt idx="2263">
                  <c:v>1256.8</c:v>
                </c:pt>
                <c:pt idx="2264">
                  <c:v>1269.07</c:v>
                </c:pt>
                <c:pt idx="2265">
                  <c:v>1267.8800000000001</c:v>
                </c:pt>
                <c:pt idx="2266">
                  <c:v>1271.05</c:v>
                </c:pt>
                <c:pt idx="2267">
                  <c:v>1256.44</c:v>
                </c:pt>
                <c:pt idx="2268">
                  <c:v>1235.4000000000001</c:v>
                </c:pt>
                <c:pt idx="2269">
                  <c:v>1233.3800000000001</c:v>
                </c:pt>
                <c:pt idx="2270">
                  <c:v>1232.8800000000001</c:v>
                </c:pt>
                <c:pt idx="2271">
                  <c:v>1215.57</c:v>
                </c:pt>
                <c:pt idx="2272">
                  <c:v>1238.3</c:v>
                </c:pt>
                <c:pt idx="2273">
                  <c:v>1248.4000000000001</c:v>
                </c:pt>
                <c:pt idx="2274">
                  <c:v>1225.28</c:v>
                </c:pt>
                <c:pt idx="2275">
                  <c:v>1209.78</c:v>
                </c:pt>
                <c:pt idx="2276">
                  <c:v>1232.03</c:v>
                </c:pt>
                <c:pt idx="2277">
                  <c:v>1217.3800000000001</c:v>
                </c:pt>
                <c:pt idx="2278">
                  <c:v>1212.28</c:v>
                </c:pt>
                <c:pt idx="2279">
                  <c:v>1215.4000000000001</c:v>
                </c:pt>
                <c:pt idx="2280">
                  <c:v>1205.3800000000001</c:v>
                </c:pt>
                <c:pt idx="2281">
                  <c:v>1233.78</c:v>
                </c:pt>
                <c:pt idx="2282">
                  <c:v>1248.07</c:v>
                </c:pt>
                <c:pt idx="2283">
                  <c:v>1191.74</c:v>
                </c:pt>
                <c:pt idx="2284">
                  <c:v>1193.07</c:v>
                </c:pt>
                <c:pt idx="2285">
                  <c:v>1197.44</c:v>
                </c:pt>
                <c:pt idx="2286">
                  <c:v>1154.5</c:v>
                </c:pt>
                <c:pt idx="2287">
                  <c:v>1153.99</c:v>
                </c:pt>
                <c:pt idx="2288">
                  <c:v>1139.0999999999999</c:v>
                </c:pt>
                <c:pt idx="2289">
                  <c:v>1126.97</c:v>
                </c:pt>
                <c:pt idx="2290">
                  <c:v>1126.75</c:v>
                </c:pt>
                <c:pt idx="2291">
                  <c:v>1117.1500000000001</c:v>
                </c:pt>
                <c:pt idx="2292">
                  <c:v>1116.6500000000001</c:v>
                </c:pt>
                <c:pt idx="2293">
                  <c:v>1115.94</c:v>
                </c:pt>
                <c:pt idx="2294">
                  <c:v>1117.3800000000001</c:v>
                </c:pt>
                <c:pt idx="2295">
                  <c:v>1105.55</c:v>
                </c:pt>
                <c:pt idx="2296">
                  <c:v>1100.42</c:v>
                </c:pt>
                <c:pt idx="2297">
                  <c:v>1093.94</c:v>
                </c:pt>
                <c:pt idx="2298">
                  <c:v>1102.18</c:v>
                </c:pt>
                <c:pt idx="2299">
                  <c:v>1086.1500000000001</c:v>
                </c:pt>
                <c:pt idx="2300">
                  <c:v>1089.1500000000001</c:v>
                </c:pt>
                <c:pt idx="2301">
                  <c:v>1090.1500000000001</c:v>
                </c:pt>
                <c:pt idx="2302">
                  <c:v>1082.3399999999999</c:v>
                </c:pt>
                <c:pt idx="2303">
                  <c:v>1090.18</c:v>
                </c:pt>
                <c:pt idx="2304">
                  <c:v>1089.05</c:v>
                </c:pt>
                <c:pt idx="2305">
                  <c:v>1101.28</c:v>
                </c:pt>
                <c:pt idx="2306">
                  <c:v>1103.18</c:v>
                </c:pt>
                <c:pt idx="2307">
                  <c:v>1104.1500000000001</c:v>
                </c:pt>
                <c:pt idx="2308">
                  <c:v>1089.3499999999999</c:v>
                </c:pt>
                <c:pt idx="2309">
                  <c:v>1077.8399999999999</c:v>
                </c:pt>
                <c:pt idx="2310">
                  <c:v>1077.8399999999999</c:v>
                </c:pt>
                <c:pt idx="2311">
                  <c:v>1062.3800000000001</c:v>
                </c:pt>
                <c:pt idx="2312">
                  <c:v>1062.3800000000001</c:v>
                </c:pt>
                <c:pt idx="2313">
                  <c:v>1062.05</c:v>
                </c:pt>
                <c:pt idx="2314">
                  <c:v>1068.95</c:v>
                </c:pt>
                <c:pt idx="2315">
                  <c:v>1069.74</c:v>
                </c:pt>
                <c:pt idx="2316">
                  <c:v>1075.45</c:v>
                </c:pt>
                <c:pt idx="2317">
                  <c:v>1075.45</c:v>
                </c:pt>
                <c:pt idx="2318">
                  <c:v>1069.0999999999999</c:v>
                </c:pt>
                <c:pt idx="2319">
                  <c:v>1076.18</c:v>
                </c:pt>
                <c:pt idx="2320">
                  <c:v>1079.18</c:v>
                </c:pt>
                <c:pt idx="2321">
                  <c:v>1064.57</c:v>
                </c:pt>
                <c:pt idx="2322">
                  <c:v>1051.97</c:v>
                </c:pt>
                <c:pt idx="2323">
                  <c:v>1074.6500000000001</c:v>
                </c:pt>
                <c:pt idx="2324">
                  <c:v>1061.43</c:v>
                </c:pt>
                <c:pt idx="2325">
                  <c:v>1070.43</c:v>
                </c:pt>
                <c:pt idx="2326">
                  <c:v>1076.57</c:v>
                </c:pt>
                <c:pt idx="2327">
                  <c:v>1074.78</c:v>
                </c:pt>
                <c:pt idx="2328">
                  <c:v>1072.18</c:v>
                </c:pt>
                <c:pt idx="2329">
                  <c:v>1074.28</c:v>
                </c:pt>
                <c:pt idx="2330">
                  <c:v>1075.82</c:v>
                </c:pt>
                <c:pt idx="2331">
                  <c:v>1084.8</c:v>
                </c:pt>
                <c:pt idx="2332">
                  <c:v>1056.4000000000001</c:v>
                </c:pt>
                <c:pt idx="2333">
                  <c:v>1055.8</c:v>
                </c:pt>
                <c:pt idx="2334">
                  <c:v>1065.99</c:v>
                </c:pt>
                <c:pt idx="2335">
                  <c:v>1063.68</c:v>
                </c:pt>
                <c:pt idx="2336">
                  <c:v>1057.97</c:v>
                </c:pt>
                <c:pt idx="2337">
                  <c:v>1071.68</c:v>
                </c:pt>
                <c:pt idx="2338">
                  <c:v>1072.3800000000001</c:v>
                </c:pt>
                <c:pt idx="2339">
                  <c:v>1074.94</c:v>
                </c:pt>
                <c:pt idx="2340">
                  <c:v>1070.0899999999999</c:v>
                </c:pt>
                <c:pt idx="2341">
                  <c:v>1079.3399999999999</c:v>
                </c:pt>
                <c:pt idx="2342">
                  <c:v>1082.4000000000001</c:v>
                </c:pt>
                <c:pt idx="2343">
                  <c:v>1068.9000000000001</c:v>
                </c:pt>
                <c:pt idx="2344">
                  <c:v>1075.0899999999999</c:v>
                </c:pt>
                <c:pt idx="2345">
                  <c:v>1085.07</c:v>
                </c:pt>
                <c:pt idx="2346">
                  <c:v>1082.4000000000001</c:v>
                </c:pt>
                <c:pt idx="2347">
                  <c:v>1079.24</c:v>
                </c:pt>
                <c:pt idx="2348">
                  <c:v>1087.8</c:v>
                </c:pt>
                <c:pt idx="2349">
                  <c:v>1090.8</c:v>
                </c:pt>
                <c:pt idx="2350">
                  <c:v>1089.55</c:v>
                </c:pt>
                <c:pt idx="2351">
                  <c:v>1087.8</c:v>
                </c:pt>
                <c:pt idx="2352">
                  <c:v>1106.8399999999999</c:v>
                </c:pt>
                <c:pt idx="2353">
                  <c:v>1114.69</c:v>
                </c:pt>
                <c:pt idx="2354">
                  <c:v>1123.97</c:v>
                </c:pt>
                <c:pt idx="2355">
                  <c:v>1135.3399999999999</c:v>
                </c:pt>
                <c:pt idx="2356">
                  <c:v>1141.05</c:v>
                </c:pt>
                <c:pt idx="2357">
                  <c:v>1150.8800000000001</c:v>
                </c:pt>
                <c:pt idx="2358">
                  <c:v>1180.18</c:v>
                </c:pt>
                <c:pt idx="2359">
                  <c:v>1167.1500000000001</c:v>
                </c:pt>
                <c:pt idx="2360">
                  <c:v>1166.49</c:v>
                </c:pt>
                <c:pt idx="2361">
                  <c:v>1163.05</c:v>
                </c:pt>
                <c:pt idx="2362">
                  <c:v>1168.24</c:v>
                </c:pt>
                <c:pt idx="2363">
                  <c:v>1166.1300000000001</c:v>
                </c:pt>
                <c:pt idx="2364">
                  <c:v>1178.0899999999999</c:v>
                </c:pt>
                <c:pt idx="2365">
                  <c:v>1171.05</c:v>
                </c:pt>
                <c:pt idx="2366">
                  <c:v>1182.28</c:v>
                </c:pt>
                <c:pt idx="2367">
                  <c:v>1185.6500000000001</c:v>
                </c:pt>
                <c:pt idx="2368">
                  <c:v>1176.8</c:v>
                </c:pt>
                <c:pt idx="2369">
                  <c:v>1166.55</c:v>
                </c:pt>
                <c:pt idx="2370">
                  <c:v>1161.3</c:v>
                </c:pt>
                <c:pt idx="2371">
                  <c:v>1157.55</c:v>
                </c:pt>
                <c:pt idx="2372">
                  <c:v>1144.5899999999999</c:v>
                </c:pt>
                <c:pt idx="2373">
                  <c:v>1146.93</c:v>
                </c:pt>
                <c:pt idx="2374">
                  <c:v>1149.78</c:v>
                </c:pt>
                <c:pt idx="2375">
                  <c:v>1135.47</c:v>
                </c:pt>
                <c:pt idx="2376">
                  <c:v>1138.6500000000001</c:v>
                </c:pt>
                <c:pt idx="2377">
                  <c:v>1115.17</c:v>
                </c:pt>
                <c:pt idx="2378">
                  <c:v>1114.3399999999999</c:v>
                </c:pt>
                <c:pt idx="2379">
                  <c:v>1131.8</c:v>
                </c:pt>
                <c:pt idx="2380">
                  <c:v>1133.07</c:v>
                </c:pt>
                <c:pt idx="2381">
                  <c:v>1144.4000000000001</c:v>
                </c:pt>
                <c:pt idx="2382">
                  <c:v>1154.69</c:v>
                </c:pt>
                <c:pt idx="2383">
                  <c:v>1131.3800000000001</c:v>
                </c:pt>
                <c:pt idx="2384">
                  <c:v>1126.3399999999999</c:v>
                </c:pt>
                <c:pt idx="2385">
                  <c:v>1132.47</c:v>
                </c:pt>
                <c:pt idx="2386">
                  <c:v>1136.95</c:v>
                </c:pt>
                <c:pt idx="2387">
                  <c:v>1118.3399999999999</c:v>
                </c:pt>
                <c:pt idx="2388">
                  <c:v>1120.74</c:v>
                </c:pt>
                <c:pt idx="2389">
                  <c:v>1104.57</c:v>
                </c:pt>
                <c:pt idx="2390">
                  <c:v>1107.3399999999999</c:v>
                </c:pt>
                <c:pt idx="2391">
                  <c:v>1100.3</c:v>
                </c:pt>
                <c:pt idx="2392">
                  <c:v>1110.72</c:v>
                </c:pt>
                <c:pt idx="2393">
                  <c:v>1110.1300000000001</c:v>
                </c:pt>
                <c:pt idx="2394">
                  <c:v>1122.69</c:v>
                </c:pt>
                <c:pt idx="2395">
                  <c:v>1118.55</c:v>
                </c:pt>
                <c:pt idx="2396">
                  <c:v>1120.97</c:v>
                </c:pt>
                <c:pt idx="2397">
                  <c:v>1124.1300000000001</c:v>
                </c:pt>
                <c:pt idx="2398">
                  <c:v>1134.44</c:v>
                </c:pt>
                <c:pt idx="2399">
                  <c:v>1140.67</c:v>
                </c:pt>
                <c:pt idx="2400">
                  <c:v>1130.69</c:v>
                </c:pt>
                <c:pt idx="2401">
                  <c:v>1135.48</c:v>
                </c:pt>
                <c:pt idx="2402">
                  <c:v>1122.99</c:v>
                </c:pt>
                <c:pt idx="2403">
                  <c:v>1123.78</c:v>
                </c:pt>
                <c:pt idx="2404">
                  <c:v>1135</c:v>
                </c:pt>
                <c:pt idx="2405">
                  <c:v>1160.0899999999999</c:v>
                </c:pt>
                <c:pt idx="2406">
                  <c:v>1158.05</c:v>
                </c:pt>
                <c:pt idx="2407">
                  <c:v>1148.95</c:v>
                </c:pt>
                <c:pt idx="2408">
                  <c:v>1128.5899999999999</c:v>
                </c:pt>
                <c:pt idx="2409">
                  <c:v>1115.99</c:v>
                </c:pt>
                <c:pt idx="2410">
                  <c:v>1118.69</c:v>
                </c:pt>
                <c:pt idx="2411">
                  <c:v>1114.8800000000001</c:v>
                </c:pt>
                <c:pt idx="2412">
                  <c:v>1116.1300000000001</c:v>
                </c:pt>
                <c:pt idx="2413">
                  <c:v>1123.8499999999999</c:v>
                </c:pt>
                <c:pt idx="2414">
                  <c:v>1109.67</c:v>
                </c:pt>
                <c:pt idx="2415">
                  <c:v>1103.3499999999999</c:v>
                </c:pt>
                <c:pt idx="2416">
                  <c:v>1096.8499999999999</c:v>
                </c:pt>
                <c:pt idx="2417">
                  <c:v>1090.1500000000001</c:v>
                </c:pt>
                <c:pt idx="2418">
                  <c:v>1085.6300000000001</c:v>
                </c:pt>
                <c:pt idx="2419">
                  <c:v>1092.5899999999999</c:v>
                </c:pt>
                <c:pt idx="2420">
                  <c:v>1092.19</c:v>
                </c:pt>
                <c:pt idx="2421">
                  <c:v>1094.3</c:v>
                </c:pt>
                <c:pt idx="2422">
                  <c:v>1094.4000000000001</c:v>
                </c:pt>
                <c:pt idx="2423">
                  <c:v>1095.05</c:v>
                </c:pt>
                <c:pt idx="2424">
                  <c:v>1095.24</c:v>
                </c:pt>
                <c:pt idx="2425">
                  <c:v>1097.6500000000001</c:v>
                </c:pt>
                <c:pt idx="2426">
                  <c:v>1083.9000000000001</c:v>
                </c:pt>
                <c:pt idx="2427">
                  <c:v>1092.6300000000001</c:v>
                </c:pt>
                <c:pt idx="2428">
                  <c:v>1092.6300000000001</c:v>
                </c:pt>
                <c:pt idx="2429">
                  <c:v>1107.6500000000001</c:v>
                </c:pt>
                <c:pt idx="2430">
                  <c:v>1110.44</c:v>
                </c:pt>
                <c:pt idx="2431">
                  <c:v>1132.32</c:v>
                </c:pt>
                <c:pt idx="2432">
                  <c:v>1144.45</c:v>
                </c:pt>
                <c:pt idx="2433">
                  <c:v>1146.76</c:v>
                </c:pt>
                <c:pt idx="2434">
                  <c:v>1155.55</c:v>
                </c:pt>
                <c:pt idx="2435">
                  <c:v>1154.43</c:v>
                </c:pt>
                <c:pt idx="2436">
                  <c:v>1161.2</c:v>
                </c:pt>
                <c:pt idx="2437">
                  <c:v>1164.0899999999999</c:v>
                </c:pt>
                <c:pt idx="2438">
                  <c:v>1160.78</c:v>
                </c:pt>
                <c:pt idx="2439">
                  <c:v>1152.6500000000001</c:v>
                </c:pt>
                <c:pt idx="2440">
                  <c:v>1167.05</c:v>
                </c:pt>
                <c:pt idx="2441">
                  <c:v>1167.19</c:v>
                </c:pt>
                <c:pt idx="2442">
                  <c:v>1163.4000000000001</c:v>
                </c:pt>
                <c:pt idx="2443">
                  <c:v>1170.4000000000001</c:v>
                </c:pt>
                <c:pt idx="2444">
                  <c:v>1169.3499999999999</c:v>
                </c:pt>
                <c:pt idx="2445">
                  <c:v>1178.94</c:v>
                </c:pt>
                <c:pt idx="2446">
                  <c:v>1171.01</c:v>
                </c:pt>
                <c:pt idx="2447">
                  <c:v>1173.68</c:v>
                </c:pt>
                <c:pt idx="2448">
                  <c:v>1173.98</c:v>
                </c:pt>
                <c:pt idx="2449">
                  <c:v>1178.2</c:v>
                </c:pt>
                <c:pt idx="2450">
                  <c:v>1185.02</c:v>
                </c:pt>
                <c:pt idx="2451">
                  <c:v>1200.22</c:v>
                </c:pt>
                <c:pt idx="2452">
                  <c:v>1204.3499999999999</c:v>
                </c:pt>
                <c:pt idx="2453">
                  <c:v>1176.71</c:v>
                </c:pt>
                <c:pt idx="2454">
                  <c:v>1178.19</c:v>
                </c:pt>
                <c:pt idx="2455">
                  <c:v>1181.69</c:v>
                </c:pt>
                <c:pt idx="2456">
                  <c:v>1182.3399999999999</c:v>
                </c:pt>
                <c:pt idx="2457">
                  <c:v>1178.4000000000001</c:v>
                </c:pt>
                <c:pt idx="2458">
                  <c:v>1188.1500000000001</c:v>
                </c:pt>
                <c:pt idx="2459">
                  <c:v>1177.07</c:v>
                </c:pt>
                <c:pt idx="2460">
                  <c:v>1171.05</c:v>
                </c:pt>
                <c:pt idx="2461">
                  <c:v>1169.53</c:v>
                </c:pt>
                <c:pt idx="2462">
                  <c:v>1174.4000000000001</c:v>
                </c:pt>
                <c:pt idx="2463">
                  <c:v>1190.8</c:v>
                </c:pt>
                <c:pt idx="2464">
                  <c:v>1192.0899999999999</c:v>
                </c:pt>
                <c:pt idx="2465">
                  <c:v>1195.74</c:v>
                </c:pt>
                <c:pt idx="2466">
                  <c:v>1189.97</c:v>
                </c:pt>
                <c:pt idx="2467">
                  <c:v>1189.3</c:v>
                </c:pt>
                <c:pt idx="2468">
                  <c:v>1186.3</c:v>
                </c:pt>
                <c:pt idx="2469">
                  <c:v>1189.3399999999999</c:v>
                </c:pt>
                <c:pt idx="2470">
                  <c:v>1205.8399999999999</c:v>
                </c:pt>
                <c:pt idx="2471">
                  <c:v>1206.2</c:v>
                </c:pt>
                <c:pt idx="2472">
                  <c:v>1206.3800000000001</c:v>
                </c:pt>
                <c:pt idx="2473">
                  <c:v>1211.1500000000001</c:v>
                </c:pt>
                <c:pt idx="2474">
                  <c:v>1208.45</c:v>
                </c:pt>
                <c:pt idx="2475">
                  <c:v>1228.05</c:v>
                </c:pt>
                <c:pt idx="2476">
                  <c:v>1221.99</c:v>
                </c:pt>
                <c:pt idx="2477">
                  <c:v>1221</c:v>
                </c:pt>
                <c:pt idx="2478">
                  <c:v>1214.3499999999999</c:v>
                </c:pt>
                <c:pt idx="2479">
                  <c:v>1191.4000000000001</c:v>
                </c:pt>
                <c:pt idx="2480">
                  <c:v>1184.6099999999999</c:v>
                </c:pt>
                <c:pt idx="2481">
                  <c:v>1185.2</c:v>
                </c:pt>
                <c:pt idx="2482">
                  <c:v>1183.44</c:v>
                </c:pt>
                <c:pt idx="2483">
                  <c:v>1189.5</c:v>
                </c:pt>
                <c:pt idx="2484">
                  <c:v>1196.0999999999999</c:v>
                </c:pt>
                <c:pt idx="2485">
                  <c:v>1189.25</c:v>
                </c:pt>
                <c:pt idx="2486">
                  <c:v>1173.0899999999999</c:v>
                </c:pt>
                <c:pt idx="2487">
                  <c:v>1180.69</c:v>
                </c:pt>
                <c:pt idx="2488">
                  <c:v>1211.3</c:v>
                </c:pt>
                <c:pt idx="2489">
                  <c:v>1212.33</c:v>
                </c:pt>
                <c:pt idx="2490">
                  <c:v>1201.8699999999999</c:v>
                </c:pt>
                <c:pt idx="2491">
                  <c:v>1178.3399999999999</c:v>
                </c:pt>
                <c:pt idx="2492">
                  <c:v>1192.8499999999999</c:v>
                </c:pt>
                <c:pt idx="2493">
                  <c:v>1187.9000000000001</c:v>
                </c:pt>
                <c:pt idx="2494">
                  <c:v>1199.0899999999999</c:v>
                </c:pt>
                <c:pt idx="2495">
                  <c:v>1193.5899999999999</c:v>
                </c:pt>
                <c:pt idx="2496">
                  <c:v>1204.28</c:v>
                </c:pt>
                <c:pt idx="2497">
                  <c:v>1197.96</c:v>
                </c:pt>
                <c:pt idx="2498">
                  <c:v>1195.31</c:v>
                </c:pt>
                <c:pt idx="2499">
                  <c:v>1197.3800000000001</c:v>
                </c:pt>
                <c:pt idx="2500">
                  <c:v>1198.95</c:v>
                </c:pt>
                <c:pt idx="2501">
                  <c:v>1207.24</c:v>
                </c:pt>
                <c:pt idx="2502">
                  <c:v>1195.5</c:v>
                </c:pt>
                <c:pt idx="2503">
                  <c:v>1204.17</c:v>
                </c:pt>
                <c:pt idx="2504">
                  <c:v>1213.0899999999999</c:v>
                </c:pt>
                <c:pt idx="2505">
                  <c:v>1223.96</c:v>
                </c:pt>
                <c:pt idx="2506">
                  <c:v>1197.25</c:v>
                </c:pt>
                <c:pt idx="2507">
                  <c:v>1197.25</c:v>
                </c:pt>
                <c:pt idx="2508">
                  <c:v>1201.07</c:v>
                </c:pt>
                <c:pt idx="2509">
                  <c:v>1187.5999999999999</c:v>
                </c:pt>
                <c:pt idx="2510">
                  <c:v>1185.79</c:v>
                </c:pt>
                <c:pt idx="2511">
                  <c:v>1200.6300000000001</c:v>
                </c:pt>
                <c:pt idx="2512">
                  <c:v>1206.07</c:v>
                </c:pt>
                <c:pt idx="2513">
                  <c:v>1197.3499999999999</c:v>
                </c:pt>
                <c:pt idx="2514">
                  <c:v>1190.6500000000001</c:v>
                </c:pt>
                <c:pt idx="2515">
                  <c:v>1186.25</c:v>
                </c:pt>
                <c:pt idx="2516">
                  <c:v>1184.75</c:v>
                </c:pt>
                <c:pt idx="2517">
                  <c:v>1170.71</c:v>
                </c:pt>
                <c:pt idx="2518">
                  <c:v>1152.47</c:v>
                </c:pt>
                <c:pt idx="2519">
                  <c:v>1148.57</c:v>
                </c:pt>
                <c:pt idx="2520">
                  <c:v>1153.07</c:v>
                </c:pt>
                <c:pt idx="2521">
                  <c:v>1153.57</c:v>
                </c:pt>
                <c:pt idx="2522">
                  <c:v>1151.3399999999999</c:v>
                </c:pt>
                <c:pt idx="2523">
                  <c:v>1151.5</c:v>
                </c:pt>
                <c:pt idx="2524">
                  <c:v>1161.5</c:v>
                </c:pt>
                <c:pt idx="2525">
                  <c:v>1167.75</c:v>
                </c:pt>
                <c:pt idx="2526">
                  <c:v>1175.47</c:v>
                </c:pt>
                <c:pt idx="2527">
                  <c:v>1206.55</c:v>
                </c:pt>
                <c:pt idx="2528">
                  <c:v>1202.06</c:v>
                </c:pt>
                <c:pt idx="2529">
                  <c:v>1203.19</c:v>
                </c:pt>
                <c:pt idx="2530">
                  <c:v>1208.76</c:v>
                </c:pt>
                <c:pt idx="2531">
                  <c:v>1216.57</c:v>
                </c:pt>
                <c:pt idx="2532">
                  <c:v>1208.3599999999999</c:v>
                </c:pt>
                <c:pt idx="2533">
                  <c:v>1205.1500000000001</c:v>
                </c:pt>
                <c:pt idx="2534">
                  <c:v>1198.28</c:v>
                </c:pt>
                <c:pt idx="2535">
                  <c:v>1201.8800000000001</c:v>
                </c:pt>
                <c:pt idx="2536">
                  <c:v>1206.68</c:v>
                </c:pt>
                <c:pt idx="2537">
                  <c:v>1208.78</c:v>
                </c:pt>
                <c:pt idx="2538">
                  <c:v>1200.6300000000001</c:v>
                </c:pt>
                <c:pt idx="2539">
                  <c:v>1207.0999999999999</c:v>
                </c:pt>
                <c:pt idx="2540">
                  <c:v>1231.93</c:v>
                </c:pt>
                <c:pt idx="2541">
                  <c:v>1232.54</c:v>
                </c:pt>
                <c:pt idx="2542">
                  <c:v>1223.56</c:v>
                </c:pt>
                <c:pt idx="2543">
                  <c:v>1223.74</c:v>
                </c:pt>
                <c:pt idx="2544">
                  <c:v>1237.47</c:v>
                </c:pt>
                <c:pt idx="2545">
                  <c:v>1241.3800000000001</c:v>
                </c:pt>
                <c:pt idx="2546">
                  <c:v>1233.6099999999999</c:v>
                </c:pt>
                <c:pt idx="2547">
                  <c:v>1261.28</c:v>
                </c:pt>
                <c:pt idx="2548">
                  <c:v>1264.57</c:v>
                </c:pt>
                <c:pt idx="2549">
                  <c:v>1258.07</c:v>
                </c:pt>
                <c:pt idx="2550">
                  <c:v>1271.58</c:v>
                </c:pt>
                <c:pt idx="2551">
                  <c:v>1273.24</c:v>
                </c:pt>
                <c:pt idx="2552">
                  <c:v>1265.43</c:v>
                </c:pt>
                <c:pt idx="2553">
                  <c:v>1288.07</c:v>
                </c:pt>
                <c:pt idx="2554">
                  <c:v>1293.3</c:v>
                </c:pt>
                <c:pt idx="2555">
                  <c:v>1278.3</c:v>
                </c:pt>
                <c:pt idx="2556">
                  <c:v>1292.43</c:v>
                </c:pt>
                <c:pt idx="2557">
                  <c:v>1302.18</c:v>
                </c:pt>
                <c:pt idx="2558">
                  <c:v>1291.3399999999999</c:v>
                </c:pt>
                <c:pt idx="2559">
                  <c:v>1291.49</c:v>
                </c:pt>
                <c:pt idx="2560">
                  <c:v>1273.8800000000001</c:v>
                </c:pt>
                <c:pt idx="2561">
                  <c:v>1274.5999999999999</c:v>
                </c:pt>
                <c:pt idx="2562">
                  <c:v>1264.8900000000001</c:v>
                </c:pt>
                <c:pt idx="2563">
                  <c:v>1237.76</c:v>
                </c:pt>
                <c:pt idx="2564">
                  <c:v>1235.74</c:v>
                </c:pt>
                <c:pt idx="2565">
                  <c:v>1226.8</c:v>
                </c:pt>
                <c:pt idx="2566">
                  <c:v>1218.78</c:v>
                </c:pt>
                <c:pt idx="2567">
                  <c:v>1213.2</c:v>
                </c:pt>
                <c:pt idx="2568">
                  <c:v>1215.28</c:v>
                </c:pt>
                <c:pt idx="2569">
                  <c:v>1207.74</c:v>
                </c:pt>
                <c:pt idx="2570">
                  <c:v>1197.07</c:v>
                </c:pt>
                <c:pt idx="2571">
                  <c:v>1188.8499999999999</c:v>
                </c:pt>
                <c:pt idx="2572">
                  <c:v>1186.33</c:v>
                </c:pt>
                <c:pt idx="2573">
                  <c:v>1186.33</c:v>
                </c:pt>
                <c:pt idx="2574">
                  <c:v>1205.27</c:v>
                </c:pt>
                <c:pt idx="2575">
                  <c:v>1181.0899999999999</c:v>
                </c:pt>
                <c:pt idx="2576">
                  <c:v>1193.51</c:v>
                </c:pt>
                <c:pt idx="2577">
                  <c:v>1174.68</c:v>
                </c:pt>
                <c:pt idx="2578">
                  <c:v>1174.68</c:v>
                </c:pt>
                <c:pt idx="2579">
                  <c:v>1178.1300000000001</c:v>
                </c:pt>
                <c:pt idx="2580">
                  <c:v>1185.68</c:v>
                </c:pt>
                <c:pt idx="2581">
                  <c:v>1197.94</c:v>
                </c:pt>
                <c:pt idx="2582">
                  <c:v>1195.3800000000001</c:v>
                </c:pt>
                <c:pt idx="2583">
                  <c:v>1196.47</c:v>
                </c:pt>
                <c:pt idx="2584">
                  <c:v>1196.19</c:v>
                </c:pt>
                <c:pt idx="2585">
                  <c:v>1214.8800000000001</c:v>
                </c:pt>
                <c:pt idx="2586">
                  <c:v>1222.8800000000001</c:v>
                </c:pt>
                <c:pt idx="2587">
                  <c:v>1223.1500000000001</c:v>
                </c:pt>
                <c:pt idx="2588">
                  <c:v>1228.8</c:v>
                </c:pt>
                <c:pt idx="2589">
                  <c:v>1232.31</c:v>
                </c:pt>
                <c:pt idx="2590">
                  <c:v>1192.83</c:v>
                </c:pt>
                <c:pt idx="2591">
                  <c:v>1195.01</c:v>
                </c:pt>
                <c:pt idx="2592">
                  <c:v>1209.52</c:v>
                </c:pt>
                <c:pt idx="2593">
                  <c:v>1212.6500000000001</c:v>
                </c:pt>
                <c:pt idx="2594">
                  <c:v>1199.52</c:v>
                </c:pt>
                <c:pt idx="2595">
                  <c:v>1195.6400000000001</c:v>
                </c:pt>
                <c:pt idx="2596">
                  <c:v>1181.97</c:v>
                </c:pt>
                <c:pt idx="2597">
                  <c:v>1191.05</c:v>
                </c:pt>
                <c:pt idx="2598">
                  <c:v>1198.43</c:v>
                </c:pt>
                <c:pt idx="2599">
                  <c:v>1198.95</c:v>
                </c:pt>
                <c:pt idx="2600">
                  <c:v>1197.05</c:v>
                </c:pt>
                <c:pt idx="2601">
                  <c:v>1205.32</c:v>
                </c:pt>
                <c:pt idx="2602">
                  <c:v>1190.77</c:v>
                </c:pt>
                <c:pt idx="2603">
                  <c:v>1180.3800000000001</c:v>
                </c:pt>
                <c:pt idx="2604">
                  <c:v>1196.06</c:v>
                </c:pt>
                <c:pt idx="2605">
                  <c:v>1185.2</c:v>
                </c:pt>
                <c:pt idx="2606">
                  <c:v>1172.75</c:v>
                </c:pt>
                <c:pt idx="2607">
                  <c:v>1162.5999999999999</c:v>
                </c:pt>
                <c:pt idx="2608">
                  <c:v>1164.9000000000001</c:v>
                </c:pt>
                <c:pt idx="2609">
                  <c:v>1156.04</c:v>
                </c:pt>
              </c:numCache>
            </c:numRef>
          </c:val>
          <c:smooth val="0"/>
          <c:extLst>
            <c:ext xmlns:c16="http://schemas.microsoft.com/office/drawing/2014/chart" uri="{C3380CC4-5D6E-409C-BE32-E72D297353CC}">
              <c16:uniqueId val="{00000000-D92F-4475-A87B-B6909B126FC3}"/>
            </c:ext>
          </c:extLst>
        </c:ser>
        <c:dLbls>
          <c:showLegendKey val="0"/>
          <c:showVal val="0"/>
          <c:showCatName val="0"/>
          <c:showSerName val="0"/>
          <c:showPercent val="0"/>
          <c:showBubbleSize val="0"/>
        </c:dLbls>
        <c:marker val="1"/>
        <c:smooth val="0"/>
        <c:axId val="927020303"/>
        <c:axId val="927021967"/>
      </c:lineChart>
      <c:lineChart>
        <c:grouping val="standard"/>
        <c:varyColors val="0"/>
        <c:ser>
          <c:idx val="1"/>
          <c:order val="1"/>
          <c:tx>
            <c:strRef>
              <c:f>Sheet1!$J$4</c:f>
              <c:strCache>
                <c:ptCount val="1"/>
                <c:pt idx="0">
                  <c:v>Reale Rendite 10j. US-Staatsanleihen (invertiert, rechts)</c:v>
                </c:pt>
              </c:strCache>
            </c:strRef>
          </c:tx>
          <c:spPr>
            <a:ln w="28575" cap="rnd">
              <a:solidFill>
                <a:schemeClr val="accent2"/>
              </a:solidFill>
              <a:round/>
            </a:ln>
            <a:effectLst/>
          </c:spPr>
          <c:marker>
            <c:symbol val="none"/>
          </c:marker>
          <c:cat>
            <c:numRef>
              <c:f>Sheet1!$H$7:$H$2616</c:f>
              <c:numCache>
                <c:formatCode>m/d/yyyy</c:formatCode>
                <c:ptCount val="2610"/>
                <c:pt idx="0">
                  <c:v>45607</c:v>
                </c:pt>
                <c:pt idx="1">
                  <c:v>45604</c:v>
                </c:pt>
                <c:pt idx="2">
                  <c:v>45603</c:v>
                </c:pt>
                <c:pt idx="3">
                  <c:v>45602</c:v>
                </c:pt>
                <c:pt idx="4">
                  <c:v>45601</c:v>
                </c:pt>
                <c:pt idx="5">
                  <c:v>45600</c:v>
                </c:pt>
                <c:pt idx="6">
                  <c:v>45597</c:v>
                </c:pt>
                <c:pt idx="7">
                  <c:v>45596</c:v>
                </c:pt>
                <c:pt idx="8">
                  <c:v>45595</c:v>
                </c:pt>
                <c:pt idx="9">
                  <c:v>45594</c:v>
                </c:pt>
                <c:pt idx="10">
                  <c:v>45593</c:v>
                </c:pt>
                <c:pt idx="11">
                  <c:v>45590</c:v>
                </c:pt>
                <c:pt idx="12">
                  <c:v>45589</c:v>
                </c:pt>
                <c:pt idx="13">
                  <c:v>45588</c:v>
                </c:pt>
                <c:pt idx="14">
                  <c:v>45587</c:v>
                </c:pt>
                <c:pt idx="15">
                  <c:v>45586</c:v>
                </c:pt>
                <c:pt idx="16">
                  <c:v>45583</c:v>
                </c:pt>
                <c:pt idx="17">
                  <c:v>45582</c:v>
                </c:pt>
                <c:pt idx="18">
                  <c:v>45581</c:v>
                </c:pt>
                <c:pt idx="19">
                  <c:v>45580</c:v>
                </c:pt>
                <c:pt idx="20">
                  <c:v>45579</c:v>
                </c:pt>
                <c:pt idx="21">
                  <c:v>45576</c:v>
                </c:pt>
                <c:pt idx="22">
                  <c:v>45575</c:v>
                </c:pt>
                <c:pt idx="23">
                  <c:v>45574</c:v>
                </c:pt>
                <c:pt idx="24">
                  <c:v>45573</c:v>
                </c:pt>
                <c:pt idx="25">
                  <c:v>45572</c:v>
                </c:pt>
                <c:pt idx="26">
                  <c:v>45569</c:v>
                </c:pt>
                <c:pt idx="27">
                  <c:v>45568</c:v>
                </c:pt>
                <c:pt idx="28">
                  <c:v>45567</c:v>
                </c:pt>
                <c:pt idx="29">
                  <c:v>45566</c:v>
                </c:pt>
                <c:pt idx="30">
                  <c:v>45565</c:v>
                </c:pt>
                <c:pt idx="31">
                  <c:v>45562</c:v>
                </c:pt>
                <c:pt idx="32">
                  <c:v>45561</c:v>
                </c:pt>
                <c:pt idx="33">
                  <c:v>45560</c:v>
                </c:pt>
                <c:pt idx="34">
                  <c:v>45559</c:v>
                </c:pt>
                <c:pt idx="35">
                  <c:v>45558</c:v>
                </c:pt>
                <c:pt idx="36">
                  <c:v>45555</c:v>
                </c:pt>
                <c:pt idx="37">
                  <c:v>45554</c:v>
                </c:pt>
                <c:pt idx="38">
                  <c:v>45553</c:v>
                </c:pt>
                <c:pt idx="39">
                  <c:v>45552</c:v>
                </c:pt>
                <c:pt idx="40">
                  <c:v>45551</c:v>
                </c:pt>
                <c:pt idx="41">
                  <c:v>45548</c:v>
                </c:pt>
                <c:pt idx="42">
                  <c:v>45547</c:v>
                </c:pt>
                <c:pt idx="43">
                  <c:v>45546</c:v>
                </c:pt>
                <c:pt idx="44">
                  <c:v>45545</c:v>
                </c:pt>
                <c:pt idx="45">
                  <c:v>45544</c:v>
                </c:pt>
                <c:pt idx="46">
                  <c:v>45541</c:v>
                </c:pt>
                <c:pt idx="47">
                  <c:v>45540</c:v>
                </c:pt>
                <c:pt idx="48">
                  <c:v>45539</c:v>
                </c:pt>
                <c:pt idx="49">
                  <c:v>45538</c:v>
                </c:pt>
                <c:pt idx="50">
                  <c:v>45537</c:v>
                </c:pt>
                <c:pt idx="51">
                  <c:v>45534</c:v>
                </c:pt>
                <c:pt idx="52">
                  <c:v>45533</c:v>
                </c:pt>
                <c:pt idx="53">
                  <c:v>45532</c:v>
                </c:pt>
                <c:pt idx="54">
                  <c:v>45531</c:v>
                </c:pt>
                <c:pt idx="55">
                  <c:v>45530</c:v>
                </c:pt>
                <c:pt idx="56">
                  <c:v>45527</c:v>
                </c:pt>
                <c:pt idx="57">
                  <c:v>45526</c:v>
                </c:pt>
                <c:pt idx="58">
                  <c:v>45525</c:v>
                </c:pt>
                <c:pt idx="59">
                  <c:v>45524</c:v>
                </c:pt>
                <c:pt idx="60">
                  <c:v>45523</c:v>
                </c:pt>
                <c:pt idx="61">
                  <c:v>45520</c:v>
                </c:pt>
                <c:pt idx="62">
                  <c:v>45519</c:v>
                </c:pt>
                <c:pt idx="63">
                  <c:v>45518</c:v>
                </c:pt>
                <c:pt idx="64">
                  <c:v>45517</c:v>
                </c:pt>
                <c:pt idx="65">
                  <c:v>45516</c:v>
                </c:pt>
                <c:pt idx="66">
                  <c:v>45513</c:v>
                </c:pt>
                <c:pt idx="67">
                  <c:v>45512</c:v>
                </c:pt>
                <c:pt idx="68">
                  <c:v>45511</c:v>
                </c:pt>
                <c:pt idx="69">
                  <c:v>45510</c:v>
                </c:pt>
                <c:pt idx="70">
                  <c:v>45509</c:v>
                </c:pt>
                <c:pt idx="71">
                  <c:v>45506</c:v>
                </c:pt>
                <c:pt idx="72">
                  <c:v>45505</c:v>
                </c:pt>
                <c:pt idx="73">
                  <c:v>45504</c:v>
                </c:pt>
                <c:pt idx="74">
                  <c:v>45503</c:v>
                </c:pt>
                <c:pt idx="75">
                  <c:v>45502</c:v>
                </c:pt>
                <c:pt idx="76">
                  <c:v>45499</c:v>
                </c:pt>
                <c:pt idx="77">
                  <c:v>45498</c:v>
                </c:pt>
                <c:pt idx="78">
                  <c:v>45497</c:v>
                </c:pt>
                <c:pt idx="79">
                  <c:v>45496</c:v>
                </c:pt>
                <c:pt idx="80">
                  <c:v>45495</c:v>
                </c:pt>
                <c:pt idx="81">
                  <c:v>45492</c:v>
                </c:pt>
                <c:pt idx="82">
                  <c:v>45491</c:v>
                </c:pt>
                <c:pt idx="83">
                  <c:v>45490</c:v>
                </c:pt>
                <c:pt idx="84">
                  <c:v>45489</c:v>
                </c:pt>
                <c:pt idx="85">
                  <c:v>45488</c:v>
                </c:pt>
                <c:pt idx="86">
                  <c:v>45485</c:v>
                </c:pt>
                <c:pt idx="87">
                  <c:v>45484</c:v>
                </c:pt>
                <c:pt idx="88">
                  <c:v>45483</c:v>
                </c:pt>
                <c:pt idx="89">
                  <c:v>45482</c:v>
                </c:pt>
                <c:pt idx="90">
                  <c:v>45481</c:v>
                </c:pt>
                <c:pt idx="91">
                  <c:v>45478</c:v>
                </c:pt>
                <c:pt idx="92">
                  <c:v>45477</c:v>
                </c:pt>
                <c:pt idx="93">
                  <c:v>45476</c:v>
                </c:pt>
                <c:pt idx="94">
                  <c:v>45475</c:v>
                </c:pt>
                <c:pt idx="95">
                  <c:v>45474</c:v>
                </c:pt>
                <c:pt idx="96">
                  <c:v>45471</c:v>
                </c:pt>
                <c:pt idx="97">
                  <c:v>45470</c:v>
                </c:pt>
                <c:pt idx="98">
                  <c:v>45469</c:v>
                </c:pt>
                <c:pt idx="99">
                  <c:v>45468</c:v>
                </c:pt>
                <c:pt idx="100">
                  <c:v>45467</c:v>
                </c:pt>
                <c:pt idx="101">
                  <c:v>45464</c:v>
                </c:pt>
                <c:pt idx="102">
                  <c:v>45463</c:v>
                </c:pt>
                <c:pt idx="103">
                  <c:v>45462</c:v>
                </c:pt>
                <c:pt idx="104">
                  <c:v>45461</c:v>
                </c:pt>
                <c:pt idx="105">
                  <c:v>45460</c:v>
                </c:pt>
                <c:pt idx="106">
                  <c:v>45457</c:v>
                </c:pt>
                <c:pt idx="107">
                  <c:v>45456</c:v>
                </c:pt>
                <c:pt idx="108">
                  <c:v>45455</c:v>
                </c:pt>
                <c:pt idx="109">
                  <c:v>45454</c:v>
                </c:pt>
                <c:pt idx="110">
                  <c:v>45453</c:v>
                </c:pt>
                <c:pt idx="111">
                  <c:v>45450</c:v>
                </c:pt>
                <c:pt idx="112">
                  <c:v>45449</c:v>
                </c:pt>
                <c:pt idx="113">
                  <c:v>45448</c:v>
                </c:pt>
                <c:pt idx="114">
                  <c:v>45447</c:v>
                </c:pt>
                <c:pt idx="115">
                  <c:v>45446</c:v>
                </c:pt>
                <c:pt idx="116">
                  <c:v>45443</c:v>
                </c:pt>
                <c:pt idx="117">
                  <c:v>45442</c:v>
                </c:pt>
                <c:pt idx="118">
                  <c:v>45441</c:v>
                </c:pt>
                <c:pt idx="119">
                  <c:v>45440</c:v>
                </c:pt>
                <c:pt idx="120">
                  <c:v>45439</c:v>
                </c:pt>
                <c:pt idx="121">
                  <c:v>45436</c:v>
                </c:pt>
                <c:pt idx="122">
                  <c:v>45435</c:v>
                </c:pt>
                <c:pt idx="123">
                  <c:v>45434</c:v>
                </c:pt>
                <c:pt idx="124">
                  <c:v>45433</c:v>
                </c:pt>
                <c:pt idx="125">
                  <c:v>45432</c:v>
                </c:pt>
                <c:pt idx="126">
                  <c:v>45429</c:v>
                </c:pt>
                <c:pt idx="127">
                  <c:v>45428</c:v>
                </c:pt>
                <c:pt idx="128">
                  <c:v>45427</c:v>
                </c:pt>
                <c:pt idx="129">
                  <c:v>45426</c:v>
                </c:pt>
                <c:pt idx="130">
                  <c:v>45425</c:v>
                </c:pt>
                <c:pt idx="131">
                  <c:v>45422</c:v>
                </c:pt>
                <c:pt idx="132">
                  <c:v>45421</c:v>
                </c:pt>
                <c:pt idx="133">
                  <c:v>45420</c:v>
                </c:pt>
                <c:pt idx="134">
                  <c:v>45419</c:v>
                </c:pt>
                <c:pt idx="135">
                  <c:v>45418</c:v>
                </c:pt>
                <c:pt idx="136">
                  <c:v>45415</c:v>
                </c:pt>
                <c:pt idx="137">
                  <c:v>45414</c:v>
                </c:pt>
                <c:pt idx="138">
                  <c:v>45413</c:v>
                </c:pt>
                <c:pt idx="139">
                  <c:v>45412</c:v>
                </c:pt>
                <c:pt idx="140">
                  <c:v>45411</c:v>
                </c:pt>
                <c:pt idx="141">
                  <c:v>45408</c:v>
                </c:pt>
                <c:pt idx="142">
                  <c:v>45407</c:v>
                </c:pt>
                <c:pt idx="143">
                  <c:v>45406</c:v>
                </c:pt>
                <c:pt idx="144">
                  <c:v>45405</c:v>
                </c:pt>
                <c:pt idx="145">
                  <c:v>45404</c:v>
                </c:pt>
                <c:pt idx="146">
                  <c:v>45401</c:v>
                </c:pt>
                <c:pt idx="147">
                  <c:v>45400</c:v>
                </c:pt>
                <c:pt idx="148">
                  <c:v>45399</c:v>
                </c:pt>
                <c:pt idx="149">
                  <c:v>45398</c:v>
                </c:pt>
                <c:pt idx="150">
                  <c:v>45397</c:v>
                </c:pt>
                <c:pt idx="151">
                  <c:v>45394</c:v>
                </c:pt>
                <c:pt idx="152">
                  <c:v>45393</c:v>
                </c:pt>
                <c:pt idx="153">
                  <c:v>45392</c:v>
                </c:pt>
                <c:pt idx="154">
                  <c:v>45391</c:v>
                </c:pt>
                <c:pt idx="155">
                  <c:v>45390</c:v>
                </c:pt>
                <c:pt idx="156">
                  <c:v>45387</c:v>
                </c:pt>
                <c:pt idx="157">
                  <c:v>45386</c:v>
                </c:pt>
                <c:pt idx="158">
                  <c:v>45385</c:v>
                </c:pt>
                <c:pt idx="159">
                  <c:v>45384</c:v>
                </c:pt>
                <c:pt idx="160">
                  <c:v>45383</c:v>
                </c:pt>
                <c:pt idx="161">
                  <c:v>45380</c:v>
                </c:pt>
                <c:pt idx="162">
                  <c:v>45379</c:v>
                </c:pt>
                <c:pt idx="163">
                  <c:v>45378</c:v>
                </c:pt>
                <c:pt idx="164">
                  <c:v>45377</c:v>
                </c:pt>
                <c:pt idx="165">
                  <c:v>45376</c:v>
                </c:pt>
                <c:pt idx="166">
                  <c:v>45373</c:v>
                </c:pt>
                <c:pt idx="167">
                  <c:v>45372</c:v>
                </c:pt>
                <c:pt idx="168">
                  <c:v>45371</c:v>
                </c:pt>
                <c:pt idx="169">
                  <c:v>45370</c:v>
                </c:pt>
                <c:pt idx="170">
                  <c:v>45369</c:v>
                </c:pt>
                <c:pt idx="171">
                  <c:v>45366</c:v>
                </c:pt>
                <c:pt idx="172">
                  <c:v>45365</c:v>
                </c:pt>
                <c:pt idx="173">
                  <c:v>45364</c:v>
                </c:pt>
                <c:pt idx="174">
                  <c:v>45363</c:v>
                </c:pt>
                <c:pt idx="175">
                  <c:v>45362</c:v>
                </c:pt>
                <c:pt idx="176">
                  <c:v>45359</c:v>
                </c:pt>
                <c:pt idx="177">
                  <c:v>45358</c:v>
                </c:pt>
                <c:pt idx="178">
                  <c:v>45357</c:v>
                </c:pt>
                <c:pt idx="179">
                  <c:v>45356</c:v>
                </c:pt>
                <c:pt idx="180">
                  <c:v>45355</c:v>
                </c:pt>
                <c:pt idx="181">
                  <c:v>45352</c:v>
                </c:pt>
                <c:pt idx="182">
                  <c:v>45351</c:v>
                </c:pt>
                <c:pt idx="183">
                  <c:v>45350</c:v>
                </c:pt>
                <c:pt idx="184">
                  <c:v>45349</c:v>
                </c:pt>
                <c:pt idx="185">
                  <c:v>45348</c:v>
                </c:pt>
                <c:pt idx="186">
                  <c:v>45345</c:v>
                </c:pt>
                <c:pt idx="187">
                  <c:v>45344</c:v>
                </c:pt>
                <c:pt idx="188">
                  <c:v>45343</c:v>
                </c:pt>
                <c:pt idx="189">
                  <c:v>45342</c:v>
                </c:pt>
                <c:pt idx="190">
                  <c:v>45341</c:v>
                </c:pt>
                <c:pt idx="191">
                  <c:v>45338</c:v>
                </c:pt>
                <c:pt idx="192">
                  <c:v>45337</c:v>
                </c:pt>
                <c:pt idx="193">
                  <c:v>45336</c:v>
                </c:pt>
                <c:pt idx="194">
                  <c:v>45335</c:v>
                </c:pt>
                <c:pt idx="195">
                  <c:v>45334</c:v>
                </c:pt>
                <c:pt idx="196">
                  <c:v>45331</c:v>
                </c:pt>
                <c:pt idx="197">
                  <c:v>45330</c:v>
                </c:pt>
                <c:pt idx="198">
                  <c:v>45329</c:v>
                </c:pt>
                <c:pt idx="199">
                  <c:v>45328</c:v>
                </c:pt>
                <c:pt idx="200">
                  <c:v>45327</c:v>
                </c:pt>
                <c:pt idx="201">
                  <c:v>45324</c:v>
                </c:pt>
                <c:pt idx="202">
                  <c:v>45323</c:v>
                </c:pt>
                <c:pt idx="203">
                  <c:v>45322</c:v>
                </c:pt>
                <c:pt idx="204">
                  <c:v>45321</c:v>
                </c:pt>
                <c:pt idx="205">
                  <c:v>45320</c:v>
                </c:pt>
                <c:pt idx="206">
                  <c:v>45317</c:v>
                </c:pt>
                <c:pt idx="207">
                  <c:v>45316</c:v>
                </c:pt>
                <c:pt idx="208">
                  <c:v>45315</c:v>
                </c:pt>
                <c:pt idx="209">
                  <c:v>45314</c:v>
                </c:pt>
                <c:pt idx="210">
                  <c:v>45313</c:v>
                </c:pt>
                <c:pt idx="211">
                  <c:v>45310</c:v>
                </c:pt>
                <c:pt idx="212">
                  <c:v>45309</c:v>
                </c:pt>
                <c:pt idx="213">
                  <c:v>45308</c:v>
                </c:pt>
                <c:pt idx="214">
                  <c:v>45307</c:v>
                </c:pt>
                <c:pt idx="215">
                  <c:v>45306</c:v>
                </c:pt>
                <c:pt idx="216">
                  <c:v>45303</c:v>
                </c:pt>
                <c:pt idx="217">
                  <c:v>45302</c:v>
                </c:pt>
                <c:pt idx="218">
                  <c:v>45301</c:v>
                </c:pt>
                <c:pt idx="219">
                  <c:v>45300</c:v>
                </c:pt>
                <c:pt idx="220">
                  <c:v>45299</c:v>
                </c:pt>
                <c:pt idx="221">
                  <c:v>45296</c:v>
                </c:pt>
                <c:pt idx="222">
                  <c:v>45295</c:v>
                </c:pt>
                <c:pt idx="223">
                  <c:v>45294</c:v>
                </c:pt>
                <c:pt idx="224">
                  <c:v>45293</c:v>
                </c:pt>
                <c:pt idx="225">
                  <c:v>45292</c:v>
                </c:pt>
                <c:pt idx="226">
                  <c:v>45289</c:v>
                </c:pt>
                <c:pt idx="227">
                  <c:v>45288</c:v>
                </c:pt>
                <c:pt idx="228">
                  <c:v>45287</c:v>
                </c:pt>
                <c:pt idx="229">
                  <c:v>45286</c:v>
                </c:pt>
                <c:pt idx="230">
                  <c:v>45285</c:v>
                </c:pt>
                <c:pt idx="231">
                  <c:v>45282</c:v>
                </c:pt>
                <c:pt idx="232">
                  <c:v>45281</c:v>
                </c:pt>
                <c:pt idx="233">
                  <c:v>45280</c:v>
                </c:pt>
                <c:pt idx="234">
                  <c:v>45279</c:v>
                </c:pt>
                <c:pt idx="235">
                  <c:v>45278</c:v>
                </c:pt>
                <c:pt idx="236">
                  <c:v>45275</c:v>
                </c:pt>
                <c:pt idx="237">
                  <c:v>45274</c:v>
                </c:pt>
                <c:pt idx="238">
                  <c:v>45273</c:v>
                </c:pt>
                <c:pt idx="239">
                  <c:v>45272</c:v>
                </c:pt>
                <c:pt idx="240">
                  <c:v>45271</c:v>
                </c:pt>
                <c:pt idx="241">
                  <c:v>45268</c:v>
                </c:pt>
                <c:pt idx="242">
                  <c:v>45267</c:v>
                </c:pt>
                <c:pt idx="243">
                  <c:v>45266</c:v>
                </c:pt>
                <c:pt idx="244">
                  <c:v>45265</c:v>
                </c:pt>
                <c:pt idx="245">
                  <c:v>45264</c:v>
                </c:pt>
                <c:pt idx="246">
                  <c:v>45261</c:v>
                </c:pt>
                <c:pt idx="247">
                  <c:v>45260</c:v>
                </c:pt>
                <c:pt idx="248">
                  <c:v>45259</c:v>
                </c:pt>
                <c:pt idx="249">
                  <c:v>45258</c:v>
                </c:pt>
                <c:pt idx="250">
                  <c:v>45257</c:v>
                </c:pt>
                <c:pt idx="251">
                  <c:v>45254</c:v>
                </c:pt>
                <c:pt idx="252">
                  <c:v>45253</c:v>
                </c:pt>
                <c:pt idx="253">
                  <c:v>45252</c:v>
                </c:pt>
                <c:pt idx="254">
                  <c:v>45251</c:v>
                </c:pt>
                <c:pt idx="255">
                  <c:v>45250</c:v>
                </c:pt>
                <c:pt idx="256">
                  <c:v>45247</c:v>
                </c:pt>
                <c:pt idx="257">
                  <c:v>45246</c:v>
                </c:pt>
                <c:pt idx="258">
                  <c:v>45245</c:v>
                </c:pt>
                <c:pt idx="259">
                  <c:v>45244</c:v>
                </c:pt>
                <c:pt idx="260">
                  <c:v>45243</c:v>
                </c:pt>
                <c:pt idx="261">
                  <c:v>45240</c:v>
                </c:pt>
                <c:pt idx="262">
                  <c:v>45239</c:v>
                </c:pt>
                <c:pt idx="263">
                  <c:v>45238</c:v>
                </c:pt>
                <c:pt idx="264">
                  <c:v>45237</c:v>
                </c:pt>
                <c:pt idx="265">
                  <c:v>45236</c:v>
                </c:pt>
                <c:pt idx="266">
                  <c:v>45233</c:v>
                </c:pt>
                <c:pt idx="267">
                  <c:v>45232</c:v>
                </c:pt>
                <c:pt idx="268">
                  <c:v>45231</c:v>
                </c:pt>
                <c:pt idx="269">
                  <c:v>45230</c:v>
                </c:pt>
                <c:pt idx="270">
                  <c:v>45229</c:v>
                </c:pt>
                <c:pt idx="271">
                  <c:v>45226</c:v>
                </c:pt>
                <c:pt idx="272">
                  <c:v>45225</c:v>
                </c:pt>
                <c:pt idx="273">
                  <c:v>45224</c:v>
                </c:pt>
                <c:pt idx="274">
                  <c:v>45223</c:v>
                </c:pt>
                <c:pt idx="275">
                  <c:v>45222</c:v>
                </c:pt>
                <c:pt idx="276">
                  <c:v>45219</c:v>
                </c:pt>
                <c:pt idx="277">
                  <c:v>45218</c:v>
                </c:pt>
                <c:pt idx="278">
                  <c:v>45217</c:v>
                </c:pt>
                <c:pt idx="279">
                  <c:v>45216</c:v>
                </c:pt>
                <c:pt idx="280">
                  <c:v>45215</c:v>
                </c:pt>
                <c:pt idx="281">
                  <c:v>45212</c:v>
                </c:pt>
                <c:pt idx="282">
                  <c:v>45211</c:v>
                </c:pt>
                <c:pt idx="283">
                  <c:v>45210</c:v>
                </c:pt>
                <c:pt idx="284">
                  <c:v>45209</c:v>
                </c:pt>
                <c:pt idx="285">
                  <c:v>45208</c:v>
                </c:pt>
                <c:pt idx="286">
                  <c:v>45205</c:v>
                </c:pt>
                <c:pt idx="287">
                  <c:v>45204</c:v>
                </c:pt>
                <c:pt idx="288">
                  <c:v>45203</c:v>
                </c:pt>
                <c:pt idx="289">
                  <c:v>45202</c:v>
                </c:pt>
                <c:pt idx="290">
                  <c:v>45201</c:v>
                </c:pt>
                <c:pt idx="291">
                  <c:v>45198</c:v>
                </c:pt>
                <c:pt idx="292">
                  <c:v>45197</c:v>
                </c:pt>
                <c:pt idx="293">
                  <c:v>45196</c:v>
                </c:pt>
                <c:pt idx="294">
                  <c:v>45195</c:v>
                </c:pt>
                <c:pt idx="295">
                  <c:v>45194</c:v>
                </c:pt>
                <c:pt idx="296">
                  <c:v>45191</c:v>
                </c:pt>
                <c:pt idx="297">
                  <c:v>45190</c:v>
                </c:pt>
                <c:pt idx="298">
                  <c:v>45189</c:v>
                </c:pt>
                <c:pt idx="299">
                  <c:v>45188</c:v>
                </c:pt>
                <c:pt idx="300">
                  <c:v>45187</c:v>
                </c:pt>
                <c:pt idx="301">
                  <c:v>45184</c:v>
                </c:pt>
                <c:pt idx="302">
                  <c:v>45183</c:v>
                </c:pt>
                <c:pt idx="303">
                  <c:v>45182</c:v>
                </c:pt>
                <c:pt idx="304">
                  <c:v>45181</c:v>
                </c:pt>
                <c:pt idx="305">
                  <c:v>45180</c:v>
                </c:pt>
                <c:pt idx="306">
                  <c:v>45177</c:v>
                </c:pt>
                <c:pt idx="307">
                  <c:v>45176</c:v>
                </c:pt>
                <c:pt idx="308">
                  <c:v>45175</c:v>
                </c:pt>
                <c:pt idx="309">
                  <c:v>45174</c:v>
                </c:pt>
                <c:pt idx="310">
                  <c:v>45173</c:v>
                </c:pt>
                <c:pt idx="311">
                  <c:v>45170</c:v>
                </c:pt>
                <c:pt idx="312">
                  <c:v>45169</c:v>
                </c:pt>
                <c:pt idx="313">
                  <c:v>45168</c:v>
                </c:pt>
                <c:pt idx="314">
                  <c:v>45167</c:v>
                </c:pt>
                <c:pt idx="315">
                  <c:v>45166</c:v>
                </c:pt>
                <c:pt idx="316">
                  <c:v>45163</c:v>
                </c:pt>
                <c:pt idx="317">
                  <c:v>45162</c:v>
                </c:pt>
                <c:pt idx="318">
                  <c:v>45161</c:v>
                </c:pt>
                <c:pt idx="319">
                  <c:v>45160</c:v>
                </c:pt>
                <c:pt idx="320">
                  <c:v>45159</c:v>
                </c:pt>
                <c:pt idx="321">
                  <c:v>45156</c:v>
                </c:pt>
                <c:pt idx="322">
                  <c:v>45155</c:v>
                </c:pt>
                <c:pt idx="323">
                  <c:v>45154</c:v>
                </c:pt>
                <c:pt idx="324">
                  <c:v>45153</c:v>
                </c:pt>
                <c:pt idx="325">
                  <c:v>45152</c:v>
                </c:pt>
                <c:pt idx="326">
                  <c:v>45149</c:v>
                </c:pt>
                <c:pt idx="327">
                  <c:v>45148</c:v>
                </c:pt>
                <c:pt idx="328">
                  <c:v>45147</c:v>
                </c:pt>
                <c:pt idx="329">
                  <c:v>45146</c:v>
                </c:pt>
                <c:pt idx="330">
                  <c:v>45145</c:v>
                </c:pt>
                <c:pt idx="331">
                  <c:v>45142</c:v>
                </c:pt>
                <c:pt idx="332">
                  <c:v>45141</c:v>
                </c:pt>
                <c:pt idx="333">
                  <c:v>45140</c:v>
                </c:pt>
                <c:pt idx="334">
                  <c:v>45139</c:v>
                </c:pt>
                <c:pt idx="335">
                  <c:v>45138</c:v>
                </c:pt>
                <c:pt idx="336">
                  <c:v>45135</c:v>
                </c:pt>
                <c:pt idx="337">
                  <c:v>45134</c:v>
                </c:pt>
                <c:pt idx="338">
                  <c:v>45133</c:v>
                </c:pt>
                <c:pt idx="339">
                  <c:v>45132</c:v>
                </c:pt>
                <c:pt idx="340">
                  <c:v>45131</c:v>
                </c:pt>
                <c:pt idx="341">
                  <c:v>45128</c:v>
                </c:pt>
                <c:pt idx="342">
                  <c:v>45127</c:v>
                </c:pt>
                <c:pt idx="343">
                  <c:v>45126</c:v>
                </c:pt>
                <c:pt idx="344">
                  <c:v>45125</c:v>
                </c:pt>
                <c:pt idx="345">
                  <c:v>45124</c:v>
                </c:pt>
                <c:pt idx="346">
                  <c:v>45121</c:v>
                </c:pt>
                <c:pt idx="347">
                  <c:v>45120</c:v>
                </c:pt>
                <c:pt idx="348">
                  <c:v>45119</c:v>
                </c:pt>
                <c:pt idx="349">
                  <c:v>45118</c:v>
                </c:pt>
                <c:pt idx="350">
                  <c:v>45117</c:v>
                </c:pt>
                <c:pt idx="351">
                  <c:v>45114</c:v>
                </c:pt>
                <c:pt idx="352">
                  <c:v>45113</c:v>
                </c:pt>
                <c:pt idx="353">
                  <c:v>45112</c:v>
                </c:pt>
                <c:pt idx="354">
                  <c:v>45111</c:v>
                </c:pt>
                <c:pt idx="355">
                  <c:v>45110</c:v>
                </c:pt>
                <c:pt idx="356">
                  <c:v>45107</c:v>
                </c:pt>
                <c:pt idx="357">
                  <c:v>45106</c:v>
                </c:pt>
                <c:pt idx="358">
                  <c:v>45105</c:v>
                </c:pt>
                <c:pt idx="359">
                  <c:v>45104</c:v>
                </c:pt>
                <c:pt idx="360">
                  <c:v>45103</c:v>
                </c:pt>
                <c:pt idx="361">
                  <c:v>45100</c:v>
                </c:pt>
                <c:pt idx="362">
                  <c:v>45099</c:v>
                </c:pt>
                <c:pt idx="363">
                  <c:v>45098</c:v>
                </c:pt>
                <c:pt idx="364">
                  <c:v>45097</c:v>
                </c:pt>
                <c:pt idx="365">
                  <c:v>45096</c:v>
                </c:pt>
                <c:pt idx="366">
                  <c:v>45093</c:v>
                </c:pt>
                <c:pt idx="367">
                  <c:v>45092</c:v>
                </c:pt>
                <c:pt idx="368">
                  <c:v>45091</c:v>
                </c:pt>
                <c:pt idx="369">
                  <c:v>45090</c:v>
                </c:pt>
                <c:pt idx="370">
                  <c:v>45089</c:v>
                </c:pt>
                <c:pt idx="371">
                  <c:v>45086</c:v>
                </c:pt>
                <c:pt idx="372">
                  <c:v>45085</c:v>
                </c:pt>
                <c:pt idx="373">
                  <c:v>45084</c:v>
                </c:pt>
                <c:pt idx="374">
                  <c:v>45083</c:v>
                </c:pt>
                <c:pt idx="375">
                  <c:v>45082</c:v>
                </c:pt>
                <c:pt idx="376">
                  <c:v>45079</c:v>
                </c:pt>
                <c:pt idx="377">
                  <c:v>45078</c:v>
                </c:pt>
                <c:pt idx="378">
                  <c:v>45077</c:v>
                </c:pt>
                <c:pt idx="379">
                  <c:v>45076</c:v>
                </c:pt>
                <c:pt idx="380">
                  <c:v>45075</c:v>
                </c:pt>
                <c:pt idx="381">
                  <c:v>45072</c:v>
                </c:pt>
                <c:pt idx="382">
                  <c:v>45071</c:v>
                </c:pt>
                <c:pt idx="383">
                  <c:v>45070</c:v>
                </c:pt>
                <c:pt idx="384">
                  <c:v>45069</c:v>
                </c:pt>
                <c:pt idx="385">
                  <c:v>45068</c:v>
                </c:pt>
                <c:pt idx="386">
                  <c:v>45065</c:v>
                </c:pt>
                <c:pt idx="387">
                  <c:v>45064</c:v>
                </c:pt>
                <c:pt idx="388">
                  <c:v>45063</c:v>
                </c:pt>
                <c:pt idx="389">
                  <c:v>45062</c:v>
                </c:pt>
                <c:pt idx="390">
                  <c:v>45061</c:v>
                </c:pt>
                <c:pt idx="391">
                  <c:v>45058</c:v>
                </c:pt>
                <c:pt idx="392">
                  <c:v>45057</c:v>
                </c:pt>
                <c:pt idx="393">
                  <c:v>45056</c:v>
                </c:pt>
                <c:pt idx="394">
                  <c:v>45055</c:v>
                </c:pt>
                <c:pt idx="395">
                  <c:v>45054</c:v>
                </c:pt>
                <c:pt idx="396">
                  <c:v>45051</c:v>
                </c:pt>
                <c:pt idx="397">
                  <c:v>45050</c:v>
                </c:pt>
                <c:pt idx="398">
                  <c:v>45049</c:v>
                </c:pt>
                <c:pt idx="399">
                  <c:v>45048</c:v>
                </c:pt>
                <c:pt idx="400">
                  <c:v>45047</c:v>
                </c:pt>
                <c:pt idx="401">
                  <c:v>45044</c:v>
                </c:pt>
                <c:pt idx="402">
                  <c:v>45043</c:v>
                </c:pt>
                <c:pt idx="403">
                  <c:v>45042</c:v>
                </c:pt>
                <c:pt idx="404">
                  <c:v>45041</c:v>
                </c:pt>
                <c:pt idx="405">
                  <c:v>45040</c:v>
                </c:pt>
                <c:pt idx="406">
                  <c:v>45037</c:v>
                </c:pt>
                <c:pt idx="407">
                  <c:v>45036</c:v>
                </c:pt>
                <c:pt idx="408">
                  <c:v>45035</c:v>
                </c:pt>
                <c:pt idx="409">
                  <c:v>45034</c:v>
                </c:pt>
                <c:pt idx="410">
                  <c:v>45033</c:v>
                </c:pt>
                <c:pt idx="411">
                  <c:v>45030</c:v>
                </c:pt>
                <c:pt idx="412">
                  <c:v>45029</c:v>
                </c:pt>
                <c:pt idx="413">
                  <c:v>45028</c:v>
                </c:pt>
                <c:pt idx="414">
                  <c:v>45027</c:v>
                </c:pt>
                <c:pt idx="415">
                  <c:v>45026</c:v>
                </c:pt>
                <c:pt idx="416">
                  <c:v>45023</c:v>
                </c:pt>
                <c:pt idx="417">
                  <c:v>45022</c:v>
                </c:pt>
                <c:pt idx="418">
                  <c:v>45021</c:v>
                </c:pt>
                <c:pt idx="419">
                  <c:v>45020</c:v>
                </c:pt>
                <c:pt idx="420">
                  <c:v>45019</c:v>
                </c:pt>
                <c:pt idx="421">
                  <c:v>45016</c:v>
                </c:pt>
                <c:pt idx="422">
                  <c:v>45015</c:v>
                </c:pt>
                <c:pt idx="423">
                  <c:v>45014</c:v>
                </c:pt>
                <c:pt idx="424">
                  <c:v>45013</c:v>
                </c:pt>
                <c:pt idx="425">
                  <c:v>45012</c:v>
                </c:pt>
                <c:pt idx="426">
                  <c:v>45009</c:v>
                </c:pt>
                <c:pt idx="427">
                  <c:v>45008</c:v>
                </c:pt>
                <c:pt idx="428">
                  <c:v>45007</c:v>
                </c:pt>
                <c:pt idx="429">
                  <c:v>45006</c:v>
                </c:pt>
                <c:pt idx="430">
                  <c:v>45005</c:v>
                </c:pt>
                <c:pt idx="431">
                  <c:v>45002</c:v>
                </c:pt>
                <c:pt idx="432">
                  <c:v>45001</c:v>
                </c:pt>
                <c:pt idx="433">
                  <c:v>45000</c:v>
                </c:pt>
                <c:pt idx="434">
                  <c:v>44999</c:v>
                </c:pt>
                <c:pt idx="435">
                  <c:v>44998</c:v>
                </c:pt>
                <c:pt idx="436">
                  <c:v>44995</c:v>
                </c:pt>
                <c:pt idx="437">
                  <c:v>44994</c:v>
                </c:pt>
                <c:pt idx="438">
                  <c:v>44993</c:v>
                </c:pt>
                <c:pt idx="439">
                  <c:v>44992</c:v>
                </c:pt>
                <c:pt idx="440">
                  <c:v>44991</c:v>
                </c:pt>
                <c:pt idx="441">
                  <c:v>44988</c:v>
                </c:pt>
                <c:pt idx="442">
                  <c:v>44987</c:v>
                </c:pt>
                <c:pt idx="443">
                  <c:v>44986</c:v>
                </c:pt>
                <c:pt idx="444">
                  <c:v>44985</c:v>
                </c:pt>
                <c:pt idx="445">
                  <c:v>44984</c:v>
                </c:pt>
                <c:pt idx="446">
                  <c:v>44981</c:v>
                </c:pt>
                <c:pt idx="447">
                  <c:v>44980</c:v>
                </c:pt>
                <c:pt idx="448">
                  <c:v>44979</c:v>
                </c:pt>
                <c:pt idx="449">
                  <c:v>44978</c:v>
                </c:pt>
                <c:pt idx="450">
                  <c:v>44977</c:v>
                </c:pt>
                <c:pt idx="451">
                  <c:v>44974</c:v>
                </c:pt>
                <c:pt idx="452">
                  <c:v>44973</c:v>
                </c:pt>
                <c:pt idx="453">
                  <c:v>44972</c:v>
                </c:pt>
                <c:pt idx="454">
                  <c:v>44971</c:v>
                </c:pt>
                <c:pt idx="455">
                  <c:v>44970</c:v>
                </c:pt>
                <c:pt idx="456">
                  <c:v>44967</c:v>
                </c:pt>
                <c:pt idx="457">
                  <c:v>44966</c:v>
                </c:pt>
                <c:pt idx="458">
                  <c:v>44965</c:v>
                </c:pt>
                <c:pt idx="459">
                  <c:v>44964</c:v>
                </c:pt>
                <c:pt idx="460">
                  <c:v>44963</c:v>
                </c:pt>
                <c:pt idx="461">
                  <c:v>44960</c:v>
                </c:pt>
                <c:pt idx="462">
                  <c:v>44959</c:v>
                </c:pt>
                <c:pt idx="463">
                  <c:v>44958</c:v>
                </c:pt>
                <c:pt idx="464">
                  <c:v>44957</c:v>
                </c:pt>
                <c:pt idx="465">
                  <c:v>44956</c:v>
                </c:pt>
                <c:pt idx="466">
                  <c:v>44953</c:v>
                </c:pt>
                <c:pt idx="467">
                  <c:v>44952</c:v>
                </c:pt>
                <c:pt idx="468">
                  <c:v>44951</c:v>
                </c:pt>
                <c:pt idx="469">
                  <c:v>44950</c:v>
                </c:pt>
                <c:pt idx="470">
                  <c:v>44949</c:v>
                </c:pt>
                <c:pt idx="471">
                  <c:v>44946</c:v>
                </c:pt>
                <c:pt idx="472">
                  <c:v>44945</c:v>
                </c:pt>
                <c:pt idx="473">
                  <c:v>44944</c:v>
                </c:pt>
                <c:pt idx="474">
                  <c:v>44943</c:v>
                </c:pt>
                <c:pt idx="475">
                  <c:v>44942</c:v>
                </c:pt>
                <c:pt idx="476">
                  <c:v>44939</c:v>
                </c:pt>
                <c:pt idx="477">
                  <c:v>44938</c:v>
                </c:pt>
                <c:pt idx="478">
                  <c:v>44937</c:v>
                </c:pt>
                <c:pt idx="479">
                  <c:v>44936</c:v>
                </c:pt>
                <c:pt idx="480">
                  <c:v>44935</c:v>
                </c:pt>
                <c:pt idx="481">
                  <c:v>44932</c:v>
                </c:pt>
                <c:pt idx="482">
                  <c:v>44931</c:v>
                </c:pt>
                <c:pt idx="483">
                  <c:v>44930</c:v>
                </c:pt>
                <c:pt idx="484">
                  <c:v>44929</c:v>
                </c:pt>
                <c:pt idx="485">
                  <c:v>44928</c:v>
                </c:pt>
                <c:pt idx="486">
                  <c:v>44925</c:v>
                </c:pt>
                <c:pt idx="487">
                  <c:v>44924</c:v>
                </c:pt>
                <c:pt idx="488">
                  <c:v>44923</c:v>
                </c:pt>
                <c:pt idx="489">
                  <c:v>44922</c:v>
                </c:pt>
                <c:pt idx="490">
                  <c:v>44921</c:v>
                </c:pt>
                <c:pt idx="491">
                  <c:v>44918</c:v>
                </c:pt>
                <c:pt idx="492">
                  <c:v>44917</c:v>
                </c:pt>
                <c:pt idx="493">
                  <c:v>44916</c:v>
                </c:pt>
                <c:pt idx="494">
                  <c:v>44915</c:v>
                </c:pt>
                <c:pt idx="495">
                  <c:v>44914</c:v>
                </c:pt>
                <c:pt idx="496">
                  <c:v>44911</c:v>
                </c:pt>
                <c:pt idx="497">
                  <c:v>44910</c:v>
                </c:pt>
                <c:pt idx="498">
                  <c:v>44909</c:v>
                </c:pt>
                <c:pt idx="499">
                  <c:v>44908</c:v>
                </c:pt>
                <c:pt idx="500">
                  <c:v>44907</c:v>
                </c:pt>
                <c:pt idx="501">
                  <c:v>44904</c:v>
                </c:pt>
                <c:pt idx="502">
                  <c:v>44903</c:v>
                </c:pt>
                <c:pt idx="503">
                  <c:v>44902</c:v>
                </c:pt>
                <c:pt idx="504">
                  <c:v>44901</c:v>
                </c:pt>
                <c:pt idx="505">
                  <c:v>44900</c:v>
                </c:pt>
                <c:pt idx="506">
                  <c:v>44897</c:v>
                </c:pt>
                <c:pt idx="507">
                  <c:v>44896</c:v>
                </c:pt>
                <c:pt idx="508">
                  <c:v>44895</c:v>
                </c:pt>
                <c:pt idx="509">
                  <c:v>44894</c:v>
                </c:pt>
                <c:pt idx="510">
                  <c:v>44893</c:v>
                </c:pt>
                <c:pt idx="511">
                  <c:v>44890</c:v>
                </c:pt>
                <c:pt idx="512">
                  <c:v>44889</c:v>
                </c:pt>
                <c:pt idx="513">
                  <c:v>44888</c:v>
                </c:pt>
                <c:pt idx="514">
                  <c:v>44887</c:v>
                </c:pt>
                <c:pt idx="515">
                  <c:v>44886</c:v>
                </c:pt>
                <c:pt idx="516">
                  <c:v>44883</c:v>
                </c:pt>
                <c:pt idx="517">
                  <c:v>44882</c:v>
                </c:pt>
                <c:pt idx="518">
                  <c:v>44881</c:v>
                </c:pt>
                <c:pt idx="519">
                  <c:v>44880</c:v>
                </c:pt>
                <c:pt idx="520">
                  <c:v>44879</c:v>
                </c:pt>
                <c:pt idx="521">
                  <c:v>44876</c:v>
                </c:pt>
                <c:pt idx="522">
                  <c:v>44875</c:v>
                </c:pt>
                <c:pt idx="523">
                  <c:v>44874</c:v>
                </c:pt>
                <c:pt idx="524">
                  <c:v>44873</c:v>
                </c:pt>
                <c:pt idx="525">
                  <c:v>44872</c:v>
                </c:pt>
                <c:pt idx="526">
                  <c:v>44869</c:v>
                </c:pt>
                <c:pt idx="527">
                  <c:v>44868</c:v>
                </c:pt>
                <c:pt idx="528">
                  <c:v>44867</c:v>
                </c:pt>
                <c:pt idx="529">
                  <c:v>44866</c:v>
                </c:pt>
                <c:pt idx="530">
                  <c:v>44865</c:v>
                </c:pt>
                <c:pt idx="531">
                  <c:v>44862</c:v>
                </c:pt>
                <c:pt idx="532">
                  <c:v>44861</c:v>
                </c:pt>
                <c:pt idx="533">
                  <c:v>44860</c:v>
                </c:pt>
                <c:pt idx="534">
                  <c:v>44859</c:v>
                </c:pt>
                <c:pt idx="535">
                  <c:v>44858</c:v>
                </c:pt>
                <c:pt idx="536">
                  <c:v>44855</c:v>
                </c:pt>
                <c:pt idx="537">
                  <c:v>44854</c:v>
                </c:pt>
                <c:pt idx="538">
                  <c:v>44853</c:v>
                </c:pt>
                <c:pt idx="539">
                  <c:v>44852</c:v>
                </c:pt>
                <c:pt idx="540">
                  <c:v>44851</c:v>
                </c:pt>
                <c:pt idx="541">
                  <c:v>44848</c:v>
                </c:pt>
                <c:pt idx="542">
                  <c:v>44847</c:v>
                </c:pt>
                <c:pt idx="543">
                  <c:v>44846</c:v>
                </c:pt>
                <c:pt idx="544">
                  <c:v>44845</c:v>
                </c:pt>
                <c:pt idx="545">
                  <c:v>44844</c:v>
                </c:pt>
                <c:pt idx="546">
                  <c:v>44841</c:v>
                </c:pt>
                <c:pt idx="547">
                  <c:v>44840</c:v>
                </c:pt>
                <c:pt idx="548">
                  <c:v>44839</c:v>
                </c:pt>
                <c:pt idx="549">
                  <c:v>44838</c:v>
                </c:pt>
                <c:pt idx="550">
                  <c:v>44837</c:v>
                </c:pt>
                <c:pt idx="551">
                  <c:v>44834</c:v>
                </c:pt>
                <c:pt idx="552">
                  <c:v>44833</c:v>
                </c:pt>
                <c:pt idx="553">
                  <c:v>44832</c:v>
                </c:pt>
                <c:pt idx="554">
                  <c:v>44831</c:v>
                </c:pt>
                <c:pt idx="555">
                  <c:v>44830</c:v>
                </c:pt>
                <c:pt idx="556">
                  <c:v>44827</c:v>
                </c:pt>
                <c:pt idx="557">
                  <c:v>44826</c:v>
                </c:pt>
                <c:pt idx="558">
                  <c:v>44825</c:v>
                </c:pt>
                <c:pt idx="559">
                  <c:v>44824</c:v>
                </c:pt>
                <c:pt idx="560">
                  <c:v>44823</c:v>
                </c:pt>
                <c:pt idx="561">
                  <c:v>44820</c:v>
                </c:pt>
                <c:pt idx="562">
                  <c:v>44819</c:v>
                </c:pt>
                <c:pt idx="563">
                  <c:v>44818</c:v>
                </c:pt>
                <c:pt idx="564">
                  <c:v>44817</c:v>
                </c:pt>
                <c:pt idx="565">
                  <c:v>44816</c:v>
                </c:pt>
                <c:pt idx="566">
                  <c:v>44813</c:v>
                </c:pt>
                <c:pt idx="567">
                  <c:v>44812</c:v>
                </c:pt>
                <c:pt idx="568">
                  <c:v>44811</c:v>
                </c:pt>
                <c:pt idx="569">
                  <c:v>44810</c:v>
                </c:pt>
                <c:pt idx="570">
                  <c:v>44809</c:v>
                </c:pt>
                <c:pt idx="571">
                  <c:v>44806</c:v>
                </c:pt>
                <c:pt idx="572">
                  <c:v>44805</c:v>
                </c:pt>
                <c:pt idx="573">
                  <c:v>44804</c:v>
                </c:pt>
                <c:pt idx="574">
                  <c:v>44803</c:v>
                </c:pt>
                <c:pt idx="575">
                  <c:v>44802</c:v>
                </c:pt>
                <c:pt idx="576">
                  <c:v>44799</c:v>
                </c:pt>
                <c:pt idx="577">
                  <c:v>44798</c:v>
                </c:pt>
                <c:pt idx="578">
                  <c:v>44797</c:v>
                </c:pt>
                <c:pt idx="579">
                  <c:v>44796</c:v>
                </c:pt>
                <c:pt idx="580">
                  <c:v>44795</c:v>
                </c:pt>
                <c:pt idx="581">
                  <c:v>44792</c:v>
                </c:pt>
                <c:pt idx="582">
                  <c:v>44791</c:v>
                </c:pt>
                <c:pt idx="583">
                  <c:v>44790</c:v>
                </c:pt>
                <c:pt idx="584">
                  <c:v>44789</c:v>
                </c:pt>
                <c:pt idx="585">
                  <c:v>44788</c:v>
                </c:pt>
                <c:pt idx="586">
                  <c:v>44785</c:v>
                </c:pt>
                <c:pt idx="587">
                  <c:v>44784</c:v>
                </c:pt>
                <c:pt idx="588">
                  <c:v>44783</c:v>
                </c:pt>
                <c:pt idx="589">
                  <c:v>44782</c:v>
                </c:pt>
                <c:pt idx="590">
                  <c:v>44781</c:v>
                </c:pt>
                <c:pt idx="591">
                  <c:v>44778</c:v>
                </c:pt>
                <c:pt idx="592">
                  <c:v>44777</c:v>
                </c:pt>
                <c:pt idx="593">
                  <c:v>44776</c:v>
                </c:pt>
                <c:pt idx="594">
                  <c:v>44775</c:v>
                </c:pt>
                <c:pt idx="595">
                  <c:v>44774</c:v>
                </c:pt>
                <c:pt idx="596">
                  <c:v>44771</c:v>
                </c:pt>
                <c:pt idx="597">
                  <c:v>44770</c:v>
                </c:pt>
                <c:pt idx="598">
                  <c:v>44769</c:v>
                </c:pt>
                <c:pt idx="599">
                  <c:v>44768</c:v>
                </c:pt>
                <c:pt idx="600">
                  <c:v>44767</c:v>
                </c:pt>
                <c:pt idx="601">
                  <c:v>44764</c:v>
                </c:pt>
                <c:pt idx="602">
                  <c:v>44763</c:v>
                </c:pt>
                <c:pt idx="603">
                  <c:v>44762</c:v>
                </c:pt>
                <c:pt idx="604">
                  <c:v>44761</c:v>
                </c:pt>
                <c:pt idx="605">
                  <c:v>44760</c:v>
                </c:pt>
                <c:pt idx="606">
                  <c:v>44757</c:v>
                </c:pt>
                <c:pt idx="607">
                  <c:v>44756</c:v>
                </c:pt>
                <c:pt idx="608">
                  <c:v>44755</c:v>
                </c:pt>
                <c:pt idx="609">
                  <c:v>44754</c:v>
                </c:pt>
                <c:pt idx="610">
                  <c:v>44753</c:v>
                </c:pt>
                <c:pt idx="611">
                  <c:v>44750</c:v>
                </c:pt>
                <c:pt idx="612">
                  <c:v>44749</c:v>
                </c:pt>
                <c:pt idx="613">
                  <c:v>44748</c:v>
                </c:pt>
                <c:pt idx="614">
                  <c:v>44747</c:v>
                </c:pt>
                <c:pt idx="615">
                  <c:v>44746</c:v>
                </c:pt>
                <c:pt idx="616">
                  <c:v>44743</c:v>
                </c:pt>
                <c:pt idx="617">
                  <c:v>44742</c:v>
                </c:pt>
                <c:pt idx="618">
                  <c:v>44741</c:v>
                </c:pt>
                <c:pt idx="619">
                  <c:v>44740</c:v>
                </c:pt>
                <c:pt idx="620">
                  <c:v>44739</c:v>
                </c:pt>
                <c:pt idx="621">
                  <c:v>44736</c:v>
                </c:pt>
                <c:pt idx="622">
                  <c:v>44735</c:v>
                </c:pt>
                <c:pt idx="623">
                  <c:v>44734</c:v>
                </c:pt>
                <c:pt idx="624">
                  <c:v>44733</c:v>
                </c:pt>
                <c:pt idx="625">
                  <c:v>44732</c:v>
                </c:pt>
                <c:pt idx="626">
                  <c:v>44729</c:v>
                </c:pt>
                <c:pt idx="627">
                  <c:v>44728</c:v>
                </c:pt>
                <c:pt idx="628">
                  <c:v>44727</c:v>
                </c:pt>
                <c:pt idx="629">
                  <c:v>44726</c:v>
                </c:pt>
                <c:pt idx="630">
                  <c:v>44725</c:v>
                </c:pt>
                <c:pt idx="631">
                  <c:v>44722</c:v>
                </c:pt>
                <c:pt idx="632">
                  <c:v>44721</c:v>
                </c:pt>
                <c:pt idx="633">
                  <c:v>44720</c:v>
                </c:pt>
                <c:pt idx="634">
                  <c:v>44719</c:v>
                </c:pt>
                <c:pt idx="635">
                  <c:v>44718</c:v>
                </c:pt>
                <c:pt idx="636">
                  <c:v>44715</c:v>
                </c:pt>
                <c:pt idx="637">
                  <c:v>44714</c:v>
                </c:pt>
                <c:pt idx="638">
                  <c:v>44713</c:v>
                </c:pt>
                <c:pt idx="639">
                  <c:v>44712</c:v>
                </c:pt>
                <c:pt idx="640">
                  <c:v>44711</c:v>
                </c:pt>
                <c:pt idx="641">
                  <c:v>44708</c:v>
                </c:pt>
                <c:pt idx="642">
                  <c:v>44707</c:v>
                </c:pt>
                <c:pt idx="643">
                  <c:v>44706</c:v>
                </c:pt>
                <c:pt idx="644">
                  <c:v>44705</c:v>
                </c:pt>
                <c:pt idx="645">
                  <c:v>44704</c:v>
                </c:pt>
                <c:pt idx="646">
                  <c:v>44701</c:v>
                </c:pt>
                <c:pt idx="647">
                  <c:v>44700</c:v>
                </c:pt>
                <c:pt idx="648">
                  <c:v>44699</c:v>
                </c:pt>
                <c:pt idx="649">
                  <c:v>44698</c:v>
                </c:pt>
                <c:pt idx="650">
                  <c:v>44697</c:v>
                </c:pt>
                <c:pt idx="651">
                  <c:v>44694</c:v>
                </c:pt>
                <c:pt idx="652">
                  <c:v>44693</c:v>
                </c:pt>
                <c:pt idx="653">
                  <c:v>44692</c:v>
                </c:pt>
                <c:pt idx="654">
                  <c:v>44691</c:v>
                </c:pt>
                <c:pt idx="655">
                  <c:v>44690</c:v>
                </c:pt>
                <c:pt idx="656">
                  <c:v>44687</c:v>
                </c:pt>
                <c:pt idx="657">
                  <c:v>44686</c:v>
                </c:pt>
                <c:pt idx="658">
                  <c:v>44685</c:v>
                </c:pt>
                <c:pt idx="659">
                  <c:v>44684</c:v>
                </c:pt>
                <c:pt idx="660">
                  <c:v>44683</c:v>
                </c:pt>
                <c:pt idx="661">
                  <c:v>44680</c:v>
                </c:pt>
                <c:pt idx="662">
                  <c:v>44679</c:v>
                </c:pt>
                <c:pt idx="663">
                  <c:v>44678</c:v>
                </c:pt>
                <c:pt idx="664">
                  <c:v>44677</c:v>
                </c:pt>
                <c:pt idx="665">
                  <c:v>44676</c:v>
                </c:pt>
                <c:pt idx="666">
                  <c:v>44673</c:v>
                </c:pt>
                <c:pt idx="667">
                  <c:v>44672</c:v>
                </c:pt>
                <c:pt idx="668">
                  <c:v>44671</c:v>
                </c:pt>
                <c:pt idx="669">
                  <c:v>44670</c:v>
                </c:pt>
                <c:pt idx="670">
                  <c:v>44669</c:v>
                </c:pt>
                <c:pt idx="671">
                  <c:v>44666</c:v>
                </c:pt>
                <c:pt idx="672">
                  <c:v>44665</c:v>
                </c:pt>
                <c:pt idx="673">
                  <c:v>44664</c:v>
                </c:pt>
                <c:pt idx="674">
                  <c:v>44663</c:v>
                </c:pt>
                <c:pt idx="675">
                  <c:v>44662</c:v>
                </c:pt>
                <c:pt idx="676">
                  <c:v>44659</c:v>
                </c:pt>
                <c:pt idx="677">
                  <c:v>44658</c:v>
                </c:pt>
                <c:pt idx="678">
                  <c:v>44657</c:v>
                </c:pt>
                <c:pt idx="679">
                  <c:v>44656</c:v>
                </c:pt>
                <c:pt idx="680">
                  <c:v>44655</c:v>
                </c:pt>
                <c:pt idx="681">
                  <c:v>44652</c:v>
                </c:pt>
                <c:pt idx="682">
                  <c:v>44651</c:v>
                </c:pt>
                <c:pt idx="683">
                  <c:v>44650</c:v>
                </c:pt>
                <c:pt idx="684">
                  <c:v>44649</c:v>
                </c:pt>
                <c:pt idx="685">
                  <c:v>44648</c:v>
                </c:pt>
                <c:pt idx="686">
                  <c:v>44645</c:v>
                </c:pt>
                <c:pt idx="687">
                  <c:v>44644</c:v>
                </c:pt>
                <c:pt idx="688">
                  <c:v>44643</c:v>
                </c:pt>
                <c:pt idx="689">
                  <c:v>44642</c:v>
                </c:pt>
                <c:pt idx="690">
                  <c:v>44641</c:v>
                </c:pt>
                <c:pt idx="691">
                  <c:v>44638</c:v>
                </c:pt>
                <c:pt idx="692">
                  <c:v>44637</c:v>
                </c:pt>
                <c:pt idx="693">
                  <c:v>44636</c:v>
                </c:pt>
                <c:pt idx="694">
                  <c:v>44635</c:v>
                </c:pt>
                <c:pt idx="695">
                  <c:v>44634</c:v>
                </c:pt>
                <c:pt idx="696">
                  <c:v>44631</c:v>
                </c:pt>
                <c:pt idx="697">
                  <c:v>44630</c:v>
                </c:pt>
                <c:pt idx="698">
                  <c:v>44629</c:v>
                </c:pt>
                <c:pt idx="699">
                  <c:v>44628</c:v>
                </c:pt>
                <c:pt idx="700">
                  <c:v>44627</c:v>
                </c:pt>
                <c:pt idx="701">
                  <c:v>44624</c:v>
                </c:pt>
                <c:pt idx="702">
                  <c:v>44623</c:v>
                </c:pt>
                <c:pt idx="703">
                  <c:v>44622</c:v>
                </c:pt>
                <c:pt idx="704">
                  <c:v>44621</c:v>
                </c:pt>
                <c:pt idx="705">
                  <c:v>44620</c:v>
                </c:pt>
                <c:pt idx="706">
                  <c:v>44617</c:v>
                </c:pt>
                <c:pt idx="707">
                  <c:v>44616</c:v>
                </c:pt>
                <c:pt idx="708">
                  <c:v>44615</c:v>
                </c:pt>
                <c:pt idx="709">
                  <c:v>44614</c:v>
                </c:pt>
                <c:pt idx="710">
                  <c:v>44613</c:v>
                </c:pt>
                <c:pt idx="711">
                  <c:v>44610</c:v>
                </c:pt>
                <c:pt idx="712">
                  <c:v>44609</c:v>
                </c:pt>
                <c:pt idx="713">
                  <c:v>44608</c:v>
                </c:pt>
                <c:pt idx="714">
                  <c:v>44607</c:v>
                </c:pt>
                <c:pt idx="715">
                  <c:v>44606</c:v>
                </c:pt>
                <c:pt idx="716">
                  <c:v>44603</c:v>
                </c:pt>
                <c:pt idx="717">
                  <c:v>44602</c:v>
                </c:pt>
                <c:pt idx="718">
                  <c:v>44601</c:v>
                </c:pt>
                <c:pt idx="719">
                  <c:v>44600</c:v>
                </c:pt>
                <c:pt idx="720">
                  <c:v>44599</c:v>
                </c:pt>
                <c:pt idx="721">
                  <c:v>44596</c:v>
                </c:pt>
                <c:pt idx="722">
                  <c:v>44595</c:v>
                </c:pt>
                <c:pt idx="723">
                  <c:v>44594</c:v>
                </c:pt>
                <c:pt idx="724">
                  <c:v>44593</c:v>
                </c:pt>
                <c:pt idx="725">
                  <c:v>44592</c:v>
                </c:pt>
                <c:pt idx="726">
                  <c:v>44589</c:v>
                </c:pt>
                <c:pt idx="727">
                  <c:v>44588</c:v>
                </c:pt>
                <c:pt idx="728">
                  <c:v>44587</c:v>
                </c:pt>
                <c:pt idx="729">
                  <c:v>44586</c:v>
                </c:pt>
                <c:pt idx="730">
                  <c:v>44585</c:v>
                </c:pt>
                <c:pt idx="731">
                  <c:v>44582</c:v>
                </c:pt>
                <c:pt idx="732">
                  <c:v>44581</c:v>
                </c:pt>
                <c:pt idx="733">
                  <c:v>44580</c:v>
                </c:pt>
                <c:pt idx="734">
                  <c:v>44579</c:v>
                </c:pt>
                <c:pt idx="735">
                  <c:v>44578</c:v>
                </c:pt>
                <c:pt idx="736">
                  <c:v>44575</c:v>
                </c:pt>
                <c:pt idx="737">
                  <c:v>44574</c:v>
                </c:pt>
                <c:pt idx="738">
                  <c:v>44573</c:v>
                </c:pt>
                <c:pt idx="739">
                  <c:v>44572</c:v>
                </c:pt>
                <c:pt idx="740">
                  <c:v>44571</c:v>
                </c:pt>
                <c:pt idx="741">
                  <c:v>44568</c:v>
                </c:pt>
                <c:pt idx="742">
                  <c:v>44567</c:v>
                </c:pt>
                <c:pt idx="743">
                  <c:v>44566</c:v>
                </c:pt>
                <c:pt idx="744">
                  <c:v>44565</c:v>
                </c:pt>
                <c:pt idx="745">
                  <c:v>44564</c:v>
                </c:pt>
                <c:pt idx="746">
                  <c:v>44561</c:v>
                </c:pt>
                <c:pt idx="747">
                  <c:v>44560</c:v>
                </c:pt>
                <c:pt idx="748">
                  <c:v>44559</c:v>
                </c:pt>
                <c:pt idx="749">
                  <c:v>44558</c:v>
                </c:pt>
                <c:pt idx="750">
                  <c:v>44557</c:v>
                </c:pt>
                <c:pt idx="751">
                  <c:v>44554</c:v>
                </c:pt>
                <c:pt idx="752">
                  <c:v>44553</c:v>
                </c:pt>
                <c:pt idx="753">
                  <c:v>44552</c:v>
                </c:pt>
                <c:pt idx="754">
                  <c:v>44551</c:v>
                </c:pt>
                <c:pt idx="755">
                  <c:v>44550</c:v>
                </c:pt>
                <c:pt idx="756">
                  <c:v>44547</c:v>
                </c:pt>
                <c:pt idx="757">
                  <c:v>44546</c:v>
                </c:pt>
                <c:pt idx="758">
                  <c:v>44545</c:v>
                </c:pt>
                <c:pt idx="759">
                  <c:v>44544</c:v>
                </c:pt>
                <c:pt idx="760">
                  <c:v>44543</c:v>
                </c:pt>
                <c:pt idx="761">
                  <c:v>44540</c:v>
                </c:pt>
                <c:pt idx="762">
                  <c:v>44539</c:v>
                </c:pt>
                <c:pt idx="763">
                  <c:v>44538</c:v>
                </c:pt>
                <c:pt idx="764">
                  <c:v>44537</c:v>
                </c:pt>
                <c:pt idx="765">
                  <c:v>44536</c:v>
                </c:pt>
                <c:pt idx="766">
                  <c:v>44533</c:v>
                </c:pt>
                <c:pt idx="767">
                  <c:v>44532</c:v>
                </c:pt>
                <c:pt idx="768">
                  <c:v>44531</c:v>
                </c:pt>
                <c:pt idx="769">
                  <c:v>44530</c:v>
                </c:pt>
                <c:pt idx="770">
                  <c:v>44529</c:v>
                </c:pt>
                <c:pt idx="771">
                  <c:v>44526</c:v>
                </c:pt>
                <c:pt idx="772">
                  <c:v>44525</c:v>
                </c:pt>
                <c:pt idx="773">
                  <c:v>44524</c:v>
                </c:pt>
                <c:pt idx="774">
                  <c:v>44523</c:v>
                </c:pt>
                <c:pt idx="775">
                  <c:v>44522</c:v>
                </c:pt>
                <c:pt idx="776">
                  <c:v>44519</c:v>
                </c:pt>
                <c:pt idx="777">
                  <c:v>44518</c:v>
                </c:pt>
                <c:pt idx="778">
                  <c:v>44517</c:v>
                </c:pt>
                <c:pt idx="779">
                  <c:v>44516</c:v>
                </c:pt>
                <c:pt idx="780">
                  <c:v>44515</c:v>
                </c:pt>
                <c:pt idx="781">
                  <c:v>44512</c:v>
                </c:pt>
                <c:pt idx="782">
                  <c:v>44511</c:v>
                </c:pt>
                <c:pt idx="783">
                  <c:v>44510</c:v>
                </c:pt>
                <c:pt idx="784">
                  <c:v>44509</c:v>
                </c:pt>
                <c:pt idx="785">
                  <c:v>44508</c:v>
                </c:pt>
                <c:pt idx="786">
                  <c:v>44505</c:v>
                </c:pt>
                <c:pt idx="787">
                  <c:v>44504</c:v>
                </c:pt>
                <c:pt idx="788">
                  <c:v>44503</c:v>
                </c:pt>
                <c:pt idx="789">
                  <c:v>44502</c:v>
                </c:pt>
                <c:pt idx="790">
                  <c:v>44501</c:v>
                </c:pt>
                <c:pt idx="791">
                  <c:v>44498</c:v>
                </c:pt>
                <c:pt idx="792">
                  <c:v>44497</c:v>
                </c:pt>
                <c:pt idx="793">
                  <c:v>44496</c:v>
                </c:pt>
                <c:pt idx="794">
                  <c:v>44495</c:v>
                </c:pt>
                <c:pt idx="795">
                  <c:v>44494</c:v>
                </c:pt>
                <c:pt idx="796">
                  <c:v>44491</c:v>
                </c:pt>
                <c:pt idx="797">
                  <c:v>44490</c:v>
                </c:pt>
                <c:pt idx="798">
                  <c:v>44489</c:v>
                </c:pt>
                <c:pt idx="799">
                  <c:v>44488</c:v>
                </c:pt>
                <c:pt idx="800">
                  <c:v>44487</c:v>
                </c:pt>
                <c:pt idx="801">
                  <c:v>44484</c:v>
                </c:pt>
                <c:pt idx="802">
                  <c:v>44483</c:v>
                </c:pt>
                <c:pt idx="803">
                  <c:v>44482</c:v>
                </c:pt>
                <c:pt idx="804">
                  <c:v>44481</c:v>
                </c:pt>
                <c:pt idx="805">
                  <c:v>44480</c:v>
                </c:pt>
                <c:pt idx="806">
                  <c:v>44477</c:v>
                </c:pt>
                <c:pt idx="807">
                  <c:v>44476</c:v>
                </c:pt>
                <c:pt idx="808">
                  <c:v>44475</c:v>
                </c:pt>
                <c:pt idx="809">
                  <c:v>44474</c:v>
                </c:pt>
                <c:pt idx="810">
                  <c:v>44473</c:v>
                </c:pt>
                <c:pt idx="811">
                  <c:v>44470</c:v>
                </c:pt>
                <c:pt idx="812">
                  <c:v>44469</c:v>
                </c:pt>
                <c:pt idx="813">
                  <c:v>44468</c:v>
                </c:pt>
                <c:pt idx="814">
                  <c:v>44467</c:v>
                </c:pt>
                <c:pt idx="815">
                  <c:v>44466</c:v>
                </c:pt>
                <c:pt idx="816">
                  <c:v>44463</c:v>
                </c:pt>
                <c:pt idx="817">
                  <c:v>44462</c:v>
                </c:pt>
                <c:pt idx="818">
                  <c:v>44461</c:v>
                </c:pt>
                <c:pt idx="819">
                  <c:v>44460</c:v>
                </c:pt>
                <c:pt idx="820">
                  <c:v>44459</c:v>
                </c:pt>
                <c:pt idx="821">
                  <c:v>44456</c:v>
                </c:pt>
                <c:pt idx="822">
                  <c:v>44455</c:v>
                </c:pt>
                <c:pt idx="823">
                  <c:v>44454</c:v>
                </c:pt>
                <c:pt idx="824">
                  <c:v>44453</c:v>
                </c:pt>
                <c:pt idx="825">
                  <c:v>44452</c:v>
                </c:pt>
                <c:pt idx="826">
                  <c:v>44449</c:v>
                </c:pt>
                <c:pt idx="827">
                  <c:v>44448</c:v>
                </c:pt>
                <c:pt idx="828">
                  <c:v>44447</c:v>
                </c:pt>
                <c:pt idx="829">
                  <c:v>44446</c:v>
                </c:pt>
                <c:pt idx="830">
                  <c:v>44445</c:v>
                </c:pt>
                <c:pt idx="831">
                  <c:v>44442</c:v>
                </c:pt>
                <c:pt idx="832">
                  <c:v>44441</c:v>
                </c:pt>
                <c:pt idx="833">
                  <c:v>44440</c:v>
                </c:pt>
                <c:pt idx="834">
                  <c:v>44439</c:v>
                </c:pt>
                <c:pt idx="835">
                  <c:v>44438</c:v>
                </c:pt>
                <c:pt idx="836">
                  <c:v>44435</c:v>
                </c:pt>
                <c:pt idx="837">
                  <c:v>44434</c:v>
                </c:pt>
                <c:pt idx="838">
                  <c:v>44433</c:v>
                </c:pt>
                <c:pt idx="839">
                  <c:v>44432</c:v>
                </c:pt>
                <c:pt idx="840">
                  <c:v>44431</c:v>
                </c:pt>
                <c:pt idx="841">
                  <c:v>44428</c:v>
                </c:pt>
                <c:pt idx="842">
                  <c:v>44427</c:v>
                </c:pt>
                <c:pt idx="843">
                  <c:v>44426</c:v>
                </c:pt>
                <c:pt idx="844">
                  <c:v>44425</c:v>
                </c:pt>
                <c:pt idx="845">
                  <c:v>44424</c:v>
                </c:pt>
                <c:pt idx="846">
                  <c:v>44421</c:v>
                </c:pt>
                <c:pt idx="847">
                  <c:v>44420</c:v>
                </c:pt>
                <c:pt idx="848">
                  <c:v>44419</c:v>
                </c:pt>
                <c:pt idx="849">
                  <c:v>44418</c:v>
                </c:pt>
                <c:pt idx="850">
                  <c:v>44417</c:v>
                </c:pt>
                <c:pt idx="851">
                  <c:v>44414</c:v>
                </c:pt>
                <c:pt idx="852">
                  <c:v>44413</c:v>
                </c:pt>
                <c:pt idx="853">
                  <c:v>44412</c:v>
                </c:pt>
                <c:pt idx="854">
                  <c:v>44411</c:v>
                </c:pt>
                <c:pt idx="855">
                  <c:v>44410</c:v>
                </c:pt>
                <c:pt idx="856">
                  <c:v>44407</c:v>
                </c:pt>
                <c:pt idx="857">
                  <c:v>44406</c:v>
                </c:pt>
                <c:pt idx="858">
                  <c:v>44405</c:v>
                </c:pt>
                <c:pt idx="859">
                  <c:v>44404</c:v>
                </c:pt>
                <c:pt idx="860">
                  <c:v>44403</c:v>
                </c:pt>
                <c:pt idx="861">
                  <c:v>44400</c:v>
                </c:pt>
                <c:pt idx="862">
                  <c:v>44399</c:v>
                </c:pt>
                <c:pt idx="863">
                  <c:v>44398</c:v>
                </c:pt>
                <c:pt idx="864">
                  <c:v>44397</c:v>
                </c:pt>
                <c:pt idx="865">
                  <c:v>44396</c:v>
                </c:pt>
                <c:pt idx="866">
                  <c:v>44393</c:v>
                </c:pt>
                <c:pt idx="867">
                  <c:v>44392</c:v>
                </c:pt>
                <c:pt idx="868">
                  <c:v>44391</c:v>
                </c:pt>
                <c:pt idx="869">
                  <c:v>44390</c:v>
                </c:pt>
                <c:pt idx="870">
                  <c:v>44389</c:v>
                </c:pt>
                <c:pt idx="871">
                  <c:v>44386</c:v>
                </c:pt>
                <c:pt idx="872">
                  <c:v>44385</c:v>
                </c:pt>
                <c:pt idx="873">
                  <c:v>44384</c:v>
                </c:pt>
                <c:pt idx="874">
                  <c:v>44383</c:v>
                </c:pt>
                <c:pt idx="875">
                  <c:v>44382</c:v>
                </c:pt>
                <c:pt idx="876">
                  <c:v>44379</c:v>
                </c:pt>
                <c:pt idx="877">
                  <c:v>44378</c:v>
                </c:pt>
                <c:pt idx="878">
                  <c:v>44377</c:v>
                </c:pt>
                <c:pt idx="879">
                  <c:v>44376</c:v>
                </c:pt>
                <c:pt idx="880">
                  <c:v>44375</c:v>
                </c:pt>
                <c:pt idx="881">
                  <c:v>44372</c:v>
                </c:pt>
                <c:pt idx="882">
                  <c:v>44371</c:v>
                </c:pt>
                <c:pt idx="883">
                  <c:v>44370</c:v>
                </c:pt>
                <c:pt idx="884">
                  <c:v>44369</c:v>
                </c:pt>
                <c:pt idx="885">
                  <c:v>44368</c:v>
                </c:pt>
                <c:pt idx="886">
                  <c:v>44365</c:v>
                </c:pt>
                <c:pt idx="887">
                  <c:v>44364</c:v>
                </c:pt>
                <c:pt idx="888">
                  <c:v>44363</c:v>
                </c:pt>
                <c:pt idx="889">
                  <c:v>44362</c:v>
                </c:pt>
                <c:pt idx="890">
                  <c:v>44361</c:v>
                </c:pt>
                <c:pt idx="891">
                  <c:v>44358</c:v>
                </c:pt>
                <c:pt idx="892">
                  <c:v>44357</c:v>
                </c:pt>
                <c:pt idx="893">
                  <c:v>44356</c:v>
                </c:pt>
                <c:pt idx="894">
                  <c:v>44355</c:v>
                </c:pt>
                <c:pt idx="895">
                  <c:v>44354</c:v>
                </c:pt>
                <c:pt idx="896">
                  <c:v>44351</c:v>
                </c:pt>
                <c:pt idx="897">
                  <c:v>44350</c:v>
                </c:pt>
                <c:pt idx="898">
                  <c:v>44349</c:v>
                </c:pt>
                <c:pt idx="899">
                  <c:v>44348</c:v>
                </c:pt>
                <c:pt idx="900">
                  <c:v>44347</c:v>
                </c:pt>
                <c:pt idx="901">
                  <c:v>44344</c:v>
                </c:pt>
                <c:pt idx="902">
                  <c:v>44343</c:v>
                </c:pt>
                <c:pt idx="903">
                  <c:v>44342</c:v>
                </c:pt>
                <c:pt idx="904">
                  <c:v>44341</c:v>
                </c:pt>
                <c:pt idx="905">
                  <c:v>44340</c:v>
                </c:pt>
                <c:pt idx="906">
                  <c:v>44337</c:v>
                </c:pt>
                <c:pt idx="907">
                  <c:v>44336</c:v>
                </c:pt>
                <c:pt idx="908">
                  <c:v>44335</c:v>
                </c:pt>
                <c:pt idx="909">
                  <c:v>44334</c:v>
                </c:pt>
                <c:pt idx="910">
                  <c:v>44333</c:v>
                </c:pt>
                <c:pt idx="911">
                  <c:v>44330</c:v>
                </c:pt>
                <c:pt idx="912">
                  <c:v>44329</c:v>
                </c:pt>
                <c:pt idx="913">
                  <c:v>44328</c:v>
                </c:pt>
                <c:pt idx="914">
                  <c:v>44327</c:v>
                </c:pt>
                <c:pt idx="915">
                  <c:v>44326</c:v>
                </c:pt>
                <c:pt idx="916">
                  <c:v>44323</c:v>
                </c:pt>
                <c:pt idx="917">
                  <c:v>44322</c:v>
                </c:pt>
                <c:pt idx="918">
                  <c:v>44321</c:v>
                </c:pt>
                <c:pt idx="919">
                  <c:v>44320</c:v>
                </c:pt>
                <c:pt idx="920">
                  <c:v>44319</c:v>
                </c:pt>
                <c:pt idx="921">
                  <c:v>44316</c:v>
                </c:pt>
                <c:pt idx="922">
                  <c:v>44315</c:v>
                </c:pt>
                <c:pt idx="923">
                  <c:v>44314</c:v>
                </c:pt>
                <c:pt idx="924">
                  <c:v>44313</c:v>
                </c:pt>
                <c:pt idx="925">
                  <c:v>44312</c:v>
                </c:pt>
                <c:pt idx="926">
                  <c:v>44309</c:v>
                </c:pt>
                <c:pt idx="927">
                  <c:v>44308</c:v>
                </c:pt>
                <c:pt idx="928">
                  <c:v>44307</c:v>
                </c:pt>
                <c:pt idx="929">
                  <c:v>44306</c:v>
                </c:pt>
                <c:pt idx="930">
                  <c:v>44305</c:v>
                </c:pt>
                <c:pt idx="931">
                  <c:v>44302</c:v>
                </c:pt>
                <c:pt idx="932">
                  <c:v>44301</c:v>
                </c:pt>
                <c:pt idx="933">
                  <c:v>44300</c:v>
                </c:pt>
                <c:pt idx="934">
                  <c:v>44299</c:v>
                </c:pt>
                <c:pt idx="935">
                  <c:v>44298</c:v>
                </c:pt>
                <c:pt idx="936">
                  <c:v>44295</c:v>
                </c:pt>
                <c:pt idx="937">
                  <c:v>44294</c:v>
                </c:pt>
                <c:pt idx="938">
                  <c:v>44293</c:v>
                </c:pt>
                <c:pt idx="939">
                  <c:v>44292</c:v>
                </c:pt>
                <c:pt idx="940">
                  <c:v>44291</c:v>
                </c:pt>
                <c:pt idx="941">
                  <c:v>44288</c:v>
                </c:pt>
                <c:pt idx="942">
                  <c:v>44287</c:v>
                </c:pt>
                <c:pt idx="943">
                  <c:v>44286</c:v>
                </c:pt>
                <c:pt idx="944">
                  <c:v>44285</c:v>
                </c:pt>
                <c:pt idx="945">
                  <c:v>44284</c:v>
                </c:pt>
                <c:pt idx="946">
                  <c:v>44281</c:v>
                </c:pt>
                <c:pt idx="947">
                  <c:v>44280</c:v>
                </c:pt>
                <c:pt idx="948">
                  <c:v>44279</c:v>
                </c:pt>
                <c:pt idx="949">
                  <c:v>44278</c:v>
                </c:pt>
                <c:pt idx="950">
                  <c:v>44277</c:v>
                </c:pt>
                <c:pt idx="951">
                  <c:v>44274</c:v>
                </c:pt>
                <c:pt idx="952">
                  <c:v>44273</c:v>
                </c:pt>
                <c:pt idx="953">
                  <c:v>44272</c:v>
                </c:pt>
                <c:pt idx="954">
                  <c:v>44271</c:v>
                </c:pt>
                <c:pt idx="955">
                  <c:v>44270</c:v>
                </c:pt>
                <c:pt idx="956">
                  <c:v>44267</c:v>
                </c:pt>
                <c:pt idx="957">
                  <c:v>44266</c:v>
                </c:pt>
                <c:pt idx="958">
                  <c:v>44265</c:v>
                </c:pt>
                <c:pt idx="959">
                  <c:v>44264</c:v>
                </c:pt>
                <c:pt idx="960">
                  <c:v>44263</c:v>
                </c:pt>
                <c:pt idx="961">
                  <c:v>44260</c:v>
                </c:pt>
                <c:pt idx="962">
                  <c:v>44259</c:v>
                </c:pt>
                <c:pt idx="963">
                  <c:v>44258</c:v>
                </c:pt>
                <c:pt idx="964">
                  <c:v>44257</c:v>
                </c:pt>
                <c:pt idx="965">
                  <c:v>44256</c:v>
                </c:pt>
                <c:pt idx="966">
                  <c:v>44253</c:v>
                </c:pt>
                <c:pt idx="967">
                  <c:v>44252</c:v>
                </c:pt>
                <c:pt idx="968">
                  <c:v>44251</c:v>
                </c:pt>
                <c:pt idx="969">
                  <c:v>44250</c:v>
                </c:pt>
                <c:pt idx="970">
                  <c:v>44249</c:v>
                </c:pt>
                <c:pt idx="971">
                  <c:v>44246</c:v>
                </c:pt>
                <c:pt idx="972">
                  <c:v>44245</c:v>
                </c:pt>
                <c:pt idx="973">
                  <c:v>44244</c:v>
                </c:pt>
                <c:pt idx="974">
                  <c:v>44243</c:v>
                </c:pt>
                <c:pt idx="975">
                  <c:v>44242</c:v>
                </c:pt>
                <c:pt idx="976">
                  <c:v>44239</c:v>
                </c:pt>
                <c:pt idx="977">
                  <c:v>44238</c:v>
                </c:pt>
                <c:pt idx="978">
                  <c:v>44237</c:v>
                </c:pt>
                <c:pt idx="979">
                  <c:v>44236</c:v>
                </c:pt>
                <c:pt idx="980">
                  <c:v>44235</c:v>
                </c:pt>
                <c:pt idx="981">
                  <c:v>44232</c:v>
                </c:pt>
                <c:pt idx="982">
                  <c:v>44231</c:v>
                </c:pt>
                <c:pt idx="983">
                  <c:v>44230</c:v>
                </c:pt>
                <c:pt idx="984">
                  <c:v>44229</c:v>
                </c:pt>
                <c:pt idx="985">
                  <c:v>44228</c:v>
                </c:pt>
                <c:pt idx="986">
                  <c:v>44225</c:v>
                </c:pt>
                <c:pt idx="987">
                  <c:v>44224</c:v>
                </c:pt>
                <c:pt idx="988">
                  <c:v>44223</c:v>
                </c:pt>
                <c:pt idx="989">
                  <c:v>44222</c:v>
                </c:pt>
                <c:pt idx="990">
                  <c:v>44221</c:v>
                </c:pt>
                <c:pt idx="991">
                  <c:v>44218</c:v>
                </c:pt>
                <c:pt idx="992">
                  <c:v>44217</c:v>
                </c:pt>
                <c:pt idx="993">
                  <c:v>44216</c:v>
                </c:pt>
                <c:pt idx="994">
                  <c:v>44215</c:v>
                </c:pt>
                <c:pt idx="995">
                  <c:v>44214</c:v>
                </c:pt>
                <c:pt idx="996">
                  <c:v>44211</c:v>
                </c:pt>
                <c:pt idx="997">
                  <c:v>44210</c:v>
                </c:pt>
                <c:pt idx="998">
                  <c:v>44209</c:v>
                </c:pt>
                <c:pt idx="999">
                  <c:v>44208</c:v>
                </c:pt>
                <c:pt idx="1000">
                  <c:v>44207</c:v>
                </c:pt>
                <c:pt idx="1001">
                  <c:v>44204</c:v>
                </c:pt>
                <c:pt idx="1002">
                  <c:v>44203</c:v>
                </c:pt>
                <c:pt idx="1003">
                  <c:v>44202</c:v>
                </c:pt>
                <c:pt idx="1004">
                  <c:v>44201</c:v>
                </c:pt>
                <c:pt idx="1005">
                  <c:v>44200</c:v>
                </c:pt>
                <c:pt idx="1006">
                  <c:v>44197</c:v>
                </c:pt>
                <c:pt idx="1007">
                  <c:v>44196</c:v>
                </c:pt>
                <c:pt idx="1008">
                  <c:v>44195</c:v>
                </c:pt>
                <c:pt idx="1009">
                  <c:v>44194</c:v>
                </c:pt>
                <c:pt idx="1010">
                  <c:v>44193</c:v>
                </c:pt>
                <c:pt idx="1011">
                  <c:v>44190</c:v>
                </c:pt>
                <c:pt idx="1012">
                  <c:v>44189</c:v>
                </c:pt>
                <c:pt idx="1013">
                  <c:v>44188</c:v>
                </c:pt>
                <c:pt idx="1014">
                  <c:v>44187</c:v>
                </c:pt>
                <c:pt idx="1015">
                  <c:v>44186</c:v>
                </c:pt>
                <c:pt idx="1016">
                  <c:v>44183</c:v>
                </c:pt>
                <c:pt idx="1017">
                  <c:v>44182</c:v>
                </c:pt>
                <c:pt idx="1018">
                  <c:v>44181</c:v>
                </c:pt>
                <c:pt idx="1019">
                  <c:v>44180</c:v>
                </c:pt>
                <c:pt idx="1020">
                  <c:v>44179</c:v>
                </c:pt>
                <c:pt idx="1021">
                  <c:v>44176</c:v>
                </c:pt>
                <c:pt idx="1022">
                  <c:v>44175</c:v>
                </c:pt>
                <c:pt idx="1023">
                  <c:v>44174</c:v>
                </c:pt>
                <c:pt idx="1024">
                  <c:v>44173</c:v>
                </c:pt>
                <c:pt idx="1025">
                  <c:v>44172</c:v>
                </c:pt>
                <c:pt idx="1026">
                  <c:v>44169</c:v>
                </c:pt>
                <c:pt idx="1027">
                  <c:v>44168</c:v>
                </c:pt>
                <c:pt idx="1028">
                  <c:v>44167</c:v>
                </c:pt>
                <c:pt idx="1029">
                  <c:v>44166</c:v>
                </c:pt>
                <c:pt idx="1030">
                  <c:v>44165</c:v>
                </c:pt>
                <c:pt idx="1031">
                  <c:v>44162</c:v>
                </c:pt>
                <c:pt idx="1032">
                  <c:v>44161</c:v>
                </c:pt>
                <c:pt idx="1033">
                  <c:v>44160</c:v>
                </c:pt>
                <c:pt idx="1034">
                  <c:v>44159</c:v>
                </c:pt>
                <c:pt idx="1035">
                  <c:v>44158</c:v>
                </c:pt>
                <c:pt idx="1036">
                  <c:v>44155</c:v>
                </c:pt>
                <c:pt idx="1037">
                  <c:v>44154</c:v>
                </c:pt>
                <c:pt idx="1038">
                  <c:v>44153</c:v>
                </c:pt>
                <c:pt idx="1039">
                  <c:v>44152</c:v>
                </c:pt>
                <c:pt idx="1040">
                  <c:v>44151</c:v>
                </c:pt>
                <c:pt idx="1041">
                  <c:v>44148</c:v>
                </c:pt>
                <c:pt idx="1042">
                  <c:v>44147</c:v>
                </c:pt>
                <c:pt idx="1043">
                  <c:v>44146</c:v>
                </c:pt>
                <c:pt idx="1044">
                  <c:v>44145</c:v>
                </c:pt>
                <c:pt idx="1045">
                  <c:v>44144</c:v>
                </c:pt>
                <c:pt idx="1046">
                  <c:v>44141</c:v>
                </c:pt>
                <c:pt idx="1047">
                  <c:v>44140</c:v>
                </c:pt>
                <c:pt idx="1048">
                  <c:v>44139</c:v>
                </c:pt>
                <c:pt idx="1049">
                  <c:v>44138</c:v>
                </c:pt>
                <c:pt idx="1050">
                  <c:v>44137</c:v>
                </c:pt>
                <c:pt idx="1051">
                  <c:v>44134</c:v>
                </c:pt>
                <c:pt idx="1052">
                  <c:v>44133</c:v>
                </c:pt>
                <c:pt idx="1053">
                  <c:v>44132</c:v>
                </c:pt>
                <c:pt idx="1054">
                  <c:v>44131</c:v>
                </c:pt>
                <c:pt idx="1055">
                  <c:v>44130</c:v>
                </c:pt>
                <c:pt idx="1056">
                  <c:v>44127</c:v>
                </c:pt>
                <c:pt idx="1057">
                  <c:v>44126</c:v>
                </c:pt>
                <c:pt idx="1058">
                  <c:v>44125</c:v>
                </c:pt>
                <c:pt idx="1059">
                  <c:v>44124</c:v>
                </c:pt>
                <c:pt idx="1060">
                  <c:v>44123</c:v>
                </c:pt>
                <c:pt idx="1061">
                  <c:v>44120</c:v>
                </c:pt>
                <c:pt idx="1062">
                  <c:v>44119</c:v>
                </c:pt>
                <c:pt idx="1063">
                  <c:v>44118</c:v>
                </c:pt>
                <c:pt idx="1064">
                  <c:v>44117</c:v>
                </c:pt>
                <c:pt idx="1065">
                  <c:v>44116</c:v>
                </c:pt>
                <c:pt idx="1066">
                  <c:v>44113</c:v>
                </c:pt>
                <c:pt idx="1067">
                  <c:v>44112</c:v>
                </c:pt>
                <c:pt idx="1068">
                  <c:v>44111</c:v>
                </c:pt>
                <c:pt idx="1069">
                  <c:v>44110</c:v>
                </c:pt>
                <c:pt idx="1070">
                  <c:v>44109</c:v>
                </c:pt>
                <c:pt idx="1071">
                  <c:v>44106</c:v>
                </c:pt>
                <c:pt idx="1072">
                  <c:v>44105</c:v>
                </c:pt>
                <c:pt idx="1073">
                  <c:v>44104</c:v>
                </c:pt>
                <c:pt idx="1074">
                  <c:v>44103</c:v>
                </c:pt>
                <c:pt idx="1075">
                  <c:v>44102</c:v>
                </c:pt>
                <c:pt idx="1076">
                  <c:v>44099</c:v>
                </c:pt>
                <c:pt idx="1077">
                  <c:v>44098</c:v>
                </c:pt>
                <c:pt idx="1078">
                  <c:v>44097</c:v>
                </c:pt>
                <c:pt idx="1079">
                  <c:v>44096</c:v>
                </c:pt>
                <c:pt idx="1080">
                  <c:v>44095</c:v>
                </c:pt>
                <c:pt idx="1081">
                  <c:v>44092</c:v>
                </c:pt>
                <c:pt idx="1082">
                  <c:v>44091</c:v>
                </c:pt>
                <c:pt idx="1083">
                  <c:v>44090</c:v>
                </c:pt>
                <c:pt idx="1084">
                  <c:v>44089</c:v>
                </c:pt>
                <c:pt idx="1085">
                  <c:v>44088</c:v>
                </c:pt>
                <c:pt idx="1086">
                  <c:v>44085</c:v>
                </c:pt>
                <c:pt idx="1087">
                  <c:v>44084</c:v>
                </c:pt>
                <c:pt idx="1088">
                  <c:v>44083</c:v>
                </c:pt>
                <c:pt idx="1089">
                  <c:v>44082</c:v>
                </c:pt>
                <c:pt idx="1090">
                  <c:v>44081</c:v>
                </c:pt>
                <c:pt idx="1091">
                  <c:v>44078</c:v>
                </c:pt>
                <c:pt idx="1092">
                  <c:v>44077</c:v>
                </c:pt>
                <c:pt idx="1093">
                  <c:v>44076</c:v>
                </c:pt>
                <c:pt idx="1094">
                  <c:v>44075</c:v>
                </c:pt>
                <c:pt idx="1095">
                  <c:v>44074</c:v>
                </c:pt>
                <c:pt idx="1096">
                  <c:v>44071</c:v>
                </c:pt>
                <c:pt idx="1097">
                  <c:v>44070</c:v>
                </c:pt>
                <c:pt idx="1098">
                  <c:v>44069</c:v>
                </c:pt>
                <c:pt idx="1099">
                  <c:v>44068</c:v>
                </c:pt>
                <c:pt idx="1100">
                  <c:v>44067</c:v>
                </c:pt>
                <c:pt idx="1101">
                  <c:v>44064</c:v>
                </c:pt>
                <c:pt idx="1102">
                  <c:v>44063</c:v>
                </c:pt>
                <c:pt idx="1103">
                  <c:v>44062</c:v>
                </c:pt>
                <c:pt idx="1104">
                  <c:v>44061</c:v>
                </c:pt>
                <c:pt idx="1105">
                  <c:v>44060</c:v>
                </c:pt>
                <c:pt idx="1106">
                  <c:v>44057</c:v>
                </c:pt>
                <c:pt idx="1107">
                  <c:v>44056</c:v>
                </c:pt>
                <c:pt idx="1108">
                  <c:v>44055</c:v>
                </c:pt>
                <c:pt idx="1109">
                  <c:v>44054</c:v>
                </c:pt>
                <c:pt idx="1110">
                  <c:v>44053</c:v>
                </c:pt>
                <c:pt idx="1111">
                  <c:v>44050</c:v>
                </c:pt>
                <c:pt idx="1112">
                  <c:v>44049</c:v>
                </c:pt>
                <c:pt idx="1113">
                  <c:v>44048</c:v>
                </c:pt>
                <c:pt idx="1114">
                  <c:v>44047</c:v>
                </c:pt>
                <c:pt idx="1115">
                  <c:v>44046</c:v>
                </c:pt>
                <c:pt idx="1116">
                  <c:v>44043</c:v>
                </c:pt>
                <c:pt idx="1117">
                  <c:v>44042</c:v>
                </c:pt>
                <c:pt idx="1118">
                  <c:v>44041</c:v>
                </c:pt>
                <c:pt idx="1119">
                  <c:v>44040</c:v>
                </c:pt>
                <c:pt idx="1120">
                  <c:v>44039</c:v>
                </c:pt>
                <c:pt idx="1121">
                  <c:v>44036</c:v>
                </c:pt>
                <c:pt idx="1122">
                  <c:v>44035</c:v>
                </c:pt>
                <c:pt idx="1123">
                  <c:v>44034</c:v>
                </c:pt>
                <c:pt idx="1124">
                  <c:v>44033</c:v>
                </c:pt>
                <c:pt idx="1125">
                  <c:v>44032</c:v>
                </c:pt>
                <c:pt idx="1126">
                  <c:v>44029</c:v>
                </c:pt>
                <c:pt idx="1127">
                  <c:v>44028</c:v>
                </c:pt>
                <c:pt idx="1128">
                  <c:v>44027</c:v>
                </c:pt>
                <c:pt idx="1129">
                  <c:v>44026</c:v>
                </c:pt>
                <c:pt idx="1130">
                  <c:v>44025</c:v>
                </c:pt>
                <c:pt idx="1131">
                  <c:v>44022</c:v>
                </c:pt>
                <c:pt idx="1132">
                  <c:v>44021</c:v>
                </c:pt>
                <c:pt idx="1133">
                  <c:v>44020</c:v>
                </c:pt>
                <c:pt idx="1134">
                  <c:v>44019</c:v>
                </c:pt>
                <c:pt idx="1135">
                  <c:v>44018</c:v>
                </c:pt>
                <c:pt idx="1136">
                  <c:v>44015</c:v>
                </c:pt>
                <c:pt idx="1137">
                  <c:v>44014</c:v>
                </c:pt>
                <c:pt idx="1138">
                  <c:v>44013</c:v>
                </c:pt>
                <c:pt idx="1139">
                  <c:v>44012</c:v>
                </c:pt>
                <c:pt idx="1140">
                  <c:v>44011</c:v>
                </c:pt>
                <c:pt idx="1141">
                  <c:v>44008</c:v>
                </c:pt>
                <c:pt idx="1142">
                  <c:v>44007</c:v>
                </c:pt>
                <c:pt idx="1143">
                  <c:v>44006</c:v>
                </c:pt>
                <c:pt idx="1144">
                  <c:v>44005</c:v>
                </c:pt>
                <c:pt idx="1145">
                  <c:v>44004</c:v>
                </c:pt>
                <c:pt idx="1146">
                  <c:v>44001</c:v>
                </c:pt>
                <c:pt idx="1147">
                  <c:v>44000</c:v>
                </c:pt>
                <c:pt idx="1148">
                  <c:v>43999</c:v>
                </c:pt>
                <c:pt idx="1149">
                  <c:v>43998</c:v>
                </c:pt>
                <c:pt idx="1150">
                  <c:v>43997</c:v>
                </c:pt>
                <c:pt idx="1151">
                  <c:v>43994</c:v>
                </c:pt>
                <c:pt idx="1152">
                  <c:v>43993</c:v>
                </c:pt>
                <c:pt idx="1153">
                  <c:v>43992</c:v>
                </c:pt>
                <c:pt idx="1154">
                  <c:v>43991</c:v>
                </c:pt>
                <c:pt idx="1155">
                  <c:v>43990</c:v>
                </c:pt>
                <c:pt idx="1156">
                  <c:v>43987</c:v>
                </c:pt>
                <c:pt idx="1157">
                  <c:v>43986</c:v>
                </c:pt>
                <c:pt idx="1158">
                  <c:v>43985</c:v>
                </c:pt>
                <c:pt idx="1159">
                  <c:v>43984</c:v>
                </c:pt>
                <c:pt idx="1160">
                  <c:v>43983</c:v>
                </c:pt>
                <c:pt idx="1161">
                  <c:v>43980</c:v>
                </c:pt>
                <c:pt idx="1162">
                  <c:v>43979</c:v>
                </c:pt>
                <c:pt idx="1163">
                  <c:v>43978</c:v>
                </c:pt>
                <c:pt idx="1164">
                  <c:v>43977</c:v>
                </c:pt>
                <c:pt idx="1165">
                  <c:v>43976</c:v>
                </c:pt>
                <c:pt idx="1166">
                  <c:v>43973</c:v>
                </c:pt>
                <c:pt idx="1167">
                  <c:v>43972</c:v>
                </c:pt>
                <c:pt idx="1168">
                  <c:v>43971</c:v>
                </c:pt>
                <c:pt idx="1169">
                  <c:v>43970</c:v>
                </c:pt>
                <c:pt idx="1170">
                  <c:v>43969</c:v>
                </c:pt>
                <c:pt idx="1171">
                  <c:v>43966</c:v>
                </c:pt>
                <c:pt idx="1172">
                  <c:v>43965</c:v>
                </c:pt>
                <c:pt idx="1173">
                  <c:v>43964</c:v>
                </c:pt>
                <c:pt idx="1174">
                  <c:v>43963</c:v>
                </c:pt>
                <c:pt idx="1175">
                  <c:v>43962</c:v>
                </c:pt>
                <c:pt idx="1176">
                  <c:v>43959</c:v>
                </c:pt>
                <c:pt idx="1177">
                  <c:v>43958</c:v>
                </c:pt>
                <c:pt idx="1178">
                  <c:v>43957</c:v>
                </c:pt>
                <c:pt idx="1179">
                  <c:v>43956</c:v>
                </c:pt>
                <c:pt idx="1180">
                  <c:v>43955</c:v>
                </c:pt>
                <c:pt idx="1181">
                  <c:v>43952</c:v>
                </c:pt>
                <c:pt idx="1182">
                  <c:v>43951</c:v>
                </c:pt>
                <c:pt idx="1183">
                  <c:v>43950</c:v>
                </c:pt>
                <c:pt idx="1184">
                  <c:v>43949</c:v>
                </c:pt>
                <c:pt idx="1185">
                  <c:v>43948</c:v>
                </c:pt>
                <c:pt idx="1186">
                  <c:v>43945</c:v>
                </c:pt>
                <c:pt idx="1187">
                  <c:v>43944</c:v>
                </c:pt>
                <c:pt idx="1188">
                  <c:v>43943</c:v>
                </c:pt>
                <c:pt idx="1189">
                  <c:v>43942</c:v>
                </c:pt>
                <c:pt idx="1190">
                  <c:v>43941</c:v>
                </c:pt>
                <c:pt idx="1191">
                  <c:v>43938</c:v>
                </c:pt>
                <c:pt idx="1192">
                  <c:v>43937</c:v>
                </c:pt>
                <c:pt idx="1193">
                  <c:v>43936</c:v>
                </c:pt>
                <c:pt idx="1194">
                  <c:v>43935</c:v>
                </c:pt>
                <c:pt idx="1195">
                  <c:v>43934</c:v>
                </c:pt>
                <c:pt idx="1196">
                  <c:v>43931</c:v>
                </c:pt>
                <c:pt idx="1197">
                  <c:v>43930</c:v>
                </c:pt>
                <c:pt idx="1198">
                  <c:v>43929</c:v>
                </c:pt>
                <c:pt idx="1199">
                  <c:v>43928</c:v>
                </c:pt>
                <c:pt idx="1200">
                  <c:v>43927</c:v>
                </c:pt>
                <c:pt idx="1201">
                  <c:v>43924</c:v>
                </c:pt>
                <c:pt idx="1202">
                  <c:v>43923</c:v>
                </c:pt>
                <c:pt idx="1203">
                  <c:v>43922</c:v>
                </c:pt>
                <c:pt idx="1204">
                  <c:v>43921</c:v>
                </c:pt>
                <c:pt idx="1205">
                  <c:v>43920</c:v>
                </c:pt>
                <c:pt idx="1206">
                  <c:v>43917</c:v>
                </c:pt>
                <c:pt idx="1207">
                  <c:v>43916</c:v>
                </c:pt>
                <c:pt idx="1208">
                  <c:v>43915</c:v>
                </c:pt>
                <c:pt idx="1209">
                  <c:v>43914</c:v>
                </c:pt>
                <c:pt idx="1210">
                  <c:v>43913</c:v>
                </c:pt>
                <c:pt idx="1211">
                  <c:v>43910</c:v>
                </c:pt>
                <c:pt idx="1212">
                  <c:v>43909</c:v>
                </c:pt>
                <c:pt idx="1213">
                  <c:v>43908</c:v>
                </c:pt>
                <c:pt idx="1214">
                  <c:v>43907</c:v>
                </c:pt>
                <c:pt idx="1215">
                  <c:v>43906</c:v>
                </c:pt>
                <c:pt idx="1216">
                  <c:v>43903</c:v>
                </c:pt>
                <c:pt idx="1217">
                  <c:v>43902</c:v>
                </c:pt>
                <c:pt idx="1218">
                  <c:v>43901</c:v>
                </c:pt>
                <c:pt idx="1219">
                  <c:v>43900</c:v>
                </c:pt>
                <c:pt idx="1220">
                  <c:v>43899</c:v>
                </c:pt>
                <c:pt idx="1221">
                  <c:v>43896</c:v>
                </c:pt>
                <c:pt idx="1222">
                  <c:v>43895</c:v>
                </c:pt>
                <c:pt idx="1223">
                  <c:v>43894</c:v>
                </c:pt>
                <c:pt idx="1224">
                  <c:v>43893</c:v>
                </c:pt>
                <c:pt idx="1225">
                  <c:v>43892</c:v>
                </c:pt>
                <c:pt idx="1226">
                  <c:v>43889</c:v>
                </c:pt>
                <c:pt idx="1227">
                  <c:v>43888</c:v>
                </c:pt>
                <c:pt idx="1228">
                  <c:v>43887</c:v>
                </c:pt>
                <c:pt idx="1229">
                  <c:v>43886</c:v>
                </c:pt>
                <c:pt idx="1230">
                  <c:v>43885</c:v>
                </c:pt>
                <c:pt idx="1231">
                  <c:v>43882</c:v>
                </c:pt>
                <c:pt idx="1232">
                  <c:v>43881</c:v>
                </c:pt>
                <c:pt idx="1233">
                  <c:v>43880</c:v>
                </c:pt>
                <c:pt idx="1234">
                  <c:v>43879</c:v>
                </c:pt>
                <c:pt idx="1235">
                  <c:v>43878</c:v>
                </c:pt>
                <c:pt idx="1236">
                  <c:v>43875</c:v>
                </c:pt>
                <c:pt idx="1237">
                  <c:v>43874</c:v>
                </c:pt>
                <c:pt idx="1238">
                  <c:v>43873</c:v>
                </c:pt>
                <c:pt idx="1239">
                  <c:v>43872</c:v>
                </c:pt>
                <c:pt idx="1240">
                  <c:v>43871</c:v>
                </c:pt>
                <c:pt idx="1241">
                  <c:v>43868</c:v>
                </c:pt>
                <c:pt idx="1242">
                  <c:v>43867</c:v>
                </c:pt>
                <c:pt idx="1243">
                  <c:v>43866</c:v>
                </c:pt>
                <c:pt idx="1244">
                  <c:v>43865</c:v>
                </c:pt>
                <c:pt idx="1245">
                  <c:v>43864</c:v>
                </c:pt>
                <c:pt idx="1246">
                  <c:v>43861</c:v>
                </c:pt>
                <c:pt idx="1247">
                  <c:v>43860</c:v>
                </c:pt>
                <c:pt idx="1248">
                  <c:v>43859</c:v>
                </c:pt>
                <c:pt idx="1249">
                  <c:v>43858</c:v>
                </c:pt>
                <c:pt idx="1250">
                  <c:v>43857</c:v>
                </c:pt>
                <c:pt idx="1251">
                  <c:v>43854</c:v>
                </c:pt>
                <c:pt idx="1252">
                  <c:v>43853</c:v>
                </c:pt>
                <c:pt idx="1253">
                  <c:v>43852</c:v>
                </c:pt>
                <c:pt idx="1254">
                  <c:v>43851</c:v>
                </c:pt>
                <c:pt idx="1255">
                  <c:v>43850</c:v>
                </c:pt>
                <c:pt idx="1256">
                  <c:v>43847</c:v>
                </c:pt>
                <c:pt idx="1257">
                  <c:v>43846</c:v>
                </c:pt>
                <c:pt idx="1258">
                  <c:v>43845</c:v>
                </c:pt>
                <c:pt idx="1259">
                  <c:v>43844</c:v>
                </c:pt>
                <c:pt idx="1260">
                  <c:v>43843</c:v>
                </c:pt>
                <c:pt idx="1261">
                  <c:v>43840</c:v>
                </c:pt>
                <c:pt idx="1262">
                  <c:v>43839</c:v>
                </c:pt>
                <c:pt idx="1263">
                  <c:v>43838</c:v>
                </c:pt>
                <c:pt idx="1264">
                  <c:v>43837</c:v>
                </c:pt>
                <c:pt idx="1265">
                  <c:v>43836</c:v>
                </c:pt>
                <c:pt idx="1266">
                  <c:v>43833</c:v>
                </c:pt>
                <c:pt idx="1267">
                  <c:v>43832</c:v>
                </c:pt>
                <c:pt idx="1268">
                  <c:v>43831</c:v>
                </c:pt>
                <c:pt idx="1269">
                  <c:v>43830</c:v>
                </c:pt>
                <c:pt idx="1270">
                  <c:v>43829</c:v>
                </c:pt>
                <c:pt idx="1271">
                  <c:v>43826</c:v>
                </c:pt>
                <c:pt idx="1272">
                  <c:v>43825</c:v>
                </c:pt>
                <c:pt idx="1273">
                  <c:v>43824</c:v>
                </c:pt>
                <c:pt idx="1274">
                  <c:v>43823</c:v>
                </c:pt>
                <c:pt idx="1275">
                  <c:v>43822</c:v>
                </c:pt>
                <c:pt idx="1276">
                  <c:v>43819</c:v>
                </c:pt>
                <c:pt idx="1277">
                  <c:v>43818</c:v>
                </c:pt>
                <c:pt idx="1278">
                  <c:v>43817</c:v>
                </c:pt>
                <c:pt idx="1279">
                  <c:v>43816</c:v>
                </c:pt>
                <c:pt idx="1280">
                  <c:v>43815</c:v>
                </c:pt>
                <c:pt idx="1281">
                  <c:v>43812</c:v>
                </c:pt>
                <c:pt idx="1282">
                  <c:v>43811</c:v>
                </c:pt>
                <c:pt idx="1283">
                  <c:v>43810</c:v>
                </c:pt>
                <c:pt idx="1284">
                  <c:v>43809</c:v>
                </c:pt>
                <c:pt idx="1285">
                  <c:v>43808</c:v>
                </c:pt>
                <c:pt idx="1286">
                  <c:v>43805</c:v>
                </c:pt>
                <c:pt idx="1287">
                  <c:v>43804</c:v>
                </c:pt>
                <c:pt idx="1288">
                  <c:v>43803</c:v>
                </c:pt>
                <c:pt idx="1289">
                  <c:v>43802</c:v>
                </c:pt>
                <c:pt idx="1290">
                  <c:v>43801</c:v>
                </c:pt>
                <c:pt idx="1291">
                  <c:v>43798</c:v>
                </c:pt>
                <c:pt idx="1292">
                  <c:v>43797</c:v>
                </c:pt>
                <c:pt idx="1293">
                  <c:v>43796</c:v>
                </c:pt>
                <c:pt idx="1294">
                  <c:v>43795</c:v>
                </c:pt>
                <c:pt idx="1295">
                  <c:v>43794</c:v>
                </c:pt>
                <c:pt idx="1296">
                  <c:v>43791</c:v>
                </c:pt>
                <c:pt idx="1297">
                  <c:v>43790</c:v>
                </c:pt>
                <c:pt idx="1298">
                  <c:v>43789</c:v>
                </c:pt>
                <c:pt idx="1299">
                  <c:v>43788</c:v>
                </c:pt>
                <c:pt idx="1300">
                  <c:v>43787</c:v>
                </c:pt>
                <c:pt idx="1301">
                  <c:v>43784</c:v>
                </c:pt>
                <c:pt idx="1302">
                  <c:v>43783</c:v>
                </c:pt>
                <c:pt idx="1303">
                  <c:v>43782</c:v>
                </c:pt>
                <c:pt idx="1304">
                  <c:v>43781</c:v>
                </c:pt>
                <c:pt idx="1305">
                  <c:v>43780</c:v>
                </c:pt>
                <c:pt idx="1306">
                  <c:v>43777</c:v>
                </c:pt>
                <c:pt idx="1307">
                  <c:v>43776</c:v>
                </c:pt>
                <c:pt idx="1308">
                  <c:v>43775</c:v>
                </c:pt>
                <c:pt idx="1309">
                  <c:v>43774</c:v>
                </c:pt>
                <c:pt idx="1310">
                  <c:v>43773</c:v>
                </c:pt>
                <c:pt idx="1311">
                  <c:v>43770</c:v>
                </c:pt>
                <c:pt idx="1312">
                  <c:v>43769</c:v>
                </c:pt>
                <c:pt idx="1313">
                  <c:v>43768</c:v>
                </c:pt>
                <c:pt idx="1314">
                  <c:v>43767</c:v>
                </c:pt>
                <c:pt idx="1315">
                  <c:v>43766</c:v>
                </c:pt>
                <c:pt idx="1316">
                  <c:v>43763</c:v>
                </c:pt>
                <c:pt idx="1317">
                  <c:v>43762</c:v>
                </c:pt>
                <c:pt idx="1318">
                  <c:v>43761</c:v>
                </c:pt>
                <c:pt idx="1319">
                  <c:v>43760</c:v>
                </c:pt>
                <c:pt idx="1320">
                  <c:v>43759</c:v>
                </c:pt>
                <c:pt idx="1321">
                  <c:v>43756</c:v>
                </c:pt>
                <c:pt idx="1322">
                  <c:v>43755</c:v>
                </c:pt>
                <c:pt idx="1323">
                  <c:v>43754</c:v>
                </c:pt>
                <c:pt idx="1324">
                  <c:v>43753</c:v>
                </c:pt>
                <c:pt idx="1325">
                  <c:v>43752</c:v>
                </c:pt>
                <c:pt idx="1326">
                  <c:v>43749</c:v>
                </c:pt>
                <c:pt idx="1327">
                  <c:v>43748</c:v>
                </c:pt>
                <c:pt idx="1328">
                  <c:v>43747</c:v>
                </c:pt>
                <c:pt idx="1329">
                  <c:v>43746</c:v>
                </c:pt>
                <c:pt idx="1330">
                  <c:v>43745</c:v>
                </c:pt>
                <c:pt idx="1331">
                  <c:v>43742</c:v>
                </c:pt>
                <c:pt idx="1332">
                  <c:v>43741</c:v>
                </c:pt>
                <c:pt idx="1333">
                  <c:v>43740</c:v>
                </c:pt>
                <c:pt idx="1334">
                  <c:v>43739</c:v>
                </c:pt>
                <c:pt idx="1335">
                  <c:v>43738</c:v>
                </c:pt>
                <c:pt idx="1336">
                  <c:v>43735</c:v>
                </c:pt>
                <c:pt idx="1337">
                  <c:v>43734</c:v>
                </c:pt>
                <c:pt idx="1338">
                  <c:v>43733</c:v>
                </c:pt>
                <c:pt idx="1339">
                  <c:v>43732</c:v>
                </c:pt>
                <c:pt idx="1340">
                  <c:v>43731</c:v>
                </c:pt>
                <c:pt idx="1341">
                  <c:v>43728</c:v>
                </c:pt>
                <c:pt idx="1342">
                  <c:v>43727</c:v>
                </c:pt>
                <c:pt idx="1343">
                  <c:v>43726</c:v>
                </c:pt>
                <c:pt idx="1344">
                  <c:v>43725</c:v>
                </c:pt>
                <c:pt idx="1345">
                  <c:v>43724</c:v>
                </c:pt>
                <c:pt idx="1346">
                  <c:v>43721</c:v>
                </c:pt>
                <c:pt idx="1347">
                  <c:v>43720</c:v>
                </c:pt>
                <c:pt idx="1348">
                  <c:v>43719</c:v>
                </c:pt>
                <c:pt idx="1349">
                  <c:v>43718</c:v>
                </c:pt>
                <c:pt idx="1350">
                  <c:v>43717</c:v>
                </c:pt>
                <c:pt idx="1351">
                  <c:v>43714</c:v>
                </c:pt>
                <c:pt idx="1352">
                  <c:v>43713</c:v>
                </c:pt>
                <c:pt idx="1353">
                  <c:v>43712</c:v>
                </c:pt>
                <c:pt idx="1354">
                  <c:v>43711</c:v>
                </c:pt>
                <c:pt idx="1355">
                  <c:v>43710</c:v>
                </c:pt>
                <c:pt idx="1356">
                  <c:v>43707</c:v>
                </c:pt>
                <c:pt idx="1357">
                  <c:v>43706</c:v>
                </c:pt>
                <c:pt idx="1358">
                  <c:v>43705</c:v>
                </c:pt>
                <c:pt idx="1359">
                  <c:v>43704</c:v>
                </c:pt>
                <c:pt idx="1360">
                  <c:v>43703</c:v>
                </c:pt>
                <c:pt idx="1361">
                  <c:v>43700</c:v>
                </c:pt>
                <c:pt idx="1362">
                  <c:v>43699</c:v>
                </c:pt>
                <c:pt idx="1363">
                  <c:v>43698</c:v>
                </c:pt>
                <c:pt idx="1364">
                  <c:v>43697</c:v>
                </c:pt>
                <c:pt idx="1365">
                  <c:v>43696</c:v>
                </c:pt>
                <c:pt idx="1366">
                  <c:v>43693</c:v>
                </c:pt>
                <c:pt idx="1367">
                  <c:v>43692</c:v>
                </c:pt>
                <c:pt idx="1368">
                  <c:v>43691</c:v>
                </c:pt>
                <c:pt idx="1369">
                  <c:v>43690</c:v>
                </c:pt>
                <c:pt idx="1370">
                  <c:v>43689</c:v>
                </c:pt>
                <c:pt idx="1371">
                  <c:v>43686</c:v>
                </c:pt>
                <c:pt idx="1372">
                  <c:v>43685</c:v>
                </c:pt>
                <c:pt idx="1373">
                  <c:v>43684</c:v>
                </c:pt>
                <c:pt idx="1374">
                  <c:v>43683</c:v>
                </c:pt>
                <c:pt idx="1375">
                  <c:v>43682</c:v>
                </c:pt>
                <c:pt idx="1376">
                  <c:v>43679</c:v>
                </c:pt>
                <c:pt idx="1377">
                  <c:v>43678</c:v>
                </c:pt>
                <c:pt idx="1378">
                  <c:v>43677</c:v>
                </c:pt>
                <c:pt idx="1379">
                  <c:v>43676</c:v>
                </c:pt>
                <c:pt idx="1380">
                  <c:v>43675</c:v>
                </c:pt>
                <c:pt idx="1381">
                  <c:v>43672</c:v>
                </c:pt>
                <c:pt idx="1382">
                  <c:v>43671</c:v>
                </c:pt>
                <c:pt idx="1383">
                  <c:v>43670</c:v>
                </c:pt>
                <c:pt idx="1384">
                  <c:v>43669</c:v>
                </c:pt>
                <c:pt idx="1385">
                  <c:v>43668</c:v>
                </c:pt>
                <c:pt idx="1386">
                  <c:v>43665</c:v>
                </c:pt>
                <c:pt idx="1387">
                  <c:v>43664</c:v>
                </c:pt>
                <c:pt idx="1388">
                  <c:v>43663</c:v>
                </c:pt>
                <c:pt idx="1389">
                  <c:v>43662</c:v>
                </c:pt>
                <c:pt idx="1390">
                  <c:v>43661</c:v>
                </c:pt>
                <c:pt idx="1391">
                  <c:v>43658</c:v>
                </c:pt>
                <c:pt idx="1392">
                  <c:v>43657</c:v>
                </c:pt>
                <c:pt idx="1393">
                  <c:v>43656</c:v>
                </c:pt>
                <c:pt idx="1394">
                  <c:v>43655</c:v>
                </c:pt>
                <c:pt idx="1395">
                  <c:v>43654</c:v>
                </c:pt>
                <c:pt idx="1396">
                  <c:v>43651</c:v>
                </c:pt>
                <c:pt idx="1397">
                  <c:v>43650</c:v>
                </c:pt>
                <c:pt idx="1398">
                  <c:v>43649</c:v>
                </c:pt>
                <c:pt idx="1399">
                  <c:v>43648</c:v>
                </c:pt>
                <c:pt idx="1400">
                  <c:v>43647</c:v>
                </c:pt>
                <c:pt idx="1401">
                  <c:v>43644</c:v>
                </c:pt>
                <c:pt idx="1402">
                  <c:v>43643</c:v>
                </c:pt>
                <c:pt idx="1403">
                  <c:v>43642</c:v>
                </c:pt>
                <c:pt idx="1404">
                  <c:v>43641</c:v>
                </c:pt>
                <c:pt idx="1405">
                  <c:v>43640</c:v>
                </c:pt>
                <c:pt idx="1406">
                  <c:v>43637</c:v>
                </c:pt>
                <c:pt idx="1407">
                  <c:v>43636</c:v>
                </c:pt>
                <c:pt idx="1408">
                  <c:v>43635</c:v>
                </c:pt>
                <c:pt idx="1409">
                  <c:v>43634</c:v>
                </c:pt>
                <c:pt idx="1410">
                  <c:v>43633</c:v>
                </c:pt>
                <c:pt idx="1411">
                  <c:v>43630</c:v>
                </c:pt>
                <c:pt idx="1412">
                  <c:v>43629</c:v>
                </c:pt>
                <c:pt idx="1413">
                  <c:v>43628</c:v>
                </c:pt>
                <c:pt idx="1414">
                  <c:v>43627</c:v>
                </c:pt>
                <c:pt idx="1415">
                  <c:v>43626</c:v>
                </c:pt>
                <c:pt idx="1416">
                  <c:v>43623</c:v>
                </c:pt>
                <c:pt idx="1417">
                  <c:v>43622</c:v>
                </c:pt>
                <c:pt idx="1418">
                  <c:v>43621</c:v>
                </c:pt>
                <c:pt idx="1419">
                  <c:v>43620</c:v>
                </c:pt>
                <c:pt idx="1420">
                  <c:v>43619</c:v>
                </c:pt>
                <c:pt idx="1421">
                  <c:v>43616</c:v>
                </c:pt>
                <c:pt idx="1422">
                  <c:v>43615</c:v>
                </c:pt>
                <c:pt idx="1423">
                  <c:v>43614</c:v>
                </c:pt>
                <c:pt idx="1424">
                  <c:v>43613</c:v>
                </c:pt>
                <c:pt idx="1425">
                  <c:v>43612</c:v>
                </c:pt>
                <c:pt idx="1426">
                  <c:v>43609</c:v>
                </c:pt>
                <c:pt idx="1427">
                  <c:v>43608</c:v>
                </c:pt>
                <c:pt idx="1428">
                  <c:v>43607</c:v>
                </c:pt>
                <c:pt idx="1429">
                  <c:v>43606</c:v>
                </c:pt>
                <c:pt idx="1430">
                  <c:v>43605</c:v>
                </c:pt>
                <c:pt idx="1431">
                  <c:v>43602</c:v>
                </c:pt>
                <c:pt idx="1432">
                  <c:v>43601</c:v>
                </c:pt>
                <c:pt idx="1433">
                  <c:v>43600</c:v>
                </c:pt>
                <c:pt idx="1434">
                  <c:v>43599</c:v>
                </c:pt>
                <c:pt idx="1435">
                  <c:v>43598</c:v>
                </c:pt>
                <c:pt idx="1436">
                  <c:v>43595</c:v>
                </c:pt>
                <c:pt idx="1437">
                  <c:v>43594</c:v>
                </c:pt>
                <c:pt idx="1438">
                  <c:v>43593</c:v>
                </c:pt>
                <c:pt idx="1439">
                  <c:v>43592</c:v>
                </c:pt>
                <c:pt idx="1440">
                  <c:v>43591</c:v>
                </c:pt>
                <c:pt idx="1441">
                  <c:v>43588</c:v>
                </c:pt>
                <c:pt idx="1442">
                  <c:v>43587</c:v>
                </c:pt>
                <c:pt idx="1443">
                  <c:v>43586</c:v>
                </c:pt>
                <c:pt idx="1444">
                  <c:v>43585</c:v>
                </c:pt>
                <c:pt idx="1445">
                  <c:v>43584</c:v>
                </c:pt>
                <c:pt idx="1446">
                  <c:v>43581</c:v>
                </c:pt>
                <c:pt idx="1447">
                  <c:v>43580</c:v>
                </c:pt>
                <c:pt idx="1448">
                  <c:v>43579</c:v>
                </c:pt>
                <c:pt idx="1449">
                  <c:v>43578</c:v>
                </c:pt>
                <c:pt idx="1450">
                  <c:v>43577</c:v>
                </c:pt>
                <c:pt idx="1451">
                  <c:v>43574</c:v>
                </c:pt>
                <c:pt idx="1452">
                  <c:v>43573</c:v>
                </c:pt>
                <c:pt idx="1453">
                  <c:v>43572</c:v>
                </c:pt>
                <c:pt idx="1454">
                  <c:v>43571</c:v>
                </c:pt>
                <c:pt idx="1455">
                  <c:v>43570</c:v>
                </c:pt>
                <c:pt idx="1456">
                  <c:v>43567</c:v>
                </c:pt>
                <c:pt idx="1457">
                  <c:v>43566</c:v>
                </c:pt>
                <c:pt idx="1458">
                  <c:v>43565</c:v>
                </c:pt>
                <c:pt idx="1459">
                  <c:v>43564</c:v>
                </c:pt>
                <c:pt idx="1460">
                  <c:v>43563</c:v>
                </c:pt>
                <c:pt idx="1461">
                  <c:v>43560</c:v>
                </c:pt>
                <c:pt idx="1462">
                  <c:v>43559</c:v>
                </c:pt>
                <c:pt idx="1463">
                  <c:v>43558</c:v>
                </c:pt>
                <c:pt idx="1464">
                  <c:v>43557</c:v>
                </c:pt>
                <c:pt idx="1465">
                  <c:v>43556</c:v>
                </c:pt>
                <c:pt idx="1466">
                  <c:v>43553</c:v>
                </c:pt>
                <c:pt idx="1467">
                  <c:v>43552</c:v>
                </c:pt>
                <c:pt idx="1468">
                  <c:v>43551</c:v>
                </c:pt>
                <c:pt idx="1469">
                  <c:v>43550</c:v>
                </c:pt>
                <c:pt idx="1470">
                  <c:v>43549</c:v>
                </c:pt>
                <c:pt idx="1471">
                  <c:v>43546</c:v>
                </c:pt>
                <c:pt idx="1472">
                  <c:v>43545</c:v>
                </c:pt>
                <c:pt idx="1473">
                  <c:v>43544</c:v>
                </c:pt>
                <c:pt idx="1474">
                  <c:v>43543</c:v>
                </c:pt>
                <c:pt idx="1475">
                  <c:v>43542</c:v>
                </c:pt>
                <c:pt idx="1476">
                  <c:v>43539</c:v>
                </c:pt>
                <c:pt idx="1477">
                  <c:v>43538</c:v>
                </c:pt>
                <c:pt idx="1478">
                  <c:v>43537</c:v>
                </c:pt>
                <c:pt idx="1479">
                  <c:v>43536</c:v>
                </c:pt>
                <c:pt idx="1480">
                  <c:v>43535</c:v>
                </c:pt>
                <c:pt idx="1481">
                  <c:v>43532</c:v>
                </c:pt>
                <c:pt idx="1482">
                  <c:v>43531</c:v>
                </c:pt>
                <c:pt idx="1483">
                  <c:v>43530</c:v>
                </c:pt>
                <c:pt idx="1484">
                  <c:v>43529</c:v>
                </c:pt>
                <c:pt idx="1485">
                  <c:v>43528</c:v>
                </c:pt>
                <c:pt idx="1486">
                  <c:v>43525</c:v>
                </c:pt>
                <c:pt idx="1487">
                  <c:v>43524</c:v>
                </c:pt>
                <c:pt idx="1488">
                  <c:v>43523</c:v>
                </c:pt>
                <c:pt idx="1489">
                  <c:v>43522</c:v>
                </c:pt>
                <c:pt idx="1490">
                  <c:v>43521</c:v>
                </c:pt>
                <c:pt idx="1491">
                  <c:v>43518</c:v>
                </c:pt>
                <c:pt idx="1492">
                  <c:v>43517</c:v>
                </c:pt>
                <c:pt idx="1493">
                  <c:v>43516</c:v>
                </c:pt>
                <c:pt idx="1494">
                  <c:v>43515</c:v>
                </c:pt>
                <c:pt idx="1495">
                  <c:v>43514</c:v>
                </c:pt>
                <c:pt idx="1496">
                  <c:v>43511</c:v>
                </c:pt>
                <c:pt idx="1497">
                  <c:v>43510</c:v>
                </c:pt>
                <c:pt idx="1498">
                  <c:v>43509</c:v>
                </c:pt>
                <c:pt idx="1499">
                  <c:v>43508</c:v>
                </c:pt>
                <c:pt idx="1500">
                  <c:v>43507</c:v>
                </c:pt>
                <c:pt idx="1501">
                  <c:v>43504</c:v>
                </c:pt>
                <c:pt idx="1502">
                  <c:v>43503</c:v>
                </c:pt>
                <c:pt idx="1503">
                  <c:v>43502</c:v>
                </c:pt>
                <c:pt idx="1504">
                  <c:v>43501</c:v>
                </c:pt>
                <c:pt idx="1505">
                  <c:v>43500</c:v>
                </c:pt>
                <c:pt idx="1506">
                  <c:v>43497</c:v>
                </c:pt>
                <c:pt idx="1507">
                  <c:v>43496</c:v>
                </c:pt>
                <c:pt idx="1508">
                  <c:v>43495</c:v>
                </c:pt>
                <c:pt idx="1509">
                  <c:v>43494</c:v>
                </c:pt>
                <c:pt idx="1510">
                  <c:v>43493</c:v>
                </c:pt>
                <c:pt idx="1511">
                  <c:v>43490</c:v>
                </c:pt>
                <c:pt idx="1512">
                  <c:v>43489</c:v>
                </c:pt>
                <c:pt idx="1513">
                  <c:v>43488</c:v>
                </c:pt>
                <c:pt idx="1514">
                  <c:v>43487</c:v>
                </c:pt>
                <c:pt idx="1515">
                  <c:v>43486</c:v>
                </c:pt>
                <c:pt idx="1516">
                  <c:v>43483</c:v>
                </c:pt>
                <c:pt idx="1517">
                  <c:v>43482</c:v>
                </c:pt>
                <c:pt idx="1518">
                  <c:v>43481</c:v>
                </c:pt>
                <c:pt idx="1519">
                  <c:v>43480</c:v>
                </c:pt>
                <c:pt idx="1520">
                  <c:v>43479</c:v>
                </c:pt>
                <c:pt idx="1521">
                  <c:v>43476</c:v>
                </c:pt>
                <c:pt idx="1522">
                  <c:v>43475</c:v>
                </c:pt>
                <c:pt idx="1523">
                  <c:v>43474</c:v>
                </c:pt>
                <c:pt idx="1524">
                  <c:v>43473</c:v>
                </c:pt>
                <c:pt idx="1525">
                  <c:v>43472</c:v>
                </c:pt>
                <c:pt idx="1526">
                  <c:v>43469</c:v>
                </c:pt>
                <c:pt idx="1527">
                  <c:v>43468</c:v>
                </c:pt>
                <c:pt idx="1528">
                  <c:v>43467</c:v>
                </c:pt>
                <c:pt idx="1529">
                  <c:v>43466</c:v>
                </c:pt>
                <c:pt idx="1530">
                  <c:v>43465</c:v>
                </c:pt>
                <c:pt idx="1531">
                  <c:v>43462</c:v>
                </c:pt>
                <c:pt idx="1532">
                  <c:v>43461</c:v>
                </c:pt>
                <c:pt idx="1533">
                  <c:v>43460</c:v>
                </c:pt>
                <c:pt idx="1534">
                  <c:v>43459</c:v>
                </c:pt>
                <c:pt idx="1535">
                  <c:v>43458</c:v>
                </c:pt>
                <c:pt idx="1536">
                  <c:v>43455</c:v>
                </c:pt>
                <c:pt idx="1537">
                  <c:v>43454</c:v>
                </c:pt>
                <c:pt idx="1538">
                  <c:v>43453</c:v>
                </c:pt>
                <c:pt idx="1539">
                  <c:v>43452</c:v>
                </c:pt>
                <c:pt idx="1540">
                  <c:v>43451</c:v>
                </c:pt>
                <c:pt idx="1541">
                  <c:v>43448</c:v>
                </c:pt>
                <c:pt idx="1542">
                  <c:v>43447</c:v>
                </c:pt>
                <c:pt idx="1543">
                  <c:v>43446</c:v>
                </c:pt>
                <c:pt idx="1544">
                  <c:v>43445</c:v>
                </c:pt>
                <c:pt idx="1545">
                  <c:v>43444</c:v>
                </c:pt>
                <c:pt idx="1546">
                  <c:v>43441</c:v>
                </c:pt>
                <c:pt idx="1547">
                  <c:v>43440</c:v>
                </c:pt>
                <c:pt idx="1548">
                  <c:v>43439</c:v>
                </c:pt>
                <c:pt idx="1549">
                  <c:v>43438</c:v>
                </c:pt>
                <c:pt idx="1550">
                  <c:v>43437</c:v>
                </c:pt>
                <c:pt idx="1551">
                  <c:v>43434</c:v>
                </c:pt>
                <c:pt idx="1552">
                  <c:v>43433</c:v>
                </c:pt>
                <c:pt idx="1553">
                  <c:v>43432</c:v>
                </c:pt>
                <c:pt idx="1554">
                  <c:v>43431</c:v>
                </c:pt>
                <c:pt idx="1555">
                  <c:v>43430</c:v>
                </c:pt>
                <c:pt idx="1556">
                  <c:v>43427</c:v>
                </c:pt>
                <c:pt idx="1557">
                  <c:v>43426</c:v>
                </c:pt>
                <c:pt idx="1558">
                  <c:v>43425</c:v>
                </c:pt>
                <c:pt idx="1559">
                  <c:v>43424</c:v>
                </c:pt>
                <c:pt idx="1560">
                  <c:v>43423</c:v>
                </c:pt>
                <c:pt idx="1561">
                  <c:v>43420</c:v>
                </c:pt>
                <c:pt idx="1562">
                  <c:v>43419</c:v>
                </c:pt>
                <c:pt idx="1563">
                  <c:v>43418</c:v>
                </c:pt>
                <c:pt idx="1564">
                  <c:v>43417</c:v>
                </c:pt>
                <c:pt idx="1565">
                  <c:v>43416</c:v>
                </c:pt>
                <c:pt idx="1566">
                  <c:v>43413</c:v>
                </c:pt>
                <c:pt idx="1567">
                  <c:v>43412</c:v>
                </c:pt>
                <c:pt idx="1568">
                  <c:v>43411</c:v>
                </c:pt>
                <c:pt idx="1569">
                  <c:v>43410</c:v>
                </c:pt>
                <c:pt idx="1570">
                  <c:v>43409</c:v>
                </c:pt>
                <c:pt idx="1571">
                  <c:v>43406</c:v>
                </c:pt>
                <c:pt idx="1572">
                  <c:v>43405</c:v>
                </c:pt>
                <c:pt idx="1573">
                  <c:v>43404</c:v>
                </c:pt>
                <c:pt idx="1574">
                  <c:v>43403</c:v>
                </c:pt>
                <c:pt idx="1575">
                  <c:v>43402</c:v>
                </c:pt>
                <c:pt idx="1576">
                  <c:v>43399</c:v>
                </c:pt>
                <c:pt idx="1577">
                  <c:v>43398</c:v>
                </c:pt>
                <c:pt idx="1578">
                  <c:v>43397</c:v>
                </c:pt>
                <c:pt idx="1579">
                  <c:v>43396</c:v>
                </c:pt>
                <c:pt idx="1580">
                  <c:v>43395</c:v>
                </c:pt>
                <c:pt idx="1581">
                  <c:v>43392</c:v>
                </c:pt>
                <c:pt idx="1582">
                  <c:v>43391</c:v>
                </c:pt>
                <c:pt idx="1583">
                  <c:v>43390</c:v>
                </c:pt>
                <c:pt idx="1584">
                  <c:v>43389</c:v>
                </c:pt>
                <c:pt idx="1585">
                  <c:v>43388</c:v>
                </c:pt>
                <c:pt idx="1586">
                  <c:v>43385</c:v>
                </c:pt>
                <c:pt idx="1587">
                  <c:v>43384</c:v>
                </c:pt>
                <c:pt idx="1588">
                  <c:v>43383</c:v>
                </c:pt>
                <c:pt idx="1589">
                  <c:v>43382</c:v>
                </c:pt>
                <c:pt idx="1590">
                  <c:v>43381</c:v>
                </c:pt>
                <c:pt idx="1591">
                  <c:v>43378</c:v>
                </c:pt>
                <c:pt idx="1592">
                  <c:v>43377</c:v>
                </c:pt>
                <c:pt idx="1593">
                  <c:v>43376</c:v>
                </c:pt>
                <c:pt idx="1594">
                  <c:v>43375</c:v>
                </c:pt>
                <c:pt idx="1595">
                  <c:v>43374</c:v>
                </c:pt>
                <c:pt idx="1596">
                  <c:v>43371</c:v>
                </c:pt>
                <c:pt idx="1597">
                  <c:v>43370</c:v>
                </c:pt>
                <c:pt idx="1598">
                  <c:v>43369</c:v>
                </c:pt>
                <c:pt idx="1599">
                  <c:v>43368</c:v>
                </c:pt>
                <c:pt idx="1600">
                  <c:v>43367</c:v>
                </c:pt>
                <c:pt idx="1601">
                  <c:v>43364</c:v>
                </c:pt>
                <c:pt idx="1602">
                  <c:v>43363</c:v>
                </c:pt>
                <c:pt idx="1603">
                  <c:v>43362</c:v>
                </c:pt>
                <c:pt idx="1604">
                  <c:v>43361</c:v>
                </c:pt>
                <c:pt idx="1605">
                  <c:v>43360</c:v>
                </c:pt>
                <c:pt idx="1606">
                  <c:v>43357</c:v>
                </c:pt>
                <c:pt idx="1607">
                  <c:v>43356</c:v>
                </c:pt>
                <c:pt idx="1608">
                  <c:v>43355</c:v>
                </c:pt>
                <c:pt idx="1609">
                  <c:v>43354</c:v>
                </c:pt>
                <c:pt idx="1610">
                  <c:v>43353</c:v>
                </c:pt>
                <c:pt idx="1611">
                  <c:v>43350</c:v>
                </c:pt>
                <c:pt idx="1612">
                  <c:v>43349</c:v>
                </c:pt>
                <c:pt idx="1613">
                  <c:v>43348</c:v>
                </c:pt>
                <c:pt idx="1614">
                  <c:v>43347</c:v>
                </c:pt>
                <c:pt idx="1615">
                  <c:v>43346</c:v>
                </c:pt>
                <c:pt idx="1616">
                  <c:v>43343</c:v>
                </c:pt>
                <c:pt idx="1617">
                  <c:v>43342</c:v>
                </c:pt>
                <c:pt idx="1618">
                  <c:v>43341</c:v>
                </c:pt>
                <c:pt idx="1619">
                  <c:v>43340</c:v>
                </c:pt>
                <c:pt idx="1620">
                  <c:v>43339</c:v>
                </c:pt>
                <c:pt idx="1621">
                  <c:v>43336</c:v>
                </c:pt>
                <c:pt idx="1622">
                  <c:v>43335</c:v>
                </c:pt>
                <c:pt idx="1623">
                  <c:v>43334</c:v>
                </c:pt>
                <c:pt idx="1624">
                  <c:v>43333</c:v>
                </c:pt>
                <c:pt idx="1625">
                  <c:v>43332</c:v>
                </c:pt>
                <c:pt idx="1626">
                  <c:v>43329</c:v>
                </c:pt>
                <c:pt idx="1627">
                  <c:v>43328</c:v>
                </c:pt>
                <c:pt idx="1628">
                  <c:v>43327</c:v>
                </c:pt>
                <c:pt idx="1629">
                  <c:v>43326</c:v>
                </c:pt>
                <c:pt idx="1630">
                  <c:v>43325</c:v>
                </c:pt>
                <c:pt idx="1631">
                  <c:v>43322</c:v>
                </c:pt>
                <c:pt idx="1632">
                  <c:v>43321</c:v>
                </c:pt>
                <c:pt idx="1633">
                  <c:v>43320</c:v>
                </c:pt>
                <c:pt idx="1634">
                  <c:v>43319</c:v>
                </c:pt>
                <c:pt idx="1635">
                  <c:v>43318</c:v>
                </c:pt>
                <c:pt idx="1636">
                  <c:v>43315</c:v>
                </c:pt>
                <c:pt idx="1637">
                  <c:v>43314</c:v>
                </c:pt>
                <c:pt idx="1638">
                  <c:v>43313</c:v>
                </c:pt>
                <c:pt idx="1639">
                  <c:v>43312</c:v>
                </c:pt>
                <c:pt idx="1640">
                  <c:v>43311</c:v>
                </c:pt>
                <c:pt idx="1641">
                  <c:v>43308</c:v>
                </c:pt>
                <c:pt idx="1642">
                  <c:v>43307</c:v>
                </c:pt>
                <c:pt idx="1643">
                  <c:v>43306</c:v>
                </c:pt>
                <c:pt idx="1644">
                  <c:v>43305</c:v>
                </c:pt>
                <c:pt idx="1645">
                  <c:v>43304</c:v>
                </c:pt>
                <c:pt idx="1646">
                  <c:v>43301</c:v>
                </c:pt>
                <c:pt idx="1647">
                  <c:v>43300</c:v>
                </c:pt>
                <c:pt idx="1648">
                  <c:v>43299</c:v>
                </c:pt>
                <c:pt idx="1649">
                  <c:v>43298</c:v>
                </c:pt>
                <c:pt idx="1650">
                  <c:v>43297</c:v>
                </c:pt>
                <c:pt idx="1651">
                  <c:v>43294</c:v>
                </c:pt>
                <c:pt idx="1652">
                  <c:v>43293</c:v>
                </c:pt>
                <c:pt idx="1653">
                  <c:v>43292</c:v>
                </c:pt>
                <c:pt idx="1654">
                  <c:v>43291</c:v>
                </c:pt>
                <c:pt idx="1655">
                  <c:v>43290</c:v>
                </c:pt>
                <c:pt idx="1656">
                  <c:v>43287</c:v>
                </c:pt>
                <c:pt idx="1657">
                  <c:v>43286</c:v>
                </c:pt>
                <c:pt idx="1658">
                  <c:v>43285</c:v>
                </c:pt>
                <c:pt idx="1659">
                  <c:v>43284</c:v>
                </c:pt>
                <c:pt idx="1660">
                  <c:v>43283</c:v>
                </c:pt>
                <c:pt idx="1661">
                  <c:v>43280</c:v>
                </c:pt>
                <c:pt idx="1662">
                  <c:v>43279</c:v>
                </c:pt>
                <c:pt idx="1663">
                  <c:v>43278</c:v>
                </c:pt>
                <c:pt idx="1664">
                  <c:v>43277</c:v>
                </c:pt>
                <c:pt idx="1665">
                  <c:v>43276</c:v>
                </c:pt>
                <c:pt idx="1666">
                  <c:v>43273</c:v>
                </c:pt>
                <c:pt idx="1667">
                  <c:v>43272</c:v>
                </c:pt>
                <c:pt idx="1668">
                  <c:v>43271</c:v>
                </c:pt>
                <c:pt idx="1669">
                  <c:v>43270</c:v>
                </c:pt>
                <c:pt idx="1670">
                  <c:v>43269</c:v>
                </c:pt>
                <c:pt idx="1671">
                  <c:v>43266</c:v>
                </c:pt>
                <c:pt idx="1672">
                  <c:v>43265</c:v>
                </c:pt>
                <c:pt idx="1673">
                  <c:v>43264</c:v>
                </c:pt>
                <c:pt idx="1674">
                  <c:v>43263</c:v>
                </c:pt>
                <c:pt idx="1675">
                  <c:v>43262</c:v>
                </c:pt>
                <c:pt idx="1676">
                  <c:v>43259</c:v>
                </c:pt>
                <c:pt idx="1677">
                  <c:v>43258</c:v>
                </c:pt>
                <c:pt idx="1678">
                  <c:v>43257</c:v>
                </c:pt>
                <c:pt idx="1679">
                  <c:v>43256</c:v>
                </c:pt>
                <c:pt idx="1680">
                  <c:v>43255</c:v>
                </c:pt>
                <c:pt idx="1681">
                  <c:v>43252</c:v>
                </c:pt>
                <c:pt idx="1682">
                  <c:v>43251</c:v>
                </c:pt>
                <c:pt idx="1683">
                  <c:v>43250</c:v>
                </c:pt>
                <c:pt idx="1684">
                  <c:v>43249</c:v>
                </c:pt>
                <c:pt idx="1685">
                  <c:v>43248</c:v>
                </c:pt>
                <c:pt idx="1686">
                  <c:v>43245</c:v>
                </c:pt>
                <c:pt idx="1687">
                  <c:v>43244</c:v>
                </c:pt>
                <c:pt idx="1688">
                  <c:v>43243</c:v>
                </c:pt>
                <c:pt idx="1689">
                  <c:v>43242</c:v>
                </c:pt>
                <c:pt idx="1690">
                  <c:v>43241</c:v>
                </c:pt>
                <c:pt idx="1691">
                  <c:v>43238</c:v>
                </c:pt>
                <c:pt idx="1692">
                  <c:v>43237</c:v>
                </c:pt>
                <c:pt idx="1693">
                  <c:v>43236</c:v>
                </c:pt>
                <c:pt idx="1694">
                  <c:v>43235</c:v>
                </c:pt>
                <c:pt idx="1695">
                  <c:v>43234</c:v>
                </c:pt>
                <c:pt idx="1696">
                  <c:v>43231</c:v>
                </c:pt>
                <c:pt idx="1697">
                  <c:v>43230</c:v>
                </c:pt>
                <c:pt idx="1698">
                  <c:v>43229</c:v>
                </c:pt>
                <c:pt idx="1699">
                  <c:v>43228</c:v>
                </c:pt>
                <c:pt idx="1700">
                  <c:v>43227</c:v>
                </c:pt>
                <c:pt idx="1701">
                  <c:v>43224</c:v>
                </c:pt>
                <c:pt idx="1702">
                  <c:v>43223</c:v>
                </c:pt>
                <c:pt idx="1703">
                  <c:v>43222</c:v>
                </c:pt>
                <c:pt idx="1704">
                  <c:v>43221</c:v>
                </c:pt>
                <c:pt idx="1705">
                  <c:v>43220</c:v>
                </c:pt>
                <c:pt idx="1706">
                  <c:v>43217</c:v>
                </c:pt>
                <c:pt idx="1707">
                  <c:v>43216</c:v>
                </c:pt>
                <c:pt idx="1708">
                  <c:v>43215</c:v>
                </c:pt>
                <c:pt idx="1709">
                  <c:v>43214</c:v>
                </c:pt>
                <c:pt idx="1710">
                  <c:v>43213</c:v>
                </c:pt>
                <c:pt idx="1711">
                  <c:v>43210</c:v>
                </c:pt>
                <c:pt idx="1712">
                  <c:v>43209</c:v>
                </c:pt>
                <c:pt idx="1713">
                  <c:v>43208</c:v>
                </c:pt>
                <c:pt idx="1714">
                  <c:v>43207</c:v>
                </c:pt>
                <c:pt idx="1715">
                  <c:v>43206</c:v>
                </c:pt>
                <c:pt idx="1716">
                  <c:v>43203</c:v>
                </c:pt>
                <c:pt idx="1717">
                  <c:v>43202</c:v>
                </c:pt>
                <c:pt idx="1718">
                  <c:v>43201</c:v>
                </c:pt>
                <c:pt idx="1719">
                  <c:v>43200</c:v>
                </c:pt>
                <c:pt idx="1720">
                  <c:v>43199</c:v>
                </c:pt>
                <c:pt idx="1721">
                  <c:v>43196</c:v>
                </c:pt>
                <c:pt idx="1722">
                  <c:v>43195</c:v>
                </c:pt>
                <c:pt idx="1723">
                  <c:v>43194</c:v>
                </c:pt>
                <c:pt idx="1724">
                  <c:v>43193</c:v>
                </c:pt>
                <c:pt idx="1725">
                  <c:v>43192</c:v>
                </c:pt>
                <c:pt idx="1726">
                  <c:v>43189</c:v>
                </c:pt>
                <c:pt idx="1727">
                  <c:v>43188</c:v>
                </c:pt>
                <c:pt idx="1728">
                  <c:v>43187</c:v>
                </c:pt>
                <c:pt idx="1729">
                  <c:v>43186</c:v>
                </c:pt>
                <c:pt idx="1730">
                  <c:v>43185</c:v>
                </c:pt>
                <c:pt idx="1731">
                  <c:v>43182</c:v>
                </c:pt>
                <c:pt idx="1732">
                  <c:v>43181</c:v>
                </c:pt>
                <c:pt idx="1733">
                  <c:v>43180</c:v>
                </c:pt>
                <c:pt idx="1734">
                  <c:v>43179</c:v>
                </c:pt>
                <c:pt idx="1735">
                  <c:v>43178</c:v>
                </c:pt>
                <c:pt idx="1736">
                  <c:v>43175</c:v>
                </c:pt>
                <c:pt idx="1737">
                  <c:v>43174</c:v>
                </c:pt>
                <c:pt idx="1738">
                  <c:v>43173</c:v>
                </c:pt>
                <c:pt idx="1739">
                  <c:v>43172</c:v>
                </c:pt>
                <c:pt idx="1740">
                  <c:v>43171</c:v>
                </c:pt>
                <c:pt idx="1741">
                  <c:v>43168</c:v>
                </c:pt>
                <c:pt idx="1742">
                  <c:v>43167</c:v>
                </c:pt>
                <c:pt idx="1743">
                  <c:v>43166</c:v>
                </c:pt>
                <c:pt idx="1744">
                  <c:v>43165</c:v>
                </c:pt>
                <c:pt idx="1745">
                  <c:v>43164</c:v>
                </c:pt>
                <c:pt idx="1746">
                  <c:v>43161</c:v>
                </c:pt>
                <c:pt idx="1747">
                  <c:v>43160</c:v>
                </c:pt>
                <c:pt idx="1748">
                  <c:v>43159</c:v>
                </c:pt>
                <c:pt idx="1749">
                  <c:v>43158</c:v>
                </c:pt>
                <c:pt idx="1750">
                  <c:v>43157</c:v>
                </c:pt>
                <c:pt idx="1751">
                  <c:v>43154</c:v>
                </c:pt>
                <c:pt idx="1752">
                  <c:v>43153</c:v>
                </c:pt>
                <c:pt idx="1753">
                  <c:v>43152</c:v>
                </c:pt>
                <c:pt idx="1754">
                  <c:v>43151</c:v>
                </c:pt>
                <c:pt idx="1755">
                  <c:v>43150</c:v>
                </c:pt>
                <c:pt idx="1756">
                  <c:v>43147</c:v>
                </c:pt>
                <c:pt idx="1757">
                  <c:v>43146</c:v>
                </c:pt>
                <c:pt idx="1758">
                  <c:v>43145</c:v>
                </c:pt>
                <c:pt idx="1759">
                  <c:v>43144</c:v>
                </c:pt>
                <c:pt idx="1760">
                  <c:v>43143</c:v>
                </c:pt>
                <c:pt idx="1761">
                  <c:v>43140</c:v>
                </c:pt>
                <c:pt idx="1762">
                  <c:v>43139</c:v>
                </c:pt>
                <c:pt idx="1763">
                  <c:v>43138</c:v>
                </c:pt>
                <c:pt idx="1764">
                  <c:v>43137</c:v>
                </c:pt>
                <c:pt idx="1765">
                  <c:v>43136</c:v>
                </c:pt>
                <c:pt idx="1766">
                  <c:v>43133</c:v>
                </c:pt>
                <c:pt idx="1767">
                  <c:v>43132</c:v>
                </c:pt>
                <c:pt idx="1768">
                  <c:v>43131</c:v>
                </c:pt>
                <c:pt idx="1769">
                  <c:v>43130</c:v>
                </c:pt>
                <c:pt idx="1770">
                  <c:v>43129</c:v>
                </c:pt>
                <c:pt idx="1771">
                  <c:v>43126</c:v>
                </c:pt>
                <c:pt idx="1772">
                  <c:v>43125</c:v>
                </c:pt>
                <c:pt idx="1773">
                  <c:v>43124</c:v>
                </c:pt>
                <c:pt idx="1774">
                  <c:v>43123</c:v>
                </c:pt>
                <c:pt idx="1775">
                  <c:v>43122</c:v>
                </c:pt>
                <c:pt idx="1776">
                  <c:v>43119</c:v>
                </c:pt>
                <c:pt idx="1777">
                  <c:v>43118</c:v>
                </c:pt>
                <c:pt idx="1778">
                  <c:v>43117</c:v>
                </c:pt>
                <c:pt idx="1779">
                  <c:v>43116</c:v>
                </c:pt>
                <c:pt idx="1780">
                  <c:v>43115</c:v>
                </c:pt>
                <c:pt idx="1781">
                  <c:v>43112</c:v>
                </c:pt>
                <c:pt idx="1782">
                  <c:v>43111</c:v>
                </c:pt>
                <c:pt idx="1783">
                  <c:v>43110</c:v>
                </c:pt>
                <c:pt idx="1784">
                  <c:v>43109</c:v>
                </c:pt>
                <c:pt idx="1785">
                  <c:v>43108</c:v>
                </c:pt>
                <c:pt idx="1786">
                  <c:v>43105</c:v>
                </c:pt>
                <c:pt idx="1787">
                  <c:v>43104</c:v>
                </c:pt>
                <c:pt idx="1788">
                  <c:v>43103</c:v>
                </c:pt>
                <c:pt idx="1789">
                  <c:v>43102</c:v>
                </c:pt>
                <c:pt idx="1790">
                  <c:v>43101</c:v>
                </c:pt>
                <c:pt idx="1791">
                  <c:v>43098</c:v>
                </c:pt>
                <c:pt idx="1792">
                  <c:v>43097</c:v>
                </c:pt>
                <c:pt idx="1793">
                  <c:v>43096</c:v>
                </c:pt>
                <c:pt idx="1794">
                  <c:v>43095</c:v>
                </c:pt>
                <c:pt idx="1795">
                  <c:v>43094</c:v>
                </c:pt>
                <c:pt idx="1796">
                  <c:v>43091</c:v>
                </c:pt>
                <c:pt idx="1797">
                  <c:v>43090</c:v>
                </c:pt>
                <c:pt idx="1798">
                  <c:v>43089</c:v>
                </c:pt>
                <c:pt idx="1799">
                  <c:v>43088</c:v>
                </c:pt>
                <c:pt idx="1800">
                  <c:v>43087</c:v>
                </c:pt>
                <c:pt idx="1801">
                  <c:v>43084</c:v>
                </c:pt>
                <c:pt idx="1802">
                  <c:v>43083</c:v>
                </c:pt>
                <c:pt idx="1803">
                  <c:v>43082</c:v>
                </c:pt>
                <c:pt idx="1804">
                  <c:v>43081</c:v>
                </c:pt>
                <c:pt idx="1805">
                  <c:v>43080</c:v>
                </c:pt>
                <c:pt idx="1806">
                  <c:v>43077</c:v>
                </c:pt>
                <c:pt idx="1807">
                  <c:v>43076</c:v>
                </c:pt>
                <c:pt idx="1808">
                  <c:v>43075</c:v>
                </c:pt>
                <c:pt idx="1809">
                  <c:v>43074</c:v>
                </c:pt>
                <c:pt idx="1810">
                  <c:v>43073</c:v>
                </c:pt>
                <c:pt idx="1811">
                  <c:v>43070</c:v>
                </c:pt>
                <c:pt idx="1812">
                  <c:v>43069</c:v>
                </c:pt>
                <c:pt idx="1813">
                  <c:v>43068</c:v>
                </c:pt>
                <c:pt idx="1814">
                  <c:v>43067</c:v>
                </c:pt>
                <c:pt idx="1815">
                  <c:v>43066</c:v>
                </c:pt>
                <c:pt idx="1816">
                  <c:v>43063</c:v>
                </c:pt>
                <c:pt idx="1817">
                  <c:v>43062</c:v>
                </c:pt>
                <c:pt idx="1818">
                  <c:v>43061</c:v>
                </c:pt>
                <c:pt idx="1819">
                  <c:v>43060</c:v>
                </c:pt>
                <c:pt idx="1820">
                  <c:v>43059</c:v>
                </c:pt>
                <c:pt idx="1821">
                  <c:v>43056</c:v>
                </c:pt>
                <c:pt idx="1822">
                  <c:v>43055</c:v>
                </c:pt>
                <c:pt idx="1823">
                  <c:v>43054</c:v>
                </c:pt>
                <c:pt idx="1824">
                  <c:v>43053</c:v>
                </c:pt>
                <c:pt idx="1825">
                  <c:v>43052</c:v>
                </c:pt>
                <c:pt idx="1826">
                  <c:v>43049</c:v>
                </c:pt>
                <c:pt idx="1827">
                  <c:v>43048</c:v>
                </c:pt>
                <c:pt idx="1828">
                  <c:v>43047</c:v>
                </c:pt>
                <c:pt idx="1829">
                  <c:v>43046</c:v>
                </c:pt>
                <c:pt idx="1830">
                  <c:v>43045</c:v>
                </c:pt>
                <c:pt idx="1831">
                  <c:v>43042</c:v>
                </c:pt>
                <c:pt idx="1832">
                  <c:v>43041</c:v>
                </c:pt>
                <c:pt idx="1833">
                  <c:v>43040</c:v>
                </c:pt>
                <c:pt idx="1834">
                  <c:v>43039</c:v>
                </c:pt>
                <c:pt idx="1835">
                  <c:v>43038</c:v>
                </c:pt>
                <c:pt idx="1836">
                  <c:v>43035</c:v>
                </c:pt>
                <c:pt idx="1837">
                  <c:v>43034</c:v>
                </c:pt>
                <c:pt idx="1838">
                  <c:v>43033</c:v>
                </c:pt>
                <c:pt idx="1839">
                  <c:v>43032</c:v>
                </c:pt>
                <c:pt idx="1840">
                  <c:v>43031</c:v>
                </c:pt>
                <c:pt idx="1841">
                  <c:v>43028</c:v>
                </c:pt>
                <c:pt idx="1842">
                  <c:v>43027</c:v>
                </c:pt>
                <c:pt idx="1843">
                  <c:v>43026</c:v>
                </c:pt>
                <c:pt idx="1844">
                  <c:v>43025</c:v>
                </c:pt>
                <c:pt idx="1845">
                  <c:v>43024</c:v>
                </c:pt>
                <c:pt idx="1846">
                  <c:v>43021</c:v>
                </c:pt>
                <c:pt idx="1847">
                  <c:v>43020</c:v>
                </c:pt>
                <c:pt idx="1848">
                  <c:v>43019</c:v>
                </c:pt>
                <c:pt idx="1849">
                  <c:v>43018</c:v>
                </c:pt>
                <c:pt idx="1850">
                  <c:v>43017</c:v>
                </c:pt>
                <c:pt idx="1851">
                  <c:v>43014</c:v>
                </c:pt>
                <c:pt idx="1852">
                  <c:v>43013</c:v>
                </c:pt>
                <c:pt idx="1853">
                  <c:v>43012</c:v>
                </c:pt>
                <c:pt idx="1854">
                  <c:v>43011</c:v>
                </c:pt>
                <c:pt idx="1855">
                  <c:v>43010</c:v>
                </c:pt>
                <c:pt idx="1856">
                  <c:v>43007</c:v>
                </c:pt>
                <c:pt idx="1857">
                  <c:v>43006</c:v>
                </c:pt>
                <c:pt idx="1858">
                  <c:v>43005</c:v>
                </c:pt>
                <c:pt idx="1859">
                  <c:v>43004</c:v>
                </c:pt>
                <c:pt idx="1860">
                  <c:v>43003</c:v>
                </c:pt>
                <c:pt idx="1861">
                  <c:v>43000</c:v>
                </c:pt>
                <c:pt idx="1862">
                  <c:v>42999</c:v>
                </c:pt>
                <c:pt idx="1863">
                  <c:v>42998</c:v>
                </c:pt>
                <c:pt idx="1864">
                  <c:v>42997</c:v>
                </c:pt>
                <c:pt idx="1865">
                  <c:v>42996</c:v>
                </c:pt>
                <c:pt idx="1866">
                  <c:v>42993</c:v>
                </c:pt>
                <c:pt idx="1867">
                  <c:v>42992</c:v>
                </c:pt>
                <c:pt idx="1868">
                  <c:v>42991</c:v>
                </c:pt>
                <c:pt idx="1869">
                  <c:v>42990</c:v>
                </c:pt>
                <c:pt idx="1870">
                  <c:v>42989</c:v>
                </c:pt>
                <c:pt idx="1871">
                  <c:v>42986</c:v>
                </c:pt>
                <c:pt idx="1872">
                  <c:v>42985</c:v>
                </c:pt>
                <c:pt idx="1873">
                  <c:v>42984</c:v>
                </c:pt>
                <c:pt idx="1874">
                  <c:v>42983</c:v>
                </c:pt>
                <c:pt idx="1875">
                  <c:v>42982</c:v>
                </c:pt>
                <c:pt idx="1876">
                  <c:v>42979</c:v>
                </c:pt>
                <c:pt idx="1877">
                  <c:v>42978</c:v>
                </c:pt>
                <c:pt idx="1878">
                  <c:v>42977</c:v>
                </c:pt>
                <c:pt idx="1879">
                  <c:v>42976</c:v>
                </c:pt>
                <c:pt idx="1880">
                  <c:v>42975</c:v>
                </c:pt>
                <c:pt idx="1881">
                  <c:v>42972</c:v>
                </c:pt>
                <c:pt idx="1882">
                  <c:v>42971</c:v>
                </c:pt>
                <c:pt idx="1883">
                  <c:v>42970</c:v>
                </c:pt>
                <c:pt idx="1884">
                  <c:v>42969</c:v>
                </c:pt>
                <c:pt idx="1885">
                  <c:v>42968</c:v>
                </c:pt>
                <c:pt idx="1886">
                  <c:v>42965</c:v>
                </c:pt>
                <c:pt idx="1887">
                  <c:v>42964</c:v>
                </c:pt>
                <c:pt idx="1888">
                  <c:v>42963</c:v>
                </c:pt>
                <c:pt idx="1889">
                  <c:v>42962</c:v>
                </c:pt>
                <c:pt idx="1890">
                  <c:v>42961</c:v>
                </c:pt>
                <c:pt idx="1891">
                  <c:v>42958</c:v>
                </c:pt>
                <c:pt idx="1892">
                  <c:v>42957</c:v>
                </c:pt>
                <c:pt idx="1893">
                  <c:v>42956</c:v>
                </c:pt>
                <c:pt idx="1894">
                  <c:v>42955</c:v>
                </c:pt>
                <c:pt idx="1895">
                  <c:v>42954</c:v>
                </c:pt>
                <c:pt idx="1896">
                  <c:v>42951</c:v>
                </c:pt>
                <c:pt idx="1897">
                  <c:v>42950</c:v>
                </c:pt>
                <c:pt idx="1898">
                  <c:v>42949</c:v>
                </c:pt>
                <c:pt idx="1899">
                  <c:v>42948</c:v>
                </c:pt>
                <c:pt idx="1900">
                  <c:v>42947</c:v>
                </c:pt>
                <c:pt idx="1901">
                  <c:v>42944</c:v>
                </c:pt>
                <c:pt idx="1902">
                  <c:v>42943</c:v>
                </c:pt>
                <c:pt idx="1903">
                  <c:v>42942</c:v>
                </c:pt>
                <c:pt idx="1904">
                  <c:v>42941</c:v>
                </c:pt>
                <c:pt idx="1905">
                  <c:v>42940</c:v>
                </c:pt>
                <c:pt idx="1906">
                  <c:v>42937</c:v>
                </c:pt>
                <c:pt idx="1907">
                  <c:v>42936</c:v>
                </c:pt>
                <c:pt idx="1908">
                  <c:v>42935</c:v>
                </c:pt>
                <c:pt idx="1909">
                  <c:v>42934</c:v>
                </c:pt>
                <c:pt idx="1910">
                  <c:v>42933</c:v>
                </c:pt>
                <c:pt idx="1911">
                  <c:v>42930</c:v>
                </c:pt>
                <c:pt idx="1912">
                  <c:v>42929</c:v>
                </c:pt>
                <c:pt idx="1913">
                  <c:v>42928</c:v>
                </c:pt>
                <c:pt idx="1914">
                  <c:v>42927</c:v>
                </c:pt>
                <c:pt idx="1915">
                  <c:v>42926</c:v>
                </c:pt>
                <c:pt idx="1916">
                  <c:v>42923</c:v>
                </c:pt>
                <c:pt idx="1917">
                  <c:v>42922</c:v>
                </c:pt>
                <c:pt idx="1918">
                  <c:v>42921</c:v>
                </c:pt>
                <c:pt idx="1919">
                  <c:v>42920</c:v>
                </c:pt>
                <c:pt idx="1920">
                  <c:v>42919</c:v>
                </c:pt>
                <c:pt idx="1921">
                  <c:v>42916</c:v>
                </c:pt>
                <c:pt idx="1922">
                  <c:v>42915</c:v>
                </c:pt>
                <c:pt idx="1923">
                  <c:v>42914</c:v>
                </c:pt>
                <c:pt idx="1924">
                  <c:v>42913</c:v>
                </c:pt>
                <c:pt idx="1925">
                  <c:v>42912</c:v>
                </c:pt>
                <c:pt idx="1926">
                  <c:v>42909</c:v>
                </c:pt>
                <c:pt idx="1927">
                  <c:v>42908</c:v>
                </c:pt>
                <c:pt idx="1928">
                  <c:v>42907</c:v>
                </c:pt>
                <c:pt idx="1929">
                  <c:v>42906</c:v>
                </c:pt>
                <c:pt idx="1930">
                  <c:v>42905</c:v>
                </c:pt>
                <c:pt idx="1931">
                  <c:v>42902</c:v>
                </c:pt>
                <c:pt idx="1932">
                  <c:v>42901</c:v>
                </c:pt>
                <c:pt idx="1933">
                  <c:v>42900</c:v>
                </c:pt>
                <c:pt idx="1934">
                  <c:v>42899</c:v>
                </c:pt>
                <c:pt idx="1935">
                  <c:v>42898</c:v>
                </c:pt>
                <c:pt idx="1936">
                  <c:v>42895</c:v>
                </c:pt>
                <c:pt idx="1937">
                  <c:v>42894</c:v>
                </c:pt>
                <c:pt idx="1938">
                  <c:v>42893</c:v>
                </c:pt>
                <c:pt idx="1939">
                  <c:v>42892</c:v>
                </c:pt>
                <c:pt idx="1940">
                  <c:v>42891</c:v>
                </c:pt>
                <c:pt idx="1941">
                  <c:v>42888</c:v>
                </c:pt>
                <c:pt idx="1942">
                  <c:v>42887</c:v>
                </c:pt>
                <c:pt idx="1943">
                  <c:v>42886</c:v>
                </c:pt>
                <c:pt idx="1944">
                  <c:v>42885</c:v>
                </c:pt>
                <c:pt idx="1945">
                  <c:v>42884</c:v>
                </c:pt>
                <c:pt idx="1946">
                  <c:v>42881</c:v>
                </c:pt>
                <c:pt idx="1947">
                  <c:v>42880</c:v>
                </c:pt>
                <c:pt idx="1948">
                  <c:v>42879</c:v>
                </c:pt>
                <c:pt idx="1949">
                  <c:v>42878</c:v>
                </c:pt>
                <c:pt idx="1950">
                  <c:v>42877</c:v>
                </c:pt>
                <c:pt idx="1951">
                  <c:v>42874</c:v>
                </c:pt>
                <c:pt idx="1952">
                  <c:v>42873</c:v>
                </c:pt>
                <c:pt idx="1953">
                  <c:v>42872</c:v>
                </c:pt>
                <c:pt idx="1954">
                  <c:v>42871</c:v>
                </c:pt>
                <c:pt idx="1955">
                  <c:v>42870</c:v>
                </c:pt>
                <c:pt idx="1956">
                  <c:v>42867</c:v>
                </c:pt>
                <c:pt idx="1957">
                  <c:v>42866</c:v>
                </c:pt>
                <c:pt idx="1958">
                  <c:v>42865</c:v>
                </c:pt>
                <c:pt idx="1959">
                  <c:v>42864</c:v>
                </c:pt>
                <c:pt idx="1960">
                  <c:v>42863</c:v>
                </c:pt>
                <c:pt idx="1961">
                  <c:v>42860</c:v>
                </c:pt>
                <c:pt idx="1962">
                  <c:v>42859</c:v>
                </c:pt>
                <c:pt idx="1963">
                  <c:v>42858</c:v>
                </c:pt>
                <c:pt idx="1964">
                  <c:v>42857</c:v>
                </c:pt>
                <c:pt idx="1965">
                  <c:v>42856</c:v>
                </c:pt>
                <c:pt idx="1966">
                  <c:v>42853</c:v>
                </c:pt>
                <c:pt idx="1967">
                  <c:v>42852</c:v>
                </c:pt>
                <c:pt idx="1968">
                  <c:v>42851</c:v>
                </c:pt>
                <c:pt idx="1969">
                  <c:v>42850</c:v>
                </c:pt>
                <c:pt idx="1970">
                  <c:v>42849</c:v>
                </c:pt>
                <c:pt idx="1971">
                  <c:v>42846</c:v>
                </c:pt>
                <c:pt idx="1972">
                  <c:v>42845</c:v>
                </c:pt>
                <c:pt idx="1973">
                  <c:v>42844</c:v>
                </c:pt>
                <c:pt idx="1974">
                  <c:v>42843</c:v>
                </c:pt>
                <c:pt idx="1975">
                  <c:v>42842</c:v>
                </c:pt>
                <c:pt idx="1976">
                  <c:v>42839</c:v>
                </c:pt>
                <c:pt idx="1977">
                  <c:v>42838</c:v>
                </c:pt>
                <c:pt idx="1978">
                  <c:v>42837</c:v>
                </c:pt>
                <c:pt idx="1979">
                  <c:v>42836</c:v>
                </c:pt>
                <c:pt idx="1980">
                  <c:v>42835</c:v>
                </c:pt>
                <c:pt idx="1981">
                  <c:v>42832</c:v>
                </c:pt>
                <c:pt idx="1982">
                  <c:v>42831</c:v>
                </c:pt>
                <c:pt idx="1983">
                  <c:v>42830</c:v>
                </c:pt>
                <c:pt idx="1984">
                  <c:v>42829</c:v>
                </c:pt>
                <c:pt idx="1985">
                  <c:v>42828</c:v>
                </c:pt>
                <c:pt idx="1986">
                  <c:v>42825</c:v>
                </c:pt>
                <c:pt idx="1987">
                  <c:v>42824</c:v>
                </c:pt>
                <c:pt idx="1988">
                  <c:v>42823</c:v>
                </c:pt>
                <c:pt idx="1989">
                  <c:v>42822</c:v>
                </c:pt>
                <c:pt idx="1990">
                  <c:v>42821</c:v>
                </c:pt>
                <c:pt idx="1991">
                  <c:v>42818</c:v>
                </c:pt>
                <c:pt idx="1992">
                  <c:v>42817</c:v>
                </c:pt>
                <c:pt idx="1993">
                  <c:v>42816</c:v>
                </c:pt>
                <c:pt idx="1994">
                  <c:v>42815</c:v>
                </c:pt>
                <c:pt idx="1995">
                  <c:v>42814</c:v>
                </c:pt>
                <c:pt idx="1996">
                  <c:v>42811</c:v>
                </c:pt>
                <c:pt idx="1997">
                  <c:v>42810</c:v>
                </c:pt>
                <c:pt idx="1998">
                  <c:v>42809</c:v>
                </c:pt>
                <c:pt idx="1999">
                  <c:v>42808</c:v>
                </c:pt>
                <c:pt idx="2000">
                  <c:v>42807</c:v>
                </c:pt>
                <c:pt idx="2001">
                  <c:v>42804</c:v>
                </c:pt>
                <c:pt idx="2002">
                  <c:v>42803</c:v>
                </c:pt>
                <c:pt idx="2003">
                  <c:v>42802</c:v>
                </c:pt>
                <c:pt idx="2004">
                  <c:v>42801</c:v>
                </c:pt>
                <c:pt idx="2005">
                  <c:v>42800</c:v>
                </c:pt>
                <c:pt idx="2006">
                  <c:v>42797</c:v>
                </c:pt>
                <c:pt idx="2007">
                  <c:v>42796</c:v>
                </c:pt>
                <c:pt idx="2008">
                  <c:v>42795</c:v>
                </c:pt>
                <c:pt idx="2009">
                  <c:v>42794</c:v>
                </c:pt>
                <c:pt idx="2010">
                  <c:v>42793</c:v>
                </c:pt>
                <c:pt idx="2011">
                  <c:v>42790</c:v>
                </c:pt>
                <c:pt idx="2012">
                  <c:v>42789</c:v>
                </c:pt>
                <c:pt idx="2013">
                  <c:v>42788</c:v>
                </c:pt>
                <c:pt idx="2014">
                  <c:v>42787</c:v>
                </c:pt>
                <c:pt idx="2015">
                  <c:v>42786</c:v>
                </c:pt>
                <c:pt idx="2016">
                  <c:v>42783</c:v>
                </c:pt>
                <c:pt idx="2017">
                  <c:v>42782</c:v>
                </c:pt>
                <c:pt idx="2018">
                  <c:v>42781</c:v>
                </c:pt>
                <c:pt idx="2019">
                  <c:v>42780</c:v>
                </c:pt>
                <c:pt idx="2020">
                  <c:v>42779</c:v>
                </c:pt>
                <c:pt idx="2021">
                  <c:v>42776</c:v>
                </c:pt>
                <c:pt idx="2022">
                  <c:v>42775</c:v>
                </c:pt>
                <c:pt idx="2023">
                  <c:v>42774</c:v>
                </c:pt>
                <c:pt idx="2024">
                  <c:v>42773</c:v>
                </c:pt>
                <c:pt idx="2025">
                  <c:v>42772</c:v>
                </c:pt>
                <c:pt idx="2026">
                  <c:v>42769</c:v>
                </c:pt>
                <c:pt idx="2027">
                  <c:v>42768</c:v>
                </c:pt>
                <c:pt idx="2028">
                  <c:v>42767</c:v>
                </c:pt>
                <c:pt idx="2029">
                  <c:v>42766</c:v>
                </c:pt>
                <c:pt idx="2030">
                  <c:v>42765</c:v>
                </c:pt>
                <c:pt idx="2031">
                  <c:v>42762</c:v>
                </c:pt>
                <c:pt idx="2032">
                  <c:v>42761</c:v>
                </c:pt>
                <c:pt idx="2033">
                  <c:v>42760</c:v>
                </c:pt>
                <c:pt idx="2034">
                  <c:v>42759</c:v>
                </c:pt>
                <c:pt idx="2035">
                  <c:v>42758</c:v>
                </c:pt>
                <c:pt idx="2036">
                  <c:v>42755</c:v>
                </c:pt>
                <c:pt idx="2037">
                  <c:v>42754</c:v>
                </c:pt>
                <c:pt idx="2038">
                  <c:v>42753</c:v>
                </c:pt>
                <c:pt idx="2039">
                  <c:v>42752</c:v>
                </c:pt>
                <c:pt idx="2040">
                  <c:v>42751</c:v>
                </c:pt>
                <c:pt idx="2041">
                  <c:v>42748</c:v>
                </c:pt>
                <c:pt idx="2042">
                  <c:v>42747</c:v>
                </c:pt>
                <c:pt idx="2043">
                  <c:v>42746</c:v>
                </c:pt>
                <c:pt idx="2044">
                  <c:v>42745</c:v>
                </c:pt>
                <c:pt idx="2045">
                  <c:v>42744</c:v>
                </c:pt>
                <c:pt idx="2046">
                  <c:v>42741</c:v>
                </c:pt>
                <c:pt idx="2047">
                  <c:v>42740</c:v>
                </c:pt>
                <c:pt idx="2048">
                  <c:v>42739</c:v>
                </c:pt>
                <c:pt idx="2049">
                  <c:v>42738</c:v>
                </c:pt>
                <c:pt idx="2050">
                  <c:v>42737</c:v>
                </c:pt>
                <c:pt idx="2051">
                  <c:v>42734</c:v>
                </c:pt>
                <c:pt idx="2052">
                  <c:v>42733</c:v>
                </c:pt>
                <c:pt idx="2053">
                  <c:v>42732</c:v>
                </c:pt>
                <c:pt idx="2054">
                  <c:v>42731</c:v>
                </c:pt>
                <c:pt idx="2055">
                  <c:v>42730</c:v>
                </c:pt>
                <c:pt idx="2056">
                  <c:v>42727</c:v>
                </c:pt>
                <c:pt idx="2057">
                  <c:v>42726</c:v>
                </c:pt>
                <c:pt idx="2058">
                  <c:v>42725</c:v>
                </c:pt>
                <c:pt idx="2059">
                  <c:v>42724</c:v>
                </c:pt>
                <c:pt idx="2060">
                  <c:v>42723</c:v>
                </c:pt>
                <c:pt idx="2061">
                  <c:v>42720</c:v>
                </c:pt>
                <c:pt idx="2062">
                  <c:v>42719</c:v>
                </c:pt>
                <c:pt idx="2063">
                  <c:v>42718</c:v>
                </c:pt>
                <c:pt idx="2064">
                  <c:v>42717</c:v>
                </c:pt>
                <c:pt idx="2065">
                  <c:v>42716</c:v>
                </c:pt>
                <c:pt idx="2066">
                  <c:v>42713</c:v>
                </c:pt>
                <c:pt idx="2067">
                  <c:v>42712</c:v>
                </c:pt>
                <c:pt idx="2068">
                  <c:v>42711</c:v>
                </c:pt>
                <c:pt idx="2069">
                  <c:v>42710</c:v>
                </c:pt>
                <c:pt idx="2070">
                  <c:v>42709</c:v>
                </c:pt>
                <c:pt idx="2071">
                  <c:v>42706</c:v>
                </c:pt>
                <c:pt idx="2072">
                  <c:v>42705</c:v>
                </c:pt>
                <c:pt idx="2073">
                  <c:v>42704</c:v>
                </c:pt>
                <c:pt idx="2074">
                  <c:v>42703</c:v>
                </c:pt>
                <c:pt idx="2075">
                  <c:v>42702</c:v>
                </c:pt>
                <c:pt idx="2076">
                  <c:v>42699</c:v>
                </c:pt>
                <c:pt idx="2077">
                  <c:v>42698</c:v>
                </c:pt>
                <c:pt idx="2078">
                  <c:v>42697</c:v>
                </c:pt>
                <c:pt idx="2079">
                  <c:v>42696</c:v>
                </c:pt>
                <c:pt idx="2080">
                  <c:v>42695</c:v>
                </c:pt>
                <c:pt idx="2081">
                  <c:v>42692</c:v>
                </c:pt>
                <c:pt idx="2082">
                  <c:v>42691</c:v>
                </c:pt>
                <c:pt idx="2083">
                  <c:v>42690</c:v>
                </c:pt>
                <c:pt idx="2084">
                  <c:v>42689</c:v>
                </c:pt>
                <c:pt idx="2085">
                  <c:v>42688</c:v>
                </c:pt>
                <c:pt idx="2086">
                  <c:v>42685</c:v>
                </c:pt>
                <c:pt idx="2087">
                  <c:v>42684</c:v>
                </c:pt>
                <c:pt idx="2088">
                  <c:v>42683</c:v>
                </c:pt>
                <c:pt idx="2089">
                  <c:v>42682</c:v>
                </c:pt>
                <c:pt idx="2090">
                  <c:v>42681</c:v>
                </c:pt>
                <c:pt idx="2091">
                  <c:v>42678</c:v>
                </c:pt>
                <c:pt idx="2092">
                  <c:v>42677</c:v>
                </c:pt>
                <c:pt idx="2093">
                  <c:v>42676</c:v>
                </c:pt>
                <c:pt idx="2094">
                  <c:v>42675</c:v>
                </c:pt>
                <c:pt idx="2095">
                  <c:v>42674</c:v>
                </c:pt>
                <c:pt idx="2096">
                  <c:v>42671</c:v>
                </c:pt>
                <c:pt idx="2097">
                  <c:v>42670</c:v>
                </c:pt>
                <c:pt idx="2098">
                  <c:v>42669</c:v>
                </c:pt>
                <c:pt idx="2099">
                  <c:v>42668</c:v>
                </c:pt>
                <c:pt idx="2100">
                  <c:v>42667</c:v>
                </c:pt>
                <c:pt idx="2101">
                  <c:v>42664</c:v>
                </c:pt>
                <c:pt idx="2102">
                  <c:v>42663</c:v>
                </c:pt>
                <c:pt idx="2103">
                  <c:v>42662</c:v>
                </c:pt>
                <c:pt idx="2104">
                  <c:v>42661</c:v>
                </c:pt>
                <c:pt idx="2105">
                  <c:v>42660</c:v>
                </c:pt>
                <c:pt idx="2106">
                  <c:v>42657</c:v>
                </c:pt>
                <c:pt idx="2107">
                  <c:v>42656</c:v>
                </c:pt>
                <c:pt idx="2108">
                  <c:v>42655</c:v>
                </c:pt>
                <c:pt idx="2109">
                  <c:v>42654</c:v>
                </c:pt>
                <c:pt idx="2110">
                  <c:v>42653</c:v>
                </c:pt>
                <c:pt idx="2111">
                  <c:v>42650</c:v>
                </c:pt>
                <c:pt idx="2112">
                  <c:v>42649</c:v>
                </c:pt>
                <c:pt idx="2113">
                  <c:v>42648</c:v>
                </c:pt>
                <c:pt idx="2114">
                  <c:v>42647</c:v>
                </c:pt>
                <c:pt idx="2115">
                  <c:v>42646</c:v>
                </c:pt>
                <c:pt idx="2116">
                  <c:v>42643</c:v>
                </c:pt>
                <c:pt idx="2117">
                  <c:v>42642</c:v>
                </c:pt>
                <c:pt idx="2118">
                  <c:v>42641</c:v>
                </c:pt>
                <c:pt idx="2119">
                  <c:v>42640</c:v>
                </c:pt>
                <c:pt idx="2120">
                  <c:v>42639</c:v>
                </c:pt>
                <c:pt idx="2121">
                  <c:v>42636</c:v>
                </c:pt>
                <c:pt idx="2122">
                  <c:v>42635</c:v>
                </c:pt>
                <c:pt idx="2123">
                  <c:v>42634</c:v>
                </c:pt>
                <c:pt idx="2124">
                  <c:v>42633</c:v>
                </c:pt>
                <c:pt idx="2125">
                  <c:v>42632</c:v>
                </c:pt>
                <c:pt idx="2126">
                  <c:v>42629</c:v>
                </c:pt>
                <c:pt idx="2127">
                  <c:v>42628</c:v>
                </c:pt>
                <c:pt idx="2128">
                  <c:v>42627</c:v>
                </c:pt>
                <c:pt idx="2129">
                  <c:v>42626</c:v>
                </c:pt>
                <c:pt idx="2130">
                  <c:v>42625</c:v>
                </c:pt>
                <c:pt idx="2131">
                  <c:v>42622</c:v>
                </c:pt>
                <c:pt idx="2132">
                  <c:v>42621</c:v>
                </c:pt>
                <c:pt idx="2133">
                  <c:v>42620</c:v>
                </c:pt>
                <c:pt idx="2134">
                  <c:v>42619</c:v>
                </c:pt>
                <c:pt idx="2135">
                  <c:v>42618</c:v>
                </c:pt>
                <c:pt idx="2136">
                  <c:v>42615</c:v>
                </c:pt>
                <c:pt idx="2137">
                  <c:v>42614</c:v>
                </c:pt>
                <c:pt idx="2138">
                  <c:v>42613</c:v>
                </c:pt>
                <c:pt idx="2139">
                  <c:v>42612</c:v>
                </c:pt>
                <c:pt idx="2140">
                  <c:v>42611</c:v>
                </c:pt>
                <c:pt idx="2141">
                  <c:v>42608</c:v>
                </c:pt>
                <c:pt idx="2142">
                  <c:v>42607</c:v>
                </c:pt>
                <c:pt idx="2143">
                  <c:v>42606</c:v>
                </c:pt>
                <c:pt idx="2144">
                  <c:v>42605</c:v>
                </c:pt>
                <c:pt idx="2145">
                  <c:v>42604</c:v>
                </c:pt>
                <c:pt idx="2146">
                  <c:v>42601</c:v>
                </c:pt>
                <c:pt idx="2147">
                  <c:v>42600</c:v>
                </c:pt>
                <c:pt idx="2148">
                  <c:v>42599</c:v>
                </c:pt>
                <c:pt idx="2149">
                  <c:v>42598</c:v>
                </c:pt>
                <c:pt idx="2150">
                  <c:v>42597</c:v>
                </c:pt>
                <c:pt idx="2151">
                  <c:v>42594</c:v>
                </c:pt>
                <c:pt idx="2152">
                  <c:v>42593</c:v>
                </c:pt>
                <c:pt idx="2153">
                  <c:v>42592</c:v>
                </c:pt>
                <c:pt idx="2154">
                  <c:v>42591</c:v>
                </c:pt>
                <c:pt idx="2155">
                  <c:v>42590</c:v>
                </c:pt>
                <c:pt idx="2156">
                  <c:v>42587</c:v>
                </c:pt>
                <c:pt idx="2157">
                  <c:v>42586</c:v>
                </c:pt>
                <c:pt idx="2158">
                  <c:v>42585</c:v>
                </c:pt>
                <c:pt idx="2159">
                  <c:v>42584</c:v>
                </c:pt>
                <c:pt idx="2160">
                  <c:v>42583</c:v>
                </c:pt>
                <c:pt idx="2161">
                  <c:v>42580</c:v>
                </c:pt>
                <c:pt idx="2162">
                  <c:v>42579</c:v>
                </c:pt>
                <c:pt idx="2163">
                  <c:v>42578</c:v>
                </c:pt>
                <c:pt idx="2164">
                  <c:v>42577</c:v>
                </c:pt>
                <c:pt idx="2165">
                  <c:v>42576</c:v>
                </c:pt>
                <c:pt idx="2166">
                  <c:v>42573</c:v>
                </c:pt>
                <c:pt idx="2167">
                  <c:v>42572</c:v>
                </c:pt>
                <c:pt idx="2168">
                  <c:v>42571</c:v>
                </c:pt>
                <c:pt idx="2169">
                  <c:v>42570</c:v>
                </c:pt>
                <c:pt idx="2170">
                  <c:v>42569</c:v>
                </c:pt>
                <c:pt idx="2171">
                  <c:v>42566</c:v>
                </c:pt>
                <c:pt idx="2172">
                  <c:v>42565</c:v>
                </c:pt>
                <c:pt idx="2173">
                  <c:v>42564</c:v>
                </c:pt>
                <c:pt idx="2174">
                  <c:v>42563</c:v>
                </c:pt>
                <c:pt idx="2175">
                  <c:v>42562</c:v>
                </c:pt>
                <c:pt idx="2176">
                  <c:v>42559</c:v>
                </c:pt>
                <c:pt idx="2177">
                  <c:v>42558</c:v>
                </c:pt>
                <c:pt idx="2178">
                  <c:v>42557</c:v>
                </c:pt>
                <c:pt idx="2179">
                  <c:v>42556</c:v>
                </c:pt>
                <c:pt idx="2180">
                  <c:v>42555</c:v>
                </c:pt>
                <c:pt idx="2181">
                  <c:v>42552</c:v>
                </c:pt>
                <c:pt idx="2182">
                  <c:v>42551</c:v>
                </c:pt>
                <c:pt idx="2183">
                  <c:v>42550</c:v>
                </c:pt>
                <c:pt idx="2184">
                  <c:v>42549</c:v>
                </c:pt>
                <c:pt idx="2185">
                  <c:v>42548</c:v>
                </c:pt>
                <c:pt idx="2186">
                  <c:v>42545</c:v>
                </c:pt>
                <c:pt idx="2187">
                  <c:v>42544</c:v>
                </c:pt>
                <c:pt idx="2188">
                  <c:v>42543</c:v>
                </c:pt>
                <c:pt idx="2189">
                  <c:v>42542</c:v>
                </c:pt>
                <c:pt idx="2190">
                  <c:v>42541</c:v>
                </c:pt>
                <c:pt idx="2191">
                  <c:v>42538</c:v>
                </c:pt>
                <c:pt idx="2192">
                  <c:v>42537</c:v>
                </c:pt>
                <c:pt idx="2193">
                  <c:v>42536</c:v>
                </c:pt>
                <c:pt idx="2194">
                  <c:v>42535</c:v>
                </c:pt>
                <c:pt idx="2195">
                  <c:v>42534</c:v>
                </c:pt>
                <c:pt idx="2196">
                  <c:v>42531</c:v>
                </c:pt>
                <c:pt idx="2197">
                  <c:v>42530</c:v>
                </c:pt>
                <c:pt idx="2198">
                  <c:v>42529</c:v>
                </c:pt>
                <c:pt idx="2199">
                  <c:v>42528</c:v>
                </c:pt>
                <c:pt idx="2200">
                  <c:v>42527</c:v>
                </c:pt>
                <c:pt idx="2201">
                  <c:v>42524</c:v>
                </c:pt>
                <c:pt idx="2202">
                  <c:v>42523</c:v>
                </c:pt>
                <c:pt idx="2203">
                  <c:v>42522</c:v>
                </c:pt>
                <c:pt idx="2204">
                  <c:v>42521</c:v>
                </c:pt>
                <c:pt idx="2205">
                  <c:v>42520</c:v>
                </c:pt>
                <c:pt idx="2206">
                  <c:v>42517</c:v>
                </c:pt>
                <c:pt idx="2207">
                  <c:v>42516</c:v>
                </c:pt>
                <c:pt idx="2208">
                  <c:v>42515</c:v>
                </c:pt>
                <c:pt idx="2209">
                  <c:v>42514</c:v>
                </c:pt>
                <c:pt idx="2210">
                  <c:v>42513</c:v>
                </c:pt>
                <c:pt idx="2211">
                  <c:v>42510</c:v>
                </c:pt>
                <c:pt idx="2212">
                  <c:v>42509</c:v>
                </c:pt>
                <c:pt idx="2213">
                  <c:v>42508</c:v>
                </c:pt>
                <c:pt idx="2214">
                  <c:v>42507</c:v>
                </c:pt>
                <c:pt idx="2215">
                  <c:v>42506</c:v>
                </c:pt>
                <c:pt idx="2216">
                  <c:v>42503</c:v>
                </c:pt>
                <c:pt idx="2217">
                  <c:v>42502</c:v>
                </c:pt>
                <c:pt idx="2218">
                  <c:v>42501</c:v>
                </c:pt>
                <c:pt idx="2219">
                  <c:v>42500</c:v>
                </c:pt>
                <c:pt idx="2220">
                  <c:v>42499</c:v>
                </c:pt>
                <c:pt idx="2221">
                  <c:v>42496</c:v>
                </c:pt>
                <c:pt idx="2222">
                  <c:v>42495</c:v>
                </c:pt>
                <c:pt idx="2223">
                  <c:v>42494</c:v>
                </c:pt>
                <c:pt idx="2224">
                  <c:v>42493</c:v>
                </c:pt>
                <c:pt idx="2225">
                  <c:v>42492</c:v>
                </c:pt>
                <c:pt idx="2226">
                  <c:v>42489</c:v>
                </c:pt>
                <c:pt idx="2227">
                  <c:v>42488</c:v>
                </c:pt>
                <c:pt idx="2228">
                  <c:v>42487</c:v>
                </c:pt>
                <c:pt idx="2229">
                  <c:v>42486</c:v>
                </c:pt>
                <c:pt idx="2230">
                  <c:v>42485</c:v>
                </c:pt>
                <c:pt idx="2231">
                  <c:v>42482</c:v>
                </c:pt>
                <c:pt idx="2232">
                  <c:v>42481</c:v>
                </c:pt>
                <c:pt idx="2233">
                  <c:v>42480</c:v>
                </c:pt>
                <c:pt idx="2234">
                  <c:v>42479</c:v>
                </c:pt>
                <c:pt idx="2235">
                  <c:v>42478</c:v>
                </c:pt>
                <c:pt idx="2236">
                  <c:v>42475</c:v>
                </c:pt>
                <c:pt idx="2237">
                  <c:v>42474</c:v>
                </c:pt>
                <c:pt idx="2238">
                  <c:v>42473</c:v>
                </c:pt>
                <c:pt idx="2239">
                  <c:v>42472</c:v>
                </c:pt>
                <c:pt idx="2240">
                  <c:v>42471</c:v>
                </c:pt>
                <c:pt idx="2241">
                  <c:v>42468</c:v>
                </c:pt>
                <c:pt idx="2242">
                  <c:v>42467</c:v>
                </c:pt>
                <c:pt idx="2243">
                  <c:v>42466</c:v>
                </c:pt>
                <c:pt idx="2244">
                  <c:v>42465</c:v>
                </c:pt>
                <c:pt idx="2245">
                  <c:v>42464</c:v>
                </c:pt>
                <c:pt idx="2246">
                  <c:v>42461</c:v>
                </c:pt>
                <c:pt idx="2247">
                  <c:v>42460</c:v>
                </c:pt>
                <c:pt idx="2248">
                  <c:v>42459</c:v>
                </c:pt>
                <c:pt idx="2249">
                  <c:v>42458</c:v>
                </c:pt>
                <c:pt idx="2250">
                  <c:v>42457</c:v>
                </c:pt>
                <c:pt idx="2251">
                  <c:v>42454</c:v>
                </c:pt>
                <c:pt idx="2252">
                  <c:v>42453</c:v>
                </c:pt>
                <c:pt idx="2253">
                  <c:v>42452</c:v>
                </c:pt>
                <c:pt idx="2254">
                  <c:v>42451</c:v>
                </c:pt>
                <c:pt idx="2255">
                  <c:v>42450</c:v>
                </c:pt>
                <c:pt idx="2256">
                  <c:v>42447</c:v>
                </c:pt>
                <c:pt idx="2257">
                  <c:v>42446</c:v>
                </c:pt>
                <c:pt idx="2258">
                  <c:v>42445</c:v>
                </c:pt>
                <c:pt idx="2259">
                  <c:v>42444</c:v>
                </c:pt>
                <c:pt idx="2260">
                  <c:v>42443</c:v>
                </c:pt>
                <c:pt idx="2261">
                  <c:v>42440</c:v>
                </c:pt>
                <c:pt idx="2262">
                  <c:v>42439</c:v>
                </c:pt>
                <c:pt idx="2263">
                  <c:v>42438</c:v>
                </c:pt>
                <c:pt idx="2264">
                  <c:v>42437</c:v>
                </c:pt>
                <c:pt idx="2265">
                  <c:v>42436</c:v>
                </c:pt>
                <c:pt idx="2266">
                  <c:v>42433</c:v>
                </c:pt>
                <c:pt idx="2267">
                  <c:v>42432</c:v>
                </c:pt>
                <c:pt idx="2268">
                  <c:v>42431</c:v>
                </c:pt>
                <c:pt idx="2269">
                  <c:v>42430</c:v>
                </c:pt>
                <c:pt idx="2270">
                  <c:v>42429</c:v>
                </c:pt>
                <c:pt idx="2271">
                  <c:v>42426</c:v>
                </c:pt>
                <c:pt idx="2272">
                  <c:v>42425</c:v>
                </c:pt>
                <c:pt idx="2273">
                  <c:v>42424</c:v>
                </c:pt>
                <c:pt idx="2274">
                  <c:v>42423</c:v>
                </c:pt>
                <c:pt idx="2275">
                  <c:v>42422</c:v>
                </c:pt>
                <c:pt idx="2276">
                  <c:v>42419</c:v>
                </c:pt>
                <c:pt idx="2277">
                  <c:v>42418</c:v>
                </c:pt>
                <c:pt idx="2278">
                  <c:v>42417</c:v>
                </c:pt>
                <c:pt idx="2279">
                  <c:v>42416</c:v>
                </c:pt>
                <c:pt idx="2280">
                  <c:v>42415</c:v>
                </c:pt>
                <c:pt idx="2281">
                  <c:v>42412</c:v>
                </c:pt>
                <c:pt idx="2282">
                  <c:v>42411</c:v>
                </c:pt>
                <c:pt idx="2283">
                  <c:v>42410</c:v>
                </c:pt>
                <c:pt idx="2284">
                  <c:v>42409</c:v>
                </c:pt>
                <c:pt idx="2285">
                  <c:v>42408</c:v>
                </c:pt>
                <c:pt idx="2286">
                  <c:v>42405</c:v>
                </c:pt>
                <c:pt idx="2287">
                  <c:v>42404</c:v>
                </c:pt>
                <c:pt idx="2288">
                  <c:v>42403</c:v>
                </c:pt>
                <c:pt idx="2289">
                  <c:v>42402</c:v>
                </c:pt>
                <c:pt idx="2290">
                  <c:v>42401</c:v>
                </c:pt>
                <c:pt idx="2291">
                  <c:v>42398</c:v>
                </c:pt>
                <c:pt idx="2292">
                  <c:v>42397</c:v>
                </c:pt>
                <c:pt idx="2293">
                  <c:v>42396</c:v>
                </c:pt>
                <c:pt idx="2294">
                  <c:v>42395</c:v>
                </c:pt>
                <c:pt idx="2295">
                  <c:v>42394</c:v>
                </c:pt>
                <c:pt idx="2296">
                  <c:v>42391</c:v>
                </c:pt>
                <c:pt idx="2297">
                  <c:v>42390</c:v>
                </c:pt>
                <c:pt idx="2298">
                  <c:v>42389</c:v>
                </c:pt>
                <c:pt idx="2299">
                  <c:v>42388</c:v>
                </c:pt>
                <c:pt idx="2300">
                  <c:v>42387</c:v>
                </c:pt>
                <c:pt idx="2301">
                  <c:v>42384</c:v>
                </c:pt>
                <c:pt idx="2302">
                  <c:v>42383</c:v>
                </c:pt>
                <c:pt idx="2303">
                  <c:v>42382</c:v>
                </c:pt>
                <c:pt idx="2304">
                  <c:v>42381</c:v>
                </c:pt>
                <c:pt idx="2305">
                  <c:v>42380</c:v>
                </c:pt>
                <c:pt idx="2306">
                  <c:v>42377</c:v>
                </c:pt>
                <c:pt idx="2307">
                  <c:v>42376</c:v>
                </c:pt>
                <c:pt idx="2308">
                  <c:v>42375</c:v>
                </c:pt>
                <c:pt idx="2309">
                  <c:v>42374</c:v>
                </c:pt>
                <c:pt idx="2310">
                  <c:v>42373</c:v>
                </c:pt>
                <c:pt idx="2311">
                  <c:v>42370</c:v>
                </c:pt>
                <c:pt idx="2312">
                  <c:v>42369</c:v>
                </c:pt>
                <c:pt idx="2313">
                  <c:v>42368</c:v>
                </c:pt>
                <c:pt idx="2314">
                  <c:v>42367</c:v>
                </c:pt>
                <c:pt idx="2315">
                  <c:v>42366</c:v>
                </c:pt>
                <c:pt idx="2316">
                  <c:v>42363</c:v>
                </c:pt>
                <c:pt idx="2317">
                  <c:v>42362</c:v>
                </c:pt>
                <c:pt idx="2318">
                  <c:v>42361</c:v>
                </c:pt>
                <c:pt idx="2319">
                  <c:v>42360</c:v>
                </c:pt>
                <c:pt idx="2320">
                  <c:v>42359</c:v>
                </c:pt>
                <c:pt idx="2321">
                  <c:v>42356</c:v>
                </c:pt>
                <c:pt idx="2322">
                  <c:v>42355</c:v>
                </c:pt>
                <c:pt idx="2323">
                  <c:v>42354</c:v>
                </c:pt>
                <c:pt idx="2324">
                  <c:v>42353</c:v>
                </c:pt>
                <c:pt idx="2325">
                  <c:v>42352</c:v>
                </c:pt>
                <c:pt idx="2326">
                  <c:v>42349</c:v>
                </c:pt>
                <c:pt idx="2327">
                  <c:v>42348</c:v>
                </c:pt>
                <c:pt idx="2328">
                  <c:v>42347</c:v>
                </c:pt>
                <c:pt idx="2329">
                  <c:v>42346</c:v>
                </c:pt>
                <c:pt idx="2330">
                  <c:v>42345</c:v>
                </c:pt>
                <c:pt idx="2331">
                  <c:v>42342</c:v>
                </c:pt>
                <c:pt idx="2332">
                  <c:v>42341</c:v>
                </c:pt>
                <c:pt idx="2333">
                  <c:v>42340</c:v>
                </c:pt>
                <c:pt idx="2334">
                  <c:v>42339</c:v>
                </c:pt>
                <c:pt idx="2335">
                  <c:v>42338</c:v>
                </c:pt>
                <c:pt idx="2336">
                  <c:v>42335</c:v>
                </c:pt>
                <c:pt idx="2337">
                  <c:v>42334</c:v>
                </c:pt>
                <c:pt idx="2338">
                  <c:v>42333</c:v>
                </c:pt>
                <c:pt idx="2339">
                  <c:v>42332</c:v>
                </c:pt>
                <c:pt idx="2340">
                  <c:v>42331</c:v>
                </c:pt>
                <c:pt idx="2341">
                  <c:v>42328</c:v>
                </c:pt>
                <c:pt idx="2342">
                  <c:v>42327</c:v>
                </c:pt>
                <c:pt idx="2343">
                  <c:v>42326</c:v>
                </c:pt>
                <c:pt idx="2344">
                  <c:v>42325</c:v>
                </c:pt>
                <c:pt idx="2345">
                  <c:v>42324</c:v>
                </c:pt>
                <c:pt idx="2346">
                  <c:v>42321</c:v>
                </c:pt>
                <c:pt idx="2347">
                  <c:v>42320</c:v>
                </c:pt>
                <c:pt idx="2348">
                  <c:v>42319</c:v>
                </c:pt>
                <c:pt idx="2349">
                  <c:v>42318</c:v>
                </c:pt>
                <c:pt idx="2350">
                  <c:v>42317</c:v>
                </c:pt>
                <c:pt idx="2351">
                  <c:v>42314</c:v>
                </c:pt>
                <c:pt idx="2352">
                  <c:v>42313</c:v>
                </c:pt>
                <c:pt idx="2353">
                  <c:v>42312</c:v>
                </c:pt>
                <c:pt idx="2354">
                  <c:v>42311</c:v>
                </c:pt>
                <c:pt idx="2355">
                  <c:v>42310</c:v>
                </c:pt>
                <c:pt idx="2356">
                  <c:v>42307</c:v>
                </c:pt>
                <c:pt idx="2357">
                  <c:v>42306</c:v>
                </c:pt>
                <c:pt idx="2358">
                  <c:v>42305</c:v>
                </c:pt>
                <c:pt idx="2359">
                  <c:v>42304</c:v>
                </c:pt>
                <c:pt idx="2360">
                  <c:v>42303</c:v>
                </c:pt>
                <c:pt idx="2361">
                  <c:v>42300</c:v>
                </c:pt>
                <c:pt idx="2362">
                  <c:v>42299</c:v>
                </c:pt>
                <c:pt idx="2363">
                  <c:v>42298</c:v>
                </c:pt>
                <c:pt idx="2364">
                  <c:v>42297</c:v>
                </c:pt>
                <c:pt idx="2365">
                  <c:v>42296</c:v>
                </c:pt>
                <c:pt idx="2366">
                  <c:v>42293</c:v>
                </c:pt>
                <c:pt idx="2367">
                  <c:v>42292</c:v>
                </c:pt>
                <c:pt idx="2368">
                  <c:v>42291</c:v>
                </c:pt>
                <c:pt idx="2369">
                  <c:v>42290</c:v>
                </c:pt>
                <c:pt idx="2370">
                  <c:v>42289</c:v>
                </c:pt>
                <c:pt idx="2371">
                  <c:v>42286</c:v>
                </c:pt>
                <c:pt idx="2372">
                  <c:v>42285</c:v>
                </c:pt>
                <c:pt idx="2373">
                  <c:v>42284</c:v>
                </c:pt>
                <c:pt idx="2374">
                  <c:v>42283</c:v>
                </c:pt>
                <c:pt idx="2375">
                  <c:v>42282</c:v>
                </c:pt>
                <c:pt idx="2376">
                  <c:v>42279</c:v>
                </c:pt>
                <c:pt idx="2377">
                  <c:v>42278</c:v>
                </c:pt>
                <c:pt idx="2378">
                  <c:v>42277</c:v>
                </c:pt>
                <c:pt idx="2379">
                  <c:v>42276</c:v>
                </c:pt>
                <c:pt idx="2380">
                  <c:v>42275</c:v>
                </c:pt>
                <c:pt idx="2381">
                  <c:v>42272</c:v>
                </c:pt>
                <c:pt idx="2382">
                  <c:v>42271</c:v>
                </c:pt>
                <c:pt idx="2383">
                  <c:v>42270</c:v>
                </c:pt>
                <c:pt idx="2384">
                  <c:v>42269</c:v>
                </c:pt>
                <c:pt idx="2385">
                  <c:v>42268</c:v>
                </c:pt>
                <c:pt idx="2386">
                  <c:v>42265</c:v>
                </c:pt>
                <c:pt idx="2387">
                  <c:v>42264</c:v>
                </c:pt>
                <c:pt idx="2388">
                  <c:v>42263</c:v>
                </c:pt>
                <c:pt idx="2389">
                  <c:v>42262</c:v>
                </c:pt>
                <c:pt idx="2390">
                  <c:v>42261</c:v>
                </c:pt>
                <c:pt idx="2391">
                  <c:v>42258</c:v>
                </c:pt>
                <c:pt idx="2392">
                  <c:v>42257</c:v>
                </c:pt>
                <c:pt idx="2393">
                  <c:v>42256</c:v>
                </c:pt>
                <c:pt idx="2394">
                  <c:v>42255</c:v>
                </c:pt>
                <c:pt idx="2395">
                  <c:v>42254</c:v>
                </c:pt>
                <c:pt idx="2396">
                  <c:v>42251</c:v>
                </c:pt>
                <c:pt idx="2397">
                  <c:v>42250</c:v>
                </c:pt>
                <c:pt idx="2398">
                  <c:v>42249</c:v>
                </c:pt>
                <c:pt idx="2399">
                  <c:v>42248</c:v>
                </c:pt>
                <c:pt idx="2400">
                  <c:v>42247</c:v>
                </c:pt>
                <c:pt idx="2401">
                  <c:v>42244</c:v>
                </c:pt>
                <c:pt idx="2402">
                  <c:v>42243</c:v>
                </c:pt>
                <c:pt idx="2403">
                  <c:v>42242</c:v>
                </c:pt>
                <c:pt idx="2404">
                  <c:v>42241</c:v>
                </c:pt>
                <c:pt idx="2405">
                  <c:v>42240</c:v>
                </c:pt>
                <c:pt idx="2406">
                  <c:v>42237</c:v>
                </c:pt>
                <c:pt idx="2407">
                  <c:v>42236</c:v>
                </c:pt>
                <c:pt idx="2408">
                  <c:v>42235</c:v>
                </c:pt>
                <c:pt idx="2409">
                  <c:v>42234</c:v>
                </c:pt>
                <c:pt idx="2410">
                  <c:v>42233</c:v>
                </c:pt>
                <c:pt idx="2411">
                  <c:v>42230</c:v>
                </c:pt>
                <c:pt idx="2412">
                  <c:v>42229</c:v>
                </c:pt>
                <c:pt idx="2413">
                  <c:v>42228</c:v>
                </c:pt>
                <c:pt idx="2414">
                  <c:v>42227</c:v>
                </c:pt>
                <c:pt idx="2415">
                  <c:v>42226</c:v>
                </c:pt>
                <c:pt idx="2416">
                  <c:v>42223</c:v>
                </c:pt>
                <c:pt idx="2417">
                  <c:v>42222</c:v>
                </c:pt>
                <c:pt idx="2418">
                  <c:v>42221</c:v>
                </c:pt>
                <c:pt idx="2419">
                  <c:v>42220</c:v>
                </c:pt>
                <c:pt idx="2420">
                  <c:v>42219</c:v>
                </c:pt>
                <c:pt idx="2421">
                  <c:v>42216</c:v>
                </c:pt>
                <c:pt idx="2422">
                  <c:v>42215</c:v>
                </c:pt>
                <c:pt idx="2423">
                  <c:v>42214</c:v>
                </c:pt>
                <c:pt idx="2424">
                  <c:v>42213</c:v>
                </c:pt>
                <c:pt idx="2425">
                  <c:v>42212</c:v>
                </c:pt>
                <c:pt idx="2426">
                  <c:v>42209</c:v>
                </c:pt>
                <c:pt idx="2427">
                  <c:v>42208</c:v>
                </c:pt>
                <c:pt idx="2428">
                  <c:v>42207</c:v>
                </c:pt>
                <c:pt idx="2429">
                  <c:v>42206</c:v>
                </c:pt>
                <c:pt idx="2430">
                  <c:v>42205</c:v>
                </c:pt>
                <c:pt idx="2431">
                  <c:v>42202</c:v>
                </c:pt>
                <c:pt idx="2432">
                  <c:v>42201</c:v>
                </c:pt>
                <c:pt idx="2433">
                  <c:v>42200</c:v>
                </c:pt>
                <c:pt idx="2434">
                  <c:v>42199</c:v>
                </c:pt>
                <c:pt idx="2435">
                  <c:v>42198</c:v>
                </c:pt>
                <c:pt idx="2436">
                  <c:v>42195</c:v>
                </c:pt>
                <c:pt idx="2437">
                  <c:v>42194</c:v>
                </c:pt>
                <c:pt idx="2438">
                  <c:v>42193</c:v>
                </c:pt>
                <c:pt idx="2439">
                  <c:v>42192</c:v>
                </c:pt>
                <c:pt idx="2440">
                  <c:v>42191</c:v>
                </c:pt>
                <c:pt idx="2441">
                  <c:v>42188</c:v>
                </c:pt>
                <c:pt idx="2442">
                  <c:v>42187</c:v>
                </c:pt>
                <c:pt idx="2443">
                  <c:v>42186</c:v>
                </c:pt>
                <c:pt idx="2444">
                  <c:v>42185</c:v>
                </c:pt>
                <c:pt idx="2445">
                  <c:v>42184</c:v>
                </c:pt>
                <c:pt idx="2446">
                  <c:v>42181</c:v>
                </c:pt>
                <c:pt idx="2447">
                  <c:v>42180</c:v>
                </c:pt>
                <c:pt idx="2448">
                  <c:v>42179</c:v>
                </c:pt>
                <c:pt idx="2449">
                  <c:v>42178</c:v>
                </c:pt>
                <c:pt idx="2450">
                  <c:v>42177</c:v>
                </c:pt>
                <c:pt idx="2451">
                  <c:v>42174</c:v>
                </c:pt>
                <c:pt idx="2452">
                  <c:v>42173</c:v>
                </c:pt>
                <c:pt idx="2453">
                  <c:v>42172</c:v>
                </c:pt>
                <c:pt idx="2454">
                  <c:v>42171</c:v>
                </c:pt>
                <c:pt idx="2455">
                  <c:v>42170</c:v>
                </c:pt>
                <c:pt idx="2456">
                  <c:v>42167</c:v>
                </c:pt>
                <c:pt idx="2457">
                  <c:v>42166</c:v>
                </c:pt>
                <c:pt idx="2458">
                  <c:v>42165</c:v>
                </c:pt>
                <c:pt idx="2459">
                  <c:v>42164</c:v>
                </c:pt>
                <c:pt idx="2460">
                  <c:v>42163</c:v>
                </c:pt>
                <c:pt idx="2461">
                  <c:v>42160</c:v>
                </c:pt>
                <c:pt idx="2462">
                  <c:v>42159</c:v>
                </c:pt>
                <c:pt idx="2463">
                  <c:v>42158</c:v>
                </c:pt>
                <c:pt idx="2464">
                  <c:v>42157</c:v>
                </c:pt>
                <c:pt idx="2465">
                  <c:v>42156</c:v>
                </c:pt>
                <c:pt idx="2466">
                  <c:v>42153</c:v>
                </c:pt>
                <c:pt idx="2467">
                  <c:v>42152</c:v>
                </c:pt>
                <c:pt idx="2468">
                  <c:v>42151</c:v>
                </c:pt>
                <c:pt idx="2469">
                  <c:v>42150</c:v>
                </c:pt>
                <c:pt idx="2470">
                  <c:v>42149</c:v>
                </c:pt>
                <c:pt idx="2471">
                  <c:v>42146</c:v>
                </c:pt>
                <c:pt idx="2472">
                  <c:v>42145</c:v>
                </c:pt>
                <c:pt idx="2473">
                  <c:v>42144</c:v>
                </c:pt>
                <c:pt idx="2474">
                  <c:v>42143</c:v>
                </c:pt>
                <c:pt idx="2475">
                  <c:v>42142</c:v>
                </c:pt>
                <c:pt idx="2476">
                  <c:v>42139</c:v>
                </c:pt>
                <c:pt idx="2477">
                  <c:v>42138</c:v>
                </c:pt>
                <c:pt idx="2478">
                  <c:v>42137</c:v>
                </c:pt>
                <c:pt idx="2479">
                  <c:v>42136</c:v>
                </c:pt>
                <c:pt idx="2480">
                  <c:v>42135</c:v>
                </c:pt>
                <c:pt idx="2481">
                  <c:v>42132</c:v>
                </c:pt>
                <c:pt idx="2482">
                  <c:v>42131</c:v>
                </c:pt>
                <c:pt idx="2483">
                  <c:v>42130</c:v>
                </c:pt>
                <c:pt idx="2484">
                  <c:v>42129</c:v>
                </c:pt>
                <c:pt idx="2485">
                  <c:v>42128</c:v>
                </c:pt>
                <c:pt idx="2486">
                  <c:v>42125</c:v>
                </c:pt>
                <c:pt idx="2487">
                  <c:v>42124</c:v>
                </c:pt>
                <c:pt idx="2488">
                  <c:v>42123</c:v>
                </c:pt>
                <c:pt idx="2489">
                  <c:v>42122</c:v>
                </c:pt>
                <c:pt idx="2490">
                  <c:v>42121</c:v>
                </c:pt>
                <c:pt idx="2491">
                  <c:v>42118</c:v>
                </c:pt>
                <c:pt idx="2492">
                  <c:v>42117</c:v>
                </c:pt>
                <c:pt idx="2493">
                  <c:v>42116</c:v>
                </c:pt>
                <c:pt idx="2494">
                  <c:v>42115</c:v>
                </c:pt>
                <c:pt idx="2495">
                  <c:v>42114</c:v>
                </c:pt>
                <c:pt idx="2496">
                  <c:v>42111</c:v>
                </c:pt>
                <c:pt idx="2497">
                  <c:v>42110</c:v>
                </c:pt>
                <c:pt idx="2498">
                  <c:v>42109</c:v>
                </c:pt>
                <c:pt idx="2499">
                  <c:v>42108</c:v>
                </c:pt>
                <c:pt idx="2500">
                  <c:v>42107</c:v>
                </c:pt>
                <c:pt idx="2501">
                  <c:v>42104</c:v>
                </c:pt>
                <c:pt idx="2502">
                  <c:v>42103</c:v>
                </c:pt>
                <c:pt idx="2503">
                  <c:v>42102</c:v>
                </c:pt>
                <c:pt idx="2504">
                  <c:v>42101</c:v>
                </c:pt>
                <c:pt idx="2505">
                  <c:v>42100</c:v>
                </c:pt>
                <c:pt idx="2506">
                  <c:v>42097</c:v>
                </c:pt>
                <c:pt idx="2507">
                  <c:v>42096</c:v>
                </c:pt>
                <c:pt idx="2508">
                  <c:v>42095</c:v>
                </c:pt>
                <c:pt idx="2509">
                  <c:v>42094</c:v>
                </c:pt>
                <c:pt idx="2510">
                  <c:v>42093</c:v>
                </c:pt>
                <c:pt idx="2511">
                  <c:v>42090</c:v>
                </c:pt>
                <c:pt idx="2512">
                  <c:v>42089</c:v>
                </c:pt>
                <c:pt idx="2513">
                  <c:v>42088</c:v>
                </c:pt>
                <c:pt idx="2514">
                  <c:v>42087</c:v>
                </c:pt>
                <c:pt idx="2515">
                  <c:v>42086</c:v>
                </c:pt>
                <c:pt idx="2516">
                  <c:v>42083</c:v>
                </c:pt>
                <c:pt idx="2517">
                  <c:v>42082</c:v>
                </c:pt>
                <c:pt idx="2518">
                  <c:v>42081</c:v>
                </c:pt>
                <c:pt idx="2519">
                  <c:v>42080</c:v>
                </c:pt>
                <c:pt idx="2520">
                  <c:v>42079</c:v>
                </c:pt>
                <c:pt idx="2521">
                  <c:v>42076</c:v>
                </c:pt>
                <c:pt idx="2522">
                  <c:v>42075</c:v>
                </c:pt>
                <c:pt idx="2523">
                  <c:v>42074</c:v>
                </c:pt>
                <c:pt idx="2524">
                  <c:v>42073</c:v>
                </c:pt>
                <c:pt idx="2525">
                  <c:v>42072</c:v>
                </c:pt>
                <c:pt idx="2526">
                  <c:v>42069</c:v>
                </c:pt>
                <c:pt idx="2527">
                  <c:v>42068</c:v>
                </c:pt>
                <c:pt idx="2528">
                  <c:v>42067</c:v>
                </c:pt>
                <c:pt idx="2529">
                  <c:v>42066</c:v>
                </c:pt>
                <c:pt idx="2530">
                  <c:v>42065</c:v>
                </c:pt>
                <c:pt idx="2531">
                  <c:v>42062</c:v>
                </c:pt>
                <c:pt idx="2532">
                  <c:v>42061</c:v>
                </c:pt>
                <c:pt idx="2533">
                  <c:v>42060</c:v>
                </c:pt>
                <c:pt idx="2534">
                  <c:v>42059</c:v>
                </c:pt>
                <c:pt idx="2535">
                  <c:v>42058</c:v>
                </c:pt>
                <c:pt idx="2536">
                  <c:v>42055</c:v>
                </c:pt>
                <c:pt idx="2537">
                  <c:v>42054</c:v>
                </c:pt>
                <c:pt idx="2538">
                  <c:v>42053</c:v>
                </c:pt>
                <c:pt idx="2539">
                  <c:v>42052</c:v>
                </c:pt>
                <c:pt idx="2540">
                  <c:v>42051</c:v>
                </c:pt>
                <c:pt idx="2541">
                  <c:v>42048</c:v>
                </c:pt>
                <c:pt idx="2542">
                  <c:v>42047</c:v>
                </c:pt>
                <c:pt idx="2543">
                  <c:v>42046</c:v>
                </c:pt>
                <c:pt idx="2544">
                  <c:v>42045</c:v>
                </c:pt>
                <c:pt idx="2545">
                  <c:v>42044</c:v>
                </c:pt>
                <c:pt idx="2546">
                  <c:v>42041</c:v>
                </c:pt>
                <c:pt idx="2547">
                  <c:v>42040</c:v>
                </c:pt>
                <c:pt idx="2548">
                  <c:v>42039</c:v>
                </c:pt>
                <c:pt idx="2549">
                  <c:v>42038</c:v>
                </c:pt>
                <c:pt idx="2550">
                  <c:v>42037</c:v>
                </c:pt>
                <c:pt idx="2551">
                  <c:v>42034</c:v>
                </c:pt>
                <c:pt idx="2552">
                  <c:v>42033</c:v>
                </c:pt>
                <c:pt idx="2553">
                  <c:v>42032</c:v>
                </c:pt>
                <c:pt idx="2554">
                  <c:v>42031</c:v>
                </c:pt>
                <c:pt idx="2555">
                  <c:v>42030</c:v>
                </c:pt>
                <c:pt idx="2556">
                  <c:v>42027</c:v>
                </c:pt>
                <c:pt idx="2557">
                  <c:v>42026</c:v>
                </c:pt>
                <c:pt idx="2558">
                  <c:v>42025</c:v>
                </c:pt>
                <c:pt idx="2559">
                  <c:v>42024</c:v>
                </c:pt>
                <c:pt idx="2560">
                  <c:v>42023</c:v>
                </c:pt>
                <c:pt idx="2561">
                  <c:v>42020</c:v>
                </c:pt>
                <c:pt idx="2562">
                  <c:v>42019</c:v>
                </c:pt>
                <c:pt idx="2563">
                  <c:v>42018</c:v>
                </c:pt>
                <c:pt idx="2564">
                  <c:v>42017</c:v>
                </c:pt>
                <c:pt idx="2565">
                  <c:v>42016</c:v>
                </c:pt>
                <c:pt idx="2566">
                  <c:v>42013</c:v>
                </c:pt>
                <c:pt idx="2567">
                  <c:v>42012</c:v>
                </c:pt>
                <c:pt idx="2568">
                  <c:v>42011</c:v>
                </c:pt>
                <c:pt idx="2569">
                  <c:v>42010</c:v>
                </c:pt>
                <c:pt idx="2570">
                  <c:v>42009</c:v>
                </c:pt>
                <c:pt idx="2571">
                  <c:v>42006</c:v>
                </c:pt>
                <c:pt idx="2572">
                  <c:v>42005</c:v>
                </c:pt>
                <c:pt idx="2573">
                  <c:v>42004</c:v>
                </c:pt>
                <c:pt idx="2574">
                  <c:v>42003</c:v>
                </c:pt>
                <c:pt idx="2575">
                  <c:v>42002</c:v>
                </c:pt>
                <c:pt idx="2576">
                  <c:v>41999</c:v>
                </c:pt>
                <c:pt idx="2577">
                  <c:v>41998</c:v>
                </c:pt>
                <c:pt idx="2578">
                  <c:v>41997</c:v>
                </c:pt>
                <c:pt idx="2579">
                  <c:v>41996</c:v>
                </c:pt>
                <c:pt idx="2580">
                  <c:v>41995</c:v>
                </c:pt>
                <c:pt idx="2581">
                  <c:v>41992</c:v>
                </c:pt>
                <c:pt idx="2582">
                  <c:v>41991</c:v>
                </c:pt>
                <c:pt idx="2583">
                  <c:v>41990</c:v>
                </c:pt>
                <c:pt idx="2584">
                  <c:v>41989</c:v>
                </c:pt>
                <c:pt idx="2585">
                  <c:v>41988</c:v>
                </c:pt>
                <c:pt idx="2586">
                  <c:v>41985</c:v>
                </c:pt>
                <c:pt idx="2587">
                  <c:v>41984</c:v>
                </c:pt>
                <c:pt idx="2588">
                  <c:v>41983</c:v>
                </c:pt>
                <c:pt idx="2589">
                  <c:v>41982</c:v>
                </c:pt>
                <c:pt idx="2590">
                  <c:v>41981</c:v>
                </c:pt>
                <c:pt idx="2591">
                  <c:v>41978</c:v>
                </c:pt>
                <c:pt idx="2592">
                  <c:v>41977</c:v>
                </c:pt>
                <c:pt idx="2593">
                  <c:v>41976</c:v>
                </c:pt>
                <c:pt idx="2594">
                  <c:v>41975</c:v>
                </c:pt>
                <c:pt idx="2595">
                  <c:v>41974</c:v>
                </c:pt>
                <c:pt idx="2596">
                  <c:v>41971</c:v>
                </c:pt>
                <c:pt idx="2597">
                  <c:v>41970</c:v>
                </c:pt>
                <c:pt idx="2598">
                  <c:v>41969</c:v>
                </c:pt>
                <c:pt idx="2599">
                  <c:v>41968</c:v>
                </c:pt>
                <c:pt idx="2600">
                  <c:v>41967</c:v>
                </c:pt>
                <c:pt idx="2601">
                  <c:v>41964</c:v>
                </c:pt>
                <c:pt idx="2602">
                  <c:v>41963</c:v>
                </c:pt>
                <c:pt idx="2603">
                  <c:v>41962</c:v>
                </c:pt>
                <c:pt idx="2604">
                  <c:v>41961</c:v>
                </c:pt>
                <c:pt idx="2605">
                  <c:v>41960</c:v>
                </c:pt>
                <c:pt idx="2606">
                  <c:v>41957</c:v>
                </c:pt>
                <c:pt idx="2607">
                  <c:v>41956</c:v>
                </c:pt>
                <c:pt idx="2608">
                  <c:v>41955</c:v>
                </c:pt>
                <c:pt idx="2609">
                  <c:v>41954</c:v>
                </c:pt>
              </c:numCache>
            </c:numRef>
          </c:cat>
          <c:val>
            <c:numRef>
              <c:f>Sheet1!$J$7:$J$2616</c:f>
              <c:numCache>
                <c:formatCode>General</c:formatCode>
                <c:ptCount val="2610"/>
                <c:pt idx="0">
                  <c:v>1.95</c:v>
                </c:pt>
                <c:pt idx="1">
                  <c:v>1.95</c:v>
                </c:pt>
                <c:pt idx="2">
                  <c:v>1.968</c:v>
                </c:pt>
                <c:pt idx="3">
                  <c:v>2.036</c:v>
                </c:pt>
                <c:pt idx="4">
                  <c:v>1.9810000000000001</c:v>
                </c:pt>
                <c:pt idx="5">
                  <c:v>2.0110000000000001</c:v>
                </c:pt>
                <c:pt idx="6">
                  <c:v>2.0489999999999999</c:v>
                </c:pt>
                <c:pt idx="7">
                  <c:v>1.956</c:v>
                </c:pt>
                <c:pt idx="8">
                  <c:v>1.956</c:v>
                </c:pt>
                <c:pt idx="9">
                  <c:v>1.9430000000000001</c:v>
                </c:pt>
                <c:pt idx="10">
                  <c:v>1.99</c:v>
                </c:pt>
                <c:pt idx="11">
                  <c:v>1.95</c:v>
                </c:pt>
                <c:pt idx="12">
                  <c:v>1.917</c:v>
                </c:pt>
                <c:pt idx="13">
                  <c:v>1.9259999999999999</c:v>
                </c:pt>
                <c:pt idx="14">
                  <c:v>1.871</c:v>
                </c:pt>
                <c:pt idx="15">
                  <c:v>1.879</c:v>
                </c:pt>
                <c:pt idx="16">
                  <c:v>1.778</c:v>
                </c:pt>
                <c:pt idx="17">
                  <c:v>1.786</c:v>
                </c:pt>
                <c:pt idx="18">
                  <c:v>1.7490000000000001</c:v>
                </c:pt>
                <c:pt idx="19">
                  <c:v>1.7569999999999999</c:v>
                </c:pt>
                <c:pt idx="20">
                  <c:v>1.766</c:v>
                </c:pt>
                <c:pt idx="21">
                  <c:v>1.766</c:v>
                </c:pt>
                <c:pt idx="22">
                  <c:v>1.738</c:v>
                </c:pt>
                <c:pt idx="23">
                  <c:v>1.778</c:v>
                </c:pt>
                <c:pt idx="24">
                  <c:v>1.7310000000000001</c:v>
                </c:pt>
                <c:pt idx="25">
                  <c:v>1.7549999999999999</c:v>
                </c:pt>
                <c:pt idx="26">
                  <c:v>1.7370000000000001</c:v>
                </c:pt>
                <c:pt idx="27">
                  <c:v>1.641</c:v>
                </c:pt>
                <c:pt idx="28">
                  <c:v>1.57</c:v>
                </c:pt>
                <c:pt idx="29">
                  <c:v>1.54</c:v>
                </c:pt>
                <c:pt idx="30">
                  <c:v>1.6040000000000001</c:v>
                </c:pt>
                <c:pt idx="31">
                  <c:v>1.595</c:v>
                </c:pt>
                <c:pt idx="32">
                  <c:v>1.6279999999999999</c:v>
                </c:pt>
                <c:pt idx="33">
                  <c:v>1.615</c:v>
                </c:pt>
                <c:pt idx="34">
                  <c:v>1.556</c:v>
                </c:pt>
                <c:pt idx="35">
                  <c:v>1.5860000000000001</c:v>
                </c:pt>
                <c:pt idx="36">
                  <c:v>1.59</c:v>
                </c:pt>
                <c:pt idx="37">
                  <c:v>1.56</c:v>
                </c:pt>
                <c:pt idx="38">
                  <c:v>1.6020000000000001</c:v>
                </c:pt>
                <c:pt idx="39">
                  <c:v>1.5389999999999999</c:v>
                </c:pt>
                <c:pt idx="40">
                  <c:v>1.5309999999999999</c:v>
                </c:pt>
                <c:pt idx="41">
                  <c:v>1.577</c:v>
                </c:pt>
                <c:pt idx="42">
                  <c:v>1.617</c:v>
                </c:pt>
                <c:pt idx="43">
                  <c:v>1.6120000000000001</c:v>
                </c:pt>
                <c:pt idx="44">
                  <c:v>1.6140000000000001</c:v>
                </c:pt>
                <c:pt idx="45">
                  <c:v>1.661</c:v>
                </c:pt>
                <c:pt idx="46">
                  <c:v>1.6819999999999999</c:v>
                </c:pt>
                <c:pt idx="47">
                  <c:v>1.679</c:v>
                </c:pt>
                <c:pt idx="48">
                  <c:v>1.6970000000000001</c:v>
                </c:pt>
                <c:pt idx="49">
                  <c:v>1.72</c:v>
                </c:pt>
                <c:pt idx="50">
                  <c:v>1.76</c:v>
                </c:pt>
                <c:pt idx="51">
                  <c:v>1.76</c:v>
                </c:pt>
                <c:pt idx="52">
                  <c:v>1.706</c:v>
                </c:pt>
                <c:pt idx="53">
                  <c:v>1.6859999999999999</c:v>
                </c:pt>
                <c:pt idx="54">
                  <c:v>1.68</c:v>
                </c:pt>
                <c:pt idx="55">
                  <c:v>1.679</c:v>
                </c:pt>
                <c:pt idx="56">
                  <c:v>1.6819999999999999</c:v>
                </c:pt>
                <c:pt idx="57">
                  <c:v>1.758</c:v>
                </c:pt>
                <c:pt idx="58">
                  <c:v>1.724</c:v>
                </c:pt>
                <c:pt idx="59">
                  <c:v>1.7390000000000001</c:v>
                </c:pt>
                <c:pt idx="60">
                  <c:v>1.8009999999999999</c:v>
                </c:pt>
                <c:pt idx="61">
                  <c:v>1.8049999999999999</c:v>
                </c:pt>
                <c:pt idx="62">
                  <c:v>1.8080000000000001</c:v>
                </c:pt>
                <c:pt idx="63">
                  <c:v>1.7669999999999999</c:v>
                </c:pt>
                <c:pt idx="64">
                  <c:v>1.754</c:v>
                </c:pt>
                <c:pt idx="65">
                  <c:v>1.7909999999999999</c:v>
                </c:pt>
                <c:pt idx="66">
                  <c:v>1.827</c:v>
                </c:pt>
                <c:pt idx="67">
                  <c:v>1.8580000000000001</c:v>
                </c:pt>
                <c:pt idx="68">
                  <c:v>1.837</c:v>
                </c:pt>
                <c:pt idx="69">
                  <c:v>1.7989999999999999</c:v>
                </c:pt>
                <c:pt idx="70">
                  <c:v>1.718</c:v>
                </c:pt>
                <c:pt idx="71">
                  <c:v>1.74</c:v>
                </c:pt>
                <c:pt idx="72">
                  <c:v>1.8009999999999999</c:v>
                </c:pt>
                <c:pt idx="73">
                  <c:v>1.804</c:v>
                </c:pt>
                <c:pt idx="74">
                  <c:v>1.909</c:v>
                </c:pt>
                <c:pt idx="75">
                  <c:v>1.925</c:v>
                </c:pt>
                <c:pt idx="76">
                  <c:v>1.9430000000000001</c:v>
                </c:pt>
                <c:pt idx="77">
                  <c:v>1.9770000000000001</c:v>
                </c:pt>
                <c:pt idx="78">
                  <c:v>2.0190000000000001</c:v>
                </c:pt>
                <c:pt idx="79">
                  <c:v>1.9810000000000001</c:v>
                </c:pt>
                <c:pt idx="80">
                  <c:v>1.964</c:v>
                </c:pt>
                <c:pt idx="81">
                  <c:v>1.948</c:v>
                </c:pt>
                <c:pt idx="82">
                  <c:v>1.944</c:v>
                </c:pt>
                <c:pt idx="83">
                  <c:v>1.897</c:v>
                </c:pt>
                <c:pt idx="84">
                  <c:v>1.895</c:v>
                </c:pt>
                <c:pt idx="85">
                  <c:v>1.958</c:v>
                </c:pt>
                <c:pt idx="86">
                  <c:v>1.9470000000000001</c:v>
                </c:pt>
                <c:pt idx="87">
                  <c:v>1.9650000000000001</c:v>
                </c:pt>
                <c:pt idx="88">
                  <c:v>2.0030000000000001</c:v>
                </c:pt>
                <c:pt idx="89">
                  <c:v>2.0339999999999998</c:v>
                </c:pt>
                <c:pt idx="90">
                  <c:v>2.0139999999999998</c:v>
                </c:pt>
                <c:pt idx="91">
                  <c:v>2.0070000000000001</c:v>
                </c:pt>
                <c:pt idx="92">
                  <c:v>2.0819999999999999</c:v>
                </c:pt>
                <c:pt idx="93">
                  <c:v>2.0819999999999999</c:v>
                </c:pt>
                <c:pt idx="94">
                  <c:v>2.1389999999999998</c:v>
                </c:pt>
                <c:pt idx="95">
                  <c:v>2.1539999999999999</c:v>
                </c:pt>
                <c:pt idx="96">
                  <c:v>2.1059999999999999</c:v>
                </c:pt>
                <c:pt idx="97">
                  <c:v>2.028</c:v>
                </c:pt>
                <c:pt idx="98">
                  <c:v>2.0670000000000002</c:v>
                </c:pt>
                <c:pt idx="99">
                  <c:v>2.0270000000000001</c:v>
                </c:pt>
                <c:pt idx="100">
                  <c:v>2.0139999999999998</c:v>
                </c:pt>
                <c:pt idx="101">
                  <c:v>2.028</c:v>
                </c:pt>
                <c:pt idx="102">
                  <c:v>2.0110000000000001</c:v>
                </c:pt>
                <c:pt idx="103">
                  <c:v>2.0049999999999999</c:v>
                </c:pt>
                <c:pt idx="104">
                  <c:v>2.0049999999999999</c:v>
                </c:pt>
                <c:pt idx="105">
                  <c:v>2.0640000000000001</c:v>
                </c:pt>
                <c:pt idx="106">
                  <c:v>2.0430000000000001</c:v>
                </c:pt>
                <c:pt idx="107">
                  <c:v>2.0430000000000001</c:v>
                </c:pt>
                <c:pt idx="108">
                  <c:v>2.0910000000000002</c:v>
                </c:pt>
                <c:pt idx="109">
                  <c:v>2.1240000000000001</c:v>
                </c:pt>
                <c:pt idx="110">
                  <c:v>2.169</c:v>
                </c:pt>
                <c:pt idx="111">
                  <c:v>2.1379999999999999</c:v>
                </c:pt>
                <c:pt idx="112">
                  <c:v>2.0099999999999998</c:v>
                </c:pt>
                <c:pt idx="113">
                  <c:v>1.982</c:v>
                </c:pt>
                <c:pt idx="114">
                  <c:v>2.0249999999999999</c:v>
                </c:pt>
                <c:pt idx="115">
                  <c:v>2.0590000000000002</c:v>
                </c:pt>
                <c:pt idx="116">
                  <c:v>2.1709999999999998</c:v>
                </c:pt>
                <c:pt idx="117">
                  <c:v>2.1909999999999998</c:v>
                </c:pt>
                <c:pt idx="118">
                  <c:v>2.25</c:v>
                </c:pt>
                <c:pt idx="119">
                  <c:v>2.21</c:v>
                </c:pt>
                <c:pt idx="120">
                  <c:v>2.149</c:v>
                </c:pt>
                <c:pt idx="121">
                  <c:v>2.149</c:v>
                </c:pt>
                <c:pt idx="122">
                  <c:v>2.165</c:v>
                </c:pt>
                <c:pt idx="123">
                  <c:v>2.093</c:v>
                </c:pt>
                <c:pt idx="124">
                  <c:v>2.0830000000000002</c:v>
                </c:pt>
                <c:pt idx="125">
                  <c:v>2.1179999999999999</c:v>
                </c:pt>
                <c:pt idx="126">
                  <c:v>2.101</c:v>
                </c:pt>
                <c:pt idx="127">
                  <c:v>2.0699999999999998</c:v>
                </c:pt>
                <c:pt idx="128">
                  <c:v>2.0419999999999998</c:v>
                </c:pt>
                <c:pt idx="129">
                  <c:v>2.1219999999999999</c:v>
                </c:pt>
                <c:pt idx="130">
                  <c:v>2.1579999999999999</c:v>
                </c:pt>
                <c:pt idx="131">
                  <c:v>2.1549999999999998</c:v>
                </c:pt>
                <c:pt idx="132">
                  <c:v>2.1269999999999998</c:v>
                </c:pt>
                <c:pt idx="133">
                  <c:v>2.1680000000000001</c:v>
                </c:pt>
                <c:pt idx="134">
                  <c:v>2.1480000000000001</c:v>
                </c:pt>
                <c:pt idx="135">
                  <c:v>2.1440000000000001</c:v>
                </c:pt>
                <c:pt idx="136">
                  <c:v>2.1419999999999999</c:v>
                </c:pt>
                <c:pt idx="137">
                  <c:v>2.2290000000000001</c:v>
                </c:pt>
                <c:pt idx="138">
                  <c:v>2.2679999999999998</c:v>
                </c:pt>
                <c:pt idx="139">
                  <c:v>2.278</c:v>
                </c:pt>
                <c:pt idx="140">
                  <c:v>2.2010000000000001</c:v>
                </c:pt>
                <c:pt idx="141">
                  <c:v>2.238</c:v>
                </c:pt>
                <c:pt idx="142">
                  <c:v>2.2799999999999998</c:v>
                </c:pt>
                <c:pt idx="143">
                  <c:v>2.2410000000000001</c:v>
                </c:pt>
                <c:pt idx="144">
                  <c:v>2.2069999999999999</c:v>
                </c:pt>
                <c:pt idx="145">
                  <c:v>2.2069999999999999</c:v>
                </c:pt>
                <c:pt idx="146">
                  <c:v>2.2189999999999999</c:v>
                </c:pt>
                <c:pt idx="147">
                  <c:v>2.2330000000000001</c:v>
                </c:pt>
                <c:pt idx="148">
                  <c:v>2.2050000000000001</c:v>
                </c:pt>
                <c:pt idx="149">
                  <c:v>2.2570000000000001</c:v>
                </c:pt>
                <c:pt idx="150">
                  <c:v>2.1829999999999998</c:v>
                </c:pt>
                <c:pt idx="151">
                  <c:v>2.1219999999999999</c:v>
                </c:pt>
                <c:pt idx="152">
                  <c:v>2.1840000000000002</c:v>
                </c:pt>
                <c:pt idx="153">
                  <c:v>2.1419999999999999</c:v>
                </c:pt>
                <c:pt idx="154">
                  <c:v>1.9930000000000001</c:v>
                </c:pt>
                <c:pt idx="155">
                  <c:v>2.0329999999999999</c:v>
                </c:pt>
                <c:pt idx="156">
                  <c:v>2.0270000000000001</c:v>
                </c:pt>
                <c:pt idx="157">
                  <c:v>1.9470000000000001</c:v>
                </c:pt>
                <c:pt idx="158">
                  <c:v>2.0030000000000001</c:v>
                </c:pt>
                <c:pt idx="159">
                  <c:v>1.99</c:v>
                </c:pt>
                <c:pt idx="160">
                  <c:v>1.972</c:v>
                </c:pt>
                <c:pt idx="161">
                  <c:v>1.885</c:v>
                </c:pt>
                <c:pt idx="162">
                  <c:v>1.885</c:v>
                </c:pt>
                <c:pt idx="163">
                  <c:v>1.881</c:v>
                </c:pt>
                <c:pt idx="164">
                  <c:v>1.911</c:v>
                </c:pt>
                <c:pt idx="165">
                  <c:v>1.915</c:v>
                </c:pt>
                <c:pt idx="166">
                  <c:v>1.859</c:v>
                </c:pt>
                <c:pt idx="167">
                  <c:v>1.9159999999999999</c:v>
                </c:pt>
                <c:pt idx="168">
                  <c:v>1.944</c:v>
                </c:pt>
                <c:pt idx="169">
                  <c:v>1.9950000000000001</c:v>
                </c:pt>
                <c:pt idx="170">
                  <c:v>2.0139999999999998</c:v>
                </c:pt>
                <c:pt idx="171">
                  <c:v>1.992</c:v>
                </c:pt>
                <c:pt idx="172">
                  <c:v>1.984</c:v>
                </c:pt>
                <c:pt idx="173">
                  <c:v>1.885</c:v>
                </c:pt>
                <c:pt idx="174">
                  <c:v>1.85</c:v>
                </c:pt>
                <c:pt idx="175">
                  <c:v>1.8240000000000001</c:v>
                </c:pt>
                <c:pt idx="176">
                  <c:v>1.796</c:v>
                </c:pt>
                <c:pt idx="177">
                  <c:v>1.8129999999999999</c:v>
                </c:pt>
                <c:pt idx="178">
                  <c:v>1.8049999999999999</c:v>
                </c:pt>
                <c:pt idx="179">
                  <c:v>1.825</c:v>
                </c:pt>
                <c:pt idx="180">
                  <c:v>1.875</c:v>
                </c:pt>
                <c:pt idx="181">
                  <c:v>1.8640000000000001</c:v>
                </c:pt>
                <c:pt idx="182">
                  <c:v>1.931</c:v>
                </c:pt>
                <c:pt idx="183">
                  <c:v>1.9450000000000001</c:v>
                </c:pt>
                <c:pt idx="184">
                  <c:v>1.982</c:v>
                </c:pt>
                <c:pt idx="185">
                  <c:v>1.966</c:v>
                </c:pt>
                <c:pt idx="186">
                  <c:v>1.9570000000000001</c:v>
                </c:pt>
                <c:pt idx="187">
                  <c:v>2.0169999999999999</c:v>
                </c:pt>
                <c:pt idx="188">
                  <c:v>1.982</c:v>
                </c:pt>
                <c:pt idx="189">
                  <c:v>1.954</c:v>
                </c:pt>
                <c:pt idx="190">
                  <c:v>1.95</c:v>
                </c:pt>
                <c:pt idx="191">
                  <c:v>1.95</c:v>
                </c:pt>
                <c:pt idx="192">
                  <c:v>1.9390000000000001</c:v>
                </c:pt>
                <c:pt idx="193">
                  <c:v>1.9590000000000001</c:v>
                </c:pt>
                <c:pt idx="194">
                  <c:v>2.032</c:v>
                </c:pt>
                <c:pt idx="195">
                  <c:v>1.9379999999999999</c:v>
                </c:pt>
                <c:pt idx="196">
                  <c:v>1.9239999999999999</c:v>
                </c:pt>
                <c:pt idx="197">
                  <c:v>1.9079999999999999</c:v>
                </c:pt>
                <c:pt idx="198">
                  <c:v>1.8839999999999999</c:v>
                </c:pt>
                <c:pt idx="199">
                  <c:v>1.8560000000000001</c:v>
                </c:pt>
                <c:pt idx="200">
                  <c:v>1.91</c:v>
                </c:pt>
                <c:pt idx="201">
                  <c:v>1.8160000000000001</c:v>
                </c:pt>
                <c:pt idx="202">
                  <c:v>1.69</c:v>
                </c:pt>
                <c:pt idx="203">
                  <c:v>1.675</c:v>
                </c:pt>
                <c:pt idx="204">
                  <c:v>1.78</c:v>
                </c:pt>
                <c:pt idx="205">
                  <c:v>1.79</c:v>
                </c:pt>
                <c:pt idx="206">
                  <c:v>1.85</c:v>
                </c:pt>
                <c:pt idx="207">
                  <c:v>1.835</c:v>
                </c:pt>
                <c:pt idx="208">
                  <c:v>1.8919999999999999</c:v>
                </c:pt>
                <c:pt idx="209">
                  <c:v>1.851</c:v>
                </c:pt>
                <c:pt idx="210">
                  <c:v>1.8109999999999999</c:v>
                </c:pt>
                <c:pt idx="211">
                  <c:v>1.794</c:v>
                </c:pt>
                <c:pt idx="212">
                  <c:v>1.798</c:v>
                </c:pt>
                <c:pt idx="213">
                  <c:v>1.806</c:v>
                </c:pt>
                <c:pt idx="214">
                  <c:v>1.7529999999999999</c:v>
                </c:pt>
                <c:pt idx="215">
                  <c:v>1.6639999999999999</c:v>
                </c:pt>
                <c:pt idx="216">
                  <c:v>1.6639999999999999</c:v>
                </c:pt>
                <c:pt idx="217">
                  <c:v>1.738</c:v>
                </c:pt>
                <c:pt idx="218">
                  <c:v>1.8129999999999999</c:v>
                </c:pt>
                <c:pt idx="219">
                  <c:v>1.7969999999999999</c:v>
                </c:pt>
                <c:pt idx="220">
                  <c:v>1.8029999999999999</c:v>
                </c:pt>
                <c:pt idx="221">
                  <c:v>1.8260000000000001</c:v>
                </c:pt>
                <c:pt idx="222">
                  <c:v>1.7889999999999999</c:v>
                </c:pt>
                <c:pt idx="223">
                  <c:v>1.71</c:v>
                </c:pt>
                <c:pt idx="224">
                  <c:v>1.728</c:v>
                </c:pt>
                <c:pt idx="225">
                  <c:v>1.7</c:v>
                </c:pt>
                <c:pt idx="226">
                  <c:v>1.7</c:v>
                </c:pt>
                <c:pt idx="227">
                  <c:v>1.6879999999999999</c:v>
                </c:pt>
                <c:pt idx="228">
                  <c:v>1.6339999999999999</c:v>
                </c:pt>
                <c:pt idx="229">
                  <c:v>1.7170000000000001</c:v>
                </c:pt>
                <c:pt idx="230">
                  <c:v>1.708</c:v>
                </c:pt>
                <c:pt idx="231">
                  <c:v>1.708</c:v>
                </c:pt>
                <c:pt idx="232">
                  <c:v>1.6970000000000001</c:v>
                </c:pt>
                <c:pt idx="233">
                  <c:v>1.66</c:v>
                </c:pt>
                <c:pt idx="234">
                  <c:v>1.736</c:v>
                </c:pt>
                <c:pt idx="235">
                  <c:v>1.7290000000000001</c:v>
                </c:pt>
                <c:pt idx="236">
                  <c:v>1.6990000000000001</c:v>
                </c:pt>
                <c:pt idx="237">
                  <c:v>1.6970000000000001</c:v>
                </c:pt>
                <c:pt idx="238">
                  <c:v>1.847</c:v>
                </c:pt>
                <c:pt idx="239">
                  <c:v>2.052</c:v>
                </c:pt>
                <c:pt idx="240">
                  <c:v>2.0390000000000001</c:v>
                </c:pt>
                <c:pt idx="241">
                  <c:v>2.0110000000000001</c:v>
                </c:pt>
                <c:pt idx="242">
                  <c:v>1.9970000000000001</c:v>
                </c:pt>
                <c:pt idx="243">
                  <c:v>1.966</c:v>
                </c:pt>
                <c:pt idx="244">
                  <c:v>1.982</c:v>
                </c:pt>
                <c:pt idx="245">
                  <c:v>2.0590000000000002</c:v>
                </c:pt>
                <c:pt idx="246">
                  <c:v>1.996</c:v>
                </c:pt>
                <c:pt idx="247">
                  <c:v>2.0960000000000001</c:v>
                </c:pt>
                <c:pt idx="248">
                  <c:v>2.0550000000000002</c:v>
                </c:pt>
                <c:pt idx="249">
                  <c:v>2.1070000000000002</c:v>
                </c:pt>
                <c:pt idx="250">
                  <c:v>2.181</c:v>
                </c:pt>
                <c:pt idx="251">
                  <c:v>2.214</c:v>
                </c:pt>
                <c:pt idx="252">
                  <c:v>2.15</c:v>
                </c:pt>
                <c:pt idx="253">
                  <c:v>2.15</c:v>
                </c:pt>
                <c:pt idx="254">
                  <c:v>2.1539999999999999</c:v>
                </c:pt>
                <c:pt idx="255">
                  <c:v>2.1280000000000001</c:v>
                </c:pt>
                <c:pt idx="256">
                  <c:v>2.1659999999999999</c:v>
                </c:pt>
                <c:pt idx="257">
                  <c:v>2.165</c:v>
                </c:pt>
                <c:pt idx="258">
                  <c:v>2.2389999999999999</c:v>
                </c:pt>
                <c:pt idx="259">
                  <c:v>2.177</c:v>
                </c:pt>
                <c:pt idx="260">
                  <c:v>2.323</c:v>
                </c:pt>
                <c:pt idx="261">
                  <c:v>2.3210000000000002</c:v>
                </c:pt>
                <c:pt idx="262">
                  <c:v>2.2879999999999998</c:v>
                </c:pt>
                <c:pt idx="263">
                  <c:v>2.137</c:v>
                </c:pt>
                <c:pt idx="264">
                  <c:v>2.181</c:v>
                </c:pt>
                <c:pt idx="265">
                  <c:v>2.2349999999999999</c:v>
                </c:pt>
                <c:pt idx="266">
                  <c:v>2.1840000000000002</c:v>
                </c:pt>
                <c:pt idx="267">
                  <c:v>2.2749999999999999</c:v>
                </c:pt>
                <c:pt idx="268">
                  <c:v>2.319</c:v>
                </c:pt>
                <c:pt idx="269">
                  <c:v>2.5129999999999999</c:v>
                </c:pt>
                <c:pt idx="270">
                  <c:v>2.4540000000000002</c:v>
                </c:pt>
                <c:pt idx="271">
                  <c:v>2.4239999999999999</c:v>
                </c:pt>
                <c:pt idx="272">
                  <c:v>2.427</c:v>
                </c:pt>
                <c:pt idx="273">
                  <c:v>2.5270000000000001</c:v>
                </c:pt>
                <c:pt idx="274">
                  <c:v>2.4260000000000002</c:v>
                </c:pt>
                <c:pt idx="275">
                  <c:v>2.4420000000000002</c:v>
                </c:pt>
                <c:pt idx="276">
                  <c:v>2.4489999999999998</c:v>
                </c:pt>
                <c:pt idx="277">
                  <c:v>2.504</c:v>
                </c:pt>
                <c:pt idx="278">
                  <c:v>2.4780000000000002</c:v>
                </c:pt>
                <c:pt idx="279">
                  <c:v>2.4249999999999998</c:v>
                </c:pt>
                <c:pt idx="280">
                  <c:v>2.3159999999999998</c:v>
                </c:pt>
                <c:pt idx="281">
                  <c:v>2.2810000000000001</c:v>
                </c:pt>
                <c:pt idx="282">
                  <c:v>2.355</c:v>
                </c:pt>
                <c:pt idx="283">
                  <c:v>2.2480000000000002</c:v>
                </c:pt>
                <c:pt idx="284">
                  <c:v>2.3359999999999999</c:v>
                </c:pt>
                <c:pt idx="285">
                  <c:v>2.4790000000000001</c:v>
                </c:pt>
                <c:pt idx="286">
                  <c:v>2.4790000000000001</c:v>
                </c:pt>
                <c:pt idx="287">
                  <c:v>2.419</c:v>
                </c:pt>
                <c:pt idx="288">
                  <c:v>2.403</c:v>
                </c:pt>
                <c:pt idx="289">
                  <c:v>2.4390000000000001</c:v>
                </c:pt>
                <c:pt idx="290">
                  <c:v>2.3380000000000001</c:v>
                </c:pt>
                <c:pt idx="291">
                  <c:v>2.2450000000000001</c:v>
                </c:pt>
                <c:pt idx="292">
                  <c:v>2.206</c:v>
                </c:pt>
                <c:pt idx="293">
                  <c:v>2.2639999999999998</c:v>
                </c:pt>
                <c:pt idx="294">
                  <c:v>2.2370000000000001</c:v>
                </c:pt>
                <c:pt idx="295">
                  <c:v>2.1739999999999999</c:v>
                </c:pt>
                <c:pt idx="296">
                  <c:v>2.0659999999999998</c:v>
                </c:pt>
                <c:pt idx="297">
                  <c:v>2.121</c:v>
                </c:pt>
                <c:pt idx="298">
                  <c:v>2.0459999999999998</c:v>
                </c:pt>
                <c:pt idx="299">
                  <c:v>1.994</c:v>
                </c:pt>
                <c:pt idx="300">
                  <c:v>1.9430000000000001</c:v>
                </c:pt>
                <c:pt idx="301">
                  <c:v>1.9910000000000001</c:v>
                </c:pt>
                <c:pt idx="302">
                  <c:v>1.9470000000000001</c:v>
                </c:pt>
                <c:pt idx="303">
                  <c:v>1.9279999999999999</c:v>
                </c:pt>
                <c:pt idx="304">
                  <c:v>1.9430000000000001</c:v>
                </c:pt>
                <c:pt idx="305">
                  <c:v>1.954</c:v>
                </c:pt>
                <c:pt idx="306">
                  <c:v>1.925</c:v>
                </c:pt>
                <c:pt idx="307">
                  <c:v>1.9390000000000001</c:v>
                </c:pt>
                <c:pt idx="308">
                  <c:v>1.9930000000000001</c:v>
                </c:pt>
                <c:pt idx="309">
                  <c:v>1.968</c:v>
                </c:pt>
                <c:pt idx="310">
                  <c:v>1.9259999999999999</c:v>
                </c:pt>
                <c:pt idx="311">
                  <c:v>1.9259999999999999</c:v>
                </c:pt>
                <c:pt idx="312">
                  <c:v>1.8740000000000001</c:v>
                </c:pt>
                <c:pt idx="313">
                  <c:v>1.853</c:v>
                </c:pt>
                <c:pt idx="314">
                  <c:v>1.839</c:v>
                </c:pt>
                <c:pt idx="315">
                  <c:v>1.9059999999999999</c:v>
                </c:pt>
                <c:pt idx="316">
                  <c:v>1.913</c:v>
                </c:pt>
                <c:pt idx="317">
                  <c:v>1.9119999999999999</c:v>
                </c:pt>
                <c:pt idx="318">
                  <c:v>1.853</c:v>
                </c:pt>
                <c:pt idx="319">
                  <c:v>1.9810000000000001</c:v>
                </c:pt>
                <c:pt idx="320">
                  <c:v>1.992</c:v>
                </c:pt>
                <c:pt idx="321">
                  <c:v>1.9450000000000001</c:v>
                </c:pt>
                <c:pt idx="322">
                  <c:v>1.96</c:v>
                </c:pt>
                <c:pt idx="323">
                  <c:v>1.946</c:v>
                </c:pt>
                <c:pt idx="324">
                  <c:v>1.8939999999999999</c:v>
                </c:pt>
                <c:pt idx="325">
                  <c:v>1.8520000000000001</c:v>
                </c:pt>
                <c:pt idx="326">
                  <c:v>1.7869999999999999</c:v>
                </c:pt>
                <c:pt idx="327">
                  <c:v>1.7649999999999999</c:v>
                </c:pt>
                <c:pt idx="328">
                  <c:v>1.68</c:v>
                </c:pt>
                <c:pt idx="329">
                  <c:v>1.673</c:v>
                </c:pt>
                <c:pt idx="330">
                  <c:v>1.6839999999999999</c:v>
                </c:pt>
                <c:pt idx="331">
                  <c:v>1.671</c:v>
                </c:pt>
                <c:pt idx="332">
                  <c:v>1.8120000000000001</c:v>
                </c:pt>
                <c:pt idx="333">
                  <c:v>1.7290000000000001</c:v>
                </c:pt>
                <c:pt idx="334">
                  <c:v>1.6870000000000001</c:v>
                </c:pt>
                <c:pt idx="335">
                  <c:v>1.601</c:v>
                </c:pt>
                <c:pt idx="336">
                  <c:v>1.571</c:v>
                </c:pt>
                <c:pt idx="337">
                  <c:v>1.627</c:v>
                </c:pt>
                <c:pt idx="338">
                  <c:v>1.5109999999999999</c:v>
                </c:pt>
                <c:pt idx="339">
                  <c:v>1.512</c:v>
                </c:pt>
                <c:pt idx="340">
                  <c:v>1.484</c:v>
                </c:pt>
                <c:pt idx="341">
                  <c:v>1.4930000000000001</c:v>
                </c:pt>
                <c:pt idx="342">
                  <c:v>1.556</c:v>
                </c:pt>
                <c:pt idx="343">
                  <c:v>1.536</c:v>
                </c:pt>
                <c:pt idx="344">
                  <c:v>1.573</c:v>
                </c:pt>
                <c:pt idx="345">
                  <c:v>1.5649999999999999</c:v>
                </c:pt>
                <c:pt idx="346">
                  <c:v>1.605</c:v>
                </c:pt>
                <c:pt idx="347">
                  <c:v>1.5369999999999999</c:v>
                </c:pt>
                <c:pt idx="348">
                  <c:v>1.601</c:v>
                </c:pt>
                <c:pt idx="349">
                  <c:v>1.7589999999999999</c:v>
                </c:pt>
                <c:pt idx="350">
                  <c:v>1.7569999999999999</c:v>
                </c:pt>
                <c:pt idx="351">
                  <c:v>1.8109999999999999</c:v>
                </c:pt>
                <c:pt idx="352">
                  <c:v>1.778</c:v>
                </c:pt>
                <c:pt idx="353">
                  <c:v>1.6970000000000001</c:v>
                </c:pt>
                <c:pt idx="354">
                  <c:v>1.6140000000000001</c:v>
                </c:pt>
                <c:pt idx="355">
                  <c:v>1.6140000000000001</c:v>
                </c:pt>
                <c:pt idx="356">
                  <c:v>1.625</c:v>
                </c:pt>
                <c:pt idx="357">
                  <c:v>1.6459999999999999</c:v>
                </c:pt>
                <c:pt idx="358">
                  <c:v>1.544</c:v>
                </c:pt>
                <c:pt idx="359">
                  <c:v>1.5940000000000001</c:v>
                </c:pt>
                <c:pt idx="360">
                  <c:v>1.5389999999999999</c:v>
                </c:pt>
                <c:pt idx="361">
                  <c:v>1.5389999999999999</c:v>
                </c:pt>
                <c:pt idx="362">
                  <c:v>1.5760000000000001</c:v>
                </c:pt>
                <c:pt idx="363">
                  <c:v>1.5229999999999999</c:v>
                </c:pt>
                <c:pt idx="364">
                  <c:v>1.506</c:v>
                </c:pt>
                <c:pt idx="365">
                  <c:v>1.5509999999999999</c:v>
                </c:pt>
                <c:pt idx="366">
                  <c:v>1.5509999999999999</c:v>
                </c:pt>
                <c:pt idx="367">
                  <c:v>1.5069999999999999</c:v>
                </c:pt>
                <c:pt idx="368">
                  <c:v>1.591</c:v>
                </c:pt>
                <c:pt idx="369">
                  <c:v>1.631</c:v>
                </c:pt>
                <c:pt idx="370">
                  <c:v>1.5660000000000001</c:v>
                </c:pt>
                <c:pt idx="371">
                  <c:v>1.5529999999999999</c:v>
                </c:pt>
                <c:pt idx="372">
                  <c:v>1.5229999999999999</c:v>
                </c:pt>
                <c:pt idx="373">
                  <c:v>1.589</c:v>
                </c:pt>
                <c:pt idx="374">
                  <c:v>1.4870000000000001</c:v>
                </c:pt>
                <c:pt idx="375">
                  <c:v>1.498</c:v>
                </c:pt>
                <c:pt idx="376">
                  <c:v>1.522</c:v>
                </c:pt>
                <c:pt idx="377">
                  <c:v>1.4419999999999999</c:v>
                </c:pt>
                <c:pt idx="378">
                  <c:v>1.4830000000000001</c:v>
                </c:pt>
                <c:pt idx="379">
                  <c:v>1.4930000000000001</c:v>
                </c:pt>
                <c:pt idx="380">
                  <c:v>1.571</c:v>
                </c:pt>
                <c:pt idx="381">
                  <c:v>1.571</c:v>
                </c:pt>
                <c:pt idx="382">
                  <c:v>1.577</c:v>
                </c:pt>
                <c:pt idx="383">
                  <c:v>1.496</c:v>
                </c:pt>
                <c:pt idx="384">
                  <c:v>1.43</c:v>
                </c:pt>
                <c:pt idx="385">
                  <c:v>1.4830000000000001</c:v>
                </c:pt>
                <c:pt idx="386">
                  <c:v>1.4450000000000001</c:v>
                </c:pt>
                <c:pt idx="387">
                  <c:v>1.421</c:v>
                </c:pt>
                <c:pt idx="388">
                  <c:v>1.359</c:v>
                </c:pt>
                <c:pt idx="389">
                  <c:v>1.3440000000000001</c:v>
                </c:pt>
                <c:pt idx="390">
                  <c:v>1.31</c:v>
                </c:pt>
                <c:pt idx="391">
                  <c:v>1.282</c:v>
                </c:pt>
                <c:pt idx="392">
                  <c:v>1.222</c:v>
                </c:pt>
                <c:pt idx="393">
                  <c:v>1.2569999999999999</c:v>
                </c:pt>
                <c:pt idx="394">
                  <c:v>1.292</c:v>
                </c:pt>
                <c:pt idx="395">
                  <c:v>1.274</c:v>
                </c:pt>
                <c:pt idx="396">
                  <c:v>1.2250000000000001</c:v>
                </c:pt>
                <c:pt idx="397">
                  <c:v>1.1930000000000001</c:v>
                </c:pt>
                <c:pt idx="398">
                  <c:v>1.179</c:v>
                </c:pt>
                <c:pt idx="399">
                  <c:v>1.24</c:v>
                </c:pt>
                <c:pt idx="400">
                  <c:v>1.329</c:v>
                </c:pt>
                <c:pt idx="401">
                  <c:v>1.2290000000000001</c:v>
                </c:pt>
                <c:pt idx="402">
                  <c:v>1.268</c:v>
                </c:pt>
                <c:pt idx="403">
                  <c:v>1.18</c:v>
                </c:pt>
                <c:pt idx="404">
                  <c:v>1.1499999999999999</c:v>
                </c:pt>
                <c:pt idx="405">
                  <c:v>1.2190000000000001</c:v>
                </c:pt>
                <c:pt idx="406">
                  <c:v>1.286</c:v>
                </c:pt>
                <c:pt idx="407">
                  <c:v>1.2669999999999999</c:v>
                </c:pt>
                <c:pt idx="408">
                  <c:v>1.306</c:v>
                </c:pt>
                <c:pt idx="409">
                  <c:v>1.2909999999999999</c:v>
                </c:pt>
                <c:pt idx="410">
                  <c:v>1.3</c:v>
                </c:pt>
                <c:pt idx="411">
                  <c:v>1.2170000000000001</c:v>
                </c:pt>
                <c:pt idx="412">
                  <c:v>1.163</c:v>
                </c:pt>
                <c:pt idx="413">
                  <c:v>1.127</c:v>
                </c:pt>
                <c:pt idx="414">
                  <c:v>1.1439999999999999</c:v>
                </c:pt>
                <c:pt idx="415">
                  <c:v>1.145</c:v>
                </c:pt>
                <c:pt idx="416">
                  <c:v>1.1719999999999999</c:v>
                </c:pt>
                <c:pt idx="417">
                  <c:v>1.06</c:v>
                </c:pt>
                <c:pt idx="418">
                  <c:v>1.0760000000000001</c:v>
                </c:pt>
                <c:pt idx="419">
                  <c:v>1.0880000000000001</c:v>
                </c:pt>
                <c:pt idx="420">
                  <c:v>1.1220000000000001</c:v>
                </c:pt>
                <c:pt idx="421">
                  <c:v>1.155</c:v>
                </c:pt>
                <c:pt idx="422">
                  <c:v>1.222</c:v>
                </c:pt>
                <c:pt idx="423">
                  <c:v>1.2370000000000001</c:v>
                </c:pt>
                <c:pt idx="424">
                  <c:v>1.276</c:v>
                </c:pt>
                <c:pt idx="425">
                  <c:v>1.29</c:v>
                </c:pt>
                <c:pt idx="426">
                  <c:v>1.175</c:v>
                </c:pt>
                <c:pt idx="427">
                  <c:v>1.171</c:v>
                </c:pt>
                <c:pt idx="428">
                  <c:v>1.2110000000000001</c:v>
                </c:pt>
                <c:pt idx="429">
                  <c:v>1.3720000000000001</c:v>
                </c:pt>
                <c:pt idx="430">
                  <c:v>1.3360000000000001</c:v>
                </c:pt>
                <c:pt idx="431">
                  <c:v>1.349</c:v>
                </c:pt>
                <c:pt idx="432">
                  <c:v>1.363</c:v>
                </c:pt>
                <c:pt idx="433">
                  <c:v>1.1910000000000001</c:v>
                </c:pt>
                <c:pt idx="434">
                  <c:v>1.3959999999999999</c:v>
                </c:pt>
                <c:pt idx="435">
                  <c:v>1.302</c:v>
                </c:pt>
                <c:pt idx="436">
                  <c:v>1.4239999999999999</c:v>
                </c:pt>
                <c:pt idx="437">
                  <c:v>1.615</c:v>
                </c:pt>
                <c:pt idx="438">
                  <c:v>1.669</c:v>
                </c:pt>
                <c:pt idx="439">
                  <c:v>1.5840000000000001</c:v>
                </c:pt>
                <c:pt idx="440">
                  <c:v>1.4830000000000001</c:v>
                </c:pt>
                <c:pt idx="441">
                  <c:v>1.4490000000000001</c:v>
                </c:pt>
                <c:pt idx="442">
                  <c:v>1.5820000000000001</c:v>
                </c:pt>
                <c:pt idx="443">
                  <c:v>1.5660000000000001</c:v>
                </c:pt>
                <c:pt idx="444">
                  <c:v>1.56</c:v>
                </c:pt>
                <c:pt idx="445">
                  <c:v>1.556</c:v>
                </c:pt>
                <c:pt idx="446">
                  <c:v>1.5780000000000001</c:v>
                </c:pt>
                <c:pt idx="447">
                  <c:v>1.4950000000000001</c:v>
                </c:pt>
                <c:pt idx="448">
                  <c:v>1.526</c:v>
                </c:pt>
                <c:pt idx="449">
                  <c:v>1.5329999999999999</c:v>
                </c:pt>
                <c:pt idx="450">
                  <c:v>1.456</c:v>
                </c:pt>
                <c:pt idx="451">
                  <c:v>1.456</c:v>
                </c:pt>
                <c:pt idx="452">
                  <c:v>1.4910000000000001</c:v>
                </c:pt>
                <c:pt idx="453">
                  <c:v>1.4610000000000001</c:v>
                </c:pt>
                <c:pt idx="454">
                  <c:v>1.446</c:v>
                </c:pt>
                <c:pt idx="455">
                  <c:v>1.391</c:v>
                </c:pt>
                <c:pt idx="456">
                  <c:v>1.413</c:v>
                </c:pt>
                <c:pt idx="457">
                  <c:v>1.337</c:v>
                </c:pt>
                <c:pt idx="458">
                  <c:v>1.2629999999999999</c:v>
                </c:pt>
                <c:pt idx="459">
                  <c:v>1.363</c:v>
                </c:pt>
                <c:pt idx="460">
                  <c:v>1.383</c:v>
                </c:pt>
                <c:pt idx="461">
                  <c:v>1.2929999999999999</c:v>
                </c:pt>
                <c:pt idx="462">
                  <c:v>1.1639999999999999</c:v>
                </c:pt>
                <c:pt idx="463">
                  <c:v>1.1599999999999999</c:v>
                </c:pt>
                <c:pt idx="464">
                  <c:v>1.2689999999999999</c:v>
                </c:pt>
                <c:pt idx="465">
                  <c:v>1.2589999999999999</c:v>
                </c:pt>
                <c:pt idx="466">
                  <c:v>1.194</c:v>
                </c:pt>
                <c:pt idx="467">
                  <c:v>1.1739999999999999</c:v>
                </c:pt>
                <c:pt idx="468">
                  <c:v>1.1579999999999999</c:v>
                </c:pt>
                <c:pt idx="469">
                  <c:v>1.175</c:v>
                </c:pt>
                <c:pt idx="470">
                  <c:v>1.2589999999999999</c:v>
                </c:pt>
                <c:pt idx="471">
                  <c:v>1.2450000000000001</c:v>
                </c:pt>
                <c:pt idx="472">
                  <c:v>1.165</c:v>
                </c:pt>
                <c:pt idx="473">
                  <c:v>1.2509999999999999</c:v>
                </c:pt>
                <c:pt idx="474">
                  <c:v>1.385</c:v>
                </c:pt>
                <c:pt idx="475">
                  <c:v>1.3089999999999999</c:v>
                </c:pt>
                <c:pt idx="476">
                  <c:v>1.3089999999999999</c:v>
                </c:pt>
                <c:pt idx="477">
                  <c:v>1.238</c:v>
                </c:pt>
                <c:pt idx="478">
                  <c:v>1.32</c:v>
                </c:pt>
                <c:pt idx="479">
                  <c:v>1.3879999999999999</c:v>
                </c:pt>
                <c:pt idx="480">
                  <c:v>1.3120000000000001</c:v>
                </c:pt>
                <c:pt idx="481">
                  <c:v>1.3520000000000001</c:v>
                </c:pt>
                <c:pt idx="482">
                  <c:v>1.5009999999999999</c:v>
                </c:pt>
                <c:pt idx="483">
                  <c:v>1.49</c:v>
                </c:pt>
                <c:pt idx="484">
                  <c:v>1.504</c:v>
                </c:pt>
                <c:pt idx="485">
                  <c:v>1.585</c:v>
                </c:pt>
                <c:pt idx="486">
                  <c:v>1.585</c:v>
                </c:pt>
                <c:pt idx="487">
                  <c:v>1.544</c:v>
                </c:pt>
                <c:pt idx="488">
                  <c:v>1.6140000000000001</c:v>
                </c:pt>
                <c:pt idx="489">
                  <c:v>1.589</c:v>
                </c:pt>
                <c:pt idx="490">
                  <c:v>1.5509999999999999</c:v>
                </c:pt>
                <c:pt idx="491">
                  <c:v>1.5509999999999999</c:v>
                </c:pt>
                <c:pt idx="492">
                  <c:v>1.4950000000000001</c:v>
                </c:pt>
                <c:pt idx="493">
                  <c:v>1.393</c:v>
                </c:pt>
                <c:pt idx="494">
                  <c:v>1.452</c:v>
                </c:pt>
                <c:pt idx="495">
                  <c:v>1.4350000000000001</c:v>
                </c:pt>
                <c:pt idx="496">
                  <c:v>1.3640000000000001</c:v>
                </c:pt>
                <c:pt idx="497">
                  <c:v>1.294</c:v>
                </c:pt>
                <c:pt idx="498">
                  <c:v>1.2969999999999999</c:v>
                </c:pt>
                <c:pt idx="499">
                  <c:v>1.2609999999999999</c:v>
                </c:pt>
                <c:pt idx="500">
                  <c:v>1.3440000000000001</c:v>
                </c:pt>
                <c:pt idx="501">
                  <c:v>1.3220000000000001</c:v>
                </c:pt>
                <c:pt idx="502">
                  <c:v>1.198</c:v>
                </c:pt>
                <c:pt idx="503">
                  <c:v>1.1659999999999999</c:v>
                </c:pt>
                <c:pt idx="504">
                  <c:v>1.21</c:v>
                </c:pt>
                <c:pt idx="505">
                  <c:v>1.1879999999999999</c:v>
                </c:pt>
                <c:pt idx="506">
                  <c:v>1.0629999999999999</c:v>
                </c:pt>
                <c:pt idx="507">
                  <c:v>1.143</c:v>
                </c:pt>
                <c:pt idx="508">
                  <c:v>1.25</c:v>
                </c:pt>
                <c:pt idx="509">
                  <c:v>1.4930000000000001</c:v>
                </c:pt>
                <c:pt idx="510">
                  <c:v>1.42</c:v>
                </c:pt>
                <c:pt idx="511">
                  <c:v>1.375</c:v>
                </c:pt>
                <c:pt idx="512">
                  <c:v>1.369</c:v>
                </c:pt>
                <c:pt idx="513">
                  <c:v>1.369</c:v>
                </c:pt>
                <c:pt idx="514">
                  <c:v>1.4490000000000001</c:v>
                </c:pt>
                <c:pt idx="515">
                  <c:v>1.514</c:v>
                </c:pt>
                <c:pt idx="516">
                  <c:v>1.579</c:v>
                </c:pt>
                <c:pt idx="517">
                  <c:v>1.492</c:v>
                </c:pt>
                <c:pt idx="518">
                  <c:v>1.3859999999999999</c:v>
                </c:pt>
                <c:pt idx="519">
                  <c:v>1.446</c:v>
                </c:pt>
                <c:pt idx="520">
                  <c:v>1.508</c:v>
                </c:pt>
                <c:pt idx="521">
                  <c:v>1.4139999999999999</c:v>
                </c:pt>
                <c:pt idx="522">
                  <c:v>1.4139999999999999</c:v>
                </c:pt>
                <c:pt idx="523">
                  <c:v>1.6659999999999999</c:v>
                </c:pt>
                <c:pt idx="524">
                  <c:v>1.637</c:v>
                </c:pt>
                <c:pt idx="525">
                  <c:v>1.6919999999999999</c:v>
                </c:pt>
                <c:pt idx="526">
                  <c:v>1.6890000000000001</c:v>
                </c:pt>
                <c:pt idx="527">
                  <c:v>1.754</c:v>
                </c:pt>
                <c:pt idx="528">
                  <c:v>1.605</c:v>
                </c:pt>
                <c:pt idx="529">
                  <c:v>1.5429999999999999</c:v>
                </c:pt>
                <c:pt idx="530">
                  <c:v>1.546</c:v>
                </c:pt>
                <c:pt idx="531">
                  <c:v>1.52</c:v>
                </c:pt>
                <c:pt idx="532">
                  <c:v>1.4890000000000001</c:v>
                </c:pt>
                <c:pt idx="533">
                  <c:v>1.5860000000000001</c:v>
                </c:pt>
                <c:pt idx="534">
                  <c:v>1.601</c:v>
                </c:pt>
                <c:pt idx="535">
                  <c:v>1.677</c:v>
                </c:pt>
                <c:pt idx="536">
                  <c:v>1.6859999999999999</c:v>
                </c:pt>
                <c:pt idx="537">
                  <c:v>1.7430000000000001</c:v>
                </c:pt>
                <c:pt idx="538">
                  <c:v>1.706</c:v>
                </c:pt>
                <c:pt idx="539">
                  <c:v>1.6060000000000001</c:v>
                </c:pt>
                <c:pt idx="540">
                  <c:v>1.5549999999999999</c:v>
                </c:pt>
                <c:pt idx="541">
                  <c:v>1.6220000000000001</c:v>
                </c:pt>
                <c:pt idx="542">
                  <c:v>1.6120000000000001</c:v>
                </c:pt>
                <c:pt idx="543">
                  <c:v>1.615</c:v>
                </c:pt>
                <c:pt idx="544">
                  <c:v>1.633</c:v>
                </c:pt>
                <c:pt idx="545">
                  <c:v>1.62</c:v>
                </c:pt>
                <c:pt idx="546">
                  <c:v>1.62</c:v>
                </c:pt>
                <c:pt idx="547">
                  <c:v>1.6220000000000001</c:v>
                </c:pt>
                <c:pt idx="548">
                  <c:v>1.552</c:v>
                </c:pt>
                <c:pt idx="549">
                  <c:v>1.4019999999999999</c:v>
                </c:pt>
                <c:pt idx="550">
                  <c:v>1.4570000000000001</c:v>
                </c:pt>
                <c:pt idx="551">
                  <c:v>1.7030000000000001</c:v>
                </c:pt>
                <c:pt idx="552">
                  <c:v>1.605</c:v>
                </c:pt>
                <c:pt idx="553">
                  <c:v>1.4179999999999999</c:v>
                </c:pt>
                <c:pt idx="554">
                  <c:v>1.6220000000000001</c:v>
                </c:pt>
                <c:pt idx="555">
                  <c:v>1.6339999999999999</c:v>
                </c:pt>
                <c:pt idx="556">
                  <c:v>1.3240000000000001</c:v>
                </c:pt>
                <c:pt idx="557">
                  <c:v>1.3109999999999999</c:v>
                </c:pt>
                <c:pt idx="558">
                  <c:v>1.171</c:v>
                </c:pt>
                <c:pt idx="559">
                  <c:v>1.177</c:v>
                </c:pt>
                <c:pt idx="560">
                  <c:v>1.151</c:v>
                </c:pt>
                <c:pt idx="561">
                  <c:v>1.085</c:v>
                </c:pt>
                <c:pt idx="562">
                  <c:v>1.018</c:v>
                </c:pt>
                <c:pt idx="563">
                  <c:v>0.93899999999999995</c:v>
                </c:pt>
                <c:pt idx="564">
                  <c:v>0.97599999999999998</c:v>
                </c:pt>
                <c:pt idx="565">
                  <c:v>0.94399999999999995</c:v>
                </c:pt>
                <c:pt idx="566">
                  <c:v>0.89500000000000002</c:v>
                </c:pt>
                <c:pt idx="567">
                  <c:v>0.91300000000000003</c:v>
                </c:pt>
                <c:pt idx="568">
                  <c:v>0.82199999999999995</c:v>
                </c:pt>
                <c:pt idx="569">
                  <c:v>0.878</c:v>
                </c:pt>
                <c:pt idx="570">
                  <c:v>0.72899999999999998</c:v>
                </c:pt>
                <c:pt idx="571">
                  <c:v>0.72899999999999998</c:v>
                </c:pt>
                <c:pt idx="572">
                  <c:v>0.81599999999999995</c:v>
                </c:pt>
                <c:pt idx="573">
                  <c:v>0.72</c:v>
                </c:pt>
                <c:pt idx="574">
                  <c:v>0.56299999999999994</c:v>
                </c:pt>
                <c:pt idx="575">
                  <c:v>0.54400000000000004</c:v>
                </c:pt>
                <c:pt idx="576">
                  <c:v>0.45200000000000001</c:v>
                </c:pt>
                <c:pt idx="577">
                  <c:v>0.42499999999999999</c:v>
                </c:pt>
                <c:pt idx="578">
                  <c:v>0.47899999999999998</c:v>
                </c:pt>
                <c:pt idx="579">
                  <c:v>0.47299999999999998</c:v>
                </c:pt>
                <c:pt idx="580">
                  <c:v>0.46100000000000002</c:v>
                </c:pt>
                <c:pt idx="581">
                  <c:v>0.42699999999999999</c:v>
                </c:pt>
                <c:pt idx="582">
                  <c:v>0.377</c:v>
                </c:pt>
                <c:pt idx="583">
                  <c:v>0.44</c:v>
                </c:pt>
                <c:pt idx="584">
                  <c:v>0.36699999999999999</c:v>
                </c:pt>
                <c:pt idx="585">
                  <c:v>0.35099999999999998</c:v>
                </c:pt>
                <c:pt idx="586">
                  <c:v>0.37</c:v>
                </c:pt>
                <c:pt idx="587">
                  <c:v>0.41399999999999998</c:v>
                </c:pt>
                <c:pt idx="588">
                  <c:v>0.35</c:v>
                </c:pt>
                <c:pt idx="589">
                  <c:v>0.32300000000000001</c:v>
                </c:pt>
                <c:pt idx="590">
                  <c:v>0.28499999999999998</c:v>
                </c:pt>
                <c:pt idx="591">
                  <c:v>0.35799999999999998</c:v>
                </c:pt>
                <c:pt idx="592">
                  <c:v>0.24399999999999999</c:v>
                </c:pt>
                <c:pt idx="593">
                  <c:v>0.22800000000000001</c:v>
                </c:pt>
                <c:pt idx="594">
                  <c:v>0.27800000000000002</c:v>
                </c:pt>
                <c:pt idx="595">
                  <c:v>9.0999999999999998E-2</c:v>
                </c:pt>
                <c:pt idx="596">
                  <c:v>0.114</c:v>
                </c:pt>
                <c:pt idx="597">
                  <c:v>0.18</c:v>
                </c:pt>
                <c:pt idx="598">
                  <c:v>0.33100000000000002</c:v>
                </c:pt>
                <c:pt idx="599">
                  <c:v>0.44800000000000001</c:v>
                </c:pt>
                <c:pt idx="600">
                  <c:v>0.45200000000000001</c:v>
                </c:pt>
                <c:pt idx="601">
                  <c:v>0.41599999999999998</c:v>
                </c:pt>
                <c:pt idx="602">
                  <c:v>0.57399999999999995</c:v>
                </c:pt>
                <c:pt idx="603">
                  <c:v>0.65300000000000002</c:v>
                </c:pt>
                <c:pt idx="604">
                  <c:v>0.64</c:v>
                </c:pt>
                <c:pt idx="605">
                  <c:v>0.622</c:v>
                </c:pt>
                <c:pt idx="606">
                  <c:v>0.56799999999999995</c:v>
                </c:pt>
                <c:pt idx="607">
                  <c:v>0.61599999999999999</c:v>
                </c:pt>
                <c:pt idx="608">
                  <c:v>0.60399999999999998</c:v>
                </c:pt>
                <c:pt idx="609">
                  <c:v>0.66100000000000003</c:v>
                </c:pt>
                <c:pt idx="610">
                  <c:v>0.67400000000000004</c:v>
                </c:pt>
                <c:pt idx="611">
                  <c:v>0.71399999999999997</c:v>
                </c:pt>
                <c:pt idx="612">
                  <c:v>0.66300000000000003</c:v>
                </c:pt>
                <c:pt idx="613">
                  <c:v>0.64900000000000002</c:v>
                </c:pt>
                <c:pt idx="614">
                  <c:v>0.52400000000000002</c:v>
                </c:pt>
                <c:pt idx="615">
                  <c:v>0.53800000000000003</c:v>
                </c:pt>
                <c:pt idx="616">
                  <c:v>0.53800000000000003</c:v>
                </c:pt>
                <c:pt idx="617">
                  <c:v>0.69</c:v>
                </c:pt>
                <c:pt idx="618">
                  <c:v>0.70699999999999996</c:v>
                </c:pt>
                <c:pt idx="619">
                  <c:v>0.71399999999999997</c:v>
                </c:pt>
                <c:pt idx="620">
                  <c:v>0.66200000000000003</c:v>
                </c:pt>
                <c:pt idx="621">
                  <c:v>0.56899999999999995</c:v>
                </c:pt>
                <c:pt idx="622">
                  <c:v>0.57399999999999995</c:v>
                </c:pt>
                <c:pt idx="623">
                  <c:v>0.627</c:v>
                </c:pt>
                <c:pt idx="624">
                  <c:v>0.68300000000000005</c:v>
                </c:pt>
                <c:pt idx="625">
                  <c:v>0.64800000000000002</c:v>
                </c:pt>
                <c:pt idx="626">
                  <c:v>0.64800000000000002</c:v>
                </c:pt>
                <c:pt idx="627">
                  <c:v>0.627</c:v>
                </c:pt>
                <c:pt idx="628">
                  <c:v>0.624</c:v>
                </c:pt>
                <c:pt idx="629">
                  <c:v>0.83499999999999996</c:v>
                </c:pt>
                <c:pt idx="630">
                  <c:v>0.68500000000000005</c:v>
                </c:pt>
                <c:pt idx="631">
                  <c:v>0.39200000000000002</c:v>
                </c:pt>
                <c:pt idx="632">
                  <c:v>0.27900000000000003</c:v>
                </c:pt>
                <c:pt idx="633">
                  <c:v>0.26900000000000002</c:v>
                </c:pt>
                <c:pt idx="634">
                  <c:v>0.23100000000000001</c:v>
                </c:pt>
                <c:pt idx="635">
                  <c:v>0.26500000000000001</c:v>
                </c:pt>
                <c:pt idx="636">
                  <c:v>0.188</c:v>
                </c:pt>
                <c:pt idx="637">
                  <c:v>0.24099999999999999</c:v>
                </c:pt>
                <c:pt idx="638">
                  <c:v>0.26600000000000001</c:v>
                </c:pt>
                <c:pt idx="639">
                  <c:v>0.20300000000000001</c:v>
                </c:pt>
                <c:pt idx="640">
                  <c:v>9.6000000000000002E-2</c:v>
                </c:pt>
                <c:pt idx="641">
                  <c:v>9.6000000000000002E-2</c:v>
                </c:pt>
                <c:pt idx="642">
                  <c:v>0.12</c:v>
                </c:pt>
                <c:pt idx="643">
                  <c:v>0.20200000000000001</c:v>
                </c:pt>
                <c:pt idx="644">
                  <c:v>0.193</c:v>
                </c:pt>
                <c:pt idx="645">
                  <c:v>0.26600000000000001</c:v>
                </c:pt>
                <c:pt idx="646">
                  <c:v>0.21199999999999999</c:v>
                </c:pt>
                <c:pt idx="647">
                  <c:v>0.19500000000000001</c:v>
                </c:pt>
                <c:pt idx="648">
                  <c:v>0.156</c:v>
                </c:pt>
                <c:pt idx="649">
                  <c:v>0.26400000000000001</c:v>
                </c:pt>
                <c:pt idx="650">
                  <c:v>0.17599999999999999</c:v>
                </c:pt>
                <c:pt idx="651">
                  <c:v>0.2</c:v>
                </c:pt>
                <c:pt idx="652">
                  <c:v>0.24199999999999999</c:v>
                </c:pt>
                <c:pt idx="653">
                  <c:v>0.19800000000000001</c:v>
                </c:pt>
                <c:pt idx="654">
                  <c:v>0.34699999999999998</c:v>
                </c:pt>
                <c:pt idx="655">
                  <c:v>0.29899999999999999</c:v>
                </c:pt>
                <c:pt idx="656">
                  <c:v>0.28399999999999997</c:v>
                </c:pt>
                <c:pt idx="657">
                  <c:v>0.184</c:v>
                </c:pt>
                <c:pt idx="658">
                  <c:v>7.3999999999999996E-2</c:v>
                </c:pt>
                <c:pt idx="659">
                  <c:v>0.155</c:v>
                </c:pt>
                <c:pt idx="660">
                  <c:v>0.153</c:v>
                </c:pt>
                <c:pt idx="661">
                  <c:v>4.0000000000000001E-3</c:v>
                </c:pt>
                <c:pt idx="662">
                  <c:v>-0.13900000000000001</c:v>
                </c:pt>
                <c:pt idx="663">
                  <c:v>-6.8000000000000005E-2</c:v>
                </c:pt>
                <c:pt idx="664">
                  <c:v>-0.14599999999999999</c:v>
                </c:pt>
                <c:pt idx="665">
                  <c:v>-8.1000000000000003E-2</c:v>
                </c:pt>
                <c:pt idx="666">
                  <c:v>-7.4999999999999997E-2</c:v>
                </c:pt>
                <c:pt idx="667">
                  <c:v>-0.125</c:v>
                </c:pt>
                <c:pt idx="668">
                  <c:v>-0.111</c:v>
                </c:pt>
                <c:pt idx="669">
                  <c:v>1E-3</c:v>
                </c:pt>
                <c:pt idx="670">
                  <c:v>-8.7999999999999995E-2</c:v>
                </c:pt>
                <c:pt idx="671">
                  <c:v>-7.9000000000000001E-2</c:v>
                </c:pt>
                <c:pt idx="672">
                  <c:v>-7.9000000000000001E-2</c:v>
                </c:pt>
                <c:pt idx="673">
                  <c:v>-0.12</c:v>
                </c:pt>
                <c:pt idx="674">
                  <c:v>-0.14199999999999999</c:v>
                </c:pt>
                <c:pt idx="675">
                  <c:v>-0.152</c:v>
                </c:pt>
                <c:pt idx="676">
                  <c:v>-0.17899999999999999</c:v>
                </c:pt>
                <c:pt idx="677">
                  <c:v>-0.17399999999999999</c:v>
                </c:pt>
                <c:pt idx="678">
                  <c:v>-0.23400000000000001</c:v>
                </c:pt>
                <c:pt idx="679">
                  <c:v>-0.29099999999999998</c:v>
                </c:pt>
                <c:pt idx="680">
                  <c:v>-0.40799999999999997</c:v>
                </c:pt>
                <c:pt idx="681">
                  <c:v>-0.42299999999999999</c:v>
                </c:pt>
                <c:pt idx="682">
                  <c:v>-0.47399999999999998</c:v>
                </c:pt>
                <c:pt idx="683">
                  <c:v>-0.52600000000000002</c:v>
                </c:pt>
                <c:pt idx="684">
                  <c:v>-0.46100000000000002</c:v>
                </c:pt>
                <c:pt idx="685">
                  <c:v>-0.48299999999999998</c:v>
                </c:pt>
                <c:pt idx="686">
                  <c:v>-0.48699999999999999</c:v>
                </c:pt>
                <c:pt idx="687">
                  <c:v>-0.56899999999999995</c:v>
                </c:pt>
                <c:pt idx="688">
                  <c:v>-0.67700000000000005</c:v>
                </c:pt>
                <c:pt idx="689">
                  <c:v>-0.54400000000000004</c:v>
                </c:pt>
                <c:pt idx="690">
                  <c:v>-0.621</c:v>
                </c:pt>
                <c:pt idx="691">
                  <c:v>-0.74099999999999999</c:v>
                </c:pt>
                <c:pt idx="692">
                  <c:v>-0.76300000000000001</c:v>
                </c:pt>
                <c:pt idx="693">
                  <c:v>-0.60699999999999998</c:v>
                </c:pt>
                <c:pt idx="694">
                  <c:v>-0.70399999999999996</c:v>
                </c:pt>
                <c:pt idx="695">
                  <c:v>-0.80700000000000005</c:v>
                </c:pt>
                <c:pt idx="696">
                  <c:v>-0.96899999999999997</c:v>
                </c:pt>
                <c:pt idx="697">
                  <c:v>-0.88600000000000001</c:v>
                </c:pt>
                <c:pt idx="698">
                  <c:v>-0.93100000000000005</c:v>
                </c:pt>
                <c:pt idx="699">
                  <c:v>-1.081</c:v>
                </c:pt>
                <c:pt idx="700">
                  <c:v>-1.0660000000000001</c:v>
                </c:pt>
                <c:pt idx="701">
                  <c:v>-0.95699999999999996</c:v>
                </c:pt>
                <c:pt idx="702">
                  <c:v>-0.84199999999999997</c:v>
                </c:pt>
                <c:pt idx="703">
                  <c:v>-0.84699999999999998</c:v>
                </c:pt>
                <c:pt idx="704">
                  <c:v>-0.97499999999999998</c:v>
                </c:pt>
                <c:pt idx="705">
                  <c:v>-0.79900000000000004</c:v>
                </c:pt>
                <c:pt idx="706">
                  <c:v>-0.58299999999999996</c:v>
                </c:pt>
                <c:pt idx="707">
                  <c:v>-0.60799999999999998</c:v>
                </c:pt>
                <c:pt idx="708">
                  <c:v>-0.56499999999999995</c:v>
                </c:pt>
                <c:pt idx="709">
                  <c:v>-0.52300000000000002</c:v>
                </c:pt>
                <c:pt idx="710">
                  <c:v>-0.50800000000000001</c:v>
                </c:pt>
                <c:pt idx="711">
                  <c:v>-0.50800000000000001</c:v>
                </c:pt>
                <c:pt idx="712">
                  <c:v>-0.48099999999999998</c:v>
                </c:pt>
                <c:pt idx="713">
                  <c:v>-0.42599999999999999</c:v>
                </c:pt>
                <c:pt idx="714">
                  <c:v>-0.44</c:v>
                </c:pt>
                <c:pt idx="715">
                  <c:v>-0.52100000000000002</c:v>
                </c:pt>
                <c:pt idx="716">
                  <c:v>-0.55200000000000005</c:v>
                </c:pt>
                <c:pt idx="717">
                  <c:v>-0.40400000000000003</c:v>
                </c:pt>
                <c:pt idx="718">
                  <c:v>-0.498</c:v>
                </c:pt>
                <c:pt idx="719">
                  <c:v>-0.46100000000000002</c:v>
                </c:pt>
                <c:pt idx="720">
                  <c:v>-0.48799999999999999</c:v>
                </c:pt>
                <c:pt idx="721">
                  <c:v>-0.49299999999999999</c:v>
                </c:pt>
                <c:pt idx="722">
                  <c:v>-0.56799999999999995</c:v>
                </c:pt>
                <c:pt idx="723">
                  <c:v>-0.65400000000000003</c:v>
                </c:pt>
                <c:pt idx="724">
                  <c:v>-0.64200000000000002</c:v>
                </c:pt>
                <c:pt idx="725">
                  <c:v>-0.69799999999999995</c:v>
                </c:pt>
                <c:pt idx="726">
                  <c:v>-0.68100000000000005</c:v>
                </c:pt>
                <c:pt idx="727">
                  <c:v>-0.624</c:v>
                </c:pt>
                <c:pt idx="728">
                  <c:v>-0.53900000000000003</c:v>
                </c:pt>
                <c:pt idx="729">
                  <c:v>-0.63600000000000001</c:v>
                </c:pt>
                <c:pt idx="730">
                  <c:v>-0.63700000000000001</c:v>
                </c:pt>
                <c:pt idx="731">
                  <c:v>-0.59499999999999997</c:v>
                </c:pt>
                <c:pt idx="732">
                  <c:v>-0.61499999999999999</c:v>
                </c:pt>
                <c:pt idx="733">
                  <c:v>-0.59799999999999998</c:v>
                </c:pt>
                <c:pt idx="734">
                  <c:v>-0.61299999999999999</c:v>
                </c:pt>
                <c:pt idx="735">
                  <c:v>-0.69099999999999995</c:v>
                </c:pt>
                <c:pt idx="736">
                  <c:v>-0.69099999999999995</c:v>
                </c:pt>
                <c:pt idx="737">
                  <c:v>-0.77500000000000002</c:v>
                </c:pt>
                <c:pt idx="738">
                  <c:v>-0.76100000000000001</c:v>
                </c:pt>
                <c:pt idx="739">
                  <c:v>-0.84199999999999997</c:v>
                </c:pt>
                <c:pt idx="740">
                  <c:v>-0.77200000000000002</c:v>
                </c:pt>
                <c:pt idx="741">
                  <c:v>-0.76500000000000001</c:v>
                </c:pt>
                <c:pt idx="742">
                  <c:v>-0.78500000000000003</c:v>
                </c:pt>
                <c:pt idx="743">
                  <c:v>-0.85299999999999998</c:v>
                </c:pt>
                <c:pt idx="744">
                  <c:v>-0.96099999999999997</c:v>
                </c:pt>
                <c:pt idx="745">
                  <c:v>-1.022</c:v>
                </c:pt>
                <c:pt idx="746">
                  <c:v>-1.0940000000000001</c:v>
                </c:pt>
                <c:pt idx="747">
                  <c:v>-1.117</c:v>
                </c:pt>
                <c:pt idx="748">
                  <c:v>-1.04</c:v>
                </c:pt>
                <c:pt idx="749">
                  <c:v>-1.0569999999999999</c:v>
                </c:pt>
                <c:pt idx="750">
                  <c:v>-1.0680000000000001</c:v>
                </c:pt>
                <c:pt idx="751">
                  <c:v>-1.0129999999999999</c:v>
                </c:pt>
                <c:pt idx="752">
                  <c:v>-1.0129999999999999</c:v>
                </c:pt>
                <c:pt idx="753">
                  <c:v>-1.054</c:v>
                </c:pt>
                <c:pt idx="754">
                  <c:v>-1.022</c:v>
                </c:pt>
                <c:pt idx="755">
                  <c:v>-0.999</c:v>
                </c:pt>
                <c:pt idx="756">
                  <c:v>-1.02</c:v>
                </c:pt>
                <c:pt idx="757">
                  <c:v>-1.0349999999999999</c:v>
                </c:pt>
                <c:pt idx="758">
                  <c:v>-1.0149999999999999</c:v>
                </c:pt>
                <c:pt idx="759">
                  <c:v>-0.97599999999999998</c:v>
                </c:pt>
                <c:pt idx="760">
                  <c:v>-1.0129999999999999</c:v>
                </c:pt>
                <c:pt idx="761">
                  <c:v>-1.0089999999999999</c:v>
                </c:pt>
                <c:pt idx="762">
                  <c:v>-1.0069999999999999</c:v>
                </c:pt>
                <c:pt idx="763">
                  <c:v>-1.0389999999999999</c:v>
                </c:pt>
                <c:pt idx="764">
                  <c:v>-1.0409999999999999</c:v>
                </c:pt>
                <c:pt idx="765">
                  <c:v>-1.024</c:v>
                </c:pt>
                <c:pt idx="766">
                  <c:v>-1.097</c:v>
                </c:pt>
                <c:pt idx="767">
                  <c:v>-1.0349999999999999</c:v>
                </c:pt>
                <c:pt idx="768">
                  <c:v>-1.0329999999999999</c:v>
                </c:pt>
                <c:pt idx="769">
                  <c:v>-1.07</c:v>
                </c:pt>
                <c:pt idx="770">
                  <c:v>-1.048</c:v>
                </c:pt>
                <c:pt idx="771">
                  <c:v>-1.08</c:v>
                </c:pt>
                <c:pt idx="772">
                  <c:v>-0.98399999999999999</c:v>
                </c:pt>
                <c:pt idx="773">
                  <c:v>-0.98399999999999999</c:v>
                </c:pt>
                <c:pt idx="774">
                  <c:v>-0.95799999999999996</c:v>
                </c:pt>
                <c:pt idx="775">
                  <c:v>-1.0009999999999999</c:v>
                </c:pt>
                <c:pt idx="776">
                  <c:v>-1.111</c:v>
                </c:pt>
                <c:pt idx="777">
                  <c:v>-1.1379999999999999</c:v>
                </c:pt>
                <c:pt idx="778">
                  <c:v>-1.139</c:v>
                </c:pt>
                <c:pt idx="779">
                  <c:v>-1.115</c:v>
                </c:pt>
                <c:pt idx="780">
                  <c:v>-1.147</c:v>
                </c:pt>
                <c:pt idx="781">
                  <c:v>-1.163</c:v>
                </c:pt>
                <c:pt idx="782">
                  <c:v>-1.1519999999999999</c:v>
                </c:pt>
                <c:pt idx="783">
                  <c:v>-1.1519999999999999</c:v>
                </c:pt>
                <c:pt idx="784">
                  <c:v>-1.1990000000000001</c:v>
                </c:pt>
                <c:pt idx="785">
                  <c:v>-1.1279999999999999</c:v>
                </c:pt>
                <c:pt idx="786">
                  <c:v>-1.0940000000000001</c:v>
                </c:pt>
                <c:pt idx="787">
                  <c:v>-1.038</c:v>
                </c:pt>
                <c:pt idx="788">
                  <c:v>-0.95499999999999996</c:v>
                </c:pt>
                <c:pt idx="789">
                  <c:v>-0.97299999999999998</c:v>
                </c:pt>
                <c:pt idx="790">
                  <c:v>-0.94699999999999995</c:v>
                </c:pt>
                <c:pt idx="791">
                  <c:v>-1.0229999999999999</c:v>
                </c:pt>
                <c:pt idx="792">
                  <c:v>-1.0109999999999999</c:v>
                </c:pt>
                <c:pt idx="793">
                  <c:v>-1.123</c:v>
                </c:pt>
                <c:pt idx="794">
                  <c:v>-1.0780000000000001</c:v>
                </c:pt>
                <c:pt idx="795">
                  <c:v>-1.0309999999999999</c:v>
                </c:pt>
                <c:pt idx="796">
                  <c:v>-0.996</c:v>
                </c:pt>
                <c:pt idx="797">
                  <c:v>-0.94599999999999995</c:v>
                </c:pt>
                <c:pt idx="798">
                  <c:v>-0.93700000000000006</c:v>
                </c:pt>
                <c:pt idx="799">
                  <c:v>-0.90900000000000003</c:v>
                </c:pt>
                <c:pt idx="800">
                  <c:v>-0.95599999999999996</c:v>
                </c:pt>
                <c:pt idx="801">
                  <c:v>-0.98599999999999999</c:v>
                </c:pt>
                <c:pt idx="802">
                  <c:v>-1.0169999999999999</c:v>
                </c:pt>
                <c:pt idx="803">
                  <c:v>-0.98099999999999998</c:v>
                </c:pt>
                <c:pt idx="804">
                  <c:v>-0.91700000000000004</c:v>
                </c:pt>
                <c:pt idx="805">
                  <c:v>-0.89500000000000002</c:v>
                </c:pt>
                <c:pt idx="806">
                  <c:v>-0.89500000000000002</c:v>
                </c:pt>
                <c:pt idx="807">
                  <c:v>-0.89600000000000002</c:v>
                </c:pt>
                <c:pt idx="808">
                  <c:v>-0.91500000000000004</c:v>
                </c:pt>
                <c:pt idx="809">
                  <c:v>-0.92700000000000005</c:v>
                </c:pt>
                <c:pt idx="810">
                  <c:v>-0.90800000000000003</c:v>
                </c:pt>
                <c:pt idx="811">
                  <c:v>-0.91100000000000003</c:v>
                </c:pt>
                <c:pt idx="812">
                  <c:v>-0.88200000000000001</c:v>
                </c:pt>
                <c:pt idx="813">
                  <c:v>-0.84899999999999998</c:v>
                </c:pt>
                <c:pt idx="814">
                  <c:v>-0.84599999999999997</c:v>
                </c:pt>
                <c:pt idx="815">
                  <c:v>-0.878</c:v>
                </c:pt>
                <c:pt idx="816">
                  <c:v>-0.878</c:v>
                </c:pt>
                <c:pt idx="817">
                  <c:v>-0.88700000000000001</c:v>
                </c:pt>
                <c:pt idx="818">
                  <c:v>-0.96899999999999997</c:v>
                </c:pt>
                <c:pt idx="819">
                  <c:v>-0.96799999999999997</c:v>
                </c:pt>
                <c:pt idx="820">
                  <c:v>-0.99</c:v>
                </c:pt>
                <c:pt idx="821">
                  <c:v>-0.98099999999999998</c:v>
                </c:pt>
                <c:pt idx="822">
                  <c:v>-1.02</c:v>
                </c:pt>
                <c:pt idx="823">
                  <c:v>-1.0429999999999999</c:v>
                </c:pt>
                <c:pt idx="824">
                  <c:v>-1.046</c:v>
                </c:pt>
                <c:pt idx="825">
                  <c:v>-1.0429999999999999</c:v>
                </c:pt>
                <c:pt idx="826">
                  <c:v>-1.0489999999999999</c:v>
                </c:pt>
                <c:pt idx="827">
                  <c:v>-1.089</c:v>
                </c:pt>
                <c:pt idx="828">
                  <c:v>-1.042</c:v>
                </c:pt>
                <c:pt idx="829">
                  <c:v>-0.98599999999999999</c:v>
                </c:pt>
                <c:pt idx="830">
                  <c:v>-1.0129999999999999</c:v>
                </c:pt>
                <c:pt idx="831">
                  <c:v>-1.0129999999999999</c:v>
                </c:pt>
                <c:pt idx="832">
                  <c:v>-1.0449999999999999</c:v>
                </c:pt>
                <c:pt idx="833">
                  <c:v>-1.042</c:v>
                </c:pt>
                <c:pt idx="834">
                  <c:v>-1.026</c:v>
                </c:pt>
                <c:pt idx="835">
                  <c:v>-1.0860000000000001</c:v>
                </c:pt>
                <c:pt idx="836">
                  <c:v>-1.0760000000000001</c:v>
                </c:pt>
                <c:pt idx="837">
                  <c:v>-0.99</c:v>
                </c:pt>
                <c:pt idx="838">
                  <c:v>-1.0029999999999999</c:v>
                </c:pt>
                <c:pt idx="839">
                  <c:v>-1.016</c:v>
                </c:pt>
                <c:pt idx="840">
                  <c:v>-1.0229999999999999</c:v>
                </c:pt>
                <c:pt idx="841">
                  <c:v>-1.0069999999999999</c:v>
                </c:pt>
                <c:pt idx="842">
                  <c:v>-1.0489999999999999</c:v>
                </c:pt>
                <c:pt idx="843">
                  <c:v>-1.06</c:v>
                </c:pt>
                <c:pt idx="844">
                  <c:v>-1.0589999999999999</c:v>
                </c:pt>
                <c:pt idx="845">
                  <c:v>-1.1020000000000001</c:v>
                </c:pt>
                <c:pt idx="846">
                  <c:v>-1.097</c:v>
                </c:pt>
                <c:pt idx="847">
                  <c:v>-1.056</c:v>
                </c:pt>
                <c:pt idx="848">
                  <c:v>-1.0660000000000001</c:v>
                </c:pt>
                <c:pt idx="849">
                  <c:v>-1.0329999999999999</c:v>
                </c:pt>
                <c:pt idx="850">
                  <c:v>-1.0349999999999999</c:v>
                </c:pt>
                <c:pt idx="851">
                  <c:v>-1.0549999999999999</c:v>
                </c:pt>
                <c:pt idx="852">
                  <c:v>-1.103</c:v>
                </c:pt>
                <c:pt idx="853">
                  <c:v>-1.1639999999999999</c:v>
                </c:pt>
                <c:pt idx="854">
                  <c:v>-1.1930000000000001</c:v>
                </c:pt>
                <c:pt idx="855">
                  <c:v>-1.1779999999999999</c:v>
                </c:pt>
                <c:pt idx="856">
                  <c:v>-1.1739999999999999</c:v>
                </c:pt>
                <c:pt idx="857">
                  <c:v>-1.1479999999999999</c:v>
                </c:pt>
                <c:pt idx="858">
                  <c:v>-1.17</c:v>
                </c:pt>
                <c:pt idx="859">
                  <c:v>-1.1279999999999999</c:v>
                </c:pt>
                <c:pt idx="860">
                  <c:v>-1.097</c:v>
                </c:pt>
                <c:pt idx="861">
                  <c:v>-1.0589999999999999</c:v>
                </c:pt>
                <c:pt idx="862">
                  <c:v>-1.0309999999999999</c:v>
                </c:pt>
                <c:pt idx="863">
                  <c:v>-1.0109999999999999</c:v>
                </c:pt>
                <c:pt idx="864">
                  <c:v>-1.05</c:v>
                </c:pt>
                <c:pt idx="865">
                  <c:v>-1.0680000000000001</c:v>
                </c:pt>
                <c:pt idx="866">
                  <c:v>-1.0409999999999999</c:v>
                </c:pt>
                <c:pt idx="867">
                  <c:v>-1.0449999999999999</c:v>
                </c:pt>
                <c:pt idx="868">
                  <c:v>-1.01</c:v>
                </c:pt>
                <c:pt idx="869">
                  <c:v>-0.96399999999999997</c:v>
                </c:pt>
                <c:pt idx="870">
                  <c:v>-0.97399999999999998</c:v>
                </c:pt>
                <c:pt idx="871">
                  <c:v>-0.93899999999999995</c:v>
                </c:pt>
                <c:pt idx="872">
                  <c:v>-0.94499999999999995</c:v>
                </c:pt>
                <c:pt idx="873">
                  <c:v>-0.95699999999999996</c:v>
                </c:pt>
                <c:pt idx="874">
                  <c:v>-0.98099999999999998</c:v>
                </c:pt>
                <c:pt idx="875">
                  <c:v>-0.91500000000000004</c:v>
                </c:pt>
                <c:pt idx="876">
                  <c:v>-0.91500000000000004</c:v>
                </c:pt>
                <c:pt idx="877">
                  <c:v>-0.89200000000000002</c:v>
                </c:pt>
                <c:pt idx="878">
                  <c:v>-0.873</c:v>
                </c:pt>
                <c:pt idx="879">
                  <c:v>-0.86199999999999999</c:v>
                </c:pt>
                <c:pt idx="880">
                  <c:v>-0.86</c:v>
                </c:pt>
                <c:pt idx="881">
                  <c:v>-0.84099999999999997</c:v>
                </c:pt>
                <c:pt idx="882">
                  <c:v>-0.82399999999999995</c:v>
                </c:pt>
                <c:pt idx="883">
                  <c:v>-0.87</c:v>
                </c:pt>
                <c:pt idx="884">
                  <c:v>-0.85699999999999998</c:v>
                </c:pt>
                <c:pt idx="885">
                  <c:v>-0.78600000000000003</c:v>
                </c:pt>
                <c:pt idx="886">
                  <c:v>-0.8</c:v>
                </c:pt>
                <c:pt idx="887">
                  <c:v>-0.78500000000000003</c:v>
                </c:pt>
                <c:pt idx="888">
                  <c:v>-0.74299999999999999</c:v>
                </c:pt>
                <c:pt idx="889">
                  <c:v>-0.90200000000000002</c:v>
                </c:pt>
                <c:pt idx="890">
                  <c:v>-0.878</c:v>
                </c:pt>
                <c:pt idx="891">
                  <c:v>-0.89500000000000002</c:v>
                </c:pt>
                <c:pt idx="892">
                  <c:v>-0.92800000000000005</c:v>
                </c:pt>
                <c:pt idx="893">
                  <c:v>-0.84</c:v>
                </c:pt>
                <c:pt idx="894">
                  <c:v>-0.83899999999999997</c:v>
                </c:pt>
                <c:pt idx="895">
                  <c:v>-0.83799999999999997</c:v>
                </c:pt>
                <c:pt idx="896">
                  <c:v>-0.872</c:v>
                </c:pt>
                <c:pt idx="897">
                  <c:v>-0.81499999999999995</c:v>
                </c:pt>
                <c:pt idx="898">
                  <c:v>-0.873</c:v>
                </c:pt>
                <c:pt idx="899">
                  <c:v>-0.873</c:v>
                </c:pt>
                <c:pt idx="900">
                  <c:v>-0.85699999999999998</c:v>
                </c:pt>
                <c:pt idx="901">
                  <c:v>-0.85699999999999998</c:v>
                </c:pt>
                <c:pt idx="902">
                  <c:v>-0.83499999999999996</c:v>
                </c:pt>
                <c:pt idx="903">
                  <c:v>-0.84899999999999998</c:v>
                </c:pt>
                <c:pt idx="904">
                  <c:v>-0.88800000000000001</c:v>
                </c:pt>
                <c:pt idx="905">
                  <c:v>-0.85799999999999998</c:v>
                </c:pt>
                <c:pt idx="906">
                  <c:v>-0.82699999999999996</c:v>
                </c:pt>
                <c:pt idx="907">
                  <c:v>-0.82499999999999996</c:v>
                </c:pt>
                <c:pt idx="908">
                  <c:v>-0.81899999999999995</c:v>
                </c:pt>
                <c:pt idx="909">
                  <c:v>-0.91100000000000003</c:v>
                </c:pt>
                <c:pt idx="910">
                  <c:v>-0.91300000000000003</c:v>
                </c:pt>
                <c:pt idx="911">
                  <c:v>-0.90500000000000003</c:v>
                </c:pt>
                <c:pt idx="912">
                  <c:v>-0.88</c:v>
                </c:pt>
                <c:pt idx="913">
                  <c:v>-0.86599999999999999</c:v>
                </c:pt>
                <c:pt idx="914">
                  <c:v>-0.91600000000000004</c:v>
                </c:pt>
                <c:pt idx="915">
                  <c:v>-0.92500000000000004</c:v>
                </c:pt>
                <c:pt idx="916">
                  <c:v>-0.91900000000000004</c:v>
                </c:pt>
                <c:pt idx="917">
                  <c:v>-0.88300000000000001</c:v>
                </c:pt>
                <c:pt idx="918">
                  <c:v>-0.9</c:v>
                </c:pt>
                <c:pt idx="919">
                  <c:v>-0.83299999999999996</c:v>
                </c:pt>
                <c:pt idx="920">
                  <c:v>-0.82199999999999995</c:v>
                </c:pt>
                <c:pt idx="921">
                  <c:v>-0.77800000000000002</c:v>
                </c:pt>
                <c:pt idx="922">
                  <c:v>-0.78100000000000003</c:v>
                </c:pt>
                <c:pt idx="923">
                  <c:v>-0.81100000000000005</c:v>
                </c:pt>
                <c:pt idx="924">
                  <c:v>-0.78</c:v>
                </c:pt>
                <c:pt idx="925">
                  <c:v>-0.79200000000000004</c:v>
                </c:pt>
                <c:pt idx="926">
                  <c:v>-0.77600000000000002</c:v>
                </c:pt>
                <c:pt idx="927">
                  <c:v>-0.78600000000000003</c:v>
                </c:pt>
                <c:pt idx="928">
                  <c:v>-0.77100000000000002</c:v>
                </c:pt>
                <c:pt idx="929">
                  <c:v>-0.76200000000000001</c:v>
                </c:pt>
                <c:pt idx="930">
                  <c:v>-0.74199999999999999</c:v>
                </c:pt>
                <c:pt idx="931">
                  <c:v>-0.77700000000000002</c:v>
                </c:pt>
                <c:pt idx="932">
                  <c:v>-0.76500000000000001</c:v>
                </c:pt>
                <c:pt idx="933">
                  <c:v>-0.71</c:v>
                </c:pt>
                <c:pt idx="934">
                  <c:v>-0.70399999999999996</c:v>
                </c:pt>
                <c:pt idx="935">
                  <c:v>-0.66300000000000003</c:v>
                </c:pt>
                <c:pt idx="936">
                  <c:v>-0.66</c:v>
                </c:pt>
                <c:pt idx="937">
                  <c:v>-0.68</c:v>
                </c:pt>
                <c:pt idx="938">
                  <c:v>-0.66</c:v>
                </c:pt>
                <c:pt idx="939">
                  <c:v>-0.65500000000000003</c:v>
                </c:pt>
                <c:pt idx="940">
                  <c:v>-0.64500000000000002</c:v>
                </c:pt>
                <c:pt idx="941">
                  <c:v>-0.65100000000000002</c:v>
                </c:pt>
                <c:pt idx="942">
                  <c:v>-0.67700000000000005</c:v>
                </c:pt>
                <c:pt idx="943">
                  <c:v>-0.625</c:v>
                </c:pt>
                <c:pt idx="944">
                  <c:v>-0.63500000000000001</c:v>
                </c:pt>
                <c:pt idx="945">
                  <c:v>-0.64500000000000002</c:v>
                </c:pt>
                <c:pt idx="946">
                  <c:v>-0.68200000000000005</c:v>
                </c:pt>
                <c:pt idx="947">
                  <c:v>-0.68300000000000005</c:v>
                </c:pt>
                <c:pt idx="948">
                  <c:v>-0.69799999999999995</c:v>
                </c:pt>
                <c:pt idx="949">
                  <c:v>-0.67500000000000004</c:v>
                </c:pt>
                <c:pt idx="950">
                  <c:v>-0.63700000000000001</c:v>
                </c:pt>
                <c:pt idx="951">
                  <c:v>-0.57799999999999996</c:v>
                </c:pt>
                <c:pt idx="952">
                  <c:v>-0.58199999999999996</c:v>
                </c:pt>
                <c:pt idx="953">
                  <c:v>-0.66100000000000003</c:v>
                </c:pt>
                <c:pt idx="954">
                  <c:v>-0.68200000000000005</c:v>
                </c:pt>
                <c:pt idx="955">
                  <c:v>-0.66600000000000004</c:v>
                </c:pt>
                <c:pt idx="956">
                  <c:v>-0.64700000000000002</c:v>
                </c:pt>
                <c:pt idx="957">
                  <c:v>-0.746</c:v>
                </c:pt>
                <c:pt idx="958">
                  <c:v>-0.748</c:v>
                </c:pt>
                <c:pt idx="959">
                  <c:v>-0.69099999999999995</c:v>
                </c:pt>
                <c:pt idx="960">
                  <c:v>-0.61399999999999999</c:v>
                </c:pt>
                <c:pt idx="961">
                  <c:v>-0.65600000000000003</c:v>
                </c:pt>
                <c:pt idx="962">
                  <c:v>-0.64</c:v>
                </c:pt>
                <c:pt idx="963">
                  <c:v>-0.73499999999999999</c:v>
                </c:pt>
                <c:pt idx="964">
                  <c:v>-0.79700000000000004</c:v>
                </c:pt>
                <c:pt idx="965">
                  <c:v>-0.73199999999999998</c:v>
                </c:pt>
                <c:pt idx="966">
                  <c:v>-0.73699999999999999</c:v>
                </c:pt>
                <c:pt idx="967">
                  <c:v>-0.59499999999999997</c:v>
                </c:pt>
                <c:pt idx="968">
                  <c:v>-0.78400000000000003</c:v>
                </c:pt>
                <c:pt idx="969">
                  <c:v>-0.83099999999999996</c:v>
                </c:pt>
                <c:pt idx="970">
                  <c:v>-0.79</c:v>
                </c:pt>
                <c:pt idx="971">
                  <c:v>-0.81200000000000006</c:v>
                </c:pt>
                <c:pt idx="972">
                  <c:v>-0.876</c:v>
                </c:pt>
                <c:pt idx="973">
                  <c:v>-0.94399999999999995</c:v>
                </c:pt>
                <c:pt idx="974">
                  <c:v>-0.91900000000000004</c:v>
                </c:pt>
                <c:pt idx="975">
                  <c:v>-1.0149999999999999</c:v>
                </c:pt>
                <c:pt idx="976">
                  <c:v>-1.014</c:v>
                </c:pt>
                <c:pt idx="977">
                  <c:v>-1.036</c:v>
                </c:pt>
                <c:pt idx="978">
                  <c:v>-1.0609999999999999</c:v>
                </c:pt>
                <c:pt idx="979">
                  <c:v>-1.0429999999999999</c:v>
                </c:pt>
                <c:pt idx="980">
                  <c:v>-1.0349999999999999</c:v>
                </c:pt>
                <c:pt idx="981">
                  <c:v>-1.028</c:v>
                </c:pt>
                <c:pt idx="982">
                  <c:v>-1.0289999999999999</c:v>
                </c:pt>
                <c:pt idx="983">
                  <c:v>-1.032</c:v>
                </c:pt>
                <c:pt idx="984">
                  <c:v>-1.0369999999999999</c:v>
                </c:pt>
                <c:pt idx="985">
                  <c:v>-1.008</c:v>
                </c:pt>
                <c:pt idx="986">
                  <c:v>-1.0289999999999999</c:v>
                </c:pt>
                <c:pt idx="987">
                  <c:v>-1.0580000000000001</c:v>
                </c:pt>
                <c:pt idx="988">
                  <c:v>-1.0269999999999999</c:v>
                </c:pt>
                <c:pt idx="989">
                  <c:v>-1.024</c:v>
                </c:pt>
                <c:pt idx="990">
                  <c:v>-1.0309999999999999</c:v>
                </c:pt>
                <c:pt idx="991">
                  <c:v>-0.99099999999999999</c:v>
                </c:pt>
                <c:pt idx="992">
                  <c:v>-0.98699999999999999</c:v>
                </c:pt>
                <c:pt idx="993">
                  <c:v>-1.046</c:v>
                </c:pt>
                <c:pt idx="994">
                  <c:v>-1.03</c:v>
                </c:pt>
                <c:pt idx="995">
                  <c:v>-1.0169999999999999</c:v>
                </c:pt>
                <c:pt idx="996">
                  <c:v>-1.0149999999999999</c:v>
                </c:pt>
                <c:pt idx="997">
                  <c:v>-0.97399999999999998</c:v>
                </c:pt>
                <c:pt idx="998">
                  <c:v>-0.98699999999999999</c:v>
                </c:pt>
                <c:pt idx="999">
                  <c:v>-0.96</c:v>
                </c:pt>
                <c:pt idx="1000">
                  <c:v>-0.93799999999999994</c:v>
                </c:pt>
                <c:pt idx="1001">
                  <c:v>-0.96399999999999997</c:v>
                </c:pt>
                <c:pt idx="1002">
                  <c:v>-1.024</c:v>
                </c:pt>
                <c:pt idx="1003">
                  <c:v>-1.0449999999999999</c:v>
                </c:pt>
                <c:pt idx="1004">
                  <c:v>-1.0900000000000001</c:v>
                </c:pt>
                <c:pt idx="1005">
                  <c:v>-1.0980000000000001</c:v>
                </c:pt>
                <c:pt idx="1006">
                  <c:v>-1.081</c:v>
                </c:pt>
                <c:pt idx="1007">
                  <c:v>-1.081</c:v>
                </c:pt>
                <c:pt idx="1008">
                  <c:v>-1.048</c:v>
                </c:pt>
                <c:pt idx="1009">
                  <c:v>-1.0369999999999999</c:v>
                </c:pt>
                <c:pt idx="1010">
                  <c:v>-1.0449999999999999</c:v>
                </c:pt>
                <c:pt idx="1011">
                  <c:v>-1.0509999999999999</c:v>
                </c:pt>
                <c:pt idx="1012">
                  <c:v>-1.0509999999999999</c:v>
                </c:pt>
                <c:pt idx="1013">
                  <c:v>-1.028</c:v>
                </c:pt>
                <c:pt idx="1014">
                  <c:v>-1.0269999999999999</c:v>
                </c:pt>
                <c:pt idx="1015">
                  <c:v>-1.0209999999999999</c:v>
                </c:pt>
                <c:pt idx="1016">
                  <c:v>-1.024</c:v>
                </c:pt>
                <c:pt idx="1017">
                  <c:v>-1.026</c:v>
                </c:pt>
                <c:pt idx="1018">
                  <c:v>-1.022</c:v>
                </c:pt>
                <c:pt idx="1019">
                  <c:v>-1.0169999999999999</c:v>
                </c:pt>
                <c:pt idx="1020">
                  <c:v>-0.998</c:v>
                </c:pt>
                <c:pt idx="1021">
                  <c:v>-0.98599999999999999</c:v>
                </c:pt>
                <c:pt idx="1022">
                  <c:v>-0.98799999999999999</c:v>
                </c:pt>
                <c:pt idx="1023">
                  <c:v>-0.98</c:v>
                </c:pt>
                <c:pt idx="1024">
                  <c:v>-0.97599999999999998</c:v>
                </c:pt>
                <c:pt idx="1025">
                  <c:v>-0.97</c:v>
                </c:pt>
                <c:pt idx="1026">
                  <c:v>-0.94</c:v>
                </c:pt>
                <c:pt idx="1027">
                  <c:v>-0.96599999999999997</c:v>
                </c:pt>
                <c:pt idx="1028">
                  <c:v>-0.93300000000000005</c:v>
                </c:pt>
                <c:pt idx="1029">
                  <c:v>-0.90400000000000003</c:v>
                </c:pt>
                <c:pt idx="1030">
                  <c:v>-0.95599999999999996</c:v>
                </c:pt>
                <c:pt idx="1031">
                  <c:v>-0.92</c:v>
                </c:pt>
                <c:pt idx="1032">
                  <c:v>-0.88800000000000001</c:v>
                </c:pt>
                <c:pt idx="1033">
                  <c:v>-0.88800000000000001</c:v>
                </c:pt>
                <c:pt idx="1034">
                  <c:v>-0.86799999999999999</c:v>
                </c:pt>
                <c:pt idx="1035">
                  <c:v>-0.84599999999999997</c:v>
                </c:pt>
                <c:pt idx="1036">
                  <c:v>-0.874</c:v>
                </c:pt>
                <c:pt idx="1037">
                  <c:v>-0.871</c:v>
                </c:pt>
                <c:pt idx="1038">
                  <c:v>-0.85299999999999998</c:v>
                </c:pt>
                <c:pt idx="1039">
                  <c:v>-0.86</c:v>
                </c:pt>
                <c:pt idx="1040">
                  <c:v>-0.83599999999999997</c:v>
                </c:pt>
                <c:pt idx="1041">
                  <c:v>-0.84099999999999997</c:v>
                </c:pt>
                <c:pt idx="1042">
                  <c:v>-0.84599999999999997</c:v>
                </c:pt>
                <c:pt idx="1043">
                  <c:v>-0.79200000000000004</c:v>
                </c:pt>
                <c:pt idx="1044">
                  <c:v>-0.79200000000000004</c:v>
                </c:pt>
                <c:pt idx="1045">
                  <c:v>-0.79300000000000004</c:v>
                </c:pt>
                <c:pt idx="1046">
                  <c:v>-0.83599999999999997</c:v>
                </c:pt>
                <c:pt idx="1047">
                  <c:v>-0.88600000000000001</c:v>
                </c:pt>
                <c:pt idx="1048">
                  <c:v>-0.89</c:v>
                </c:pt>
                <c:pt idx="1049">
                  <c:v>-0.80200000000000005</c:v>
                </c:pt>
                <c:pt idx="1050">
                  <c:v>-0.86299999999999999</c:v>
                </c:pt>
                <c:pt idx="1051">
                  <c:v>-0.83</c:v>
                </c:pt>
                <c:pt idx="1052">
                  <c:v>-0.871</c:v>
                </c:pt>
                <c:pt idx="1053">
                  <c:v>-0.91400000000000003</c:v>
                </c:pt>
                <c:pt idx="1054">
                  <c:v>-0.94199999999999995</c:v>
                </c:pt>
                <c:pt idx="1055">
                  <c:v>-0.92800000000000005</c:v>
                </c:pt>
                <c:pt idx="1056">
                  <c:v>-0.90800000000000003</c:v>
                </c:pt>
                <c:pt idx="1057">
                  <c:v>-0.89400000000000002</c:v>
                </c:pt>
                <c:pt idx="1058">
                  <c:v>-0.91400000000000003</c:v>
                </c:pt>
                <c:pt idx="1059">
                  <c:v>-0.93400000000000005</c:v>
                </c:pt>
                <c:pt idx="1060">
                  <c:v>-0.93899999999999995</c:v>
                </c:pt>
                <c:pt idx="1061">
                  <c:v>-0.95599999999999996</c:v>
                </c:pt>
                <c:pt idx="1062">
                  <c:v>-0.95699999999999996</c:v>
                </c:pt>
                <c:pt idx="1063">
                  <c:v>-0.96499999999999997</c:v>
                </c:pt>
                <c:pt idx="1064">
                  <c:v>-0.97</c:v>
                </c:pt>
                <c:pt idx="1065">
                  <c:v>-0.95699999999999996</c:v>
                </c:pt>
                <c:pt idx="1066">
                  <c:v>-0.95699999999999996</c:v>
                </c:pt>
                <c:pt idx="1067">
                  <c:v>-0.94499999999999995</c:v>
                </c:pt>
                <c:pt idx="1068">
                  <c:v>-0.92</c:v>
                </c:pt>
                <c:pt idx="1069">
                  <c:v>-0.93300000000000005</c:v>
                </c:pt>
                <c:pt idx="1070">
                  <c:v>-0.91100000000000003</c:v>
                </c:pt>
                <c:pt idx="1071">
                  <c:v>-0.94099999999999995</c:v>
                </c:pt>
                <c:pt idx="1072">
                  <c:v>-0.95499999999999996</c:v>
                </c:pt>
                <c:pt idx="1073">
                  <c:v>-0.94599999999999995</c:v>
                </c:pt>
                <c:pt idx="1074">
                  <c:v>-0.98199999999999998</c:v>
                </c:pt>
                <c:pt idx="1075">
                  <c:v>-0.95599999999999996</c:v>
                </c:pt>
                <c:pt idx="1076">
                  <c:v>-0.92400000000000004</c:v>
                </c:pt>
                <c:pt idx="1077">
                  <c:v>-0.91100000000000003</c:v>
                </c:pt>
                <c:pt idx="1078">
                  <c:v>-0.92400000000000004</c:v>
                </c:pt>
                <c:pt idx="1079">
                  <c:v>-0.94799999999999995</c:v>
                </c:pt>
                <c:pt idx="1080">
                  <c:v>-0.95699999999999996</c:v>
                </c:pt>
                <c:pt idx="1081">
                  <c:v>-0.97299999999999998</c:v>
                </c:pt>
                <c:pt idx="1082">
                  <c:v>-0.98199999999999998</c:v>
                </c:pt>
                <c:pt idx="1083">
                  <c:v>-0.97599999999999998</c:v>
                </c:pt>
                <c:pt idx="1084">
                  <c:v>-0.98599999999999999</c:v>
                </c:pt>
                <c:pt idx="1085">
                  <c:v>-0.97899999999999998</c:v>
                </c:pt>
                <c:pt idx="1086">
                  <c:v>-0.99199999999999999</c:v>
                </c:pt>
                <c:pt idx="1087">
                  <c:v>-1.006</c:v>
                </c:pt>
                <c:pt idx="1088">
                  <c:v>-1.0029999999999999</c:v>
                </c:pt>
                <c:pt idx="1089">
                  <c:v>-1.0069999999999999</c:v>
                </c:pt>
                <c:pt idx="1090">
                  <c:v>-0.97699999999999998</c:v>
                </c:pt>
                <c:pt idx="1091">
                  <c:v>-0.97699999999999998</c:v>
                </c:pt>
                <c:pt idx="1092">
                  <c:v>-1.042</c:v>
                </c:pt>
                <c:pt idx="1093">
                  <c:v>-1.079</c:v>
                </c:pt>
                <c:pt idx="1094">
                  <c:v>-1.0960000000000001</c:v>
                </c:pt>
                <c:pt idx="1095">
                  <c:v>-1.093</c:v>
                </c:pt>
                <c:pt idx="1096">
                  <c:v>-1.048</c:v>
                </c:pt>
                <c:pt idx="1097">
                  <c:v>-0.99</c:v>
                </c:pt>
                <c:pt idx="1098">
                  <c:v>-1.036</c:v>
                </c:pt>
                <c:pt idx="1099">
                  <c:v>-1.0109999999999999</c:v>
                </c:pt>
                <c:pt idx="1100">
                  <c:v>-1.02</c:v>
                </c:pt>
                <c:pt idx="1101">
                  <c:v>-1</c:v>
                </c:pt>
                <c:pt idx="1102">
                  <c:v>-0.96899999999999997</c:v>
                </c:pt>
                <c:pt idx="1103">
                  <c:v>-0.97599999999999998</c:v>
                </c:pt>
                <c:pt idx="1104">
                  <c:v>-1.0229999999999999</c:v>
                </c:pt>
                <c:pt idx="1105">
                  <c:v>-0.96099999999999997</c:v>
                </c:pt>
                <c:pt idx="1106">
                  <c:v>-0.94</c:v>
                </c:pt>
                <c:pt idx="1107">
                  <c:v>-0.95399999999999996</c:v>
                </c:pt>
                <c:pt idx="1108">
                  <c:v>-0.98399999999999999</c:v>
                </c:pt>
                <c:pt idx="1109">
                  <c:v>-0.97699999999999998</c:v>
                </c:pt>
                <c:pt idx="1110">
                  <c:v>-1.024</c:v>
                </c:pt>
                <c:pt idx="1111">
                  <c:v>-1.0489999999999999</c:v>
                </c:pt>
                <c:pt idx="1112">
                  <c:v>-1.077</c:v>
                </c:pt>
                <c:pt idx="1113">
                  <c:v>-1.06</c:v>
                </c:pt>
                <c:pt idx="1114">
                  <c:v>-1.054</c:v>
                </c:pt>
                <c:pt idx="1115">
                  <c:v>-1.02</c:v>
                </c:pt>
                <c:pt idx="1116">
                  <c:v>-1.0189999999999999</c:v>
                </c:pt>
                <c:pt idx="1117">
                  <c:v>-0.97299999999999998</c:v>
                </c:pt>
                <c:pt idx="1118">
                  <c:v>-0.94799999999999995</c:v>
                </c:pt>
                <c:pt idx="1119">
                  <c:v>-0.92100000000000004</c:v>
                </c:pt>
                <c:pt idx="1120">
                  <c:v>-0.89700000000000002</c:v>
                </c:pt>
                <c:pt idx="1121">
                  <c:v>-0.91100000000000003</c:v>
                </c:pt>
                <c:pt idx="1122">
                  <c:v>-0.88400000000000001</c:v>
                </c:pt>
                <c:pt idx="1123">
                  <c:v>-0.89200000000000002</c:v>
                </c:pt>
                <c:pt idx="1124">
                  <c:v>-0.88500000000000001</c:v>
                </c:pt>
                <c:pt idx="1125">
                  <c:v>-0.85</c:v>
                </c:pt>
                <c:pt idx="1126">
                  <c:v>-0.83899999999999997</c:v>
                </c:pt>
                <c:pt idx="1127">
                  <c:v>-0.80300000000000005</c:v>
                </c:pt>
                <c:pt idx="1128">
                  <c:v>-0.78400000000000003</c:v>
                </c:pt>
                <c:pt idx="1129">
                  <c:v>-0.8</c:v>
                </c:pt>
                <c:pt idx="1130">
                  <c:v>-0.80100000000000005</c:v>
                </c:pt>
                <c:pt idx="1131">
                  <c:v>-0.76500000000000001</c:v>
                </c:pt>
                <c:pt idx="1132">
                  <c:v>-0.78200000000000003</c:v>
                </c:pt>
                <c:pt idx="1133">
                  <c:v>-0.752</c:v>
                </c:pt>
                <c:pt idx="1134">
                  <c:v>-0.79</c:v>
                </c:pt>
                <c:pt idx="1135">
                  <c:v>-0.78500000000000003</c:v>
                </c:pt>
                <c:pt idx="1136">
                  <c:v>-0.746</c:v>
                </c:pt>
                <c:pt idx="1137">
                  <c:v>-0.746</c:v>
                </c:pt>
                <c:pt idx="1138">
                  <c:v>-0.70199999999999996</c:v>
                </c:pt>
                <c:pt idx="1139">
                  <c:v>-0.69799999999999995</c:v>
                </c:pt>
                <c:pt idx="1140">
                  <c:v>-0.71799999999999997</c:v>
                </c:pt>
                <c:pt idx="1141">
                  <c:v>-0.69199999999999995</c:v>
                </c:pt>
                <c:pt idx="1142">
                  <c:v>-0.66400000000000003</c:v>
                </c:pt>
                <c:pt idx="1143">
                  <c:v>-0.65400000000000003</c:v>
                </c:pt>
                <c:pt idx="1144">
                  <c:v>-0.66500000000000004</c:v>
                </c:pt>
                <c:pt idx="1145">
                  <c:v>-0.63800000000000001</c:v>
                </c:pt>
                <c:pt idx="1146">
                  <c:v>-0.61199999999999999</c:v>
                </c:pt>
                <c:pt idx="1147">
                  <c:v>-0.57099999999999995</c:v>
                </c:pt>
                <c:pt idx="1148">
                  <c:v>-0.52800000000000002</c:v>
                </c:pt>
                <c:pt idx="1149">
                  <c:v>-0.53300000000000003</c:v>
                </c:pt>
                <c:pt idx="1150">
                  <c:v>-0.52100000000000002</c:v>
                </c:pt>
                <c:pt idx="1151">
                  <c:v>-0.504</c:v>
                </c:pt>
                <c:pt idx="1152">
                  <c:v>-0.54900000000000004</c:v>
                </c:pt>
                <c:pt idx="1153">
                  <c:v>-0.53600000000000003</c:v>
                </c:pt>
                <c:pt idx="1154">
                  <c:v>-0.42299999999999999</c:v>
                </c:pt>
                <c:pt idx="1155">
                  <c:v>-0.41199999999999998</c:v>
                </c:pt>
                <c:pt idx="1156">
                  <c:v>-0.375</c:v>
                </c:pt>
                <c:pt idx="1157">
                  <c:v>-0.39400000000000002</c:v>
                </c:pt>
                <c:pt idx="1158">
                  <c:v>-0.46200000000000002</c:v>
                </c:pt>
                <c:pt idx="1159">
                  <c:v>-0.495</c:v>
                </c:pt>
                <c:pt idx="1160">
                  <c:v>-0.52100000000000002</c:v>
                </c:pt>
                <c:pt idx="1161">
                  <c:v>-0.497</c:v>
                </c:pt>
                <c:pt idx="1162">
                  <c:v>-0.48699999999999999</c:v>
                </c:pt>
                <c:pt idx="1163">
                  <c:v>-0.45100000000000001</c:v>
                </c:pt>
                <c:pt idx="1164">
                  <c:v>-0.43</c:v>
                </c:pt>
                <c:pt idx="1165">
                  <c:v>-0.45800000000000002</c:v>
                </c:pt>
                <c:pt idx="1166">
                  <c:v>-0.45800000000000002</c:v>
                </c:pt>
                <c:pt idx="1167">
                  <c:v>-0.44900000000000001</c:v>
                </c:pt>
                <c:pt idx="1168">
                  <c:v>-0.47299999999999998</c:v>
                </c:pt>
                <c:pt idx="1169">
                  <c:v>-0.46</c:v>
                </c:pt>
                <c:pt idx="1170">
                  <c:v>-0.44800000000000001</c:v>
                </c:pt>
                <c:pt idx="1171">
                  <c:v>-0.44700000000000001</c:v>
                </c:pt>
                <c:pt idx="1172">
                  <c:v>-0.442</c:v>
                </c:pt>
                <c:pt idx="1173">
                  <c:v>-0.42</c:v>
                </c:pt>
                <c:pt idx="1174">
                  <c:v>-0.41399999999999998</c:v>
                </c:pt>
                <c:pt idx="1175">
                  <c:v>-0.41</c:v>
                </c:pt>
                <c:pt idx="1176">
                  <c:v>-0.42299999999999999</c:v>
                </c:pt>
                <c:pt idx="1177">
                  <c:v>-0.44600000000000001</c:v>
                </c:pt>
                <c:pt idx="1178">
                  <c:v>-0.38</c:v>
                </c:pt>
                <c:pt idx="1179">
                  <c:v>-0.42499999999999999</c:v>
                </c:pt>
                <c:pt idx="1180">
                  <c:v>-0.441</c:v>
                </c:pt>
                <c:pt idx="1181">
                  <c:v>-0.441</c:v>
                </c:pt>
                <c:pt idx="1182">
                  <c:v>-0.42</c:v>
                </c:pt>
                <c:pt idx="1183">
                  <c:v>-0.49399999999999999</c:v>
                </c:pt>
                <c:pt idx="1184">
                  <c:v>-0.52</c:v>
                </c:pt>
                <c:pt idx="1185">
                  <c:v>-0.49099999999999999</c:v>
                </c:pt>
                <c:pt idx="1186">
                  <c:v>-0.501</c:v>
                </c:pt>
                <c:pt idx="1187">
                  <c:v>-0.42799999999999999</c:v>
                </c:pt>
                <c:pt idx="1188">
                  <c:v>-0.42699999999999999</c:v>
                </c:pt>
                <c:pt idx="1189">
                  <c:v>-0.377</c:v>
                </c:pt>
                <c:pt idx="1190">
                  <c:v>-0.32700000000000001</c:v>
                </c:pt>
                <c:pt idx="1191">
                  <c:v>-0.37</c:v>
                </c:pt>
                <c:pt idx="1192">
                  <c:v>-0.434</c:v>
                </c:pt>
                <c:pt idx="1193">
                  <c:v>-0.55500000000000005</c:v>
                </c:pt>
                <c:pt idx="1194">
                  <c:v>-0.53200000000000003</c:v>
                </c:pt>
                <c:pt idx="1195">
                  <c:v>-0.46600000000000003</c:v>
                </c:pt>
                <c:pt idx="1196">
                  <c:v>-0.495</c:v>
                </c:pt>
                <c:pt idx="1197">
                  <c:v>-0.495</c:v>
                </c:pt>
                <c:pt idx="1198">
                  <c:v>-0.42099999999999999</c:v>
                </c:pt>
                <c:pt idx="1199">
                  <c:v>-0.44800000000000001</c:v>
                </c:pt>
                <c:pt idx="1200">
                  <c:v>-0.47899999999999998</c:v>
                </c:pt>
                <c:pt idx="1201">
                  <c:v>-0.46300000000000002</c:v>
                </c:pt>
                <c:pt idx="1202">
                  <c:v>-0.41799999999999998</c:v>
                </c:pt>
                <c:pt idx="1203">
                  <c:v>-0.30399999999999999</c:v>
                </c:pt>
                <c:pt idx="1204">
                  <c:v>-0.255</c:v>
                </c:pt>
                <c:pt idx="1205">
                  <c:v>-0.20300000000000001</c:v>
                </c:pt>
                <c:pt idx="1206">
                  <c:v>-0.32500000000000001</c:v>
                </c:pt>
                <c:pt idx="1207">
                  <c:v>-0.21099999999999999</c:v>
                </c:pt>
                <c:pt idx="1208">
                  <c:v>-0.20399999999999999</c:v>
                </c:pt>
                <c:pt idx="1209">
                  <c:v>-8.5000000000000006E-2</c:v>
                </c:pt>
                <c:pt idx="1210">
                  <c:v>-6.0000000000000001E-3</c:v>
                </c:pt>
                <c:pt idx="1211">
                  <c:v>0.14399999999999999</c:v>
                </c:pt>
                <c:pt idx="1212">
                  <c:v>0.64400000000000002</c:v>
                </c:pt>
                <c:pt idx="1213">
                  <c:v>0.53700000000000003</c:v>
                </c:pt>
                <c:pt idx="1214">
                  <c:v>0.374</c:v>
                </c:pt>
                <c:pt idx="1215">
                  <c:v>2.8000000000000001E-2</c:v>
                </c:pt>
                <c:pt idx="1216">
                  <c:v>6.7000000000000004E-2</c:v>
                </c:pt>
                <c:pt idx="1217">
                  <c:v>-2.8000000000000001E-2</c:v>
                </c:pt>
                <c:pt idx="1218">
                  <c:v>-0.104</c:v>
                </c:pt>
                <c:pt idx="1219">
                  <c:v>-0.27400000000000002</c:v>
                </c:pt>
                <c:pt idx="1220">
                  <c:v>-0.39900000000000002</c:v>
                </c:pt>
                <c:pt idx="1221">
                  <c:v>-0.53700000000000003</c:v>
                </c:pt>
                <c:pt idx="1222">
                  <c:v>-0.49</c:v>
                </c:pt>
                <c:pt idx="1223">
                  <c:v>-0.432</c:v>
                </c:pt>
                <c:pt idx="1224">
                  <c:v>-0.46400000000000002</c:v>
                </c:pt>
                <c:pt idx="1225">
                  <c:v>-0.28599999999999998</c:v>
                </c:pt>
                <c:pt idx="1226">
                  <c:v>-0.255</c:v>
                </c:pt>
                <c:pt idx="1227">
                  <c:v>-0.216</c:v>
                </c:pt>
                <c:pt idx="1228">
                  <c:v>-0.218</c:v>
                </c:pt>
                <c:pt idx="1229">
                  <c:v>-0.18</c:v>
                </c:pt>
                <c:pt idx="1230">
                  <c:v>-0.19900000000000001</c:v>
                </c:pt>
                <c:pt idx="1231">
                  <c:v>-0.14000000000000001</c:v>
                </c:pt>
                <c:pt idx="1232">
                  <c:v>-0.11899999999999999</c:v>
                </c:pt>
                <c:pt idx="1233">
                  <c:v>-0.08</c:v>
                </c:pt>
                <c:pt idx="1234">
                  <c:v>-9.4E-2</c:v>
                </c:pt>
                <c:pt idx="1235">
                  <c:v>-8.8999999999999996E-2</c:v>
                </c:pt>
                <c:pt idx="1236">
                  <c:v>-7.4999999999999997E-2</c:v>
                </c:pt>
                <c:pt idx="1237">
                  <c:v>-6.2E-2</c:v>
                </c:pt>
                <c:pt idx="1238">
                  <c:v>-6.6000000000000003E-2</c:v>
                </c:pt>
                <c:pt idx="1239">
                  <c:v>-4.2000000000000003E-2</c:v>
                </c:pt>
                <c:pt idx="1240">
                  <c:v>-0.09</c:v>
                </c:pt>
                <c:pt idx="1241">
                  <c:v>-7.0000000000000007E-2</c:v>
                </c:pt>
                <c:pt idx="1242">
                  <c:v>-1.7000000000000001E-2</c:v>
                </c:pt>
                <c:pt idx="1243">
                  <c:v>-5.0000000000000001E-3</c:v>
                </c:pt>
                <c:pt idx="1244">
                  <c:v>-2.8000000000000001E-2</c:v>
                </c:pt>
                <c:pt idx="1245">
                  <c:v>-9.1999999999999998E-2</c:v>
                </c:pt>
                <c:pt idx="1246">
                  <c:v>-0.12</c:v>
                </c:pt>
                <c:pt idx="1247">
                  <c:v>-6.4000000000000001E-2</c:v>
                </c:pt>
                <c:pt idx="1248">
                  <c:v>-4.5999999999999999E-2</c:v>
                </c:pt>
                <c:pt idx="1249">
                  <c:v>-6.0000000000000001E-3</c:v>
                </c:pt>
                <c:pt idx="1250">
                  <c:v>-1.0999999999999999E-2</c:v>
                </c:pt>
                <c:pt idx="1251">
                  <c:v>7.0000000000000001E-3</c:v>
                </c:pt>
                <c:pt idx="1252">
                  <c:v>4.9000000000000002E-2</c:v>
                </c:pt>
                <c:pt idx="1253">
                  <c:v>3.5999999999999997E-2</c:v>
                </c:pt>
                <c:pt idx="1254">
                  <c:v>4.1000000000000002E-2</c:v>
                </c:pt>
                <c:pt idx="1255">
                  <c:v>6.7000000000000004E-2</c:v>
                </c:pt>
                <c:pt idx="1256">
                  <c:v>7.4999999999999997E-2</c:v>
                </c:pt>
                <c:pt idx="1257">
                  <c:v>7.2999999999999995E-2</c:v>
                </c:pt>
                <c:pt idx="1258">
                  <c:v>4.1000000000000002E-2</c:v>
                </c:pt>
                <c:pt idx="1259">
                  <c:v>3.5000000000000003E-2</c:v>
                </c:pt>
                <c:pt idx="1260">
                  <c:v>7.1999999999999995E-2</c:v>
                </c:pt>
                <c:pt idx="1261">
                  <c:v>6.9000000000000006E-2</c:v>
                </c:pt>
                <c:pt idx="1262">
                  <c:v>9.7000000000000003E-2</c:v>
                </c:pt>
                <c:pt idx="1263">
                  <c:v>0.109</c:v>
                </c:pt>
                <c:pt idx="1264">
                  <c:v>6.9000000000000006E-2</c:v>
                </c:pt>
                <c:pt idx="1265">
                  <c:v>5.8000000000000003E-2</c:v>
                </c:pt>
                <c:pt idx="1266">
                  <c:v>2.1000000000000001E-2</c:v>
                </c:pt>
                <c:pt idx="1267">
                  <c:v>0.08</c:v>
                </c:pt>
                <c:pt idx="1268">
                  <c:v>0.14099999999999999</c:v>
                </c:pt>
                <c:pt idx="1269">
                  <c:v>0.14000000000000001</c:v>
                </c:pt>
                <c:pt idx="1270">
                  <c:v>0.14000000000000001</c:v>
                </c:pt>
                <c:pt idx="1271">
                  <c:v>0.14599999999999999</c:v>
                </c:pt>
                <c:pt idx="1272">
                  <c:v>0.14699999999999999</c:v>
                </c:pt>
                <c:pt idx="1273">
                  <c:v>0.14499999999999999</c:v>
                </c:pt>
                <c:pt idx="1274">
                  <c:v>0.14899999999999999</c:v>
                </c:pt>
                <c:pt idx="1275">
                  <c:v>0.16400000000000001</c:v>
                </c:pt>
                <c:pt idx="1276">
                  <c:v>0.152</c:v>
                </c:pt>
                <c:pt idx="1277">
                  <c:v>0.14000000000000001</c:v>
                </c:pt>
                <c:pt idx="1278">
                  <c:v>0.157</c:v>
                </c:pt>
                <c:pt idx="1279">
                  <c:v>0.13100000000000001</c:v>
                </c:pt>
                <c:pt idx="1280">
                  <c:v>0.14099999999999999</c:v>
                </c:pt>
                <c:pt idx="1281">
                  <c:v>0.114</c:v>
                </c:pt>
                <c:pt idx="1282">
                  <c:v>0.17299999999999999</c:v>
                </c:pt>
                <c:pt idx="1283">
                  <c:v>9.8000000000000004E-2</c:v>
                </c:pt>
                <c:pt idx="1284">
                  <c:v>0.13900000000000001</c:v>
                </c:pt>
                <c:pt idx="1285">
                  <c:v>0.13</c:v>
                </c:pt>
                <c:pt idx="1286">
                  <c:v>0.13900000000000001</c:v>
                </c:pt>
                <c:pt idx="1287">
                  <c:v>0.13100000000000001</c:v>
                </c:pt>
                <c:pt idx="1288">
                  <c:v>0.104</c:v>
                </c:pt>
                <c:pt idx="1289">
                  <c:v>9.7000000000000003E-2</c:v>
                </c:pt>
                <c:pt idx="1290">
                  <c:v>0.16400000000000001</c:v>
                </c:pt>
                <c:pt idx="1291">
                  <c:v>0.16</c:v>
                </c:pt>
                <c:pt idx="1292">
                  <c:v>0.14799999999999999</c:v>
                </c:pt>
                <c:pt idx="1293">
                  <c:v>0.13800000000000001</c:v>
                </c:pt>
                <c:pt idx="1294">
                  <c:v>0.11899999999999999</c:v>
                </c:pt>
                <c:pt idx="1295">
                  <c:v>0.13400000000000001</c:v>
                </c:pt>
                <c:pt idx="1296">
                  <c:v>0.15</c:v>
                </c:pt>
                <c:pt idx="1297">
                  <c:v>0.14599999999999999</c:v>
                </c:pt>
                <c:pt idx="1298">
                  <c:v>0.121</c:v>
                </c:pt>
                <c:pt idx="1299">
                  <c:v>0.13900000000000001</c:v>
                </c:pt>
                <c:pt idx="1300">
                  <c:v>0.17699999999999999</c:v>
                </c:pt>
                <c:pt idx="1301">
                  <c:v>0.21199999999999999</c:v>
                </c:pt>
                <c:pt idx="1302">
                  <c:v>0.19600000000000001</c:v>
                </c:pt>
                <c:pt idx="1303">
                  <c:v>0.22</c:v>
                </c:pt>
                <c:pt idx="1304">
                  <c:v>0.23300000000000001</c:v>
                </c:pt>
                <c:pt idx="1305">
                  <c:v>0.20200000000000001</c:v>
                </c:pt>
                <c:pt idx="1306">
                  <c:v>0.22900000000000001</c:v>
                </c:pt>
                <c:pt idx="1307">
                  <c:v>0.221</c:v>
                </c:pt>
                <c:pt idx="1308">
                  <c:v>0.13800000000000001</c:v>
                </c:pt>
                <c:pt idx="1309">
                  <c:v>0.186</c:v>
                </c:pt>
                <c:pt idx="1310">
                  <c:v>0.158</c:v>
                </c:pt>
                <c:pt idx="1311">
                  <c:v>0.126</c:v>
                </c:pt>
                <c:pt idx="1312">
                  <c:v>0.14000000000000001</c:v>
                </c:pt>
                <c:pt idx="1313">
                  <c:v>0.193</c:v>
                </c:pt>
                <c:pt idx="1314">
                  <c:v>0.22500000000000001</c:v>
                </c:pt>
                <c:pt idx="1315">
                  <c:v>0.20699999999999999</c:v>
                </c:pt>
                <c:pt idx="1316">
                  <c:v>0.14599999999999999</c:v>
                </c:pt>
                <c:pt idx="1317">
                  <c:v>0.152</c:v>
                </c:pt>
                <c:pt idx="1318">
                  <c:v>0.156</c:v>
                </c:pt>
                <c:pt idx="1319">
                  <c:v>0.16200000000000001</c:v>
                </c:pt>
                <c:pt idx="1320">
                  <c:v>0.19600000000000001</c:v>
                </c:pt>
                <c:pt idx="1321">
                  <c:v>0.161</c:v>
                </c:pt>
                <c:pt idx="1322">
                  <c:v>0.16700000000000001</c:v>
                </c:pt>
                <c:pt idx="1323">
                  <c:v>0.183</c:v>
                </c:pt>
                <c:pt idx="1324">
                  <c:v>0.20899999999999999</c:v>
                </c:pt>
                <c:pt idx="1325">
                  <c:v>0.17899999999999999</c:v>
                </c:pt>
                <c:pt idx="1326">
                  <c:v>0.17899999999999999</c:v>
                </c:pt>
                <c:pt idx="1327">
                  <c:v>0.152</c:v>
                </c:pt>
                <c:pt idx="1328">
                  <c:v>0.104</c:v>
                </c:pt>
                <c:pt idx="1329">
                  <c:v>6.4000000000000001E-2</c:v>
                </c:pt>
                <c:pt idx="1330">
                  <c:v>5.8000000000000003E-2</c:v>
                </c:pt>
                <c:pt idx="1331">
                  <c:v>3.5999999999999997E-2</c:v>
                </c:pt>
                <c:pt idx="1332">
                  <c:v>5.8000000000000003E-2</c:v>
                </c:pt>
                <c:pt idx="1333">
                  <c:v>0.10100000000000001</c:v>
                </c:pt>
                <c:pt idx="1334">
                  <c:v>0.115</c:v>
                </c:pt>
                <c:pt idx="1335">
                  <c:v>0.153</c:v>
                </c:pt>
                <c:pt idx="1336">
                  <c:v>0.157</c:v>
                </c:pt>
                <c:pt idx="1337">
                  <c:v>0.13100000000000001</c:v>
                </c:pt>
                <c:pt idx="1338">
                  <c:v>0.14099999999999999</c:v>
                </c:pt>
                <c:pt idx="1339">
                  <c:v>7.8E-2</c:v>
                </c:pt>
                <c:pt idx="1340">
                  <c:v>0.108</c:v>
                </c:pt>
                <c:pt idx="1341">
                  <c:v>0.122</c:v>
                </c:pt>
                <c:pt idx="1342">
                  <c:v>0.17499999999999999</c:v>
                </c:pt>
                <c:pt idx="1343">
                  <c:v>0.191</c:v>
                </c:pt>
                <c:pt idx="1344">
                  <c:v>0.153</c:v>
                </c:pt>
                <c:pt idx="1345">
                  <c:v>0.17499999999999999</c:v>
                </c:pt>
                <c:pt idx="1346">
                  <c:v>0.23100000000000001</c:v>
                </c:pt>
                <c:pt idx="1347">
                  <c:v>0.16</c:v>
                </c:pt>
                <c:pt idx="1348">
                  <c:v>0.152</c:v>
                </c:pt>
                <c:pt idx="1349">
                  <c:v>0.14399999999999999</c:v>
                </c:pt>
                <c:pt idx="1350">
                  <c:v>7.1999999999999995E-2</c:v>
                </c:pt>
                <c:pt idx="1351">
                  <c:v>1.6E-2</c:v>
                </c:pt>
                <c:pt idx="1352">
                  <c:v>1.0999999999999999E-2</c:v>
                </c:pt>
                <c:pt idx="1353">
                  <c:v>-3.7999999999999999E-2</c:v>
                </c:pt>
                <c:pt idx="1354">
                  <c:v>-4.1000000000000002E-2</c:v>
                </c:pt>
                <c:pt idx="1355">
                  <c:v>-3.7999999999999999E-2</c:v>
                </c:pt>
                <c:pt idx="1356">
                  <c:v>-3.7999999999999999E-2</c:v>
                </c:pt>
                <c:pt idx="1357">
                  <c:v>-9.0999999999999998E-2</c:v>
                </c:pt>
                <c:pt idx="1358">
                  <c:v>-8.7999999999999995E-2</c:v>
                </c:pt>
                <c:pt idx="1359">
                  <c:v>-0.06</c:v>
                </c:pt>
                <c:pt idx="1360">
                  <c:v>-3.0000000000000001E-3</c:v>
                </c:pt>
                <c:pt idx="1361">
                  <c:v>-1E-3</c:v>
                </c:pt>
                <c:pt idx="1362">
                  <c:v>5.8000000000000003E-2</c:v>
                </c:pt>
                <c:pt idx="1363">
                  <c:v>5.2999999999999999E-2</c:v>
                </c:pt>
                <c:pt idx="1364">
                  <c:v>2.7E-2</c:v>
                </c:pt>
                <c:pt idx="1365">
                  <c:v>5.1999999999999998E-2</c:v>
                </c:pt>
                <c:pt idx="1366">
                  <c:v>1.7000000000000001E-2</c:v>
                </c:pt>
                <c:pt idx="1367">
                  <c:v>-4.2999999999999997E-2</c:v>
                </c:pt>
                <c:pt idx="1368">
                  <c:v>1.4E-2</c:v>
                </c:pt>
                <c:pt idx="1369">
                  <c:v>8.1000000000000003E-2</c:v>
                </c:pt>
                <c:pt idx="1370">
                  <c:v>3.5999999999999997E-2</c:v>
                </c:pt>
                <c:pt idx="1371">
                  <c:v>9.2999999999999999E-2</c:v>
                </c:pt>
                <c:pt idx="1372">
                  <c:v>7.1999999999999995E-2</c:v>
                </c:pt>
                <c:pt idx="1373">
                  <c:v>9.9000000000000005E-2</c:v>
                </c:pt>
                <c:pt idx="1374">
                  <c:v>0.105</c:v>
                </c:pt>
                <c:pt idx="1375">
                  <c:v>0.124</c:v>
                </c:pt>
                <c:pt idx="1376">
                  <c:v>0.19400000000000001</c:v>
                </c:pt>
                <c:pt idx="1377">
                  <c:v>0.215</c:v>
                </c:pt>
                <c:pt idx="1378">
                  <c:v>0.26100000000000001</c:v>
                </c:pt>
                <c:pt idx="1379">
                  <c:v>0.28899999999999998</c:v>
                </c:pt>
                <c:pt idx="1380">
                  <c:v>0.29899999999999999</c:v>
                </c:pt>
                <c:pt idx="1381">
                  <c:v>0.29799999999999999</c:v>
                </c:pt>
                <c:pt idx="1382">
                  <c:v>0.28899999999999998</c:v>
                </c:pt>
                <c:pt idx="1383">
                  <c:v>0.26400000000000001</c:v>
                </c:pt>
                <c:pt idx="1384">
                  <c:v>0.27500000000000002</c:v>
                </c:pt>
                <c:pt idx="1385">
                  <c:v>0.25700000000000001</c:v>
                </c:pt>
                <c:pt idx="1386">
                  <c:v>0.26800000000000002</c:v>
                </c:pt>
                <c:pt idx="1387">
                  <c:v>0.26</c:v>
                </c:pt>
                <c:pt idx="1388">
                  <c:v>0.28999999999999998</c:v>
                </c:pt>
                <c:pt idx="1389">
                  <c:v>0.31</c:v>
                </c:pt>
                <c:pt idx="1390">
                  <c:v>0.30399999999999999</c:v>
                </c:pt>
                <c:pt idx="1391">
                  <c:v>0.34799999999999998</c:v>
                </c:pt>
                <c:pt idx="1392">
                  <c:v>0.374</c:v>
                </c:pt>
                <c:pt idx="1393">
                  <c:v>0.32</c:v>
                </c:pt>
                <c:pt idx="1394">
                  <c:v>0.34799999999999998</c:v>
                </c:pt>
                <c:pt idx="1395">
                  <c:v>0.34499999999999997</c:v>
                </c:pt>
                <c:pt idx="1396">
                  <c:v>0.34300000000000003</c:v>
                </c:pt>
                <c:pt idx="1397">
                  <c:v>0.30199999999999999</c:v>
                </c:pt>
                <c:pt idx="1398">
                  <c:v>0.30199999999999999</c:v>
                </c:pt>
                <c:pt idx="1399">
                  <c:v>0.32700000000000001</c:v>
                </c:pt>
                <c:pt idx="1400">
                  <c:v>0.34399999999999997</c:v>
                </c:pt>
                <c:pt idx="1401">
                  <c:v>0.309</c:v>
                </c:pt>
                <c:pt idx="1402">
                  <c:v>0.32500000000000001</c:v>
                </c:pt>
                <c:pt idx="1403">
                  <c:v>0.34100000000000003</c:v>
                </c:pt>
                <c:pt idx="1404">
                  <c:v>0.309</c:v>
                </c:pt>
                <c:pt idx="1405">
                  <c:v>0.30399999999999999</c:v>
                </c:pt>
                <c:pt idx="1406">
                  <c:v>0.33</c:v>
                </c:pt>
                <c:pt idx="1407">
                  <c:v>0.28299999999999997</c:v>
                </c:pt>
                <c:pt idx="1408">
                  <c:v>0.34399999999999997</c:v>
                </c:pt>
                <c:pt idx="1409">
                  <c:v>0.41399999999999998</c:v>
                </c:pt>
                <c:pt idx="1410">
                  <c:v>0.47</c:v>
                </c:pt>
                <c:pt idx="1411">
                  <c:v>0.44700000000000001</c:v>
                </c:pt>
                <c:pt idx="1412">
                  <c:v>0.41299999999999998</c:v>
                </c:pt>
                <c:pt idx="1413">
                  <c:v>0.42199999999999999</c:v>
                </c:pt>
                <c:pt idx="1414">
                  <c:v>0.42599999999999999</c:v>
                </c:pt>
                <c:pt idx="1415">
                  <c:v>0.41799999999999998</c:v>
                </c:pt>
                <c:pt idx="1416">
                  <c:v>0.34300000000000003</c:v>
                </c:pt>
                <c:pt idx="1417">
                  <c:v>0.377</c:v>
                </c:pt>
                <c:pt idx="1418">
                  <c:v>0.375</c:v>
                </c:pt>
                <c:pt idx="1419">
                  <c:v>0.371</c:v>
                </c:pt>
                <c:pt idx="1420">
                  <c:v>0.35</c:v>
                </c:pt>
                <c:pt idx="1421">
                  <c:v>0.39900000000000002</c:v>
                </c:pt>
                <c:pt idx="1422">
                  <c:v>0.48</c:v>
                </c:pt>
                <c:pt idx="1423">
                  <c:v>0.51400000000000001</c:v>
                </c:pt>
                <c:pt idx="1424">
                  <c:v>0.54</c:v>
                </c:pt>
                <c:pt idx="1425">
                  <c:v>0.55700000000000005</c:v>
                </c:pt>
                <c:pt idx="1426">
                  <c:v>0.55700000000000005</c:v>
                </c:pt>
                <c:pt idx="1427">
                  <c:v>0.56999999999999995</c:v>
                </c:pt>
                <c:pt idx="1428">
                  <c:v>0.58599999999999997</c:v>
                </c:pt>
                <c:pt idx="1429">
                  <c:v>0.59199999999999997</c:v>
                </c:pt>
                <c:pt idx="1430">
                  <c:v>0.6</c:v>
                </c:pt>
                <c:pt idx="1431">
                  <c:v>0.57299999999999995</c:v>
                </c:pt>
                <c:pt idx="1432">
                  <c:v>0.55000000000000004</c:v>
                </c:pt>
                <c:pt idx="1433">
                  <c:v>0.53800000000000003</c:v>
                </c:pt>
                <c:pt idx="1434">
                  <c:v>0.55200000000000005</c:v>
                </c:pt>
                <c:pt idx="1435">
                  <c:v>0.55600000000000005</c:v>
                </c:pt>
                <c:pt idx="1436">
                  <c:v>0.59199999999999997</c:v>
                </c:pt>
                <c:pt idx="1437">
                  <c:v>0.6</c:v>
                </c:pt>
                <c:pt idx="1438">
                  <c:v>0.624</c:v>
                </c:pt>
                <c:pt idx="1439">
                  <c:v>0.57899999999999996</c:v>
                </c:pt>
                <c:pt idx="1440">
                  <c:v>0.59399999999999997</c:v>
                </c:pt>
                <c:pt idx="1441">
                  <c:v>0.622</c:v>
                </c:pt>
                <c:pt idx="1442">
                  <c:v>0.65400000000000003</c:v>
                </c:pt>
                <c:pt idx="1443">
                  <c:v>0.58899999999999997</c:v>
                </c:pt>
                <c:pt idx="1444">
                  <c:v>0.55700000000000005</c:v>
                </c:pt>
                <c:pt idx="1445">
                  <c:v>0.56899999999999995</c:v>
                </c:pt>
                <c:pt idx="1446">
                  <c:v>0.53300000000000003</c:v>
                </c:pt>
                <c:pt idx="1447">
                  <c:v>0.56200000000000006</c:v>
                </c:pt>
                <c:pt idx="1448">
                  <c:v>0.55800000000000005</c:v>
                </c:pt>
                <c:pt idx="1449">
                  <c:v>0.61</c:v>
                </c:pt>
                <c:pt idx="1450">
                  <c:v>0.63600000000000001</c:v>
                </c:pt>
                <c:pt idx="1451">
                  <c:v>0.61299999999999999</c:v>
                </c:pt>
                <c:pt idx="1452">
                  <c:v>0.61299999999999999</c:v>
                </c:pt>
                <c:pt idx="1453">
                  <c:v>0.65100000000000002</c:v>
                </c:pt>
                <c:pt idx="1454">
                  <c:v>0.64100000000000001</c:v>
                </c:pt>
                <c:pt idx="1455">
                  <c:v>0.60799999999999998</c:v>
                </c:pt>
                <c:pt idx="1456">
                  <c:v>0.60199999999999998</c:v>
                </c:pt>
                <c:pt idx="1457">
                  <c:v>0.56599999999999995</c:v>
                </c:pt>
                <c:pt idx="1458">
                  <c:v>0.53500000000000003</c:v>
                </c:pt>
                <c:pt idx="1459">
                  <c:v>0.59399999999999997</c:v>
                </c:pt>
                <c:pt idx="1460">
                  <c:v>0.6</c:v>
                </c:pt>
                <c:pt idx="1461">
                  <c:v>0.59199999999999997</c:v>
                </c:pt>
                <c:pt idx="1462">
                  <c:v>0.61399999999999999</c:v>
                </c:pt>
                <c:pt idx="1463">
                  <c:v>0.623</c:v>
                </c:pt>
                <c:pt idx="1464">
                  <c:v>0.57399999999999995</c:v>
                </c:pt>
                <c:pt idx="1465">
                  <c:v>0.59899999999999998</c:v>
                </c:pt>
                <c:pt idx="1466">
                  <c:v>0.53700000000000003</c:v>
                </c:pt>
                <c:pt idx="1467">
                  <c:v>0.54700000000000004</c:v>
                </c:pt>
                <c:pt idx="1468">
                  <c:v>0.56399999999999995</c:v>
                </c:pt>
                <c:pt idx="1469">
                  <c:v>0.56299999999999994</c:v>
                </c:pt>
                <c:pt idx="1470">
                  <c:v>0.55200000000000005</c:v>
                </c:pt>
                <c:pt idx="1471">
                  <c:v>0.53900000000000003</c:v>
                </c:pt>
                <c:pt idx="1472">
                  <c:v>0.58199999999999996</c:v>
                </c:pt>
                <c:pt idx="1473">
                  <c:v>0.57099999999999995</c:v>
                </c:pt>
                <c:pt idx="1474">
                  <c:v>0.67100000000000004</c:v>
                </c:pt>
                <c:pt idx="1475">
                  <c:v>0.65</c:v>
                </c:pt>
                <c:pt idx="1476">
                  <c:v>0.65100000000000002</c:v>
                </c:pt>
                <c:pt idx="1477">
                  <c:v>0.69599999999999995</c:v>
                </c:pt>
                <c:pt idx="1478">
                  <c:v>0.70699999999999996</c:v>
                </c:pt>
                <c:pt idx="1479">
                  <c:v>0.70399999999999996</c:v>
                </c:pt>
                <c:pt idx="1480">
                  <c:v>0.73499999999999999</c:v>
                </c:pt>
                <c:pt idx="1481">
                  <c:v>0.73299999999999998</c:v>
                </c:pt>
                <c:pt idx="1482">
                  <c:v>0.73899999999999999</c:v>
                </c:pt>
                <c:pt idx="1483">
                  <c:v>0.78700000000000003</c:v>
                </c:pt>
                <c:pt idx="1484">
                  <c:v>0.8</c:v>
                </c:pt>
                <c:pt idx="1485">
                  <c:v>0.78700000000000003</c:v>
                </c:pt>
                <c:pt idx="1486">
                  <c:v>0.80300000000000005</c:v>
                </c:pt>
                <c:pt idx="1487">
                  <c:v>0.77600000000000002</c:v>
                </c:pt>
                <c:pt idx="1488">
                  <c:v>0.752</c:v>
                </c:pt>
                <c:pt idx="1489">
                  <c:v>0.71899999999999997</c:v>
                </c:pt>
                <c:pt idx="1490">
                  <c:v>0.74299999999999999</c:v>
                </c:pt>
                <c:pt idx="1491">
                  <c:v>0.73499999999999999</c:v>
                </c:pt>
                <c:pt idx="1492">
                  <c:v>0.78900000000000003</c:v>
                </c:pt>
                <c:pt idx="1493">
                  <c:v>0.76</c:v>
                </c:pt>
                <c:pt idx="1494">
                  <c:v>0.76200000000000001</c:v>
                </c:pt>
                <c:pt idx="1495">
                  <c:v>0.80300000000000005</c:v>
                </c:pt>
                <c:pt idx="1496">
                  <c:v>0.80300000000000005</c:v>
                </c:pt>
                <c:pt idx="1497">
                  <c:v>0.80200000000000005</c:v>
                </c:pt>
                <c:pt idx="1498">
                  <c:v>0.84599999999999997</c:v>
                </c:pt>
                <c:pt idx="1499">
                  <c:v>0.84899999999999998</c:v>
                </c:pt>
                <c:pt idx="1500">
                  <c:v>0.83399999999999996</c:v>
                </c:pt>
                <c:pt idx="1501">
                  <c:v>0.81</c:v>
                </c:pt>
                <c:pt idx="1502">
                  <c:v>0.82</c:v>
                </c:pt>
                <c:pt idx="1503">
                  <c:v>0.84599999999999997</c:v>
                </c:pt>
                <c:pt idx="1504">
                  <c:v>0.83599999999999997</c:v>
                </c:pt>
                <c:pt idx="1505">
                  <c:v>0.86099999999999999</c:v>
                </c:pt>
                <c:pt idx="1506">
                  <c:v>0.81699999999999995</c:v>
                </c:pt>
                <c:pt idx="1507">
                  <c:v>0.77600000000000002</c:v>
                </c:pt>
                <c:pt idx="1508">
                  <c:v>0.85399999999999998</c:v>
                </c:pt>
                <c:pt idx="1509">
                  <c:v>0.93899999999999995</c:v>
                </c:pt>
                <c:pt idx="1510">
                  <c:v>0.97599999999999998</c:v>
                </c:pt>
                <c:pt idx="1511">
                  <c:v>0.97899999999999998</c:v>
                </c:pt>
                <c:pt idx="1512">
                  <c:v>0.94599999999999995</c:v>
                </c:pt>
                <c:pt idx="1513">
                  <c:v>0.96399999999999997</c:v>
                </c:pt>
                <c:pt idx="1514">
                  <c:v>0.94499999999999995</c:v>
                </c:pt>
                <c:pt idx="1515">
                  <c:v>0.96799999999999997</c:v>
                </c:pt>
                <c:pt idx="1516">
                  <c:v>0.96799999999999997</c:v>
                </c:pt>
                <c:pt idx="1517">
                  <c:v>0.93400000000000005</c:v>
                </c:pt>
                <c:pt idx="1518">
                  <c:v>0.91300000000000003</c:v>
                </c:pt>
                <c:pt idx="1519">
                  <c:v>0.90600000000000003</c:v>
                </c:pt>
                <c:pt idx="1520">
                  <c:v>0.90200000000000002</c:v>
                </c:pt>
                <c:pt idx="1521">
                  <c:v>0.871</c:v>
                </c:pt>
                <c:pt idx="1522">
                  <c:v>0.93100000000000005</c:v>
                </c:pt>
                <c:pt idx="1523">
                  <c:v>0.89</c:v>
                </c:pt>
                <c:pt idx="1524">
                  <c:v>0.91100000000000003</c:v>
                </c:pt>
                <c:pt idx="1525">
                  <c:v>0.92200000000000004</c:v>
                </c:pt>
                <c:pt idx="1526">
                  <c:v>0.91100000000000003</c:v>
                </c:pt>
                <c:pt idx="1527">
                  <c:v>0.876</c:v>
                </c:pt>
                <c:pt idx="1528">
                  <c:v>0.94599999999999995</c:v>
                </c:pt>
                <c:pt idx="1529">
                  <c:v>0.97699999999999998</c:v>
                </c:pt>
                <c:pt idx="1530">
                  <c:v>0.97699999999999998</c:v>
                </c:pt>
                <c:pt idx="1531">
                  <c:v>0.98899999999999999</c:v>
                </c:pt>
                <c:pt idx="1532">
                  <c:v>1.0189999999999999</c:v>
                </c:pt>
                <c:pt idx="1533">
                  <c:v>1.04</c:v>
                </c:pt>
                <c:pt idx="1534">
                  <c:v>0.99199999999999999</c:v>
                </c:pt>
                <c:pt idx="1535">
                  <c:v>0.99199999999999999</c:v>
                </c:pt>
                <c:pt idx="1536">
                  <c:v>1.03</c:v>
                </c:pt>
                <c:pt idx="1537">
                  <c:v>1.0309999999999999</c:v>
                </c:pt>
                <c:pt idx="1538">
                  <c:v>0.98</c:v>
                </c:pt>
                <c:pt idx="1539">
                  <c:v>1.01</c:v>
                </c:pt>
                <c:pt idx="1540">
                  <c:v>1.046</c:v>
                </c:pt>
                <c:pt idx="1541">
                  <c:v>1.071</c:v>
                </c:pt>
                <c:pt idx="1542">
                  <c:v>1.0760000000000001</c:v>
                </c:pt>
                <c:pt idx="1543">
                  <c:v>1.0780000000000001</c:v>
                </c:pt>
                <c:pt idx="1544">
                  <c:v>1.056</c:v>
                </c:pt>
                <c:pt idx="1545">
                  <c:v>1.0069999999999999</c:v>
                </c:pt>
                <c:pt idx="1546">
                  <c:v>0.96199999999999997</c:v>
                </c:pt>
                <c:pt idx="1547">
                  <c:v>0.98899999999999999</c:v>
                </c:pt>
                <c:pt idx="1548">
                  <c:v>0.97899999999999998</c:v>
                </c:pt>
                <c:pt idx="1549">
                  <c:v>0.97899999999999998</c:v>
                </c:pt>
                <c:pt idx="1550">
                  <c:v>1.0089999999999999</c:v>
                </c:pt>
                <c:pt idx="1551">
                  <c:v>1.0329999999999999</c:v>
                </c:pt>
                <c:pt idx="1552">
                  <c:v>1.052</c:v>
                </c:pt>
                <c:pt idx="1553">
                  <c:v>1.119</c:v>
                </c:pt>
                <c:pt idx="1554">
                  <c:v>1.147</c:v>
                </c:pt>
                <c:pt idx="1555">
                  <c:v>1.107</c:v>
                </c:pt>
                <c:pt idx="1556">
                  <c:v>1.091</c:v>
                </c:pt>
                <c:pt idx="1557">
                  <c:v>1.085</c:v>
                </c:pt>
                <c:pt idx="1558">
                  <c:v>1.085</c:v>
                </c:pt>
                <c:pt idx="1559">
                  <c:v>1.091</c:v>
                </c:pt>
                <c:pt idx="1560">
                  <c:v>1.0720000000000001</c:v>
                </c:pt>
                <c:pt idx="1561">
                  <c:v>1.0469999999999999</c:v>
                </c:pt>
                <c:pt idx="1562">
                  <c:v>1.105</c:v>
                </c:pt>
                <c:pt idx="1563">
                  <c:v>1.125</c:v>
                </c:pt>
                <c:pt idx="1564">
                  <c:v>1.117</c:v>
                </c:pt>
                <c:pt idx="1565">
                  <c:v>1.141</c:v>
                </c:pt>
                <c:pt idx="1566">
                  <c:v>1.141</c:v>
                </c:pt>
                <c:pt idx="1567">
                  <c:v>1.169</c:v>
                </c:pt>
                <c:pt idx="1568">
                  <c:v>1.161</c:v>
                </c:pt>
                <c:pt idx="1569">
                  <c:v>1.163</c:v>
                </c:pt>
                <c:pt idx="1570">
                  <c:v>1.1379999999999999</c:v>
                </c:pt>
                <c:pt idx="1571">
                  <c:v>1.163</c:v>
                </c:pt>
                <c:pt idx="1572">
                  <c:v>1.109</c:v>
                </c:pt>
                <c:pt idx="1573">
                  <c:v>1.091</c:v>
                </c:pt>
                <c:pt idx="1574">
                  <c:v>1.0669999999999999</c:v>
                </c:pt>
                <c:pt idx="1575">
                  <c:v>1.0289999999999999</c:v>
                </c:pt>
                <c:pt idx="1576">
                  <c:v>1.0149999999999999</c:v>
                </c:pt>
                <c:pt idx="1577">
                  <c:v>1.081</c:v>
                </c:pt>
                <c:pt idx="1578">
                  <c:v>1.0429999999999999</c:v>
                </c:pt>
                <c:pt idx="1579">
                  <c:v>1.083</c:v>
                </c:pt>
                <c:pt idx="1580">
                  <c:v>1.0940000000000001</c:v>
                </c:pt>
                <c:pt idx="1581">
                  <c:v>1.085</c:v>
                </c:pt>
                <c:pt idx="1582">
                  <c:v>1.069</c:v>
                </c:pt>
                <c:pt idx="1583">
                  <c:v>1.075</c:v>
                </c:pt>
                <c:pt idx="1584">
                  <c:v>1.0389999999999999</c:v>
                </c:pt>
                <c:pt idx="1585">
                  <c:v>1.03</c:v>
                </c:pt>
                <c:pt idx="1586">
                  <c:v>1.0469999999999999</c:v>
                </c:pt>
                <c:pt idx="1587">
                  <c:v>1.026</c:v>
                </c:pt>
                <c:pt idx="1588">
                  <c:v>1.0249999999999999</c:v>
                </c:pt>
                <c:pt idx="1589">
                  <c:v>1.036</c:v>
                </c:pt>
                <c:pt idx="1590">
                  <c:v>1.0649999999999999</c:v>
                </c:pt>
                <c:pt idx="1591">
                  <c:v>1.0649999999999999</c:v>
                </c:pt>
                <c:pt idx="1592">
                  <c:v>1.03</c:v>
                </c:pt>
                <c:pt idx="1593">
                  <c:v>1.02</c:v>
                </c:pt>
                <c:pt idx="1594">
                  <c:v>0.93200000000000005</c:v>
                </c:pt>
                <c:pt idx="1595">
                  <c:v>0.94899999999999995</c:v>
                </c:pt>
                <c:pt idx="1596">
                  <c:v>0.92400000000000004</c:v>
                </c:pt>
                <c:pt idx="1597">
                  <c:v>0.91100000000000003</c:v>
                </c:pt>
                <c:pt idx="1598">
                  <c:v>0.90500000000000003</c:v>
                </c:pt>
                <c:pt idx="1599">
                  <c:v>0.94099999999999995</c:v>
                </c:pt>
                <c:pt idx="1600">
                  <c:v>0.93500000000000005</c:v>
                </c:pt>
                <c:pt idx="1601">
                  <c:v>0.91700000000000004</c:v>
                </c:pt>
                <c:pt idx="1602">
                  <c:v>0.91900000000000004</c:v>
                </c:pt>
                <c:pt idx="1603">
                  <c:v>0.92400000000000004</c:v>
                </c:pt>
                <c:pt idx="1604">
                  <c:v>0.92500000000000004</c:v>
                </c:pt>
                <c:pt idx="1605">
                  <c:v>0.89100000000000001</c:v>
                </c:pt>
                <c:pt idx="1606">
                  <c:v>0.89500000000000002</c:v>
                </c:pt>
                <c:pt idx="1607">
                  <c:v>0.878</c:v>
                </c:pt>
                <c:pt idx="1608">
                  <c:v>0.84799999999999998</c:v>
                </c:pt>
                <c:pt idx="1609">
                  <c:v>0.86399999999999999</c:v>
                </c:pt>
                <c:pt idx="1610">
                  <c:v>0.84</c:v>
                </c:pt>
                <c:pt idx="1611">
                  <c:v>0.83699999999999997</c:v>
                </c:pt>
                <c:pt idx="1612">
                  <c:v>0.79200000000000004</c:v>
                </c:pt>
                <c:pt idx="1613">
                  <c:v>0.80800000000000005</c:v>
                </c:pt>
                <c:pt idx="1614">
                  <c:v>0.79900000000000004</c:v>
                </c:pt>
                <c:pt idx="1615">
                  <c:v>0.77400000000000002</c:v>
                </c:pt>
                <c:pt idx="1616">
                  <c:v>0.77400000000000002</c:v>
                </c:pt>
                <c:pt idx="1617">
                  <c:v>0.76</c:v>
                </c:pt>
                <c:pt idx="1618">
                  <c:v>0.77200000000000002</c:v>
                </c:pt>
                <c:pt idx="1619">
                  <c:v>0.77100000000000002</c:v>
                </c:pt>
                <c:pt idx="1620">
                  <c:v>0.73799999999999999</c:v>
                </c:pt>
                <c:pt idx="1621">
                  <c:v>0.71799999999999997</c:v>
                </c:pt>
                <c:pt idx="1622">
                  <c:v>0.74099999999999999</c:v>
                </c:pt>
                <c:pt idx="1623">
                  <c:v>0.73799999999999999</c:v>
                </c:pt>
                <c:pt idx="1624">
                  <c:v>0.76200000000000001</c:v>
                </c:pt>
                <c:pt idx="1625">
                  <c:v>0.747</c:v>
                </c:pt>
                <c:pt idx="1626">
                  <c:v>0.78</c:v>
                </c:pt>
                <c:pt idx="1627">
                  <c:v>0.78500000000000003</c:v>
                </c:pt>
                <c:pt idx="1628">
                  <c:v>0.78100000000000003</c:v>
                </c:pt>
                <c:pt idx="1629">
                  <c:v>0.80500000000000005</c:v>
                </c:pt>
                <c:pt idx="1630">
                  <c:v>0.78500000000000003</c:v>
                </c:pt>
                <c:pt idx="1631">
                  <c:v>0.77700000000000002</c:v>
                </c:pt>
                <c:pt idx="1632">
                  <c:v>0.82299999999999995</c:v>
                </c:pt>
                <c:pt idx="1633">
                  <c:v>0.84099999999999997</c:v>
                </c:pt>
                <c:pt idx="1634">
                  <c:v>0.84899999999999998</c:v>
                </c:pt>
                <c:pt idx="1635">
                  <c:v>0.83299999999999996</c:v>
                </c:pt>
                <c:pt idx="1636">
                  <c:v>0.83499999999999996</c:v>
                </c:pt>
                <c:pt idx="1637">
                  <c:v>0.86</c:v>
                </c:pt>
                <c:pt idx="1638">
                  <c:v>0.872</c:v>
                </c:pt>
                <c:pt idx="1639">
                  <c:v>0.83899999999999997</c:v>
                </c:pt>
                <c:pt idx="1640">
                  <c:v>0.84699999999999998</c:v>
                </c:pt>
                <c:pt idx="1641">
                  <c:v>0.83599999999999997</c:v>
                </c:pt>
                <c:pt idx="1642">
                  <c:v>0.86199999999999999</c:v>
                </c:pt>
                <c:pt idx="1643">
                  <c:v>0.84699999999999998</c:v>
                </c:pt>
                <c:pt idx="1644">
                  <c:v>0.83399999999999996</c:v>
                </c:pt>
                <c:pt idx="1645">
                  <c:v>0.84299999999999997</c:v>
                </c:pt>
                <c:pt idx="1646">
                  <c:v>0.78300000000000003</c:v>
                </c:pt>
                <c:pt idx="1647">
                  <c:v>0.76600000000000001</c:v>
                </c:pt>
                <c:pt idx="1648">
                  <c:v>0.79200000000000004</c:v>
                </c:pt>
                <c:pt idx="1649">
                  <c:v>0.76600000000000001</c:v>
                </c:pt>
                <c:pt idx="1650">
                  <c:v>0.752</c:v>
                </c:pt>
                <c:pt idx="1651">
                  <c:v>0.71599999999999997</c:v>
                </c:pt>
                <c:pt idx="1652">
                  <c:v>0.74099999999999999</c:v>
                </c:pt>
                <c:pt idx="1653">
                  <c:v>0.72699999999999998</c:v>
                </c:pt>
                <c:pt idx="1654">
                  <c:v>0.74299999999999999</c:v>
                </c:pt>
                <c:pt idx="1655">
                  <c:v>0.72699999999999998</c:v>
                </c:pt>
                <c:pt idx="1656">
                  <c:v>0.69399999999999995</c:v>
                </c:pt>
                <c:pt idx="1657">
                  <c:v>0.7</c:v>
                </c:pt>
                <c:pt idx="1658">
                  <c:v>0.70599999999999996</c:v>
                </c:pt>
                <c:pt idx="1659">
                  <c:v>0.70599999999999996</c:v>
                </c:pt>
                <c:pt idx="1660">
                  <c:v>0.73699999999999999</c:v>
                </c:pt>
                <c:pt idx="1661">
                  <c:v>0.74099999999999999</c:v>
                </c:pt>
                <c:pt idx="1662">
                  <c:v>0.73599999999999999</c:v>
                </c:pt>
                <c:pt idx="1663">
                  <c:v>0.71499999999999997</c:v>
                </c:pt>
                <c:pt idx="1664">
                  <c:v>0.753</c:v>
                </c:pt>
                <c:pt idx="1665">
                  <c:v>0.76900000000000002</c:v>
                </c:pt>
                <c:pt idx="1666">
                  <c:v>0.76800000000000002</c:v>
                </c:pt>
                <c:pt idx="1667">
                  <c:v>0.78700000000000003</c:v>
                </c:pt>
                <c:pt idx="1668">
                  <c:v>0.81699999999999995</c:v>
                </c:pt>
                <c:pt idx="1669">
                  <c:v>0.77700000000000002</c:v>
                </c:pt>
                <c:pt idx="1670">
                  <c:v>0.78900000000000003</c:v>
                </c:pt>
                <c:pt idx="1671">
                  <c:v>0.79900000000000004</c:v>
                </c:pt>
                <c:pt idx="1672">
                  <c:v>0.81200000000000006</c:v>
                </c:pt>
                <c:pt idx="1673">
                  <c:v>0.84699999999999998</c:v>
                </c:pt>
                <c:pt idx="1674">
                  <c:v>0.83599999999999997</c:v>
                </c:pt>
                <c:pt idx="1675">
                  <c:v>0.82099999999999995</c:v>
                </c:pt>
                <c:pt idx="1676">
                  <c:v>0.82799999999999996</c:v>
                </c:pt>
                <c:pt idx="1677">
                  <c:v>0.79400000000000004</c:v>
                </c:pt>
                <c:pt idx="1678">
                  <c:v>0.82599999999999996</c:v>
                </c:pt>
                <c:pt idx="1679">
                  <c:v>0.79900000000000004</c:v>
                </c:pt>
                <c:pt idx="1680">
                  <c:v>0.82299999999999995</c:v>
                </c:pt>
                <c:pt idx="1681">
                  <c:v>0.80300000000000005</c:v>
                </c:pt>
                <c:pt idx="1682">
                  <c:v>0.78400000000000003</c:v>
                </c:pt>
                <c:pt idx="1683">
                  <c:v>0.79300000000000004</c:v>
                </c:pt>
                <c:pt idx="1684">
                  <c:v>0.753</c:v>
                </c:pt>
                <c:pt idx="1685">
                  <c:v>0.83899999999999997</c:v>
                </c:pt>
                <c:pt idx="1686">
                  <c:v>0.83899999999999997</c:v>
                </c:pt>
                <c:pt idx="1687">
                  <c:v>0.85799999999999998</c:v>
                </c:pt>
                <c:pt idx="1688">
                  <c:v>0.85699999999999998</c:v>
                </c:pt>
                <c:pt idx="1689">
                  <c:v>0.90600000000000003</c:v>
                </c:pt>
                <c:pt idx="1690">
                  <c:v>0.89800000000000002</c:v>
                </c:pt>
                <c:pt idx="1691">
                  <c:v>0.90400000000000003</c:v>
                </c:pt>
                <c:pt idx="1692">
                  <c:v>0.94299999999999995</c:v>
                </c:pt>
                <c:pt idx="1693">
                  <c:v>0.92100000000000004</c:v>
                </c:pt>
                <c:pt idx="1694">
                  <c:v>0.89900000000000002</c:v>
                </c:pt>
                <c:pt idx="1695">
                  <c:v>0.85299999999999998</c:v>
                </c:pt>
                <c:pt idx="1696">
                  <c:v>0.81699999999999995</c:v>
                </c:pt>
                <c:pt idx="1697">
                  <c:v>0.80100000000000005</c:v>
                </c:pt>
                <c:pt idx="1698">
                  <c:v>0.82299999999999995</c:v>
                </c:pt>
                <c:pt idx="1699">
                  <c:v>0.81</c:v>
                </c:pt>
                <c:pt idx="1700">
                  <c:v>0.78500000000000003</c:v>
                </c:pt>
                <c:pt idx="1701">
                  <c:v>0.79400000000000004</c:v>
                </c:pt>
                <c:pt idx="1702">
                  <c:v>0.78500000000000003</c:v>
                </c:pt>
                <c:pt idx="1703">
                  <c:v>0.80700000000000005</c:v>
                </c:pt>
                <c:pt idx="1704">
                  <c:v>0.81100000000000005</c:v>
                </c:pt>
                <c:pt idx="1705">
                  <c:v>0.78400000000000003</c:v>
                </c:pt>
                <c:pt idx="1706">
                  <c:v>0.79100000000000004</c:v>
                </c:pt>
                <c:pt idx="1707">
                  <c:v>0.81</c:v>
                </c:pt>
                <c:pt idx="1708">
                  <c:v>0.85799999999999998</c:v>
                </c:pt>
                <c:pt idx="1709">
                  <c:v>0.83699999999999997</c:v>
                </c:pt>
                <c:pt idx="1710">
                  <c:v>0.79300000000000004</c:v>
                </c:pt>
                <c:pt idx="1711">
                  <c:v>0.78400000000000003</c:v>
                </c:pt>
                <c:pt idx="1712">
                  <c:v>0.73499999999999999</c:v>
                </c:pt>
                <c:pt idx="1713">
                  <c:v>0.71499999999999997</c:v>
                </c:pt>
                <c:pt idx="1714">
                  <c:v>0.69499999999999995</c:v>
                </c:pt>
                <c:pt idx="1715">
                  <c:v>0.7</c:v>
                </c:pt>
                <c:pt idx="1716">
                  <c:v>0.68799999999999994</c:v>
                </c:pt>
                <c:pt idx="1717">
                  <c:v>0.70899999999999996</c:v>
                </c:pt>
                <c:pt idx="1718">
                  <c:v>0.66500000000000004</c:v>
                </c:pt>
                <c:pt idx="1719">
                  <c:v>0.71399999999999997</c:v>
                </c:pt>
                <c:pt idx="1720">
                  <c:v>0.70299999999999996</c:v>
                </c:pt>
                <c:pt idx="1721">
                  <c:v>0.70199999999999996</c:v>
                </c:pt>
                <c:pt idx="1722">
                  <c:v>0.751</c:v>
                </c:pt>
                <c:pt idx="1723">
                  <c:v>0.72199999999999998</c:v>
                </c:pt>
                <c:pt idx="1724">
                  <c:v>0.69899999999999995</c:v>
                </c:pt>
                <c:pt idx="1725">
                  <c:v>0.68100000000000005</c:v>
                </c:pt>
                <c:pt idx="1726">
                  <c:v>0.68799999999999994</c:v>
                </c:pt>
                <c:pt idx="1727">
                  <c:v>0.68799999999999994</c:v>
                </c:pt>
                <c:pt idx="1728">
                  <c:v>0.72799999999999998</c:v>
                </c:pt>
                <c:pt idx="1729">
                  <c:v>0.71199999999999997</c:v>
                </c:pt>
                <c:pt idx="1730">
                  <c:v>0.77300000000000002</c:v>
                </c:pt>
                <c:pt idx="1731">
                  <c:v>0.74299999999999999</c:v>
                </c:pt>
                <c:pt idx="1732">
                  <c:v>0.745</c:v>
                </c:pt>
                <c:pt idx="1733">
                  <c:v>0.77900000000000003</c:v>
                </c:pt>
                <c:pt idx="1734">
                  <c:v>0.81399999999999995</c:v>
                </c:pt>
                <c:pt idx="1735">
                  <c:v>0.78100000000000003</c:v>
                </c:pt>
                <c:pt idx="1736">
                  <c:v>0.76400000000000001</c:v>
                </c:pt>
                <c:pt idx="1737">
                  <c:v>0.73899999999999999</c:v>
                </c:pt>
                <c:pt idx="1738">
                  <c:v>0.73799999999999999</c:v>
                </c:pt>
                <c:pt idx="1739">
                  <c:v>0.754</c:v>
                </c:pt>
                <c:pt idx="1740">
                  <c:v>0.76500000000000001</c:v>
                </c:pt>
                <c:pt idx="1741">
                  <c:v>0.77600000000000002</c:v>
                </c:pt>
                <c:pt idx="1742">
                  <c:v>0.74099999999999999</c:v>
                </c:pt>
                <c:pt idx="1743">
                  <c:v>0.755</c:v>
                </c:pt>
                <c:pt idx="1744">
                  <c:v>0.76100000000000001</c:v>
                </c:pt>
                <c:pt idx="1745">
                  <c:v>0.749</c:v>
                </c:pt>
                <c:pt idx="1746">
                  <c:v>0.73799999999999999</c:v>
                </c:pt>
                <c:pt idx="1747">
                  <c:v>0.71</c:v>
                </c:pt>
                <c:pt idx="1748">
                  <c:v>0.75</c:v>
                </c:pt>
                <c:pt idx="1749">
                  <c:v>0.77200000000000002</c:v>
                </c:pt>
                <c:pt idx="1750">
                  <c:v>0.73199999999999998</c:v>
                </c:pt>
                <c:pt idx="1751">
                  <c:v>0.745</c:v>
                </c:pt>
                <c:pt idx="1752">
                  <c:v>0.80400000000000005</c:v>
                </c:pt>
                <c:pt idx="1753">
                  <c:v>0.83099999999999996</c:v>
                </c:pt>
                <c:pt idx="1754">
                  <c:v>0.78600000000000003</c:v>
                </c:pt>
                <c:pt idx="1755">
                  <c:v>0.77900000000000003</c:v>
                </c:pt>
                <c:pt idx="1756">
                  <c:v>0.77900000000000003</c:v>
                </c:pt>
                <c:pt idx="1757">
                  <c:v>0.79800000000000004</c:v>
                </c:pt>
                <c:pt idx="1758">
                  <c:v>0.81</c:v>
                </c:pt>
                <c:pt idx="1759">
                  <c:v>0.78200000000000003</c:v>
                </c:pt>
                <c:pt idx="1760">
                  <c:v>0.79300000000000004</c:v>
                </c:pt>
                <c:pt idx="1761">
                  <c:v>0.79600000000000004</c:v>
                </c:pt>
                <c:pt idx="1762">
                  <c:v>0.747</c:v>
                </c:pt>
                <c:pt idx="1763">
                  <c:v>0.71699999999999997</c:v>
                </c:pt>
                <c:pt idx="1764">
                  <c:v>0.70199999999999996</c:v>
                </c:pt>
                <c:pt idx="1765">
                  <c:v>0.623</c:v>
                </c:pt>
                <c:pt idx="1766">
                  <c:v>0.70599999999999996</c:v>
                </c:pt>
                <c:pt idx="1767">
                  <c:v>0.66600000000000004</c:v>
                </c:pt>
                <c:pt idx="1768">
                  <c:v>0.60399999999999998</c:v>
                </c:pt>
                <c:pt idx="1769">
                  <c:v>0.627</c:v>
                </c:pt>
                <c:pt idx="1770">
                  <c:v>0.60899999999999999</c:v>
                </c:pt>
                <c:pt idx="1771">
                  <c:v>0.57399999999999995</c:v>
                </c:pt>
                <c:pt idx="1772">
                  <c:v>0.56999999999999995</c:v>
                </c:pt>
                <c:pt idx="1773">
                  <c:v>0.57599999999999996</c:v>
                </c:pt>
                <c:pt idx="1774">
                  <c:v>0.57599999999999996</c:v>
                </c:pt>
                <c:pt idx="1775">
                  <c:v>0.59499999999999997</c:v>
                </c:pt>
                <c:pt idx="1776">
                  <c:v>0.54100000000000004</c:v>
                </c:pt>
                <c:pt idx="1777">
                  <c:v>0.54100000000000004</c:v>
                </c:pt>
                <c:pt idx="1778">
                  <c:v>0.52800000000000002</c:v>
                </c:pt>
                <c:pt idx="1779">
                  <c:v>0.502</c:v>
                </c:pt>
                <c:pt idx="1780">
                  <c:v>0.52900000000000003</c:v>
                </c:pt>
                <c:pt idx="1781">
                  <c:v>0.52900000000000003</c:v>
                </c:pt>
                <c:pt idx="1782">
                  <c:v>0.52900000000000003</c:v>
                </c:pt>
                <c:pt idx="1783">
                  <c:v>0.52300000000000002</c:v>
                </c:pt>
                <c:pt idx="1784">
                  <c:v>0.51500000000000001</c:v>
                </c:pt>
                <c:pt idx="1785">
                  <c:v>0.46200000000000002</c:v>
                </c:pt>
                <c:pt idx="1786">
                  <c:v>0.44700000000000001</c:v>
                </c:pt>
                <c:pt idx="1787">
                  <c:v>0.44500000000000001</c:v>
                </c:pt>
                <c:pt idx="1788">
                  <c:v>0.45</c:v>
                </c:pt>
                <c:pt idx="1789">
                  <c:v>0.45800000000000002</c:v>
                </c:pt>
                <c:pt idx="1790">
                  <c:v>0.42899999999999999</c:v>
                </c:pt>
                <c:pt idx="1791">
                  <c:v>0.42899999999999999</c:v>
                </c:pt>
                <c:pt idx="1792">
                  <c:v>0.47</c:v>
                </c:pt>
                <c:pt idx="1793">
                  <c:v>0.46500000000000002</c:v>
                </c:pt>
                <c:pt idx="1794">
                  <c:v>0.52700000000000002</c:v>
                </c:pt>
                <c:pt idx="1795">
                  <c:v>0.53800000000000003</c:v>
                </c:pt>
                <c:pt idx="1796">
                  <c:v>0.53800000000000003</c:v>
                </c:pt>
                <c:pt idx="1797">
                  <c:v>0.54300000000000004</c:v>
                </c:pt>
                <c:pt idx="1798">
                  <c:v>0.57499999999999996</c:v>
                </c:pt>
                <c:pt idx="1799">
                  <c:v>0.53600000000000003</c:v>
                </c:pt>
                <c:pt idx="1800">
                  <c:v>0.495</c:v>
                </c:pt>
                <c:pt idx="1801">
                  <c:v>0.46700000000000003</c:v>
                </c:pt>
                <c:pt idx="1802">
                  <c:v>0.46700000000000003</c:v>
                </c:pt>
                <c:pt idx="1803">
                  <c:v>0.46500000000000002</c:v>
                </c:pt>
                <c:pt idx="1804">
                  <c:v>0.49399999999999999</c:v>
                </c:pt>
                <c:pt idx="1805">
                  <c:v>0.505</c:v>
                </c:pt>
                <c:pt idx="1806">
                  <c:v>0.496</c:v>
                </c:pt>
                <c:pt idx="1807">
                  <c:v>0.49099999999999999</c:v>
                </c:pt>
                <c:pt idx="1808">
                  <c:v>0.48499999999999999</c:v>
                </c:pt>
                <c:pt idx="1809">
                  <c:v>0.48799999999999999</c:v>
                </c:pt>
                <c:pt idx="1810">
                  <c:v>0.49399999999999999</c:v>
                </c:pt>
                <c:pt idx="1811">
                  <c:v>0.496</c:v>
                </c:pt>
                <c:pt idx="1812">
                  <c:v>0.55000000000000004</c:v>
                </c:pt>
                <c:pt idx="1813">
                  <c:v>0.53900000000000003</c:v>
                </c:pt>
                <c:pt idx="1814">
                  <c:v>0.48499999999999999</c:v>
                </c:pt>
                <c:pt idx="1815">
                  <c:v>0.48599999999999999</c:v>
                </c:pt>
                <c:pt idx="1816">
                  <c:v>0.49399999999999999</c:v>
                </c:pt>
                <c:pt idx="1817">
                  <c:v>0.47</c:v>
                </c:pt>
                <c:pt idx="1818">
                  <c:v>0.47</c:v>
                </c:pt>
                <c:pt idx="1819">
                  <c:v>0.50700000000000001</c:v>
                </c:pt>
                <c:pt idx="1820">
                  <c:v>0.51100000000000001</c:v>
                </c:pt>
                <c:pt idx="1821">
                  <c:v>0.48399999999999999</c:v>
                </c:pt>
                <c:pt idx="1822">
                  <c:v>0.5</c:v>
                </c:pt>
                <c:pt idx="1823">
                  <c:v>0.46200000000000002</c:v>
                </c:pt>
                <c:pt idx="1824">
                  <c:v>0.498</c:v>
                </c:pt>
                <c:pt idx="1825">
                  <c:v>0.51900000000000002</c:v>
                </c:pt>
                <c:pt idx="1826">
                  <c:v>0.51300000000000001</c:v>
                </c:pt>
                <c:pt idx="1827">
                  <c:v>0.45900000000000002</c:v>
                </c:pt>
                <c:pt idx="1828">
                  <c:v>0.443</c:v>
                </c:pt>
                <c:pt idx="1829">
                  <c:v>0.439</c:v>
                </c:pt>
                <c:pt idx="1830">
                  <c:v>0.44700000000000001</c:v>
                </c:pt>
                <c:pt idx="1831">
                  <c:v>0.46700000000000003</c:v>
                </c:pt>
                <c:pt idx="1832">
                  <c:v>0.47199999999999998</c:v>
                </c:pt>
                <c:pt idx="1833">
                  <c:v>0.49</c:v>
                </c:pt>
                <c:pt idx="1834">
                  <c:v>0.497</c:v>
                </c:pt>
                <c:pt idx="1835">
                  <c:v>0.497</c:v>
                </c:pt>
                <c:pt idx="1836">
                  <c:v>0.52500000000000002</c:v>
                </c:pt>
                <c:pt idx="1837">
                  <c:v>0.57399999999999995</c:v>
                </c:pt>
                <c:pt idx="1838">
                  <c:v>0.55300000000000005</c:v>
                </c:pt>
                <c:pt idx="1839">
                  <c:v>0.55200000000000005</c:v>
                </c:pt>
                <c:pt idx="1840">
                  <c:v>0.50900000000000001</c:v>
                </c:pt>
                <c:pt idx="1841">
                  <c:v>0.51400000000000001</c:v>
                </c:pt>
                <c:pt idx="1842">
                  <c:v>0.46100000000000002</c:v>
                </c:pt>
                <c:pt idx="1843">
                  <c:v>0.497</c:v>
                </c:pt>
                <c:pt idx="1844">
                  <c:v>0.46899999999999997</c:v>
                </c:pt>
                <c:pt idx="1845">
                  <c:v>0.46300000000000002</c:v>
                </c:pt>
                <c:pt idx="1846">
                  <c:v>0.42199999999999999</c:v>
                </c:pt>
                <c:pt idx="1847">
                  <c:v>0.432</c:v>
                </c:pt>
                <c:pt idx="1848">
                  <c:v>0.46899999999999997</c:v>
                </c:pt>
                <c:pt idx="1849">
                  <c:v>0.47699999999999998</c:v>
                </c:pt>
                <c:pt idx="1850">
                  <c:v>0.49099999999999999</c:v>
                </c:pt>
                <c:pt idx="1851">
                  <c:v>0.49099999999999999</c:v>
                </c:pt>
                <c:pt idx="1852">
                  <c:v>0.48199999999999998</c:v>
                </c:pt>
                <c:pt idx="1853">
                  <c:v>0.46800000000000003</c:v>
                </c:pt>
                <c:pt idx="1854">
                  <c:v>0.47799999999999998</c:v>
                </c:pt>
                <c:pt idx="1855">
                  <c:v>0.501</c:v>
                </c:pt>
                <c:pt idx="1856">
                  <c:v>0.49</c:v>
                </c:pt>
                <c:pt idx="1857">
                  <c:v>0.435</c:v>
                </c:pt>
                <c:pt idx="1858">
                  <c:v>0.442</c:v>
                </c:pt>
                <c:pt idx="1859">
                  <c:v>0.39400000000000002</c:v>
                </c:pt>
                <c:pt idx="1860">
                  <c:v>0.38100000000000001</c:v>
                </c:pt>
                <c:pt idx="1861">
                  <c:v>0.40400000000000003</c:v>
                </c:pt>
                <c:pt idx="1862">
                  <c:v>0.443</c:v>
                </c:pt>
                <c:pt idx="1863">
                  <c:v>0.42099999999999999</c:v>
                </c:pt>
                <c:pt idx="1864">
                  <c:v>0.372</c:v>
                </c:pt>
                <c:pt idx="1865">
                  <c:v>0.35799999999999998</c:v>
                </c:pt>
                <c:pt idx="1866">
                  <c:v>0.34599999999999997</c:v>
                </c:pt>
                <c:pt idx="1867">
                  <c:v>0.33500000000000002</c:v>
                </c:pt>
                <c:pt idx="1868">
                  <c:v>0.34799999999999998</c:v>
                </c:pt>
                <c:pt idx="1869">
                  <c:v>0.32600000000000001</c:v>
                </c:pt>
                <c:pt idx="1870">
                  <c:v>0.30199999999999999</c:v>
                </c:pt>
                <c:pt idx="1871">
                  <c:v>0.25</c:v>
                </c:pt>
                <c:pt idx="1872">
                  <c:v>0.253</c:v>
                </c:pt>
                <c:pt idx="1873">
                  <c:v>0.315</c:v>
                </c:pt>
                <c:pt idx="1874">
                  <c:v>0.28799999999999998</c:v>
                </c:pt>
                <c:pt idx="1875">
                  <c:v>0.376</c:v>
                </c:pt>
                <c:pt idx="1876">
                  <c:v>0.376</c:v>
                </c:pt>
                <c:pt idx="1877">
                  <c:v>0.35199999999999998</c:v>
                </c:pt>
                <c:pt idx="1878">
                  <c:v>0.379</c:v>
                </c:pt>
                <c:pt idx="1879">
                  <c:v>0.38100000000000001</c:v>
                </c:pt>
                <c:pt idx="1880">
                  <c:v>0.40500000000000003</c:v>
                </c:pt>
                <c:pt idx="1881">
                  <c:v>0.41899999999999998</c:v>
                </c:pt>
                <c:pt idx="1882">
                  <c:v>0.437</c:v>
                </c:pt>
                <c:pt idx="1883">
                  <c:v>0.41</c:v>
                </c:pt>
                <c:pt idx="1884">
                  <c:v>0.44600000000000001</c:v>
                </c:pt>
                <c:pt idx="1885">
                  <c:v>0.42399999999999999</c:v>
                </c:pt>
                <c:pt idx="1886">
                  <c:v>0.434</c:v>
                </c:pt>
                <c:pt idx="1887">
                  <c:v>0.42399999999999999</c:v>
                </c:pt>
                <c:pt idx="1888">
                  <c:v>0.44400000000000001</c:v>
                </c:pt>
                <c:pt idx="1889">
                  <c:v>0.49099999999999999</c:v>
                </c:pt>
                <c:pt idx="1890">
                  <c:v>0.45100000000000001</c:v>
                </c:pt>
                <c:pt idx="1891">
                  <c:v>0.39900000000000002</c:v>
                </c:pt>
                <c:pt idx="1892">
                  <c:v>0.38900000000000001</c:v>
                </c:pt>
                <c:pt idx="1893">
                  <c:v>0.42599999999999999</c:v>
                </c:pt>
                <c:pt idx="1894">
                  <c:v>0.439</c:v>
                </c:pt>
                <c:pt idx="1895">
                  <c:v>0.45300000000000001</c:v>
                </c:pt>
                <c:pt idx="1896">
                  <c:v>0.47</c:v>
                </c:pt>
                <c:pt idx="1897">
                  <c:v>0.44900000000000001</c:v>
                </c:pt>
                <c:pt idx="1898">
                  <c:v>0.48299999999999998</c:v>
                </c:pt>
                <c:pt idx="1899">
                  <c:v>0.46300000000000002</c:v>
                </c:pt>
                <c:pt idx="1900">
                  <c:v>0.48</c:v>
                </c:pt>
                <c:pt idx="1901">
                  <c:v>0.47099999999999997</c:v>
                </c:pt>
                <c:pt idx="1902">
                  <c:v>0.5</c:v>
                </c:pt>
                <c:pt idx="1903">
                  <c:v>0.49</c:v>
                </c:pt>
                <c:pt idx="1904">
                  <c:v>0.52600000000000002</c:v>
                </c:pt>
                <c:pt idx="1905">
                  <c:v>0.48099999999999998</c:v>
                </c:pt>
                <c:pt idx="1906">
                  <c:v>0.48199999999999998</c:v>
                </c:pt>
                <c:pt idx="1907">
                  <c:v>0.52200000000000002</c:v>
                </c:pt>
                <c:pt idx="1908">
                  <c:v>0.497</c:v>
                </c:pt>
                <c:pt idx="1909">
                  <c:v>0.49299999999999999</c:v>
                </c:pt>
                <c:pt idx="1910">
                  <c:v>0.53800000000000003</c:v>
                </c:pt>
                <c:pt idx="1911">
                  <c:v>0.56200000000000006</c:v>
                </c:pt>
                <c:pt idx="1912">
                  <c:v>0.57399999999999995</c:v>
                </c:pt>
                <c:pt idx="1913">
                  <c:v>0.56100000000000005</c:v>
                </c:pt>
                <c:pt idx="1914">
                  <c:v>0.61</c:v>
                </c:pt>
                <c:pt idx="1915">
                  <c:v>0.64600000000000002</c:v>
                </c:pt>
                <c:pt idx="1916">
                  <c:v>0.64</c:v>
                </c:pt>
                <c:pt idx="1917">
                  <c:v>0.60099999999999998</c:v>
                </c:pt>
                <c:pt idx="1918">
                  <c:v>0.56200000000000006</c:v>
                </c:pt>
                <c:pt idx="1919">
                  <c:v>0.59</c:v>
                </c:pt>
                <c:pt idx="1920">
                  <c:v>0.59</c:v>
                </c:pt>
                <c:pt idx="1921">
                  <c:v>0.57099999999999995</c:v>
                </c:pt>
                <c:pt idx="1922">
                  <c:v>0.53</c:v>
                </c:pt>
                <c:pt idx="1923">
                  <c:v>0.48099999999999998</c:v>
                </c:pt>
                <c:pt idx="1924">
                  <c:v>0.48599999999999999</c:v>
                </c:pt>
                <c:pt idx="1925">
                  <c:v>0.42199999999999999</c:v>
                </c:pt>
                <c:pt idx="1926">
                  <c:v>0.439</c:v>
                </c:pt>
                <c:pt idx="1927">
                  <c:v>0.45</c:v>
                </c:pt>
                <c:pt idx="1928">
                  <c:v>0.497</c:v>
                </c:pt>
                <c:pt idx="1929">
                  <c:v>0.49199999999999999</c:v>
                </c:pt>
                <c:pt idx="1930">
                  <c:v>0.51100000000000001</c:v>
                </c:pt>
                <c:pt idx="1931">
                  <c:v>0.47499999999999998</c:v>
                </c:pt>
                <c:pt idx="1932">
                  <c:v>0.48199999999999998</c:v>
                </c:pt>
                <c:pt idx="1933">
                  <c:v>0.41</c:v>
                </c:pt>
                <c:pt idx="1934">
                  <c:v>0.437</c:v>
                </c:pt>
                <c:pt idx="1935">
                  <c:v>0.44700000000000001</c:v>
                </c:pt>
                <c:pt idx="1936">
                  <c:v>0.40799999999999997</c:v>
                </c:pt>
                <c:pt idx="1937">
                  <c:v>0.39800000000000002</c:v>
                </c:pt>
                <c:pt idx="1938">
                  <c:v>0.38700000000000001</c:v>
                </c:pt>
                <c:pt idx="1939">
                  <c:v>0.35799999999999998</c:v>
                </c:pt>
                <c:pt idx="1940">
                  <c:v>0.379</c:v>
                </c:pt>
                <c:pt idx="1941">
                  <c:v>0.35299999999999998</c:v>
                </c:pt>
                <c:pt idx="1942">
                  <c:v>0.38800000000000001</c:v>
                </c:pt>
                <c:pt idx="1943">
                  <c:v>0.38400000000000001</c:v>
                </c:pt>
                <c:pt idx="1944">
                  <c:v>0.38900000000000001</c:v>
                </c:pt>
                <c:pt idx="1945">
                  <c:v>0.43099999999999999</c:v>
                </c:pt>
                <c:pt idx="1946">
                  <c:v>0.43099999999999999</c:v>
                </c:pt>
                <c:pt idx="1947">
                  <c:v>0.44</c:v>
                </c:pt>
                <c:pt idx="1948">
                  <c:v>0.434</c:v>
                </c:pt>
                <c:pt idx="1949">
                  <c:v>0.439</c:v>
                </c:pt>
                <c:pt idx="1950">
                  <c:v>0.42</c:v>
                </c:pt>
                <c:pt idx="1951">
                  <c:v>0.39900000000000002</c:v>
                </c:pt>
                <c:pt idx="1952">
                  <c:v>0.41199999999999998</c:v>
                </c:pt>
                <c:pt idx="1953">
                  <c:v>0.42499999999999999</c:v>
                </c:pt>
                <c:pt idx="1954">
                  <c:v>0.5</c:v>
                </c:pt>
                <c:pt idx="1955">
                  <c:v>0.50700000000000001</c:v>
                </c:pt>
                <c:pt idx="1956">
                  <c:v>0.47399999999999998</c:v>
                </c:pt>
                <c:pt idx="1957">
                  <c:v>0.49399999999999999</c:v>
                </c:pt>
                <c:pt idx="1958">
                  <c:v>0.54200000000000004</c:v>
                </c:pt>
                <c:pt idx="1959">
                  <c:v>0.54400000000000004</c:v>
                </c:pt>
                <c:pt idx="1960">
                  <c:v>0.52700000000000002</c:v>
                </c:pt>
                <c:pt idx="1961">
                  <c:v>0.48599999999999999</c:v>
                </c:pt>
                <c:pt idx="1962">
                  <c:v>0.49199999999999999</c:v>
                </c:pt>
                <c:pt idx="1963">
                  <c:v>0.443</c:v>
                </c:pt>
                <c:pt idx="1964">
                  <c:v>0.4</c:v>
                </c:pt>
                <c:pt idx="1965">
                  <c:v>0.40200000000000002</c:v>
                </c:pt>
                <c:pt idx="1966">
                  <c:v>0.37</c:v>
                </c:pt>
                <c:pt idx="1967">
                  <c:v>0.38200000000000001</c:v>
                </c:pt>
                <c:pt idx="1968">
                  <c:v>0.39400000000000002</c:v>
                </c:pt>
                <c:pt idx="1969">
                  <c:v>0.42</c:v>
                </c:pt>
                <c:pt idx="1970">
                  <c:v>0.39600000000000002</c:v>
                </c:pt>
                <c:pt idx="1971">
                  <c:v>0.39900000000000002</c:v>
                </c:pt>
                <c:pt idx="1972">
                  <c:v>0.373</c:v>
                </c:pt>
                <c:pt idx="1973">
                  <c:v>0.36399999999999999</c:v>
                </c:pt>
                <c:pt idx="1974">
                  <c:v>0.315</c:v>
                </c:pt>
                <c:pt idx="1975">
                  <c:v>0.36099999999999999</c:v>
                </c:pt>
                <c:pt idx="1976">
                  <c:v>0.314</c:v>
                </c:pt>
                <c:pt idx="1977">
                  <c:v>0.314</c:v>
                </c:pt>
                <c:pt idx="1978">
                  <c:v>0.33300000000000002</c:v>
                </c:pt>
                <c:pt idx="1979">
                  <c:v>0.39900000000000002</c:v>
                </c:pt>
                <c:pt idx="1980">
                  <c:v>0.44</c:v>
                </c:pt>
                <c:pt idx="1981">
                  <c:v>0.44</c:v>
                </c:pt>
                <c:pt idx="1982">
                  <c:v>0.39100000000000001</c:v>
                </c:pt>
                <c:pt idx="1983">
                  <c:v>0.373</c:v>
                </c:pt>
                <c:pt idx="1984">
                  <c:v>0.40699999999999997</c:v>
                </c:pt>
                <c:pt idx="1985">
                  <c:v>0.36199999999999999</c:v>
                </c:pt>
                <c:pt idx="1986">
                  <c:v>0.40899999999999997</c:v>
                </c:pt>
                <c:pt idx="1987">
                  <c:v>0.45300000000000001</c:v>
                </c:pt>
                <c:pt idx="1988">
                  <c:v>0.40899999999999997</c:v>
                </c:pt>
                <c:pt idx="1989">
                  <c:v>0.45200000000000001</c:v>
                </c:pt>
                <c:pt idx="1990">
                  <c:v>0.40899999999999997</c:v>
                </c:pt>
                <c:pt idx="1991">
                  <c:v>0.439</c:v>
                </c:pt>
                <c:pt idx="1992">
                  <c:v>0.45600000000000002</c:v>
                </c:pt>
                <c:pt idx="1993">
                  <c:v>0.43099999999999999</c:v>
                </c:pt>
                <c:pt idx="1994">
                  <c:v>0.436</c:v>
                </c:pt>
                <c:pt idx="1995">
                  <c:v>0.45600000000000002</c:v>
                </c:pt>
                <c:pt idx="1996">
                  <c:v>0.48599999999999999</c:v>
                </c:pt>
                <c:pt idx="1997">
                  <c:v>0.51200000000000001</c:v>
                </c:pt>
                <c:pt idx="1998">
                  <c:v>0.48399999999999999</c:v>
                </c:pt>
                <c:pt idx="1999">
                  <c:v>0.61299999999999999</c:v>
                </c:pt>
                <c:pt idx="2000">
                  <c:v>0.61199999999999999</c:v>
                </c:pt>
                <c:pt idx="2001">
                  <c:v>0.56200000000000006</c:v>
                </c:pt>
                <c:pt idx="2002">
                  <c:v>0.60099999999999998</c:v>
                </c:pt>
                <c:pt idx="2003">
                  <c:v>0.55500000000000005</c:v>
                </c:pt>
                <c:pt idx="2004">
                  <c:v>0.49099999999999999</c:v>
                </c:pt>
                <c:pt idx="2005">
                  <c:v>0.47199999999999998</c:v>
                </c:pt>
                <c:pt idx="2006">
                  <c:v>0.44400000000000001</c:v>
                </c:pt>
                <c:pt idx="2007">
                  <c:v>0.46400000000000002</c:v>
                </c:pt>
                <c:pt idx="2008">
                  <c:v>0.43</c:v>
                </c:pt>
                <c:pt idx="2009">
                  <c:v>0.38900000000000001</c:v>
                </c:pt>
                <c:pt idx="2010">
                  <c:v>0.34599999999999997</c:v>
                </c:pt>
                <c:pt idx="2011">
                  <c:v>0.30599999999999999</c:v>
                </c:pt>
                <c:pt idx="2012">
                  <c:v>0.34</c:v>
                </c:pt>
                <c:pt idx="2013">
                  <c:v>0.374</c:v>
                </c:pt>
                <c:pt idx="2014">
                  <c:v>0.4</c:v>
                </c:pt>
                <c:pt idx="2015">
                  <c:v>0.40600000000000003</c:v>
                </c:pt>
                <c:pt idx="2016">
                  <c:v>0.40600000000000003</c:v>
                </c:pt>
                <c:pt idx="2017">
                  <c:v>0.42699999999999999</c:v>
                </c:pt>
                <c:pt idx="2018">
                  <c:v>0.44</c:v>
                </c:pt>
                <c:pt idx="2019">
                  <c:v>0.45200000000000001</c:v>
                </c:pt>
                <c:pt idx="2020">
                  <c:v>0.42499999999999999</c:v>
                </c:pt>
                <c:pt idx="2021">
                  <c:v>0.39600000000000002</c:v>
                </c:pt>
                <c:pt idx="2022">
                  <c:v>0.39800000000000002</c:v>
                </c:pt>
                <c:pt idx="2023">
                  <c:v>0.375</c:v>
                </c:pt>
                <c:pt idx="2024">
                  <c:v>0.40500000000000003</c:v>
                </c:pt>
                <c:pt idx="2025">
                  <c:v>0.39800000000000002</c:v>
                </c:pt>
                <c:pt idx="2026">
                  <c:v>0.42499999999999999</c:v>
                </c:pt>
                <c:pt idx="2027">
                  <c:v>0.42199999999999999</c:v>
                </c:pt>
                <c:pt idx="2028">
                  <c:v>0.43099999999999999</c:v>
                </c:pt>
                <c:pt idx="2029">
                  <c:v>0.41</c:v>
                </c:pt>
                <c:pt idx="2030">
                  <c:v>0.42499999999999999</c:v>
                </c:pt>
                <c:pt idx="2031">
                  <c:v>0.41499999999999998</c:v>
                </c:pt>
                <c:pt idx="2032">
                  <c:v>0.443</c:v>
                </c:pt>
                <c:pt idx="2033">
                  <c:v>0.45</c:v>
                </c:pt>
                <c:pt idx="2034">
                  <c:v>0.41699999999999998</c:v>
                </c:pt>
                <c:pt idx="2035">
                  <c:v>0.38500000000000001</c:v>
                </c:pt>
                <c:pt idx="2036">
                  <c:v>0.435</c:v>
                </c:pt>
                <c:pt idx="2037">
                  <c:v>0.41399999999999998</c:v>
                </c:pt>
                <c:pt idx="2038">
                  <c:v>0.41399999999999998</c:v>
                </c:pt>
                <c:pt idx="2039">
                  <c:v>0.33800000000000002</c:v>
                </c:pt>
                <c:pt idx="2040">
                  <c:v>0.39900000000000002</c:v>
                </c:pt>
                <c:pt idx="2041">
                  <c:v>0.39900000000000002</c:v>
                </c:pt>
                <c:pt idx="2042">
                  <c:v>0.371</c:v>
                </c:pt>
                <c:pt idx="2043">
                  <c:v>0.38</c:v>
                </c:pt>
                <c:pt idx="2044">
                  <c:v>0.40699999999999997</c:v>
                </c:pt>
                <c:pt idx="2045">
                  <c:v>0.41</c:v>
                </c:pt>
                <c:pt idx="2046">
                  <c:v>0.44600000000000001</c:v>
                </c:pt>
                <c:pt idx="2047">
                  <c:v>0.38800000000000001</c:v>
                </c:pt>
                <c:pt idx="2048">
                  <c:v>0.44900000000000001</c:v>
                </c:pt>
                <c:pt idx="2049">
                  <c:v>0.46400000000000002</c:v>
                </c:pt>
                <c:pt idx="2050">
                  <c:v>0.48599999999999999</c:v>
                </c:pt>
                <c:pt idx="2051">
                  <c:v>0.48599999999999999</c:v>
                </c:pt>
                <c:pt idx="2052">
                  <c:v>0.53</c:v>
                </c:pt>
                <c:pt idx="2053">
                  <c:v>0.54500000000000004</c:v>
                </c:pt>
                <c:pt idx="2054">
                  <c:v>0.56699999999999995</c:v>
                </c:pt>
                <c:pt idx="2055">
                  <c:v>0.56399999999999995</c:v>
                </c:pt>
                <c:pt idx="2056">
                  <c:v>0.56399999999999995</c:v>
                </c:pt>
                <c:pt idx="2057">
                  <c:v>0.58799999999999997</c:v>
                </c:pt>
                <c:pt idx="2058">
                  <c:v>0.61899999999999999</c:v>
                </c:pt>
                <c:pt idx="2059">
                  <c:v>0.64100000000000001</c:v>
                </c:pt>
                <c:pt idx="2060">
                  <c:v>0.67100000000000004</c:v>
                </c:pt>
                <c:pt idx="2061">
                  <c:v>0.72199999999999998</c:v>
                </c:pt>
                <c:pt idx="2062">
                  <c:v>0.70099999999999996</c:v>
                </c:pt>
                <c:pt idx="2063">
                  <c:v>0.61199999999999999</c:v>
                </c:pt>
                <c:pt idx="2064">
                  <c:v>0.496</c:v>
                </c:pt>
                <c:pt idx="2065">
                  <c:v>0.48299999999999998</c:v>
                </c:pt>
                <c:pt idx="2066">
                  <c:v>0.48199999999999998</c:v>
                </c:pt>
                <c:pt idx="2067">
                  <c:v>0.434</c:v>
                </c:pt>
                <c:pt idx="2068">
                  <c:v>0.40100000000000002</c:v>
                </c:pt>
                <c:pt idx="2069">
                  <c:v>0.42399999999999999</c:v>
                </c:pt>
                <c:pt idx="2070">
                  <c:v>0.46</c:v>
                </c:pt>
                <c:pt idx="2071">
                  <c:v>0.47</c:v>
                </c:pt>
                <c:pt idx="2072">
                  <c:v>0.47799999999999998</c:v>
                </c:pt>
                <c:pt idx="2073">
                  <c:v>0.439</c:v>
                </c:pt>
                <c:pt idx="2074">
                  <c:v>0.42</c:v>
                </c:pt>
                <c:pt idx="2075">
                  <c:v>0.45300000000000001</c:v>
                </c:pt>
                <c:pt idx="2076">
                  <c:v>0.45</c:v>
                </c:pt>
                <c:pt idx="2077">
                  <c:v>0.43</c:v>
                </c:pt>
                <c:pt idx="2078">
                  <c:v>0.43</c:v>
                </c:pt>
                <c:pt idx="2079">
                  <c:v>0.38800000000000001</c:v>
                </c:pt>
                <c:pt idx="2080">
                  <c:v>0.38900000000000001</c:v>
                </c:pt>
                <c:pt idx="2081">
                  <c:v>0.43</c:v>
                </c:pt>
                <c:pt idx="2082">
                  <c:v>0.40100000000000002</c:v>
                </c:pt>
                <c:pt idx="2083">
                  <c:v>0.36799999999999999</c:v>
                </c:pt>
                <c:pt idx="2084">
                  <c:v>0.39900000000000002</c:v>
                </c:pt>
                <c:pt idx="2085">
                  <c:v>0.40500000000000003</c:v>
                </c:pt>
                <c:pt idx="2086">
                  <c:v>0.24399999999999999</c:v>
                </c:pt>
                <c:pt idx="2087">
                  <c:v>0.24399999999999999</c:v>
                </c:pt>
                <c:pt idx="2088">
                  <c:v>0.22500000000000001</c:v>
                </c:pt>
                <c:pt idx="2089">
                  <c:v>0.128</c:v>
                </c:pt>
                <c:pt idx="2090">
                  <c:v>0.106</c:v>
                </c:pt>
                <c:pt idx="2091">
                  <c:v>9.7000000000000003E-2</c:v>
                </c:pt>
                <c:pt idx="2092">
                  <c:v>0.125</c:v>
                </c:pt>
                <c:pt idx="2093">
                  <c:v>9.2999999999999999E-2</c:v>
                </c:pt>
                <c:pt idx="2094">
                  <c:v>9.0999999999999998E-2</c:v>
                </c:pt>
                <c:pt idx="2095">
                  <c:v>9.9000000000000005E-2</c:v>
                </c:pt>
                <c:pt idx="2096">
                  <c:v>0.11600000000000001</c:v>
                </c:pt>
                <c:pt idx="2097">
                  <c:v>0.127</c:v>
                </c:pt>
                <c:pt idx="2098">
                  <c:v>6.4000000000000001E-2</c:v>
                </c:pt>
                <c:pt idx="2099">
                  <c:v>5.8000000000000003E-2</c:v>
                </c:pt>
                <c:pt idx="2100">
                  <c:v>8.1000000000000003E-2</c:v>
                </c:pt>
                <c:pt idx="2101">
                  <c:v>0.06</c:v>
                </c:pt>
                <c:pt idx="2102">
                  <c:v>7.1999999999999995E-2</c:v>
                </c:pt>
                <c:pt idx="2103">
                  <c:v>5.7000000000000002E-2</c:v>
                </c:pt>
                <c:pt idx="2104">
                  <c:v>6.5000000000000002E-2</c:v>
                </c:pt>
                <c:pt idx="2105">
                  <c:v>7.8E-2</c:v>
                </c:pt>
                <c:pt idx="2106">
                  <c:v>0.13600000000000001</c:v>
                </c:pt>
                <c:pt idx="2107">
                  <c:v>0.114</c:v>
                </c:pt>
                <c:pt idx="2108">
                  <c:v>0.129</c:v>
                </c:pt>
                <c:pt idx="2109">
                  <c:v>0.127</c:v>
                </c:pt>
                <c:pt idx="2110">
                  <c:v>8.6999999999999994E-2</c:v>
                </c:pt>
                <c:pt idx="2111">
                  <c:v>8.6999999999999994E-2</c:v>
                </c:pt>
                <c:pt idx="2112">
                  <c:v>0.09</c:v>
                </c:pt>
                <c:pt idx="2113">
                  <c:v>7.5999999999999998E-2</c:v>
                </c:pt>
                <c:pt idx="2114">
                  <c:v>7.8E-2</c:v>
                </c:pt>
                <c:pt idx="2115">
                  <c:v>-1E-3</c:v>
                </c:pt>
                <c:pt idx="2116">
                  <c:v>-4.0000000000000001E-3</c:v>
                </c:pt>
                <c:pt idx="2117">
                  <c:v>5.0000000000000001E-3</c:v>
                </c:pt>
                <c:pt idx="2118">
                  <c:v>1E-3</c:v>
                </c:pt>
                <c:pt idx="2119">
                  <c:v>2.4E-2</c:v>
                </c:pt>
                <c:pt idx="2120">
                  <c:v>3.3000000000000002E-2</c:v>
                </c:pt>
                <c:pt idx="2121">
                  <c:v>4.2999999999999997E-2</c:v>
                </c:pt>
                <c:pt idx="2122">
                  <c:v>6.2E-2</c:v>
                </c:pt>
                <c:pt idx="2123">
                  <c:v>0.13500000000000001</c:v>
                </c:pt>
                <c:pt idx="2124">
                  <c:v>0.19400000000000001</c:v>
                </c:pt>
                <c:pt idx="2125">
                  <c:v>0.19800000000000001</c:v>
                </c:pt>
                <c:pt idx="2126">
                  <c:v>0.17799999999999999</c:v>
                </c:pt>
                <c:pt idx="2127">
                  <c:v>0.19800000000000001</c:v>
                </c:pt>
                <c:pt idx="2128">
                  <c:v>0.20799999999999999</c:v>
                </c:pt>
                <c:pt idx="2129">
                  <c:v>0.23400000000000001</c:v>
                </c:pt>
                <c:pt idx="2130">
                  <c:v>0.16300000000000001</c:v>
                </c:pt>
                <c:pt idx="2131">
                  <c:v>0.17</c:v>
                </c:pt>
                <c:pt idx="2132">
                  <c:v>7.0999999999999994E-2</c:v>
                </c:pt>
                <c:pt idx="2133">
                  <c:v>0.03</c:v>
                </c:pt>
                <c:pt idx="2134">
                  <c:v>4.4999999999999998E-2</c:v>
                </c:pt>
                <c:pt idx="2135">
                  <c:v>0.13</c:v>
                </c:pt>
                <c:pt idx="2136">
                  <c:v>0.13</c:v>
                </c:pt>
                <c:pt idx="2137">
                  <c:v>0.107</c:v>
                </c:pt>
                <c:pt idx="2138">
                  <c:v>0.115</c:v>
                </c:pt>
                <c:pt idx="2139">
                  <c:v>0.111</c:v>
                </c:pt>
                <c:pt idx="2140">
                  <c:v>0.1</c:v>
                </c:pt>
                <c:pt idx="2141">
                  <c:v>0.14699999999999999</c:v>
                </c:pt>
                <c:pt idx="2142">
                  <c:v>8.1000000000000003E-2</c:v>
                </c:pt>
                <c:pt idx="2143">
                  <c:v>7.6999999999999999E-2</c:v>
                </c:pt>
                <c:pt idx="2144">
                  <c:v>5.8000000000000003E-2</c:v>
                </c:pt>
                <c:pt idx="2145">
                  <c:v>6.9000000000000006E-2</c:v>
                </c:pt>
                <c:pt idx="2146">
                  <c:v>9.2999999999999999E-2</c:v>
                </c:pt>
                <c:pt idx="2147">
                  <c:v>5.3999999999999999E-2</c:v>
                </c:pt>
                <c:pt idx="2148">
                  <c:v>7.6999999999999999E-2</c:v>
                </c:pt>
                <c:pt idx="2149">
                  <c:v>0.123</c:v>
                </c:pt>
                <c:pt idx="2150">
                  <c:v>0.10100000000000001</c:v>
                </c:pt>
                <c:pt idx="2151">
                  <c:v>6.3E-2</c:v>
                </c:pt>
                <c:pt idx="2152">
                  <c:v>9.5000000000000001E-2</c:v>
                </c:pt>
                <c:pt idx="2153">
                  <c:v>5.7000000000000002E-2</c:v>
                </c:pt>
                <c:pt idx="2154">
                  <c:v>6.5000000000000002E-2</c:v>
                </c:pt>
                <c:pt idx="2155">
                  <c:v>8.7999999999999995E-2</c:v>
                </c:pt>
                <c:pt idx="2156">
                  <c:v>8.8999999999999996E-2</c:v>
                </c:pt>
                <c:pt idx="2157">
                  <c:v>3.5000000000000003E-2</c:v>
                </c:pt>
                <c:pt idx="2158">
                  <c:v>0.09</c:v>
                </c:pt>
                <c:pt idx="2159">
                  <c:v>0.121</c:v>
                </c:pt>
                <c:pt idx="2160">
                  <c:v>6.2E-2</c:v>
                </c:pt>
                <c:pt idx="2161">
                  <c:v>-3.2000000000000001E-2</c:v>
                </c:pt>
                <c:pt idx="2162">
                  <c:v>-7.0000000000000001E-3</c:v>
                </c:pt>
                <c:pt idx="2163">
                  <c:v>1.4E-2</c:v>
                </c:pt>
                <c:pt idx="2164">
                  <c:v>6.7000000000000004E-2</c:v>
                </c:pt>
                <c:pt idx="2165">
                  <c:v>8.3000000000000004E-2</c:v>
                </c:pt>
                <c:pt idx="2166">
                  <c:v>6.0999999999999999E-2</c:v>
                </c:pt>
                <c:pt idx="2167">
                  <c:v>9.7000000000000003E-2</c:v>
                </c:pt>
                <c:pt idx="2168">
                  <c:v>9.9000000000000005E-2</c:v>
                </c:pt>
                <c:pt idx="2169">
                  <c:v>8.4000000000000005E-2</c:v>
                </c:pt>
                <c:pt idx="2170">
                  <c:v>7.9000000000000001E-2</c:v>
                </c:pt>
                <c:pt idx="2171">
                  <c:v>6.3E-2</c:v>
                </c:pt>
                <c:pt idx="2172">
                  <c:v>5.7000000000000002E-2</c:v>
                </c:pt>
                <c:pt idx="2173">
                  <c:v>7.0000000000000001E-3</c:v>
                </c:pt>
                <c:pt idx="2174">
                  <c:v>2.3E-2</c:v>
                </c:pt>
                <c:pt idx="2175">
                  <c:v>-1.7999999999999999E-2</c:v>
                </c:pt>
                <c:pt idx="2176">
                  <c:v>-8.5999999999999993E-2</c:v>
                </c:pt>
                <c:pt idx="2177">
                  <c:v>-6.4000000000000001E-2</c:v>
                </c:pt>
                <c:pt idx="2178">
                  <c:v>-8.5999999999999993E-2</c:v>
                </c:pt>
                <c:pt idx="2179">
                  <c:v>-4.8000000000000001E-2</c:v>
                </c:pt>
                <c:pt idx="2180">
                  <c:v>4.0000000000000001E-3</c:v>
                </c:pt>
                <c:pt idx="2181">
                  <c:v>4.0000000000000001E-3</c:v>
                </c:pt>
                <c:pt idx="2182">
                  <c:v>4.9000000000000002E-2</c:v>
                </c:pt>
                <c:pt idx="2183">
                  <c:v>9.0999999999999998E-2</c:v>
                </c:pt>
                <c:pt idx="2184">
                  <c:v>7.4999999999999997E-2</c:v>
                </c:pt>
                <c:pt idx="2185">
                  <c:v>8.4000000000000005E-2</c:v>
                </c:pt>
                <c:pt idx="2186">
                  <c:v>0.113</c:v>
                </c:pt>
                <c:pt idx="2187">
                  <c:v>0.20599999999999999</c:v>
                </c:pt>
                <c:pt idx="2188">
                  <c:v>0.215</c:v>
                </c:pt>
                <c:pt idx="2189">
                  <c:v>0.26</c:v>
                </c:pt>
                <c:pt idx="2190">
                  <c:v>0.224</c:v>
                </c:pt>
                <c:pt idx="2191">
                  <c:v>0.17</c:v>
                </c:pt>
                <c:pt idx="2192">
                  <c:v>0.13200000000000001</c:v>
                </c:pt>
                <c:pt idx="2193">
                  <c:v>8.5999999999999993E-2</c:v>
                </c:pt>
                <c:pt idx="2194">
                  <c:v>0.14499999999999999</c:v>
                </c:pt>
                <c:pt idx="2195">
                  <c:v>0.115</c:v>
                </c:pt>
                <c:pt idx="2196">
                  <c:v>9.6000000000000002E-2</c:v>
                </c:pt>
                <c:pt idx="2197">
                  <c:v>0.105</c:v>
                </c:pt>
                <c:pt idx="2198">
                  <c:v>0.10100000000000001</c:v>
                </c:pt>
                <c:pt idx="2199">
                  <c:v>0.129</c:v>
                </c:pt>
                <c:pt idx="2200">
                  <c:v>0.16600000000000001</c:v>
                </c:pt>
                <c:pt idx="2201">
                  <c:v>0.16900000000000001</c:v>
                </c:pt>
                <c:pt idx="2202">
                  <c:v>0.24</c:v>
                </c:pt>
                <c:pt idx="2203">
                  <c:v>0.28199999999999997</c:v>
                </c:pt>
                <c:pt idx="2204">
                  <c:v>0.28999999999999998</c:v>
                </c:pt>
                <c:pt idx="2205">
                  <c:v>0.255</c:v>
                </c:pt>
                <c:pt idx="2206">
                  <c:v>0.255</c:v>
                </c:pt>
                <c:pt idx="2207">
                  <c:v>0.23599999999999999</c:v>
                </c:pt>
                <c:pt idx="2208">
                  <c:v>0.27300000000000002</c:v>
                </c:pt>
                <c:pt idx="2209">
                  <c:v>0.28899999999999998</c:v>
                </c:pt>
                <c:pt idx="2210">
                  <c:v>0.27300000000000002</c:v>
                </c:pt>
                <c:pt idx="2211">
                  <c:v>0.26500000000000001</c:v>
                </c:pt>
                <c:pt idx="2212">
                  <c:v>0.25600000000000001</c:v>
                </c:pt>
                <c:pt idx="2213">
                  <c:v>0.23200000000000001</c:v>
                </c:pt>
                <c:pt idx="2214">
                  <c:v>0.14399999999999999</c:v>
                </c:pt>
                <c:pt idx="2215">
                  <c:v>0.14199999999999999</c:v>
                </c:pt>
                <c:pt idx="2216">
                  <c:v>0.106</c:v>
                </c:pt>
                <c:pt idx="2217">
                  <c:v>0.13500000000000001</c:v>
                </c:pt>
                <c:pt idx="2218">
                  <c:v>0.124</c:v>
                </c:pt>
                <c:pt idx="2219">
                  <c:v>0.128</c:v>
                </c:pt>
                <c:pt idx="2220">
                  <c:v>0.155</c:v>
                </c:pt>
                <c:pt idx="2221">
                  <c:v>0.16700000000000001</c:v>
                </c:pt>
                <c:pt idx="2222">
                  <c:v>0.113</c:v>
                </c:pt>
                <c:pt idx="2223">
                  <c:v>0.14899999999999999</c:v>
                </c:pt>
                <c:pt idx="2224">
                  <c:v>0.154</c:v>
                </c:pt>
                <c:pt idx="2225">
                  <c:v>0.192</c:v>
                </c:pt>
                <c:pt idx="2226">
                  <c:v>0.13500000000000001</c:v>
                </c:pt>
                <c:pt idx="2227">
                  <c:v>0.109</c:v>
                </c:pt>
                <c:pt idx="2228">
                  <c:v>0.17299999999999999</c:v>
                </c:pt>
                <c:pt idx="2229">
                  <c:v>0.254</c:v>
                </c:pt>
                <c:pt idx="2230">
                  <c:v>0.26200000000000001</c:v>
                </c:pt>
                <c:pt idx="2231">
                  <c:v>0.24399999999999999</c:v>
                </c:pt>
                <c:pt idx="2232">
                  <c:v>0.22500000000000001</c:v>
                </c:pt>
                <c:pt idx="2233">
                  <c:v>0.222</c:v>
                </c:pt>
                <c:pt idx="2234">
                  <c:v>0.17199999999999999</c:v>
                </c:pt>
                <c:pt idx="2235">
                  <c:v>0.2</c:v>
                </c:pt>
                <c:pt idx="2236">
                  <c:v>0.19700000000000001</c:v>
                </c:pt>
                <c:pt idx="2237">
                  <c:v>0.23300000000000001</c:v>
                </c:pt>
                <c:pt idx="2238">
                  <c:v>0.20300000000000001</c:v>
                </c:pt>
                <c:pt idx="2239">
                  <c:v>0.20799999999999999</c:v>
                </c:pt>
                <c:pt idx="2240">
                  <c:v>0.154</c:v>
                </c:pt>
                <c:pt idx="2241">
                  <c:v>0.126</c:v>
                </c:pt>
                <c:pt idx="2242">
                  <c:v>0.107</c:v>
                </c:pt>
                <c:pt idx="2243">
                  <c:v>0.154</c:v>
                </c:pt>
                <c:pt idx="2244">
                  <c:v>0.13</c:v>
                </c:pt>
                <c:pt idx="2245">
                  <c:v>0.128</c:v>
                </c:pt>
                <c:pt idx="2246">
                  <c:v>0.14499999999999999</c:v>
                </c:pt>
                <c:pt idx="2247">
                  <c:v>0.14599999999999999</c:v>
                </c:pt>
                <c:pt idx="2248">
                  <c:v>0.17299999999999999</c:v>
                </c:pt>
                <c:pt idx="2249">
                  <c:v>0.19</c:v>
                </c:pt>
                <c:pt idx="2250">
                  <c:v>0.32900000000000001</c:v>
                </c:pt>
                <c:pt idx="2251">
                  <c:v>0.33100000000000002</c:v>
                </c:pt>
                <c:pt idx="2252">
                  <c:v>0.33100000000000002</c:v>
                </c:pt>
                <c:pt idx="2253">
                  <c:v>0.29399999999999998</c:v>
                </c:pt>
                <c:pt idx="2254">
                  <c:v>0.315</c:v>
                </c:pt>
                <c:pt idx="2255">
                  <c:v>0.27</c:v>
                </c:pt>
                <c:pt idx="2256">
                  <c:v>0.26700000000000002</c:v>
                </c:pt>
                <c:pt idx="2257">
                  <c:v>0.318</c:v>
                </c:pt>
                <c:pt idx="2258">
                  <c:v>0.32900000000000001</c:v>
                </c:pt>
                <c:pt idx="2259">
                  <c:v>0.46700000000000003</c:v>
                </c:pt>
                <c:pt idx="2260">
                  <c:v>0.438</c:v>
                </c:pt>
                <c:pt idx="2261">
                  <c:v>0.439</c:v>
                </c:pt>
                <c:pt idx="2262">
                  <c:v>0.44700000000000001</c:v>
                </c:pt>
                <c:pt idx="2263">
                  <c:v>0.38200000000000001</c:v>
                </c:pt>
                <c:pt idx="2264">
                  <c:v>0.37</c:v>
                </c:pt>
                <c:pt idx="2265">
                  <c:v>0.42599999999999999</c:v>
                </c:pt>
                <c:pt idx="2266">
                  <c:v>0.36</c:v>
                </c:pt>
                <c:pt idx="2267">
                  <c:v>0.30299999999999999</c:v>
                </c:pt>
                <c:pt idx="2268">
                  <c:v>0.32200000000000001</c:v>
                </c:pt>
                <c:pt idx="2269">
                  <c:v>0.33800000000000002</c:v>
                </c:pt>
                <c:pt idx="2270">
                  <c:v>0.316</c:v>
                </c:pt>
                <c:pt idx="2271">
                  <c:v>0.34899999999999998</c:v>
                </c:pt>
                <c:pt idx="2272">
                  <c:v>0.32400000000000001</c:v>
                </c:pt>
                <c:pt idx="2273">
                  <c:v>0.38800000000000001</c:v>
                </c:pt>
                <c:pt idx="2274">
                  <c:v>0.39500000000000002</c:v>
                </c:pt>
                <c:pt idx="2275">
                  <c:v>0.45</c:v>
                </c:pt>
                <c:pt idx="2276">
                  <c:v>0.47899999999999998</c:v>
                </c:pt>
                <c:pt idx="2277">
                  <c:v>0.498</c:v>
                </c:pt>
                <c:pt idx="2278">
                  <c:v>0.53500000000000003</c:v>
                </c:pt>
                <c:pt idx="2279">
                  <c:v>0.52600000000000002</c:v>
                </c:pt>
                <c:pt idx="2280">
                  <c:v>0.48799999999999999</c:v>
                </c:pt>
                <c:pt idx="2281">
                  <c:v>0.48799999999999999</c:v>
                </c:pt>
                <c:pt idx="2282">
                  <c:v>0.46300000000000002</c:v>
                </c:pt>
                <c:pt idx="2283">
                  <c:v>0.47599999999999998</c:v>
                </c:pt>
                <c:pt idx="2284">
                  <c:v>0.52600000000000002</c:v>
                </c:pt>
                <c:pt idx="2285">
                  <c:v>0.52800000000000002</c:v>
                </c:pt>
                <c:pt idx="2286">
                  <c:v>0.52200000000000002</c:v>
                </c:pt>
                <c:pt idx="2287">
                  <c:v>0.49199999999999999</c:v>
                </c:pt>
                <c:pt idx="2288">
                  <c:v>0.51100000000000001</c:v>
                </c:pt>
                <c:pt idx="2289">
                  <c:v>0.505</c:v>
                </c:pt>
                <c:pt idx="2290">
                  <c:v>0.55300000000000005</c:v>
                </c:pt>
                <c:pt idx="2291">
                  <c:v>0.52400000000000002</c:v>
                </c:pt>
                <c:pt idx="2292">
                  <c:v>0.57899999999999996</c:v>
                </c:pt>
                <c:pt idx="2293">
                  <c:v>0.61799999999999999</c:v>
                </c:pt>
                <c:pt idx="2294">
                  <c:v>0.65300000000000002</c:v>
                </c:pt>
                <c:pt idx="2295">
                  <c:v>0.68</c:v>
                </c:pt>
                <c:pt idx="2296">
                  <c:v>0.72599999999999998</c:v>
                </c:pt>
                <c:pt idx="2297">
                  <c:v>0.70699999999999996</c:v>
                </c:pt>
                <c:pt idx="2298">
                  <c:v>0.64700000000000002</c:v>
                </c:pt>
                <c:pt idx="2299">
                  <c:v>0.67</c:v>
                </c:pt>
                <c:pt idx="2300">
                  <c:v>0.65800000000000003</c:v>
                </c:pt>
                <c:pt idx="2301">
                  <c:v>0.65800000000000003</c:v>
                </c:pt>
                <c:pt idx="2302">
                  <c:v>0.64200000000000002</c:v>
                </c:pt>
                <c:pt idx="2303">
                  <c:v>0.66600000000000004</c:v>
                </c:pt>
                <c:pt idx="2304">
                  <c:v>0.66</c:v>
                </c:pt>
                <c:pt idx="2305">
                  <c:v>0.70799999999999996</c:v>
                </c:pt>
                <c:pt idx="2306">
                  <c:v>0.623</c:v>
                </c:pt>
                <c:pt idx="2307">
                  <c:v>0.626</c:v>
                </c:pt>
                <c:pt idx="2308">
                  <c:v>0.626</c:v>
                </c:pt>
                <c:pt idx="2309">
                  <c:v>0.68100000000000005</c:v>
                </c:pt>
                <c:pt idx="2310">
                  <c:v>0.68100000000000005</c:v>
                </c:pt>
                <c:pt idx="2311">
                  <c:v>0.71599999999999997</c:v>
                </c:pt>
                <c:pt idx="2312">
                  <c:v>0.71599999999999997</c:v>
                </c:pt>
                <c:pt idx="2313">
                  <c:v>0.751</c:v>
                </c:pt>
                <c:pt idx="2314">
                  <c:v>0.72299999999999998</c:v>
                </c:pt>
                <c:pt idx="2315">
                  <c:v>0.72299999999999998</c:v>
                </c:pt>
                <c:pt idx="2316">
                  <c:v>0.72299999999999998</c:v>
                </c:pt>
                <c:pt idx="2317">
                  <c:v>0.72299999999999998</c:v>
                </c:pt>
                <c:pt idx="2318">
                  <c:v>0.74</c:v>
                </c:pt>
                <c:pt idx="2319">
                  <c:v>0.74099999999999999</c:v>
                </c:pt>
                <c:pt idx="2320">
                  <c:v>0.74099999999999999</c:v>
                </c:pt>
                <c:pt idx="2321">
                  <c:v>0.72399999999999998</c:v>
                </c:pt>
                <c:pt idx="2322">
                  <c:v>0.748</c:v>
                </c:pt>
                <c:pt idx="2323">
                  <c:v>0.82099999999999995</c:v>
                </c:pt>
                <c:pt idx="2324">
                  <c:v>0.77900000000000003</c:v>
                </c:pt>
                <c:pt idx="2325">
                  <c:v>0.76100000000000001</c:v>
                </c:pt>
                <c:pt idx="2326">
                  <c:v>0.66400000000000003</c:v>
                </c:pt>
                <c:pt idx="2327">
                  <c:v>0.71499999999999997</c:v>
                </c:pt>
                <c:pt idx="2328">
                  <c:v>0.67900000000000005</c:v>
                </c:pt>
                <c:pt idx="2329">
                  <c:v>0.65300000000000002</c:v>
                </c:pt>
                <c:pt idx="2330">
                  <c:v>0.66900000000000004</c:v>
                </c:pt>
                <c:pt idx="2331">
                  <c:v>0.66300000000000003</c:v>
                </c:pt>
                <c:pt idx="2332">
                  <c:v>0.70199999999999996</c:v>
                </c:pt>
                <c:pt idx="2333">
                  <c:v>0.60399999999999998</c:v>
                </c:pt>
                <c:pt idx="2334">
                  <c:v>0.56399999999999995</c:v>
                </c:pt>
                <c:pt idx="2335">
                  <c:v>0.60299999999999998</c:v>
                </c:pt>
                <c:pt idx="2336">
                  <c:v>0.60199999999999998</c:v>
                </c:pt>
                <c:pt idx="2337">
                  <c:v>0.61199999999999999</c:v>
                </c:pt>
                <c:pt idx="2338">
                  <c:v>0.61199999999999999</c:v>
                </c:pt>
                <c:pt idx="2339">
                  <c:v>0.61</c:v>
                </c:pt>
                <c:pt idx="2340">
                  <c:v>0.61899999999999999</c:v>
                </c:pt>
                <c:pt idx="2341">
                  <c:v>0.64600000000000002</c:v>
                </c:pt>
                <c:pt idx="2342">
                  <c:v>0.65400000000000003</c:v>
                </c:pt>
                <c:pt idx="2343">
                  <c:v>0.70399999999999996</c:v>
                </c:pt>
                <c:pt idx="2344">
                  <c:v>0.72299999999999998</c:v>
                </c:pt>
                <c:pt idx="2345">
                  <c:v>0.74399999999999999</c:v>
                </c:pt>
                <c:pt idx="2346">
                  <c:v>0.74</c:v>
                </c:pt>
                <c:pt idx="2347">
                  <c:v>0.76500000000000001</c:v>
                </c:pt>
                <c:pt idx="2348">
                  <c:v>0.76300000000000001</c:v>
                </c:pt>
                <c:pt idx="2349">
                  <c:v>0.76300000000000001</c:v>
                </c:pt>
                <c:pt idx="2350">
                  <c:v>0.746</c:v>
                </c:pt>
                <c:pt idx="2351">
                  <c:v>0.74099999999999999</c:v>
                </c:pt>
                <c:pt idx="2352">
                  <c:v>0.68</c:v>
                </c:pt>
                <c:pt idx="2353">
                  <c:v>0.65500000000000003</c:v>
                </c:pt>
                <c:pt idx="2354">
                  <c:v>0.63500000000000001</c:v>
                </c:pt>
                <c:pt idx="2355">
                  <c:v>0.628</c:v>
                </c:pt>
                <c:pt idx="2356">
                  <c:v>0.623</c:v>
                </c:pt>
                <c:pt idx="2357">
                  <c:v>0.65800000000000003</c:v>
                </c:pt>
                <c:pt idx="2358">
                  <c:v>0.63600000000000001</c:v>
                </c:pt>
                <c:pt idx="2359">
                  <c:v>0.55900000000000005</c:v>
                </c:pt>
                <c:pt idx="2360">
                  <c:v>0.57499999999999996</c:v>
                </c:pt>
                <c:pt idx="2361">
                  <c:v>0.57099999999999995</c:v>
                </c:pt>
                <c:pt idx="2362">
                  <c:v>0.55200000000000005</c:v>
                </c:pt>
                <c:pt idx="2363">
                  <c:v>0.58199999999999996</c:v>
                </c:pt>
                <c:pt idx="2364">
                  <c:v>0.58899999999999997</c:v>
                </c:pt>
                <c:pt idx="2365">
                  <c:v>0.56999999999999995</c:v>
                </c:pt>
                <c:pt idx="2366">
                  <c:v>0.55400000000000005</c:v>
                </c:pt>
                <c:pt idx="2367">
                  <c:v>0.52400000000000002</c:v>
                </c:pt>
                <c:pt idx="2368">
                  <c:v>0.48399999999999999</c:v>
                </c:pt>
                <c:pt idx="2369">
                  <c:v>0.52500000000000002</c:v>
                </c:pt>
                <c:pt idx="2370">
                  <c:v>0.56200000000000006</c:v>
                </c:pt>
                <c:pt idx="2371">
                  <c:v>0.56200000000000006</c:v>
                </c:pt>
                <c:pt idx="2372">
                  <c:v>0.52800000000000002</c:v>
                </c:pt>
                <c:pt idx="2373">
                  <c:v>0.52100000000000002</c:v>
                </c:pt>
                <c:pt idx="2374">
                  <c:v>0.51300000000000001</c:v>
                </c:pt>
                <c:pt idx="2375">
                  <c:v>0.55100000000000005</c:v>
                </c:pt>
                <c:pt idx="2376">
                  <c:v>0.505</c:v>
                </c:pt>
                <c:pt idx="2377">
                  <c:v>0.58799999999999997</c:v>
                </c:pt>
                <c:pt idx="2378">
                  <c:v>0.60899999999999999</c:v>
                </c:pt>
                <c:pt idx="2379">
                  <c:v>0.66600000000000004</c:v>
                </c:pt>
                <c:pt idx="2380">
                  <c:v>0.71499999999999997</c:v>
                </c:pt>
                <c:pt idx="2381">
                  <c:v>0.70199999999999996</c:v>
                </c:pt>
                <c:pt idx="2382">
                  <c:v>0.63800000000000001</c:v>
                </c:pt>
                <c:pt idx="2383">
                  <c:v>0.63100000000000001</c:v>
                </c:pt>
                <c:pt idx="2384">
                  <c:v>0.60899999999999999</c:v>
                </c:pt>
                <c:pt idx="2385">
                  <c:v>0.64700000000000002</c:v>
                </c:pt>
                <c:pt idx="2386">
                  <c:v>0.57699999999999996</c:v>
                </c:pt>
                <c:pt idx="2387">
                  <c:v>0.61599999999999999</c:v>
                </c:pt>
                <c:pt idx="2388">
                  <c:v>0.72899999999999998</c:v>
                </c:pt>
                <c:pt idx="2389">
                  <c:v>0.72299999999999998</c:v>
                </c:pt>
                <c:pt idx="2390">
                  <c:v>0.626</c:v>
                </c:pt>
                <c:pt idx="2391">
                  <c:v>0.60399999999999998</c:v>
                </c:pt>
                <c:pt idx="2392">
                  <c:v>0.63500000000000001</c:v>
                </c:pt>
                <c:pt idx="2393">
                  <c:v>0.64100000000000001</c:v>
                </c:pt>
                <c:pt idx="2394">
                  <c:v>0.66</c:v>
                </c:pt>
                <c:pt idx="2395">
                  <c:v>0.621</c:v>
                </c:pt>
                <c:pt idx="2396">
                  <c:v>0.621</c:v>
                </c:pt>
                <c:pt idx="2397">
                  <c:v>0.63</c:v>
                </c:pt>
                <c:pt idx="2398">
                  <c:v>0.63600000000000001</c:v>
                </c:pt>
                <c:pt idx="2399">
                  <c:v>0.58799999999999997</c:v>
                </c:pt>
                <c:pt idx="2400">
                  <c:v>0.58399999999999996</c:v>
                </c:pt>
                <c:pt idx="2401">
                  <c:v>0.57399999999999995</c:v>
                </c:pt>
                <c:pt idx="2402">
                  <c:v>0.60799999999999998</c:v>
                </c:pt>
                <c:pt idx="2403">
                  <c:v>0.64700000000000002</c:v>
                </c:pt>
                <c:pt idx="2404">
                  <c:v>0.55200000000000005</c:v>
                </c:pt>
                <c:pt idx="2405">
                  <c:v>0.52700000000000002</c:v>
                </c:pt>
                <c:pt idx="2406">
                  <c:v>0.51500000000000001</c:v>
                </c:pt>
                <c:pt idx="2407">
                  <c:v>0.51600000000000001</c:v>
                </c:pt>
                <c:pt idx="2408">
                  <c:v>0.56100000000000005</c:v>
                </c:pt>
                <c:pt idx="2409">
                  <c:v>0.60399999999999998</c:v>
                </c:pt>
                <c:pt idx="2410">
                  <c:v>0.57999999999999996</c:v>
                </c:pt>
                <c:pt idx="2411">
                  <c:v>0.58099999999999996</c:v>
                </c:pt>
                <c:pt idx="2412">
                  <c:v>0.57099999999999995</c:v>
                </c:pt>
                <c:pt idx="2413">
                  <c:v>0.52500000000000002</c:v>
                </c:pt>
                <c:pt idx="2414">
                  <c:v>0.49399999999999999</c:v>
                </c:pt>
                <c:pt idx="2415">
                  <c:v>0.54100000000000004</c:v>
                </c:pt>
                <c:pt idx="2416">
                  <c:v>0.51200000000000001</c:v>
                </c:pt>
                <c:pt idx="2417">
                  <c:v>0.55800000000000005</c:v>
                </c:pt>
                <c:pt idx="2418">
                  <c:v>0.57599999999999996</c:v>
                </c:pt>
                <c:pt idx="2419">
                  <c:v>0.52500000000000002</c:v>
                </c:pt>
                <c:pt idx="2420">
                  <c:v>0.45500000000000002</c:v>
                </c:pt>
                <c:pt idx="2421">
                  <c:v>0.44900000000000001</c:v>
                </c:pt>
                <c:pt idx="2422">
                  <c:v>0.5</c:v>
                </c:pt>
                <c:pt idx="2423">
                  <c:v>0.52600000000000002</c:v>
                </c:pt>
                <c:pt idx="2424">
                  <c:v>0.51200000000000001</c:v>
                </c:pt>
                <c:pt idx="2425">
                  <c:v>0.49</c:v>
                </c:pt>
                <c:pt idx="2426">
                  <c:v>0.50800000000000001</c:v>
                </c:pt>
                <c:pt idx="2427">
                  <c:v>0.5</c:v>
                </c:pt>
                <c:pt idx="2428">
                  <c:v>0.51200000000000001</c:v>
                </c:pt>
                <c:pt idx="2429">
                  <c:v>0.501</c:v>
                </c:pt>
                <c:pt idx="2430">
                  <c:v>0.54600000000000004</c:v>
                </c:pt>
                <c:pt idx="2431">
                  <c:v>0.51400000000000001</c:v>
                </c:pt>
                <c:pt idx="2432">
                  <c:v>0.50700000000000001</c:v>
                </c:pt>
                <c:pt idx="2433">
                  <c:v>0.50700000000000001</c:v>
                </c:pt>
                <c:pt idx="2434">
                  <c:v>0.53500000000000003</c:v>
                </c:pt>
                <c:pt idx="2435">
                  <c:v>0.57199999999999995</c:v>
                </c:pt>
                <c:pt idx="2436">
                  <c:v>0.52400000000000002</c:v>
                </c:pt>
                <c:pt idx="2437">
                  <c:v>0.46100000000000002</c:v>
                </c:pt>
                <c:pt idx="2438">
                  <c:v>0.35899999999999999</c:v>
                </c:pt>
                <c:pt idx="2439">
                  <c:v>0.375</c:v>
                </c:pt>
                <c:pt idx="2440">
                  <c:v>0.39900000000000002</c:v>
                </c:pt>
                <c:pt idx="2441">
                  <c:v>0.47399999999999998</c:v>
                </c:pt>
                <c:pt idx="2442">
                  <c:v>0.47399999999999998</c:v>
                </c:pt>
                <c:pt idx="2443">
                  <c:v>0.52200000000000002</c:v>
                </c:pt>
                <c:pt idx="2444">
                  <c:v>0.46500000000000002</c:v>
                </c:pt>
                <c:pt idx="2445">
                  <c:v>0.45100000000000001</c:v>
                </c:pt>
                <c:pt idx="2446">
                  <c:v>0.54300000000000004</c:v>
                </c:pt>
                <c:pt idx="2447">
                  <c:v>0.48699999999999999</c:v>
                </c:pt>
                <c:pt idx="2448">
                  <c:v>0.45200000000000001</c:v>
                </c:pt>
                <c:pt idx="2449">
                  <c:v>0.47899999999999998</c:v>
                </c:pt>
                <c:pt idx="2450">
                  <c:v>0.45200000000000001</c:v>
                </c:pt>
                <c:pt idx="2451">
                  <c:v>0.38200000000000001</c:v>
                </c:pt>
                <c:pt idx="2452">
                  <c:v>0.43</c:v>
                </c:pt>
                <c:pt idx="2453">
                  <c:v>0.40300000000000002</c:v>
                </c:pt>
                <c:pt idx="2454">
                  <c:v>0.41199999999999998</c:v>
                </c:pt>
                <c:pt idx="2455">
                  <c:v>0.496</c:v>
                </c:pt>
                <c:pt idx="2456">
                  <c:v>0.53600000000000003</c:v>
                </c:pt>
                <c:pt idx="2457">
                  <c:v>0.53700000000000003</c:v>
                </c:pt>
                <c:pt idx="2458">
                  <c:v>0.60899999999999999</c:v>
                </c:pt>
                <c:pt idx="2459">
                  <c:v>0.56100000000000005</c:v>
                </c:pt>
                <c:pt idx="2460">
                  <c:v>0.51800000000000002</c:v>
                </c:pt>
                <c:pt idx="2461">
                  <c:v>0.53900000000000003</c:v>
                </c:pt>
                <c:pt idx="2462">
                  <c:v>0.49</c:v>
                </c:pt>
                <c:pt idx="2463">
                  <c:v>0.52200000000000002</c:v>
                </c:pt>
                <c:pt idx="2464">
                  <c:v>0.42899999999999999</c:v>
                </c:pt>
                <c:pt idx="2465">
                  <c:v>0.37</c:v>
                </c:pt>
                <c:pt idx="2466">
                  <c:v>0.309</c:v>
                </c:pt>
                <c:pt idx="2467">
                  <c:v>0.33900000000000002</c:v>
                </c:pt>
                <c:pt idx="2468">
                  <c:v>0.308</c:v>
                </c:pt>
                <c:pt idx="2469">
                  <c:v>0.308</c:v>
                </c:pt>
                <c:pt idx="2470">
                  <c:v>0.32700000000000001</c:v>
                </c:pt>
                <c:pt idx="2471">
                  <c:v>0.32700000000000001</c:v>
                </c:pt>
                <c:pt idx="2472">
                  <c:v>0.33300000000000002</c:v>
                </c:pt>
                <c:pt idx="2473">
                  <c:v>0.371</c:v>
                </c:pt>
                <c:pt idx="2474">
                  <c:v>0.42399999999999999</c:v>
                </c:pt>
                <c:pt idx="2475">
                  <c:v>0.36499999999999999</c:v>
                </c:pt>
                <c:pt idx="2476">
                  <c:v>0.29799999999999999</c:v>
                </c:pt>
                <c:pt idx="2477">
                  <c:v>0.376</c:v>
                </c:pt>
                <c:pt idx="2478">
                  <c:v>0.40699999999999997</c:v>
                </c:pt>
                <c:pt idx="2479">
                  <c:v>0.36799999999999999</c:v>
                </c:pt>
                <c:pt idx="2480">
                  <c:v>0.40899999999999997</c:v>
                </c:pt>
                <c:pt idx="2481">
                  <c:v>0.26500000000000001</c:v>
                </c:pt>
                <c:pt idx="2482">
                  <c:v>0.29299999999999998</c:v>
                </c:pt>
                <c:pt idx="2483">
                  <c:v>0.34899999999999998</c:v>
                </c:pt>
                <c:pt idx="2484">
                  <c:v>0.255</c:v>
                </c:pt>
                <c:pt idx="2485">
                  <c:v>0.221</c:v>
                </c:pt>
                <c:pt idx="2486">
                  <c:v>0.17399999999999999</c:v>
                </c:pt>
                <c:pt idx="2487">
                  <c:v>0.112</c:v>
                </c:pt>
                <c:pt idx="2488">
                  <c:v>0.126</c:v>
                </c:pt>
                <c:pt idx="2489">
                  <c:v>0.113</c:v>
                </c:pt>
                <c:pt idx="2490">
                  <c:v>2.1000000000000001E-2</c:v>
                </c:pt>
                <c:pt idx="2491">
                  <c:v>2.4E-2</c:v>
                </c:pt>
                <c:pt idx="2492">
                  <c:v>7.0999999999999994E-2</c:v>
                </c:pt>
                <c:pt idx="2493">
                  <c:v>0.109</c:v>
                </c:pt>
                <c:pt idx="2494">
                  <c:v>4.4999999999999998E-2</c:v>
                </c:pt>
                <c:pt idx="2495">
                  <c:v>-2E-3</c:v>
                </c:pt>
                <c:pt idx="2496">
                  <c:v>-0.02</c:v>
                </c:pt>
                <c:pt idx="2497">
                  <c:v>5.0999999999999997E-2</c:v>
                </c:pt>
                <c:pt idx="2498">
                  <c:v>5.8999999999999997E-2</c:v>
                </c:pt>
                <c:pt idx="2499">
                  <c:v>0.1</c:v>
                </c:pt>
                <c:pt idx="2500">
                  <c:v>0.125</c:v>
                </c:pt>
                <c:pt idx="2501">
                  <c:v>0.13400000000000001</c:v>
                </c:pt>
                <c:pt idx="2502">
                  <c:v>0.13300000000000001</c:v>
                </c:pt>
                <c:pt idx="2503">
                  <c:v>7.3999999999999996E-2</c:v>
                </c:pt>
                <c:pt idx="2504">
                  <c:v>3.4000000000000002E-2</c:v>
                </c:pt>
                <c:pt idx="2505">
                  <c:v>5.8000000000000003E-2</c:v>
                </c:pt>
                <c:pt idx="2506">
                  <c:v>1.2999999999999999E-2</c:v>
                </c:pt>
                <c:pt idx="2507">
                  <c:v>0.107</c:v>
                </c:pt>
                <c:pt idx="2508">
                  <c:v>6.3E-2</c:v>
                </c:pt>
                <c:pt idx="2509">
                  <c:v>0.157</c:v>
                </c:pt>
                <c:pt idx="2510">
                  <c:v>0.214</c:v>
                </c:pt>
                <c:pt idx="2511">
                  <c:v>0.191</c:v>
                </c:pt>
                <c:pt idx="2512">
                  <c:v>0.19400000000000001</c:v>
                </c:pt>
                <c:pt idx="2513">
                  <c:v>0.13300000000000001</c:v>
                </c:pt>
                <c:pt idx="2514">
                  <c:v>0.109</c:v>
                </c:pt>
                <c:pt idx="2515">
                  <c:v>0.16700000000000001</c:v>
                </c:pt>
                <c:pt idx="2516">
                  <c:v>0.17299999999999999</c:v>
                </c:pt>
                <c:pt idx="2517">
                  <c:v>0.184</c:v>
                </c:pt>
                <c:pt idx="2518">
                  <c:v>0.20300000000000001</c:v>
                </c:pt>
                <c:pt idx="2519">
                  <c:v>0.40600000000000003</c:v>
                </c:pt>
                <c:pt idx="2520">
                  <c:v>0.42299999999999999</c:v>
                </c:pt>
                <c:pt idx="2521">
                  <c:v>0.43</c:v>
                </c:pt>
                <c:pt idx="2522">
                  <c:v>0.40600000000000003</c:v>
                </c:pt>
                <c:pt idx="2523">
                  <c:v>0.38800000000000001</c:v>
                </c:pt>
                <c:pt idx="2524">
                  <c:v>0.39</c:v>
                </c:pt>
                <c:pt idx="2525">
                  <c:v>0.433</c:v>
                </c:pt>
                <c:pt idx="2526">
                  <c:v>0.41899999999999998</c:v>
                </c:pt>
                <c:pt idx="2527">
                  <c:v>0.27600000000000002</c:v>
                </c:pt>
                <c:pt idx="2528">
                  <c:v>0.247</c:v>
                </c:pt>
                <c:pt idx="2529">
                  <c:v>0.25600000000000001</c:v>
                </c:pt>
                <c:pt idx="2530">
                  <c:v>0.26200000000000001</c:v>
                </c:pt>
                <c:pt idx="2531">
                  <c:v>0.16800000000000001</c:v>
                </c:pt>
                <c:pt idx="2532">
                  <c:v>0.23200000000000001</c:v>
                </c:pt>
                <c:pt idx="2533">
                  <c:v>0.24399999999999999</c:v>
                </c:pt>
                <c:pt idx="2534">
                  <c:v>0.251</c:v>
                </c:pt>
                <c:pt idx="2535">
                  <c:v>0.33300000000000002</c:v>
                </c:pt>
                <c:pt idx="2536">
                  <c:v>0.36699999999999999</c:v>
                </c:pt>
                <c:pt idx="2537">
                  <c:v>0.378</c:v>
                </c:pt>
                <c:pt idx="2538">
                  <c:v>0.372</c:v>
                </c:pt>
                <c:pt idx="2539">
                  <c:v>0.43</c:v>
                </c:pt>
                <c:pt idx="2540">
                  <c:v>0.36299999999999999</c:v>
                </c:pt>
                <c:pt idx="2541">
                  <c:v>0.36299999999999999</c:v>
                </c:pt>
                <c:pt idx="2542">
                  <c:v>0.33100000000000002</c:v>
                </c:pt>
                <c:pt idx="2543">
                  <c:v>0.33900000000000002</c:v>
                </c:pt>
                <c:pt idx="2544">
                  <c:v>0.308</c:v>
                </c:pt>
                <c:pt idx="2545">
                  <c:v>0.27800000000000002</c:v>
                </c:pt>
                <c:pt idx="2546">
                  <c:v>0.247</c:v>
                </c:pt>
                <c:pt idx="2547">
                  <c:v>0.13500000000000001</c:v>
                </c:pt>
                <c:pt idx="2548">
                  <c:v>5.3999999999999999E-2</c:v>
                </c:pt>
                <c:pt idx="2549">
                  <c:v>0.104</c:v>
                </c:pt>
                <c:pt idx="2550">
                  <c:v>3.5999999999999997E-2</c:v>
                </c:pt>
                <c:pt idx="2551">
                  <c:v>1E-3</c:v>
                </c:pt>
                <c:pt idx="2552">
                  <c:v>0.13100000000000001</c:v>
                </c:pt>
                <c:pt idx="2553">
                  <c:v>0.126</c:v>
                </c:pt>
                <c:pt idx="2554">
                  <c:v>0.184</c:v>
                </c:pt>
                <c:pt idx="2555">
                  <c:v>0.222</c:v>
                </c:pt>
                <c:pt idx="2556">
                  <c:v>0.19700000000000001</c:v>
                </c:pt>
                <c:pt idx="2557">
                  <c:v>0.22900000000000001</c:v>
                </c:pt>
                <c:pt idx="2558">
                  <c:v>0.25900000000000001</c:v>
                </c:pt>
                <c:pt idx="2559">
                  <c:v>0.193</c:v>
                </c:pt>
                <c:pt idx="2560">
                  <c:v>0.23300000000000001</c:v>
                </c:pt>
                <c:pt idx="2561">
                  <c:v>0.23300000000000001</c:v>
                </c:pt>
                <c:pt idx="2562">
                  <c:v>0.156</c:v>
                </c:pt>
                <c:pt idx="2563">
                  <c:v>0.28499999999999998</c:v>
                </c:pt>
                <c:pt idx="2564">
                  <c:v>0.37</c:v>
                </c:pt>
                <c:pt idx="2565">
                  <c:v>0.34300000000000003</c:v>
                </c:pt>
                <c:pt idx="2566">
                  <c:v>0.33500000000000002</c:v>
                </c:pt>
                <c:pt idx="2567">
                  <c:v>0.39900000000000002</c:v>
                </c:pt>
                <c:pt idx="2568">
                  <c:v>0.38900000000000001</c:v>
                </c:pt>
                <c:pt idx="2569">
                  <c:v>0.38300000000000001</c:v>
                </c:pt>
                <c:pt idx="2570">
                  <c:v>0.39700000000000002</c:v>
                </c:pt>
                <c:pt idx="2571">
                  <c:v>0.40500000000000003</c:v>
                </c:pt>
                <c:pt idx="2572">
                  <c:v>0.47899999999999998</c:v>
                </c:pt>
                <c:pt idx="2573">
                  <c:v>0.47899999999999998</c:v>
                </c:pt>
                <c:pt idx="2574">
                  <c:v>0.55400000000000005</c:v>
                </c:pt>
                <c:pt idx="2575">
                  <c:v>0.55500000000000005</c:v>
                </c:pt>
                <c:pt idx="2576">
                  <c:v>0.57199999999999995</c:v>
                </c:pt>
                <c:pt idx="2577">
                  <c:v>0.58099999999999996</c:v>
                </c:pt>
                <c:pt idx="2578">
                  <c:v>0.58099999999999996</c:v>
                </c:pt>
                <c:pt idx="2579">
                  <c:v>0.56299999999999994</c:v>
                </c:pt>
                <c:pt idx="2580">
                  <c:v>0.45600000000000002</c:v>
                </c:pt>
                <c:pt idx="2581">
                  <c:v>0.47299999999999998</c:v>
                </c:pt>
                <c:pt idx="2582">
                  <c:v>0.55800000000000005</c:v>
                </c:pt>
                <c:pt idx="2583">
                  <c:v>0.48599999999999999</c:v>
                </c:pt>
                <c:pt idx="2584">
                  <c:v>0.41399999999999998</c:v>
                </c:pt>
                <c:pt idx="2585">
                  <c:v>0.48899999999999999</c:v>
                </c:pt>
                <c:pt idx="2586">
                  <c:v>0.45600000000000002</c:v>
                </c:pt>
                <c:pt idx="2587">
                  <c:v>0.46500000000000002</c:v>
                </c:pt>
                <c:pt idx="2588">
                  <c:v>0.46400000000000002</c:v>
                </c:pt>
                <c:pt idx="2589">
                  <c:v>0.47099999999999997</c:v>
                </c:pt>
                <c:pt idx="2590">
                  <c:v>0.54100000000000004</c:v>
                </c:pt>
                <c:pt idx="2591">
                  <c:v>0.54900000000000004</c:v>
                </c:pt>
                <c:pt idx="2592">
                  <c:v>0.46</c:v>
                </c:pt>
                <c:pt idx="2593">
                  <c:v>0.48899999999999999</c:v>
                </c:pt>
                <c:pt idx="2594">
                  <c:v>0.50900000000000001</c:v>
                </c:pt>
                <c:pt idx="2595">
                  <c:v>0.43099999999999999</c:v>
                </c:pt>
                <c:pt idx="2596">
                  <c:v>0.376</c:v>
                </c:pt>
                <c:pt idx="2597">
                  <c:v>0.41</c:v>
                </c:pt>
                <c:pt idx="2598">
                  <c:v>0.41</c:v>
                </c:pt>
                <c:pt idx="2599">
                  <c:v>0.40699999999999997</c:v>
                </c:pt>
                <c:pt idx="2600">
                  <c:v>0.42699999999999999</c:v>
                </c:pt>
                <c:pt idx="2601">
                  <c:v>0.442</c:v>
                </c:pt>
                <c:pt idx="2602">
                  <c:v>0.48199999999999998</c:v>
                </c:pt>
                <c:pt idx="2603">
                  <c:v>0.52100000000000002</c:v>
                </c:pt>
                <c:pt idx="2604">
                  <c:v>0.46400000000000002</c:v>
                </c:pt>
                <c:pt idx="2605">
                  <c:v>0.47499999999999998</c:v>
                </c:pt>
                <c:pt idx="2606">
                  <c:v>0.42399999999999999</c:v>
                </c:pt>
                <c:pt idx="2607">
                  <c:v>0.45700000000000002</c:v>
                </c:pt>
                <c:pt idx="2608">
                  <c:v>0.45600000000000002</c:v>
                </c:pt>
                <c:pt idx="2609">
                  <c:v>0.42499999999999999</c:v>
                </c:pt>
              </c:numCache>
            </c:numRef>
          </c:val>
          <c:smooth val="0"/>
          <c:extLst>
            <c:ext xmlns:c16="http://schemas.microsoft.com/office/drawing/2014/chart" uri="{C3380CC4-5D6E-409C-BE32-E72D297353CC}">
              <c16:uniqueId val="{00000001-D92F-4475-A87B-B6909B126FC3}"/>
            </c:ext>
          </c:extLst>
        </c:ser>
        <c:dLbls>
          <c:showLegendKey val="0"/>
          <c:showVal val="0"/>
          <c:showCatName val="0"/>
          <c:showSerName val="0"/>
          <c:showPercent val="0"/>
          <c:showBubbleSize val="0"/>
        </c:dLbls>
        <c:marker val="1"/>
        <c:smooth val="0"/>
        <c:axId val="1516432751"/>
        <c:axId val="1358158799"/>
      </c:lineChart>
      <c:dateAx>
        <c:axId val="927020303"/>
        <c:scaling>
          <c:orientation val="minMax"/>
        </c:scaling>
        <c:delete val="0"/>
        <c:axPos val="b"/>
        <c:numFmt formatCode="[$-407]mmm\.\ 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days"/>
        <c:majorUnit val="24"/>
        <c:majorTimeUnit val="months"/>
      </c:dateAx>
      <c:valAx>
        <c:axId val="927021967"/>
        <c:scaling>
          <c:orientation val="minMax"/>
          <c:min val="0"/>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valAx>
      <c:valAx>
        <c:axId val="1358158799"/>
        <c:scaling>
          <c:orientation val="maxMin"/>
          <c:min val="-3"/>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516432751"/>
        <c:crosses val="max"/>
        <c:crossBetween val="between"/>
        <c:dispUnits>
          <c:builtInUnit val="hundreds"/>
        </c:dispUnits>
      </c:valAx>
      <c:dateAx>
        <c:axId val="1516432751"/>
        <c:scaling>
          <c:orientation val="minMax"/>
        </c:scaling>
        <c:delete val="1"/>
        <c:axPos val="t"/>
        <c:numFmt formatCode="m/d/yyyy" sourceLinked="1"/>
        <c:majorTickMark val="out"/>
        <c:minorTickMark val="none"/>
        <c:tickLblPos val="nextTo"/>
        <c:crossAx val="1358158799"/>
        <c:crosses val="autoZero"/>
        <c:auto val="1"/>
        <c:lblOffset val="100"/>
        <c:baseTimeUnit val="days"/>
      </c:dateAx>
      <c:spPr>
        <a:noFill/>
        <a:ln>
          <a:noFill/>
        </a:ln>
        <a:effectLst/>
      </c:spPr>
    </c:plotArea>
    <c:legend>
      <c:legendPos val="b"/>
      <c:layout>
        <c:manualLayout>
          <c:xMode val="edge"/>
          <c:yMode val="edge"/>
          <c:x val="0"/>
          <c:y val="0.85297723762690469"/>
          <c:w val="1"/>
          <c:h val="0.147022762373095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en-US" sz="1000"/>
              <a:t>Gesamtbeschäftigung</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title>
    <c:autoTitleDeleted val="0"/>
    <c:plotArea>
      <c:layout>
        <c:manualLayout>
          <c:layoutTarget val="inner"/>
          <c:xMode val="edge"/>
          <c:yMode val="edge"/>
          <c:x val="0.11921961283223877"/>
          <c:y val="8.110233428952672E-2"/>
          <c:w val="0.842352439569508"/>
          <c:h val="0.62784374826176759"/>
        </c:manualLayout>
      </c:layout>
      <c:lineChart>
        <c:grouping val="standard"/>
        <c:varyColors val="0"/>
        <c:ser>
          <c:idx val="0"/>
          <c:order val="0"/>
          <c:tx>
            <c:strRef>
              <c:f>'Sheet1 (2)'!$AF$7</c:f>
              <c:strCache>
                <c:ptCount val="1"/>
                <c:pt idx="0">
                  <c:v>USA (indexiert: 1991=100)</c:v>
                </c:pt>
              </c:strCache>
            </c:strRef>
          </c:tx>
          <c:spPr>
            <a:ln w="28575" cap="rnd">
              <a:solidFill>
                <a:schemeClr val="accent1"/>
              </a:solidFill>
              <a:round/>
            </a:ln>
            <a:effectLst/>
          </c:spPr>
          <c:marker>
            <c:symbol val="none"/>
          </c:marker>
          <c:cat>
            <c:numRef>
              <c:f>'Sheet1 (2)'!$AE$9:$AE$429</c:f>
              <c:numCache>
                <c:formatCode>m/d/yyyy</c:formatCode>
                <c:ptCount val="421"/>
                <c:pt idx="0">
                  <c:v>33253</c:v>
                </c:pt>
                <c:pt idx="1">
                  <c:v>33284</c:v>
                </c:pt>
                <c:pt idx="2">
                  <c:v>33312</c:v>
                </c:pt>
                <c:pt idx="3">
                  <c:v>33343</c:v>
                </c:pt>
                <c:pt idx="4">
                  <c:v>33373</c:v>
                </c:pt>
                <c:pt idx="5">
                  <c:v>33404</c:v>
                </c:pt>
                <c:pt idx="6">
                  <c:v>33434</c:v>
                </c:pt>
                <c:pt idx="7">
                  <c:v>33465</c:v>
                </c:pt>
                <c:pt idx="8">
                  <c:v>33496</c:v>
                </c:pt>
                <c:pt idx="9">
                  <c:v>33526</c:v>
                </c:pt>
                <c:pt idx="10">
                  <c:v>33557</c:v>
                </c:pt>
                <c:pt idx="11">
                  <c:v>33587</c:v>
                </c:pt>
                <c:pt idx="12">
                  <c:v>33618</c:v>
                </c:pt>
                <c:pt idx="13">
                  <c:v>33649</c:v>
                </c:pt>
                <c:pt idx="14">
                  <c:v>33678</c:v>
                </c:pt>
                <c:pt idx="15">
                  <c:v>33709</c:v>
                </c:pt>
                <c:pt idx="16">
                  <c:v>33739</c:v>
                </c:pt>
                <c:pt idx="17">
                  <c:v>33770</c:v>
                </c:pt>
                <c:pt idx="18">
                  <c:v>33800</c:v>
                </c:pt>
                <c:pt idx="19">
                  <c:v>33831</c:v>
                </c:pt>
                <c:pt idx="20">
                  <c:v>33862</c:v>
                </c:pt>
                <c:pt idx="21">
                  <c:v>33892</c:v>
                </c:pt>
                <c:pt idx="22">
                  <c:v>33923</c:v>
                </c:pt>
                <c:pt idx="23">
                  <c:v>33953</c:v>
                </c:pt>
                <c:pt idx="24">
                  <c:v>33984</c:v>
                </c:pt>
                <c:pt idx="25">
                  <c:v>34015</c:v>
                </c:pt>
                <c:pt idx="26">
                  <c:v>34043</c:v>
                </c:pt>
                <c:pt idx="27">
                  <c:v>34074</c:v>
                </c:pt>
                <c:pt idx="28">
                  <c:v>34104</c:v>
                </c:pt>
                <c:pt idx="29">
                  <c:v>34135</c:v>
                </c:pt>
                <c:pt idx="30">
                  <c:v>34165</c:v>
                </c:pt>
                <c:pt idx="31">
                  <c:v>34196</c:v>
                </c:pt>
                <c:pt idx="32">
                  <c:v>34227</c:v>
                </c:pt>
                <c:pt idx="33">
                  <c:v>34257</c:v>
                </c:pt>
                <c:pt idx="34">
                  <c:v>34288</c:v>
                </c:pt>
                <c:pt idx="35">
                  <c:v>34318</c:v>
                </c:pt>
                <c:pt idx="36">
                  <c:v>34349</c:v>
                </c:pt>
                <c:pt idx="37">
                  <c:v>34380</c:v>
                </c:pt>
                <c:pt idx="38">
                  <c:v>34408</c:v>
                </c:pt>
                <c:pt idx="39">
                  <c:v>34439</c:v>
                </c:pt>
                <c:pt idx="40">
                  <c:v>34469</c:v>
                </c:pt>
                <c:pt idx="41">
                  <c:v>34500</c:v>
                </c:pt>
                <c:pt idx="42">
                  <c:v>34530</c:v>
                </c:pt>
                <c:pt idx="43">
                  <c:v>34561</c:v>
                </c:pt>
                <c:pt idx="44">
                  <c:v>34592</c:v>
                </c:pt>
                <c:pt idx="45">
                  <c:v>34622</c:v>
                </c:pt>
                <c:pt idx="46">
                  <c:v>34653</c:v>
                </c:pt>
                <c:pt idx="47">
                  <c:v>34683</c:v>
                </c:pt>
                <c:pt idx="48">
                  <c:v>34714</c:v>
                </c:pt>
                <c:pt idx="49">
                  <c:v>34745</c:v>
                </c:pt>
                <c:pt idx="50">
                  <c:v>34773</c:v>
                </c:pt>
                <c:pt idx="51">
                  <c:v>34804</c:v>
                </c:pt>
                <c:pt idx="52">
                  <c:v>34834</c:v>
                </c:pt>
                <c:pt idx="53">
                  <c:v>34865</c:v>
                </c:pt>
                <c:pt idx="54">
                  <c:v>34895</c:v>
                </c:pt>
                <c:pt idx="55">
                  <c:v>34926</c:v>
                </c:pt>
                <c:pt idx="56">
                  <c:v>34957</c:v>
                </c:pt>
                <c:pt idx="57">
                  <c:v>34987</c:v>
                </c:pt>
                <c:pt idx="58">
                  <c:v>35018</c:v>
                </c:pt>
                <c:pt idx="59">
                  <c:v>35048</c:v>
                </c:pt>
                <c:pt idx="60">
                  <c:v>35079</c:v>
                </c:pt>
                <c:pt idx="61">
                  <c:v>35110</c:v>
                </c:pt>
                <c:pt idx="62">
                  <c:v>35139</c:v>
                </c:pt>
                <c:pt idx="63">
                  <c:v>35170</c:v>
                </c:pt>
                <c:pt idx="64">
                  <c:v>35200</c:v>
                </c:pt>
                <c:pt idx="65">
                  <c:v>35231</c:v>
                </c:pt>
                <c:pt idx="66">
                  <c:v>35261</c:v>
                </c:pt>
                <c:pt idx="67">
                  <c:v>35292</c:v>
                </c:pt>
                <c:pt idx="68">
                  <c:v>35323</c:v>
                </c:pt>
                <c:pt idx="69">
                  <c:v>35353</c:v>
                </c:pt>
                <c:pt idx="70">
                  <c:v>35384</c:v>
                </c:pt>
                <c:pt idx="71">
                  <c:v>35414</c:v>
                </c:pt>
                <c:pt idx="72">
                  <c:v>35445</c:v>
                </c:pt>
                <c:pt idx="73">
                  <c:v>35476</c:v>
                </c:pt>
                <c:pt idx="74">
                  <c:v>35504</c:v>
                </c:pt>
                <c:pt idx="75">
                  <c:v>35535</c:v>
                </c:pt>
                <c:pt idx="76">
                  <c:v>35565</c:v>
                </c:pt>
                <c:pt idx="77">
                  <c:v>35596</c:v>
                </c:pt>
                <c:pt idx="78">
                  <c:v>35626</c:v>
                </c:pt>
                <c:pt idx="79">
                  <c:v>35657</c:v>
                </c:pt>
                <c:pt idx="80">
                  <c:v>35688</c:v>
                </c:pt>
                <c:pt idx="81">
                  <c:v>35718</c:v>
                </c:pt>
                <c:pt idx="82">
                  <c:v>35749</c:v>
                </c:pt>
                <c:pt idx="83">
                  <c:v>35779</c:v>
                </c:pt>
                <c:pt idx="84">
                  <c:v>35810</c:v>
                </c:pt>
                <c:pt idx="85">
                  <c:v>35841</c:v>
                </c:pt>
                <c:pt idx="86">
                  <c:v>35869</c:v>
                </c:pt>
                <c:pt idx="87">
                  <c:v>35900</c:v>
                </c:pt>
                <c:pt idx="88">
                  <c:v>35930</c:v>
                </c:pt>
                <c:pt idx="89">
                  <c:v>35961</c:v>
                </c:pt>
                <c:pt idx="90">
                  <c:v>35991</c:v>
                </c:pt>
                <c:pt idx="91">
                  <c:v>36022</c:v>
                </c:pt>
                <c:pt idx="92">
                  <c:v>36053</c:v>
                </c:pt>
                <c:pt idx="93">
                  <c:v>36083</c:v>
                </c:pt>
                <c:pt idx="94">
                  <c:v>36114</c:v>
                </c:pt>
                <c:pt idx="95">
                  <c:v>36144</c:v>
                </c:pt>
                <c:pt idx="96">
                  <c:v>36175</c:v>
                </c:pt>
                <c:pt idx="97">
                  <c:v>36206</c:v>
                </c:pt>
                <c:pt idx="98">
                  <c:v>36234</c:v>
                </c:pt>
                <c:pt idx="99">
                  <c:v>36265</c:v>
                </c:pt>
                <c:pt idx="100">
                  <c:v>36295</c:v>
                </c:pt>
                <c:pt idx="101">
                  <c:v>36326</c:v>
                </c:pt>
                <c:pt idx="102">
                  <c:v>36356</c:v>
                </c:pt>
                <c:pt idx="103">
                  <c:v>36387</c:v>
                </c:pt>
                <c:pt idx="104">
                  <c:v>36418</c:v>
                </c:pt>
                <c:pt idx="105">
                  <c:v>36448</c:v>
                </c:pt>
                <c:pt idx="106">
                  <c:v>36479</c:v>
                </c:pt>
                <c:pt idx="107">
                  <c:v>36509</c:v>
                </c:pt>
                <c:pt idx="108">
                  <c:v>36540</c:v>
                </c:pt>
                <c:pt idx="109">
                  <c:v>36571</c:v>
                </c:pt>
                <c:pt idx="110">
                  <c:v>36600</c:v>
                </c:pt>
                <c:pt idx="111">
                  <c:v>36631</c:v>
                </c:pt>
                <c:pt idx="112">
                  <c:v>36661</c:v>
                </c:pt>
                <c:pt idx="113">
                  <c:v>36692</c:v>
                </c:pt>
                <c:pt idx="114">
                  <c:v>36722</c:v>
                </c:pt>
                <c:pt idx="115">
                  <c:v>36753</c:v>
                </c:pt>
                <c:pt idx="116">
                  <c:v>36784</c:v>
                </c:pt>
                <c:pt idx="117">
                  <c:v>36814</c:v>
                </c:pt>
                <c:pt idx="118">
                  <c:v>36845</c:v>
                </c:pt>
                <c:pt idx="119">
                  <c:v>36875</c:v>
                </c:pt>
                <c:pt idx="120">
                  <c:v>36906</c:v>
                </c:pt>
                <c:pt idx="121">
                  <c:v>36937</c:v>
                </c:pt>
                <c:pt idx="122">
                  <c:v>36965</c:v>
                </c:pt>
                <c:pt idx="123">
                  <c:v>36996</c:v>
                </c:pt>
                <c:pt idx="124">
                  <c:v>37026</c:v>
                </c:pt>
                <c:pt idx="125">
                  <c:v>37057</c:v>
                </c:pt>
                <c:pt idx="126">
                  <c:v>37087</c:v>
                </c:pt>
                <c:pt idx="127">
                  <c:v>37118</c:v>
                </c:pt>
                <c:pt idx="128">
                  <c:v>37149</c:v>
                </c:pt>
                <c:pt idx="129">
                  <c:v>37179</c:v>
                </c:pt>
                <c:pt idx="130">
                  <c:v>37210</c:v>
                </c:pt>
                <c:pt idx="131">
                  <c:v>37240</c:v>
                </c:pt>
                <c:pt idx="132">
                  <c:v>37271</c:v>
                </c:pt>
                <c:pt idx="133">
                  <c:v>37302</c:v>
                </c:pt>
                <c:pt idx="134">
                  <c:v>37330</c:v>
                </c:pt>
                <c:pt idx="135">
                  <c:v>37361</c:v>
                </c:pt>
                <c:pt idx="136">
                  <c:v>37391</c:v>
                </c:pt>
                <c:pt idx="137">
                  <c:v>37422</c:v>
                </c:pt>
                <c:pt idx="138">
                  <c:v>37452</c:v>
                </c:pt>
                <c:pt idx="139">
                  <c:v>37483</c:v>
                </c:pt>
                <c:pt idx="140">
                  <c:v>37514</c:v>
                </c:pt>
                <c:pt idx="141">
                  <c:v>37544</c:v>
                </c:pt>
                <c:pt idx="142">
                  <c:v>37575</c:v>
                </c:pt>
                <c:pt idx="143">
                  <c:v>37605</c:v>
                </c:pt>
                <c:pt idx="144">
                  <c:v>37636</c:v>
                </c:pt>
                <c:pt idx="145">
                  <c:v>37667</c:v>
                </c:pt>
                <c:pt idx="146">
                  <c:v>37695</c:v>
                </c:pt>
                <c:pt idx="147">
                  <c:v>37726</c:v>
                </c:pt>
                <c:pt idx="148">
                  <c:v>37756</c:v>
                </c:pt>
                <c:pt idx="149">
                  <c:v>37787</c:v>
                </c:pt>
                <c:pt idx="150">
                  <c:v>37817</c:v>
                </c:pt>
                <c:pt idx="151">
                  <c:v>37848</c:v>
                </c:pt>
                <c:pt idx="152">
                  <c:v>37879</c:v>
                </c:pt>
                <c:pt idx="153">
                  <c:v>37909</c:v>
                </c:pt>
                <c:pt idx="154">
                  <c:v>37940</c:v>
                </c:pt>
                <c:pt idx="155">
                  <c:v>37970</c:v>
                </c:pt>
                <c:pt idx="156">
                  <c:v>38001</c:v>
                </c:pt>
                <c:pt idx="157">
                  <c:v>38032</c:v>
                </c:pt>
                <c:pt idx="158">
                  <c:v>38061</c:v>
                </c:pt>
                <c:pt idx="159">
                  <c:v>38092</c:v>
                </c:pt>
                <c:pt idx="160">
                  <c:v>38122</c:v>
                </c:pt>
                <c:pt idx="161">
                  <c:v>38153</c:v>
                </c:pt>
                <c:pt idx="162">
                  <c:v>38183</c:v>
                </c:pt>
                <c:pt idx="163">
                  <c:v>38214</c:v>
                </c:pt>
                <c:pt idx="164">
                  <c:v>38245</c:v>
                </c:pt>
                <c:pt idx="165">
                  <c:v>38275</c:v>
                </c:pt>
                <c:pt idx="166">
                  <c:v>38306</c:v>
                </c:pt>
                <c:pt idx="167">
                  <c:v>38336</c:v>
                </c:pt>
                <c:pt idx="168">
                  <c:v>38367</c:v>
                </c:pt>
                <c:pt idx="169">
                  <c:v>38398</c:v>
                </c:pt>
                <c:pt idx="170">
                  <c:v>38426</c:v>
                </c:pt>
                <c:pt idx="171">
                  <c:v>38457</c:v>
                </c:pt>
                <c:pt idx="172">
                  <c:v>38487</c:v>
                </c:pt>
                <c:pt idx="173">
                  <c:v>38518</c:v>
                </c:pt>
                <c:pt idx="174">
                  <c:v>38548</c:v>
                </c:pt>
                <c:pt idx="175">
                  <c:v>38579</c:v>
                </c:pt>
                <c:pt idx="176">
                  <c:v>38610</c:v>
                </c:pt>
                <c:pt idx="177">
                  <c:v>38640</c:v>
                </c:pt>
                <c:pt idx="178">
                  <c:v>38671</c:v>
                </c:pt>
                <c:pt idx="179">
                  <c:v>38701</c:v>
                </c:pt>
                <c:pt idx="180">
                  <c:v>38732</c:v>
                </c:pt>
                <c:pt idx="181">
                  <c:v>38763</c:v>
                </c:pt>
                <c:pt idx="182">
                  <c:v>38791</c:v>
                </c:pt>
                <c:pt idx="183">
                  <c:v>38822</c:v>
                </c:pt>
                <c:pt idx="184">
                  <c:v>38852</c:v>
                </c:pt>
                <c:pt idx="185">
                  <c:v>38883</c:v>
                </c:pt>
                <c:pt idx="186">
                  <c:v>38913</c:v>
                </c:pt>
                <c:pt idx="187">
                  <c:v>38944</c:v>
                </c:pt>
                <c:pt idx="188">
                  <c:v>38975</c:v>
                </c:pt>
                <c:pt idx="189">
                  <c:v>39005</c:v>
                </c:pt>
                <c:pt idx="190">
                  <c:v>39036</c:v>
                </c:pt>
                <c:pt idx="191">
                  <c:v>39066</c:v>
                </c:pt>
                <c:pt idx="192">
                  <c:v>39097</c:v>
                </c:pt>
                <c:pt idx="193">
                  <c:v>39128</c:v>
                </c:pt>
                <c:pt idx="194">
                  <c:v>39156</c:v>
                </c:pt>
                <c:pt idx="195">
                  <c:v>39187</c:v>
                </c:pt>
                <c:pt idx="196">
                  <c:v>39217</c:v>
                </c:pt>
                <c:pt idx="197">
                  <c:v>39248</c:v>
                </c:pt>
                <c:pt idx="198">
                  <c:v>39278</c:v>
                </c:pt>
                <c:pt idx="199">
                  <c:v>39309</c:v>
                </c:pt>
                <c:pt idx="200">
                  <c:v>39340</c:v>
                </c:pt>
                <c:pt idx="201">
                  <c:v>39370</c:v>
                </c:pt>
                <c:pt idx="202">
                  <c:v>39401</c:v>
                </c:pt>
                <c:pt idx="203">
                  <c:v>39431</c:v>
                </c:pt>
                <c:pt idx="204">
                  <c:v>39462</c:v>
                </c:pt>
                <c:pt idx="205">
                  <c:v>39493</c:v>
                </c:pt>
                <c:pt idx="206">
                  <c:v>39522</c:v>
                </c:pt>
                <c:pt idx="207">
                  <c:v>39553</c:v>
                </c:pt>
                <c:pt idx="208">
                  <c:v>39583</c:v>
                </c:pt>
                <c:pt idx="209">
                  <c:v>39614</c:v>
                </c:pt>
                <c:pt idx="210">
                  <c:v>39644</c:v>
                </c:pt>
                <c:pt idx="211">
                  <c:v>39675</c:v>
                </c:pt>
                <c:pt idx="212">
                  <c:v>39706</c:v>
                </c:pt>
                <c:pt idx="213">
                  <c:v>39736</c:v>
                </c:pt>
                <c:pt idx="214">
                  <c:v>39767</c:v>
                </c:pt>
                <c:pt idx="215">
                  <c:v>39797</c:v>
                </c:pt>
                <c:pt idx="216">
                  <c:v>39828</c:v>
                </c:pt>
                <c:pt idx="217">
                  <c:v>39859</c:v>
                </c:pt>
                <c:pt idx="218">
                  <c:v>39887</c:v>
                </c:pt>
                <c:pt idx="219">
                  <c:v>39918</c:v>
                </c:pt>
                <c:pt idx="220">
                  <c:v>39948</c:v>
                </c:pt>
                <c:pt idx="221">
                  <c:v>39979</c:v>
                </c:pt>
                <c:pt idx="222">
                  <c:v>40009</c:v>
                </c:pt>
                <c:pt idx="223">
                  <c:v>40040</c:v>
                </c:pt>
                <c:pt idx="224">
                  <c:v>40071</c:v>
                </c:pt>
                <c:pt idx="225">
                  <c:v>40101</c:v>
                </c:pt>
                <c:pt idx="226">
                  <c:v>40132</c:v>
                </c:pt>
                <c:pt idx="227">
                  <c:v>40162</c:v>
                </c:pt>
                <c:pt idx="228">
                  <c:v>40193</c:v>
                </c:pt>
                <c:pt idx="229">
                  <c:v>40224</c:v>
                </c:pt>
                <c:pt idx="230">
                  <c:v>40252</c:v>
                </c:pt>
                <c:pt idx="231">
                  <c:v>40283</c:v>
                </c:pt>
                <c:pt idx="232">
                  <c:v>40313</c:v>
                </c:pt>
                <c:pt idx="233">
                  <c:v>40344</c:v>
                </c:pt>
                <c:pt idx="234">
                  <c:v>40374</c:v>
                </c:pt>
                <c:pt idx="235">
                  <c:v>40405</c:v>
                </c:pt>
                <c:pt idx="236">
                  <c:v>40436</c:v>
                </c:pt>
                <c:pt idx="237">
                  <c:v>40466</c:v>
                </c:pt>
                <c:pt idx="238">
                  <c:v>40497</c:v>
                </c:pt>
                <c:pt idx="239">
                  <c:v>40527</c:v>
                </c:pt>
                <c:pt idx="240">
                  <c:v>40558</c:v>
                </c:pt>
                <c:pt idx="241">
                  <c:v>40589</c:v>
                </c:pt>
                <c:pt idx="242">
                  <c:v>40617</c:v>
                </c:pt>
                <c:pt idx="243">
                  <c:v>40648</c:v>
                </c:pt>
                <c:pt idx="244">
                  <c:v>40678</c:v>
                </c:pt>
                <c:pt idx="245">
                  <c:v>40709</c:v>
                </c:pt>
                <c:pt idx="246">
                  <c:v>40739</c:v>
                </c:pt>
                <c:pt idx="247">
                  <c:v>40770</c:v>
                </c:pt>
                <c:pt idx="248">
                  <c:v>40801</c:v>
                </c:pt>
                <c:pt idx="249">
                  <c:v>40831</c:v>
                </c:pt>
                <c:pt idx="250">
                  <c:v>40862</c:v>
                </c:pt>
                <c:pt idx="251">
                  <c:v>40892</c:v>
                </c:pt>
                <c:pt idx="252">
                  <c:v>40923</c:v>
                </c:pt>
                <c:pt idx="253">
                  <c:v>40954</c:v>
                </c:pt>
                <c:pt idx="254">
                  <c:v>40983</c:v>
                </c:pt>
                <c:pt idx="255">
                  <c:v>41014</c:v>
                </c:pt>
                <c:pt idx="256">
                  <c:v>41044</c:v>
                </c:pt>
                <c:pt idx="257">
                  <c:v>41075</c:v>
                </c:pt>
                <c:pt idx="258">
                  <c:v>41105</c:v>
                </c:pt>
                <c:pt idx="259">
                  <c:v>41136</c:v>
                </c:pt>
                <c:pt idx="260">
                  <c:v>41167</c:v>
                </c:pt>
                <c:pt idx="261">
                  <c:v>41197</c:v>
                </c:pt>
                <c:pt idx="262">
                  <c:v>41228</c:v>
                </c:pt>
                <c:pt idx="263">
                  <c:v>41258</c:v>
                </c:pt>
                <c:pt idx="264">
                  <c:v>41289</c:v>
                </c:pt>
                <c:pt idx="265">
                  <c:v>41320</c:v>
                </c:pt>
                <c:pt idx="266">
                  <c:v>41348</c:v>
                </c:pt>
                <c:pt idx="267">
                  <c:v>41379</c:v>
                </c:pt>
                <c:pt idx="268">
                  <c:v>41409</c:v>
                </c:pt>
                <c:pt idx="269">
                  <c:v>41440</c:v>
                </c:pt>
                <c:pt idx="270">
                  <c:v>41470</c:v>
                </c:pt>
                <c:pt idx="271">
                  <c:v>41501</c:v>
                </c:pt>
                <c:pt idx="272">
                  <c:v>41532</c:v>
                </c:pt>
                <c:pt idx="273">
                  <c:v>41562</c:v>
                </c:pt>
                <c:pt idx="274">
                  <c:v>41593</c:v>
                </c:pt>
                <c:pt idx="275">
                  <c:v>41623</c:v>
                </c:pt>
                <c:pt idx="276">
                  <c:v>41654</c:v>
                </c:pt>
                <c:pt idx="277">
                  <c:v>41685</c:v>
                </c:pt>
                <c:pt idx="278">
                  <c:v>41713</c:v>
                </c:pt>
                <c:pt idx="279">
                  <c:v>41744</c:v>
                </c:pt>
                <c:pt idx="280">
                  <c:v>41774</c:v>
                </c:pt>
                <c:pt idx="281">
                  <c:v>41805</c:v>
                </c:pt>
                <c:pt idx="282">
                  <c:v>41835</c:v>
                </c:pt>
                <c:pt idx="283">
                  <c:v>41866</c:v>
                </c:pt>
                <c:pt idx="284">
                  <c:v>41897</c:v>
                </c:pt>
                <c:pt idx="285">
                  <c:v>41927</c:v>
                </c:pt>
                <c:pt idx="286">
                  <c:v>41958</c:v>
                </c:pt>
                <c:pt idx="287">
                  <c:v>41988</c:v>
                </c:pt>
                <c:pt idx="288">
                  <c:v>42019</c:v>
                </c:pt>
                <c:pt idx="289">
                  <c:v>42050</c:v>
                </c:pt>
                <c:pt idx="290">
                  <c:v>42078</c:v>
                </c:pt>
                <c:pt idx="291">
                  <c:v>42109</c:v>
                </c:pt>
                <c:pt idx="292">
                  <c:v>42139</c:v>
                </c:pt>
                <c:pt idx="293">
                  <c:v>42170</c:v>
                </c:pt>
                <c:pt idx="294">
                  <c:v>42200</c:v>
                </c:pt>
                <c:pt idx="295">
                  <c:v>42231</c:v>
                </c:pt>
                <c:pt idx="296">
                  <c:v>42262</c:v>
                </c:pt>
                <c:pt idx="297">
                  <c:v>42292</c:v>
                </c:pt>
                <c:pt idx="298">
                  <c:v>42323</c:v>
                </c:pt>
                <c:pt idx="299">
                  <c:v>42353</c:v>
                </c:pt>
                <c:pt idx="300">
                  <c:v>42384</c:v>
                </c:pt>
                <c:pt idx="301">
                  <c:v>42415</c:v>
                </c:pt>
                <c:pt idx="302">
                  <c:v>42444</c:v>
                </c:pt>
                <c:pt idx="303">
                  <c:v>42475</c:v>
                </c:pt>
                <c:pt idx="304">
                  <c:v>42505</c:v>
                </c:pt>
                <c:pt idx="305">
                  <c:v>42536</c:v>
                </c:pt>
                <c:pt idx="306">
                  <c:v>42566</c:v>
                </c:pt>
                <c:pt idx="307">
                  <c:v>42597</c:v>
                </c:pt>
                <c:pt idx="308">
                  <c:v>42628</c:v>
                </c:pt>
                <c:pt idx="309">
                  <c:v>42658</c:v>
                </c:pt>
                <c:pt idx="310">
                  <c:v>42689</c:v>
                </c:pt>
                <c:pt idx="311">
                  <c:v>42719</c:v>
                </c:pt>
                <c:pt idx="312">
                  <c:v>42750</c:v>
                </c:pt>
                <c:pt idx="313">
                  <c:v>42781</c:v>
                </c:pt>
                <c:pt idx="314">
                  <c:v>42809</c:v>
                </c:pt>
                <c:pt idx="315">
                  <c:v>42840</c:v>
                </c:pt>
                <c:pt idx="316">
                  <c:v>42870</c:v>
                </c:pt>
                <c:pt idx="317">
                  <c:v>42901</c:v>
                </c:pt>
                <c:pt idx="318">
                  <c:v>42931</c:v>
                </c:pt>
                <c:pt idx="319">
                  <c:v>42962</c:v>
                </c:pt>
                <c:pt idx="320">
                  <c:v>42993</c:v>
                </c:pt>
                <c:pt idx="321">
                  <c:v>43023</c:v>
                </c:pt>
                <c:pt idx="322">
                  <c:v>43054</c:v>
                </c:pt>
                <c:pt idx="323">
                  <c:v>43084</c:v>
                </c:pt>
                <c:pt idx="324">
                  <c:v>43115</c:v>
                </c:pt>
                <c:pt idx="325">
                  <c:v>43146</c:v>
                </c:pt>
                <c:pt idx="326">
                  <c:v>43174</c:v>
                </c:pt>
                <c:pt idx="327">
                  <c:v>43205</c:v>
                </c:pt>
                <c:pt idx="328">
                  <c:v>43235</c:v>
                </c:pt>
                <c:pt idx="329">
                  <c:v>43266</c:v>
                </c:pt>
                <c:pt idx="330">
                  <c:v>43296</c:v>
                </c:pt>
                <c:pt idx="331">
                  <c:v>43327</c:v>
                </c:pt>
                <c:pt idx="332">
                  <c:v>43358</c:v>
                </c:pt>
                <c:pt idx="333">
                  <c:v>43388</c:v>
                </c:pt>
                <c:pt idx="334">
                  <c:v>43419</c:v>
                </c:pt>
                <c:pt idx="335">
                  <c:v>43449</c:v>
                </c:pt>
                <c:pt idx="336">
                  <c:v>43480</c:v>
                </c:pt>
                <c:pt idx="337">
                  <c:v>43511</c:v>
                </c:pt>
                <c:pt idx="338">
                  <c:v>43539</c:v>
                </c:pt>
                <c:pt idx="339">
                  <c:v>43570</c:v>
                </c:pt>
                <c:pt idx="340">
                  <c:v>43600</c:v>
                </c:pt>
                <c:pt idx="341">
                  <c:v>43631</c:v>
                </c:pt>
                <c:pt idx="342">
                  <c:v>43661</c:v>
                </c:pt>
                <c:pt idx="343">
                  <c:v>43692</c:v>
                </c:pt>
                <c:pt idx="344">
                  <c:v>43723</c:v>
                </c:pt>
                <c:pt idx="345">
                  <c:v>43753</c:v>
                </c:pt>
                <c:pt idx="346">
                  <c:v>43784</c:v>
                </c:pt>
                <c:pt idx="347">
                  <c:v>43814</c:v>
                </c:pt>
                <c:pt idx="348">
                  <c:v>43845</c:v>
                </c:pt>
                <c:pt idx="349">
                  <c:v>43876</c:v>
                </c:pt>
                <c:pt idx="350">
                  <c:v>43905</c:v>
                </c:pt>
                <c:pt idx="351">
                  <c:v>43936</c:v>
                </c:pt>
                <c:pt idx="352">
                  <c:v>43966</c:v>
                </c:pt>
                <c:pt idx="353">
                  <c:v>43997</c:v>
                </c:pt>
                <c:pt idx="354">
                  <c:v>44027</c:v>
                </c:pt>
                <c:pt idx="355">
                  <c:v>44058</c:v>
                </c:pt>
                <c:pt idx="356">
                  <c:v>44089</c:v>
                </c:pt>
                <c:pt idx="357">
                  <c:v>44119</c:v>
                </c:pt>
                <c:pt idx="358">
                  <c:v>44150</c:v>
                </c:pt>
                <c:pt idx="359">
                  <c:v>44180</c:v>
                </c:pt>
                <c:pt idx="360">
                  <c:v>44211</c:v>
                </c:pt>
                <c:pt idx="361">
                  <c:v>44242</c:v>
                </c:pt>
                <c:pt idx="362">
                  <c:v>44270</c:v>
                </c:pt>
                <c:pt idx="363">
                  <c:v>44301</c:v>
                </c:pt>
                <c:pt idx="364">
                  <c:v>44331</c:v>
                </c:pt>
                <c:pt idx="365">
                  <c:v>44362</c:v>
                </c:pt>
                <c:pt idx="366">
                  <c:v>44392</c:v>
                </c:pt>
                <c:pt idx="367">
                  <c:v>44423</c:v>
                </c:pt>
                <c:pt idx="368">
                  <c:v>44454</c:v>
                </c:pt>
                <c:pt idx="369">
                  <c:v>44484</c:v>
                </c:pt>
                <c:pt idx="370">
                  <c:v>44515</c:v>
                </c:pt>
                <c:pt idx="371">
                  <c:v>44545</c:v>
                </c:pt>
                <c:pt idx="372">
                  <c:v>44576</c:v>
                </c:pt>
                <c:pt idx="373">
                  <c:v>44607</c:v>
                </c:pt>
                <c:pt idx="374">
                  <c:v>44635</c:v>
                </c:pt>
                <c:pt idx="375">
                  <c:v>44666</c:v>
                </c:pt>
                <c:pt idx="376">
                  <c:v>44696</c:v>
                </c:pt>
                <c:pt idx="377">
                  <c:v>44727</c:v>
                </c:pt>
                <c:pt idx="378">
                  <c:v>44757</c:v>
                </c:pt>
                <c:pt idx="379">
                  <c:v>44788</c:v>
                </c:pt>
                <c:pt idx="380">
                  <c:v>44819</c:v>
                </c:pt>
                <c:pt idx="381">
                  <c:v>44849</c:v>
                </c:pt>
                <c:pt idx="382">
                  <c:v>44880</c:v>
                </c:pt>
                <c:pt idx="383">
                  <c:v>44910</c:v>
                </c:pt>
                <c:pt idx="384">
                  <c:v>44941</c:v>
                </c:pt>
                <c:pt idx="385">
                  <c:v>44972</c:v>
                </c:pt>
                <c:pt idx="386">
                  <c:v>45000</c:v>
                </c:pt>
                <c:pt idx="387">
                  <c:v>45031</c:v>
                </c:pt>
                <c:pt idx="388">
                  <c:v>45061</c:v>
                </c:pt>
                <c:pt idx="389">
                  <c:v>45092</c:v>
                </c:pt>
                <c:pt idx="390">
                  <c:v>45122</c:v>
                </c:pt>
                <c:pt idx="391">
                  <c:v>45153</c:v>
                </c:pt>
                <c:pt idx="392">
                  <c:v>45184</c:v>
                </c:pt>
                <c:pt idx="393">
                  <c:v>45214</c:v>
                </c:pt>
                <c:pt idx="394">
                  <c:v>45245</c:v>
                </c:pt>
                <c:pt idx="395">
                  <c:v>45275</c:v>
                </c:pt>
                <c:pt idx="396">
                  <c:v>45306</c:v>
                </c:pt>
                <c:pt idx="397">
                  <c:v>45337</c:v>
                </c:pt>
                <c:pt idx="398">
                  <c:v>45366</c:v>
                </c:pt>
                <c:pt idx="399">
                  <c:v>45397</c:v>
                </c:pt>
                <c:pt idx="400">
                  <c:v>45427</c:v>
                </c:pt>
                <c:pt idx="401">
                  <c:v>45458</c:v>
                </c:pt>
                <c:pt idx="402">
                  <c:v>45488</c:v>
                </c:pt>
                <c:pt idx="403">
                  <c:v>45519</c:v>
                </c:pt>
                <c:pt idx="404">
                  <c:v>45550</c:v>
                </c:pt>
                <c:pt idx="405">
                  <c:v>45580</c:v>
                </c:pt>
                <c:pt idx="406">
                  <c:v>45611</c:v>
                </c:pt>
                <c:pt idx="407">
                  <c:v>45641</c:v>
                </c:pt>
                <c:pt idx="408">
                  <c:v>45672</c:v>
                </c:pt>
                <c:pt idx="409">
                  <c:v>45703</c:v>
                </c:pt>
                <c:pt idx="410">
                  <c:v>45731</c:v>
                </c:pt>
                <c:pt idx="411">
                  <c:v>45762</c:v>
                </c:pt>
                <c:pt idx="412">
                  <c:v>45792</c:v>
                </c:pt>
                <c:pt idx="413">
                  <c:v>45823</c:v>
                </c:pt>
                <c:pt idx="414">
                  <c:v>45853</c:v>
                </c:pt>
                <c:pt idx="415">
                  <c:v>45884</c:v>
                </c:pt>
                <c:pt idx="416">
                  <c:v>45915</c:v>
                </c:pt>
                <c:pt idx="417">
                  <c:v>45945</c:v>
                </c:pt>
                <c:pt idx="418">
                  <c:v>45976</c:v>
                </c:pt>
                <c:pt idx="419">
                  <c:v>46006</c:v>
                </c:pt>
                <c:pt idx="420">
                  <c:v>46037</c:v>
                </c:pt>
              </c:numCache>
            </c:numRef>
          </c:cat>
          <c:val>
            <c:numRef>
              <c:f>'Sheet1 (2)'!$AF$9:$AF$429</c:f>
              <c:numCache>
                <c:formatCode>General</c:formatCode>
                <c:ptCount val="421"/>
                <c:pt idx="0">
                  <c:v>100</c:v>
                </c:pt>
                <c:pt idx="1">
                  <c:v>99.8431405799559</c:v>
                </c:pt>
                <c:pt idx="2">
                  <c:v>99.755808037985418</c:v>
                </c:pt>
                <c:pt idx="3">
                  <c:v>100.14329319993216</c:v>
                </c:pt>
                <c:pt idx="4">
                  <c:v>99.576055621502462</c:v>
                </c:pt>
                <c:pt idx="5">
                  <c:v>99.744785484144487</c:v>
                </c:pt>
                <c:pt idx="6">
                  <c:v>99.684585382397827</c:v>
                </c:pt>
                <c:pt idx="7">
                  <c:v>99.613362726810237</c:v>
                </c:pt>
                <c:pt idx="8">
                  <c:v>99.989825334916063</c:v>
                </c:pt>
                <c:pt idx="9">
                  <c:v>99.881295574020683</c:v>
                </c:pt>
                <c:pt idx="10">
                  <c:v>99.855858911310833</c:v>
                </c:pt>
                <c:pt idx="11">
                  <c:v>99.598100729184324</c:v>
                </c:pt>
                <c:pt idx="12">
                  <c:v>100.03221977276581</c:v>
                </c:pt>
                <c:pt idx="13">
                  <c:v>99.841444802441927</c:v>
                </c:pt>
                <c:pt idx="14">
                  <c:v>100.17296930642701</c:v>
                </c:pt>
                <c:pt idx="15">
                  <c:v>100.41207393589961</c:v>
                </c:pt>
                <c:pt idx="16">
                  <c:v>100.36883160929287</c:v>
                </c:pt>
                <c:pt idx="17">
                  <c:v>100.40613871460064</c:v>
                </c:pt>
                <c:pt idx="18">
                  <c:v>100.6554180091572</c:v>
                </c:pt>
                <c:pt idx="19">
                  <c:v>100.75122943869764</c:v>
                </c:pt>
                <c:pt idx="20">
                  <c:v>100.66135323045617</c:v>
                </c:pt>
                <c:pt idx="21">
                  <c:v>100.58334746481262</c:v>
                </c:pt>
                <c:pt idx="22">
                  <c:v>100.7936238765474</c:v>
                </c:pt>
                <c:pt idx="23">
                  <c:v>100.8962184161438</c:v>
                </c:pt>
                <c:pt idx="24">
                  <c:v>100.96235373918942</c:v>
                </c:pt>
                <c:pt idx="25">
                  <c:v>101.13193149058843</c:v>
                </c:pt>
                <c:pt idx="26">
                  <c:v>101.35831778870612</c:v>
                </c:pt>
                <c:pt idx="27">
                  <c:v>101.30066135323045</c:v>
                </c:pt>
                <c:pt idx="28">
                  <c:v>101.8441580464643</c:v>
                </c:pt>
                <c:pt idx="29">
                  <c:v>101.99253857893844</c:v>
                </c:pt>
                <c:pt idx="30">
                  <c:v>102.14261488892657</c:v>
                </c:pt>
                <c:pt idx="31">
                  <c:v>102.47244361539767</c:v>
                </c:pt>
                <c:pt idx="32">
                  <c:v>102.21638121078516</c:v>
                </c:pt>
                <c:pt idx="33">
                  <c:v>102.44446328641681</c:v>
                </c:pt>
                <c:pt idx="34">
                  <c:v>102.73783279633713</c:v>
                </c:pt>
                <c:pt idx="35">
                  <c:v>102.98795997965067</c:v>
                </c:pt>
                <c:pt idx="36">
                  <c:v>103.41360013566219</c:v>
                </c:pt>
                <c:pt idx="37">
                  <c:v>103.51534678650161</c:v>
                </c:pt>
                <c:pt idx="38">
                  <c:v>103.38307614041038</c:v>
                </c:pt>
                <c:pt idx="39">
                  <c:v>103.68831609292862</c:v>
                </c:pt>
                <c:pt idx="40">
                  <c:v>104.17500423944379</c:v>
                </c:pt>
                <c:pt idx="41">
                  <c:v>103.97998982533491</c:v>
                </c:pt>
                <c:pt idx="42">
                  <c:v>104.04103781583858</c:v>
                </c:pt>
                <c:pt idx="43">
                  <c:v>104.58029506528743</c:v>
                </c:pt>
                <c:pt idx="44">
                  <c:v>104.87281668645075</c:v>
                </c:pt>
                <c:pt idx="45">
                  <c:v>105.23316940817364</c:v>
                </c:pt>
                <c:pt idx="46">
                  <c:v>105.57571646599966</c:v>
                </c:pt>
                <c:pt idx="47">
                  <c:v>105.74953366118365</c:v>
                </c:pt>
                <c:pt idx="48">
                  <c:v>105.70035611327793</c:v>
                </c:pt>
                <c:pt idx="49">
                  <c:v>105.92504663388162</c:v>
                </c:pt>
                <c:pt idx="50">
                  <c:v>105.94793963032049</c:v>
                </c:pt>
                <c:pt idx="51">
                  <c:v>105.93946074275055</c:v>
                </c:pt>
                <c:pt idx="52">
                  <c:v>105.49516703408514</c:v>
                </c:pt>
                <c:pt idx="53">
                  <c:v>105.58080379854164</c:v>
                </c:pt>
                <c:pt idx="54">
                  <c:v>105.83008309309818</c:v>
                </c:pt>
                <c:pt idx="55">
                  <c:v>105.86060708835001</c:v>
                </c:pt>
                <c:pt idx="56">
                  <c:v>106.09886382906562</c:v>
                </c:pt>
                <c:pt idx="57">
                  <c:v>106.31507546209937</c:v>
                </c:pt>
                <c:pt idx="58">
                  <c:v>106.14549771070037</c:v>
                </c:pt>
                <c:pt idx="59">
                  <c:v>106.06070883500085</c:v>
                </c:pt>
                <c:pt idx="60">
                  <c:v>106.09208071900966</c:v>
                </c:pt>
                <c:pt idx="61">
                  <c:v>106.52789554010513</c:v>
                </c:pt>
                <c:pt idx="62">
                  <c:v>106.71697473291503</c:v>
                </c:pt>
                <c:pt idx="63">
                  <c:v>106.82889604883839</c:v>
                </c:pt>
                <c:pt idx="64">
                  <c:v>107.04086823808716</c:v>
                </c:pt>
                <c:pt idx="65">
                  <c:v>107.3444124130914</c:v>
                </c:pt>
                <c:pt idx="66">
                  <c:v>107.63693403425472</c:v>
                </c:pt>
                <c:pt idx="67">
                  <c:v>107.82770900457861</c:v>
                </c:pt>
                <c:pt idx="68">
                  <c:v>108.13634051212482</c:v>
                </c:pt>
                <c:pt idx="69">
                  <c:v>108.43649313210106</c:v>
                </c:pt>
                <c:pt idx="70">
                  <c:v>108.33559437001865</c:v>
                </c:pt>
                <c:pt idx="71">
                  <c:v>108.41105646939123</c:v>
                </c:pt>
                <c:pt idx="72">
                  <c:v>108.78243174495506</c:v>
                </c:pt>
                <c:pt idx="73">
                  <c:v>108.78243174495506</c:v>
                </c:pt>
                <c:pt idx="74">
                  <c:v>109.28522977785313</c:v>
                </c:pt>
                <c:pt idx="75">
                  <c:v>109.49889774461592</c:v>
                </c:pt>
                <c:pt idx="76">
                  <c:v>109.77107003561133</c:v>
                </c:pt>
                <c:pt idx="77">
                  <c:v>109.72697982024759</c:v>
                </c:pt>
                <c:pt idx="78">
                  <c:v>110.07461421061558</c:v>
                </c:pt>
                <c:pt idx="79">
                  <c:v>110.23401729693063</c:v>
                </c:pt>
                <c:pt idx="80">
                  <c:v>110.24164829574362</c:v>
                </c:pt>
                <c:pt idx="81">
                  <c:v>110.37731049686282</c:v>
                </c:pt>
                <c:pt idx="82">
                  <c:v>110.77920976767848</c:v>
                </c:pt>
                <c:pt idx="83">
                  <c:v>110.80125487536037</c:v>
                </c:pt>
                <c:pt idx="84">
                  <c:v>110.84110564693913</c:v>
                </c:pt>
                <c:pt idx="85">
                  <c:v>110.90978463625572</c:v>
                </c:pt>
                <c:pt idx="86">
                  <c:v>110.91571985755468</c:v>
                </c:pt>
                <c:pt idx="87">
                  <c:v>111.25063591656775</c:v>
                </c:pt>
                <c:pt idx="88">
                  <c:v>111.34899101237916</c:v>
                </c:pt>
                <c:pt idx="89">
                  <c:v>111.28031202306256</c:v>
                </c:pt>
                <c:pt idx="90">
                  <c:v>111.35238256740716</c:v>
                </c:pt>
                <c:pt idx="91">
                  <c:v>111.40410378158386</c:v>
                </c:pt>
                <c:pt idx="92">
                  <c:v>111.90944548075292</c:v>
                </c:pt>
                <c:pt idx="93">
                  <c:v>111.92046803459385</c:v>
                </c:pt>
                <c:pt idx="94">
                  <c:v>112.15872477530948</c:v>
                </c:pt>
                <c:pt idx="95">
                  <c:v>112.4317449550619</c:v>
                </c:pt>
                <c:pt idx="96">
                  <c:v>112.79209767678479</c:v>
                </c:pt>
                <c:pt idx="97">
                  <c:v>112.64710869933865</c:v>
                </c:pt>
                <c:pt idx="98">
                  <c:v>112.7242665762252</c:v>
                </c:pt>
                <c:pt idx="99">
                  <c:v>112.73104968628118</c:v>
                </c:pt>
                <c:pt idx="100">
                  <c:v>113.03289808377141</c:v>
                </c:pt>
                <c:pt idx="101">
                  <c:v>113.08970663049007</c:v>
                </c:pt>
                <c:pt idx="102">
                  <c:v>113.1202306257419</c:v>
                </c:pt>
                <c:pt idx="103">
                  <c:v>113.27030693573003</c:v>
                </c:pt>
                <c:pt idx="104">
                  <c:v>113.36866203154146</c:v>
                </c:pt>
                <c:pt idx="105">
                  <c:v>113.61115821604206</c:v>
                </c:pt>
                <c:pt idx="106">
                  <c:v>113.87909106325249</c:v>
                </c:pt>
                <c:pt idx="107">
                  <c:v>114.06053925724945</c:v>
                </c:pt>
                <c:pt idx="108">
                  <c:v>115.78684076649144</c:v>
                </c:pt>
                <c:pt idx="109">
                  <c:v>115.81990842801426</c:v>
                </c:pt>
                <c:pt idx="110">
                  <c:v>115.90724096998473</c:v>
                </c:pt>
                <c:pt idx="111">
                  <c:v>116.38968967271495</c:v>
                </c:pt>
                <c:pt idx="112">
                  <c:v>115.8470408682381</c:v>
                </c:pt>
                <c:pt idx="113">
                  <c:v>116.10988638290655</c:v>
                </c:pt>
                <c:pt idx="114">
                  <c:v>115.76309988129559</c:v>
                </c:pt>
                <c:pt idx="115">
                  <c:v>115.87417330846195</c:v>
                </c:pt>
                <c:pt idx="116">
                  <c:v>116.07003561132781</c:v>
                </c:pt>
                <c:pt idx="117">
                  <c:v>116.23537391894183</c:v>
                </c:pt>
                <c:pt idx="118">
                  <c:v>116.43377988807867</c:v>
                </c:pt>
                <c:pt idx="119">
                  <c:v>116.68136340512125</c:v>
                </c:pt>
                <c:pt idx="120">
                  <c:v>116.82041716126844</c:v>
                </c:pt>
                <c:pt idx="121">
                  <c:v>116.67966762760726</c:v>
                </c:pt>
                <c:pt idx="122">
                  <c:v>116.82465660505341</c:v>
                </c:pt>
                <c:pt idx="123">
                  <c:v>116.41427844666781</c:v>
                </c:pt>
                <c:pt idx="124">
                  <c:v>116.23876547396983</c:v>
                </c:pt>
                <c:pt idx="125">
                  <c:v>116.05307783618788</c:v>
                </c:pt>
                <c:pt idx="126">
                  <c:v>116.22095981007293</c:v>
                </c:pt>
                <c:pt idx="127">
                  <c:v>115.51721214176702</c:v>
                </c:pt>
                <c:pt idx="128">
                  <c:v>116.03018483974903</c:v>
                </c:pt>
                <c:pt idx="129">
                  <c:v>115.64524334407326</c:v>
                </c:pt>
                <c:pt idx="130">
                  <c:v>115.51466847549601</c:v>
                </c:pt>
                <c:pt idx="131">
                  <c:v>115.35272172290996</c:v>
                </c:pt>
                <c:pt idx="132">
                  <c:v>115.05935221298967</c:v>
                </c:pt>
                <c:pt idx="133">
                  <c:v>115.68424622689501</c:v>
                </c:pt>
                <c:pt idx="134">
                  <c:v>115.46294726131931</c:v>
                </c:pt>
                <c:pt idx="135">
                  <c:v>115.41970493471257</c:v>
                </c:pt>
                <c:pt idx="136">
                  <c:v>115.76988299135154</c:v>
                </c:pt>
                <c:pt idx="137">
                  <c:v>115.66474478548415</c:v>
                </c:pt>
                <c:pt idx="138">
                  <c:v>115.66304900797017</c:v>
                </c:pt>
                <c:pt idx="139">
                  <c:v>115.91063252501273</c:v>
                </c:pt>
                <c:pt idx="140">
                  <c:v>116.41682211293877</c:v>
                </c:pt>
                <c:pt idx="141">
                  <c:v>116.16754281838224</c:v>
                </c:pt>
                <c:pt idx="142">
                  <c:v>115.75462099372562</c:v>
                </c:pt>
                <c:pt idx="143">
                  <c:v>115.67407156181109</c:v>
                </c:pt>
                <c:pt idx="144">
                  <c:v>116.51432931999321</c:v>
                </c:pt>
                <c:pt idx="145">
                  <c:v>116.56944208919791</c:v>
                </c:pt>
                <c:pt idx="146">
                  <c:v>116.52874342886213</c:v>
                </c:pt>
                <c:pt idx="147">
                  <c:v>116.69747329150417</c:v>
                </c:pt>
                <c:pt idx="148">
                  <c:v>116.62201119213161</c:v>
                </c:pt>
                <c:pt idx="149">
                  <c:v>116.83059182635238</c:v>
                </c:pt>
                <c:pt idx="150">
                  <c:v>116.56265897914193</c:v>
                </c:pt>
                <c:pt idx="151">
                  <c:v>116.62625063591659</c:v>
                </c:pt>
                <c:pt idx="152">
                  <c:v>116.67712396133629</c:v>
                </c:pt>
                <c:pt idx="153">
                  <c:v>116.99508224520945</c:v>
                </c:pt>
                <c:pt idx="154">
                  <c:v>117.36815329828727</c:v>
                </c:pt>
                <c:pt idx="155">
                  <c:v>117.35713074444634</c:v>
                </c:pt>
                <c:pt idx="156">
                  <c:v>117.40885195862303</c:v>
                </c:pt>
                <c:pt idx="157">
                  <c:v>117.46820417161268</c:v>
                </c:pt>
                <c:pt idx="158">
                  <c:v>117.39274207224013</c:v>
                </c:pt>
                <c:pt idx="159">
                  <c:v>117.58521282007801</c:v>
                </c:pt>
                <c:pt idx="160">
                  <c:v>117.73104968628117</c:v>
                </c:pt>
                <c:pt idx="161">
                  <c:v>118.00406986603357</c:v>
                </c:pt>
                <c:pt idx="162">
                  <c:v>118.3279633712057</c:v>
                </c:pt>
                <c:pt idx="163">
                  <c:v>118.34237748007462</c:v>
                </c:pt>
                <c:pt idx="164">
                  <c:v>118.26945904697304</c:v>
                </c:pt>
                <c:pt idx="165">
                  <c:v>118.47719179243683</c:v>
                </c:pt>
                <c:pt idx="166">
                  <c:v>118.90028828217739</c:v>
                </c:pt>
                <c:pt idx="167">
                  <c:v>118.81041207393591</c:v>
                </c:pt>
                <c:pt idx="168">
                  <c:v>118.91215872477532</c:v>
                </c:pt>
                <c:pt idx="169">
                  <c:v>119.03086315075461</c:v>
                </c:pt>
                <c:pt idx="170">
                  <c:v>119.25894522638629</c:v>
                </c:pt>
                <c:pt idx="171">
                  <c:v>119.76767848058334</c:v>
                </c:pt>
                <c:pt idx="172">
                  <c:v>120.06867898931661</c:v>
                </c:pt>
                <c:pt idx="173">
                  <c:v>120.15770730880109</c:v>
                </c:pt>
                <c:pt idx="174">
                  <c:v>120.42224860098356</c:v>
                </c:pt>
                <c:pt idx="175">
                  <c:v>120.76818721383755</c:v>
                </c:pt>
                <c:pt idx="176">
                  <c:v>120.74020688485672</c:v>
                </c:pt>
                <c:pt idx="177">
                  <c:v>120.86484653213499</c:v>
                </c:pt>
                <c:pt idx="178">
                  <c:v>120.82329998304222</c:v>
                </c:pt>
                <c:pt idx="179">
                  <c:v>121.037815838562</c:v>
                </c:pt>
                <c:pt idx="180">
                  <c:v>121.37527556384605</c:v>
                </c:pt>
                <c:pt idx="181">
                  <c:v>121.63557741224351</c:v>
                </c:pt>
                <c:pt idx="182">
                  <c:v>121.87637781923013</c:v>
                </c:pt>
                <c:pt idx="183">
                  <c:v>121.89333559437001</c:v>
                </c:pt>
                <c:pt idx="184">
                  <c:v>122.17144310666441</c:v>
                </c:pt>
                <c:pt idx="185">
                  <c:v>122.39528573851111</c:v>
                </c:pt>
                <c:pt idx="186">
                  <c:v>122.26725453620486</c:v>
                </c:pt>
                <c:pt idx="187">
                  <c:v>122.62591148041378</c:v>
                </c:pt>
                <c:pt idx="188">
                  <c:v>122.78701034424284</c:v>
                </c:pt>
                <c:pt idx="189">
                  <c:v>123.21010683398337</c:v>
                </c:pt>
                <c:pt idx="190">
                  <c:v>123.39664236052231</c:v>
                </c:pt>
                <c:pt idx="191">
                  <c:v>123.76632185857216</c:v>
                </c:pt>
                <c:pt idx="192">
                  <c:v>123.81549940647787</c:v>
                </c:pt>
                <c:pt idx="193">
                  <c:v>123.84008818043073</c:v>
                </c:pt>
                <c:pt idx="194">
                  <c:v>124.06308292352044</c:v>
                </c:pt>
                <c:pt idx="195">
                  <c:v>123.44073257588606</c:v>
                </c:pt>
                <c:pt idx="196">
                  <c:v>123.70951331185347</c:v>
                </c:pt>
                <c:pt idx="197">
                  <c:v>123.84517551297269</c:v>
                </c:pt>
                <c:pt idx="198">
                  <c:v>123.71120908936749</c:v>
                </c:pt>
                <c:pt idx="199">
                  <c:v>123.52212989655756</c:v>
                </c:pt>
                <c:pt idx="200">
                  <c:v>123.9986433779888</c:v>
                </c:pt>
                <c:pt idx="201">
                  <c:v>123.74597252840427</c:v>
                </c:pt>
                <c:pt idx="202">
                  <c:v>124.29625233169408</c:v>
                </c:pt>
                <c:pt idx="203">
                  <c:v>124.02323215194167</c:v>
                </c:pt>
                <c:pt idx="204">
                  <c:v>124.11226047142614</c:v>
                </c:pt>
                <c:pt idx="205">
                  <c:v>123.92402916737323</c:v>
                </c:pt>
                <c:pt idx="206">
                  <c:v>123.86467695438358</c:v>
                </c:pt>
                <c:pt idx="207">
                  <c:v>123.90367983720536</c:v>
                </c:pt>
                <c:pt idx="208">
                  <c:v>123.71375275563845</c:v>
                </c:pt>
                <c:pt idx="209">
                  <c:v>123.56876377819231</c:v>
                </c:pt>
                <c:pt idx="210">
                  <c:v>123.39494658300832</c:v>
                </c:pt>
                <c:pt idx="211">
                  <c:v>123.11599118195693</c:v>
                </c:pt>
                <c:pt idx="212">
                  <c:v>123.00830930981854</c:v>
                </c:pt>
                <c:pt idx="213">
                  <c:v>122.77598779040189</c:v>
                </c:pt>
                <c:pt idx="214">
                  <c:v>122.18076988299136</c:v>
                </c:pt>
                <c:pt idx="215">
                  <c:v>121.56096320162794</c:v>
                </c:pt>
                <c:pt idx="216">
                  <c:v>120.52908258436491</c:v>
                </c:pt>
                <c:pt idx="217">
                  <c:v>120.09496354078344</c:v>
                </c:pt>
                <c:pt idx="218">
                  <c:v>119.30388333050703</c:v>
                </c:pt>
                <c:pt idx="219">
                  <c:v>119.2606410039003</c:v>
                </c:pt>
                <c:pt idx="220">
                  <c:v>118.91470239104629</c:v>
                </c:pt>
                <c:pt idx="221">
                  <c:v>118.71205697812445</c:v>
                </c:pt>
                <c:pt idx="222">
                  <c:v>118.62048499236901</c:v>
                </c:pt>
                <c:pt idx="223">
                  <c:v>118.27369849075802</c:v>
                </c:pt>
                <c:pt idx="224">
                  <c:v>117.70222146854334</c:v>
                </c:pt>
                <c:pt idx="225">
                  <c:v>117.37493640834322</c:v>
                </c:pt>
                <c:pt idx="226">
                  <c:v>117.5674071561811</c:v>
                </c:pt>
                <c:pt idx="227">
                  <c:v>117.01967101916229</c:v>
                </c:pt>
                <c:pt idx="228">
                  <c:v>117.38002374088519</c:v>
                </c:pt>
                <c:pt idx="229">
                  <c:v>117.50127183313548</c:v>
                </c:pt>
                <c:pt idx="230">
                  <c:v>117.64541292182467</c:v>
                </c:pt>
                <c:pt idx="231">
                  <c:v>118.10836018314397</c:v>
                </c:pt>
                <c:pt idx="232">
                  <c:v>118.06087841275226</c:v>
                </c:pt>
                <c:pt idx="233">
                  <c:v>117.97608953705274</c:v>
                </c:pt>
                <c:pt idx="234">
                  <c:v>118.00830930981856</c:v>
                </c:pt>
                <c:pt idx="235">
                  <c:v>118.22791249788027</c:v>
                </c:pt>
                <c:pt idx="236">
                  <c:v>118.19230117008648</c:v>
                </c:pt>
                <c:pt idx="237">
                  <c:v>117.95743598439886</c:v>
                </c:pt>
                <c:pt idx="238">
                  <c:v>117.89384432762422</c:v>
                </c:pt>
                <c:pt idx="239">
                  <c:v>118.11175173817195</c:v>
                </c:pt>
                <c:pt idx="240">
                  <c:v>118.06850941156522</c:v>
                </c:pt>
                <c:pt idx="241">
                  <c:v>118.19060539257251</c:v>
                </c:pt>
                <c:pt idx="242">
                  <c:v>118.39833813803631</c:v>
                </c:pt>
                <c:pt idx="243">
                  <c:v>118.35340003391556</c:v>
                </c:pt>
                <c:pt idx="244">
                  <c:v>118.38561980668136</c:v>
                </c:pt>
                <c:pt idx="245">
                  <c:v>118.18212650500253</c:v>
                </c:pt>
                <c:pt idx="246">
                  <c:v>118.30083093098185</c:v>
                </c:pt>
                <c:pt idx="247">
                  <c:v>118.65524843140579</c:v>
                </c:pt>
                <c:pt idx="248">
                  <c:v>118.85958962184162</c:v>
                </c:pt>
                <c:pt idx="249">
                  <c:v>119.01644904188571</c:v>
                </c:pt>
                <c:pt idx="250">
                  <c:v>119.40478209258944</c:v>
                </c:pt>
                <c:pt idx="251">
                  <c:v>119.46922163812106</c:v>
                </c:pt>
                <c:pt idx="252">
                  <c:v>120.04748177039173</c:v>
                </c:pt>
                <c:pt idx="253">
                  <c:v>120.27980328980838</c:v>
                </c:pt>
                <c:pt idx="254">
                  <c:v>120.4307274885535</c:v>
                </c:pt>
                <c:pt idx="255">
                  <c:v>120.31456672884518</c:v>
                </c:pt>
                <c:pt idx="256">
                  <c:v>120.57486857724267</c:v>
                </c:pt>
                <c:pt idx="257">
                  <c:v>120.73172799728675</c:v>
                </c:pt>
                <c:pt idx="258">
                  <c:v>120.64778701034425</c:v>
                </c:pt>
                <c:pt idx="259">
                  <c:v>120.64693912158724</c:v>
                </c:pt>
                <c:pt idx="260">
                  <c:v>121.28539935560457</c:v>
                </c:pt>
                <c:pt idx="261">
                  <c:v>121.61353230456164</c:v>
                </c:pt>
                <c:pt idx="262">
                  <c:v>121.53043920637612</c:v>
                </c:pt>
                <c:pt idx="263">
                  <c:v>121.52789554010515</c:v>
                </c:pt>
                <c:pt idx="264">
                  <c:v>121.49567576733932</c:v>
                </c:pt>
                <c:pt idx="265">
                  <c:v>121.55502798032897</c:v>
                </c:pt>
                <c:pt idx="266">
                  <c:v>121.51602509750721</c:v>
                </c:pt>
                <c:pt idx="267">
                  <c:v>121.78650161098862</c:v>
                </c:pt>
                <c:pt idx="268">
                  <c:v>121.99593013396644</c:v>
                </c:pt>
                <c:pt idx="269">
                  <c:v>122.09513311853483</c:v>
                </c:pt>
                <c:pt idx="270">
                  <c:v>122.31982363913856</c:v>
                </c:pt>
                <c:pt idx="271">
                  <c:v>122.37239274207224</c:v>
                </c:pt>
                <c:pt idx="272">
                  <c:v>122.45039850771579</c:v>
                </c:pt>
                <c:pt idx="273">
                  <c:v>121.70340851280312</c:v>
                </c:pt>
                <c:pt idx="274">
                  <c:v>122.50211972189251</c:v>
                </c:pt>
                <c:pt idx="275">
                  <c:v>122.75563846023401</c:v>
                </c:pt>
                <c:pt idx="276">
                  <c:v>123.07105307783618</c:v>
                </c:pt>
                <c:pt idx="277">
                  <c:v>123.05748685772426</c:v>
                </c:pt>
                <c:pt idx="278">
                  <c:v>123.49330167881973</c:v>
                </c:pt>
                <c:pt idx="279">
                  <c:v>123.50941156520265</c:v>
                </c:pt>
                <c:pt idx="280">
                  <c:v>123.64337798880787</c:v>
                </c:pt>
                <c:pt idx="281">
                  <c:v>124.00118704425979</c:v>
                </c:pt>
                <c:pt idx="282">
                  <c:v>124.13006613532305</c:v>
                </c:pt>
                <c:pt idx="283">
                  <c:v>124.24113956248941</c:v>
                </c:pt>
                <c:pt idx="284">
                  <c:v>124.45141597422418</c:v>
                </c:pt>
                <c:pt idx="285">
                  <c:v>125.00169577751399</c:v>
                </c:pt>
                <c:pt idx="286">
                  <c:v>124.98219433610309</c:v>
                </c:pt>
                <c:pt idx="287">
                  <c:v>125.16109886382907</c:v>
                </c:pt>
                <c:pt idx="288">
                  <c:v>125.61047990503647</c:v>
                </c:pt>
                <c:pt idx="289">
                  <c:v>125.52569102933695</c:v>
                </c:pt>
                <c:pt idx="290">
                  <c:v>125.59606579616754</c:v>
                </c:pt>
                <c:pt idx="291">
                  <c:v>125.92080719009667</c:v>
                </c:pt>
                <c:pt idx="292">
                  <c:v>126.18026114973718</c:v>
                </c:pt>
                <c:pt idx="293">
                  <c:v>126.17941326098017</c:v>
                </c:pt>
                <c:pt idx="294">
                  <c:v>126.19128370357811</c:v>
                </c:pt>
                <c:pt idx="295">
                  <c:v>126.48889265728339</c:v>
                </c:pt>
                <c:pt idx="296">
                  <c:v>126.18789214855011</c:v>
                </c:pt>
                <c:pt idx="297">
                  <c:v>126.54400542648804</c:v>
                </c:pt>
                <c:pt idx="298">
                  <c:v>126.72799728675596</c:v>
                </c:pt>
                <c:pt idx="299">
                  <c:v>127.2918433101577</c:v>
                </c:pt>
                <c:pt idx="300">
                  <c:v>127.73698490758012</c:v>
                </c:pt>
                <c:pt idx="301">
                  <c:v>127.9794810920807</c:v>
                </c:pt>
                <c:pt idx="302">
                  <c:v>128.21604205528234</c:v>
                </c:pt>
                <c:pt idx="303">
                  <c:v>128.09394607427507</c:v>
                </c:pt>
                <c:pt idx="304">
                  <c:v>128.14312362218075</c:v>
                </c:pt>
                <c:pt idx="305">
                  <c:v>128.22028149906734</c:v>
                </c:pt>
                <c:pt idx="306">
                  <c:v>128.5009326776327</c:v>
                </c:pt>
                <c:pt idx="307">
                  <c:v>128.69170764795658</c:v>
                </c:pt>
                <c:pt idx="308">
                  <c:v>128.67644565033066</c:v>
                </c:pt>
                <c:pt idx="309">
                  <c:v>128.70357809055452</c:v>
                </c:pt>
                <c:pt idx="310">
                  <c:v>128.84008818043074</c:v>
                </c:pt>
                <c:pt idx="311">
                  <c:v>129.01220959810072</c:v>
                </c:pt>
                <c:pt idx="312">
                  <c:v>129.00797015431576</c:v>
                </c:pt>
                <c:pt idx="313">
                  <c:v>129.28607766661014</c:v>
                </c:pt>
                <c:pt idx="314">
                  <c:v>129.78209258945225</c:v>
                </c:pt>
                <c:pt idx="315">
                  <c:v>129.94319145328132</c:v>
                </c:pt>
                <c:pt idx="316">
                  <c:v>129.78548414448022</c:v>
                </c:pt>
                <c:pt idx="317">
                  <c:v>129.99660844497203</c:v>
                </c:pt>
                <c:pt idx="318">
                  <c:v>130.20942852297779</c:v>
                </c:pt>
                <c:pt idx="319">
                  <c:v>130.1534678650161</c:v>
                </c:pt>
                <c:pt idx="320">
                  <c:v>130.81736476174325</c:v>
                </c:pt>
                <c:pt idx="321">
                  <c:v>130.24334407325759</c:v>
                </c:pt>
                <c:pt idx="322">
                  <c:v>130.40953026962862</c:v>
                </c:pt>
                <c:pt idx="323">
                  <c:v>130.49347125657113</c:v>
                </c:pt>
                <c:pt idx="324">
                  <c:v>130.93522129896559</c:v>
                </c:pt>
                <c:pt idx="325">
                  <c:v>131.58979141936578</c:v>
                </c:pt>
                <c:pt idx="326">
                  <c:v>131.6042055282347</c:v>
                </c:pt>
                <c:pt idx="327">
                  <c:v>131.68729862642024</c:v>
                </c:pt>
                <c:pt idx="328">
                  <c:v>131.97558080379855</c:v>
                </c:pt>
                <c:pt idx="329">
                  <c:v>132.06884856706799</c:v>
                </c:pt>
                <c:pt idx="330">
                  <c:v>132.3944378497541</c:v>
                </c:pt>
                <c:pt idx="331">
                  <c:v>131.85009326776327</c:v>
                </c:pt>
                <c:pt idx="332">
                  <c:v>132.28336442258774</c:v>
                </c:pt>
                <c:pt idx="333">
                  <c:v>132.6021705952179</c:v>
                </c:pt>
                <c:pt idx="334">
                  <c:v>132.8819738850263</c:v>
                </c:pt>
                <c:pt idx="335">
                  <c:v>132.9633712056978</c:v>
                </c:pt>
                <c:pt idx="336">
                  <c:v>132.68356791588945</c:v>
                </c:pt>
                <c:pt idx="337">
                  <c:v>133.00237408851959</c:v>
                </c:pt>
                <c:pt idx="338">
                  <c:v>132.86501610988637</c:v>
                </c:pt>
                <c:pt idx="339">
                  <c:v>132.80057656435474</c:v>
                </c:pt>
                <c:pt idx="340">
                  <c:v>132.9667627607258</c:v>
                </c:pt>
                <c:pt idx="341">
                  <c:v>133.31524503985077</c:v>
                </c:pt>
                <c:pt idx="342">
                  <c:v>133.56706800067829</c:v>
                </c:pt>
                <c:pt idx="343">
                  <c:v>133.82143462777685</c:v>
                </c:pt>
                <c:pt idx="344">
                  <c:v>134.25385789384433</c:v>
                </c:pt>
                <c:pt idx="345">
                  <c:v>134.42852297778532</c:v>
                </c:pt>
                <c:pt idx="346">
                  <c:v>134.4997456333729</c:v>
                </c:pt>
                <c:pt idx="347">
                  <c:v>134.68288960488383</c:v>
                </c:pt>
                <c:pt idx="348">
                  <c:v>134.37849754112258</c:v>
                </c:pt>
                <c:pt idx="349">
                  <c:v>134.54553162625064</c:v>
                </c:pt>
                <c:pt idx="350">
                  <c:v>131.73732406308295</c:v>
                </c:pt>
                <c:pt idx="351">
                  <c:v>112.92606410039004</c:v>
                </c:pt>
                <c:pt idx="352">
                  <c:v>116.27352891300661</c:v>
                </c:pt>
                <c:pt idx="353">
                  <c:v>120.69272511446498</c:v>
                </c:pt>
                <c:pt idx="354">
                  <c:v>121.91538070205191</c:v>
                </c:pt>
                <c:pt idx="355">
                  <c:v>124.86094624385279</c:v>
                </c:pt>
                <c:pt idx="356">
                  <c:v>125.21112430049179</c:v>
                </c:pt>
                <c:pt idx="357">
                  <c:v>127.14007122265561</c:v>
                </c:pt>
                <c:pt idx="358">
                  <c:v>127.11039511616076</c:v>
                </c:pt>
                <c:pt idx="359">
                  <c:v>127.17398677293539</c:v>
                </c:pt>
                <c:pt idx="360">
                  <c:v>127.02814990673224</c:v>
                </c:pt>
                <c:pt idx="361">
                  <c:v>127.30201797524163</c:v>
                </c:pt>
                <c:pt idx="362">
                  <c:v>127.74292012887909</c:v>
                </c:pt>
                <c:pt idx="363">
                  <c:v>128.10157707308801</c:v>
                </c:pt>
                <c:pt idx="364">
                  <c:v>128.44412413091402</c:v>
                </c:pt>
                <c:pt idx="365">
                  <c:v>128.66457520773275</c:v>
                </c:pt>
                <c:pt idx="366">
                  <c:v>129.54807529252162</c:v>
                </c:pt>
                <c:pt idx="367">
                  <c:v>129.95590978463628</c:v>
                </c:pt>
                <c:pt idx="368">
                  <c:v>130.49771070035612</c:v>
                </c:pt>
                <c:pt idx="369">
                  <c:v>131.00220451076819</c:v>
                </c:pt>
                <c:pt idx="370">
                  <c:v>131.85348482279127</c:v>
                </c:pt>
                <c:pt idx="371">
                  <c:v>132.37578429710021</c:v>
                </c:pt>
                <c:pt idx="372">
                  <c:v>133.17449550618957</c:v>
                </c:pt>
                <c:pt idx="373">
                  <c:v>133.56622011192133</c:v>
                </c:pt>
                <c:pt idx="374">
                  <c:v>134.15211124300492</c:v>
                </c:pt>
                <c:pt idx="375">
                  <c:v>133.87146006443956</c:v>
                </c:pt>
                <c:pt idx="376">
                  <c:v>134.23266067491946</c:v>
                </c:pt>
                <c:pt idx="377">
                  <c:v>134.06477870103444</c:v>
                </c:pt>
                <c:pt idx="378">
                  <c:v>134.20552823469563</c:v>
                </c:pt>
                <c:pt idx="379">
                  <c:v>134.60912328302527</c:v>
                </c:pt>
                <c:pt idx="380">
                  <c:v>134.7244361539766</c:v>
                </c:pt>
                <c:pt idx="381">
                  <c:v>134.58453450907243</c:v>
                </c:pt>
                <c:pt idx="382">
                  <c:v>134.37764965236562</c:v>
                </c:pt>
                <c:pt idx="383">
                  <c:v>135.0686789893166</c:v>
                </c:pt>
                <c:pt idx="384">
                  <c:v>135.79108021027639</c:v>
                </c:pt>
                <c:pt idx="385">
                  <c:v>135.91741563506866</c:v>
                </c:pt>
                <c:pt idx="386">
                  <c:v>136.36086145497711</c:v>
                </c:pt>
                <c:pt idx="387">
                  <c:v>136.4778701034424</c:v>
                </c:pt>
                <c:pt idx="388">
                  <c:v>136.26165847040866</c:v>
                </c:pt>
                <c:pt idx="389">
                  <c:v>136.51348143123622</c:v>
                </c:pt>
                <c:pt idx="390">
                  <c:v>136.68729862642022</c:v>
                </c:pt>
                <c:pt idx="391">
                  <c:v>136.93403425470578</c:v>
                </c:pt>
                <c:pt idx="392">
                  <c:v>136.97642869255554</c:v>
                </c:pt>
                <c:pt idx="393">
                  <c:v>136.74749872816687</c:v>
                </c:pt>
                <c:pt idx="394">
                  <c:v>137.244361539766</c:v>
                </c:pt>
                <c:pt idx="395">
                  <c:v>136.66525351873833</c:v>
                </c:pt>
                <c:pt idx="396">
                  <c:v>136.63896896727147</c:v>
                </c:pt>
                <c:pt idx="397">
                  <c:v>136.48295743598439</c:v>
                </c:pt>
                <c:pt idx="398">
                  <c:v>136.90520603696797</c:v>
                </c:pt>
                <c:pt idx="399">
                  <c:v>136.92640325589284</c:v>
                </c:pt>
                <c:pt idx="400">
                  <c:v>136.58046464303882</c:v>
                </c:pt>
                <c:pt idx="401">
                  <c:v>136.67881973885028</c:v>
                </c:pt>
                <c:pt idx="402">
                  <c:v>136.73562828556894</c:v>
                </c:pt>
                <c:pt idx="403">
                  <c:v>136.87807359674412</c:v>
                </c:pt>
                <c:pt idx="404">
                  <c:v>137.24266576225199</c:v>
                </c:pt>
                <c:pt idx="405">
                  <c:v>136.9306426996778</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numCache>
            </c:numRef>
          </c:val>
          <c:smooth val="0"/>
          <c:extLst>
            <c:ext xmlns:c16="http://schemas.microsoft.com/office/drawing/2014/chart" uri="{C3380CC4-5D6E-409C-BE32-E72D297353CC}">
              <c16:uniqueId val="{00000000-2E29-4B05-B243-5F6838717981}"/>
            </c:ext>
          </c:extLst>
        </c:ser>
        <c:ser>
          <c:idx val="1"/>
          <c:order val="1"/>
          <c:tx>
            <c:strRef>
              <c:f>'Sheet1 (2)'!$AG$7</c:f>
              <c:strCache>
                <c:ptCount val="1"/>
                <c:pt idx="0">
                  <c:v>Deutschland (indexiert: 1991=100)</c:v>
                </c:pt>
              </c:strCache>
            </c:strRef>
          </c:tx>
          <c:spPr>
            <a:ln w="28575" cap="rnd">
              <a:solidFill>
                <a:schemeClr val="accent2"/>
              </a:solidFill>
              <a:round/>
            </a:ln>
            <a:effectLst/>
          </c:spPr>
          <c:marker>
            <c:symbol val="none"/>
          </c:marker>
          <c:cat>
            <c:numRef>
              <c:f>'Sheet1 (2)'!$AE$9:$AE$429</c:f>
              <c:numCache>
                <c:formatCode>m/d/yyyy</c:formatCode>
                <c:ptCount val="421"/>
                <c:pt idx="0">
                  <c:v>33253</c:v>
                </c:pt>
                <c:pt idx="1">
                  <c:v>33284</c:v>
                </c:pt>
                <c:pt idx="2">
                  <c:v>33312</c:v>
                </c:pt>
                <c:pt idx="3">
                  <c:v>33343</c:v>
                </c:pt>
                <c:pt idx="4">
                  <c:v>33373</c:v>
                </c:pt>
                <c:pt idx="5">
                  <c:v>33404</c:v>
                </c:pt>
                <c:pt idx="6">
                  <c:v>33434</c:v>
                </c:pt>
                <c:pt idx="7">
                  <c:v>33465</c:v>
                </c:pt>
                <c:pt idx="8">
                  <c:v>33496</c:v>
                </c:pt>
                <c:pt idx="9">
                  <c:v>33526</c:v>
                </c:pt>
                <c:pt idx="10">
                  <c:v>33557</c:v>
                </c:pt>
                <c:pt idx="11">
                  <c:v>33587</c:v>
                </c:pt>
                <c:pt idx="12">
                  <c:v>33618</c:v>
                </c:pt>
                <c:pt idx="13">
                  <c:v>33649</c:v>
                </c:pt>
                <c:pt idx="14">
                  <c:v>33678</c:v>
                </c:pt>
                <c:pt idx="15">
                  <c:v>33709</c:v>
                </c:pt>
                <c:pt idx="16">
                  <c:v>33739</c:v>
                </c:pt>
                <c:pt idx="17">
                  <c:v>33770</c:v>
                </c:pt>
                <c:pt idx="18">
                  <c:v>33800</c:v>
                </c:pt>
                <c:pt idx="19">
                  <c:v>33831</c:v>
                </c:pt>
                <c:pt idx="20">
                  <c:v>33862</c:v>
                </c:pt>
                <c:pt idx="21">
                  <c:v>33892</c:v>
                </c:pt>
                <c:pt idx="22">
                  <c:v>33923</c:v>
                </c:pt>
                <c:pt idx="23">
                  <c:v>33953</c:v>
                </c:pt>
                <c:pt idx="24">
                  <c:v>33984</c:v>
                </c:pt>
                <c:pt idx="25">
                  <c:v>34015</c:v>
                </c:pt>
                <c:pt idx="26">
                  <c:v>34043</c:v>
                </c:pt>
                <c:pt idx="27">
                  <c:v>34074</c:v>
                </c:pt>
                <c:pt idx="28">
                  <c:v>34104</c:v>
                </c:pt>
                <c:pt idx="29">
                  <c:v>34135</c:v>
                </c:pt>
                <c:pt idx="30">
                  <c:v>34165</c:v>
                </c:pt>
                <c:pt idx="31">
                  <c:v>34196</c:v>
                </c:pt>
                <c:pt idx="32">
                  <c:v>34227</c:v>
                </c:pt>
                <c:pt idx="33">
                  <c:v>34257</c:v>
                </c:pt>
                <c:pt idx="34">
                  <c:v>34288</c:v>
                </c:pt>
                <c:pt idx="35">
                  <c:v>34318</c:v>
                </c:pt>
                <c:pt idx="36">
                  <c:v>34349</c:v>
                </c:pt>
                <c:pt idx="37">
                  <c:v>34380</c:v>
                </c:pt>
                <c:pt idx="38">
                  <c:v>34408</c:v>
                </c:pt>
                <c:pt idx="39">
                  <c:v>34439</c:v>
                </c:pt>
                <c:pt idx="40">
                  <c:v>34469</c:v>
                </c:pt>
                <c:pt idx="41">
                  <c:v>34500</c:v>
                </c:pt>
                <c:pt idx="42">
                  <c:v>34530</c:v>
                </c:pt>
                <c:pt idx="43">
                  <c:v>34561</c:v>
                </c:pt>
                <c:pt idx="44">
                  <c:v>34592</c:v>
                </c:pt>
                <c:pt idx="45">
                  <c:v>34622</c:v>
                </c:pt>
                <c:pt idx="46">
                  <c:v>34653</c:v>
                </c:pt>
                <c:pt idx="47">
                  <c:v>34683</c:v>
                </c:pt>
                <c:pt idx="48">
                  <c:v>34714</c:v>
                </c:pt>
                <c:pt idx="49">
                  <c:v>34745</c:v>
                </c:pt>
                <c:pt idx="50">
                  <c:v>34773</c:v>
                </c:pt>
                <c:pt idx="51">
                  <c:v>34804</c:v>
                </c:pt>
                <c:pt idx="52">
                  <c:v>34834</c:v>
                </c:pt>
                <c:pt idx="53">
                  <c:v>34865</c:v>
                </c:pt>
                <c:pt idx="54">
                  <c:v>34895</c:v>
                </c:pt>
                <c:pt idx="55">
                  <c:v>34926</c:v>
                </c:pt>
                <c:pt idx="56">
                  <c:v>34957</c:v>
                </c:pt>
                <c:pt idx="57">
                  <c:v>34987</c:v>
                </c:pt>
                <c:pt idx="58">
                  <c:v>35018</c:v>
                </c:pt>
                <c:pt idx="59">
                  <c:v>35048</c:v>
                </c:pt>
                <c:pt idx="60">
                  <c:v>35079</c:v>
                </c:pt>
                <c:pt idx="61">
                  <c:v>35110</c:v>
                </c:pt>
                <c:pt idx="62">
                  <c:v>35139</c:v>
                </c:pt>
                <c:pt idx="63">
                  <c:v>35170</c:v>
                </c:pt>
                <c:pt idx="64">
                  <c:v>35200</c:v>
                </c:pt>
                <c:pt idx="65">
                  <c:v>35231</c:v>
                </c:pt>
                <c:pt idx="66">
                  <c:v>35261</c:v>
                </c:pt>
                <c:pt idx="67">
                  <c:v>35292</c:v>
                </c:pt>
                <c:pt idx="68">
                  <c:v>35323</c:v>
                </c:pt>
                <c:pt idx="69">
                  <c:v>35353</c:v>
                </c:pt>
                <c:pt idx="70">
                  <c:v>35384</c:v>
                </c:pt>
                <c:pt idx="71">
                  <c:v>35414</c:v>
                </c:pt>
                <c:pt idx="72">
                  <c:v>35445</c:v>
                </c:pt>
                <c:pt idx="73">
                  <c:v>35476</c:v>
                </c:pt>
                <c:pt idx="74">
                  <c:v>35504</c:v>
                </c:pt>
                <c:pt idx="75">
                  <c:v>35535</c:v>
                </c:pt>
                <c:pt idx="76">
                  <c:v>35565</c:v>
                </c:pt>
                <c:pt idx="77">
                  <c:v>35596</c:v>
                </c:pt>
                <c:pt idx="78">
                  <c:v>35626</c:v>
                </c:pt>
                <c:pt idx="79">
                  <c:v>35657</c:v>
                </c:pt>
                <c:pt idx="80">
                  <c:v>35688</c:v>
                </c:pt>
                <c:pt idx="81">
                  <c:v>35718</c:v>
                </c:pt>
                <c:pt idx="82">
                  <c:v>35749</c:v>
                </c:pt>
                <c:pt idx="83">
                  <c:v>35779</c:v>
                </c:pt>
                <c:pt idx="84">
                  <c:v>35810</c:v>
                </c:pt>
                <c:pt idx="85">
                  <c:v>35841</c:v>
                </c:pt>
                <c:pt idx="86">
                  <c:v>35869</c:v>
                </c:pt>
                <c:pt idx="87">
                  <c:v>35900</c:v>
                </c:pt>
                <c:pt idx="88">
                  <c:v>35930</c:v>
                </c:pt>
                <c:pt idx="89">
                  <c:v>35961</c:v>
                </c:pt>
                <c:pt idx="90">
                  <c:v>35991</c:v>
                </c:pt>
                <c:pt idx="91">
                  <c:v>36022</c:v>
                </c:pt>
                <c:pt idx="92">
                  <c:v>36053</c:v>
                </c:pt>
                <c:pt idx="93">
                  <c:v>36083</c:v>
                </c:pt>
                <c:pt idx="94">
                  <c:v>36114</c:v>
                </c:pt>
                <c:pt idx="95">
                  <c:v>36144</c:v>
                </c:pt>
                <c:pt idx="96">
                  <c:v>36175</c:v>
                </c:pt>
                <c:pt idx="97">
                  <c:v>36206</c:v>
                </c:pt>
                <c:pt idx="98">
                  <c:v>36234</c:v>
                </c:pt>
                <c:pt idx="99">
                  <c:v>36265</c:v>
                </c:pt>
                <c:pt idx="100">
                  <c:v>36295</c:v>
                </c:pt>
                <c:pt idx="101">
                  <c:v>36326</c:v>
                </c:pt>
                <c:pt idx="102">
                  <c:v>36356</c:v>
                </c:pt>
                <c:pt idx="103">
                  <c:v>36387</c:v>
                </c:pt>
                <c:pt idx="104">
                  <c:v>36418</c:v>
                </c:pt>
                <c:pt idx="105">
                  <c:v>36448</c:v>
                </c:pt>
                <c:pt idx="106">
                  <c:v>36479</c:v>
                </c:pt>
                <c:pt idx="107">
                  <c:v>36509</c:v>
                </c:pt>
                <c:pt idx="108">
                  <c:v>36540</c:v>
                </c:pt>
                <c:pt idx="109">
                  <c:v>36571</c:v>
                </c:pt>
                <c:pt idx="110">
                  <c:v>36600</c:v>
                </c:pt>
                <c:pt idx="111">
                  <c:v>36631</c:v>
                </c:pt>
                <c:pt idx="112">
                  <c:v>36661</c:v>
                </c:pt>
                <c:pt idx="113">
                  <c:v>36692</c:v>
                </c:pt>
                <c:pt idx="114">
                  <c:v>36722</c:v>
                </c:pt>
                <c:pt idx="115">
                  <c:v>36753</c:v>
                </c:pt>
                <c:pt idx="116">
                  <c:v>36784</c:v>
                </c:pt>
                <c:pt idx="117">
                  <c:v>36814</c:v>
                </c:pt>
                <c:pt idx="118">
                  <c:v>36845</c:v>
                </c:pt>
                <c:pt idx="119">
                  <c:v>36875</c:v>
                </c:pt>
                <c:pt idx="120">
                  <c:v>36906</c:v>
                </c:pt>
                <c:pt idx="121">
                  <c:v>36937</c:v>
                </c:pt>
                <c:pt idx="122">
                  <c:v>36965</c:v>
                </c:pt>
                <c:pt idx="123">
                  <c:v>36996</c:v>
                </c:pt>
                <c:pt idx="124">
                  <c:v>37026</c:v>
                </c:pt>
                <c:pt idx="125">
                  <c:v>37057</c:v>
                </c:pt>
                <c:pt idx="126">
                  <c:v>37087</c:v>
                </c:pt>
                <c:pt idx="127">
                  <c:v>37118</c:v>
                </c:pt>
                <c:pt idx="128">
                  <c:v>37149</c:v>
                </c:pt>
                <c:pt idx="129">
                  <c:v>37179</c:v>
                </c:pt>
                <c:pt idx="130">
                  <c:v>37210</c:v>
                </c:pt>
                <c:pt idx="131">
                  <c:v>37240</c:v>
                </c:pt>
                <c:pt idx="132">
                  <c:v>37271</c:v>
                </c:pt>
                <c:pt idx="133">
                  <c:v>37302</c:v>
                </c:pt>
                <c:pt idx="134">
                  <c:v>37330</c:v>
                </c:pt>
                <c:pt idx="135">
                  <c:v>37361</c:v>
                </c:pt>
                <c:pt idx="136">
                  <c:v>37391</c:v>
                </c:pt>
                <c:pt idx="137">
                  <c:v>37422</c:v>
                </c:pt>
                <c:pt idx="138">
                  <c:v>37452</c:v>
                </c:pt>
                <c:pt idx="139">
                  <c:v>37483</c:v>
                </c:pt>
                <c:pt idx="140">
                  <c:v>37514</c:v>
                </c:pt>
                <c:pt idx="141">
                  <c:v>37544</c:v>
                </c:pt>
                <c:pt idx="142">
                  <c:v>37575</c:v>
                </c:pt>
                <c:pt idx="143">
                  <c:v>37605</c:v>
                </c:pt>
                <c:pt idx="144">
                  <c:v>37636</c:v>
                </c:pt>
                <c:pt idx="145">
                  <c:v>37667</c:v>
                </c:pt>
                <c:pt idx="146">
                  <c:v>37695</c:v>
                </c:pt>
                <c:pt idx="147">
                  <c:v>37726</c:v>
                </c:pt>
                <c:pt idx="148">
                  <c:v>37756</c:v>
                </c:pt>
                <c:pt idx="149">
                  <c:v>37787</c:v>
                </c:pt>
                <c:pt idx="150">
                  <c:v>37817</c:v>
                </c:pt>
                <c:pt idx="151">
                  <c:v>37848</c:v>
                </c:pt>
                <c:pt idx="152">
                  <c:v>37879</c:v>
                </c:pt>
                <c:pt idx="153">
                  <c:v>37909</c:v>
                </c:pt>
                <c:pt idx="154">
                  <c:v>37940</c:v>
                </c:pt>
                <c:pt idx="155">
                  <c:v>37970</c:v>
                </c:pt>
                <c:pt idx="156">
                  <c:v>38001</c:v>
                </c:pt>
                <c:pt idx="157">
                  <c:v>38032</c:v>
                </c:pt>
                <c:pt idx="158">
                  <c:v>38061</c:v>
                </c:pt>
                <c:pt idx="159">
                  <c:v>38092</c:v>
                </c:pt>
                <c:pt idx="160">
                  <c:v>38122</c:v>
                </c:pt>
                <c:pt idx="161">
                  <c:v>38153</c:v>
                </c:pt>
                <c:pt idx="162">
                  <c:v>38183</c:v>
                </c:pt>
                <c:pt idx="163">
                  <c:v>38214</c:v>
                </c:pt>
                <c:pt idx="164">
                  <c:v>38245</c:v>
                </c:pt>
                <c:pt idx="165">
                  <c:v>38275</c:v>
                </c:pt>
                <c:pt idx="166">
                  <c:v>38306</c:v>
                </c:pt>
                <c:pt idx="167">
                  <c:v>38336</c:v>
                </c:pt>
                <c:pt idx="168">
                  <c:v>38367</c:v>
                </c:pt>
                <c:pt idx="169">
                  <c:v>38398</c:v>
                </c:pt>
                <c:pt idx="170">
                  <c:v>38426</c:v>
                </c:pt>
                <c:pt idx="171">
                  <c:v>38457</c:v>
                </c:pt>
                <c:pt idx="172">
                  <c:v>38487</c:v>
                </c:pt>
                <c:pt idx="173">
                  <c:v>38518</c:v>
                </c:pt>
                <c:pt idx="174">
                  <c:v>38548</c:v>
                </c:pt>
                <c:pt idx="175">
                  <c:v>38579</c:v>
                </c:pt>
                <c:pt idx="176">
                  <c:v>38610</c:v>
                </c:pt>
                <c:pt idx="177">
                  <c:v>38640</c:v>
                </c:pt>
                <c:pt idx="178">
                  <c:v>38671</c:v>
                </c:pt>
                <c:pt idx="179">
                  <c:v>38701</c:v>
                </c:pt>
                <c:pt idx="180">
                  <c:v>38732</c:v>
                </c:pt>
                <c:pt idx="181">
                  <c:v>38763</c:v>
                </c:pt>
                <c:pt idx="182">
                  <c:v>38791</c:v>
                </c:pt>
                <c:pt idx="183">
                  <c:v>38822</c:v>
                </c:pt>
                <c:pt idx="184">
                  <c:v>38852</c:v>
                </c:pt>
                <c:pt idx="185">
                  <c:v>38883</c:v>
                </c:pt>
                <c:pt idx="186">
                  <c:v>38913</c:v>
                </c:pt>
                <c:pt idx="187">
                  <c:v>38944</c:v>
                </c:pt>
                <c:pt idx="188">
                  <c:v>38975</c:v>
                </c:pt>
                <c:pt idx="189">
                  <c:v>39005</c:v>
                </c:pt>
                <c:pt idx="190">
                  <c:v>39036</c:v>
                </c:pt>
                <c:pt idx="191">
                  <c:v>39066</c:v>
                </c:pt>
                <c:pt idx="192">
                  <c:v>39097</c:v>
                </c:pt>
                <c:pt idx="193">
                  <c:v>39128</c:v>
                </c:pt>
                <c:pt idx="194">
                  <c:v>39156</c:v>
                </c:pt>
                <c:pt idx="195">
                  <c:v>39187</c:v>
                </c:pt>
                <c:pt idx="196">
                  <c:v>39217</c:v>
                </c:pt>
                <c:pt idx="197">
                  <c:v>39248</c:v>
                </c:pt>
                <c:pt idx="198">
                  <c:v>39278</c:v>
                </c:pt>
                <c:pt idx="199">
                  <c:v>39309</c:v>
                </c:pt>
                <c:pt idx="200">
                  <c:v>39340</c:v>
                </c:pt>
                <c:pt idx="201">
                  <c:v>39370</c:v>
                </c:pt>
                <c:pt idx="202">
                  <c:v>39401</c:v>
                </c:pt>
                <c:pt idx="203">
                  <c:v>39431</c:v>
                </c:pt>
                <c:pt idx="204">
                  <c:v>39462</c:v>
                </c:pt>
                <c:pt idx="205">
                  <c:v>39493</c:v>
                </c:pt>
                <c:pt idx="206">
                  <c:v>39522</c:v>
                </c:pt>
                <c:pt idx="207">
                  <c:v>39553</c:v>
                </c:pt>
                <c:pt idx="208">
                  <c:v>39583</c:v>
                </c:pt>
                <c:pt idx="209">
                  <c:v>39614</c:v>
                </c:pt>
                <c:pt idx="210">
                  <c:v>39644</c:v>
                </c:pt>
                <c:pt idx="211">
                  <c:v>39675</c:v>
                </c:pt>
                <c:pt idx="212">
                  <c:v>39706</c:v>
                </c:pt>
                <c:pt idx="213">
                  <c:v>39736</c:v>
                </c:pt>
                <c:pt idx="214">
                  <c:v>39767</c:v>
                </c:pt>
                <c:pt idx="215">
                  <c:v>39797</c:v>
                </c:pt>
                <c:pt idx="216">
                  <c:v>39828</c:v>
                </c:pt>
                <c:pt idx="217">
                  <c:v>39859</c:v>
                </c:pt>
                <c:pt idx="218">
                  <c:v>39887</c:v>
                </c:pt>
                <c:pt idx="219">
                  <c:v>39918</c:v>
                </c:pt>
                <c:pt idx="220">
                  <c:v>39948</c:v>
                </c:pt>
                <c:pt idx="221">
                  <c:v>39979</c:v>
                </c:pt>
                <c:pt idx="222">
                  <c:v>40009</c:v>
                </c:pt>
                <c:pt idx="223">
                  <c:v>40040</c:v>
                </c:pt>
                <c:pt idx="224">
                  <c:v>40071</c:v>
                </c:pt>
                <c:pt idx="225">
                  <c:v>40101</c:v>
                </c:pt>
                <c:pt idx="226">
                  <c:v>40132</c:v>
                </c:pt>
                <c:pt idx="227">
                  <c:v>40162</c:v>
                </c:pt>
                <c:pt idx="228">
                  <c:v>40193</c:v>
                </c:pt>
                <c:pt idx="229">
                  <c:v>40224</c:v>
                </c:pt>
                <c:pt idx="230">
                  <c:v>40252</c:v>
                </c:pt>
                <c:pt idx="231">
                  <c:v>40283</c:v>
                </c:pt>
                <c:pt idx="232">
                  <c:v>40313</c:v>
                </c:pt>
                <c:pt idx="233">
                  <c:v>40344</c:v>
                </c:pt>
                <c:pt idx="234">
                  <c:v>40374</c:v>
                </c:pt>
                <c:pt idx="235">
                  <c:v>40405</c:v>
                </c:pt>
                <c:pt idx="236">
                  <c:v>40436</c:v>
                </c:pt>
                <c:pt idx="237">
                  <c:v>40466</c:v>
                </c:pt>
                <c:pt idx="238">
                  <c:v>40497</c:v>
                </c:pt>
                <c:pt idx="239">
                  <c:v>40527</c:v>
                </c:pt>
                <c:pt idx="240">
                  <c:v>40558</c:v>
                </c:pt>
                <c:pt idx="241">
                  <c:v>40589</c:v>
                </c:pt>
                <c:pt idx="242">
                  <c:v>40617</c:v>
                </c:pt>
                <c:pt idx="243">
                  <c:v>40648</c:v>
                </c:pt>
                <c:pt idx="244">
                  <c:v>40678</c:v>
                </c:pt>
                <c:pt idx="245">
                  <c:v>40709</c:v>
                </c:pt>
                <c:pt idx="246">
                  <c:v>40739</c:v>
                </c:pt>
                <c:pt idx="247">
                  <c:v>40770</c:v>
                </c:pt>
                <c:pt idx="248">
                  <c:v>40801</c:v>
                </c:pt>
                <c:pt idx="249">
                  <c:v>40831</c:v>
                </c:pt>
                <c:pt idx="250">
                  <c:v>40862</c:v>
                </c:pt>
                <c:pt idx="251">
                  <c:v>40892</c:v>
                </c:pt>
                <c:pt idx="252">
                  <c:v>40923</c:v>
                </c:pt>
                <c:pt idx="253">
                  <c:v>40954</c:v>
                </c:pt>
                <c:pt idx="254">
                  <c:v>40983</c:v>
                </c:pt>
                <c:pt idx="255">
                  <c:v>41014</c:v>
                </c:pt>
                <c:pt idx="256">
                  <c:v>41044</c:v>
                </c:pt>
                <c:pt idx="257">
                  <c:v>41075</c:v>
                </c:pt>
                <c:pt idx="258">
                  <c:v>41105</c:v>
                </c:pt>
                <c:pt idx="259">
                  <c:v>41136</c:v>
                </c:pt>
                <c:pt idx="260">
                  <c:v>41167</c:v>
                </c:pt>
                <c:pt idx="261">
                  <c:v>41197</c:v>
                </c:pt>
                <c:pt idx="262">
                  <c:v>41228</c:v>
                </c:pt>
                <c:pt idx="263">
                  <c:v>41258</c:v>
                </c:pt>
                <c:pt idx="264">
                  <c:v>41289</c:v>
                </c:pt>
                <c:pt idx="265">
                  <c:v>41320</c:v>
                </c:pt>
                <c:pt idx="266">
                  <c:v>41348</c:v>
                </c:pt>
                <c:pt idx="267">
                  <c:v>41379</c:v>
                </c:pt>
                <c:pt idx="268">
                  <c:v>41409</c:v>
                </c:pt>
                <c:pt idx="269">
                  <c:v>41440</c:v>
                </c:pt>
                <c:pt idx="270">
                  <c:v>41470</c:v>
                </c:pt>
                <c:pt idx="271">
                  <c:v>41501</c:v>
                </c:pt>
                <c:pt idx="272">
                  <c:v>41532</c:v>
                </c:pt>
                <c:pt idx="273">
                  <c:v>41562</c:v>
                </c:pt>
                <c:pt idx="274">
                  <c:v>41593</c:v>
                </c:pt>
                <c:pt idx="275">
                  <c:v>41623</c:v>
                </c:pt>
                <c:pt idx="276">
                  <c:v>41654</c:v>
                </c:pt>
                <c:pt idx="277">
                  <c:v>41685</c:v>
                </c:pt>
                <c:pt idx="278">
                  <c:v>41713</c:v>
                </c:pt>
                <c:pt idx="279">
                  <c:v>41744</c:v>
                </c:pt>
                <c:pt idx="280">
                  <c:v>41774</c:v>
                </c:pt>
                <c:pt idx="281">
                  <c:v>41805</c:v>
                </c:pt>
                <c:pt idx="282">
                  <c:v>41835</c:v>
                </c:pt>
                <c:pt idx="283">
                  <c:v>41866</c:v>
                </c:pt>
                <c:pt idx="284">
                  <c:v>41897</c:v>
                </c:pt>
                <c:pt idx="285">
                  <c:v>41927</c:v>
                </c:pt>
                <c:pt idx="286">
                  <c:v>41958</c:v>
                </c:pt>
                <c:pt idx="287">
                  <c:v>41988</c:v>
                </c:pt>
                <c:pt idx="288">
                  <c:v>42019</c:v>
                </c:pt>
                <c:pt idx="289">
                  <c:v>42050</c:v>
                </c:pt>
                <c:pt idx="290">
                  <c:v>42078</c:v>
                </c:pt>
                <c:pt idx="291">
                  <c:v>42109</c:v>
                </c:pt>
                <c:pt idx="292">
                  <c:v>42139</c:v>
                </c:pt>
                <c:pt idx="293">
                  <c:v>42170</c:v>
                </c:pt>
                <c:pt idx="294">
                  <c:v>42200</c:v>
                </c:pt>
                <c:pt idx="295">
                  <c:v>42231</c:v>
                </c:pt>
                <c:pt idx="296">
                  <c:v>42262</c:v>
                </c:pt>
                <c:pt idx="297">
                  <c:v>42292</c:v>
                </c:pt>
                <c:pt idx="298">
                  <c:v>42323</c:v>
                </c:pt>
                <c:pt idx="299">
                  <c:v>42353</c:v>
                </c:pt>
                <c:pt idx="300">
                  <c:v>42384</c:v>
                </c:pt>
                <c:pt idx="301">
                  <c:v>42415</c:v>
                </c:pt>
                <c:pt idx="302">
                  <c:v>42444</c:v>
                </c:pt>
                <c:pt idx="303">
                  <c:v>42475</c:v>
                </c:pt>
                <c:pt idx="304">
                  <c:v>42505</c:v>
                </c:pt>
                <c:pt idx="305">
                  <c:v>42536</c:v>
                </c:pt>
                <c:pt idx="306">
                  <c:v>42566</c:v>
                </c:pt>
                <c:pt idx="307">
                  <c:v>42597</c:v>
                </c:pt>
                <c:pt idx="308">
                  <c:v>42628</c:v>
                </c:pt>
                <c:pt idx="309">
                  <c:v>42658</c:v>
                </c:pt>
                <c:pt idx="310">
                  <c:v>42689</c:v>
                </c:pt>
                <c:pt idx="311">
                  <c:v>42719</c:v>
                </c:pt>
                <c:pt idx="312">
                  <c:v>42750</c:v>
                </c:pt>
                <c:pt idx="313">
                  <c:v>42781</c:v>
                </c:pt>
                <c:pt idx="314">
                  <c:v>42809</c:v>
                </c:pt>
                <c:pt idx="315">
                  <c:v>42840</c:v>
                </c:pt>
                <c:pt idx="316">
                  <c:v>42870</c:v>
                </c:pt>
                <c:pt idx="317">
                  <c:v>42901</c:v>
                </c:pt>
                <c:pt idx="318">
                  <c:v>42931</c:v>
                </c:pt>
                <c:pt idx="319">
                  <c:v>42962</c:v>
                </c:pt>
                <c:pt idx="320">
                  <c:v>42993</c:v>
                </c:pt>
                <c:pt idx="321">
                  <c:v>43023</c:v>
                </c:pt>
                <c:pt idx="322">
                  <c:v>43054</c:v>
                </c:pt>
                <c:pt idx="323">
                  <c:v>43084</c:v>
                </c:pt>
                <c:pt idx="324">
                  <c:v>43115</c:v>
                </c:pt>
                <c:pt idx="325">
                  <c:v>43146</c:v>
                </c:pt>
                <c:pt idx="326">
                  <c:v>43174</c:v>
                </c:pt>
                <c:pt idx="327">
                  <c:v>43205</c:v>
                </c:pt>
                <c:pt idx="328">
                  <c:v>43235</c:v>
                </c:pt>
                <c:pt idx="329">
                  <c:v>43266</c:v>
                </c:pt>
                <c:pt idx="330">
                  <c:v>43296</c:v>
                </c:pt>
                <c:pt idx="331">
                  <c:v>43327</c:v>
                </c:pt>
                <c:pt idx="332">
                  <c:v>43358</c:v>
                </c:pt>
                <c:pt idx="333">
                  <c:v>43388</c:v>
                </c:pt>
                <c:pt idx="334">
                  <c:v>43419</c:v>
                </c:pt>
                <c:pt idx="335">
                  <c:v>43449</c:v>
                </c:pt>
                <c:pt idx="336">
                  <c:v>43480</c:v>
                </c:pt>
                <c:pt idx="337">
                  <c:v>43511</c:v>
                </c:pt>
                <c:pt idx="338">
                  <c:v>43539</c:v>
                </c:pt>
                <c:pt idx="339">
                  <c:v>43570</c:v>
                </c:pt>
                <c:pt idx="340">
                  <c:v>43600</c:v>
                </c:pt>
                <c:pt idx="341">
                  <c:v>43631</c:v>
                </c:pt>
                <c:pt idx="342">
                  <c:v>43661</c:v>
                </c:pt>
                <c:pt idx="343">
                  <c:v>43692</c:v>
                </c:pt>
                <c:pt idx="344">
                  <c:v>43723</c:v>
                </c:pt>
                <c:pt idx="345">
                  <c:v>43753</c:v>
                </c:pt>
                <c:pt idx="346">
                  <c:v>43784</c:v>
                </c:pt>
                <c:pt idx="347">
                  <c:v>43814</c:v>
                </c:pt>
                <c:pt idx="348">
                  <c:v>43845</c:v>
                </c:pt>
                <c:pt idx="349">
                  <c:v>43876</c:v>
                </c:pt>
                <c:pt idx="350">
                  <c:v>43905</c:v>
                </c:pt>
                <c:pt idx="351">
                  <c:v>43936</c:v>
                </c:pt>
                <c:pt idx="352">
                  <c:v>43966</c:v>
                </c:pt>
                <c:pt idx="353">
                  <c:v>43997</c:v>
                </c:pt>
                <c:pt idx="354">
                  <c:v>44027</c:v>
                </c:pt>
                <c:pt idx="355">
                  <c:v>44058</c:v>
                </c:pt>
                <c:pt idx="356">
                  <c:v>44089</c:v>
                </c:pt>
                <c:pt idx="357">
                  <c:v>44119</c:v>
                </c:pt>
                <c:pt idx="358">
                  <c:v>44150</c:v>
                </c:pt>
                <c:pt idx="359">
                  <c:v>44180</c:v>
                </c:pt>
                <c:pt idx="360">
                  <c:v>44211</c:v>
                </c:pt>
                <c:pt idx="361">
                  <c:v>44242</c:v>
                </c:pt>
                <c:pt idx="362">
                  <c:v>44270</c:v>
                </c:pt>
                <c:pt idx="363">
                  <c:v>44301</c:v>
                </c:pt>
                <c:pt idx="364">
                  <c:v>44331</c:v>
                </c:pt>
                <c:pt idx="365">
                  <c:v>44362</c:v>
                </c:pt>
                <c:pt idx="366">
                  <c:v>44392</c:v>
                </c:pt>
                <c:pt idx="367">
                  <c:v>44423</c:v>
                </c:pt>
                <c:pt idx="368">
                  <c:v>44454</c:v>
                </c:pt>
                <c:pt idx="369">
                  <c:v>44484</c:v>
                </c:pt>
                <c:pt idx="370">
                  <c:v>44515</c:v>
                </c:pt>
                <c:pt idx="371">
                  <c:v>44545</c:v>
                </c:pt>
                <c:pt idx="372">
                  <c:v>44576</c:v>
                </c:pt>
                <c:pt idx="373">
                  <c:v>44607</c:v>
                </c:pt>
                <c:pt idx="374">
                  <c:v>44635</c:v>
                </c:pt>
                <c:pt idx="375">
                  <c:v>44666</c:v>
                </c:pt>
                <c:pt idx="376">
                  <c:v>44696</c:v>
                </c:pt>
                <c:pt idx="377">
                  <c:v>44727</c:v>
                </c:pt>
                <c:pt idx="378">
                  <c:v>44757</c:v>
                </c:pt>
                <c:pt idx="379">
                  <c:v>44788</c:v>
                </c:pt>
                <c:pt idx="380">
                  <c:v>44819</c:v>
                </c:pt>
                <c:pt idx="381">
                  <c:v>44849</c:v>
                </c:pt>
                <c:pt idx="382">
                  <c:v>44880</c:v>
                </c:pt>
                <c:pt idx="383">
                  <c:v>44910</c:v>
                </c:pt>
                <c:pt idx="384">
                  <c:v>44941</c:v>
                </c:pt>
                <c:pt idx="385">
                  <c:v>44972</c:v>
                </c:pt>
                <c:pt idx="386">
                  <c:v>45000</c:v>
                </c:pt>
                <c:pt idx="387">
                  <c:v>45031</c:v>
                </c:pt>
                <c:pt idx="388">
                  <c:v>45061</c:v>
                </c:pt>
                <c:pt idx="389">
                  <c:v>45092</c:v>
                </c:pt>
                <c:pt idx="390">
                  <c:v>45122</c:v>
                </c:pt>
                <c:pt idx="391">
                  <c:v>45153</c:v>
                </c:pt>
                <c:pt idx="392">
                  <c:v>45184</c:v>
                </c:pt>
                <c:pt idx="393">
                  <c:v>45214</c:v>
                </c:pt>
                <c:pt idx="394">
                  <c:v>45245</c:v>
                </c:pt>
                <c:pt idx="395">
                  <c:v>45275</c:v>
                </c:pt>
                <c:pt idx="396">
                  <c:v>45306</c:v>
                </c:pt>
                <c:pt idx="397">
                  <c:v>45337</c:v>
                </c:pt>
                <c:pt idx="398">
                  <c:v>45366</c:v>
                </c:pt>
                <c:pt idx="399">
                  <c:v>45397</c:v>
                </c:pt>
                <c:pt idx="400">
                  <c:v>45427</c:v>
                </c:pt>
                <c:pt idx="401">
                  <c:v>45458</c:v>
                </c:pt>
                <c:pt idx="402">
                  <c:v>45488</c:v>
                </c:pt>
                <c:pt idx="403">
                  <c:v>45519</c:v>
                </c:pt>
                <c:pt idx="404">
                  <c:v>45550</c:v>
                </c:pt>
                <c:pt idx="405">
                  <c:v>45580</c:v>
                </c:pt>
                <c:pt idx="406">
                  <c:v>45611</c:v>
                </c:pt>
                <c:pt idx="407">
                  <c:v>45641</c:v>
                </c:pt>
                <c:pt idx="408">
                  <c:v>45672</c:v>
                </c:pt>
                <c:pt idx="409">
                  <c:v>45703</c:v>
                </c:pt>
                <c:pt idx="410">
                  <c:v>45731</c:v>
                </c:pt>
                <c:pt idx="411">
                  <c:v>45762</c:v>
                </c:pt>
                <c:pt idx="412">
                  <c:v>45792</c:v>
                </c:pt>
                <c:pt idx="413">
                  <c:v>45823</c:v>
                </c:pt>
                <c:pt idx="414">
                  <c:v>45853</c:v>
                </c:pt>
                <c:pt idx="415">
                  <c:v>45884</c:v>
                </c:pt>
                <c:pt idx="416">
                  <c:v>45915</c:v>
                </c:pt>
                <c:pt idx="417">
                  <c:v>45945</c:v>
                </c:pt>
                <c:pt idx="418">
                  <c:v>45976</c:v>
                </c:pt>
                <c:pt idx="419">
                  <c:v>46006</c:v>
                </c:pt>
                <c:pt idx="420">
                  <c:v>46037</c:v>
                </c:pt>
              </c:numCache>
            </c:numRef>
          </c:cat>
          <c:val>
            <c:numRef>
              <c:f>'Sheet1 (2)'!$AG$9:$AG$429</c:f>
              <c:numCache>
                <c:formatCode>General</c:formatCode>
                <c:ptCount val="421"/>
                <c:pt idx="0">
                  <c:v>100</c:v>
                </c:pt>
                <c:pt idx="1">
                  <c:v>99.684574684574699</c:v>
                </c:pt>
                <c:pt idx="2">
                  <c:v>99.369149369149383</c:v>
                </c:pt>
                <c:pt idx="3">
                  <c:v>99.348799348799346</c:v>
                </c:pt>
                <c:pt idx="4">
                  <c:v>99.25722425722428</c:v>
                </c:pt>
                <c:pt idx="5">
                  <c:v>99.013024013024022</c:v>
                </c:pt>
                <c:pt idx="6">
                  <c:v>98.672161172161182</c:v>
                </c:pt>
                <c:pt idx="7">
                  <c:v>98.265160765160772</c:v>
                </c:pt>
                <c:pt idx="8">
                  <c:v>98.137973137973148</c:v>
                </c:pt>
                <c:pt idx="9">
                  <c:v>98.277879527879534</c:v>
                </c:pt>
                <c:pt idx="10">
                  <c:v>98.316035816035821</c:v>
                </c:pt>
                <c:pt idx="11">
                  <c:v>98.265160765160772</c:v>
                </c:pt>
                <c:pt idx="12">
                  <c:v>98.204110704110718</c:v>
                </c:pt>
                <c:pt idx="13">
                  <c:v>98.127798127798144</c:v>
                </c:pt>
                <c:pt idx="14">
                  <c:v>98.01078551078551</c:v>
                </c:pt>
                <c:pt idx="15">
                  <c:v>97.931929181929192</c:v>
                </c:pt>
                <c:pt idx="16">
                  <c:v>97.860704110704106</c:v>
                </c:pt>
                <c:pt idx="17">
                  <c:v>97.758954008954007</c:v>
                </c:pt>
                <c:pt idx="18">
                  <c:v>97.598697598697612</c:v>
                </c:pt>
                <c:pt idx="19">
                  <c:v>97.410459910459906</c:v>
                </c:pt>
                <c:pt idx="20">
                  <c:v>97.229853479853475</c:v>
                </c:pt>
                <c:pt idx="21">
                  <c:v>97.069597069597066</c:v>
                </c:pt>
                <c:pt idx="22">
                  <c:v>96.9449531949532</c:v>
                </c:pt>
                <c:pt idx="23">
                  <c:v>96.855921855921864</c:v>
                </c:pt>
                <c:pt idx="24">
                  <c:v>96.888990638990649</c:v>
                </c:pt>
                <c:pt idx="25">
                  <c:v>96.817765567765562</c:v>
                </c:pt>
                <c:pt idx="26">
                  <c:v>96.675315425315432</c:v>
                </c:pt>
                <c:pt idx="27">
                  <c:v>96.525234025234028</c:v>
                </c:pt>
                <c:pt idx="28">
                  <c:v>96.334452584452606</c:v>
                </c:pt>
                <c:pt idx="29">
                  <c:v>96.255596255596259</c:v>
                </c:pt>
                <c:pt idx="30">
                  <c:v>96.164021164021179</c:v>
                </c:pt>
                <c:pt idx="31">
                  <c:v>96.100427350427367</c:v>
                </c:pt>
                <c:pt idx="32">
                  <c:v>96.077533577533586</c:v>
                </c:pt>
                <c:pt idx="33">
                  <c:v>95.973239723239729</c:v>
                </c:pt>
                <c:pt idx="34">
                  <c:v>95.94525844525846</c:v>
                </c:pt>
                <c:pt idx="35">
                  <c:v>96.02157102157102</c:v>
                </c:pt>
                <c:pt idx="36">
                  <c:v>96.202177452177466</c:v>
                </c:pt>
                <c:pt idx="37">
                  <c:v>96.303927553927565</c:v>
                </c:pt>
                <c:pt idx="38">
                  <c:v>96.242877492877497</c:v>
                </c:pt>
                <c:pt idx="39">
                  <c:v>96.1462148962149</c:v>
                </c:pt>
                <c:pt idx="40">
                  <c:v>96.21235246235247</c:v>
                </c:pt>
                <c:pt idx="41">
                  <c:v>96.255596255596259</c:v>
                </c:pt>
                <c:pt idx="42">
                  <c:v>96.242877492877497</c:v>
                </c:pt>
                <c:pt idx="43">
                  <c:v>96.382783882783897</c:v>
                </c:pt>
                <c:pt idx="44">
                  <c:v>96.481990231990238</c:v>
                </c:pt>
                <c:pt idx="45">
                  <c:v>96.532865282865288</c:v>
                </c:pt>
                <c:pt idx="46">
                  <c:v>96.581196581196593</c:v>
                </c:pt>
                <c:pt idx="47">
                  <c:v>96.642246642246647</c:v>
                </c:pt>
                <c:pt idx="48">
                  <c:v>96.639702889702889</c:v>
                </c:pt>
                <c:pt idx="49">
                  <c:v>96.66259666259667</c:v>
                </c:pt>
                <c:pt idx="50">
                  <c:v>96.716015466015477</c:v>
                </c:pt>
                <c:pt idx="51">
                  <c:v>96.825396825396837</c:v>
                </c:pt>
                <c:pt idx="52">
                  <c:v>96.682946682946692</c:v>
                </c:pt>
                <c:pt idx="53">
                  <c:v>96.716015466015477</c:v>
                </c:pt>
                <c:pt idx="54">
                  <c:v>96.756715506715508</c:v>
                </c:pt>
                <c:pt idx="55">
                  <c:v>96.741452991452988</c:v>
                </c:pt>
                <c:pt idx="56">
                  <c:v>96.764346764346769</c:v>
                </c:pt>
                <c:pt idx="57">
                  <c:v>96.896621896621909</c:v>
                </c:pt>
                <c:pt idx="58">
                  <c:v>96.88644688644689</c:v>
                </c:pt>
                <c:pt idx="59">
                  <c:v>96.960215710215721</c:v>
                </c:pt>
                <c:pt idx="60">
                  <c:v>96.866096866096868</c:v>
                </c:pt>
                <c:pt idx="61">
                  <c:v>96.82030932030932</c:v>
                </c:pt>
                <c:pt idx="62">
                  <c:v>96.677859177859176</c:v>
                </c:pt>
                <c:pt idx="63">
                  <c:v>96.891534391534407</c:v>
                </c:pt>
                <c:pt idx="64">
                  <c:v>97.039072039072053</c:v>
                </c:pt>
                <c:pt idx="65">
                  <c:v>96.934778184778196</c:v>
                </c:pt>
                <c:pt idx="66">
                  <c:v>96.911884411884415</c:v>
                </c:pt>
                <c:pt idx="67">
                  <c:v>96.8050468050468</c:v>
                </c:pt>
                <c:pt idx="68">
                  <c:v>96.728734228734254</c:v>
                </c:pt>
                <c:pt idx="69">
                  <c:v>96.672771672771674</c:v>
                </c:pt>
                <c:pt idx="70">
                  <c:v>96.716015466015477</c:v>
                </c:pt>
                <c:pt idx="71">
                  <c:v>96.698209198209213</c:v>
                </c:pt>
                <c:pt idx="72">
                  <c:v>96.446377696377709</c:v>
                </c:pt>
                <c:pt idx="73">
                  <c:v>96.555759055759054</c:v>
                </c:pt>
                <c:pt idx="74">
                  <c:v>96.619352869352866</c:v>
                </c:pt>
                <c:pt idx="75">
                  <c:v>96.685490435490436</c:v>
                </c:pt>
                <c:pt idx="76">
                  <c:v>96.713471713471733</c:v>
                </c:pt>
                <c:pt idx="77">
                  <c:v>96.764346764346769</c:v>
                </c:pt>
                <c:pt idx="78">
                  <c:v>96.830484330484339</c:v>
                </c:pt>
                <c:pt idx="79">
                  <c:v>96.962759462759479</c:v>
                </c:pt>
                <c:pt idx="80">
                  <c:v>96.901709401709411</c:v>
                </c:pt>
                <c:pt idx="81">
                  <c:v>96.955128205128219</c:v>
                </c:pt>
                <c:pt idx="82">
                  <c:v>96.955128205128219</c:v>
                </c:pt>
                <c:pt idx="83">
                  <c:v>96.866096866096868</c:v>
                </c:pt>
                <c:pt idx="84">
                  <c:v>96.922059422059419</c:v>
                </c:pt>
                <c:pt idx="85">
                  <c:v>97.100122100122093</c:v>
                </c:pt>
                <c:pt idx="86">
                  <c:v>97.295991045991059</c:v>
                </c:pt>
                <c:pt idx="87">
                  <c:v>97.489316239316253</c:v>
                </c:pt>
                <c:pt idx="88">
                  <c:v>97.65974765974768</c:v>
                </c:pt>
                <c:pt idx="89">
                  <c:v>97.832722832722837</c:v>
                </c:pt>
                <c:pt idx="90">
                  <c:v>98.028591778591775</c:v>
                </c:pt>
                <c:pt idx="91">
                  <c:v>98.295685795685799</c:v>
                </c:pt>
                <c:pt idx="92">
                  <c:v>98.48392348392349</c:v>
                </c:pt>
                <c:pt idx="93">
                  <c:v>98.636548636548653</c:v>
                </c:pt>
                <c:pt idx="94">
                  <c:v>98.674704924704926</c:v>
                </c:pt>
                <c:pt idx="95">
                  <c:v>98.738298738298752</c:v>
                </c:pt>
                <c:pt idx="96">
                  <c:v>98.852767602767599</c:v>
                </c:pt>
                <c:pt idx="97">
                  <c:v>98.908730158730179</c:v>
                </c:pt>
                <c:pt idx="98">
                  <c:v>98.949430199430211</c:v>
                </c:pt>
                <c:pt idx="99">
                  <c:v>98.575498575498585</c:v>
                </c:pt>
                <c:pt idx="100">
                  <c:v>98.890923890923887</c:v>
                </c:pt>
                <c:pt idx="101">
                  <c:v>99.394586894586894</c:v>
                </c:pt>
                <c:pt idx="102">
                  <c:v>99.59808709808712</c:v>
                </c:pt>
                <c:pt idx="103">
                  <c:v>99.890618640618641</c:v>
                </c:pt>
                <c:pt idx="104">
                  <c:v>99.997456247456256</c:v>
                </c:pt>
                <c:pt idx="105">
                  <c:v>100.11192511192513</c:v>
                </c:pt>
                <c:pt idx="106">
                  <c:v>100.33323158323158</c:v>
                </c:pt>
                <c:pt idx="107">
                  <c:v>100.75803825803827</c:v>
                </c:pt>
                <c:pt idx="108">
                  <c:v>101.17775742775743</c:v>
                </c:pt>
                <c:pt idx="109">
                  <c:v>101.38380138380138</c:v>
                </c:pt>
                <c:pt idx="110">
                  <c:v>101.56186406186407</c:v>
                </c:pt>
                <c:pt idx="111">
                  <c:v>101.62800162800163</c:v>
                </c:pt>
                <c:pt idx="112">
                  <c:v>101.70177045177047</c:v>
                </c:pt>
                <c:pt idx="113">
                  <c:v>101.80606430606431</c:v>
                </c:pt>
                <c:pt idx="114">
                  <c:v>101.81878306878306</c:v>
                </c:pt>
                <c:pt idx="115">
                  <c:v>101.85948310948312</c:v>
                </c:pt>
                <c:pt idx="116">
                  <c:v>101.83404558404558</c:v>
                </c:pt>
                <c:pt idx="117">
                  <c:v>101.81878306878306</c:v>
                </c:pt>
                <c:pt idx="118">
                  <c:v>101.82641432641432</c:v>
                </c:pt>
                <c:pt idx="119">
                  <c:v>101.8442205942206</c:v>
                </c:pt>
                <c:pt idx="120">
                  <c:v>101.61019536019538</c:v>
                </c:pt>
                <c:pt idx="121">
                  <c:v>101.57203907203906</c:v>
                </c:pt>
                <c:pt idx="122">
                  <c:v>101.52625152625151</c:v>
                </c:pt>
                <c:pt idx="123">
                  <c:v>101.55423280423281</c:v>
                </c:pt>
                <c:pt idx="124">
                  <c:v>101.55932030932031</c:v>
                </c:pt>
                <c:pt idx="125">
                  <c:v>101.41178266178265</c:v>
                </c:pt>
                <c:pt idx="126">
                  <c:v>101.31003256003257</c:v>
                </c:pt>
                <c:pt idx="127">
                  <c:v>101.2820512820513</c:v>
                </c:pt>
                <c:pt idx="128">
                  <c:v>101.20065120065121</c:v>
                </c:pt>
                <c:pt idx="129">
                  <c:v>101.23626373626375</c:v>
                </c:pt>
                <c:pt idx="130">
                  <c:v>101.29222629222629</c:v>
                </c:pt>
                <c:pt idx="131">
                  <c:v>101.33292633292635</c:v>
                </c:pt>
                <c:pt idx="132">
                  <c:v>101.39143264143264</c:v>
                </c:pt>
                <c:pt idx="133">
                  <c:v>101.34818884818885</c:v>
                </c:pt>
                <c:pt idx="134">
                  <c:v>101.28459503459504</c:v>
                </c:pt>
                <c:pt idx="135">
                  <c:v>101.31257631257633</c:v>
                </c:pt>
                <c:pt idx="136">
                  <c:v>101.18284493284494</c:v>
                </c:pt>
                <c:pt idx="137">
                  <c:v>100.95136345136346</c:v>
                </c:pt>
                <c:pt idx="138">
                  <c:v>100.9437321937322</c:v>
                </c:pt>
                <c:pt idx="139">
                  <c:v>100.73768823768823</c:v>
                </c:pt>
                <c:pt idx="140">
                  <c:v>100.65374440374441</c:v>
                </c:pt>
                <c:pt idx="141">
                  <c:v>100.52655677655677</c:v>
                </c:pt>
                <c:pt idx="142">
                  <c:v>100.39682539682542</c:v>
                </c:pt>
                <c:pt idx="143">
                  <c:v>100.32305657305658</c:v>
                </c:pt>
                <c:pt idx="144">
                  <c:v>100.20350020350021</c:v>
                </c:pt>
                <c:pt idx="145">
                  <c:v>100.18060643060645</c:v>
                </c:pt>
                <c:pt idx="146">
                  <c:v>99.989824989824996</c:v>
                </c:pt>
                <c:pt idx="147">
                  <c:v>99.73290598290599</c:v>
                </c:pt>
                <c:pt idx="148">
                  <c:v>99.587912087912088</c:v>
                </c:pt>
                <c:pt idx="149">
                  <c:v>99.760887260887273</c:v>
                </c:pt>
                <c:pt idx="150">
                  <c:v>99.862637362637372</c:v>
                </c:pt>
                <c:pt idx="151">
                  <c:v>99.712555962555953</c:v>
                </c:pt>
                <c:pt idx="152">
                  <c:v>99.679487179487182</c:v>
                </c:pt>
                <c:pt idx="153">
                  <c:v>99.755799755799771</c:v>
                </c:pt>
                <c:pt idx="154">
                  <c:v>99.717643467643484</c:v>
                </c:pt>
                <c:pt idx="155">
                  <c:v>99.776149776149765</c:v>
                </c:pt>
                <c:pt idx="156">
                  <c:v>99.966931216931215</c:v>
                </c:pt>
                <c:pt idx="157">
                  <c:v>100.01017501017502</c:v>
                </c:pt>
                <c:pt idx="158">
                  <c:v>100.14753764753766</c:v>
                </c:pt>
                <c:pt idx="159">
                  <c:v>100.31796906796906</c:v>
                </c:pt>
                <c:pt idx="160">
                  <c:v>100.22639397639399</c:v>
                </c:pt>
                <c:pt idx="161">
                  <c:v>100.24928774928775</c:v>
                </c:pt>
                <c:pt idx="162">
                  <c:v>100.17806267806269</c:v>
                </c:pt>
                <c:pt idx="163">
                  <c:v>100.16534391534393</c:v>
                </c:pt>
                <c:pt idx="164">
                  <c:v>100.18823768823771</c:v>
                </c:pt>
                <c:pt idx="165">
                  <c:v>100.14499389499389</c:v>
                </c:pt>
                <c:pt idx="166">
                  <c:v>100.12210012210012</c:v>
                </c:pt>
                <c:pt idx="167">
                  <c:v>100.03306878306879</c:v>
                </c:pt>
                <c:pt idx="168">
                  <c:v>99.905881155881161</c:v>
                </c:pt>
                <c:pt idx="169">
                  <c:v>99.903337403337417</c:v>
                </c:pt>
                <c:pt idx="170">
                  <c:v>99.814306064306066</c:v>
                </c:pt>
                <c:pt idx="171">
                  <c:v>99.781237281237296</c:v>
                </c:pt>
                <c:pt idx="172">
                  <c:v>99.799043549043546</c:v>
                </c:pt>
                <c:pt idx="173">
                  <c:v>99.905881155881161</c:v>
                </c:pt>
                <c:pt idx="174">
                  <c:v>99.895706145706157</c:v>
                </c:pt>
                <c:pt idx="175">
                  <c:v>100.06868131868131</c:v>
                </c:pt>
                <c:pt idx="176">
                  <c:v>100.21621896621897</c:v>
                </c:pt>
                <c:pt idx="177">
                  <c:v>100.25691900691899</c:v>
                </c:pt>
                <c:pt idx="178">
                  <c:v>100.36121286121286</c:v>
                </c:pt>
                <c:pt idx="179">
                  <c:v>100.3866503866504</c:v>
                </c:pt>
                <c:pt idx="180">
                  <c:v>99.923687423687426</c:v>
                </c:pt>
                <c:pt idx="181">
                  <c:v>99.964387464387471</c:v>
                </c:pt>
                <c:pt idx="182">
                  <c:v>100.00254375254376</c:v>
                </c:pt>
                <c:pt idx="183">
                  <c:v>100.23911273911274</c:v>
                </c:pt>
                <c:pt idx="184">
                  <c:v>100.57743182743184</c:v>
                </c:pt>
                <c:pt idx="185">
                  <c:v>100.84961334961335</c:v>
                </c:pt>
                <c:pt idx="186">
                  <c:v>101.007326007326</c:v>
                </c:pt>
                <c:pt idx="187">
                  <c:v>101.08109483109484</c:v>
                </c:pt>
                <c:pt idx="188">
                  <c:v>101.12433862433863</c:v>
                </c:pt>
                <c:pt idx="189">
                  <c:v>101.17266992266994</c:v>
                </c:pt>
                <c:pt idx="190">
                  <c:v>101.42450142450143</c:v>
                </c:pt>
                <c:pt idx="191">
                  <c:v>101.64326414326415</c:v>
                </c:pt>
                <c:pt idx="192">
                  <c:v>101.83150183150182</c:v>
                </c:pt>
                <c:pt idx="193">
                  <c:v>101.94851444851447</c:v>
                </c:pt>
                <c:pt idx="194">
                  <c:v>102.0426332926333</c:v>
                </c:pt>
                <c:pt idx="195">
                  <c:v>102.23087098087098</c:v>
                </c:pt>
                <c:pt idx="196">
                  <c:v>102.32753357753357</c:v>
                </c:pt>
                <c:pt idx="197">
                  <c:v>102.37077737077738</c:v>
                </c:pt>
                <c:pt idx="198">
                  <c:v>102.53357753357754</c:v>
                </c:pt>
                <c:pt idx="199">
                  <c:v>102.65313390313391</c:v>
                </c:pt>
                <c:pt idx="200">
                  <c:v>102.68874643874643</c:v>
                </c:pt>
                <c:pt idx="201">
                  <c:v>102.89987789987791</c:v>
                </c:pt>
                <c:pt idx="202">
                  <c:v>103.01180301180301</c:v>
                </c:pt>
                <c:pt idx="203">
                  <c:v>103.06776556776558</c:v>
                </c:pt>
                <c:pt idx="204">
                  <c:v>103.56888481888484</c:v>
                </c:pt>
                <c:pt idx="205">
                  <c:v>103.6884411884412</c:v>
                </c:pt>
                <c:pt idx="206">
                  <c:v>103.74185999186001</c:v>
                </c:pt>
                <c:pt idx="207">
                  <c:v>103.77238502238504</c:v>
                </c:pt>
                <c:pt idx="208">
                  <c:v>103.76984126984128</c:v>
                </c:pt>
                <c:pt idx="209">
                  <c:v>103.80291005291006</c:v>
                </c:pt>
                <c:pt idx="210">
                  <c:v>103.96825396825398</c:v>
                </c:pt>
                <c:pt idx="211">
                  <c:v>103.96825396825398</c:v>
                </c:pt>
                <c:pt idx="212">
                  <c:v>104.10052910052912</c:v>
                </c:pt>
                <c:pt idx="213">
                  <c:v>104.235347985348</c:v>
                </c:pt>
                <c:pt idx="214">
                  <c:v>104.20991045991046</c:v>
                </c:pt>
                <c:pt idx="215">
                  <c:v>104.21499796499798</c:v>
                </c:pt>
                <c:pt idx="216">
                  <c:v>104.32692307692308</c:v>
                </c:pt>
                <c:pt idx="217">
                  <c:v>104.38288563288563</c:v>
                </c:pt>
                <c:pt idx="218">
                  <c:v>104.26587301587303</c:v>
                </c:pt>
                <c:pt idx="219">
                  <c:v>104.18956043956045</c:v>
                </c:pt>
                <c:pt idx="220">
                  <c:v>104.02421652421651</c:v>
                </c:pt>
                <c:pt idx="221">
                  <c:v>103.89957264957266</c:v>
                </c:pt>
                <c:pt idx="222">
                  <c:v>103.86396011396013</c:v>
                </c:pt>
                <c:pt idx="223">
                  <c:v>103.8868538868539</c:v>
                </c:pt>
                <c:pt idx="224">
                  <c:v>103.9504477004477</c:v>
                </c:pt>
                <c:pt idx="225">
                  <c:v>103.90974765974765</c:v>
                </c:pt>
                <c:pt idx="226">
                  <c:v>103.92501017501017</c:v>
                </c:pt>
                <c:pt idx="227">
                  <c:v>104.03439153439156</c:v>
                </c:pt>
                <c:pt idx="228">
                  <c:v>103.99114774114776</c:v>
                </c:pt>
                <c:pt idx="229">
                  <c:v>104.00895400895401</c:v>
                </c:pt>
                <c:pt idx="230">
                  <c:v>104.16157916157917</c:v>
                </c:pt>
                <c:pt idx="231">
                  <c:v>104.32946682946684</c:v>
                </c:pt>
                <c:pt idx="232">
                  <c:v>104.44139194139194</c:v>
                </c:pt>
                <c:pt idx="233">
                  <c:v>104.56349206349206</c:v>
                </c:pt>
                <c:pt idx="234">
                  <c:v>104.60673585673585</c:v>
                </c:pt>
                <c:pt idx="235">
                  <c:v>104.72120472120471</c:v>
                </c:pt>
                <c:pt idx="236">
                  <c:v>104.84584859584859</c:v>
                </c:pt>
                <c:pt idx="237">
                  <c:v>104.87382987382989</c:v>
                </c:pt>
                <c:pt idx="238">
                  <c:v>104.98321123321124</c:v>
                </c:pt>
                <c:pt idx="239">
                  <c:v>105.07224257224257</c:v>
                </c:pt>
                <c:pt idx="240">
                  <c:v>105.13329263329263</c:v>
                </c:pt>
                <c:pt idx="241">
                  <c:v>105.26556776556777</c:v>
                </c:pt>
                <c:pt idx="242">
                  <c:v>105.36477411477412</c:v>
                </c:pt>
                <c:pt idx="243">
                  <c:v>105.48178673178674</c:v>
                </c:pt>
                <c:pt idx="244">
                  <c:v>105.5962555962556</c:v>
                </c:pt>
                <c:pt idx="245">
                  <c:v>105.736161986162</c:v>
                </c:pt>
                <c:pt idx="246">
                  <c:v>105.75142450142452</c:v>
                </c:pt>
                <c:pt idx="247">
                  <c:v>105.9345746845747</c:v>
                </c:pt>
                <c:pt idx="248">
                  <c:v>106.03378103378103</c:v>
                </c:pt>
                <c:pt idx="249">
                  <c:v>106.09483109483109</c:v>
                </c:pt>
                <c:pt idx="250">
                  <c:v>106.22710622710623</c:v>
                </c:pt>
                <c:pt idx="251">
                  <c:v>106.36701261701262</c:v>
                </c:pt>
                <c:pt idx="252">
                  <c:v>106.57305657305658</c:v>
                </c:pt>
                <c:pt idx="253">
                  <c:v>106.57305657305658</c:v>
                </c:pt>
                <c:pt idx="254">
                  <c:v>106.68498168498168</c:v>
                </c:pt>
                <c:pt idx="255">
                  <c:v>106.76892551892551</c:v>
                </c:pt>
                <c:pt idx="256">
                  <c:v>106.90120065120065</c:v>
                </c:pt>
                <c:pt idx="257">
                  <c:v>106.96479446479445</c:v>
                </c:pt>
                <c:pt idx="258">
                  <c:v>107.0538258038258</c:v>
                </c:pt>
                <c:pt idx="259">
                  <c:v>107.17338217338217</c:v>
                </c:pt>
                <c:pt idx="260">
                  <c:v>107.17083842083844</c:v>
                </c:pt>
                <c:pt idx="261">
                  <c:v>107.28021978021978</c:v>
                </c:pt>
                <c:pt idx="262">
                  <c:v>107.44301994301995</c:v>
                </c:pt>
                <c:pt idx="263">
                  <c:v>107.50661375661377</c:v>
                </c:pt>
                <c:pt idx="264">
                  <c:v>107.49643874643876</c:v>
                </c:pt>
                <c:pt idx="265">
                  <c:v>107.59818884818885</c:v>
                </c:pt>
                <c:pt idx="266">
                  <c:v>107.54985754985755</c:v>
                </c:pt>
                <c:pt idx="267">
                  <c:v>107.54477004477006</c:v>
                </c:pt>
                <c:pt idx="268">
                  <c:v>107.66432641432644</c:v>
                </c:pt>
                <c:pt idx="269">
                  <c:v>107.70248270248273</c:v>
                </c:pt>
                <c:pt idx="270">
                  <c:v>107.8474765974766</c:v>
                </c:pt>
                <c:pt idx="271">
                  <c:v>107.87291412291411</c:v>
                </c:pt>
                <c:pt idx="272">
                  <c:v>107.95940170940173</c:v>
                </c:pt>
                <c:pt idx="273">
                  <c:v>108.08913308913309</c:v>
                </c:pt>
                <c:pt idx="274">
                  <c:v>108.14255189255189</c:v>
                </c:pt>
                <c:pt idx="275">
                  <c:v>108.17816442816444</c:v>
                </c:pt>
                <c:pt idx="276">
                  <c:v>108.4045584045584</c:v>
                </c:pt>
                <c:pt idx="277">
                  <c:v>108.49104599104599</c:v>
                </c:pt>
                <c:pt idx="278">
                  <c:v>108.55209605209606</c:v>
                </c:pt>
                <c:pt idx="279">
                  <c:v>108.69200244200246</c:v>
                </c:pt>
                <c:pt idx="280">
                  <c:v>108.70726495726497</c:v>
                </c:pt>
                <c:pt idx="281">
                  <c:v>108.76831501831504</c:v>
                </c:pt>
                <c:pt idx="282">
                  <c:v>108.87515262515264</c:v>
                </c:pt>
                <c:pt idx="283">
                  <c:v>108.83699633699635</c:v>
                </c:pt>
                <c:pt idx="284">
                  <c:v>108.91330891330892</c:v>
                </c:pt>
                <c:pt idx="285">
                  <c:v>109.02014652014651</c:v>
                </c:pt>
                <c:pt idx="286">
                  <c:v>108.94383394383395</c:v>
                </c:pt>
                <c:pt idx="287">
                  <c:v>108.98199023199024</c:v>
                </c:pt>
                <c:pt idx="288">
                  <c:v>109.06593406593406</c:v>
                </c:pt>
                <c:pt idx="289">
                  <c:v>109.14224664224665</c:v>
                </c:pt>
                <c:pt idx="290">
                  <c:v>109.33048433048434</c:v>
                </c:pt>
                <c:pt idx="291">
                  <c:v>109.4729344729345</c:v>
                </c:pt>
                <c:pt idx="292">
                  <c:v>109.55942205942206</c:v>
                </c:pt>
                <c:pt idx="293">
                  <c:v>109.68660968660969</c:v>
                </c:pt>
                <c:pt idx="294">
                  <c:v>109.83160358160357</c:v>
                </c:pt>
                <c:pt idx="295">
                  <c:v>109.91300366300368</c:v>
                </c:pt>
                <c:pt idx="296">
                  <c:v>110.01475376475378</c:v>
                </c:pt>
                <c:pt idx="297">
                  <c:v>110.13431013431014</c:v>
                </c:pt>
                <c:pt idx="298">
                  <c:v>110.27421652421654</c:v>
                </c:pt>
                <c:pt idx="299">
                  <c:v>110.38359788359789</c:v>
                </c:pt>
                <c:pt idx="300">
                  <c:v>110.37596662596663</c:v>
                </c:pt>
                <c:pt idx="301">
                  <c:v>110.5438542938543</c:v>
                </c:pt>
                <c:pt idx="302">
                  <c:v>110.70919820919822</c:v>
                </c:pt>
                <c:pt idx="303">
                  <c:v>110.79822954822956</c:v>
                </c:pt>
                <c:pt idx="304">
                  <c:v>110.94322344322345</c:v>
                </c:pt>
                <c:pt idx="305">
                  <c:v>111.09584859584859</c:v>
                </c:pt>
                <c:pt idx="306">
                  <c:v>111.10856735856738</c:v>
                </c:pt>
                <c:pt idx="307">
                  <c:v>111.31206756206757</c:v>
                </c:pt>
                <c:pt idx="308">
                  <c:v>111.49013024013026</c:v>
                </c:pt>
                <c:pt idx="309">
                  <c:v>111.58933658933661</c:v>
                </c:pt>
                <c:pt idx="310">
                  <c:v>111.73178673178674</c:v>
                </c:pt>
                <c:pt idx="311">
                  <c:v>111.87678062678063</c:v>
                </c:pt>
                <c:pt idx="312">
                  <c:v>111.91748066748069</c:v>
                </c:pt>
                <c:pt idx="313">
                  <c:v>112.03958078958081</c:v>
                </c:pt>
                <c:pt idx="314">
                  <c:v>112.22781847781849</c:v>
                </c:pt>
                <c:pt idx="315">
                  <c:v>112.33719983719985</c:v>
                </c:pt>
                <c:pt idx="316">
                  <c:v>112.45929995929997</c:v>
                </c:pt>
                <c:pt idx="317">
                  <c:v>112.64753764753766</c:v>
                </c:pt>
                <c:pt idx="318">
                  <c:v>112.7798127798128</c:v>
                </c:pt>
                <c:pt idx="319">
                  <c:v>112.88919413919413</c:v>
                </c:pt>
                <c:pt idx="320">
                  <c:v>113.00111925111926</c:v>
                </c:pt>
                <c:pt idx="321">
                  <c:v>113.07234432234432</c:v>
                </c:pt>
                <c:pt idx="322">
                  <c:v>113.23514448514449</c:v>
                </c:pt>
                <c:pt idx="323">
                  <c:v>113.38268213268215</c:v>
                </c:pt>
                <c:pt idx="324">
                  <c:v>113.6039886039886</c:v>
                </c:pt>
                <c:pt idx="325">
                  <c:v>113.67012617012617</c:v>
                </c:pt>
                <c:pt idx="326">
                  <c:v>113.78205128205127</c:v>
                </c:pt>
                <c:pt idx="327">
                  <c:v>113.91941391941391</c:v>
                </c:pt>
                <c:pt idx="328">
                  <c:v>114.07967032967035</c:v>
                </c:pt>
                <c:pt idx="329">
                  <c:v>114.1407203907204</c:v>
                </c:pt>
                <c:pt idx="330">
                  <c:v>114.24755799755799</c:v>
                </c:pt>
                <c:pt idx="331">
                  <c:v>114.3722018722019</c:v>
                </c:pt>
                <c:pt idx="332">
                  <c:v>114.3722018722019</c:v>
                </c:pt>
                <c:pt idx="333">
                  <c:v>114.47140822140823</c:v>
                </c:pt>
                <c:pt idx="334">
                  <c:v>114.61131461131461</c:v>
                </c:pt>
                <c:pt idx="335">
                  <c:v>114.69017094017096</c:v>
                </c:pt>
                <c:pt idx="336">
                  <c:v>114.80463980463979</c:v>
                </c:pt>
                <c:pt idx="337">
                  <c:v>114.9013024013024</c:v>
                </c:pt>
                <c:pt idx="338">
                  <c:v>115.01322751322751</c:v>
                </c:pt>
                <c:pt idx="339">
                  <c:v>115.15567765567766</c:v>
                </c:pt>
                <c:pt idx="340">
                  <c:v>115.2014652014652</c:v>
                </c:pt>
                <c:pt idx="341">
                  <c:v>115.19129019129019</c:v>
                </c:pt>
                <c:pt idx="342">
                  <c:v>115.2726902726903</c:v>
                </c:pt>
                <c:pt idx="343">
                  <c:v>115.26505901505904</c:v>
                </c:pt>
                <c:pt idx="344">
                  <c:v>115.32102157102157</c:v>
                </c:pt>
                <c:pt idx="345">
                  <c:v>115.40496540496541</c:v>
                </c:pt>
                <c:pt idx="346">
                  <c:v>115.49399674399675</c:v>
                </c:pt>
                <c:pt idx="347">
                  <c:v>115.53215303215303</c:v>
                </c:pt>
                <c:pt idx="348">
                  <c:v>115.62881562881564</c:v>
                </c:pt>
                <c:pt idx="349">
                  <c:v>115.65679690679691</c:v>
                </c:pt>
                <c:pt idx="350">
                  <c:v>115.34645909645911</c:v>
                </c:pt>
                <c:pt idx="351">
                  <c:v>114.43070818070819</c:v>
                </c:pt>
                <c:pt idx="352">
                  <c:v>113.83038258038258</c:v>
                </c:pt>
                <c:pt idx="353">
                  <c:v>113.74389499389501</c:v>
                </c:pt>
                <c:pt idx="354">
                  <c:v>113.80748880748881</c:v>
                </c:pt>
                <c:pt idx="355">
                  <c:v>113.8939763939764</c:v>
                </c:pt>
                <c:pt idx="356">
                  <c:v>114.04151404151406</c:v>
                </c:pt>
                <c:pt idx="357">
                  <c:v>114.1407203907204</c:v>
                </c:pt>
                <c:pt idx="358">
                  <c:v>114.04914529914532</c:v>
                </c:pt>
                <c:pt idx="359">
                  <c:v>114.07712657712659</c:v>
                </c:pt>
                <c:pt idx="360">
                  <c:v>113.98046398046399</c:v>
                </c:pt>
                <c:pt idx="361">
                  <c:v>113.94739519739521</c:v>
                </c:pt>
                <c:pt idx="362">
                  <c:v>114.08475783475784</c:v>
                </c:pt>
                <c:pt idx="363">
                  <c:v>114.14835164835166</c:v>
                </c:pt>
                <c:pt idx="364">
                  <c:v>114.20177045177047</c:v>
                </c:pt>
                <c:pt idx="365">
                  <c:v>114.49430199430199</c:v>
                </c:pt>
                <c:pt idx="366">
                  <c:v>114.70797720797721</c:v>
                </c:pt>
                <c:pt idx="367">
                  <c:v>114.87586487586488</c:v>
                </c:pt>
                <c:pt idx="368">
                  <c:v>115.00814000814002</c:v>
                </c:pt>
                <c:pt idx="369">
                  <c:v>115.09462759462761</c:v>
                </c:pt>
                <c:pt idx="370">
                  <c:v>115.27014652014651</c:v>
                </c:pt>
                <c:pt idx="371">
                  <c:v>115.42277167277169</c:v>
                </c:pt>
                <c:pt idx="372">
                  <c:v>115.63644688644689</c:v>
                </c:pt>
                <c:pt idx="373">
                  <c:v>115.75600325600325</c:v>
                </c:pt>
                <c:pt idx="374">
                  <c:v>115.90608465608466</c:v>
                </c:pt>
                <c:pt idx="375">
                  <c:v>115.99511599511601</c:v>
                </c:pt>
                <c:pt idx="376">
                  <c:v>116.10449735449737</c:v>
                </c:pt>
                <c:pt idx="377">
                  <c:v>116.18589743589745</c:v>
                </c:pt>
                <c:pt idx="378">
                  <c:v>116.16045991045991</c:v>
                </c:pt>
                <c:pt idx="379">
                  <c:v>116.31054131054131</c:v>
                </c:pt>
                <c:pt idx="380">
                  <c:v>116.43264143264143</c:v>
                </c:pt>
                <c:pt idx="381">
                  <c:v>116.52930402930404</c:v>
                </c:pt>
                <c:pt idx="382">
                  <c:v>116.58017908017908</c:v>
                </c:pt>
                <c:pt idx="383">
                  <c:v>116.65140415140417</c:v>
                </c:pt>
                <c:pt idx="384">
                  <c:v>116.745522995523</c:v>
                </c:pt>
                <c:pt idx="385">
                  <c:v>116.85999185999185</c:v>
                </c:pt>
                <c:pt idx="386">
                  <c:v>116.95156695156696</c:v>
                </c:pt>
                <c:pt idx="387">
                  <c:v>116.98972323972325</c:v>
                </c:pt>
                <c:pt idx="388">
                  <c:v>117.03296703296704</c:v>
                </c:pt>
                <c:pt idx="389">
                  <c:v>117.07621082621083</c:v>
                </c:pt>
                <c:pt idx="390">
                  <c:v>117.10164835164835</c:v>
                </c:pt>
                <c:pt idx="391">
                  <c:v>117.07875457875458</c:v>
                </c:pt>
                <c:pt idx="392">
                  <c:v>117.08384208384209</c:v>
                </c:pt>
                <c:pt idx="393">
                  <c:v>117.11945461945463</c:v>
                </c:pt>
                <c:pt idx="394">
                  <c:v>117.19831094831095</c:v>
                </c:pt>
                <c:pt idx="395">
                  <c:v>117.25681725681724</c:v>
                </c:pt>
                <c:pt idx="396">
                  <c:v>117.26699226699229</c:v>
                </c:pt>
                <c:pt idx="397">
                  <c:v>117.31023606023605</c:v>
                </c:pt>
                <c:pt idx="398">
                  <c:v>117.34584859584859</c:v>
                </c:pt>
                <c:pt idx="399">
                  <c:v>117.38909238909241</c:v>
                </c:pt>
                <c:pt idx="400">
                  <c:v>117.40689865689866</c:v>
                </c:pt>
                <c:pt idx="401">
                  <c:v>117.34584859584859</c:v>
                </c:pt>
                <c:pt idx="402">
                  <c:v>117.32295482295483</c:v>
                </c:pt>
                <c:pt idx="403">
                  <c:v>117.26190476190477</c:v>
                </c:pt>
                <c:pt idx="404">
                  <c:v>117.21357346357347</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numCache>
            </c:numRef>
          </c:val>
          <c:smooth val="0"/>
          <c:extLst>
            <c:ext xmlns:c16="http://schemas.microsoft.com/office/drawing/2014/chart" uri="{C3380CC4-5D6E-409C-BE32-E72D297353CC}">
              <c16:uniqueId val="{00000001-2E29-4B05-B243-5F6838717981}"/>
            </c:ext>
          </c:extLst>
        </c:ser>
        <c:ser>
          <c:idx val="2"/>
          <c:order val="2"/>
          <c:tx>
            <c:strRef>
              <c:f>'Sheet1 (2)'!$AH$7</c:f>
              <c:strCache>
                <c:ptCount val="1"/>
                <c:pt idx="0">
                  <c:v>China (indexiert: 1991=100)</c:v>
                </c:pt>
              </c:strCache>
            </c:strRef>
          </c:tx>
          <c:spPr>
            <a:ln w="28575" cap="rnd">
              <a:solidFill>
                <a:schemeClr val="accent3"/>
              </a:solidFill>
              <a:round/>
            </a:ln>
            <a:effectLst/>
          </c:spPr>
          <c:marker>
            <c:symbol val="none"/>
          </c:marker>
          <c:cat>
            <c:numRef>
              <c:f>'Sheet1 (2)'!$AE$9:$AE$429</c:f>
              <c:numCache>
                <c:formatCode>m/d/yyyy</c:formatCode>
                <c:ptCount val="421"/>
                <c:pt idx="0">
                  <c:v>33253</c:v>
                </c:pt>
                <c:pt idx="1">
                  <c:v>33284</c:v>
                </c:pt>
                <c:pt idx="2">
                  <c:v>33312</c:v>
                </c:pt>
                <c:pt idx="3">
                  <c:v>33343</c:v>
                </c:pt>
                <c:pt idx="4">
                  <c:v>33373</c:v>
                </c:pt>
                <c:pt idx="5">
                  <c:v>33404</c:v>
                </c:pt>
                <c:pt idx="6">
                  <c:v>33434</c:v>
                </c:pt>
                <c:pt idx="7">
                  <c:v>33465</c:v>
                </c:pt>
                <c:pt idx="8">
                  <c:v>33496</c:v>
                </c:pt>
                <c:pt idx="9">
                  <c:v>33526</c:v>
                </c:pt>
                <c:pt idx="10">
                  <c:v>33557</c:v>
                </c:pt>
                <c:pt idx="11">
                  <c:v>33587</c:v>
                </c:pt>
                <c:pt idx="12">
                  <c:v>33618</c:v>
                </c:pt>
                <c:pt idx="13">
                  <c:v>33649</c:v>
                </c:pt>
                <c:pt idx="14">
                  <c:v>33678</c:v>
                </c:pt>
                <c:pt idx="15">
                  <c:v>33709</c:v>
                </c:pt>
                <c:pt idx="16">
                  <c:v>33739</c:v>
                </c:pt>
                <c:pt idx="17">
                  <c:v>33770</c:v>
                </c:pt>
                <c:pt idx="18">
                  <c:v>33800</c:v>
                </c:pt>
                <c:pt idx="19">
                  <c:v>33831</c:v>
                </c:pt>
                <c:pt idx="20">
                  <c:v>33862</c:v>
                </c:pt>
                <c:pt idx="21">
                  <c:v>33892</c:v>
                </c:pt>
                <c:pt idx="22">
                  <c:v>33923</c:v>
                </c:pt>
                <c:pt idx="23">
                  <c:v>33953</c:v>
                </c:pt>
                <c:pt idx="24">
                  <c:v>33984</c:v>
                </c:pt>
                <c:pt idx="25">
                  <c:v>34015</c:v>
                </c:pt>
                <c:pt idx="26">
                  <c:v>34043</c:v>
                </c:pt>
                <c:pt idx="27">
                  <c:v>34074</c:v>
                </c:pt>
                <c:pt idx="28">
                  <c:v>34104</c:v>
                </c:pt>
                <c:pt idx="29">
                  <c:v>34135</c:v>
                </c:pt>
                <c:pt idx="30">
                  <c:v>34165</c:v>
                </c:pt>
                <c:pt idx="31">
                  <c:v>34196</c:v>
                </c:pt>
                <c:pt idx="32">
                  <c:v>34227</c:v>
                </c:pt>
                <c:pt idx="33">
                  <c:v>34257</c:v>
                </c:pt>
                <c:pt idx="34">
                  <c:v>34288</c:v>
                </c:pt>
                <c:pt idx="35">
                  <c:v>34318</c:v>
                </c:pt>
                <c:pt idx="36">
                  <c:v>34349</c:v>
                </c:pt>
                <c:pt idx="37">
                  <c:v>34380</c:v>
                </c:pt>
                <c:pt idx="38">
                  <c:v>34408</c:v>
                </c:pt>
                <c:pt idx="39">
                  <c:v>34439</c:v>
                </c:pt>
                <c:pt idx="40">
                  <c:v>34469</c:v>
                </c:pt>
                <c:pt idx="41">
                  <c:v>34500</c:v>
                </c:pt>
                <c:pt idx="42">
                  <c:v>34530</c:v>
                </c:pt>
                <c:pt idx="43">
                  <c:v>34561</c:v>
                </c:pt>
                <c:pt idx="44">
                  <c:v>34592</c:v>
                </c:pt>
                <c:pt idx="45">
                  <c:v>34622</c:v>
                </c:pt>
                <c:pt idx="46">
                  <c:v>34653</c:v>
                </c:pt>
                <c:pt idx="47">
                  <c:v>34683</c:v>
                </c:pt>
                <c:pt idx="48">
                  <c:v>34714</c:v>
                </c:pt>
                <c:pt idx="49">
                  <c:v>34745</c:v>
                </c:pt>
                <c:pt idx="50">
                  <c:v>34773</c:v>
                </c:pt>
                <c:pt idx="51">
                  <c:v>34804</c:v>
                </c:pt>
                <c:pt idx="52">
                  <c:v>34834</c:v>
                </c:pt>
                <c:pt idx="53">
                  <c:v>34865</c:v>
                </c:pt>
                <c:pt idx="54">
                  <c:v>34895</c:v>
                </c:pt>
                <c:pt idx="55">
                  <c:v>34926</c:v>
                </c:pt>
                <c:pt idx="56">
                  <c:v>34957</c:v>
                </c:pt>
                <c:pt idx="57">
                  <c:v>34987</c:v>
                </c:pt>
                <c:pt idx="58">
                  <c:v>35018</c:v>
                </c:pt>
                <c:pt idx="59">
                  <c:v>35048</c:v>
                </c:pt>
                <c:pt idx="60">
                  <c:v>35079</c:v>
                </c:pt>
                <c:pt idx="61">
                  <c:v>35110</c:v>
                </c:pt>
                <c:pt idx="62">
                  <c:v>35139</c:v>
                </c:pt>
                <c:pt idx="63">
                  <c:v>35170</c:v>
                </c:pt>
                <c:pt idx="64">
                  <c:v>35200</c:v>
                </c:pt>
                <c:pt idx="65">
                  <c:v>35231</c:v>
                </c:pt>
                <c:pt idx="66">
                  <c:v>35261</c:v>
                </c:pt>
                <c:pt idx="67">
                  <c:v>35292</c:v>
                </c:pt>
                <c:pt idx="68">
                  <c:v>35323</c:v>
                </c:pt>
                <c:pt idx="69">
                  <c:v>35353</c:v>
                </c:pt>
                <c:pt idx="70">
                  <c:v>35384</c:v>
                </c:pt>
                <c:pt idx="71">
                  <c:v>35414</c:v>
                </c:pt>
                <c:pt idx="72">
                  <c:v>35445</c:v>
                </c:pt>
                <c:pt idx="73">
                  <c:v>35476</c:v>
                </c:pt>
                <c:pt idx="74">
                  <c:v>35504</c:v>
                </c:pt>
                <c:pt idx="75">
                  <c:v>35535</c:v>
                </c:pt>
                <c:pt idx="76">
                  <c:v>35565</c:v>
                </c:pt>
                <c:pt idx="77">
                  <c:v>35596</c:v>
                </c:pt>
                <c:pt idx="78">
                  <c:v>35626</c:v>
                </c:pt>
                <c:pt idx="79">
                  <c:v>35657</c:v>
                </c:pt>
                <c:pt idx="80">
                  <c:v>35688</c:v>
                </c:pt>
                <c:pt idx="81">
                  <c:v>35718</c:v>
                </c:pt>
                <c:pt idx="82">
                  <c:v>35749</c:v>
                </c:pt>
                <c:pt idx="83">
                  <c:v>35779</c:v>
                </c:pt>
                <c:pt idx="84">
                  <c:v>35810</c:v>
                </c:pt>
                <c:pt idx="85">
                  <c:v>35841</c:v>
                </c:pt>
                <c:pt idx="86">
                  <c:v>35869</c:v>
                </c:pt>
                <c:pt idx="87">
                  <c:v>35900</c:v>
                </c:pt>
                <c:pt idx="88">
                  <c:v>35930</c:v>
                </c:pt>
                <c:pt idx="89">
                  <c:v>35961</c:v>
                </c:pt>
                <c:pt idx="90">
                  <c:v>35991</c:v>
                </c:pt>
                <c:pt idx="91">
                  <c:v>36022</c:v>
                </c:pt>
                <c:pt idx="92">
                  <c:v>36053</c:v>
                </c:pt>
                <c:pt idx="93">
                  <c:v>36083</c:v>
                </c:pt>
                <c:pt idx="94">
                  <c:v>36114</c:v>
                </c:pt>
                <c:pt idx="95">
                  <c:v>36144</c:v>
                </c:pt>
                <c:pt idx="96">
                  <c:v>36175</c:v>
                </c:pt>
                <c:pt idx="97">
                  <c:v>36206</c:v>
                </c:pt>
                <c:pt idx="98">
                  <c:v>36234</c:v>
                </c:pt>
                <c:pt idx="99">
                  <c:v>36265</c:v>
                </c:pt>
                <c:pt idx="100">
                  <c:v>36295</c:v>
                </c:pt>
                <c:pt idx="101">
                  <c:v>36326</c:v>
                </c:pt>
                <c:pt idx="102">
                  <c:v>36356</c:v>
                </c:pt>
                <c:pt idx="103">
                  <c:v>36387</c:v>
                </c:pt>
                <c:pt idx="104">
                  <c:v>36418</c:v>
                </c:pt>
                <c:pt idx="105">
                  <c:v>36448</c:v>
                </c:pt>
                <c:pt idx="106">
                  <c:v>36479</c:v>
                </c:pt>
                <c:pt idx="107">
                  <c:v>36509</c:v>
                </c:pt>
                <c:pt idx="108">
                  <c:v>36540</c:v>
                </c:pt>
                <c:pt idx="109">
                  <c:v>36571</c:v>
                </c:pt>
                <c:pt idx="110">
                  <c:v>36600</c:v>
                </c:pt>
                <c:pt idx="111">
                  <c:v>36631</c:v>
                </c:pt>
                <c:pt idx="112">
                  <c:v>36661</c:v>
                </c:pt>
                <c:pt idx="113">
                  <c:v>36692</c:v>
                </c:pt>
                <c:pt idx="114">
                  <c:v>36722</c:v>
                </c:pt>
                <c:pt idx="115">
                  <c:v>36753</c:v>
                </c:pt>
                <c:pt idx="116">
                  <c:v>36784</c:v>
                </c:pt>
                <c:pt idx="117">
                  <c:v>36814</c:v>
                </c:pt>
                <c:pt idx="118">
                  <c:v>36845</c:v>
                </c:pt>
                <c:pt idx="119">
                  <c:v>36875</c:v>
                </c:pt>
                <c:pt idx="120">
                  <c:v>36906</c:v>
                </c:pt>
                <c:pt idx="121">
                  <c:v>36937</c:v>
                </c:pt>
                <c:pt idx="122">
                  <c:v>36965</c:v>
                </c:pt>
                <c:pt idx="123">
                  <c:v>36996</c:v>
                </c:pt>
                <c:pt idx="124">
                  <c:v>37026</c:v>
                </c:pt>
                <c:pt idx="125">
                  <c:v>37057</c:v>
                </c:pt>
                <c:pt idx="126">
                  <c:v>37087</c:v>
                </c:pt>
                <c:pt idx="127">
                  <c:v>37118</c:v>
                </c:pt>
                <c:pt idx="128">
                  <c:v>37149</c:v>
                </c:pt>
                <c:pt idx="129">
                  <c:v>37179</c:v>
                </c:pt>
                <c:pt idx="130">
                  <c:v>37210</c:v>
                </c:pt>
                <c:pt idx="131">
                  <c:v>37240</c:v>
                </c:pt>
                <c:pt idx="132">
                  <c:v>37271</c:v>
                </c:pt>
                <c:pt idx="133">
                  <c:v>37302</c:v>
                </c:pt>
                <c:pt idx="134">
                  <c:v>37330</c:v>
                </c:pt>
                <c:pt idx="135">
                  <c:v>37361</c:v>
                </c:pt>
                <c:pt idx="136">
                  <c:v>37391</c:v>
                </c:pt>
                <c:pt idx="137">
                  <c:v>37422</c:v>
                </c:pt>
                <c:pt idx="138">
                  <c:v>37452</c:v>
                </c:pt>
                <c:pt idx="139">
                  <c:v>37483</c:v>
                </c:pt>
                <c:pt idx="140">
                  <c:v>37514</c:v>
                </c:pt>
                <c:pt idx="141">
                  <c:v>37544</c:v>
                </c:pt>
                <c:pt idx="142">
                  <c:v>37575</c:v>
                </c:pt>
                <c:pt idx="143">
                  <c:v>37605</c:v>
                </c:pt>
                <c:pt idx="144">
                  <c:v>37636</c:v>
                </c:pt>
                <c:pt idx="145">
                  <c:v>37667</c:v>
                </c:pt>
                <c:pt idx="146">
                  <c:v>37695</c:v>
                </c:pt>
                <c:pt idx="147">
                  <c:v>37726</c:v>
                </c:pt>
                <c:pt idx="148">
                  <c:v>37756</c:v>
                </c:pt>
                <c:pt idx="149">
                  <c:v>37787</c:v>
                </c:pt>
                <c:pt idx="150">
                  <c:v>37817</c:v>
                </c:pt>
                <c:pt idx="151">
                  <c:v>37848</c:v>
                </c:pt>
                <c:pt idx="152">
                  <c:v>37879</c:v>
                </c:pt>
                <c:pt idx="153">
                  <c:v>37909</c:v>
                </c:pt>
                <c:pt idx="154">
                  <c:v>37940</c:v>
                </c:pt>
                <c:pt idx="155">
                  <c:v>37970</c:v>
                </c:pt>
                <c:pt idx="156">
                  <c:v>38001</c:v>
                </c:pt>
                <c:pt idx="157">
                  <c:v>38032</c:v>
                </c:pt>
                <c:pt idx="158">
                  <c:v>38061</c:v>
                </c:pt>
                <c:pt idx="159">
                  <c:v>38092</c:v>
                </c:pt>
                <c:pt idx="160">
                  <c:v>38122</c:v>
                </c:pt>
                <c:pt idx="161">
                  <c:v>38153</c:v>
                </c:pt>
                <c:pt idx="162">
                  <c:v>38183</c:v>
                </c:pt>
                <c:pt idx="163">
                  <c:v>38214</c:v>
                </c:pt>
                <c:pt idx="164">
                  <c:v>38245</c:v>
                </c:pt>
                <c:pt idx="165">
                  <c:v>38275</c:v>
                </c:pt>
                <c:pt idx="166">
                  <c:v>38306</c:v>
                </c:pt>
                <c:pt idx="167">
                  <c:v>38336</c:v>
                </c:pt>
                <c:pt idx="168">
                  <c:v>38367</c:v>
                </c:pt>
                <c:pt idx="169">
                  <c:v>38398</c:v>
                </c:pt>
                <c:pt idx="170">
                  <c:v>38426</c:v>
                </c:pt>
                <c:pt idx="171">
                  <c:v>38457</c:v>
                </c:pt>
                <c:pt idx="172">
                  <c:v>38487</c:v>
                </c:pt>
                <c:pt idx="173">
                  <c:v>38518</c:v>
                </c:pt>
                <c:pt idx="174">
                  <c:v>38548</c:v>
                </c:pt>
                <c:pt idx="175">
                  <c:v>38579</c:v>
                </c:pt>
                <c:pt idx="176">
                  <c:v>38610</c:v>
                </c:pt>
                <c:pt idx="177">
                  <c:v>38640</c:v>
                </c:pt>
                <c:pt idx="178">
                  <c:v>38671</c:v>
                </c:pt>
                <c:pt idx="179">
                  <c:v>38701</c:v>
                </c:pt>
                <c:pt idx="180">
                  <c:v>38732</c:v>
                </c:pt>
                <c:pt idx="181">
                  <c:v>38763</c:v>
                </c:pt>
                <c:pt idx="182">
                  <c:v>38791</c:v>
                </c:pt>
                <c:pt idx="183">
                  <c:v>38822</c:v>
                </c:pt>
                <c:pt idx="184">
                  <c:v>38852</c:v>
                </c:pt>
                <c:pt idx="185">
                  <c:v>38883</c:v>
                </c:pt>
                <c:pt idx="186">
                  <c:v>38913</c:v>
                </c:pt>
                <c:pt idx="187">
                  <c:v>38944</c:v>
                </c:pt>
                <c:pt idx="188">
                  <c:v>38975</c:v>
                </c:pt>
                <c:pt idx="189">
                  <c:v>39005</c:v>
                </c:pt>
                <c:pt idx="190">
                  <c:v>39036</c:v>
                </c:pt>
                <c:pt idx="191">
                  <c:v>39066</c:v>
                </c:pt>
                <c:pt idx="192">
                  <c:v>39097</c:v>
                </c:pt>
                <c:pt idx="193">
                  <c:v>39128</c:v>
                </c:pt>
                <c:pt idx="194">
                  <c:v>39156</c:v>
                </c:pt>
                <c:pt idx="195">
                  <c:v>39187</c:v>
                </c:pt>
                <c:pt idx="196">
                  <c:v>39217</c:v>
                </c:pt>
                <c:pt idx="197">
                  <c:v>39248</c:v>
                </c:pt>
                <c:pt idx="198">
                  <c:v>39278</c:v>
                </c:pt>
                <c:pt idx="199">
                  <c:v>39309</c:v>
                </c:pt>
                <c:pt idx="200">
                  <c:v>39340</c:v>
                </c:pt>
                <c:pt idx="201">
                  <c:v>39370</c:v>
                </c:pt>
                <c:pt idx="202">
                  <c:v>39401</c:v>
                </c:pt>
                <c:pt idx="203">
                  <c:v>39431</c:v>
                </c:pt>
                <c:pt idx="204">
                  <c:v>39462</c:v>
                </c:pt>
                <c:pt idx="205">
                  <c:v>39493</c:v>
                </c:pt>
                <c:pt idx="206">
                  <c:v>39522</c:v>
                </c:pt>
                <c:pt idx="207">
                  <c:v>39553</c:v>
                </c:pt>
                <c:pt idx="208">
                  <c:v>39583</c:v>
                </c:pt>
                <c:pt idx="209">
                  <c:v>39614</c:v>
                </c:pt>
                <c:pt idx="210">
                  <c:v>39644</c:v>
                </c:pt>
                <c:pt idx="211">
                  <c:v>39675</c:v>
                </c:pt>
                <c:pt idx="212">
                  <c:v>39706</c:v>
                </c:pt>
                <c:pt idx="213">
                  <c:v>39736</c:v>
                </c:pt>
                <c:pt idx="214">
                  <c:v>39767</c:v>
                </c:pt>
                <c:pt idx="215">
                  <c:v>39797</c:v>
                </c:pt>
                <c:pt idx="216">
                  <c:v>39828</c:v>
                </c:pt>
                <c:pt idx="217">
                  <c:v>39859</c:v>
                </c:pt>
                <c:pt idx="218">
                  <c:v>39887</c:v>
                </c:pt>
                <c:pt idx="219">
                  <c:v>39918</c:v>
                </c:pt>
                <c:pt idx="220">
                  <c:v>39948</c:v>
                </c:pt>
                <c:pt idx="221">
                  <c:v>39979</c:v>
                </c:pt>
                <c:pt idx="222">
                  <c:v>40009</c:v>
                </c:pt>
                <c:pt idx="223">
                  <c:v>40040</c:v>
                </c:pt>
                <c:pt idx="224">
                  <c:v>40071</c:v>
                </c:pt>
                <c:pt idx="225">
                  <c:v>40101</c:v>
                </c:pt>
                <c:pt idx="226">
                  <c:v>40132</c:v>
                </c:pt>
                <c:pt idx="227">
                  <c:v>40162</c:v>
                </c:pt>
                <c:pt idx="228">
                  <c:v>40193</c:v>
                </c:pt>
                <c:pt idx="229">
                  <c:v>40224</c:v>
                </c:pt>
                <c:pt idx="230">
                  <c:v>40252</c:v>
                </c:pt>
                <c:pt idx="231">
                  <c:v>40283</c:v>
                </c:pt>
                <c:pt idx="232">
                  <c:v>40313</c:v>
                </c:pt>
                <c:pt idx="233">
                  <c:v>40344</c:v>
                </c:pt>
                <c:pt idx="234">
                  <c:v>40374</c:v>
                </c:pt>
                <c:pt idx="235">
                  <c:v>40405</c:v>
                </c:pt>
                <c:pt idx="236">
                  <c:v>40436</c:v>
                </c:pt>
                <c:pt idx="237">
                  <c:v>40466</c:v>
                </c:pt>
                <c:pt idx="238">
                  <c:v>40497</c:v>
                </c:pt>
                <c:pt idx="239">
                  <c:v>40527</c:v>
                </c:pt>
                <c:pt idx="240">
                  <c:v>40558</c:v>
                </c:pt>
                <c:pt idx="241">
                  <c:v>40589</c:v>
                </c:pt>
                <c:pt idx="242">
                  <c:v>40617</c:v>
                </c:pt>
                <c:pt idx="243">
                  <c:v>40648</c:v>
                </c:pt>
                <c:pt idx="244">
                  <c:v>40678</c:v>
                </c:pt>
                <c:pt idx="245">
                  <c:v>40709</c:v>
                </c:pt>
                <c:pt idx="246">
                  <c:v>40739</c:v>
                </c:pt>
                <c:pt idx="247">
                  <c:v>40770</c:v>
                </c:pt>
                <c:pt idx="248">
                  <c:v>40801</c:v>
                </c:pt>
                <c:pt idx="249">
                  <c:v>40831</c:v>
                </c:pt>
                <c:pt idx="250">
                  <c:v>40862</c:v>
                </c:pt>
                <c:pt idx="251">
                  <c:v>40892</c:v>
                </c:pt>
                <c:pt idx="252">
                  <c:v>40923</c:v>
                </c:pt>
                <c:pt idx="253">
                  <c:v>40954</c:v>
                </c:pt>
                <c:pt idx="254">
                  <c:v>40983</c:v>
                </c:pt>
                <c:pt idx="255">
                  <c:v>41014</c:v>
                </c:pt>
                <c:pt idx="256">
                  <c:v>41044</c:v>
                </c:pt>
                <c:pt idx="257">
                  <c:v>41075</c:v>
                </c:pt>
                <c:pt idx="258">
                  <c:v>41105</c:v>
                </c:pt>
                <c:pt idx="259">
                  <c:v>41136</c:v>
                </c:pt>
                <c:pt idx="260">
                  <c:v>41167</c:v>
                </c:pt>
                <c:pt idx="261">
                  <c:v>41197</c:v>
                </c:pt>
                <c:pt idx="262">
                  <c:v>41228</c:v>
                </c:pt>
                <c:pt idx="263">
                  <c:v>41258</c:v>
                </c:pt>
                <c:pt idx="264">
                  <c:v>41289</c:v>
                </c:pt>
                <c:pt idx="265">
                  <c:v>41320</c:v>
                </c:pt>
                <c:pt idx="266">
                  <c:v>41348</c:v>
                </c:pt>
                <c:pt idx="267">
                  <c:v>41379</c:v>
                </c:pt>
                <c:pt idx="268">
                  <c:v>41409</c:v>
                </c:pt>
                <c:pt idx="269">
                  <c:v>41440</c:v>
                </c:pt>
                <c:pt idx="270">
                  <c:v>41470</c:v>
                </c:pt>
                <c:pt idx="271">
                  <c:v>41501</c:v>
                </c:pt>
                <c:pt idx="272">
                  <c:v>41532</c:v>
                </c:pt>
                <c:pt idx="273">
                  <c:v>41562</c:v>
                </c:pt>
                <c:pt idx="274">
                  <c:v>41593</c:v>
                </c:pt>
                <c:pt idx="275">
                  <c:v>41623</c:v>
                </c:pt>
                <c:pt idx="276">
                  <c:v>41654</c:v>
                </c:pt>
                <c:pt idx="277">
                  <c:v>41685</c:v>
                </c:pt>
                <c:pt idx="278">
                  <c:v>41713</c:v>
                </c:pt>
                <c:pt idx="279">
                  <c:v>41744</c:v>
                </c:pt>
                <c:pt idx="280">
                  <c:v>41774</c:v>
                </c:pt>
                <c:pt idx="281">
                  <c:v>41805</c:v>
                </c:pt>
                <c:pt idx="282">
                  <c:v>41835</c:v>
                </c:pt>
                <c:pt idx="283">
                  <c:v>41866</c:v>
                </c:pt>
                <c:pt idx="284">
                  <c:v>41897</c:v>
                </c:pt>
                <c:pt idx="285">
                  <c:v>41927</c:v>
                </c:pt>
                <c:pt idx="286">
                  <c:v>41958</c:v>
                </c:pt>
                <c:pt idx="287">
                  <c:v>41988</c:v>
                </c:pt>
                <c:pt idx="288">
                  <c:v>42019</c:v>
                </c:pt>
                <c:pt idx="289">
                  <c:v>42050</c:v>
                </c:pt>
                <c:pt idx="290">
                  <c:v>42078</c:v>
                </c:pt>
                <c:pt idx="291">
                  <c:v>42109</c:v>
                </c:pt>
                <c:pt idx="292">
                  <c:v>42139</c:v>
                </c:pt>
                <c:pt idx="293">
                  <c:v>42170</c:v>
                </c:pt>
                <c:pt idx="294">
                  <c:v>42200</c:v>
                </c:pt>
                <c:pt idx="295">
                  <c:v>42231</c:v>
                </c:pt>
                <c:pt idx="296">
                  <c:v>42262</c:v>
                </c:pt>
                <c:pt idx="297">
                  <c:v>42292</c:v>
                </c:pt>
                <c:pt idx="298">
                  <c:v>42323</c:v>
                </c:pt>
                <c:pt idx="299">
                  <c:v>42353</c:v>
                </c:pt>
                <c:pt idx="300">
                  <c:v>42384</c:v>
                </c:pt>
                <c:pt idx="301">
                  <c:v>42415</c:v>
                </c:pt>
                <c:pt idx="302">
                  <c:v>42444</c:v>
                </c:pt>
                <c:pt idx="303">
                  <c:v>42475</c:v>
                </c:pt>
                <c:pt idx="304">
                  <c:v>42505</c:v>
                </c:pt>
                <c:pt idx="305">
                  <c:v>42536</c:v>
                </c:pt>
                <c:pt idx="306">
                  <c:v>42566</c:v>
                </c:pt>
                <c:pt idx="307">
                  <c:v>42597</c:v>
                </c:pt>
                <c:pt idx="308">
                  <c:v>42628</c:v>
                </c:pt>
                <c:pt idx="309">
                  <c:v>42658</c:v>
                </c:pt>
                <c:pt idx="310">
                  <c:v>42689</c:v>
                </c:pt>
                <c:pt idx="311">
                  <c:v>42719</c:v>
                </c:pt>
                <c:pt idx="312">
                  <c:v>42750</c:v>
                </c:pt>
                <c:pt idx="313">
                  <c:v>42781</c:v>
                </c:pt>
                <c:pt idx="314">
                  <c:v>42809</c:v>
                </c:pt>
                <c:pt idx="315">
                  <c:v>42840</c:v>
                </c:pt>
                <c:pt idx="316">
                  <c:v>42870</c:v>
                </c:pt>
                <c:pt idx="317">
                  <c:v>42901</c:v>
                </c:pt>
                <c:pt idx="318">
                  <c:v>42931</c:v>
                </c:pt>
                <c:pt idx="319">
                  <c:v>42962</c:v>
                </c:pt>
                <c:pt idx="320">
                  <c:v>42993</c:v>
                </c:pt>
                <c:pt idx="321">
                  <c:v>43023</c:v>
                </c:pt>
                <c:pt idx="322">
                  <c:v>43054</c:v>
                </c:pt>
                <c:pt idx="323">
                  <c:v>43084</c:v>
                </c:pt>
                <c:pt idx="324">
                  <c:v>43115</c:v>
                </c:pt>
                <c:pt idx="325">
                  <c:v>43146</c:v>
                </c:pt>
                <c:pt idx="326">
                  <c:v>43174</c:v>
                </c:pt>
                <c:pt idx="327">
                  <c:v>43205</c:v>
                </c:pt>
                <c:pt idx="328">
                  <c:v>43235</c:v>
                </c:pt>
                <c:pt idx="329">
                  <c:v>43266</c:v>
                </c:pt>
                <c:pt idx="330">
                  <c:v>43296</c:v>
                </c:pt>
                <c:pt idx="331">
                  <c:v>43327</c:v>
                </c:pt>
                <c:pt idx="332">
                  <c:v>43358</c:v>
                </c:pt>
                <c:pt idx="333">
                  <c:v>43388</c:v>
                </c:pt>
                <c:pt idx="334">
                  <c:v>43419</c:v>
                </c:pt>
                <c:pt idx="335">
                  <c:v>43449</c:v>
                </c:pt>
                <c:pt idx="336">
                  <c:v>43480</c:v>
                </c:pt>
                <c:pt idx="337">
                  <c:v>43511</c:v>
                </c:pt>
                <c:pt idx="338">
                  <c:v>43539</c:v>
                </c:pt>
                <c:pt idx="339">
                  <c:v>43570</c:v>
                </c:pt>
                <c:pt idx="340">
                  <c:v>43600</c:v>
                </c:pt>
                <c:pt idx="341">
                  <c:v>43631</c:v>
                </c:pt>
                <c:pt idx="342">
                  <c:v>43661</c:v>
                </c:pt>
                <c:pt idx="343">
                  <c:v>43692</c:v>
                </c:pt>
                <c:pt idx="344">
                  <c:v>43723</c:v>
                </c:pt>
                <c:pt idx="345">
                  <c:v>43753</c:v>
                </c:pt>
                <c:pt idx="346">
                  <c:v>43784</c:v>
                </c:pt>
                <c:pt idx="347">
                  <c:v>43814</c:v>
                </c:pt>
                <c:pt idx="348">
                  <c:v>43845</c:v>
                </c:pt>
                <c:pt idx="349">
                  <c:v>43876</c:v>
                </c:pt>
                <c:pt idx="350">
                  <c:v>43905</c:v>
                </c:pt>
                <c:pt idx="351">
                  <c:v>43936</c:v>
                </c:pt>
                <c:pt idx="352">
                  <c:v>43966</c:v>
                </c:pt>
                <c:pt idx="353">
                  <c:v>43997</c:v>
                </c:pt>
                <c:pt idx="354">
                  <c:v>44027</c:v>
                </c:pt>
                <c:pt idx="355">
                  <c:v>44058</c:v>
                </c:pt>
                <c:pt idx="356">
                  <c:v>44089</c:v>
                </c:pt>
                <c:pt idx="357">
                  <c:v>44119</c:v>
                </c:pt>
                <c:pt idx="358">
                  <c:v>44150</c:v>
                </c:pt>
                <c:pt idx="359">
                  <c:v>44180</c:v>
                </c:pt>
                <c:pt idx="360">
                  <c:v>44211</c:v>
                </c:pt>
                <c:pt idx="361">
                  <c:v>44242</c:v>
                </c:pt>
                <c:pt idx="362">
                  <c:v>44270</c:v>
                </c:pt>
                <c:pt idx="363">
                  <c:v>44301</c:v>
                </c:pt>
                <c:pt idx="364">
                  <c:v>44331</c:v>
                </c:pt>
                <c:pt idx="365">
                  <c:v>44362</c:v>
                </c:pt>
                <c:pt idx="366">
                  <c:v>44392</c:v>
                </c:pt>
                <c:pt idx="367">
                  <c:v>44423</c:v>
                </c:pt>
                <c:pt idx="368">
                  <c:v>44454</c:v>
                </c:pt>
                <c:pt idx="369">
                  <c:v>44484</c:v>
                </c:pt>
                <c:pt idx="370">
                  <c:v>44515</c:v>
                </c:pt>
                <c:pt idx="371">
                  <c:v>44545</c:v>
                </c:pt>
                <c:pt idx="372">
                  <c:v>44576</c:v>
                </c:pt>
                <c:pt idx="373">
                  <c:v>44607</c:v>
                </c:pt>
                <c:pt idx="374">
                  <c:v>44635</c:v>
                </c:pt>
                <c:pt idx="375">
                  <c:v>44666</c:v>
                </c:pt>
                <c:pt idx="376">
                  <c:v>44696</c:v>
                </c:pt>
                <c:pt idx="377">
                  <c:v>44727</c:v>
                </c:pt>
                <c:pt idx="378">
                  <c:v>44757</c:v>
                </c:pt>
                <c:pt idx="379">
                  <c:v>44788</c:v>
                </c:pt>
                <c:pt idx="380">
                  <c:v>44819</c:v>
                </c:pt>
                <c:pt idx="381">
                  <c:v>44849</c:v>
                </c:pt>
                <c:pt idx="382">
                  <c:v>44880</c:v>
                </c:pt>
                <c:pt idx="383">
                  <c:v>44910</c:v>
                </c:pt>
                <c:pt idx="384">
                  <c:v>44941</c:v>
                </c:pt>
                <c:pt idx="385">
                  <c:v>44972</c:v>
                </c:pt>
                <c:pt idx="386">
                  <c:v>45000</c:v>
                </c:pt>
                <c:pt idx="387">
                  <c:v>45031</c:v>
                </c:pt>
                <c:pt idx="388">
                  <c:v>45061</c:v>
                </c:pt>
                <c:pt idx="389">
                  <c:v>45092</c:v>
                </c:pt>
                <c:pt idx="390">
                  <c:v>45122</c:v>
                </c:pt>
                <c:pt idx="391">
                  <c:v>45153</c:v>
                </c:pt>
                <c:pt idx="392">
                  <c:v>45184</c:v>
                </c:pt>
                <c:pt idx="393">
                  <c:v>45214</c:v>
                </c:pt>
                <c:pt idx="394">
                  <c:v>45245</c:v>
                </c:pt>
                <c:pt idx="395">
                  <c:v>45275</c:v>
                </c:pt>
                <c:pt idx="396">
                  <c:v>45306</c:v>
                </c:pt>
                <c:pt idx="397">
                  <c:v>45337</c:v>
                </c:pt>
                <c:pt idx="398">
                  <c:v>45366</c:v>
                </c:pt>
                <c:pt idx="399">
                  <c:v>45397</c:v>
                </c:pt>
                <c:pt idx="400">
                  <c:v>45427</c:v>
                </c:pt>
                <c:pt idx="401">
                  <c:v>45458</c:v>
                </c:pt>
                <c:pt idx="402">
                  <c:v>45488</c:v>
                </c:pt>
                <c:pt idx="403">
                  <c:v>45519</c:v>
                </c:pt>
                <c:pt idx="404">
                  <c:v>45550</c:v>
                </c:pt>
                <c:pt idx="405">
                  <c:v>45580</c:v>
                </c:pt>
                <c:pt idx="406">
                  <c:v>45611</c:v>
                </c:pt>
                <c:pt idx="407">
                  <c:v>45641</c:v>
                </c:pt>
                <c:pt idx="408">
                  <c:v>45672</c:v>
                </c:pt>
                <c:pt idx="409">
                  <c:v>45703</c:v>
                </c:pt>
                <c:pt idx="410">
                  <c:v>45731</c:v>
                </c:pt>
                <c:pt idx="411">
                  <c:v>45762</c:v>
                </c:pt>
                <c:pt idx="412">
                  <c:v>45792</c:v>
                </c:pt>
                <c:pt idx="413">
                  <c:v>45823</c:v>
                </c:pt>
                <c:pt idx="414">
                  <c:v>45853</c:v>
                </c:pt>
                <c:pt idx="415">
                  <c:v>45884</c:v>
                </c:pt>
                <c:pt idx="416">
                  <c:v>45915</c:v>
                </c:pt>
                <c:pt idx="417">
                  <c:v>45945</c:v>
                </c:pt>
                <c:pt idx="418">
                  <c:v>45976</c:v>
                </c:pt>
                <c:pt idx="419">
                  <c:v>46006</c:v>
                </c:pt>
                <c:pt idx="420">
                  <c:v>46037</c:v>
                </c:pt>
              </c:numCache>
            </c:numRef>
          </c:cat>
          <c:val>
            <c:numRef>
              <c:f>'Sheet1 (2)'!$AH$9:$AH$429</c:f>
              <c:numCache>
                <c:formatCode>General</c:formatCode>
                <c:ptCount val="421"/>
                <c:pt idx="0">
                  <c:v>100</c:v>
                </c:pt>
                <c:pt idx="1">
                  <c:v>100</c:v>
                </c:pt>
                <c:pt idx="2">
                  <c:v>100</c:v>
                </c:pt>
                <c:pt idx="3">
                  <c:v>100</c:v>
                </c:pt>
                <c:pt idx="4">
                  <c:v>100</c:v>
                </c:pt>
                <c:pt idx="5">
                  <c:v>100</c:v>
                </c:pt>
                <c:pt idx="6">
                  <c:v>100</c:v>
                </c:pt>
                <c:pt idx="7">
                  <c:v>100</c:v>
                </c:pt>
                <c:pt idx="8">
                  <c:v>100</c:v>
                </c:pt>
                <c:pt idx="9">
                  <c:v>100</c:v>
                </c:pt>
                <c:pt idx="10">
                  <c:v>100</c:v>
                </c:pt>
                <c:pt idx="11">
                  <c:v>100</c:v>
                </c:pt>
                <c:pt idx="12">
                  <c:v>101.00929898764717</c:v>
                </c:pt>
                <c:pt idx="13">
                  <c:v>101.00929898764717</c:v>
                </c:pt>
                <c:pt idx="14">
                  <c:v>101.00929898764717</c:v>
                </c:pt>
                <c:pt idx="15">
                  <c:v>101.00929898764717</c:v>
                </c:pt>
                <c:pt idx="16">
                  <c:v>101.00929898764717</c:v>
                </c:pt>
                <c:pt idx="17">
                  <c:v>101.00929898764717</c:v>
                </c:pt>
                <c:pt idx="18">
                  <c:v>101.00929898764717</c:v>
                </c:pt>
                <c:pt idx="19">
                  <c:v>101.00929898764717</c:v>
                </c:pt>
                <c:pt idx="20">
                  <c:v>101.00929898764717</c:v>
                </c:pt>
                <c:pt idx="21">
                  <c:v>101.00929898764717</c:v>
                </c:pt>
                <c:pt idx="22">
                  <c:v>101.00929898764717</c:v>
                </c:pt>
                <c:pt idx="23">
                  <c:v>101.00929898764717</c:v>
                </c:pt>
                <c:pt idx="24">
                  <c:v>102.010963338474</c:v>
                </c:pt>
                <c:pt idx="25">
                  <c:v>102.010963338474</c:v>
                </c:pt>
                <c:pt idx="26">
                  <c:v>102.010963338474</c:v>
                </c:pt>
                <c:pt idx="27">
                  <c:v>102.010963338474</c:v>
                </c:pt>
                <c:pt idx="28">
                  <c:v>102.010963338474</c:v>
                </c:pt>
                <c:pt idx="29">
                  <c:v>102.010963338474</c:v>
                </c:pt>
                <c:pt idx="30">
                  <c:v>102.010963338474</c:v>
                </c:pt>
                <c:pt idx="31">
                  <c:v>102.010963338474</c:v>
                </c:pt>
                <c:pt idx="32">
                  <c:v>102.010963338474</c:v>
                </c:pt>
                <c:pt idx="33">
                  <c:v>102.010963338474</c:v>
                </c:pt>
                <c:pt idx="34">
                  <c:v>102.010963338474</c:v>
                </c:pt>
                <c:pt idx="35">
                  <c:v>102.010963338474</c:v>
                </c:pt>
                <c:pt idx="36">
                  <c:v>102.99888534302424</c:v>
                </c:pt>
                <c:pt idx="37">
                  <c:v>102.99888534302424</c:v>
                </c:pt>
                <c:pt idx="38">
                  <c:v>102.99888534302424</c:v>
                </c:pt>
                <c:pt idx="39">
                  <c:v>102.99888534302424</c:v>
                </c:pt>
                <c:pt idx="40">
                  <c:v>102.99888534302424</c:v>
                </c:pt>
                <c:pt idx="41">
                  <c:v>102.99888534302424</c:v>
                </c:pt>
                <c:pt idx="42">
                  <c:v>102.99888534302424</c:v>
                </c:pt>
                <c:pt idx="43">
                  <c:v>102.99888534302424</c:v>
                </c:pt>
                <c:pt idx="44">
                  <c:v>102.99888534302424</c:v>
                </c:pt>
                <c:pt idx="45">
                  <c:v>102.99888534302424</c:v>
                </c:pt>
                <c:pt idx="46">
                  <c:v>102.99888534302424</c:v>
                </c:pt>
                <c:pt idx="47">
                  <c:v>102.99888534302424</c:v>
                </c:pt>
                <c:pt idx="48">
                  <c:v>103.93031103510407</c:v>
                </c:pt>
                <c:pt idx="49">
                  <c:v>103.93031103510407</c:v>
                </c:pt>
                <c:pt idx="50">
                  <c:v>103.93031103510407</c:v>
                </c:pt>
                <c:pt idx="51">
                  <c:v>103.93031103510407</c:v>
                </c:pt>
                <c:pt idx="52">
                  <c:v>103.93031103510407</c:v>
                </c:pt>
                <c:pt idx="53">
                  <c:v>103.93031103510407</c:v>
                </c:pt>
                <c:pt idx="54">
                  <c:v>103.93031103510407</c:v>
                </c:pt>
                <c:pt idx="55">
                  <c:v>103.93031103510407</c:v>
                </c:pt>
                <c:pt idx="56">
                  <c:v>103.93031103510407</c:v>
                </c:pt>
                <c:pt idx="57">
                  <c:v>103.93031103510407</c:v>
                </c:pt>
                <c:pt idx="58">
                  <c:v>103.93031103510407</c:v>
                </c:pt>
                <c:pt idx="59">
                  <c:v>103.93031103510407</c:v>
                </c:pt>
                <c:pt idx="60">
                  <c:v>105.28164175230185</c:v>
                </c:pt>
                <c:pt idx="61">
                  <c:v>105.28164175230185</c:v>
                </c:pt>
                <c:pt idx="62">
                  <c:v>105.28164175230185</c:v>
                </c:pt>
                <c:pt idx="63">
                  <c:v>105.28164175230185</c:v>
                </c:pt>
                <c:pt idx="64">
                  <c:v>105.28164175230185</c:v>
                </c:pt>
                <c:pt idx="65">
                  <c:v>105.28164175230185</c:v>
                </c:pt>
                <c:pt idx="66">
                  <c:v>105.28164175230185</c:v>
                </c:pt>
                <c:pt idx="67">
                  <c:v>105.28164175230185</c:v>
                </c:pt>
                <c:pt idx="68">
                  <c:v>105.28164175230185</c:v>
                </c:pt>
                <c:pt idx="69">
                  <c:v>105.28164175230185</c:v>
                </c:pt>
                <c:pt idx="70">
                  <c:v>105.28164175230185</c:v>
                </c:pt>
                <c:pt idx="71">
                  <c:v>105.28164175230185</c:v>
                </c:pt>
                <c:pt idx="72">
                  <c:v>106.61006855903865</c:v>
                </c:pt>
                <c:pt idx="73">
                  <c:v>106.61006855903865</c:v>
                </c:pt>
                <c:pt idx="74">
                  <c:v>106.61006855903865</c:v>
                </c:pt>
                <c:pt idx="75">
                  <c:v>106.61006855903865</c:v>
                </c:pt>
                <c:pt idx="76">
                  <c:v>106.61006855903865</c:v>
                </c:pt>
                <c:pt idx="77">
                  <c:v>106.61006855903865</c:v>
                </c:pt>
                <c:pt idx="78">
                  <c:v>106.61006855903865</c:v>
                </c:pt>
                <c:pt idx="79">
                  <c:v>106.61006855903865</c:v>
                </c:pt>
                <c:pt idx="80">
                  <c:v>106.61006855903865</c:v>
                </c:pt>
                <c:pt idx="81">
                  <c:v>106.61006855903865</c:v>
                </c:pt>
                <c:pt idx="82">
                  <c:v>106.61006855903865</c:v>
                </c:pt>
                <c:pt idx="83">
                  <c:v>106.61006855903865</c:v>
                </c:pt>
                <c:pt idx="84">
                  <c:v>107.85756821548</c:v>
                </c:pt>
                <c:pt idx="85">
                  <c:v>107.85756821548</c:v>
                </c:pt>
                <c:pt idx="86">
                  <c:v>107.85756821548</c:v>
                </c:pt>
                <c:pt idx="87">
                  <c:v>107.85756821548</c:v>
                </c:pt>
                <c:pt idx="88">
                  <c:v>107.85756821548</c:v>
                </c:pt>
                <c:pt idx="89">
                  <c:v>107.85756821548</c:v>
                </c:pt>
                <c:pt idx="90">
                  <c:v>107.85756821548</c:v>
                </c:pt>
                <c:pt idx="91">
                  <c:v>107.85756821548</c:v>
                </c:pt>
                <c:pt idx="92">
                  <c:v>107.85756821548</c:v>
                </c:pt>
                <c:pt idx="93">
                  <c:v>107.85756821548</c:v>
                </c:pt>
                <c:pt idx="94">
                  <c:v>107.85756821548</c:v>
                </c:pt>
                <c:pt idx="95">
                  <c:v>107.85756821548</c:v>
                </c:pt>
                <c:pt idx="96">
                  <c:v>109.01345223007743</c:v>
                </c:pt>
                <c:pt idx="97">
                  <c:v>109.01345223007743</c:v>
                </c:pt>
                <c:pt idx="98">
                  <c:v>109.01345223007743</c:v>
                </c:pt>
                <c:pt idx="99">
                  <c:v>109.01345223007743</c:v>
                </c:pt>
                <c:pt idx="100">
                  <c:v>109.01345223007743</c:v>
                </c:pt>
                <c:pt idx="101">
                  <c:v>109.01345223007743</c:v>
                </c:pt>
                <c:pt idx="102">
                  <c:v>109.01345223007743</c:v>
                </c:pt>
                <c:pt idx="103">
                  <c:v>109.01345223007743</c:v>
                </c:pt>
                <c:pt idx="104">
                  <c:v>109.01345223007743</c:v>
                </c:pt>
                <c:pt idx="105">
                  <c:v>109.01345223007743</c:v>
                </c:pt>
                <c:pt idx="106">
                  <c:v>109.01345223007743</c:v>
                </c:pt>
                <c:pt idx="107">
                  <c:v>109.01345223007743</c:v>
                </c:pt>
                <c:pt idx="108">
                  <c:v>110.06855903864654</c:v>
                </c:pt>
                <c:pt idx="109">
                  <c:v>110.06855903864654</c:v>
                </c:pt>
                <c:pt idx="110">
                  <c:v>110.06855903864654</c:v>
                </c:pt>
                <c:pt idx="111">
                  <c:v>110.06855903864654</c:v>
                </c:pt>
                <c:pt idx="112">
                  <c:v>110.06855903864654</c:v>
                </c:pt>
                <c:pt idx="113">
                  <c:v>110.06855903864654</c:v>
                </c:pt>
                <c:pt idx="114">
                  <c:v>110.06855903864654</c:v>
                </c:pt>
                <c:pt idx="115">
                  <c:v>110.06855903864654</c:v>
                </c:pt>
                <c:pt idx="116">
                  <c:v>110.06855903864654</c:v>
                </c:pt>
                <c:pt idx="117">
                  <c:v>110.06855903864654</c:v>
                </c:pt>
                <c:pt idx="118">
                  <c:v>110.06855903864654</c:v>
                </c:pt>
                <c:pt idx="119">
                  <c:v>110.06855903864654</c:v>
                </c:pt>
                <c:pt idx="120">
                  <c:v>111.15573132186103</c:v>
                </c:pt>
                <c:pt idx="121">
                  <c:v>111.15573132186103</c:v>
                </c:pt>
                <c:pt idx="122">
                  <c:v>111.15573132186103</c:v>
                </c:pt>
                <c:pt idx="123">
                  <c:v>111.15573132186103</c:v>
                </c:pt>
                <c:pt idx="124">
                  <c:v>111.15573132186103</c:v>
                </c:pt>
                <c:pt idx="125">
                  <c:v>111.15573132186103</c:v>
                </c:pt>
                <c:pt idx="126">
                  <c:v>111.15573132186103</c:v>
                </c:pt>
                <c:pt idx="127">
                  <c:v>111.15573132186103</c:v>
                </c:pt>
                <c:pt idx="128">
                  <c:v>111.15573132186103</c:v>
                </c:pt>
                <c:pt idx="129">
                  <c:v>111.15573132186103</c:v>
                </c:pt>
                <c:pt idx="130">
                  <c:v>111.15573132186103</c:v>
                </c:pt>
                <c:pt idx="131">
                  <c:v>111.15573132186103</c:v>
                </c:pt>
                <c:pt idx="132">
                  <c:v>111.89323723870454</c:v>
                </c:pt>
                <c:pt idx="133">
                  <c:v>111.89323723870454</c:v>
                </c:pt>
                <c:pt idx="134">
                  <c:v>111.89323723870454</c:v>
                </c:pt>
                <c:pt idx="135">
                  <c:v>111.89323723870454</c:v>
                </c:pt>
                <c:pt idx="136">
                  <c:v>111.89323723870454</c:v>
                </c:pt>
                <c:pt idx="137">
                  <c:v>111.89323723870454</c:v>
                </c:pt>
                <c:pt idx="138">
                  <c:v>111.89323723870454</c:v>
                </c:pt>
                <c:pt idx="139">
                  <c:v>111.89323723870454</c:v>
                </c:pt>
                <c:pt idx="140">
                  <c:v>111.89323723870454</c:v>
                </c:pt>
                <c:pt idx="141">
                  <c:v>111.89323723870454</c:v>
                </c:pt>
                <c:pt idx="142">
                  <c:v>111.89323723870454</c:v>
                </c:pt>
                <c:pt idx="143">
                  <c:v>111.89323723870454</c:v>
                </c:pt>
                <c:pt idx="144">
                  <c:v>112.58951611671833</c:v>
                </c:pt>
                <c:pt idx="145">
                  <c:v>112.58951611671833</c:v>
                </c:pt>
                <c:pt idx="146">
                  <c:v>112.58951611671833</c:v>
                </c:pt>
                <c:pt idx="147">
                  <c:v>112.58951611671833</c:v>
                </c:pt>
                <c:pt idx="148">
                  <c:v>112.58951611671833</c:v>
                </c:pt>
                <c:pt idx="149">
                  <c:v>112.58951611671833</c:v>
                </c:pt>
                <c:pt idx="150">
                  <c:v>112.58951611671833</c:v>
                </c:pt>
                <c:pt idx="151">
                  <c:v>112.58951611671833</c:v>
                </c:pt>
                <c:pt idx="152">
                  <c:v>112.58951611671833</c:v>
                </c:pt>
                <c:pt idx="153">
                  <c:v>112.58951611671833</c:v>
                </c:pt>
                <c:pt idx="154">
                  <c:v>112.58951611671833</c:v>
                </c:pt>
                <c:pt idx="155">
                  <c:v>112.58951611671833</c:v>
                </c:pt>
                <c:pt idx="156">
                  <c:v>113.39573376494481</c:v>
                </c:pt>
                <c:pt idx="157">
                  <c:v>113.39573376494481</c:v>
                </c:pt>
                <c:pt idx="158">
                  <c:v>113.39573376494481</c:v>
                </c:pt>
                <c:pt idx="159">
                  <c:v>113.39573376494481</c:v>
                </c:pt>
                <c:pt idx="160">
                  <c:v>113.39573376494481</c:v>
                </c:pt>
                <c:pt idx="161">
                  <c:v>113.39573376494481</c:v>
                </c:pt>
                <c:pt idx="162">
                  <c:v>113.39573376494481</c:v>
                </c:pt>
                <c:pt idx="163">
                  <c:v>113.39573376494481</c:v>
                </c:pt>
                <c:pt idx="164">
                  <c:v>113.39573376494481</c:v>
                </c:pt>
                <c:pt idx="165">
                  <c:v>113.39573376494481</c:v>
                </c:pt>
                <c:pt idx="166">
                  <c:v>113.39573376494481</c:v>
                </c:pt>
                <c:pt idx="167">
                  <c:v>113.39573376494481</c:v>
                </c:pt>
                <c:pt idx="168">
                  <c:v>113.98054694538182</c:v>
                </c:pt>
                <c:pt idx="169">
                  <c:v>113.98054694538182</c:v>
                </c:pt>
                <c:pt idx="170">
                  <c:v>113.98054694538182</c:v>
                </c:pt>
                <c:pt idx="171">
                  <c:v>113.98054694538182</c:v>
                </c:pt>
                <c:pt idx="172">
                  <c:v>113.98054694538182</c:v>
                </c:pt>
                <c:pt idx="173">
                  <c:v>113.98054694538182</c:v>
                </c:pt>
                <c:pt idx="174">
                  <c:v>113.98054694538182</c:v>
                </c:pt>
                <c:pt idx="175">
                  <c:v>113.98054694538182</c:v>
                </c:pt>
                <c:pt idx="176">
                  <c:v>113.98054694538182</c:v>
                </c:pt>
                <c:pt idx="177">
                  <c:v>113.98054694538182</c:v>
                </c:pt>
                <c:pt idx="178">
                  <c:v>113.98054694538182</c:v>
                </c:pt>
                <c:pt idx="179">
                  <c:v>113.98054694538182</c:v>
                </c:pt>
                <c:pt idx="180">
                  <c:v>114.48595990288742</c:v>
                </c:pt>
                <c:pt idx="181">
                  <c:v>114.48595990288742</c:v>
                </c:pt>
                <c:pt idx="182">
                  <c:v>114.48595990288742</c:v>
                </c:pt>
                <c:pt idx="183">
                  <c:v>114.48595990288742</c:v>
                </c:pt>
                <c:pt idx="184">
                  <c:v>114.48595990288742</c:v>
                </c:pt>
                <c:pt idx="185">
                  <c:v>114.48595990288742</c:v>
                </c:pt>
                <c:pt idx="186">
                  <c:v>114.48595990288742</c:v>
                </c:pt>
                <c:pt idx="187">
                  <c:v>114.48595990288742</c:v>
                </c:pt>
                <c:pt idx="188">
                  <c:v>114.48595990288742</c:v>
                </c:pt>
                <c:pt idx="189">
                  <c:v>114.48595990288742</c:v>
                </c:pt>
                <c:pt idx="190">
                  <c:v>114.48595990288742</c:v>
                </c:pt>
                <c:pt idx="191">
                  <c:v>114.48595990288742</c:v>
                </c:pt>
                <c:pt idx="192">
                  <c:v>115.00969598876183</c:v>
                </c:pt>
                <c:pt idx="193">
                  <c:v>115.00969598876183</c:v>
                </c:pt>
                <c:pt idx="194">
                  <c:v>115.00969598876183</c:v>
                </c:pt>
                <c:pt idx="195">
                  <c:v>115.00969598876183</c:v>
                </c:pt>
                <c:pt idx="196">
                  <c:v>115.00969598876183</c:v>
                </c:pt>
                <c:pt idx="197">
                  <c:v>115.00969598876183</c:v>
                </c:pt>
                <c:pt idx="198">
                  <c:v>115.00969598876183</c:v>
                </c:pt>
                <c:pt idx="199">
                  <c:v>115.00969598876183</c:v>
                </c:pt>
                <c:pt idx="200">
                  <c:v>115.00969598876183</c:v>
                </c:pt>
                <c:pt idx="201">
                  <c:v>115.00969598876183</c:v>
                </c:pt>
                <c:pt idx="202">
                  <c:v>115.00969598876183</c:v>
                </c:pt>
                <c:pt idx="203">
                  <c:v>115.00969598876183</c:v>
                </c:pt>
                <c:pt idx="204">
                  <c:v>115.38073933822967</c:v>
                </c:pt>
                <c:pt idx="205">
                  <c:v>115.38073933822967</c:v>
                </c:pt>
                <c:pt idx="206">
                  <c:v>115.38073933822967</c:v>
                </c:pt>
                <c:pt idx="207">
                  <c:v>115.38073933822967</c:v>
                </c:pt>
                <c:pt idx="208">
                  <c:v>115.38073933822967</c:v>
                </c:pt>
                <c:pt idx="209">
                  <c:v>115.38073933822967</c:v>
                </c:pt>
                <c:pt idx="210">
                  <c:v>115.38073933822967</c:v>
                </c:pt>
                <c:pt idx="211">
                  <c:v>115.38073933822967</c:v>
                </c:pt>
                <c:pt idx="212">
                  <c:v>115.38073933822967</c:v>
                </c:pt>
                <c:pt idx="213">
                  <c:v>115.38073933822967</c:v>
                </c:pt>
                <c:pt idx="214">
                  <c:v>115.38073933822967</c:v>
                </c:pt>
                <c:pt idx="215">
                  <c:v>115.38073933822967</c:v>
                </c:pt>
                <c:pt idx="216">
                  <c:v>115.78384816234293</c:v>
                </c:pt>
                <c:pt idx="217">
                  <c:v>115.78384816234293</c:v>
                </c:pt>
                <c:pt idx="218">
                  <c:v>115.78384816234293</c:v>
                </c:pt>
                <c:pt idx="219">
                  <c:v>115.78384816234293</c:v>
                </c:pt>
                <c:pt idx="220">
                  <c:v>115.78384816234293</c:v>
                </c:pt>
                <c:pt idx="221">
                  <c:v>115.78384816234293</c:v>
                </c:pt>
                <c:pt idx="222">
                  <c:v>115.78384816234293</c:v>
                </c:pt>
                <c:pt idx="223">
                  <c:v>115.78384816234293</c:v>
                </c:pt>
                <c:pt idx="224">
                  <c:v>115.78384816234293</c:v>
                </c:pt>
                <c:pt idx="225">
                  <c:v>115.78384816234293</c:v>
                </c:pt>
                <c:pt idx="226">
                  <c:v>115.78384816234293</c:v>
                </c:pt>
                <c:pt idx="227">
                  <c:v>115.78384816234293</c:v>
                </c:pt>
                <c:pt idx="228">
                  <c:v>116.206807042189</c:v>
                </c:pt>
                <c:pt idx="229">
                  <c:v>116.206807042189</c:v>
                </c:pt>
                <c:pt idx="230">
                  <c:v>116.206807042189</c:v>
                </c:pt>
                <c:pt idx="231">
                  <c:v>116.206807042189</c:v>
                </c:pt>
                <c:pt idx="232">
                  <c:v>116.206807042189</c:v>
                </c:pt>
                <c:pt idx="233">
                  <c:v>116.206807042189</c:v>
                </c:pt>
                <c:pt idx="234">
                  <c:v>116.206807042189</c:v>
                </c:pt>
                <c:pt idx="235">
                  <c:v>116.206807042189</c:v>
                </c:pt>
                <c:pt idx="236">
                  <c:v>116.206807042189</c:v>
                </c:pt>
                <c:pt idx="237">
                  <c:v>116.206807042189</c:v>
                </c:pt>
                <c:pt idx="238">
                  <c:v>116.206807042189</c:v>
                </c:pt>
                <c:pt idx="239">
                  <c:v>116.206807042189</c:v>
                </c:pt>
                <c:pt idx="240">
                  <c:v>116.34575743231896</c:v>
                </c:pt>
                <c:pt idx="241">
                  <c:v>116.34575743231896</c:v>
                </c:pt>
                <c:pt idx="242">
                  <c:v>116.34575743231896</c:v>
                </c:pt>
                <c:pt idx="243">
                  <c:v>116.34575743231896</c:v>
                </c:pt>
                <c:pt idx="244">
                  <c:v>116.34575743231896</c:v>
                </c:pt>
                <c:pt idx="245">
                  <c:v>116.34575743231896</c:v>
                </c:pt>
                <c:pt idx="246">
                  <c:v>116.34575743231896</c:v>
                </c:pt>
                <c:pt idx="247">
                  <c:v>116.34575743231896</c:v>
                </c:pt>
                <c:pt idx="248">
                  <c:v>116.34575743231896</c:v>
                </c:pt>
                <c:pt idx="249">
                  <c:v>116.34575743231896</c:v>
                </c:pt>
                <c:pt idx="250">
                  <c:v>116.34575743231896</c:v>
                </c:pt>
                <c:pt idx="251">
                  <c:v>116.34575743231896</c:v>
                </c:pt>
                <c:pt idx="252">
                  <c:v>116.43431921943473</c:v>
                </c:pt>
                <c:pt idx="253">
                  <c:v>116.43431921943473</c:v>
                </c:pt>
                <c:pt idx="254">
                  <c:v>116.43431921943473</c:v>
                </c:pt>
                <c:pt idx="255">
                  <c:v>116.43431921943473</c:v>
                </c:pt>
                <c:pt idx="256">
                  <c:v>116.43431921943473</c:v>
                </c:pt>
                <c:pt idx="257">
                  <c:v>116.43431921943473</c:v>
                </c:pt>
                <c:pt idx="258">
                  <c:v>116.43431921943473</c:v>
                </c:pt>
                <c:pt idx="259">
                  <c:v>116.43431921943473</c:v>
                </c:pt>
                <c:pt idx="260">
                  <c:v>116.43431921943473</c:v>
                </c:pt>
                <c:pt idx="261">
                  <c:v>116.43431921943473</c:v>
                </c:pt>
                <c:pt idx="262">
                  <c:v>116.43431921943473</c:v>
                </c:pt>
                <c:pt idx="263">
                  <c:v>116.43431921943473</c:v>
                </c:pt>
                <c:pt idx="264">
                  <c:v>116.50608480554581</c:v>
                </c:pt>
                <c:pt idx="265">
                  <c:v>116.50608480554581</c:v>
                </c:pt>
                <c:pt idx="266">
                  <c:v>116.50608480554581</c:v>
                </c:pt>
                <c:pt idx="267">
                  <c:v>116.50608480554581</c:v>
                </c:pt>
                <c:pt idx="268">
                  <c:v>116.50608480554581</c:v>
                </c:pt>
                <c:pt idx="269">
                  <c:v>116.50608480554581</c:v>
                </c:pt>
                <c:pt idx="270">
                  <c:v>116.50608480554581</c:v>
                </c:pt>
                <c:pt idx="271">
                  <c:v>116.50608480554581</c:v>
                </c:pt>
                <c:pt idx="272">
                  <c:v>116.50608480554581</c:v>
                </c:pt>
                <c:pt idx="273">
                  <c:v>116.50608480554581</c:v>
                </c:pt>
                <c:pt idx="274">
                  <c:v>116.50608480554581</c:v>
                </c:pt>
                <c:pt idx="275">
                  <c:v>116.50608480554581</c:v>
                </c:pt>
                <c:pt idx="276">
                  <c:v>116.57937731902095</c:v>
                </c:pt>
                <c:pt idx="277">
                  <c:v>116.57937731902095</c:v>
                </c:pt>
                <c:pt idx="278">
                  <c:v>116.57937731902095</c:v>
                </c:pt>
                <c:pt idx="279">
                  <c:v>116.57937731902095</c:v>
                </c:pt>
                <c:pt idx="280">
                  <c:v>116.57937731902095</c:v>
                </c:pt>
                <c:pt idx="281">
                  <c:v>116.57937731902095</c:v>
                </c:pt>
                <c:pt idx="282">
                  <c:v>116.57937731902095</c:v>
                </c:pt>
                <c:pt idx="283">
                  <c:v>116.57937731902095</c:v>
                </c:pt>
                <c:pt idx="284">
                  <c:v>116.57937731902095</c:v>
                </c:pt>
                <c:pt idx="285">
                  <c:v>116.57937731902095</c:v>
                </c:pt>
                <c:pt idx="286">
                  <c:v>116.57937731902095</c:v>
                </c:pt>
                <c:pt idx="287">
                  <c:v>116.57937731902095</c:v>
                </c:pt>
                <c:pt idx="288">
                  <c:v>116.53509642546305</c:v>
                </c:pt>
                <c:pt idx="289">
                  <c:v>116.53509642546305</c:v>
                </c:pt>
                <c:pt idx="290">
                  <c:v>116.53509642546305</c:v>
                </c:pt>
                <c:pt idx="291">
                  <c:v>116.53509642546305</c:v>
                </c:pt>
                <c:pt idx="292">
                  <c:v>116.53509642546305</c:v>
                </c:pt>
                <c:pt idx="293">
                  <c:v>116.53509642546305</c:v>
                </c:pt>
                <c:pt idx="294">
                  <c:v>116.53509642546305</c:v>
                </c:pt>
                <c:pt idx="295">
                  <c:v>116.53509642546305</c:v>
                </c:pt>
                <c:pt idx="296">
                  <c:v>116.53509642546305</c:v>
                </c:pt>
                <c:pt idx="297">
                  <c:v>116.53509642546305</c:v>
                </c:pt>
                <c:pt idx="298">
                  <c:v>116.53509642546305</c:v>
                </c:pt>
                <c:pt idx="299">
                  <c:v>116.53509642546305</c:v>
                </c:pt>
                <c:pt idx="300">
                  <c:v>116.42057687315817</c:v>
                </c:pt>
                <c:pt idx="301">
                  <c:v>116.42057687315817</c:v>
                </c:pt>
                <c:pt idx="302">
                  <c:v>116.42057687315817</c:v>
                </c:pt>
                <c:pt idx="303">
                  <c:v>116.42057687315817</c:v>
                </c:pt>
                <c:pt idx="304">
                  <c:v>116.42057687315817</c:v>
                </c:pt>
                <c:pt idx="305">
                  <c:v>116.42057687315817</c:v>
                </c:pt>
                <c:pt idx="306">
                  <c:v>116.42057687315817</c:v>
                </c:pt>
                <c:pt idx="307">
                  <c:v>116.42057687315817</c:v>
                </c:pt>
                <c:pt idx="308">
                  <c:v>116.42057687315817</c:v>
                </c:pt>
                <c:pt idx="309">
                  <c:v>116.42057687315817</c:v>
                </c:pt>
                <c:pt idx="310">
                  <c:v>116.42057687315817</c:v>
                </c:pt>
                <c:pt idx="311">
                  <c:v>116.42057687315817</c:v>
                </c:pt>
                <c:pt idx="312">
                  <c:v>116.13504145607794</c:v>
                </c:pt>
                <c:pt idx="313">
                  <c:v>116.13504145607794</c:v>
                </c:pt>
                <c:pt idx="314">
                  <c:v>116.13504145607794</c:v>
                </c:pt>
                <c:pt idx="315">
                  <c:v>116.13504145607794</c:v>
                </c:pt>
                <c:pt idx="316">
                  <c:v>116.13504145607794</c:v>
                </c:pt>
                <c:pt idx="317">
                  <c:v>116.13504145607794</c:v>
                </c:pt>
                <c:pt idx="318">
                  <c:v>116.13504145607794</c:v>
                </c:pt>
                <c:pt idx="319">
                  <c:v>116.13504145607794</c:v>
                </c:pt>
                <c:pt idx="320">
                  <c:v>116.13504145607794</c:v>
                </c:pt>
                <c:pt idx="321">
                  <c:v>116.13504145607794</c:v>
                </c:pt>
                <c:pt idx="322">
                  <c:v>116.13504145607794</c:v>
                </c:pt>
                <c:pt idx="323">
                  <c:v>116.13504145607794</c:v>
                </c:pt>
                <c:pt idx="324">
                  <c:v>115.71360950359593</c:v>
                </c:pt>
                <c:pt idx="325">
                  <c:v>115.71360950359593</c:v>
                </c:pt>
                <c:pt idx="326">
                  <c:v>115.71360950359593</c:v>
                </c:pt>
                <c:pt idx="327">
                  <c:v>115.71360950359593</c:v>
                </c:pt>
                <c:pt idx="328">
                  <c:v>115.71360950359593</c:v>
                </c:pt>
                <c:pt idx="329">
                  <c:v>115.71360950359593</c:v>
                </c:pt>
                <c:pt idx="330">
                  <c:v>115.71360950359593</c:v>
                </c:pt>
                <c:pt idx="331">
                  <c:v>115.71360950359593</c:v>
                </c:pt>
                <c:pt idx="332">
                  <c:v>115.71360950359593</c:v>
                </c:pt>
                <c:pt idx="333">
                  <c:v>115.71360950359593</c:v>
                </c:pt>
                <c:pt idx="334">
                  <c:v>115.71360950359593</c:v>
                </c:pt>
                <c:pt idx="335">
                  <c:v>115.71360950359593</c:v>
                </c:pt>
                <c:pt idx="336">
                  <c:v>115.20208883663405</c:v>
                </c:pt>
                <c:pt idx="337">
                  <c:v>115.20208883663405</c:v>
                </c:pt>
                <c:pt idx="338">
                  <c:v>115.20208883663405</c:v>
                </c:pt>
                <c:pt idx="339">
                  <c:v>115.20208883663405</c:v>
                </c:pt>
                <c:pt idx="340">
                  <c:v>115.20208883663405</c:v>
                </c:pt>
                <c:pt idx="341">
                  <c:v>115.20208883663405</c:v>
                </c:pt>
                <c:pt idx="342">
                  <c:v>115.20208883663405</c:v>
                </c:pt>
                <c:pt idx="343">
                  <c:v>115.20208883663405</c:v>
                </c:pt>
                <c:pt idx="344">
                  <c:v>115.20208883663405</c:v>
                </c:pt>
                <c:pt idx="345">
                  <c:v>115.20208883663405</c:v>
                </c:pt>
                <c:pt idx="346">
                  <c:v>115.20208883663405</c:v>
                </c:pt>
                <c:pt idx="347">
                  <c:v>115.20208883663405</c:v>
                </c:pt>
                <c:pt idx="348">
                  <c:v>114.61727565619704</c:v>
                </c:pt>
                <c:pt idx="349">
                  <c:v>114.61727565619704</c:v>
                </c:pt>
                <c:pt idx="350">
                  <c:v>114.61727565619704</c:v>
                </c:pt>
                <c:pt idx="351">
                  <c:v>114.61727565619704</c:v>
                </c:pt>
                <c:pt idx="352">
                  <c:v>114.61727565619704</c:v>
                </c:pt>
                <c:pt idx="353">
                  <c:v>114.61727565619704</c:v>
                </c:pt>
                <c:pt idx="354">
                  <c:v>114.61727565619704</c:v>
                </c:pt>
                <c:pt idx="355">
                  <c:v>114.61727565619704</c:v>
                </c:pt>
                <c:pt idx="356">
                  <c:v>114.61727565619704</c:v>
                </c:pt>
                <c:pt idx="357">
                  <c:v>114.61727565619704</c:v>
                </c:pt>
                <c:pt idx="358">
                  <c:v>114.61727565619704</c:v>
                </c:pt>
                <c:pt idx="359">
                  <c:v>114.61727565619704</c:v>
                </c:pt>
                <c:pt idx="360">
                  <c:v>113.98818158220215</c:v>
                </c:pt>
                <c:pt idx="361">
                  <c:v>113.98818158220215</c:v>
                </c:pt>
                <c:pt idx="362">
                  <c:v>113.98818158220215</c:v>
                </c:pt>
                <c:pt idx="363">
                  <c:v>113.98818158220215</c:v>
                </c:pt>
                <c:pt idx="364">
                  <c:v>113.98818158220215</c:v>
                </c:pt>
                <c:pt idx="365">
                  <c:v>113.98818158220215</c:v>
                </c:pt>
                <c:pt idx="366">
                  <c:v>113.98818158220215</c:v>
                </c:pt>
                <c:pt idx="367">
                  <c:v>113.98818158220215</c:v>
                </c:pt>
                <c:pt idx="368">
                  <c:v>113.98818158220215</c:v>
                </c:pt>
                <c:pt idx="369">
                  <c:v>113.98818158220215</c:v>
                </c:pt>
                <c:pt idx="370">
                  <c:v>113.98818158220215</c:v>
                </c:pt>
                <c:pt idx="371">
                  <c:v>113.98818158220215</c:v>
                </c:pt>
                <c:pt idx="372">
                  <c:v>112.00164908155318</c:v>
                </c:pt>
                <c:pt idx="373">
                  <c:v>112.00164908155318</c:v>
                </c:pt>
                <c:pt idx="374">
                  <c:v>112.00164908155318</c:v>
                </c:pt>
                <c:pt idx="375">
                  <c:v>112.00164908155318</c:v>
                </c:pt>
                <c:pt idx="376">
                  <c:v>112.00164908155318</c:v>
                </c:pt>
                <c:pt idx="377">
                  <c:v>112.00164908155318</c:v>
                </c:pt>
                <c:pt idx="378">
                  <c:v>112.00164908155318</c:v>
                </c:pt>
                <c:pt idx="379">
                  <c:v>112.00164908155318</c:v>
                </c:pt>
                <c:pt idx="380">
                  <c:v>112.00164908155318</c:v>
                </c:pt>
                <c:pt idx="381">
                  <c:v>112.00164908155318</c:v>
                </c:pt>
                <c:pt idx="382">
                  <c:v>112.00164908155318</c:v>
                </c:pt>
                <c:pt idx="383">
                  <c:v>112.00164908155318</c:v>
                </c:pt>
                <c:pt idx="384">
                  <c:v>113.05522896275824</c:v>
                </c:pt>
                <c:pt idx="385">
                  <c:v>113.05522896275824</c:v>
                </c:pt>
                <c:pt idx="386">
                  <c:v>113.05522896275824</c:v>
                </c:pt>
                <c:pt idx="387">
                  <c:v>113.05522896275824</c:v>
                </c:pt>
                <c:pt idx="388">
                  <c:v>113.05522896275824</c:v>
                </c:pt>
                <c:pt idx="389">
                  <c:v>113.05522896275824</c:v>
                </c:pt>
                <c:pt idx="390">
                  <c:v>113.05522896275824</c:v>
                </c:pt>
                <c:pt idx="391">
                  <c:v>113.05522896275824</c:v>
                </c:pt>
                <c:pt idx="392">
                  <c:v>113.05522896275824</c:v>
                </c:pt>
                <c:pt idx="393">
                  <c:v>113.05522896275824</c:v>
                </c:pt>
                <c:pt idx="394">
                  <c:v>113.05522896275824</c:v>
                </c:pt>
                <c:pt idx="395">
                  <c:v>113.05522896275824</c:v>
                </c:pt>
                <c:pt idx="396">
                  <c:v>#N/A</c:v>
                </c:pt>
                <c:pt idx="397">
                  <c:v>#N/A</c:v>
                </c:pt>
                <c:pt idx="398">
                  <c:v>#N/A</c:v>
                </c:pt>
                <c:pt idx="399">
                  <c:v>#N/A</c:v>
                </c:pt>
                <c:pt idx="400">
                  <c:v>#N/A</c:v>
                </c:pt>
                <c:pt idx="401">
                  <c:v>#N/A</c:v>
                </c:pt>
                <c:pt idx="402">
                  <c:v>#N/A</c:v>
                </c:pt>
                <c:pt idx="403">
                  <c:v>#N/A</c:v>
                </c:pt>
                <c:pt idx="404">
                  <c:v>#N/A</c:v>
                </c:pt>
                <c:pt idx="405">
                  <c:v>#N/A</c:v>
                </c:pt>
                <c:pt idx="406">
                  <c:v>#N/A</c:v>
                </c:pt>
                <c:pt idx="407">
                  <c:v>#N/A</c:v>
                </c:pt>
                <c:pt idx="408">
                  <c:v>#N/A</c:v>
                </c:pt>
                <c:pt idx="409">
                  <c:v>#N/A</c:v>
                </c:pt>
                <c:pt idx="410">
                  <c:v>#N/A</c:v>
                </c:pt>
                <c:pt idx="411">
                  <c:v>#N/A</c:v>
                </c:pt>
                <c:pt idx="412">
                  <c:v>#N/A</c:v>
                </c:pt>
                <c:pt idx="413">
                  <c:v>#N/A</c:v>
                </c:pt>
                <c:pt idx="414">
                  <c:v>#N/A</c:v>
                </c:pt>
                <c:pt idx="415">
                  <c:v>#N/A</c:v>
                </c:pt>
                <c:pt idx="416">
                  <c:v>#N/A</c:v>
                </c:pt>
                <c:pt idx="417">
                  <c:v>#N/A</c:v>
                </c:pt>
                <c:pt idx="418">
                  <c:v>#N/A</c:v>
                </c:pt>
                <c:pt idx="419">
                  <c:v>#N/A</c:v>
                </c:pt>
                <c:pt idx="420">
                  <c:v>#N/A</c:v>
                </c:pt>
              </c:numCache>
            </c:numRef>
          </c:val>
          <c:smooth val="0"/>
          <c:extLst>
            <c:ext xmlns:c16="http://schemas.microsoft.com/office/drawing/2014/chart" uri="{C3380CC4-5D6E-409C-BE32-E72D297353CC}">
              <c16:uniqueId val="{00000002-2E29-4B05-B243-5F6838717981}"/>
            </c:ext>
          </c:extLst>
        </c:ser>
        <c:dLbls>
          <c:showLegendKey val="0"/>
          <c:showVal val="0"/>
          <c:showCatName val="0"/>
          <c:showSerName val="0"/>
          <c:showPercent val="0"/>
          <c:showBubbleSize val="0"/>
        </c:dLbls>
        <c:smooth val="0"/>
        <c:axId val="927020303"/>
        <c:axId val="927021967"/>
      </c:lineChart>
      <c:dateAx>
        <c:axId val="927020303"/>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months"/>
        <c:majorUnit val="48"/>
        <c:majorTimeUnit val="months"/>
      </c:dateAx>
      <c:valAx>
        <c:axId val="927021967"/>
        <c:scaling>
          <c:orientation val="minMax"/>
          <c:min val="95"/>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valAx>
      <c:spPr>
        <a:noFill/>
        <a:ln>
          <a:noFill/>
        </a:ln>
        <a:effectLst/>
      </c:spPr>
    </c:plotArea>
    <c:legend>
      <c:legendPos val="b"/>
      <c:layout>
        <c:manualLayout>
          <c:xMode val="edge"/>
          <c:yMode val="edge"/>
          <c:x val="0.12096826324657015"/>
          <c:y val="0.80940048325153835"/>
          <c:w val="0.71264835127050163"/>
          <c:h val="0.1673110224260254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r>
              <a:rPr lang="de-DE" sz="1000" noProof="0"/>
              <a:t>Indexiert: 1991 = 100</a:t>
            </a:r>
          </a:p>
        </c:rich>
      </c:tx>
      <c:overlay val="0"/>
      <c:spPr>
        <a:noFill/>
        <a:ln>
          <a:noFill/>
        </a:ln>
        <a:effectLst/>
      </c:spPr>
      <c:txPr>
        <a:bodyPr rot="0" spcFirstLastPara="1" vertOverflow="ellipsis" vert="horz" wrap="square" anchor="ctr" anchorCtr="1"/>
        <a:lstStyle/>
        <a:p>
          <a:pPr>
            <a:defRPr lang="de-DE" sz="1000" b="0" i="0" u="none" strike="noStrike" kern="1200" spc="0" baseline="0" noProof="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title>
    <c:autoTitleDeleted val="0"/>
    <c:plotArea>
      <c:layout>
        <c:manualLayout>
          <c:layoutTarget val="inner"/>
          <c:xMode val="edge"/>
          <c:yMode val="edge"/>
          <c:x val="0.10958346800536396"/>
          <c:y val="4.2695572924466428E-2"/>
          <c:w val="0.76221297665302756"/>
          <c:h val="0.66867349103087348"/>
        </c:manualLayout>
      </c:layout>
      <c:lineChart>
        <c:grouping val="standard"/>
        <c:varyColors val="0"/>
        <c:ser>
          <c:idx val="0"/>
          <c:order val="0"/>
          <c:tx>
            <c:strRef>
              <c:f>Sheet1!$X$7</c:f>
              <c:strCache>
                <c:ptCount val="1"/>
                <c:pt idx="0">
                  <c:v>Deutschland Nettokapitalstock (konstanter EUR 2015, links)</c:v>
                </c:pt>
              </c:strCache>
            </c:strRef>
          </c:tx>
          <c:spPr>
            <a:ln w="28575" cap="rnd">
              <a:solidFill>
                <a:schemeClr val="accent1"/>
              </a:solidFill>
              <a:round/>
            </a:ln>
            <a:effectLst/>
          </c:spPr>
          <c:marker>
            <c:symbol val="none"/>
          </c:marker>
          <c:cat>
            <c:numRef>
              <c:f>Sheet1!$W$9:$W$42</c:f>
              <c:numCache>
                <c:formatCode>m/d/yyyy</c:formatCode>
                <c:ptCount val="34"/>
                <c:pt idx="0">
                  <c:v>33603</c:v>
                </c:pt>
                <c:pt idx="1">
                  <c:v>33969</c:v>
                </c:pt>
                <c:pt idx="2">
                  <c:v>34334</c:v>
                </c:pt>
                <c:pt idx="3">
                  <c:v>34698</c:v>
                </c:pt>
                <c:pt idx="4">
                  <c:v>35062</c:v>
                </c:pt>
                <c:pt idx="5">
                  <c:v>35430</c:v>
                </c:pt>
                <c:pt idx="6">
                  <c:v>35795</c:v>
                </c:pt>
                <c:pt idx="7">
                  <c:v>36160</c:v>
                </c:pt>
                <c:pt idx="8">
                  <c:v>36525</c:v>
                </c:pt>
                <c:pt idx="9">
                  <c:v>36889</c:v>
                </c:pt>
                <c:pt idx="10">
                  <c:v>37256</c:v>
                </c:pt>
                <c:pt idx="11">
                  <c:v>37621</c:v>
                </c:pt>
                <c:pt idx="12">
                  <c:v>37986</c:v>
                </c:pt>
                <c:pt idx="13">
                  <c:v>38352</c:v>
                </c:pt>
                <c:pt idx="14">
                  <c:v>38716</c:v>
                </c:pt>
                <c:pt idx="15">
                  <c:v>39080</c:v>
                </c:pt>
                <c:pt idx="16">
                  <c:v>39447</c:v>
                </c:pt>
                <c:pt idx="17">
                  <c:v>39813</c:v>
                </c:pt>
                <c:pt idx="18">
                  <c:v>40178</c:v>
                </c:pt>
                <c:pt idx="19">
                  <c:v>40543</c:v>
                </c:pt>
                <c:pt idx="20">
                  <c:v>40907</c:v>
                </c:pt>
                <c:pt idx="21">
                  <c:v>41274</c:v>
                </c:pt>
                <c:pt idx="22">
                  <c:v>41639</c:v>
                </c:pt>
                <c:pt idx="23">
                  <c:v>42004</c:v>
                </c:pt>
                <c:pt idx="24">
                  <c:v>42369</c:v>
                </c:pt>
                <c:pt idx="25">
                  <c:v>42734</c:v>
                </c:pt>
                <c:pt idx="26">
                  <c:v>43098</c:v>
                </c:pt>
                <c:pt idx="27">
                  <c:v>43465</c:v>
                </c:pt>
                <c:pt idx="28">
                  <c:v>43830</c:v>
                </c:pt>
                <c:pt idx="29">
                  <c:v>44196</c:v>
                </c:pt>
                <c:pt idx="30">
                  <c:v>44561</c:v>
                </c:pt>
                <c:pt idx="31">
                  <c:v>44925</c:v>
                </c:pt>
                <c:pt idx="32">
                  <c:v>45289</c:v>
                </c:pt>
                <c:pt idx="33">
                  <c:v>45657</c:v>
                </c:pt>
              </c:numCache>
            </c:numRef>
          </c:cat>
          <c:val>
            <c:numRef>
              <c:f>Sheet1!$X$9:$X$42</c:f>
              <c:numCache>
                <c:formatCode>General</c:formatCode>
                <c:ptCount val="34"/>
                <c:pt idx="0">
                  <c:v>100</c:v>
                </c:pt>
                <c:pt idx="1">
                  <c:v>102.98937629856131</c:v>
                </c:pt>
                <c:pt idx="2">
                  <c:v>105.448743580697</c:v>
                </c:pt>
                <c:pt idx="3">
                  <c:v>108.02775491003176</c:v>
                </c:pt>
                <c:pt idx="4">
                  <c:v>110.41985181700575</c:v>
                </c:pt>
                <c:pt idx="5">
                  <c:v>112.61985965737583</c:v>
                </c:pt>
                <c:pt idx="6">
                  <c:v>114.7091614724215</c:v>
                </c:pt>
                <c:pt idx="7">
                  <c:v>116.93911952644164</c:v>
                </c:pt>
                <c:pt idx="8">
                  <c:v>119.27084558391157</c:v>
                </c:pt>
                <c:pt idx="9">
                  <c:v>121.55709749500177</c:v>
                </c:pt>
                <c:pt idx="10">
                  <c:v>123.38594221647261</c:v>
                </c:pt>
                <c:pt idx="11">
                  <c:v>124.52891136461642</c:v>
                </c:pt>
                <c:pt idx="12">
                  <c:v>125.42459524089537</c:v>
                </c:pt>
                <c:pt idx="13">
                  <c:v>126.18683601866007</c:v>
                </c:pt>
                <c:pt idx="14">
                  <c:v>126.90422987965032</c:v>
                </c:pt>
                <c:pt idx="15">
                  <c:v>128.07338586381277</c:v>
                </c:pt>
                <c:pt idx="16">
                  <c:v>129.36046101375985</c:v>
                </c:pt>
                <c:pt idx="17">
                  <c:v>130.59139911403815</c:v>
                </c:pt>
                <c:pt idx="18">
                  <c:v>130.81908346073934</c:v>
                </c:pt>
                <c:pt idx="19">
                  <c:v>131.42169430397115</c:v>
                </c:pt>
                <c:pt idx="20">
                  <c:v>132.54286722333296</c:v>
                </c:pt>
                <c:pt idx="21">
                  <c:v>133.51272100043124</c:v>
                </c:pt>
                <c:pt idx="22">
                  <c:v>134.26398526010428</c:v>
                </c:pt>
                <c:pt idx="23">
                  <c:v>135.22066721549257</c:v>
                </c:pt>
                <c:pt idx="24">
                  <c:v>136.20432004390608</c:v>
                </c:pt>
                <c:pt idx="25">
                  <c:v>137.39966286408719</c:v>
                </c:pt>
                <c:pt idx="26">
                  <c:v>138.68124975498844</c:v>
                </c:pt>
                <c:pt idx="27">
                  <c:v>140.13626563173781</c:v>
                </c:pt>
                <c:pt idx="28">
                  <c:v>141.60696224861812</c:v>
                </c:pt>
                <c:pt idx="29">
                  <c:v>142.57603198870987</c:v>
                </c:pt>
                <c:pt idx="30">
                  <c:v>143.49915716021795</c:v>
                </c:pt>
                <c:pt idx="31">
                  <c:v>144.24759888666748</c:v>
                </c:pt>
                <c:pt idx="32">
                  <c:v>144.73009526049628</c:v>
                </c:pt>
                <c:pt idx="33">
                  <c:v>144.87216276608257</c:v>
                </c:pt>
              </c:numCache>
            </c:numRef>
          </c:val>
          <c:smooth val="0"/>
          <c:extLst>
            <c:ext xmlns:c16="http://schemas.microsoft.com/office/drawing/2014/chart" uri="{C3380CC4-5D6E-409C-BE32-E72D297353CC}">
              <c16:uniqueId val="{00000000-F442-4385-ABD3-11ABABEE4B0F}"/>
            </c:ext>
          </c:extLst>
        </c:ser>
        <c:ser>
          <c:idx val="1"/>
          <c:order val="1"/>
          <c:tx>
            <c:strRef>
              <c:f>Sheet1!$Y$7</c:f>
              <c:strCache>
                <c:ptCount val="1"/>
                <c:pt idx="0">
                  <c:v>USA Nettokapitalstock (konstanter USD 2015, links)</c:v>
                </c:pt>
              </c:strCache>
            </c:strRef>
          </c:tx>
          <c:spPr>
            <a:ln w="28575" cap="rnd">
              <a:solidFill>
                <a:schemeClr val="accent2"/>
              </a:solidFill>
              <a:round/>
            </a:ln>
            <a:effectLst/>
          </c:spPr>
          <c:marker>
            <c:symbol val="none"/>
          </c:marker>
          <c:cat>
            <c:numRef>
              <c:f>Sheet1!$W$9:$W$42</c:f>
              <c:numCache>
                <c:formatCode>m/d/yyyy</c:formatCode>
                <c:ptCount val="34"/>
                <c:pt idx="0">
                  <c:v>33603</c:v>
                </c:pt>
                <c:pt idx="1">
                  <c:v>33969</c:v>
                </c:pt>
                <c:pt idx="2">
                  <c:v>34334</c:v>
                </c:pt>
                <c:pt idx="3">
                  <c:v>34698</c:v>
                </c:pt>
                <c:pt idx="4">
                  <c:v>35062</c:v>
                </c:pt>
                <c:pt idx="5">
                  <c:v>35430</c:v>
                </c:pt>
                <c:pt idx="6">
                  <c:v>35795</c:v>
                </c:pt>
                <c:pt idx="7">
                  <c:v>36160</c:v>
                </c:pt>
                <c:pt idx="8">
                  <c:v>36525</c:v>
                </c:pt>
                <c:pt idx="9">
                  <c:v>36889</c:v>
                </c:pt>
                <c:pt idx="10">
                  <c:v>37256</c:v>
                </c:pt>
                <c:pt idx="11">
                  <c:v>37621</c:v>
                </c:pt>
                <c:pt idx="12">
                  <c:v>37986</c:v>
                </c:pt>
                <c:pt idx="13">
                  <c:v>38352</c:v>
                </c:pt>
                <c:pt idx="14">
                  <c:v>38716</c:v>
                </c:pt>
                <c:pt idx="15">
                  <c:v>39080</c:v>
                </c:pt>
                <c:pt idx="16">
                  <c:v>39447</c:v>
                </c:pt>
                <c:pt idx="17">
                  <c:v>39813</c:v>
                </c:pt>
                <c:pt idx="18">
                  <c:v>40178</c:v>
                </c:pt>
                <c:pt idx="19">
                  <c:v>40543</c:v>
                </c:pt>
                <c:pt idx="20">
                  <c:v>40907</c:v>
                </c:pt>
                <c:pt idx="21">
                  <c:v>41274</c:v>
                </c:pt>
                <c:pt idx="22">
                  <c:v>41639</c:v>
                </c:pt>
                <c:pt idx="23">
                  <c:v>42004</c:v>
                </c:pt>
                <c:pt idx="24">
                  <c:v>42369</c:v>
                </c:pt>
                <c:pt idx="25">
                  <c:v>42734</c:v>
                </c:pt>
                <c:pt idx="26">
                  <c:v>43098</c:v>
                </c:pt>
                <c:pt idx="27">
                  <c:v>43465</c:v>
                </c:pt>
                <c:pt idx="28">
                  <c:v>43830</c:v>
                </c:pt>
                <c:pt idx="29">
                  <c:v>44196</c:v>
                </c:pt>
                <c:pt idx="30">
                  <c:v>44561</c:v>
                </c:pt>
                <c:pt idx="31">
                  <c:v>44925</c:v>
                </c:pt>
                <c:pt idx="32">
                  <c:v>45289</c:v>
                </c:pt>
                <c:pt idx="33">
                  <c:v>45657</c:v>
                </c:pt>
              </c:numCache>
            </c:numRef>
          </c:cat>
          <c:val>
            <c:numRef>
              <c:f>Sheet1!$Y$9:$Y$42</c:f>
              <c:numCache>
                <c:formatCode>General</c:formatCode>
                <c:ptCount val="34"/>
                <c:pt idx="0">
                  <c:v>100</c:v>
                </c:pt>
                <c:pt idx="1">
                  <c:v>101.91117774203148</c:v>
                </c:pt>
                <c:pt idx="2">
                  <c:v>104.03277709893759</c:v>
                </c:pt>
                <c:pt idx="3">
                  <c:v>106.43577243769391</c:v>
                </c:pt>
                <c:pt idx="4">
                  <c:v>109.01344781942493</c:v>
                </c:pt>
                <c:pt idx="5">
                  <c:v>111.98809631823652</c:v>
                </c:pt>
                <c:pt idx="6">
                  <c:v>115.31096015514302</c:v>
                </c:pt>
                <c:pt idx="7">
                  <c:v>119.16329107376502</c:v>
                </c:pt>
                <c:pt idx="8">
                  <c:v>123.47856650433859</c:v>
                </c:pt>
                <c:pt idx="9">
                  <c:v>128.07608587813607</c:v>
                </c:pt>
                <c:pt idx="10">
                  <c:v>132.22884951144707</c:v>
                </c:pt>
                <c:pt idx="11">
                  <c:v>135.89420494717626</c:v>
                </c:pt>
                <c:pt idx="12">
                  <c:v>139.8482064345005</c:v>
                </c:pt>
                <c:pt idx="13">
                  <c:v>144.31395261083068</c:v>
                </c:pt>
                <c:pt idx="14">
                  <c:v>149.26553825620135</c:v>
                </c:pt>
                <c:pt idx="15">
                  <c:v>154.22619708827025</c:v>
                </c:pt>
                <c:pt idx="16">
                  <c:v>158.71534699851352</c:v>
                </c:pt>
                <c:pt idx="17">
                  <c:v>162.23536185479682</c:v>
                </c:pt>
                <c:pt idx="18">
                  <c:v>163.84067992934786</c:v>
                </c:pt>
                <c:pt idx="19">
                  <c:v>165.52511280006175</c:v>
                </c:pt>
                <c:pt idx="20">
                  <c:v>167.56280637904385</c:v>
                </c:pt>
                <c:pt idx="21">
                  <c:v>170.22985688955896</c:v>
                </c:pt>
                <c:pt idx="22">
                  <c:v>173.10847376280316</c:v>
                </c:pt>
                <c:pt idx="23">
                  <c:v>176.44286987439148</c:v>
                </c:pt>
                <c:pt idx="24">
                  <c:v>180.06726877577273</c:v>
                </c:pt>
                <c:pt idx="25">
                  <c:v>183.77213921151463</c:v>
                </c:pt>
                <c:pt idx="26">
                  <c:v>187.76438375679112</c:v>
                </c:pt>
                <c:pt idx="27">
                  <c:v>192.17026386014064</c:v>
                </c:pt>
                <c:pt idx="28">
                  <c:v>196.63503488089111</c:v>
                </c:pt>
                <c:pt idx="29">
                  <c:v>200.53196856776782</c:v>
                </c:pt>
                <c:pt idx="30">
                  <c:v>204.98406256598201</c:v>
                </c:pt>
                <c:pt idx="31">
                  <c:v>209.37378900516325</c:v>
                </c:pt>
                <c:pt idx="32">
                  <c:v>213.95070291758071</c:v>
                </c:pt>
                <c:pt idx="33">
                  <c:v>219.05572717351581</c:v>
                </c:pt>
              </c:numCache>
            </c:numRef>
          </c:val>
          <c:smooth val="0"/>
          <c:extLst>
            <c:ext xmlns:c16="http://schemas.microsoft.com/office/drawing/2014/chart" uri="{C3380CC4-5D6E-409C-BE32-E72D297353CC}">
              <c16:uniqueId val="{00000001-F442-4385-ABD3-11ABABEE4B0F}"/>
            </c:ext>
          </c:extLst>
        </c:ser>
        <c:dLbls>
          <c:showLegendKey val="0"/>
          <c:showVal val="0"/>
          <c:showCatName val="0"/>
          <c:showSerName val="0"/>
          <c:showPercent val="0"/>
          <c:showBubbleSize val="0"/>
        </c:dLbls>
        <c:marker val="1"/>
        <c:smooth val="0"/>
        <c:axId val="927020303"/>
        <c:axId val="927021967"/>
      </c:lineChart>
      <c:lineChart>
        <c:grouping val="standard"/>
        <c:varyColors val="0"/>
        <c:ser>
          <c:idx val="2"/>
          <c:order val="2"/>
          <c:tx>
            <c:strRef>
              <c:f>Sheet1!$AB$7</c:f>
              <c:strCache>
                <c:ptCount val="1"/>
                <c:pt idx="0">
                  <c:v>China Nettokapitalstock (konstanter USD 2017, rechts)</c:v>
                </c:pt>
              </c:strCache>
            </c:strRef>
          </c:tx>
          <c:spPr>
            <a:ln w="28575" cap="rnd">
              <a:solidFill>
                <a:schemeClr val="accent3"/>
              </a:solidFill>
              <a:round/>
            </a:ln>
            <a:effectLst/>
          </c:spPr>
          <c:marker>
            <c:symbol val="none"/>
          </c:marker>
          <c:cat>
            <c:numRef>
              <c:f>Sheet1!$W$9:$W$42</c:f>
              <c:numCache>
                <c:formatCode>m/d/yyyy</c:formatCode>
                <c:ptCount val="34"/>
                <c:pt idx="0">
                  <c:v>33603</c:v>
                </c:pt>
                <c:pt idx="1">
                  <c:v>33969</c:v>
                </c:pt>
                <c:pt idx="2">
                  <c:v>34334</c:v>
                </c:pt>
                <c:pt idx="3">
                  <c:v>34698</c:v>
                </c:pt>
                <c:pt idx="4">
                  <c:v>35062</c:v>
                </c:pt>
                <c:pt idx="5">
                  <c:v>35430</c:v>
                </c:pt>
                <c:pt idx="6">
                  <c:v>35795</c:v>
                </c:pt>
                <c:pt idx="7">
                  <c:v>36160</c:v>
                </c:pt>
                <c:pt idx="8">
                  <c:v>36525</c:v>
                </c:pt>
                <c:pt idx="9">
                  <c:v>36889</c:v>
                </c:pt>
                <c:pt idx="10">
                  <c:v>37256</c:v>
                </c:pt>
                <c:pt idx="11">
                  <c:v>37621</c:v>
                </c:pt>
                <c:pt idx="12">
                  <c:v>37986</c:v>
                </c:pt>
                <c:pt idx="13">
                  <c:v>38352</c:v>
                </c:pt>
                <c:pt idx="14">
                  <c:v>38716</c:v>
                </c:pt>
                <c:pt idx="15">
                  <c:v>39080</c:v>
                </c:pt>
                <c:pt idx="16">
                  <c:v>39447</c:v>
                </c:pt>
                <c:pt idx="17">
                  <c:v>39813</c:v>
                </c:pt>
                <c:pt idx="18">
                  <c:v>40178</c:v>
                </c:pt>
                <c:pt idx="19">
                  <c:v>40543</c:v>
                </c:pt>
                <c:pt idx="20">
                  <c:v>40907</c:v>
                </c:pt>
                <c:pt idx="21">
                  <c:v>41274</c:v>
                </c:pt>
                <c:pt idx="22">
                  <c:v>41639</c:v>
                </c:pt>
                <c:pt idx="23">
                  <c:v>42004</c:v>
                </c:pt>
                <c:pt idx="24">
                  <c:v>42369</c:v>
                </c:pt>
                <c:pt idx="25">
                  <c:v>42734</c:v>
                </c:pt>
                <c:pt idx="26">
                  <c:v>43098</c:v>
                </c:pt>
                <c:pt idx="27">
                  <c:v>43465</c:v>
                </c:pt>
                <c:pt idx="28">
                  <c:v>43830</c:v>
                </c:pt>
                <c:pt idx="29">
                  <c:v>44196</c:v>
                </c:pt>
                <c:pt idx="30">
                  <c:v>44561</c:v>
                </c:pt>
                <c:pt idx="31">
                  <c:v>44925</c:v>
                </c:pt>
                <c:pt idx="32">
                  <c:v>45289</c:v>
                </c:pt>
                <c:pt idx="33">
                  <c:v>45657</c:v>
                </c:pt>
              </c:numCache>
            </c:numRef>
          </c:cat>
          <c:val>
            <c:numRef>
              <c:f>Sheet1!$AB$9:$AB$42</c:f>
              <c:numCache>
                <c:formatCode>General</c:formatCode>
                <c:ptCount val="34"/>
                <c:pt idx="0">
                  <c:v>100</c:v>
                </c:pt>
                <c:pt idx="1">
                  <c:v>108.95699400144846</c:v>
                </c:pt>
                <c:pt idx="2">
                  <c:v>121.94544696188356</c:v>
                </c:pt>
                <c:pt idx="3">
                  <c:v>136.40637124668007</c:v>
                </c:pt>
                <c:pt idx="4">
                  <c:v>152.0477889404562</c:v>
                </c:pt>
                <c:pt idx="5">
                  <c:v>169.22915618622406</c:v>
                </c:pt>
                <c:pt idx="6">
                  <c:v>187.36498355713752</c:v>
                </c:pt>
                <c:pt idx="7">
                  <c:v>208.72933322789424</c:v>
                </c:pt>
                <c:pt idx="8">
                  <c:v>230.83631897713525</c:v>
                </c:pt>
                <c:pt idx="9">
                  <c:v>254.247946389654</c:v>
                </c:pt>
                <c:pt idx="10">
                  <c:v>281.1246246080201</c:v>
                </c:pt>
                <c:pt idx="11">
                  <c:v>312.14754154115349</c:v>
                </c:pt>
                <c:pt idx="12">
                  <c:v>350.63907139609614</c:v>
                </c:pt>
                <c:pt idx="13">
                  <c:v>394.48952845989191</c:v>
                </c:pt>
                <c:pt idx="14">
                  <c:v>443.71049294785757</c:v>
                </c:pt>
                <c:pt idx="15">
                  <c:v>499.20593107330654</c:v>
                </c:pt>
                <c:pt idx="16">
                  <c:v>561.24237557580273</c:v>
                </c:pt>
                <c:pt idx="17">
                  <c:v>630.46018106449094</c:v>
                </c:pt>
                <c:pt idx="18">
                  <c:v>720.13983057832013</c:v>
                </c:pt>
                <c:pt idx="19">
                  <c:v>820.2391283165058</c:v>
                </c:pt>
                <c:pt idx="20">
                  <c:v>926.8614883143108</c:v>
                </c:pt>
                <c:pt idx="21">
                  <c:v>1041.6161223304734</c:v>
                </c:pt>
                <c:pt idx="22">
                  <c:v>1165.7647939337198</c:v>
                </c:pt>
                <c:pt idx="23">
                  <c:v>1296.1526768971783</c:v>
                </c:pt>
                <c:pt idx="24">
                  <c:v>1435.3552945683366</c:v>
                </c:pt>
                <c:pt idx="25">
                  <c:v>1583.5955713083579</c:v>
                </c:pt>
                <c:pt idx="26">
                  <c:v>1739.1014629254712</c:v>
                </c:pt>
                <c:pt idx="27">
                  <c:v>1905.4661328778586</c:v>
                </c:pt>
                <c:pt idx="28">
                  <c:v>2078.3599577436898</c:v>
                </c:pt>
                <c:pt idx="29">
                  <c:v>#N/A</c:v>
                </c:pt>
                <c:pt idx="30">
                  <c:v>#N/A</c:v>
                </c:pt>
                <c:pt idx="31">
                  <c:v>#N/A</c:v>
                </c:pt>
                <c:pt idx="32">
                  <c:v>#N/A</c:v>
                </c:pt>
                <c:pt idx="33">
                  <c:v>#N/A</c:v>
                </c:pt>
              </c:numCache>
            </c:numRef>
          </c:val>
          <c:smooth val="0"/>
          <c:extLst>
            <c:ext xmlns:c16="http://schemas.microsoft.com/office/drawing/2014/chart" uri="{C3380CC4-5D6E-409C-BE32-E72D297353CC}">
              <c16:uniqueId val="{00000002-F442-4385-ABD3-11ABABEE4B0F}"/>
            </c:ext>
          </c:extLst>
        </c:ser>
        <c:dLbls>
          <c:showLegendKey val="0"/>
          <c:showVal val="0"/>
          <c:showCatName val="0"/>
          <c:showSerName val="0"/>
          <c:showPercent val="0"/>
          <c:showBubbleSize val="0"/>
        </c:dLbls>
        <c:marker val="1"/>
        <c:smooth val="0"/>
        <c:axId val="754324799"/>
        <c:axId val="1420471135"/>
      </c:lineChart>
      <c:dateAx>
        <c:axId val="927020303"/>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months"/>
        <c:majorUnit val="78"/>
        <c:majorTimeUnit val="months"/>
      </c:dateAx>
      <c:valAx>
        <c:axId val="927021967"/>
        <c:scaling>
          <c:orientation val="minMax"/>
          <c:min val="100"/>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valAx>
      <c:valAx>
        <c:axId val="1420471135"/>
        <c:scaling>
          <c:orientation val="minMax"/>
          <c:min val="10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754324799"/>
        <c:crosses val="max"/>
        <c:crossBetween val="between"/>
      </c:valAx>
      <c:dateAx>
        <c:axId val="754324799"/>
        <c:scaling>
          <c:orientation val="minMax"/>
        </c:scaling>
        <c:delete val="1"/>
        <c:axPos val="b"/>
        <c:numFmt formatCode="m/d/yyyy" sourceLinked="1"/>
        <c:majorTickMark val="out"/>
        <c:minorTickMark val="none"/>
        <c:tickLblPos val="nextTo"/>
        <c:crossAx val="1420471135"/>
        <c:crosses val="autoZero"/>
        <c:auto val="1"/>
        <c:lblOffset val="100"/>
        <c:baseTimeUnit val="months"/>
      </c:dateAx>
      <c:spPr>
        <a:noFill/>
        <a:ln>
          <a:noFill/>
        </a:ln>
        <a:effectLst/>
      </c:spPr>
    </c:plotArea>
    <c:legend>
      <c:legendPos val="b"/>
      <c:layout>
        <c:manualLayout>
          <c:xMode val="edge"/>
          <c:yMode val="edge"/>
          <c:x val="6.1657738197572455E-2"/>
          <c:y val="0.81328189897194436"/>
          <c:w val="0.86969734896675033"/>
          <c:h val="0.1634296067056193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79757934188357"/>
          <c:y val="6.4586757587556498E-2"/>
          <c:w val="0.83677447305986319"/>
          <c:h val="0.63864600327261423"/>
        </c:manualLayout>
      </c:layout>
      <c:barChart>
        <c:barDir val="col"/>
        <c:grouping val="clustered"/>
        <c:varyColors val="0"/>
        <c:ser>
          <c:idx val="3"/>
          <c:order val="0"/>
          <c:tx>
            <c:strRef>
              <c:f>Sheet2!$T$36</c:f>
              <c:strCache>
                <c:ptCount val="1"/>
                <c:pt idx="0">
                  <c:v>USA</c:v>
                </c:pt>
              </c:strCache>
            </c:strRef>
          </c:tx>
          <c:spPr>
            <a:solidFill>
              <a:srgbClr val="002060"/>
            </a:solidFill>
            <a:ln>
              <a:noFill/>
            </a:ln>
            <a:effectLst/>
          </c:spPr>
          <c:invertIfNegative val="0"/>
          <c:cat>
            <c:strRef>
              <c:f>Sheet2!$M$38:$M$43</c:f>
              <c:strCache>
                <c:ptCount val="6"/>
                <c:pt idx="0">
                  <c:v>1970er</c:v>
                </c:pt>
                <c:pt idx="1">
                  <c:v>1980er</c:v>
                </c:pt>
                <c:pt idx="2">
                  <c:v>1990er</c:v>
                </c:pt>
                <c:pt idx="3">
                  <c:v>2000er</c:v>
                </c:pt>
                <c:pt idx="4">
                  <c:v>2010er</c:v>
                </c:pt>
                <c:pt idx="5">
                  <c:v>2020er*</c:v>
                </c:pt>
              </c:strCache>
            </c:strRef>
          </c:cat>
          <c:val>
            <c:numRef>
              <c:f>Sheet2!$T$38:$T$43</c:f>
              <c:numCache>
                <c:formatCode>General</c:formatCode>
                <c:ptCount val="6"/>
                <c:pt idx="0">
                  <c:v>1.5120956379111705E-2</c:v>
                </c:pt>
                <c:pt idx="1">
                  <c:v>1.3704577142048058E-2</c:v>
                </c:pt>
                <c:pt idx="2">
                  <c:v>1.7044830039171122E-2</c:v>
                </c:pt>
                <c:pt idx="3">
                  <c:v>2.2263921404112576E-2</c:v>
                </c:pt>
                <c:pt idx="4">
                  <c:v>7.954121069644016E-3</c:v>
                </c:pt>
                <c:pt idx="5">
                  <c:v>1.1140351890371955E-2</c:v>
                </c:pt>
              </c:numCache>
            </c:numRef>
          </c:val>
          <c:extLst>
            <c:ext xmlns:c16="http://schemas.microsoft.com/office/drawing/2014/chart" uri="{C3380CC4-5D6E-409C-BE32-E72D297353CC}">
              <c16:uniqueId val="{00000000-4B69-422D-A2EE-E5BC22800D80}"/>
            </c:ext>
          </c:extLst>
        </c:ser>
        <c:ser>
          <c:idx val="0"/>
          <c:order val="1"/>
          <c:tx>
            <c:strRef>
              <c:f>Sheet2!$Q$36</c:f>
              <c:strCache>
                <c:ptCount val="1"/>
                <c:pt idx="0">
                  <c:v>Deutschland</c:v>
                </c:pt>
              </c:strCache>
            </c:strRef>
          </c:tx>
          <c:spPr>
            <a:solidFill>
              <a:srgbClr val="7030A0"/>
            </a:solidFill>
            <a:ln>
              <a:noFill/>
            </a:ln>
            <a:effectLst/>
          </c:spPr>
          <c:invertIfNegative val="0"/>
          <c:cat>
            <c:strRef>
              <c:f>Sheet2!$M$38:$M$43</c:f>
              <c:strCache>
                <c:ptCount val="6"/>
                <c:pt idx="0">
                  <c:v>1970er</c:v>
                </c:pt>
                <c:pt idx="1">
                  <c:v>1980er</c:v>
                </c:pt>
                <c:pt idx="2">
                  <c:v>1990er</c:v>
                </c:pt>
                <c:pt idx="3">
                  <c:v>2000er</c:v>
                </c:pt>
                <c:pt idx="4">
                  <c:v>2010er</c:v>
                </c:pt>
                <c:pt idx="5">
                  <c:v>2020er*</c:v>
                </c:pt>
              </c:strCache>
            </c:strRef>
          </c:cat>
          <c:val>
            <c:numRef>
              <c:f>Sheet2!$Q$38:$Q$43</c:f>
              <c:numCache>
                <c:formatCode>General</c:formatCode>
                <c:ptCount val="6"/>
                <c:pt idx="0">
                  <c:v>3.6978810749801271E-2</c:v>
                </c:pt>
                <c:pt idx="1">
                  <c:v>2.0711434305449881E-2</c:v>
                </c:pt>
                <c:pt idx="2">
                  <c:v>2.1891958784525101E-2</c:v>
                </c:pt>
                <c:pt idx="3">
                  <c:v>8.9721452554271334E-3</c:v>
                </c:pt>
                <c:pt idx="4">
                  <c:v>1.1602194001252198E-2</c:v>
                </c:pt>
                <c:pt idx="5">
                  <c:v>7.4641542143310717E-3</c:v>
                </c:pt>
              </c:numCache>
            </c:numRef>
          </c:val>
          <c:extLst>
            <c:ext xmlns:c16="http://schemas.microsoft.com/office/drawing/2014/chart" uri="{C3380CC4-5D6E-409C-BE32-E72D297353CC}">
              <c16:uniqueId val="{00000001-4B69-422D-A2EE-E5BC22800D80}"/>
            </c:ext>
          </c:extLst>
        </c:ser>
        <c:ser>
          <c:idx val="2"/>
          <c:order val="2"/>
          <c:tx>
            <c:strRef>
              <c:f>Sheet2!$S$36</c:f>
              <c:strCache>
                <c:ptCount val="1"/>
                <c:pt idx="0">
                  <c:v>UK</c:v>
                </c:pt>
              </c:strCache>
            </c:strRef>
          </c:tx>
          <c:spPr>
            <a:solidFill>
              <a:srgbClr val="00D1FF"/>
            </a:solidFill>
            <a:ln>
              <a:noFill/>
            </a:ln>
            <a:effectLst/>
          </c:spPr>
          <c:invertIfNegative val="0"/>
          <c:cat>
            <c:strRef>
              <c:f>Sheet2!$M$38:$M$43</c:f>
              <c:strCache>
                <c:ptCount val="6"/>
                <c:pt idx="0">
                  <c:v>1970er</c:v>
                </c:pt>
                <c:pt idx="1">
                  <c:v>1980er</c:v>
                </c:pt>
                <c:pt idx="2">
                  <c:v>1990er</c:v>
                </c:pt>
                <c:pt idx="3">
                  <c:v>2000er</c:v>
                </c:pt>
                <c:pt idx="4">
                  <c:v>2010er</c:v>
                </c:pt>
                <c:pt idx="5">
                  <c:v>2020er*</c:v>
                </c:pt>
              </c:strCache>
            </c:strRef>
          </c:cat>
          <c:val>
            <c:numRef>
              <c:f>Sheet2!$S$38:$S$43</c:f>
              <c:numCache>
                <c:formatCode>General</c:formatCode>
                <c:ptCount val="6"/>
                <c:pt idx="0">
                  <c:v>2.8538008108425883E-2</c:v>
                </c:pt>
                <c:pt idx="1">
                  <c:v>2.1968345011109038E-2</c:v>
                </c:pt>
                <c:pt idx="2">
                  <c:v>2.4992756190596332E-2</c:v>
                </c:pt>
                <c:pt idx="3">
                  <c:v>1.3558353135050095E-2</c:v>
                </c:pt>
                <c:pt idx="4">
                  <c:v>6.4667858020600374E-3</c:v>
                </c:pt>
                <c:pt idx="5">
                  <c:v>7.2194009442170621E-3</c:v>
                </c:pt>
              </c:numCache>
            </c:numRef>
          </c:val>
          <c:extLst>
            <c:ext xmlns:c16="http://schemas.microsoft.com/office/drawing/2014/chart" uri="{C3380CC4-5D6E-409C-BE32-E72D297353CC}">
              <c16:uniqueId val="{00000002-4B69-422D-A2EE-E5BC22800D80}"/>
            </c:ext>
          </c:extLst>
        </c:ser>
        <c:ser>
          <c:idx val="1"/>
          <c:order val="3"/>
          <c:tx>
            <c:strRef>
              <c:f>Sheet2!$R$36</c:f>
              <c:strCache>
                <c:ptCount val="1"/>
                <c:pt idx="0">
                  <c:v>Japan</c:v>
                </c:pt>
              </c:strCache>
            </c:strRef>
          </c:tx>
          <c:spPr>
            <a:solidFill>
              <a:srgbClr val="ADEBFF"/>
            </a:solidFill>
            <a:ln>
              <a:noFill/>
            </a:ln>
            <a:effectLst/>
          </c:spPr>
          <c:invertIfNegative val="0"/>
          <c:cat>
            <c:strRef>
              <c:f>Sheet2!$M$38:$M$43</c:f>
              <c:strCache>
                <c:ptCount val="6"/>
                <c:pt idx="0">
                  <c:v>1970er</c:v>
                </c:pt>
                <c:pt idx="1">
                  <c:v>1980er</c:v>
                </c:pt>
                <c:pt idx="2">
                  <c:v>1990er</c:v>
                </c:pt>
                <c:pt idx="3">
                  <c:v>2000er</c:v>
                </c:pt>
                <c:pt idx="4">
                  <c:v>2010er</c:v>
                </c:pt>
                <c:pt idx="5">
                  <c:v>2020er*</c:v>
                </c:pt>
              </c:strCache>
            </c:strRef>
          </c:cat>
          <c:val>
            <c:numRef>
              <c:f>Sheet2!$R$38:$R$43</c:f>
              <c:numCache>
                <c:formatCode>General</c:formatCode>
                <c:ptCount val="6"/>
                <c:pt idx="0">
                  <c:v>4.0482696172484303E-2</c:v>
                </c:pt>
                <c:pt idx="1">
                  <c:v>3.738035400354027E-2</c:v>
                </c:pt>
                <c:pt idx="2">
                  <c:v>2.458905261871085E-2</c:v>
                </c:pt>
                <c:pt idx="3">
                  <c:v>1.0626303953153282E-2</c:v>
                </c:pt>
                <c:pt idx="4">
                  <c:v>1.1741428553813504E-2</c:v>
                </c:pt>
                <c:pt idx="5">
                  <c:v>5.1028262592939981E-3</c:v>
                </c:pt>
              </c:numCache>
            </c:numRef>
          </c:val>
          <c:extLst>
            <c:ext xmlns:c16="http://schemas.microsoft.com/office/drawing/2014/chart" uri="{C3380CC4-5D6E-409C-BE32-E72D297353CC}">
              <c16:uniqueId val="{00000003-4B69-422D-A2EE-E5BC22800D80}"/>
            </c:ext>
          </c:extLst>
        </c:ser>
        <c:ser>
          <c:idx val="4"/>
          <c:order val="4"/>
          <c:tx>
            <c:strRef>
              <c:f>Sheet2!$U$36</c:f>
              <c:strCache>
                <c:ptCount val="1"/>
                <c:pt idx="0">
                  <c:v>G7</c:v>
                </c:pt>
              </c:strCache>
            </c:strRef>
          </c:tx>
          <c:spPr>
            <a:solidFill>
              <a:srgbClr val="00A3E0">
                <a:lumMod val="40000"/>
                <a:lumOff val="60000"/>
              </a:srgbClr>
            </a:solidFill>
            <a:ln>
              <a:noFill/>
            </a:ln>
            <a:effectLst/>
          </c:spPr>
          <c:invertIfNegative val="0"/>
          <c:cat>
            <c:strRef>
              <c:f>Sheet2!$M$38:$M$43</c:f>
              <c:strCache>
                <c:ptCount val="6"/>
                <c:pt idx="0">
                  <c:v>1970er</c:v>
                </c:pt>
                <c:pt idx="1">
                  <c:v>1980er</c:v>
                </c:pt>
                <c:pt idx="2">
                  <c:v>1990er</c:v>
                </c:pt>
                <c:pt idx="3">
                  <c:v>2000er</c:v>
                </c:pt>
                <c:pt idx="4">
                  <c:v>2010er</c:v>
                </c:pt>
                <c:pt idx="5">
                  <c:v>2020er*</c:v>
                </c:pt>
              </c:strCache>
            </c:strRef>
          </c:cat>
          <c:val>
            <c:numRef>
              <c:f>Sheet2!$U$38:$U$43</c:f>
              <c:numCache>
                <c:formatCode>General</c:formatCode>
                <c:ptCount val="6"/>
                <c:pt idx="0">
                  <c:v>2.8287882288245435E-2</c:v>
                </c:pt>
                <c:pt idx="1">
                  <c:v>2.1044822998420098E-2</c:v>
                </c:pt>
                <c:pt idx="2">
                  <c:v>2.0209475929225729E-2</c:v>
                </c:pt>
                <c:pt idx="3">
                  <c:v>1.5482200981836858E-2</c:v>
                </c:pt>
                <c:pt idx="4">
                  <c:v>9.4385613122361933E-3</c:v>
                </c:pt>
                <c:pt idx="5">
                  <c:v>7.854180674971345E-3</c:v>
                </c:pt>
              </c:numCache>
            </c:numRef>
          </c:val>
          <c:extLst>
            <c:ext xmlns:c16="http://schemas.microsoft.com/office/drawing/2014/chart" uri="{C3380CC4-5D6E-409C-BE32-E72D297353CC}">
              <c16:uniqueId val="{00000004-4B69-422D-A2EE-E5BC22800D80}"/>
            </c:ext>
          </c:extLst>
        </c:ser>
        <c:dLbls>
          <c:showLegendKey val="0"/>
          <c:showVal val="0"/>
          <c:showCatName val="0"/>
          <c:showSerName val="0"/>
          <c:showPercent val="0"/>
          <c:showBubbleSize val="0"/>
        </c:dLbls>
        <c:gapWidth val="150"/>
        <c:axId val="927020303"/>
        <c:axId val="927021967"/>
      </c:barChart>
      <c:dateAx>
        <c:axId val="927020303"/>
        <c:scaling>
          <c:orientation val="minMax"/>
        </c:scaling>
        <c:delete val="0"/>
        <c:axPos val="b"/>
        <c:numFmt formatCode="[$-409]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months"/>
      </c:dateAx>
      <c:valAx>
        <c:axId val="927021967"/>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majorUnit val="1.0000000000000002E-2"/>
      </c:valAx>
      <c:spPr>
        <a:noFill/>
        <a:ln>
          <a:noFill/>
        </a:ln>
        <a:effectLst/>
      </c:spPr>
    </c:plotArea>
    <c:legend>
      <c:legendPos val="b"/>
      <c:layout>
        <c:manualLayout>
          <c:xMode val="edge"/>
          <c:yMode val="edge"/>
          <c:x val="0.1764555238455455"/>
          <c:y val="0.81290842731758717"/>
          <c:w val="0.64708895230890895"/>
          <c:h val="6.288626962941953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900565407652661E-2"/>
          <c:y val="3.3099453734168248E-2"/>
          <c:w val="0.9140309150612933"/>
          <c:h val="0.78651868416867932"/>
        </c:manualLayout>
      </c:layout>
      <c:barChart>
        <c:barDir val="col"/>
        <c:grouping val="clustered"/>
        <c:varyColors val="0"/>
        <c:ser>
          <c:idx val="2"/>
          <c:order val="0"/>
          <c:tx>
            <c:strRef>
              <c:f>'10Y'!$A$36</c:f>
              <c:strCache>
                <c:ptCount val="1"/>
                <c:pt idx="0">
                  <c:v>Durschnittliches Umsatzwachstum* p.a. (links)</c:v>
                </c:pt>
              </c:strCache>
            </c:strRef>
          </c:tx>
          <c:spPr>
            <a:solidFill>
              <a:srgbClr val="002060"/>
            </a:solidFill>
            <a:ln>
              <a:noFill/>
            </a:ln>
            <a:effectLst/>
          </c:spPr>
          <c:invertIfNegative val="0"/>
          <c:cat>
            <c:strRef>
              <c:f>'10Y'!$D$32:$N$32</c:f>
              <c:strCache>
                <c:ptCount val="11"/>
                <c:pt idx="0">
                  <c:v>Gesundheit</c:v>
                </c:pt>
                <c:pt idx="1">
                  <c:v>IT</c:v>
                </c:pt>
                <c:pt idx="2">
                  <c:v>Zyklische
Konsumgüter</c:v>
                </c:pt>
                <c:pt idx="3">
                  <c:v>Finanzen</c:v>
                </c:pt>
                <c:pt idx="4">
                  <c:v>MSCI World</c:v>
                </c:pt>
                <c:pt idx="5">
                  <c:v>Basis-
konsumgüter</c:v>
                </c:pt>
                <c:pt idx="6">
                  <c:v>Industrie</c:v>
                </c:pt>
                <c:pt idx="7">
                  <c:v>Roh- &amp; Grundstoffe</c:v>
                </c:pt>
                <c:pt idx="8">
                  <c:v>Energie</c:v>
                </c:pt>
                <c:pt idx="9">
                  <c:v>Versorger</c:v>
                </c:pt>
                <c:pt idx="10">
                  <c:v>Kommunikations-
dienstleistungen</c:v>
                </c:pt>
              </c:strCache>
              <c:extLst/>
            </c:strRef>
          </c:cat>
          <c:val>
            <c:numRef>
              <c:f>'10Y'!$D$36:$N$36</c:f>
              <c:numCache>
                <c:formatCode>0.00%</c:formatCode>
                <c:ptCount val="11"/>
                <c:pt idx="0">
                  <c:v>7.646592820582776E-2</c:v>
                </c:pt>
                <c:pt idx="1">
                  <c:v>7.1282113762498822E-2</c:v>
                </c:pt>
                <c:pt idx="2">
                  <c:v>4.2318720716851388E-2</c:v>
                </c:pt>
                <c:pt idx="3">
                  <c:v>3.0350758352202467E-2</c:v>
                </c:pt>
                <c:pt idx="4">
                  <c:v>2.3893272720181935E-2</c:v>
                </c:pt>
                <c:pt idx="5">
                  <c:v>2.2249795113125082E-2</c:v>
                </c:pt>
                <c:pt idx="6">
                  <c:v>1.0334868319327839E-2</c:v>
                </c:pt>
                <c:pt idx="7">
                  <c:v>-3.2004608934155243E-5</c:v>
                </c:pt>
                <c:pt idx="8">
                  <c:v>-1.9336691663665473E-2</c:v>
                </c:pt>
                <c:pt idx="9">
                  <c:v>-2.0084327551105563E-2</c:v>
                </c:pt>
                <c:pt idx="10">
                  <c:v>-2.1014951555644812E-2</c:v>
                </c:pt>
              </c:numCache>
              <c:extLst/>
            </c:numRef>
          </c:val>
          <c:extLst>
            <c:ext xmlns:c16="http://schemas.microsoft.com/office/drawing/2014/chart" uri="{C3380CC4-5D6E-409C-BE32-E72D297353CC}">
              <c16:uniqueId val="{00000000-AB57-42C2-A5D0-7D1AD882F97C}"/>
            </c:ext>
          </c:extLst>
        </c:ser>
        <c:ser>
          <c:idx val="3"/>
          <c:order val="1"/>
          <c:tx>
            <c:strRef>
              <c:f>'10Y'!$B$37</c:f>
              <c:strCache>
                <c:ptCount val="1"/>
                <c:pt idx="0">
                  <c:v>Gap 1</c:v>
                </c:pt>
              </c:strCache>
            </c:strRef>
          </c:tx>
          <c:spPr>
            <a:solidFill>
              <a:schemeClr val="accent4"/>
            </a:solidFill>
            <a:ln>
              <a:noFill/>
            </a:ln>
            <a:effectLst/>
          </c:spPr>
          <c:invertIfNegative val="0"/>
          <c:cat>
            <c:strRef>
              <c:f>'10Y'!$D$32:$N$32</c:f>
              <c:strCache>
                <c:ptCount val="11"/>
                <c:pt idx="0">
                  <c:v>Gesundheit</c:v>
                </c:pt>
                <c:pt idx="1">
                  <c:v>IT</c:v>
                </c:pt>
                <c:pt idx="2">
                  <c:v>Zyklische
Konsumgüter</c:v>
                </c:pt>
                <c:pt idx="3">
                  <c:v>Finanzen</c:v>
                </c:pt>
                <c:pt idx="4">
                  <c:v>MSCI World</c:v>
                </c:pt>
                <c:pt idx="5">
                  <c:v>Basis-
konsumgüter</c:v>
                </c:pt>
                <c:pt idx="6">
                  <c:v>Industrie</c:v>
                </c:pt>
                <c:pt idx="7">
                  <c:v>Roh- &amp; Grundstoffe</c:v>
                </c:pt>
                <c:pt idx="8">
                  <c:v>Energie</c:v>
                </c:pt>
                <c:pt idx="9">
                  <c:v>Versorger</c:v>
                </c:pt>
                <c:pt idx="10">
                  <c:v>Kommunikations-
dienstleistungen</c:v>
                </c:pt>
              </c:strCache>
              <c:extLst/>
            </c:strRef>
          </c:cat>
          <c:val>
            <c:numRef>
              <c:f>'10Y'!$D$37:$N$37</c:f>
              <c:numCache>
                <c:formatCode>General</c:formatCode>
                <c:ptCount val="11"/>
              </c:numCache>
              <c:extLst/>
            </c:numRef>
          </c:val>
          <c:extLst>
            <c:ext xmlns:c16="http://schemas.microsoft.com/office/drawing/2014/chart" uri="{C3380CC4-5D6E-409C-BE32-E72D297353CC}">
              <c16:uniqueId val="{00000001-AB57-42C2-A5D0-7D1AD882F97C}"/>
            </c:ext>
          </c:extLst>
        </c:ser>
        <c:dLbls>
          <c:showLegendKey val="0"/>
          <c:showVal val="0"/>
          <c:showCatName val="0"/>
          <c:showSerName val="0"/>
          <c:showPercent val="0"/>
          <c:showBubbleSize val="0"/>
        </c:dLbls>
        <c:gapWidth val="150"/>
        <c:overlap val="-20"/>
        <c:axId val="927020303"/>
        <c:axId val="927021967"/>
      </c:barChart>
      <c:barChart>
        <c:barDir val="col"/>
        <c:grouping val="clustered"/>
        <c:varyColors val="0"/>
        <c:ser>
          <c:idx val="4"/>
          <c:order val="2"/>
          <c:tx>
            <c:strRef>
              <c:f>'10Y'!$B$38</c:f>
              <c:strCache>
                <c:ptCount val="1"/>
                <c:pt idx="0">
                  <c:v>Gap 2</c:v>
                </c:pt>
              </c:strCache>
            </c:strRef>
          </c:tx>
          <c:spPr>
            <a:solidFill>
              <a:schemeClr val="accent5"/>
            </a:solidFill>
            <a:ln>
              <a:noFill/>
            </a:ln>
            <a:effectLst/>
          </c:spPr>
          <c:invertIfNegative val="0"/>
          <c:cat>
            <c:strRef>
              <c:f>'10Y'!$D$32:$N$32</c:f>
              <c:strCache>
                <c:ptCount val="11"/>
                <c:pt idx="0">
                  <c:v>Gesundheit</c:v>
                </c:pt>
                <c:pt idx="1">
                  <c:v>IT</c:v>
                </c:pt>
                <c:pt idx="2">
                  <c:v>Zyklische
Konsumgüter</c:v>
                </c:pt>
                <c:pt idx="3">
                  <c:v>Finanzen</c:v>
                </c:pt>
                <c:pt idx="4">
                  <c:v>MSCI World</c:v>
                </c:pt>
                <c:pt idx="5">
                  <c:v>Basis-
konsumgüter</c:v>
                </c:pt>
                <c:pt idx="6">
                  <c:v>Industrie</c:v>
                </c:pt>
                <c:pt idx="7">
                  <c:v>Roh- &amp; Grundstoffe</c:v>
                </c:pt>
                <c:pt idx="8">
                  <c:v>Energie</c:v>
                </c:pt>
                <c:pt idx="9">
                  <c:v>Versorger</c:v>
                </c:pt>
                <c:pt idx="10">
                  <c:v>Kommunikations-
dienstleistungen</c:v>
                </c:pt>
              </c:strCache>
              <c:extLst/>
            </c:strRef>
          </c:cat>
          <c:val>
            <c:numRef>
              <c:f>'10Y'!$D$38:$N$38</c:f>
              <c:numCache>
                <c:formatCode>General</c:formatCode>
                <c:ptCount val="11"/>
              </c:numCache>
              <c:extLst/>
            </c:numRef>
          </c:val>
          <c:extLst>
            <c:ext xmlns:c16="http://schemas.microsoft.com/office/drawing/2014/chart" uri="{C3380CC4-5D6E-409C-BE32-E72D297353CC}">
              <c16:uniqueId val="{00000002-AB57-42C2-A5D0-7D1AD882F97C}"/>
            </c:ext>
          </c:extLst>
        </c:ser>
        <c:ser>
          <c:idx val="0"/>
          <c:order val="3"/>
          <c:tx>
            <c:strRef>
              <c:f>'10Y'!$A$34</c:f>
              <c:strCache>
                <c:ptCount val="1"/>
                <c:pt idx="0">
                  <c:v>Durchschnittlicher Gesamtertrag p.a. (rechts)</c:v>
                </c:pt>
              </c:strCache>
            </c:strRef>
          </c:tx>
          <c:spPr>
            <a:solidFill>
              <a:srgbClr val="00B0F0"/>
            </a:solidFill>
            <a:ln>
              <a:noFill/>
            </a:ln>
            <a:effectLst/>
          </c:spPr>
          <c:invertIfNegative val="0"/>
          <c:cat>
            <c:strRef>
              <c:f>'10Y'!$D$32:$N$32</c:f>
              <c:strCache>
                <c:ptCount val="11"/>
                <c:pt idx="0">
                  <c:v>Gesundheit</c:v>
                </c:pt>
                <c:pt idx="1">
                  <c:v>IT</c:v>
                </c:pt>
                <c:pt idx="2">
                  <c:v>Zyklische
Konsumgüter</c:v>
                </c:pt>
                <c:pt idx="3">
                  <c:v>Finanzen</c:v>
                </c:pt>
                <c:pt idx="4">
                  <c:v>MSCI World</c:v>
                </c:pt>
                <c:pt idx="5">
                  <c:v>Basis-
konsumgüter</c:v>
                </c:pt>
                <c:pt idx="6">
                  <c:v>Industrie</c:v>
                </c:pt>
                <c:pt idx="7">
                  <c:v>Roh- &amp; Grundstoffe</c:v>
                </c:pt>
                <c:pt idx="8">
                  <c:v>Energie</c:v>
                </c:pt>
                <c:pt idx="9">
                  <c:v>Versorger</c:v>
                </c:pt>
                <c:pt idx="10">
                  <c:v>Kommunikations-
dienstleistungen</c:v>
                </c:pt>
              </c:strCache>
              <c:extLst/>
            </c:strRef>
          </c:cat>
          <c:val>
            <c:numRef>
              <c:f>'10Y'!$D$34:$N$34</c:f>
              <c:numCache>
                <c:formatCode>0.00%</c:formatCode>
                <c:ptCount val="11"/>
                <c:pt idx="0">
                  <c:v>8.2688779474736407E-2</c:v>
                </c:pt>
                <c:pt idx="1">
                  <c:v>0.20010971877389006</c:v>
                </c:pt>
                <c:pt idx="2">
                  <c:v>0.11102809809544545</c:v>
                </c:pt>
                <c:pt idx="3">
                  <c:v>9.5806890146378443E-2</c:v>
                </c:pt>
                <c:pt idx="4">
                  <c:v>0.10530737529809131</c:v>
                </c:pt>
                <c:pt idx="5">
                  <c:v>6.5475762969749773E-2</c:v>
                </c:pt>
                <c:pt idx="6">
                  <c:v>0.10003000291584763</c:v>
                </c:pt>
                <c:pt idx="7">
                  <c:v>7.2972616217384711E-2</c:v>
                </c:pt>
                <c:pt idx="8">
                  <c:v>4.4715725501455639E-2</c:v>
                </c:pt>
                <c:pt idx="9">
                  <c:v>7.3924802843594373E-2</c:v>
                </c:pt>
                <c:pt idx="10">
                  <c:v>8.3227137035166043E-2</c:v>
                </c:pt>
              </c:numCache>
              <c:extLst/>
            </c:numRef>
          </c:val>
          <c:extLst>
            <c:ext xmlns:c16="http://schemas.microsoft.com/office/drawing/2014/chart" uri="{C3380CC4-5D6E-409C-BE32-E72D297353CC}">
              <c16:uniqueId val="{00000003-AB57-42C2-A5D0-7D1AD882F97C}"/>
            </c:ext>
          </c:extLst>
        </c:ser>
        <c:dLbls>
          <c:showLegendKey val="0"/>
          <c:showVal val="0"/>
          <c:showCatName val="0"/>
          <c:showSerName val="0"/>
          <c:showPercent val="0"/>
          <c:showBubbleSize val="0"/>
        </c:dLbls>
        <c:gapWidth val="150"/>
        <c:overlap val="-20"/>
        <c:axId val="1302098351"/>
        <c:axId val="1302090671"/>
      </c:barChart>
      <c:dateAx>
        <c:axId val="927020303"/>
        <c:scaling>
          <c:orientation val="minMax"/>
        </c:scaling>
        <c:delete val="0"/>
        <c:axPos val="b"/>
        <c:numFmt formatCode="[$-409]mmm\-yy;@" sourceLinked="0"/>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1967"/>
        <c:crosses val="autoZero"/>
        <c:auto val="0"/>
        <c:lblOffset val="100"/>
        <c:baseTimeUnit val="months"/>
      </c:dateAx>
      <c:valAx>
        <c:axId val="92702196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927020303"/>
        <c:crosses val="autoZero"/>
        <c:crossBetween val="between"/>
      </c:valAx>
      <c:valAx>
        <c:axId val="1302090671"/>
        <c:scaling>
          <c:orientation val="minMax"/>
          <c:min val="-0.1"/>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302098351"/>
        <c:crosses val="max"/>
        <c:crossBetween val="between"/>
      </c:valAx>
      <c:catAx>
        <c:axId val="1302098351"/>
        <c:scaling>
          <c:orientation val="minMax"/>
        </c:scaling>
        <c:delete val="1"/>
        <c:axPos val="b"/>
        <c:numFmt formatCode="General" sourceLinked="1"/>
        <c:majorTickMark val="out"/>
        <c:minorTickMark val="none"/>
        <c:tickLblPos val="nextTo"/>
        <c:crossAx val="1302090671"/>
        <c:crosses val="autoZero"/>
        <c:auto val="1"/>
        <c:lblAlgn val="ctr"/>
        <c:lblOffset val="100"/>
        <c:noMultiLvlLbl val="0"/>
      </c:catAx>
      <c:spPr>
        <a:noFill/>
        <a:ln>
          <a:noFill/>
        </a:ln>
        <a:effectLst/>
      </c:spPr>
    </c:plotArea>
    <c:legend>
      <c:legendPos val="b"/>
      <c:legendEntry>
        <c:idx val="1"/>
        <c:delete val="1"/>
      </c:legendEntry>
      <c:legendEntry>
        <c:idx val="2"/>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258316846730357E-2"/>
          <c:y val="3.2362257129599836E-2"/>
          <c:w val="0.87650481321192719"/>
          <c:h val="0.69245046162077895"/>
        </c:manualLayout>
      </c:layout>
      <c:lineChart>
        <c:grouping val="standard"/>
        <c:varyColors val="0"/>
        <c:ser>
          <c:idx val="0"/>
          <c:order val="0"/>
          <c:tx>
            <c:strRef>
              <c:f>Markets!$BU$1</c:f>
              <c:strCache>
                <c:ptCount val="1"/>
                <c:pt idx="0">
                  <c:v>MSCI World Gewinnwachstum*</c:v>
                </c:pt>
              </c:strCache>
            </c:strRef>
          </c:tx>
          <c:spPr>
            <a:ln w="28575" cap="rnd">
              <a:solidFill>
                <a:schemeClr val="accent1"/>
              </a:solidFill>
              <a:round/>
            </a:ln>
            <a:effectLst/>
          </c:spPr>
          <c:marker>
            <c:symbol val="none"/>
          </c:marker>
          <c:cat>
            <c:numRef>
              <c:f>Markets!$BI$4:$BI$2654</c:f>
              <c:numCache>
                <c:formatCode>m/d/yyyy</c:formatCode>
                <c:ptCount val="2651"/>
                <c:pt idx="0">
                  <c:v>41968</c:v>
                </c:pt>
                <c:pt idx="1">
                  <c:v>41969</c:v>
                </c:pt>
                <c:pt idx="2">
                  <c:v>41970</c:v>
                </c:pt>
                <c:pt idx="3">
                  <c:v>41971</c:v>
                </c:pt>
                <c:pt idx="4">
                  <c:v>41974</c:v>
                </c:pt>
                <c:pt idx="5">
                  <c:v>41975</c:v>
                </c:pt>
                <c:pt idx="6">
                  <c:v>41976</c:v>
                </c:pt>
                <c:pt idx="7">
                  <c:v>41977</c:v>
                </c:pt>
                <c:pt idx="8">
                  <c:v>41978</c:v>
                </c:pt>
                <c:pt idx="9">
                  <c:v>41981</c:v>
                </c:pt>
                <c:pt idx="10">
                  <c:v>41982</c:v>
                </c:pt>
                <c:pt idx="11">
                  <c:v>41983</c:v>
                </c:pt>
                <c:pt idx="12">
                  <c:v>41984</c:v>
                </c:pt>
                <c:pt idx="13">
                  <c:v>41985</c:v>
                </c:pt>
                <c:pt idx="14">
                  <c:v>41988</c:v>
                </c:pt>
                <c:pt idx="15">
                  <c:v>41989</c:v>
                </c:pt>
                <c:pt idx="16">
                  <c:v>41990</c:v>
                </c:pt>
                <c:pt idx="17">
                  <c:v>41991</c:v>
                </c:pt>
                <c:pt idx="18">
                  <c:v>41992</c:v>
                </c:pt>
                <c:pt idx="19">
                  <c:v>41995</c:v>
                </c:pt>
                <c:pt idx="20">
                  <c:v>41996</c:v>
                </c:pt>
                <c:pt idx="21">
                  <c:v>41997</c:v>
                </c:pt>
                <c:pt idx="22">
                  <c:v>41998</c:v>
                </c:pt>
                <c:pt idx="23">
                  <c:v>41999</c:v>
                </c:pt>
                <c:pt idx="24">
                  <c:v>42002</c:v>
                </c:pt>
                <c:pt idx="25">
                  <c:v>42003</c:v>
                </c:pt>
                <c:pt idx="26">
                  <c:v>42004</c:v>
                </c:pt>
                <c:pt idx="27">
                  <c:v>42005</c:v>
                </c:pt>
                <c:pt idx="28">
                  <c:v>42006</c:v>
                </c:pt>
                <c:pt idx="29">
                  <c:v>42009</c:v>
                </c:pt>
                <c:pt idx="30">
                  <c:v>42010</c:v>
                </c:pt>
                <c:pt idx="31">
                  <c:v>42011</c:v>
                </c:pt>
                <c:pt idx="32">
                  <c:v>42012</c:v>
                </c:pt>
                <c:pt idx="33">
                  <c:v>42013</c:v>
                </c:pt>
                <c:pt idx="34">
                  <c:v>42016</c:v>
                </c:pt>
                <c:pt idx="35">
                  <c:v>42017</c:v>
                </c:pt>
                <c:pt idx="36">
                  <c:v>42018</c:v>
                </c:pt>
                <c:pt idx="37">
                  <c:v>42019</c:v>
                </c:pt>
                <c:pt idx="38">
                  <c:v>42020</c:v>
                </c:pt>
                <c:pt idx="39">
                  <c:v>42023</c:v>
                </c:pt>
                <c:pt idx="40">
                  <c:v>42024</c:v>
                </c:pt>
                <c:pt idx="41">
                  <c:v>42025</c:v>
                </c:pt>
                <c:pt idx="42">
                  <c:v>42026</c:v>
                </c:pt>
                <c:pt idx="43">
                  <c:v>42027</c:v>
                </c:pt>
                <c:pt idx="44">
                  <c:v>42030</c:v>
                </c:pt>
                <c:pt idx="45">
                  <c:v>42031</c:v>
                </c:pt>
                <c:pt idx="46">
                  <c:v>42032</c:v>
                </c:pt>
                <c:pt idx="47">
                  <c:v>42033</c:v>
                </c:pt>
                <c:pt idx="48">
                  <c:v>42034</c:v>
                </c:pt>
                <c:pt idx="49">
                  <c:v>42037</c:v>
                </c:pt>
                <c:pt idx="50">
                  <c:v>42038</c:v>
                </c:pt>
                <c:pt idx="51">
                  <c:v>42039</c:v>
                </c:pt>
                <c:pt idx="52">
                  <c:v>42040</c:v>
                </c:pt>
                <c:pt idx="53">
                  <c:v>42041</c:v>
                </c:pt>
                <c:pt idx="54">
                  <c:v>42044</c:v>
                </c:pt>
                <c:pt idx="55">
                  <c:v>42045</c:v>
                </c:pt>
                <c:pt idx="56">
                  <c:v>42046</c:v>
                </c:pt>
                <c:pt idx="57">
                  <c:v>42047</c:v>
                </c:pt>
                <c:pt idx="58">
                  <c:v>42048</c:v>
                </c:pt>
                <c:pt idx="59">
                  <c:v>42051</c:v>
                </c:pt>
                <c:pt idx="60">
                  <c:v>42052</c:v>
                </c:pt>
                <c:pt idx="61">
                  <c:v>42053</c:v>
                </c:pt>
                <c:pt idx="62">
                  <c:v>42054</c:v>
                </c:pt>
                <c:pt idx="63">
                  <c:v>42055</c:v>
                </c:pt>
                <c:pt idx="64">
                  <c:v>42058</c:v>
                </c:pt>
                <c:pt idx="65">
                  <c:v>42059</c:v>
                </c:pt>
                <c:pt idx="66">
                  <c:v>42060</c:v>
                </c:pt>
                <c:pt idx="67">
                  <c:v>42061</c:v>
                </c:pt>
                <c:pt idx="68">
                  <c:v>42062</c:v>
                </c:pt>
                <c:pt idx="69">
                  <c:v>42065</c:v>
                </c:pt>
                <c:pt idx="70">
                  <c:v>42066</c:v>
                </c:pt>
                <c:pt idx="71">
                  <c:v>42067</c:v>
                </c:pt>
                <c:pt idx="72">
                  <c:v>42068</c:v>
                </c:pt>
                <c:pt idx="73">
                  <c:v>42069</c:v>
                </c:pt>
                <c:pt idx="74">
                  <c:v>42072</c:v>
                </c:pt>
                <c:pt idx="75">
                  <c:v>42073</c:v>
                </c:pt>
                <c:pt idx="76">
                  <c:v>42074</c:v>
                </c:pt>
                <c:pt idx="77">
                  <c:v>42075</c:v>
                </c:pt>
                <c:pt idx="78">
                  <c:v>42076</c:v>
                </c:pt>
                <c:pt idx="79">
                  <c:v>42079</c:v>
                </c:pt>
                <c:pt idx="80">
                  <c:v>42080</c:v>
                </c:pt>
                <c:pt idx="81">
                  <c:v>42081</c:v>
                </c:pt>
                <c:pt idx="82">
                  <c:v>42082</c:v>
                </c:pt>
                <c:pt idx="83">
                  <c:v>42083</c:v>
                </c:pt>
                <c:pt idx="84">
                  <c:v>42086</c:v>
                </c:pt>
                <c:pt idx="85">
                  <c:v>42087</c:v>
                </c:pt>
                <c:pt idx="86">
                  <c:v>42088</c:v>
                </c:pt>
                <c:pt idx="87">
                  <c:v>42089</c:v>
                </c:pt>
                <c:pt idx="88">
                  <c:v>42090</c:v>
                </c:pt>
                <c:pt idx="89">
                  <c:v>42093</c:v>
                </c:pt>
                <c:pt idx="90">
                  <c:v>42094</c:v>
                </c:pt>
                <c:pt idx="91">
                  <c:v>42095</c:v>
                </c:pt>
                <c:pt idx="92">
                  <c:v>42096</c:v>
                </c:pt>
                <c:pt idx="93">
                  <c:v>42097</c:v>
                </c:pt>
                <c:pt idx="94">
                  <c:v>42100</c:v>
                </c:pt>
                <c:pt idx="95">
                  <c:v>42101</c:v>
                </c:pt>
                <c:pt idx="96">
                  <c:v>42102</c:v>
                </c:pt>
                <c:pt idx="97">
                  <c:v>42103</c:v>
                </c:pt>
                <c:pt idx="98">
                  <c:v>42104</c:v>
                </c:pt>
                <c:pt idx="99">
                  <c:v>42107</c:v>
                </c:pt>
                <c:pt idx="100">
                  <c:v>42108</c:v>
                </c:pt>
                <c:pt idx="101">
                  <c:v>42109</c:v>
                </c:pt>
                <c:pt idx="102">
                  <c:v>42110</c:v>
                </c:pt>
                <c:pt idx="103">
                  <c:v>42111</c:v>
                </c:pt>
                <c:pt idx="104">
                  <c:v>42114</c:v>
                </c:pt>
                <c:pt idx="105">
                  <c:v>42115</c:v>
                </c:pt>
                <c:pt idx="106">
                  <c:v>42116</c:v>
                </c:pt>
                <c:pt idx="107">
                  <c:v>42117</c:v>
                </c:pt>
                <c:pt idx="108">
                  <c:v>42118</c:v>
                </c:pt>
                <c:pt idx="109">
                  <c:v>42121</c:v>
                </c:pt>
                <c:pt idx="110">
                  <c:v>42122</c:v>
                </c:pt>
                <c:pt idx="111">
                  <c:v>42123</c:v>
                </c:pt>
                <c:pt idx="112">
                  <c:v>42124</c:v>
                </c:pt>
                <c:pt idx="113">
                  <c:v>42125</c:v>
                </c:pt>
                <c:pt idx="114">
                  <c:v>42128</c:v>
                </c:pt>
                <c:pt idx="115">
                  <c:v>42129</c:v>
                </c:pt>
                <c:pt idx="116">
                  <c:v>42130</c:v>
                </c:pt>
                <c:pt idx="117">
                  <c:v>42131</c:v>
                </c:pt>
                <c:pt idx="118">
                  <c:v>42132</c:v>
                </c:pt>
                <c:pt idx="119">
                  <c:v>42135</c:v>
                </c:pt>
                <c:pt idx="120">
                  <c:v>42136</c:v>
                </c:pt>
                <c:pt idx="121">
                  <c:v>42137</c:v>
                </c:pt>
                <c:pt idx="122">
                  <c:v>42138</c:v>
                </c:pt>
                <c:pt idx="123">
                  <c:v>42139</c:v>
                </c:pt>
                <c:pt idx="124">
                  <c:v>42142</c:v>
                </c:pt>
                <c:pt idx="125">
                  <c:v>42143</c:v>
                </c:pt>
                <c:pt idx="126">
                  <c:v>42144</c:v>
                </c:pt>
                <c:pt idx="127">
                  <c:v>42145</c:v>
                </c:pt>
                <c:pt idx="128">
                  <c:v>42146</c:v>
                </c:pt>
                <c:pt idx="129">
                  <c:v>42149</c:v>
                </c:pt>
                <c:pt idx="130">
                  <c:v>42150</c:v>
                </c:pt>
                <c:pt idx="131">
                  <c:v>42151</c:v>
                </c:pt>
                <c:pt idx="132">
                  <c:v>42152</c:v>
                </c:pt>
                <c:pt idx="133">
                  <c:v>42153</c:v>
                </c:pt>
                <c:pt idx="134">
                  <c:v>42156</c:v>
                </c:pt>
                <c:pt idx="135">
                  <c:v>42157</c:v>
                </c:pt>
                <c:pt idx="136">
                  <c:v>42158</c:v>
                </c:pt>
                <c:pt idx="137">
                  <c:v>42159</c:v>
                </c:pt>
                <c:pt idx="138">
                  <c:v>42160</c:v>
                </c:pt>
                <c:pt idx="139">
                  <c:v>42163</c:v>
                </c:pt>
                <c:pt idx="140">
                  <c:v>42164</c:v>
                </c:pt>
                <c:pt idx="141">
                  <c:v>42165</c:v>
                </c:pt>
                <c:pt idx="142">
                  <c:v>42166</c:v>
                </c:pt>
                <c:pt idx="143">
                  <c:v>42167</c:v>
                </c:pt>
                <c:pt idx="144">
                  <c:v>42170</c:v>
                </c:pt>
                <c:pt idx="145">
                  <c:v>42171</c:v>
                </c:pt>
                <c:pt idx="146">
                  <c:v>42172</c:v>
                </c:pt>
                <c:pt idx="147">
                  <c:v>42173</c:v>
                </c:pt>
                <c:pt idx="148">
                  <c:v>42174</c:v>
                </c:pt>
                <c:pt idx="149">
                  <c:v>42177</c:v>
                </c:pt>
                <c:pt idx="150">
                  <c:v>42178</c:v>
                </c:pt>
                <c:pt idx="151">
                  <c:v>42179</c:v>
                </c:pt>
                <c:pt idx="152">
                  <c:v>42180</c:v>
                </c:pt>
                <c:pt idx="153">
                  <c:v>42181</c:v>
                </c:pt>
                <c:pt idx="154">
                  <c:v>42184</c:v>
                </c:pt>
                <c:pt idx="155">
                  <c:v>42185</c:v>
                </c:pt>
                <c:pt idx="156">
                  <c:v>42186</c:v>
                </c:pt>
                <c:pt idx="157">
                  <c:v>42187</c:v>
                </c:pt>
                <c:pt idx="158">
                  <c:v>42188</c:v>
                </c:pt>
                <c:pt idx="159">
                  <c:v>42191</c:v>
                </c:pt>
                <c:pt idx="160">
                  <c:v>42192</c:v>
                </c:pt>
                <c:pt idx="161">
                  <c:v>42193</c:v>
                </c:pt>
                <c:pt idx="162">
                  <c:v>42194</c:v>
                </c:pt>
                <c:pt idx="163">
                  <c:v>42195</c:v>
                </c:pt>
                <c:pt idx="164">
                  <c:v>42198</c:v>
                </c:pt>
                <c:pt idx="165">
                  <c:v>42199</c:v>
                </c:pt>
                <c:pt idx="166">
                  <c:v>42200</c:v>
                </c:pt>
                <c:pt idx="167">
                  <c:v>42201</c:v>
                </c:pt>
                <c:pt idx="168">
                  <c:v>42202</c:v>
                </c:pt>
                <c:pt idx="169">
                  <c:v>42205</c:v>
                </c:pt>
                <c:pt idx="170">
                  <c:v>42206</c:v>
                </c:pt>
                <c:pt idx="171">
                  <c:v>42207</c:v>
                </c:pt>
                <c:pt idx="172">
                  <c:v>42208</c:v>
                </c:pt>
                <c:pt idx="173">
                  <c:v>42209</c:v>
                </c:pt>
                <c:pt idx="174">
                  <c:v>42212</c:v>
                </c:pt>
                <c:pt idx="175">
                  <c:v>42213</c:v>
                </c:pt>
                <c:pt idx="176">
                  <c:v>42214</c:v>
                </c:pt>
                <c:pt idx="177">
                  <c:v>42215</c:v>
                </c:pt>
                <c:pt idx="178">
                  <c:v>42216</c:v>
                </c:pt>
                <c:pt idx="179">
                  <c:v>42219</c:v>
                </c:pt>
                <c:pt idx="180">
                  <c:v>42220</c:v>
                </c:pt>
                <c:pt idx="181">
                  <c:v>42221</c:v>
                </c:pt>
                <c:pt idx="182">
                  <c:v>42222</c:v>
                </c:pt>
                <c:pt idx="183">
                  <c:v>42223</c:v>
                </c:pt>
                <c:pt idx="184">
                  <c:v>42226</c:v>
                </c:pt>
                <c:pt idx="185">
                  <c:v>42227</c:v>
                </c:pt>
                <c:pt idx="186">
                  <c:v>42228</c:v>
                </c:pt>
                <c:pt idx="187">
                  <c:v>42229</c:v>
                </c:pt>
                <c:pt idx="188">
                  <c:v>42230</c:v>
                </c:pt>
                <c:pt idx="189">
                  <c:v>42233</c:v>
                </c:pt>
                <c:pt idx="190">
                  <c:v>42234</c:v>
                </c:pt>
                <c:pt idx="191">
                  <c:v>42235</c:v>
                </c:pt>
                <c:pt idx="192">
                  <c:v>42236</c:v>
                </c:pt>
                <c:pt idx="193">
                  <c:v>42237</c:v>
                </c:pt>
                <c:pt idx="194">
                  <c:v>42240</c:v>
                </c:pt>
                <c:pt idx="195">
                  <c:v>42241</c:v>
                </c:pt>
                <c:pt idx="196">
                  <c:v>42242</c:v>
                </c:pt>
                <c:pt idx="197">
                  <c:v>42243</c:v>
                </c:pt>
                <c:pt idx="198">
                  <c:v>42244</c:v>
                </c:pt>
                <c:pt idx="199">
                  <c:v>42247</c:v>
                </c:pt>
                <c:pt idx="200">
                  <c:v>42248</c:v>
                </c:pt>
                <c:pt idx="201">
                  <c:v>42249</c:v>
                </c:pt>
                <c:pt idx="202">
                  <c:v>42250</c:v>
                </c:pt>
                <c:pt idx="203">
                  <c:v>42251</c:v>
                </c:pt>
                <c:pt idx="204">
                  <c:v>42254</c:v>
                </c:pt>
                <c:pt idx="205">
                  <c:v>42255</c:v>
                </c:pt>
                <c:pt idx="206">
                  <c:v>42256</c:v>
                </c:pt>
                <c:pt idx="207">
                  <c:v>42257</c:v>
                </c:pt>
                <c:pt idx="208">
                  <c:v>42258</c:v>
                </c:pt>
                <c:pt idx="209">
                  <c:v>42261</c:v>
                </c:pt>
                <c:pt idx="210">
                  <c:v>42262</c:v>
                </c:pt>
                <c:pt idx="211">
                  <c:v>42263</c:v>
                </c:pt>
                <c:pt idx="212">
                  <c:v>42264</c:v>
                </c:pt>
                <c:pt idx="213">
                  <c:v>42265</c:v>
                </c:pt>
                <c:pt idx="214">
                  <c:v>42268</c:v>
                </c:pt>
                <c:pt idx="215">
                  <c:v>42269</c:v>
                </c:pt>
                <c:pt idx="216">
                  <c:v>42270</c:v>
                </c:pt>
                <c:pt idx="217">
                  <c:v>42271</c:v>
                </c:pt>
                <c:pt idx="218">
                  <c:v>42272</c:v>
                </c:pt>
                <c:pt idx="219">
                  <c:v>42275</c:v>
                </c:pt>
                <c:pt idx="220">
                  <c:v>42276</c:v>
                </c:pt>
                <c:pt idx="221">
                  <c:v>42277</c:v>
                </c:pt>
                <c:pt idx="222">
                  <c:v>42278</c:v>
                </c:pt>
                <c:pt idx="223">
                  <c:v>42279</c:v>
                </c:pt>
                <c:pt idx="224">
                  <c:v>42282</c:v>
                </c:pt>
                <c:pt idx="225">
                  <c:v>42283</c:v>
                </c:pt>
                <c:pt idx="226">
                  <c:v>42284</c:v>
                </c:pt>
                <c:pt idx="227">
                  <c:v>42285</c:v>
                </c:pt>
                <c:pt idx="228">
                  <c:v>42286</c:v>
                </c:pt>
                <c:pt idx="229">
                  <c:v>42289</c:v>
                </c:pt>
                <c:pt idx="230">
                  <c:v>42290</c:v>
                </c:pt>
                <c:pt idx="231">
                  <c:v>42291</c:v>
                </c:pt>
                <c:pt idx="232">
                  <c:v>42292</c:v>
                </c:pt>
                <c:pt idx="233">
                  <c:v>42293</c:v>
                </c:pt>
                <c:pt idx="234">
                  <c:v>42296</c:v>
                </c:pt>
                <c:pt idx="235">
                  <c:v>42297</c:v>
                </c:pt>
                <c:pt idx="236">
                  <c:v>42298</c:v>
                </c:pt>
                <c:pt idx="237">
                  <c:v>42299</c:v>
                </c:pt>
                <c:pt idx="238">
                  <c:v>42300</c:v>
                </c:pt>
                <c:pt idx="239">
                  <c:v>42303</c:v>
                </c:pt>
                <c:pt idx="240">
                  <c:v>42304</c:v>
                </c:pt>
                <c:pt idx="241">
                  <c:v>42305</c:v>
                </c:pt>
                <c:pt idx="242">
                  <c:v>42306</c:v>
                </c:pt>
                <c:pt idx="243">
                  <c:v>42307</c:v>
                </c:pt>
                <c:pt idx="244">
                  <c:v>42310</c:v>
                </c:pt>
                <c:pt idx="245">
                  <c:v>42311</c:v>
                </c:pt>
                <c:pt idx="246">
                  <c:v>42312</c:v>
                </c:pt>
                <c:pt idx="247">
                  <c:v>42313</c:v>
                </c:pt>
                <c:pt idx="248">
                  <c:v>42314</c:v>
                </c:pt>
                <c:pt idx="249">
                  <c:v>42317</c:v>
                </c:pt>
                <c:pt idx="250">
                  <c:v>42318</c:v>
                </c:pt>
                <c:pt idx="251">
                  <c:v>42319</c:v>
                </c:pt>
                <c:pt idx="252">
                  <c:v>42320</c:v>
                </c:pt>
                <c:pt idx="253">
                  <c:v>42321</c:v>
                </c:pt>
                <c:pt idx="254">
                  <c:v>42324</c:v>
                </c:pt>
                <c:pt idx="255">
                  <c:v>42325</c:v>
                </c:pt>
                <c:pt idx="256">
                  <c:v>42326</c:v>
                </c:pt>
                <c:pt idx="257">
                  <c:v>42327</c:v>
                </c:pt>
                <c:pt idx="258">
                  <c:v>42328</c:v>
                </c:pt>
                <c:pt idx="259">
                  <c:v>42331</c:v>
                </c:pt>
                <c:pt idx="260">
                  <c:v>42332</c:v>
                </c:pt>
                <c:pt idx="261">
                  <c:v>42333</c:v>
                </c:pt>
                <c:pt idx="262">
                  <c:v>42334</c:v>
                </c:pt>
                <c:pt idx="263">
                  <c:v>42335</c:v>
                </c:pt>
                <c:pt idx="264">
                  <c:v>42338</c:v>
                </c:pt>
                <c:pt idx="265">
                  <c:v>42339</c:v>
                </c:pt>
                <c:pt idx="266">
                  <c:v>42340</c:v>
                </c:pt>
                <c:pt idx="267">
                  <c:v>42341</c:v>
                </c:pt>
                <c:pt idx="268">
                  <c:v>42342</c:v>
                </c:pt>
                <c:pt idx="269">
                  <c:v>42345</c:v>
                </c:pt>
                <c:pt idx="270">
                  <c:v>42346</c:v>
                </c:pt>
                <c:pt idx="271">
                  <c:v>42347</c:v>
                </c:pt>
                <c:pt idx="272">
                  <c:v>42348</c:v>
                </c:pt>
                <c:pt idx="273">
                  <c:v>42349</c:v>
                </c:pt>
                <c:pt idx="274">
                  <c:v>42352</c:v>
                </c:pt>
                <c:pt idx="275">
                  <c:v>42353</c:v>
                </c:pt>
                <c:pt idx="276">
                  <c:v>42354</c:v>
                </c:pt>
                <c:pt idx="277">
                  <c:v>42355</c:v>
                </c:pt>
                <c:pt idx="278">
                  <c:v>42356</c:v>
                </c:pt>
                <c:pt idx="279">
                  <c:v>42359</c:v>
                </c:pt>
                <c:pt idx="280">
                  <c:v>42360</c:v>
                </c:pt>
                <c:pt idx="281">
                  <c:v>42361</c:v>
                </c:pt>
                <c:pt idx="282">
                  <c:v>42362</c:v>
                </c:pt>
                <c:pt idx="283">
                  <c:v>42363</c:v>
                </c:pt>
                <c:pt idx="284">
                  <c:v>42366</c:v>
                </c:pt>
                <c:pt idx="285">
                  <c:v>42367</c:v>
                </c:pt>
                <c:pt idx="286">
                  <c:v>42368</c:v>
                </c:pt>
                <c:pt idx="287">
                  <c:v>42369</c:v>
                </c:pt>
                <c:pt idx="288">
                  <c:v>42370</c:v>
                </c:pt>
                <c:pt idx="289">
                  <c:v>42373</c:v>
                </c:pt>
                <c:pt idx="290">
                  <c:v>42374</c:v>
                </c:pt>
                <c:pt idx="291">
                  <c:v>42375</c:v>
                </c:pt>
                <c:pt idx="292">
                  <c:v>42376</c:v>
                </c:pt>
                <c:pt idx="293">
                  <c:v>42377</c:v>
                </c:pt>
                <c:pt idx="294">
                  <c:v>42380</c:v>
                </c:pt>
                <c:pt idx="295">
                  <c:v>42381</c:v>
                </c:pt>
                <c:pt idx="296">
                  <c:v>42382</c:v>
                </c:pt>
                <c:pt idx="297">
                  <c:v>42383</c:v>
                </c:pt>
                <c:pt idx="298">
                  <c:v>42384</c:v>
                </c:pt>
                <c:pt idx="299">
                  <c:v>42387</c:v>
                </c:pt>
                <c:pt idx="300">
                  <c:v>42388</c:v>
                </c:pt>
                <c:pt idx="301">
                  <c:v>42389</c:v>
                </c:pt>
                <c:pt idx="302">
                  <c:v>42390</c:v>
                </c:pt>
                <c:pt idx="303">
                  <c:v>42391</c:v>
                </c:pt>
                <c:pt idx="304">
                  <c:v>42394</c:v>
                </c:pt>
                <c:pt idx="305">
                  <c:v>42395</c:v>
                </c:pt>
                <c:pt idx="306">
                  <c:v>42396</c:v>
                </c:pt>
                <c:pt idx="307">
                  <c:v>42397</c:v>
                </c:pt>
                <c:pt idx="308">
                  <c:v>42398</c:v>
                </c:pt>
                <c:pt idx="309">
                  <c:v>42401</c:v>
                </c:pt>
                <c:pt idx="310">
                  <c:v>42402</c:v>
                </c:pt>
                <c:pt idx="311">
                  <c:v>42403</c:v>
                </c:pt>
                <c:pt idx="312">
                  <c:v>42404</c:v>
                </c:pt>
                <c:pt idx="313">
                  <c:v>42405</c:v>
                </c:pt>
                <c:pt idx="314">
                  <c:v>42408</c:v>
                </c:pt>
                <c:pt idx="315">
                  <c:v>42409</c:v>
                </c:pt>
                <c:pt idx="316">
                  <c:v>42410</c:v>
                </c:pt>
                <c:pt idx="317">
                  <c:v>42411</c:v>
                </c:pt>
                <c:pt idx="318">
                  <c:v>42412</c:v>
                </c:pt>
                <c:pt idx="319">
                  <c:v>42415</c:v>
                </c:pt>
                <c:pt idx="320">
                  <c:v>42416</c:v>
                </c:pt>
                <c:pt idx="321">
                  <c:v>42417</c:v>
                </c:pt>
                <c:pt idx="322">
                  <c:v>42418</c:v>
                </c:pt>
                <c:pt idx="323">
                  <c:v>42419</c:v>
                </c:pt>
                <c:pt idx="324">
                  <c:v>42422</c:v>
                </c:pt>
                <c:pt idx="325">
                  <c:v>42423</c:v>
                </c:pt>
                <c:pt idx="326">
                  <c:v>42424</c:v>
                </c:pt>
                <c:pt idx="327">
                  <c:v>42425</c:v>
                </c:pt>
                <c:pt idx="328">
                  <c:v>42426</c:v>
                </c:pt>
                <c:pt idx="329">
                  <c:v>42429</c:v>
                </c:pt>
                <c:pt idx="330">
                  <c:v>42430</c:v>
                </c:pt>
                <c:pt idx="331">
                  <c:v>42431</c:v>
                </c:pt>
                <c:pt idx="332">
                  <c:v>42432</c:v>
                </c:pt>
                <c:pt idx="333">
                  <c:v>42433</c:v>
                </c:pt>
                <c:pt idx="334">
                  <c:v>42436</c:v>
                </c:pt>
                <c:pt idx="335">
                  <c:v>42437</c:v>
                </c:pt>
                <c:pt idx="336">
                  <c:v>42438</c:v>
                </c:pt>
                <c:pt idx="337">
                  <c:v>42439</c:v>
                </c:pt>
                <c:pt idx="338">
                  <c:v>42440</c:v>
                </c:pt>
                <c:pt idx="339">
                  <c:v>42443</c:v>
                </c:pt>
                <c:pt idx="340">
                  <c:v>42444</c:v>
                </c:pt>
                <c:pt idx="341">
                  <c:v>42445</c:v>
                </c:pt>
                <c:pt idx="342">
                  <c:v>42446</c:v>
                </c:pt>
                <c:pt idx="343">
                  <c:v>42447</c:v>
                </c:pt>
                <c:pt idx="344">
                  <c:v>42450</c:v>
                </c:pt>
                <c:pt idx="345">
                  <c:v>42451</c:v>
                </c:pt>
                <c:pt idx="346">
                  <c:v>42452</c:v>
                </c:pt>
                <c:pt idx="347">
                  <c:v>42453</c:v>
                </c:pt>
                <c:pt idx="348">
                  <c:v>42454</c:v>
                </c:pt>
                <c:pt idx="349">
                  <c:v>42457</c:v>
                </c:pt>
                <c:pt idx="350">
                  <c:v>42458</c:v>
                </c:pt>
                <c:pt idx="351">
                  <c:v>42459</c:v>
                </c:pt>
                <c:pt idx="352">
                  <c:v>42460</c:v>
                </c:pt>
                <c:pt idx="353">
                  <c:v>42461</c:v>
                </c:pt>
                <c:pt idx="354">
                  <c:v>42464</c:v>
                </c:pt>
                <c:pt idx="355">
                  <c:v>42465</c:v>
                </c:pt>
                <c:pt idx="356">
                  <c:v>42466</c:v>
                </c:pt>
                <c:pt idx="357">
                  <c:v>42467</c:v>
                </c:pt>
                <c:pt idx="358">
                  <c:v>42468</c:v>
                </c:pt>
                <c:pt idx="359">
                  <c:v>42471</c:v>
                </c:pt>
                <c:pt idx="360">
                  <c:v>42472</c:v>
                </c:pt>
                <c:pt idx="361">
                  <c:v>42473</c:v>
                </c:pt>
                <c:pt idx="362">
                  <c:v>42474</c:v>
                </c:pt>
                <c:pt idx="363">
                  <c:v>42475</c:v>
                </c:pt>
                <c:pt idx="364">
                  <c:v>42478</c:v>
                </c:pt>
                <c:pt idx="365">
                  <c:v>42479</c:v>
                </c:pt>
                <c:pt idx="366">
                  <c:v>42480</c:v>
                </c:pt>
                <c:pt idx="367">
                  <c:v>42481</c:v>
                </c:pt>
                <c:pt idx="368">
                  <c:v>42482</c:v>
                </c:pt>
                <c:pt idx="369">
                  <c:v>42485</c:v>
                </c:pt>
                <c:pt idx="370">
                  <c:v>42486</c:v>
                </c:pt>
                <c:pt idx="371">
                  <c:v>42487</c:v>
                </c:pt>
                <c:pt idx="372">
                  <c:v>42488</c:v>
                </c:pt>
                <c:pt idx="373">
                  <c:v>42489</c:v>
                </c:pt>
                <c:pt idx="374">
                  <c:v>42492</c:v>
                </c:pt>
                <c:pt idx="375">
                  <c:v>42493</c:v>
                </c:pt>
                <c:pt idx="376">
                  <c:v>42494</c:v>
                </c:pt>
                <c:pt idx="377">
                  <c:v>42495</c:v>
                </c:pt>
                <c:pt idx="378">
                  <c:v>42496</c:v>
                </c:pt>
                <c:pt idx="379">
                  <c:v>42499</c:v>
                </c:pt>
                <c:pt idx="380">
                  <c:v>42500</c:v>
                </c:pt>
                <c:pt idx="381">
                  <c:v>42501</c:v>
                </c:pt>
                <c:pt idx="382">
                  <c:v>42502</c:v>
                </c:pt>
                <c:pt idx="383">
                  <c:v>42503</c:v>
                </c:pt>
                <c:pt idx="384">
                  <c:v>42506</c:v>
                </c:pt>
                <c:pt idx="385">
                  <c:v>42507</c:v>
                </c:pt>
                <c:pt idx="386">
                  <c:v>42508</c:v>
                </c:pt>
                <c:pt idx="387">
                  <c:v>42509</c:v>
                </c:pt>
                <c:pt idx="388">
                  <c:v>42510</c:v>
                </c:pt>
                <c:pt idx="389">
                  <c:v>42513</c:v>
                </c:pt>
                <c:pt idx="390">
                  <c:v>42514</c:v>
                </c:pt>
                <c:pt idx="391">
                  <c:v>42515</c:v>
                </c:pt>
                <c:pt idx="392">
                  <c:v>42516</c:v>
                </c:pt>
                <c:pt idx="393">
                  <c:v>42517</c:v>
                </c:pt>
                <c:pt idx="394">
                  <c:v>42520</c:v>
                </c:pt>
                <c:pt idx="395">
                  <c:v>42521</c:v>
                </c:pt>
                <c:pt idx="396">
                  <c:v>42522</c:v>
                </c:pt>
                <c:pt idx="397">
                  <c:v>42523</c:v>
                </c:pt>
                <c:pt idx="398">
                  <c:v>42524</c:v>
                </c:pt>
                <c:pt idx="399">
                  <c:v>42527</c:v>
                </c:pt>
                <c:pt idx="400">
                  <c:v>42528</c:v>
                </c:pt>
                <c:pt idx="401">
                  <c:v>42529</c:v>
                </c:pt>
                <c:pt idx="402">
                  <c:v>42530</c:v>
                </c:pt>
                <c:pt idx="403">
                  <c:v>42531</c:v>
                </c:pt>
                <c:pt idx="404">
                  <c:v>42534</c:v>
                </c:pt>
                <c:pt idx="405">
                  <c:v>42535</c:v>
                </c:pt>
                <c:pt idx="406">
                  <c:v>42536</c:v>
                </c:pt>
                <c:pt idx="407">
                  <c:v>42537</c:v>
                </c:pt>
                <c:pt idx="408">
                  <c:v>42538</c:v>
                </c:pt>
                <c:pt idx="409">
                  <c:v>42541</c:v>
                </c:pt>
                <c:pt idx="410">
                  <c:v>42542</c:v>
                </c:pt>
                <c:pt idx="411">
                  <c:v>42543</c:v>
                </c:pt>
                <c:pt idx="412">
                  <c:v>42544</c:v>
                </c:pt>
                <c:pt idx="413">
                  <c:v>42545</c:v>
                </c:pt>
                <c:pt idx="414">
                  <c:v>42548</c:v>
                </c:pt>
                <c:pt idx="415">
                  <c:v>42549</c:v>
                </c:pt>
                <c:pt idx="416">
                  <c:v>42550</c:v>
                </c:pt>
                <c:pt idx="417">
                  <c:v>42551</c:v>
                </c:pt>
                <c:pt idx="418">
                  <c:v>42552</c:v>
                </c:pt>
                <c:pt idx="419">
                  <c:v>42555</c:v>
                </c:pt>
                <c:pt idx="420">
                  <c:v>42556</c:v>
                </c:pt>
                <c:pt idx="421">
                  <c:v>42557</c:v>
                </c:pt>
                <c:pt idx="422">
                  <c:v>42558</c:v>
                </c:pt>
                <c:pt idx="423">
                  <c:v>42559</c:v>
                </c:pt>
                <c:pt idx="424">
                  <c:v>42562</c:v>
                </c:pt>
                <c:pt idx="425">
                  <c:v>42563</c:v>
                </c:pt>
                <c:pt idx="426">
                  <c:v>42564</c:v>
                </c:pt>
                <c:pt idx="427">
                  <c:v>42565</c:v>
                </c:pt>
                <c:pt idx="428">
                  <c:v>42566</c:v>
                </c:pt>
                <c:pt idx="429">
                  <c:v>42569</c:v>
                </c:pt>
                <c:pt idx="430">
                  <c:v>42570</c:v>
                </c:pt>
                <c:pt idx="431">
                  <c:v>42571</c:v>
                </c:pt>
                <c:pt idx="432">
                  <c:v>42572</c:v>
                </c:pt>
                <c:pt idx="433">
                  <c:v>42573</c:v>
                </c:pt>
                <c:pt idx="434">
                  <c:v>42576</c:v>
                </c:pt>
                <c:pt idx="435">
                  <c:v>42577</c:v>
                </c:pt>
                <c:pt idx="436">
                  <c:v>42578</c:v>
                </c:pt>
                <c:pt idx="437">
                  <c:v>42579</c:v>
                </c:pt>
                <c:pt idx="438">
                  <c:v>42580</c:v>
                </c:pt>
                <c:pt idx="439">
                  <c:v>42583</c:v>
                </c:pt>
                <c:pt idx="440">
                  <c:v>42584</c:v>
                </c:pt>
                <c:pt idx="441">
                  <c:v>42585</c:v>
                </c:pt>
                <c:pt idx="442">
                  <c:v>42586</c:v>
                </c:pt>
                <c:pt idx="443">
                  <c:v>42587</c:v>
                </c:pt>
                <c:pt idx="444">
                  <c:v>42590</c:v>
                </c:pt>
                <c:pt idx="445">
                  <c:v>42591</c:v>
                </c:pt>
                <c:pt idx="446">
                  <c:v>42592</c:v>
                </c:pt>
                <c:pt idx="447">
                  <c:v>42593</c:v>
                </c:pt>
                <c:pt idx="448">
                  <c:v>42594</c:v>
                </c:pt>
                <c:pt idx="449">
                  <c:v>42597</c:v>
                </c:pt>
                <c:pt idx="450">
                  <c:v>42598</c:v>
                </c:pt>
                <c:pt idx="451">
                  <c:v>42599</c:v>
                </c:pt>
                <c:pt idx="452">
                  <c:v>42600</c:v>
                </c:pt>
                <c:pt idx="453">
                  <c:v>42601</c:v>
                </c:pt>
                <c:pt idx="454">
                  <c:v>42604</c:v>
                </c:pt>
                <c:pt idx="455">
                  <c:v>42605</c:v>
                </c:pt>
                <c:pt idx="456">
                  <c:v>42606</c:v>
                </c:pt>
                <c:pt idx="457">
                  <c:v>42607</c:v>
                </c:pt>
                <c:pt idx="458">
                  <c:v>42608</c:v>
                </c:pt>
                <c:pt idx="459">
                  <c:v>42611</c:v>
                </c:pt>
                <c:pt idx="460">
                  <c:v>42612</c:v>
                </c:pt>
                <c:pt idx="461">
                  <c:v>42613</c:v>
                </c:pt>
                <c:pt idx="462">
                  <c:v>42614</c:v>
                </c:pt>
                <c:pt idx="463">
                  <c:v>42615</c:v>
                </c:pt>
                <c:pt idx="464">
                  <c:v>42618</c:v>
                </c:pt>
                <c:pt idx="465">
                  <c:v>42619</c:v>
                </c:pt>
                <c:pt idx="466">
                  <c:v>42620</c:v>
                </c:pt>
                <c:pt idx="467">
                  <c:v>42621</c:v>
                </c:pt>
                <c:pt idx="468">
                  <c:v>42622</c:v>
                </c:pt>
                <c:pt idx="469">
                  <c:v>42625</c:v>
                </c:pt>
                <c:pt idx="470">
                  <c:v>42626</c:v>
                </c:pt>
                <c:pt idx="471">
                  <c:v>42627</c:v>
                </c:pt>
                <c:pt idx="472">
                  <c:v>42628</c:v>
                </c:pt>
                <c:pt idx="473">
                  <c:v>42629</c:v>
                </c:pt>
                <c:pt idx="474">
                  <c:v>42632</c:v>
                </c:pt>
                <c:pt idx="475">
                  <c:v>42633</c:v>
                </c:pt>
                <c:pt idx="476">
                  <c:v>42634</c:v>
                </c:pt>
                <c:pt idx="477">
                  <c:v>42635</c:v>
                </c:pt>
                <c:pt idx="478">
                  <c:v>42636</c:v>
                </c:pt>
                <c:pt idx="479">
                  <c:v>42639</c:v>
                </c:pt>
                <c:pt idx="480">
                  <c:v>42640</c:v>
                </c:pt>
                <c:pt idx="481">
                  <c:v>42641</c:v>
                </c:pt>
                <c:pt idx="482">
                  <c:v>42642</c:v>
                </c:pt>
                <c:pt idx="483">
                  <c:v>42643</c:v>
                </c:pt>
                <c:pt idx="484">
                  <c:v>42646</c:v>
                </c:pt>
                <c:pt idx="485">
                  <c:v>42647</c:v>
                </c:pt>
                <c:pt idx="486">
                  <c:v>42648</c:v>
                </c:pt>
                <c:pt idx="487">
                  <c:v>42649</c:v>
                </c:pt>
                <c:pt idx="488">
                  <c:v>42650</c:v>
                </c:pt>
                <c:pt idx="489">
                  <c:v>42653</c:v>
                </c:pt>
                <c:pt idx="490">
                  <c:v>42654</c:v>
                </c:pt>
                <c:pt idx="491">
                  <c:v>42655</c:v>
                </c:pt>
                <c:pt idx="492">
                  <c:v>42656</c:v>
                </c:pt>
                <c:pt idx="493">
                  <c:v>42657</c:v>
                </c:pt>
                <c:pt idx="494">
                  <c:v>42660</c:v>
                </c:pt>
                <c:pt idx="495">
                  <c:v>42661</c:v>
                </c:pt>
                <c:pt idx="496">
                  <c:v>42662</c:v>
                </c:pt>
                <c:pt idx="497">
                  <c:v>42663</c:v>
                </c:pt>
                <c:pt idx="498">
                  <c:v>42664</c:v>
                </c:pt>
                <c:pt idx="499">
                  <c:v>42667</c:v>
                </c:pt>
                <c:pt idx="500">
                  <c:v>42668</c:v>
                </c:pt>
                <c:pt idx="501">
                  <c:v>42669</c:v>
                </c:pt>
                <c:pt idx="502">
                  <c:v>42670</c:v>
                </c:pt>
                <c:pt idx="503">
                  <c:v>42671</c:v>
                </c:pt>
                <c:pt idx="504">
                  <c:v>42674</c:v>
                </c:pt>
                <c:pt idx="505">
                  <c:v>42675</c:v>
                </c:pt>
                <c:pt idx="506">
                  <c:v>42676</c:v>
                </c:pt>
                <c:pt idx="507">
                  <c:v>42677</c:v>
                </c:pt>
                <c:pt idx="508">
                  <c:v>42678</c:v>
                </c:pt>
                <c:pt idx="509">
                  <c:v>42681</c:v>
                </c:pt>
                <c:pt idx="510">
                  <c:v>42682</c:v>
                </c:pt>
                <c:pt idx="511">
                  <c:v>42683</c:v>
                </c:pt>
                <c:pt idx="512">
                  <c:v>42684</c:v>
                </c:pt>
                <c:pt idx="513">
                  <c:v>42685</c:v>
                </c:pt>
                <c:pt idx="514">
                  <c:v>42688</c:v>
                </c:pt>
                <c:pt idx="515">
                  <c:v>42689</c:v>
                </c:pt>
                <c:pt idx="516">
                  <c:v>42690</c:v>
                </c:pt>
                <c:pt idx="517">
                  <c:v>42691</c:v>
                </c:pt>
                <c:pt idx="518">
                  <c:v>42692</c:v>
                </c:pt>
                <c:pt idx="519">
                  <c:v>42695</c:v>
                </c:pt>
                <c:pt idx="520">
                  <c:v>42696</c:v>
                </c:pt>
                <c:pt idx="521">
                  <c:v>42697</c:v>
                </c:pt>
                <c:pt idx="522">
                  <c:v>42698</c:v>
                </c:pt>
                <c:pt idx="523">
                  <c:v>42699</c:v>
                </c:pt>
                <c:pt idx="524">
                  <c:v>42702</c:v>
                </c:pt>
                <c:pt idx="525">
                  <c:v>42703</c:v>
                </c:pt>
                <c:pt idx="526">
                  <c:v>42704</c:v>
                </c:pt>
                <c:pt idx="527">
                  <c:v>42705</c:v>
                </c:pt>
                <c:pt idx="528">
                  <c:v>42706</c:v>
                </c:pt>
                <c:pt idx="529">
                  <c:v>42709</c:v>
                </c:pt>
                <c:pt idx="530">
                  <c:v>42710</c:v>
                </c:pt>
                <c:pt idx="531">
                  <c:v>42711</c:v>
                </c:pt>
                <c:pt idx="532">
                  <c:v>42712</c:v>
                </c:pt>
                <c:pt idx="533">
                  <c:v>42713</c:v>
                </c:pt>
                <c:pt idx="534">
                  <c:v>42716</c:v>
                </c:pt>
                <c:pt idx="535">
                  <c:v>42717</c:v>
                </c:pt>
                <c:pt idx="536">
                  <c:v>42718</c:v>
                </c:pt>
                <c:pt idx="537">
                  <c:v>42719</c:v>
                </c:pt>
                <c:pt idx="538">
                  <c:v>42720</c:v>
                </c:pt>
                <c:pt idx="539">
                  <c:v>42723</c:v>
                </c:pt>
                <c:pt idx="540">
                  <c:v>42724</c:v>
                </c:pt>
                <c:pt idx="541">
                  <c:v>42725</c:v>
                </c:pt>
                <c:pt idx="542">
                  <c:v>42726</c:v>
                </c:pt>
                <c:pt idx="543">
                  <c:v>42727</c:v>
                </c:pt>
                <c:pt idx="544">
                  <c:v>42730</c:v>
                </c:pt>
                <c:pt idx="545">
                  <c:v>42731</c:v>
                </c:pt>
                <c:pt idx="546">
                  <c:v>42732</c:v>
                </c:pt>
                <c:pt idx="547">
                  <c:v>42733</c:v>
                </c:pt>
                <c:pt idx="548">
                  <c:v>42734</c:v>
                </c:pt>
                <c:pt idx="549">
                  <c:v>42737</c:v>
                </c:pt>
                <c:pt idx="550">
                  <c:v>42738</c:v>
                </c:pt>
                <c:pt idx="551">
                  <c:v>42739</c:v>
                </c:pt>
                <c:pt idx="552">
                  <c:v>42740</c:v>
                </c:pt>
                <c:pt idx="553">
                  <c:v>42741</c:v>
                </c:pt>
                <c:pt idx="554">
                  <c:v>42744</c:v>
                </c:pt>
                <c:pt idx="555">
                  <c:v>42745</c:v>
                </c:pt>
                <c:pt idx="556">
                  <c:v>42746</c:v>
                </c:pt>
                <c:pt idx="557">
                  <c:v>42747</c:v>
                </c:pt>
                <c:pt idx="558">
                  <c:v>42748</c:v>
                </c:pt>
                <c:pt idx="559">
                  <c:v>42751</c:v>
                </c:pt>
                <c:pt idx="560">
                  <c:v>42752</c:v>
                </c:pt>
                <c:pt idx="561">
                  <c:v>42753</c:v>
                </c:pt>
                <c:pt idx="562">
                  <c:v>42754</c:v>
                </c:pt>
                <c:pt idx="563">
                  <c:v>42755</c:v>
                </c:pt>
                <c:pt idx="564">
                  <c:v>42758</c:v>
                </c:pt>
                <c:pt idx="565">
                  <c:v>42759</c:v>
                </c:pt>
                <c:pt idx="566">
                  <c:v>42760</c:v>
                </c:pt>
                <c:pt idx="567">
                  <c:v>42761</c:v>
                </c:pt>
                <c:pt idx="568">
                  <c:v>42762</c:v>
                </c:pt>
                <c:pt idx="569">
                  <c:v>42765</c:v>
                </c:pt>
                <c:pt idx="570">
                  <c:v>42766</c:v>
                </c:pt>
                <c:pt idx="571">
                  <c:v>42767</c:v>
                </c:pt>
                <c:pt idx="572">
                  <c:v>42768</c:v>
                </c:pt>
                <c:pt idx="573">
                  <c:v>42769</c:v>
                </c:pt>
                <c:pt idx="574">
                  <c:v>42772</c:v>
                </c:pt>
                <c:pt idx="575">
                  <c:v>42773</c:v>
                </c:pt>
                <c:pt idx="576">
                  <c:v>42774</c:v>
                </c:pt>
                <c:pt idx="577">
                  <c:v>42775</c:v>
                </c:pt>
                <c:pt idx="578">
                  <c:v>42776</c:v>
                </c:pt>
                <c:pt idx="579">
                  <c:v>42779</c:v>
                </c:pt>
                <c:pt idx="580">
                  <c:v>42780</c:v>
                </c:pt>
                <c:pt idx="581">
                  <c:v>42781</c:v>
                </c:pt>
                <c:pt idx="582">
                  <c:v>42782</c:v>
                </c:pt>
                <c:pt idx="583">
                  <c:v>42783</c:v>
                </c:pt>
                <c:pt idx="584">
                  <c:v>42786</c:v>
                </c:pt>
                <c:pt idx="585">
                  <c:v>42787</c:v>
                </c:pt>
                <c:pt idx="586">
                  <c:v>42788</c:v>
                </c:pt>
                <c:pt idx="587">
                  <c:v>42789</c:v>
                </c:pt>
                <c:pt idx="588">
                  <c:v>42790</c:v>
                </c:pt>
                <c:pt idx="589">
                  <c:v>42793</c:v>
                </c:pt>
                <c:pt idx="590">
                  <c:v>42794</c:v>
                </c:pt>
                <c:pt idx="591">
                  <c:v>42795</c:v>
                </c:pt>
                <c:pt idx="592">
                  <c:v>42796</c:v>
                </c:pt>
                <c:pt idx="593">
                  <c:v>42797</c:v>
                </c:pt>
                <c:pt idx="594">
                  <c:v>42800</c:v>
                </c:pt>
                <c:pt idx="595">
                  <c:v>42801</c:v>
                </c:pt>
                <c:pt idx="596">
                  <c:v>42802</c:v>
                </c:pt>
                <c:pt idx="597">
                  <c:v>42803</c:v>
                </c:pt>
                <c:pt idx="598">
                  <c:v>42804</c:v>
                </c:pt>
                <c:pt idx="599">
                  <c:v>42807</c:v>
                </c:pt>
                <c:pt idx="600">
                  <c:v>42808</c:v>
                </c:pt>
                <c:pt idx="601">
                  <c:v>42809</c:v>
                </c:pt>
                <c:pt idx="602">
                  <c:v>42810</c:v>
                </c:pt>
                <c:pt idx="603">
                  <c:v>42811</c:v>
                </c:pt>
                <c:pt idx="604">
                  <c:v>42814</c:v>
                </c:pt>
                <c:pt idx="605">
                  <c:v>42815</c:v>
                </c:pt>
                <c:pt idx="606">
                  <c:v>42816</c:v>
                </c:pt>
                <c:pt idx="607">
                  <c:v>42817</c:v>
                </c:pt>
                <c:pt idx="608">
                  <c:v>42818</c:v>
                </c:pt>
                <c:pt idx="609">
                  <c:v>42821</c:v>
                </c:pt>
                <c:pt idx="610">
                  <c:v>42822</c:v>
                </c:pt>
                <c:pt idx="611">
                  <c:v>42823</c:v>
                </c:pt>
                <c:pt idx="612">
                  <c:v>42824</c:v>
                </c:pt>
                <c:pt idx="613">
                  <c:v>42825</c:v>
                </c:pt>
                <c:pt idx="614">
                  <c:v>42828</c:v>
                </c:pt>
                <c:pt idx="615">
                  <c:v>42829</c:v>
                </c:pt>
                <c:pt idx="616">
                  <c:v>42830</c:v>
                </c:pt>
                <c:pt idx="617">
                  <c:v>42831</c:v>
                </c:pt>
                <c:pt idx="618">
                  <c:v>42832</c:v>
                </c:pt>
                <c:pt idx="619">
                  <c:v>42835</c:v>
                </c:pt>
                <c:pt idx="620">
                  <c:v>42836</c:v>
                </c:pt>
                <c:pt idx="621">
                  <c:v>42837</c:v>
                </c:pt>
                <c:pt idx="622">
                  <c:v>42838</c:v>
                </c:pt>
                <c:pt idx="623">
                  <c:v>42839</c:v>
                </c:pt>
                <c:pt idx="624">
                  <c:v>42842</c:v>
                </c:pt>
                <c:pt idx="625">
                  <c:v>42843</c:v>
                </c:pt>
                <c:pt idx="626">
                  <c:v>42844</c:v>
                </c:pt>
                <c:pt idx="627">
                  <c:v>42845</c:v>
                </c:pt>
                <c:pt idx="628">
                  <c:v>42846</c:v>
                </c:pt>
                <c:pt idx="629">
                  <c:v>42849</c:v>
                </c:pt>
                <c:pt idx="630">
                  <c:v>42850</c:v>
                </c:pt>
                <c:pt idx="631">
                  <c:v>42851</c:v>
                </c:pt>
                <c:pt idx="632">
                  <c:v>42852</c:v>
                </c:pt>
                <c:pt idx="633">
                  <c:v>42853</c:v>
                </c:pt>
                <c:pt idx="634">
                  <c:v>42856</c:v>
                </c:pt>
                <c:pt idx="635">
                  <c:v>42857</c:v>
                </c:pt>
                <c:pt idx="636">
                  <c:v>42858</c:v>
                </c:pt>
                <c:pt idx="637">
                  <c:v>42859</c:v>
                </c:pt>
                <c:pt idx="638">
                  <c:v>42860</c:v>
                </c:pt>
                <c:pt idx="639">
                  <c:v>42863</c:v>
                </c:pt>
                <c:pt idx="640">
                  <c:v>42864</c:v>
                </c:pt>
                <c:pt idx="641">
                  <c:v>42865</c:v>
                </c:pt>
                <c:pt idx="642">
                  <c:v>42866</c:v>
                </c:pt>
                <c:pt idx="643">
                  <c:v>42867</c:v>
                </c:pt>
                <c:pt idx="644">
                  <c:v>42870</c:v>
                </c:pt>
                <c:pt idx="645">
                  <c:v>42871</c:v>
                </c:pt>
                <c:pt idx="646">
                  <c:v>42872</c:v>
                </c:pt>
                <c:pt idx="647">
                  <c:v>42873</c:v>
                </c:pt>
                <c:pt idx="648">
                  <c:v>42874</c:v>
                </c:pt>
                <c:pt idx="649">
                  <c:v>42877</c:v>
                </c:pt>
                <c:pt idx="650">
                  <c:v>42878</c:v>
                </c:pt>
                <c:pt idx="651">
                  <c:v>42879</c:v>
                </c:pt>
                <c:pt idx="652">
                  <c:v>42880</c:v>
                </c:pt>
                <c:pt idx="653">
                  <c:v>42881</c:v>
                </c:pt>
                <c:pt idx="654">
                  <c:v>42884</c:v>
                </c:pt>
                <c:pt idx="655">
                  <c:v>42885</c:v>
                </c:pt>
                <c:pt idx="656">
                  <c:v>42886</c:v>
                </c:pt>
                <c:pt idx="657">
                  <c:v>42887</c:v>
                </c:pt>
                <c:pt idx="658">
                  <c:v>42888</c:v>
                </c:pt>
                <c:pt idx="659">
                  <c:v>42891</c:v>
                </c:pt>
                <c:pt idx="660">
                  <c:v>42892</c:v>
                </c:pt>
                <c:pt idx="661">
                  <c:v>42893</c:v>
                </c:pt>
                <c:pt idx="662">
                  <c:v>42894</c:v>
                </c:pt>
                <c:pt idx="663">
                  <c:v>42895</c:v>
                </c:pt>
                <c:pt idx="664">
                  <c:v>42898</c:v>
                </c:pt>
                <c:pt idx="665">
                  <c:v>42899</c:v>
                </c:pt>
                <c:pt idx="666">
                  <c:v>42900</c:v>
                </c:pt>
                <c:pt idx="667">
                  <c:v>42901</c:v>
                </c:pt>
                <c:pt idx="668">
                  <c:v>42902</c:v>
                </c:pt>
                <c:pt idx="669">
                  <c:v>42905</c:v>
                </c:pt>
                <c:pt idx="670">
                  <c:v>42906</c:v>
                </c:pt>
                <c:pt idx="671">
                  <c:v>42907</c:v>
                </c:pt>
                <c:pt idx="672">
                  <c:v>42908</c:v>
                </c:pt>
                <c:pt idx="673">
                  <c:v>42909</c:v>
                </c:pt>
                <c:pt idx="674">
                  <c:v>42912</c:v>
                </c:pt>
                <c:pt idx="675">
                  <c:v>42913</c:v>
                </c:pt>
                <c:pt idx="676">
                  <c:v>42914</c:v>
                </c:pt>
                <c:pt idx="677">
                  <c:v>42915</c:v>
                </c:pt>
                <c:pt idx="678">
                  <c:v>42916</c:v>
                </c:pt>
                <c:pt idx="679">
                  <c:v>42919</c:v>
                </c:pt>
                <c:pt idx="680">
                  <c:v>42920</c:v>
                </c:pt>
                <c:pt idx="681">
                  <c:v>42921</c:v>
                </c:pt>
                <c:pt idx="682">
                  <c:v>42922</c:v>
                </c:pt>
                <c:pt idx="683">
                  <c:v>42923</c:v>
                </c:pt>
                <c:pt idx="684">
                  <c:v>42926</c:v>
                </c:pt>
                <c:pt idx="685">
                  <c:v>42927</c:v>
                </c:pt>
                <c:pt idx="686">
                  <c:v>42928</c:v>
                </c:pt>
                <c:pt idx="687">
                  <c:v>42929</c:v>
                </c:pt>
                <c:pt idx="688">
                  <c:v>42930</c:v>
                </c:pt>
                <c:pt idx="689">
                  <c:v>42933</c:v>
                </c:pt>
                <c:pt idx="690">
                  <c:v>42934</c:v>
                </c:pt>
                <c:pt idx="691">
                  <c:v>42935</c:v>
                </c:pt>
                <c:pt idx="692">
                  <c:v>42936</c:v>
                </c:pt>
                <c:pt idx="693">
                  <c:v>42937</c:v>
                </c:pt>
                <c:pt idx="694">
                  <c:v>42940</c:v>
                </c:pt>
                <c:pt idx="695">
                  <c:v>42941</c:v>
                </c:pt>
                <c:pt idx="696">
                  <c:v>42942</c:v>
                </c:pt>
                <c:pt idx="697">
                  <c:v>42943</c:v>
                </c:pt>
                <c:pt idx="698">
                  <c:v>42944</c:v>
                </c:pt>
                <c:pt idx="699">
                  <c:v>42947</c:v>
                </c:pt>
                <c:pt idx="700">
                  <c:v>42948</c:v>
                </c:pt>
                <c:pt idx="701">
                  <c:v>42949</c:v>
                </c:pt>
                <c:pt idx="702">
                  <c:v>42950</c:v>
                </c:pt>
                <c:pt idx="703">
                  <c:v>42951</c:v>
                </c:pt>
                <c:pt idx="704">
                  <c:v>42954</c:v>
                </c:pt>
                <c:pt idx="705">
                  <c:v>42955</c:v>
                </c:pt>
                <c:pt idx="706">
                  <c:v>42956</c:v>
                </c:pt>
                <c:pt idx="707">
                  <c:v>42957</c:v>
                </c:pt>
                <c:pt idx="708">
                  <c:v>42958</c:v>
                </c:pt>
                <c:pt idx="709">
                  <c:v>42961</c:v>
                </c:pt>
                <c:pt idx="710">
                  <c:v>42962</c:v>
                </c:pt>
                <c:pt idx="711">
                  <c:v>42963</c:v>
                </c:pt>
                <c:pt idx="712">
                  <c:v>42964</c:v>
                </c:pt>
                <c:pt idx="713">
                  <c:v>42965</c:v>
                </c:pt>
                <c:pt idx="714">
                  <c:v>42968</c:v>
                </c:pt>
                <c:pt idx="715">
                  <c:v>42969</c:v>
                </c:pt>
                <c:pt idx="716">
                  <c:v>42970</c:v>
                </c:pt>
                <c:pt idx="717">
                  <c:v>42971</c:v>
                </c:pt>
                <c:pt idx="718">
                  <c:v>42972</c:v>
                </c:pt>
                <c:pt idx="719">
                  <c:v>42975</c:v>
                </c:pt>
                <c:pt idx="720">
                  <c:v>42976</c:v>
                </c:pt>
                <c:pt idx="721">
                  <c:v>42977</c:v>
                </c:pt>
                <c:pt idx="722">
                  <c:v>42978</c:v>
                </c:pt>
                <c:pt idx="723">
                  <c:v>42979</c:v>
                </c:pt>
                <c:pt idx="724">
                  <c:v>42982</c:v>
                </c:pt>
                <c:pt idx="725">
                  <c:v>42983</c:v>
                </c:pt>
                <c:pt idx="726">
                  <c:v>42984</c:v>
                </c:pt>
                <c:pt idx="727">
                  <c:v>42985</c:v>
                </c:pt>
                <c:pt idx="728">
                  <c:v>42986</c:v>
                </c:pt>
                <c:pt idx="729">
                  <c:v>42989</c:v>
                </c:pt>
                <c:pt idx="730">
                  <c:v>42990</c:v>
                </c:pt>
                <c:pt idx="731">
                  <c:v>42991</c:v>
                </c:pt>
                <c:pt idx="732">
                  <c:v>42992</c:v>
                </c:pt>
                <c:pt idx="733">
                  <c:v>42993</c:v>
                </c:pt>
                <c:pt idx="734">
                  <c:v>42996</c:v>
                </c:pt>
                <c:pt idx="735">
                  <c:v>42997</c:v>
                </c:pt>
                <c:pt idx="736">
                  <c:v>42998</c:v>
                </c:pt>
                <c:pt idx="737">
                  <c:v>42999</c:v>
                </c:pt>
                <c:pt idx="738">
                  <c:v>43000</c:v>
                </c:pt>
                <c:pt idx="739">
                  <c:v>43003</c:v>
                </c:pt>
                <c:pt idx="740">
                  <c:v>43004</c:v>
                </c:pt>
                <c:pt idx="741">
                  <c:v>43005</c:v>
                </c:pt>
                <c:pt idx="742">
                  <c:v>43006</c:v>
                </c:pt>
                <c:pt idx="743">
                  <c:v>43007</c:v>
                </c:pt>
                <c:pt idx="744">
                  <c:v>43010</c:v>
                </c:pt>
                <c:pt idx="745">
                  <c:v>43011</c:v>
                </c:pt>
                <c:pt idx="746">
                  <c:v>43012</c:v>
                </c:pt>
                <c:pt idx="747">
                  <c:v>43013</c:v>
                </c:pt>
                <c:pt idx="748">
                  <c:v>43014</c:v>
                </c:pt>
                <c:pt idx="749">
                  <c:v>43017</c:v>
                </c:pt>
                <c:pt idx="750">
                  <c:v>43018</c:v>
                </c:pt>
                <c:pt idx="751">
                  <c:v>43019</c:v>
                </c:pt>
                <c:pt idx="752">
                  <c:v>43020</c:v>
                </c:pt>
                <c:pt idx="753">
                  <c:v>43021</c:v>
                </c:pt>
                <c:pt idx="754">
                  <c:v>43024</c:v>
                </c:pt>
                <c:pt idx="755">
                  <c:v>43025</c:v>
                </c:pt>
                <c:pt idx="756">
                  <c:v>43026</c:v>
                </c:pt>
                <c:pt idx="757">
                  <c:v>43027</c:v>
                </c:pt>
                <c:pt idx="758">
                  <c:v>43028</c:v>
                </c:pt>
                <c:pt idx="759">
                  <c:v>43031</c:v>
                </c:pt>
                <c:pt idx="760">
                  <c:v>43032</c:v>
                </c:pt>
                <c:pt idx="761">
                  <c:v>43033</c:v>
                </c:pt>
                <c:pt idx="762">
                  <c:v>43034</c:v>
                </c:pt>
                <c:pt idx="763">
                  <c:v>43035</c:v>
                </c:pt>
                <c:pt idx="764">
                  <c:v>43038</c:v>
                </c:pt>
                <c:pt idx="765">
                  <c:v>43039</c:v>
                </c:pt>
                <c:pt idx="766">
                  <c:v>43040</c:v>
                </c:pt>
                <c:pt idx="767">
                  <c:v>43041</c:v>
                </c:pt>
                <c:pt idx="768">
                  <c:v>43042</c:v>
                </c:pt>
                <c:pt idx="769">
                  <c:v>43045</c:v>
                </c:pt>
                <c:pt idx="770">
                  <c:v>43046</c:v>
                </c:pt>
                <c:pt idx="771">
                  <c:v>43047</c:v>
                </c:pt>
                <c:pt idx="772">
                  <c:v>43048</c:v>
                </c:pt>
                <c:pt idx="773">
                  <c:v>43049</c:v>
                </c:pt>
                <c:pt idx="774">
                  <c:v>43052</c:v>
                </c:pt>
                <c:pt idx="775">
                  <c:v>43053</c:v>
                </c:pt>
                <c:pt idx="776">
                  <c:v>43054</c:v>
                </c:pt>
                <c:pt idx="777">
                  <c:v>43055</c:v>
                </c:pt>
                <c:pt idx="778">
                  <c:v>43056</c:v>
                </c:pt>
                <c:pt idx="779">
                  <c:v>43059</c:v>
                </c:pt>
                <c:pt idx="780">
                  <c:v>43060</c:v>
                </c:pt>
                <c:pt idx="781">
                  <c:v>43061</c:v>
                </c:pt>
                <c:pt idx="782">
                  <c:v>43062</c:v>
                </c:pt>
                <c:pt idx="783">
                  <c:v>43063</c:v>
                </c:pt>
                <c:pt idx="784">
                  <c:v>43066</c:v>
                </c:pt>
                <c:pt idx="785">
                  <c:v>43067</c:v>
                </c:pt>
                <c:pt idx="786">
                  <c:v>43068</c:v>
                </c:pt>
                <c:pt idx="787">
                  <c:v>43069</c:v>
                </c:pt>
                <c:pt idx="788">
                  <c:v>43070</c:v>
                </c:pt>
                <c:pt idx="789">
                  <c:v>43073</c:v>
                </c:pt>
                <c:pt idx="790">
                  <c:v>43074</c:v>
                </c:pt>
                <c:pt idx="791">
                  <c:v>43075</c:v>
                </c:pt>
                <c:pt idx="792">
                  <c:v>43076</c:v>
                </c:pt>
                <c:pt idx="793">
                  <c:v>43077</c:v>
                </c:pt>
                <c:pt idx="794">
                  <c:v>43080</c:v>
                </c:pt>
                <c:pt idx="795">
                  <c:v>43081</c:v>
                </c:pt>
                <c:pt idx="796">
                  <c:v>43082</c:v>
                </c:pt>
                <c:pt idx="797">
                  <c:v>43083</c:v>
                </c:pt>
                <c:pt idx="798">
                  <c:v>43084</c:v>
                </c:pt>
                <c:pt idx="799">
                  <c:v>43087</c:v>
                </c:pt>
                <c:pt idx="800">
                  <c:v>43088</c:v>
                </c:pt>
                <c:pt idx="801">
                  <c:v>43089</c:v>
                </c:pt>
                <c:pt idx="802">
                  <c:v>43090</c:v>
                </c:pt>
                <c:pt idx="803">
                  <c:v>43091</c:v>
                </c:pt>
                <c:pt idx="804">
                  <c:v>43094</c:v>
                </c:pt>
                <c:pt idx="805">
                  <c:v>43095</c:v>
                </c:pt>
                <c:pt idx="806">
                  <c:v>43096</c:v>
                </c:pt>
                <c:pt idx="807">
                  <c:v>43097</c:v>
                </c:pt>
                <c:pt idx="808">
                  <c:v>43098</c:v>
                </c:pt>
                <c:pt idx="809">
                  <c:v>43101</c:v>
                </c:pt>
                <c:pt idx="810">
                  <c:v>43102</c:v>
                </c:pt>
                <c:pt idx="811">
                  <c:v>43103</c:v>
                </c:pt>
                <c:pt idx="812">
                  <c:v>43104</c:v>
                </c:pt>
                <c:pt idx="813">
                  <c:v>43105</c:v>
                </c:pt>
                <c:pt idx="814">
                  <c:v>43108</c:v>
                </c:pt>
                <c:pt idx="815">
                  <c:v>43109</c:v>
                </c:pt>
                <c:pt idx="816">
                  <c:v>43110</c:v>
                </c:pt>
                <c:pt idx="817">
                  <c:v>43111</c:v>
                </c:pt>
                <c:pt idx="818">
                  <c:v>43112</c:v>
                </c:pt>
                <c:pt idx="819">
                  <c:v>43115</c:v>
                </c:pt>
                <c:pt idx="820">
                  <c:v>43116</c:v>
                </c:pt>
                <c:pt idx="821">
                  <c:v>43117</c:v>
                </c:pt>
                <c:pt idx="822">
                  <c:v>43118</c:v>
                </c:pt>
                <c:pt idx="823">
                  <c:v>43119</c:v>
                </c:pt>
                <c:pt idx="824">
                  <c:v>43122</c:v>
                </c:pt>
                <c:pt idx="825">
                  <c:v>43123</c:v>
                </c:pt>
                <c:pt idx="826">
                  <c:v>43124</c:v>
                </c:pt>
                <c:pt idx="827">
                  <c:v>43125</c:v>
                </c:pt>
                <c:pt idx="828">
                  <c:v>43126</c:v>
                </c:pt>
                <c:pt idx="829">
                  <c:v>43129</c:v>
                </c:pt>
                <c:pt idx="830">
                  <c:v>43130</c:v>
                </c:pt>
                <c:pt idx="831">
                  <c:v>43131</c:v>
                </c:pt>
                <c:pt idx="832">
                  <c:v>43132</c:v>
                </c:pt>
                <c:pt idx="833">
                  <c:v>43133</c:v>
                </c:pt>
                <c:pt idx="834">
                  <c:v>43136</c:v>
                </c:pt>
                <c:pt idx="835">
                  <c:v>43137</c:v>
                </c:pt>
                <c:pt idx="836">
                  <c:v>43138</c:v>
                </c:pt>
                <c:pt idx="837">
                  <c:v>43139</c:v>
                </c:pt>
                <c:pt idx="838">
                  <c:v>43140</c:v>
                </c:pt>
                <c:pt idx="839">
                  <c:v>43143</c:v>
                </c:pt>
                <c:pt idx="840">
                  <c:v>43144</c:v>
                </c:pt>
                <c:pt idx="841">
                  <c:v>43145</c:v>
                </c:pt>
                <c:pt idx="842">
                  <c:v>43146</c:v>
                </c:pt>
                <c:pt idx="843">
                  <c:v>43147</c:v>
                </c:pt>
                <c:pt idx="844">
                  <c:v>43150</c:v>
                </c:pt>
                <c:pt idx="845">
                  <c:v>43151</c:v>
                </c:pt>
                <c:pt idx="846">
                  <c:v>43152</c:v>
                </c:pt>
                <c:pt idx="847">
                  <c:v>43153</c:v>
                </c:pt>
                <c:pt idx="848">
                  <c:v>43154</c:v>
                </c:pt>
                <c:pt idx="849">
                  <c:v>43157</c:v>
                </c:pt>
                <c:pt idx="850">
                  <c:v>43158</c:v>
                </c:pt>
                <c:pt idx="851">
                  <c:v>43159</c:v>
                </c:pt>
                <c:pt idx="852">
                  <c:v>43160</c:v>
                </c:pt>
                <c:pt idx="853">
                  <c:v>43161</c:v>
                </c:pt>
                <c:pt idx="854">
                  <c:v>43164</c:v>
                </c:pt>
                <c:pt idx="855">
                  <c:v>43165</c:v>
                </c:pt>
                <c:pt idx="856">
                  <c:v>43166</c:v>
                </c:pt>
                <c:pt idx="857">
                  <c:v>43167</c:v>
                </c:pt>
                <c:pt idx="858">
                  <c:v>43168</c:v>
                </c:pt>
                <c:pt idx="859">
                  <c:v>43171</c:v>
                </c:pt>
                <c:pt idx="860">
                  <c:v>43172</c:v>
                </c:pt>
                <c:pt idx="861">
                  <c:v>43173</c:v>
                </c:pt>
                <c:pt idx="862">
                  <c:v>43174</c:v>
                </c:pt>
                <c:pt idx="863">
                  <c:v>43175</c:v>
                </c:pt>
                <c:pt idx="864">
                  <c:v>43178</c:v>
                </c:pt>
                <c:pt idx="865">
                  <c:v>43179</c:v>
                </c:pt>
                <c:pt idx="866">
                  <c:v>43180</c:v>
                </c:pt>
                <c:pt idx="867">
                  <c:v>43181</c:v>
                </c:pt>
                <c:pt idx="868">
                  <c:v>43182</c:v>
                </c:pt>
                <c:pt idx="869">
                  <c:v>43185</c:v>
                </c:pt>
                <c:pt idx="870">
                  <c:v>43186</c:v>
                </c:pt>
                <c:pt idx="871">
                  <c:v>43187</c:v>
                </c:pt>
                <c:pt idx="872">
                  <c:v>43188</c:v>
                </c:pt>
                <c:pt idx="873">
                  <c:v>43189</c:v>
                </c:pt>
                <c:pt idx="874">
                  <c:v>43192</c:v>
                </c:pt>
                <c:pt idx="875">
                  <c:v>43193</c:v>
                </c:pt>
                <c:pt idx="876">
                  <c:v>43194</c:v>
                </c:pt>
                <c:pt idx="877">
                  <c:v>43195</c:v>
                </c:pt>
                <c:pt idx="878">
                  <c:v>43196</c:v>
                </c:pt>
                <c:pt idx="879">
                  <c:v>43199</c:v>
                </c:pt>
                <c:pt idx="880">
                  <c:v>43200</c:v>
                </c:pt>
                <c:pt idx="881">
                  <c:v>43201</c:v>
                </c:pt>
                <c:pt idx="882">
                  <c:v>43202</c:v>
                </c:pt>
                <c:pt idx="883">
                  <c:v>43203</c:v>
                </c:pt>
                <c:pt idx="884">
                  <c:v>43206</c:v>
                </c:pt>
                <c:pt idx="885">
                  <c:v>43207</c:v>
                </c:pt>
                <c:pt idx="886">
                  <c:v>43208</c:v>
                </c:pt>
                <c:pt idx="887">
                  <c:v>43209</c:v>
                </c:pt>
                <c:pt idx="888">
                  <c:v>43210</c:v>
                </c:pt>
                <c:pt idx="889">
                  <c:v>43213</c:v>
                </c:pt>
                <c:pt idx="890">
                  <c:v>43214</c:v>
                </c:pt>
                <c:pt idx="891">
                  <c:v>43215</c:v>
                </c:pt>
                <c:pt idx="892">
                  <c:v>43216</c:v>
                </c:pt>
                <c:pt idx="893">
                  <c:v>43217</c:v>
                </c:pt>
                <c:pt idx="894">
                  <c:v>43220</c:v>
                </c:pt>
                <c:pt idx="895">
                  <c:v>43221</c:v>
                </c:pt>
                <c:pt idx="896">
                  <c:v>43222</c:v>
                </c:pt>
                <c:pt idx="897">
                  <c:v>43223</c:v>
                </c:pt>
                <c:pt idx="898">
                  <c:v>43224</c:v>
                </c:pt>
                <c:pt idx="899">
                  <c:v>43227</c:v>
                </c:pt>
                <c:pt idx="900">
                  <c:v>43228</c:v>
                </c:pt>
                <c:pt idx="901">
                  <c:v>43229</c:v>
                </c:pt>
                <c:pt idx="902">
                  <c:v>43230</c:v>
                </c:pt>
                <c:pt idx="903">
                  <c:v>43231</c:v>
                </c:pt>
                <c:pt idx="904">
                  <c:v>43234</c:v>
                </c:pt>
                <c:pt idx="905">
                  <c:v>43235</c:v>
                </c:pt>
                <c:pt idx="906">
                  <c:v>43236</c:v>
                </c:pt>
                <c:pt idx="907">
                  <c:v>43237</c:v>
                </c:pt>
                <c:pt idx="908">
                  <c:v>43238</c:v>
                </c:pt>
                <c:pt idx="909">
                  <c:v>43241</c:v>
                </c:pt>
                <c:pt idx="910">
                  <c:v>43242</c:v>
                </c:pt>
                <c:pt idx="911">
                  <c:v>43243</c:v>
                </c:pt>
                <c:pt idx="912">
                  <c:v>43244</c:v>
                </c:pt>
                <c:pt idx="913">
                  <c:v>43245</c:v>
                </c:pt>
                <c:pt idx="914">
                  <c:v>43248</c:v>
                </c:pt>
                <c:pt idx="915">
                  <c:v>43249</c:v>
                </c:pt>
                <c:pt idx="916">
                  <c:v>43250</c:v>
                </c:pt>
                <c:pt idx="917">
                  <c:v>43251</c:v>
                </c:pt>
                <c:pt idx="918">
                  <c:v>43252</c:v>
                </c:pt>
                <c:pt idx="919">
                  <c:v>43255</c:v>
                </c:pt>
                <c:pt idx="920">
                  <c:v>43256</c:v>
                </c:pt>
                <c:pt idx="921">
                  <c:v>43257</c:v>
                </c:pt>
                <c:pt idx="922">
                  <c:v>43258</c:v>
                </c:pt>
                <c:pt idx="923">
                  <c:v>43259</c:v>
                </c:pt>
                <c:pt idx="924">
                  <c:v>43262</c:v>
                </c:pt>
                <c:pt idx="925">
                  <c:v>43263</c:v>
                </c:pt>
                <c:pt idx="926">
                  <c:v>43264</c:v>
                </c:pt>
                <c:pt idx="927">
                  <c:v>43265</c:v>
                </c:pt>
                <c:pt idx="928">
                  <c:v>43266</c:v>
                </c:pt>
                <c:pt idx="929">
                  <c:v>43269</c:v>
                </c:pt>
                <c:pt idx="930">
                  <c:v>43270</c:v>
                </c:pt>
                <c:pt idx="931">
                  <c:v>43271</c:v>
                </c:pt>
                <c:pt idx="932">
                  <c:v>43272</c:v>
                </c:pt>
                <c:pt idx="933">
                  <c:v>43273</c:v>
                </c:pt>
                <c:pt idx="934">
                  <c:v>43276</c:v>
                </c:pt>
                <c:pt idx="935">
                  <c:v>43277</c:v>
                </c:pt>
                <c:pt idx="936">
                  <c:v>43278</c:v>
                </c:pt>
                <c:pt idx="937">
                  <c:v>43279</c:v>
                </c:pt>
                <c:pt idx="938">
                  <c:v>43280</c:v>
                </c:pt>
                <c:pt idx="939">
                  <c:v>43283</c:v>
                </c:pt>
                <c:pt idx="940">
                  <c:v>43284</c:v>
                </c:pt>
                <c:pt idx="941">
                  <c:v>43285</c:v>
                </c:pt>
                <c:pt idx="942">
                  <c:v>43286</c:v>
                </c:pt>
                <c:pt idx="943">
                  <c:v>43287</c:v>
                </c:pt>
                <c:pt idx="944">
                  <c:v>43290</c:v>
                </c:pt>
                <c:pt idx="945">
                  <c:v>43291</c:v>
                </c:pt>
                <c:pt idx="946">
                  <c:v>43292</c:v>
                </c:pt>
                <c:pt idx="947">
                  <c:v>43293</c:v>
                </c:pt>
                <c:pt idx="948">
                  <c:v>43294</c:v>
                </c:pt>
                <c:pt idx="949">
                  <c:v>43297</c:v>
                </c:pt>
                <c:pt idx="950">
                  <c:v>43298</c:v>
                </c:pt>
                <c:pt idx="951">
                  <c:v>43299</c:v>
                </c:pt>
                <c:pt idx="952">
                  <c:v>43300</c:v>
                </c:pt>
                <c:pt idx="953">
                  <c:v>43301</c:v>
                </c:pt>
                <c:pt idx="954">
                  <c:v>43304</c:v>
                </c:pt>
                <c:pt idx="955">
                  <c:v>43305</c:v>
                </c:pt>
                <c:pt idx="956">
                  <c:v>43306</c:v>
                </c:pt>
                <c:pt idx="957">
                  <c:v>43307</c:v>
                </c:pt>
                <c:pt idx="958">
                  <c:v>43308</c:v>
                </c:pt>
                <c:pt idx="959">
                  <c:v>43311</c:v>
                </c:pt>
                <c:pt idx="960">
                  <c:v>43312</c:v>
                </c:pt>
                <c:pt idx="961">
                  <c:v>43313</c:v>
                </c:pt>
                <c:pt idx="962">
                  <c:v>43314</c:v>
                </c:pt>
                <c:pt idx="963">
                  <c:v>43315</c:v>
                </c:pt>
                <c:pt idx="964">
                  <c:v>43318</c:v>
                </c:pt>
                <c:pt idx="965">
                  <c:v>43319</c:v>
                </c:pt>
                <c:pt idx="966">
                  <c:v>43320</c:v>
                </c:pt>
                <c:pt idx="967">
                  <c:v>43321</c:v>
                </c:pt>
                <c:pt idx="968">
                  <c:v>43322</c:v>
                </c:pt>
                <c:pt idx="969">
                  <c:v>43325</c:v>
                </c:pt>
                <c:pt idx="970">
                  <c:v>43326</c:v>
                </c:pt>
                <c:pt idx="971">
                  <c:v>43327</c:v>
                </c:pt>
                <c:pt idx="972">
                  <c:v>43328</c:v>
                </c:pt>
                <c:pt idx="973">
                  <c:v>43329</c:v>
                </c:pt>
                <c:pt idx="974">
                  <c:v>43332</c:v>
                </c:pt>
                <c:pt idx="975">
                  <c:v>43333</c:v>
                </c:pt>
                <c:pt idx="976">
                  <c:v>43334</c:v>
                </c:pt>
                <c:pt idx="977">
                  <c:v>43335</c:v>
                </c:pt>
                <c:pt idx="978">
                  <c:v>43336</c:v>
                </c:pt>
                <c:pt idx="979">
                  <c:v>43339</c:v>
                </c:pt>
                <c:pt idx="980">
                  <c:v>43340</c:v>
                </c:pt>
                <c:pt idx="981">
                  <c:v>43341</c:v>
                </c:pt>
                <c:pt idx="982">
                  <c:v>43342</c:v>
                </c:pt>
                <c:pt idx="983">
                  <c:v>43343</c:v>
                </c:pt>
                <c:pt idx="984">
                  <c:v>43346</c:v>
                </c:pt>
                <c:pt idx="985">
                  <c:v>43347</c:v>
                </c:pt>
                <c:pt idx="986">
                  <c:v>43348</c:v>
                </c:pt>
                <c:pt idx="987">
                  <c:v>43349</c:v>
                </c:pt>
                <c:pt idx="988">
                  <c:v>43350</c:v>
                </c:pt>
                <c:pt idx="989">
                  <c:v>43353</c:v>
                </c:pt>
                <c:pt idx="990">
                  <c:v>43354</c:v>
                </c:pt>
                <c:pt idx="991">
                  <c:v>43355</c:v>
                </c:pt>
                <c:pt idx="992">
                  <c:v>43356</c:v>
                </c:pt>
                <c:pt idx="993">
                  <c:v>43357</c:v>
                </c:pt>
                <c:pt idx="994">
                  <c:v>43360</c:v>
                </c:pt>
                <c:pt idx="995">
                  <c:v>43361</c:v>
                </c:pt>
                <c:pt idx="996">
                  <c:v>43362</c:v>
                </c:pt>
                <c:pt idx="997">
                  <c:v>43363</c:v>
                </c:pt>
                <c:pt idx="998">
                  <c:v>43364</c:v>
                </c:pt>
                <c:pt idx="999">
                  <c:v>43367</c:v>
                </c:pt>
                <c:pt idx="1000">
                  <c:v>43368</c:v>
                </c:pt>
                <c:pt idx="1001">
                  <c:v>43369</c:v>
                </c:pt>
                <c:pt idx="1002">
                  <c:v>43370</c:v>
                </c:pt>
                <c:pt idx="1003">
                  <c:v>43371</c:v>
                </c:pt>
                <c:pt idx="1004">
                  <c:v>43374</c:v>
                </c:pt>
                <c:pt idx="1005">
                  <c:v>43375</c:v>
                </c:pt>
                <c:pt idx="1006">
                  <c:v>43376</c:v>
                </c:pt>
                <c:pt idx="1007">
                  <c:v>43377</c:v>
                </c:pt>
                <c:pt idx="1008">
                  <c:v>43378</c:v>
                </c:pt>
                <c:pt idx="1009">
                  <c:v>43381</c:v>
                </c:pt>
                <c:pt idx="1010">
                  <c:v>43382</c:v>
                </c:pt>
                <c:pt idx="1011">
                  <c:v>43383</c:v>
                </c:pt>
                <c:pt idx="1012">
                  <c:v>43384</c:v>
                </c:pt>
                <c:pt idx="1013">
                  <c:v>43385</c:v>
                </c:pt>
                <c:pt idx="1014">
                  <c:v>43388</c:v>
                </c:pt>
                <c:pt idx="1015">
                  <c:v>43389</c:v>
                </c:pt>
                <c:pt idx="1016">
                  <c:v>43390</c:v>
                </c:pt>
                <c:pt idx="1017">
                  <c:v>43391</c:v>
                </c:pt>
                <c:pt idx="1018">
                  <c:v>43392</c:v>
                </c:pt>
                <c:pt idx="1019">
                  <c:v>43395</c:v>
                </c:pt>
                <c:pt idx="1020">
                  <c:v>43396</c:v>
                </c:pt>
                <c:pt idx="1021">
                  <c:v>43397</c:v>
                </c:pt>
                <c:pt idx="1022">
                  <c:v>43398</c:v>
                </c:pt>
                <c:pt idx="1023">
                  <c:v>43399</c:v>
                </c:pt>
                <c:pt idx="1024">
                  <c:v>43402</c:v>
                </c:pt>
                <c:pt idx="1025">
                  <c:v>43403</c:v>
                </c:pt>
                <c:pt idx="1026">
                  <c:v>43404</c:v>
                </c:pt>
                <c:pt idx="1027">
                  <c:v>43405</c:v>
                </c:pt>
                <c:pt idx="1028">
                  <c:v>43406</c:v>
                </c:pt>
                <c:pt idx="1029">
                  <c:v>43409</c:v>
                </c:pt>
                <c:pt idx="1030">
                  <c:v>43410</c:v>
                </c:pt>
                <c:pt idx="1031">
                  <c:v>43411</c:v>
                </c:pt>
                <c:pt idx="1032">
                  <c:v>43412</c:v>
                </c:pt>
                <c:pt idx="1033">
                  <c:v>43413</c:v>
                </c:pt>
                <c:pt idx="1034">
                  <c:v>43416</c:v>
                </c:pt>
                <c:pt idx="1035">
                  <c:v>43417</c:v>
                </c:pt>
                <c:pt idx="1036">
                  <c:v>43418</c:v>
                </c:pt>
                <c:pt idx="1037">
                  <c:v>43419</c:v>
                </c:pt>
                <c:pt idx="1038">
                  <c:v>43420</c:v>
                </c:pt>
                <c:pt idx="1039">
                  <c:v>43423</c:v>
                </c:pt>
                <c:pt idx="1040">
                  <c:v>43424</c:v>
                </c:pt>
                <c:pt idx="1041">
                  <c:v>43425</c:v>
                </c:pt>
                <c:pt idx="1042">
                  <c:v>43426</c:v>
                </c:pt>
                <c:pt idx="1043">
                  <c:v>43427</c:v>
                </c:pt>
                <c:pt idx="1044">
                  <c:v>43430</c:v>
                </c:pt>
                <c:pt idx="1045">
                  <c:v>43431</c:v>
                </c:pt>
                <c:pt idx="1046">
                  <c:v>43432</c:v>
                </c:pt>
                <c:pt idx="1047">
                  <c:v>43433</c:v>
                </c:pt>
                <c:pt idx="1048">
                  <c:v>43434</c:v>
                </c:pt>
                <c:pt idx="1049">
                  <c:v>43437</c:v>
                </c:pt>
                <c:pt idx="1050">
                  <c:v>43438</c:v>
                </c:pt>
                <c:pt idx="1051">
                  <c:v>43439</c:v>
                </c:pt>
                <c:pt idx="1052">
                  <c:v>43440</c:v>
                </c:pt>
                <c:pt idx="1053">
                  <c:v>43441</c:v>
                </c:pt>
                <c:pt idx="1054">
                  <c:v>43444</c:v>
                </c:pt>
                <c:pt idx="1055">
                  <c:v>43445</c:v>
                </c:pt>
                <c:pt idx="1056">
                  <c:v>43446</c:v>
                </c:pt>
                <c:pt idx="1057">
                  <c:v>43447</c:v>
                </c:pt>
                <c:pt idx="1058">
                  <c:v>43448</c:v>
                </c:pt>
                <c:pt idx="1059">
                  <c:v>43451</c:v>
                </c:pt>
                <c:pt idx="1060">
                  <c:v>43452</c:v>
                </c:pt>
                <c:pt idx="1061">
                  <c:v>43453</c:v>
                </c:pt>
                <c:pt idx="1062">
                  <c:v>43454</c:v>
                </c:pt>
                <c:pt idx="1063">
                  <c:v>43455</c:v>
                </c:pt>
                <c:pt idx="1064">
                  <c:v>43458</c:v>
                </c:pt>
                <c:pt idx="1065">
                  <c:v>43459</c:v>
                </c:pt>
                <c:pt idx="1066">
                  <c:v>43460</c:v>
                </c:pt>
                <c:pt idx="1067">
                  <c:v>43461</c:v>
                </c:pt>
                <c:pt idx="1068">
                  <c:v>43462</c:v>
                </c:pt>
                <c:pt idx="1069">
                  <c:v>43465</c:v>
                </c:pt>
                <c:pt idx="1070">
                  <c:v>43466</c:v>
                </c:pt>
                <c:pt idx="1071">
                  <c:v>43467</c:v>
                </c:pt>
                <c:pt idx="1072">
                  <c:v>43468</c:v>
                </c:pt>
                <c:pt idx="1073">
                  <c:v>43469</c:v>
                </c:pt>
                <c:pt idx="1074">
                  <c:v>43472</c:v>
                </c:pt>
                <c:pt idx="1075">
                  <c:v>43473</c:v>
                </c:pt>
                <c:pt idx="1076">
                  <c:v>43474</c:v>
                </c:pt>
                <c:pt idx="1077">
                  <c:v>43475</c:v>
                </c:pt>
                <c:pt idx="1078">
                  <c:v>43476</c:v>
                </c:pt>
                <c:pt idx="1079">
                  <c:v>43479</c:v>
                </c:pt>
                <c:pt idx="1080">
                  <c:v>43480</c:v>
                </c:pt>
                <c:pt idx="1081">
                  <c:v>43481</c:v>
                </c:pt>
                <c:pt idx="1082">
                  <c:v>43482</c:v>
                </c:pt>
                <c:pt idx="1083">
                  <c:v>43483</c:v>
                </c:pt>
                <c:pt idx="1084">
                  <c:v>43486</c:v>
                </c:pt>
                <c:pt idx="1085">
                  <c:v>43487</c:v>
                </c:pt>
                <c:pt idx="1086">
                  <c:v>43488</c:v>
                </c:pt>
                <c:pt idx="1087">
                  <c:v>43489</c:v>
                </c:pt>
                <c:pt idx="1088">
                  <c:v>43490</c:v>
                </c:pt>
                <c:pt idx="1089">
                  <c:v>43493</c:v>
                </c:pt>
                <c:pt idx="1090">
                  <c:v>43494</c:v>
                </c:pt>
                <c:pt idx="1091">
                  <c:v>43495</c:v>
                </c:pt>
                <c:pt idx="1092">
                  <c:v>43496</c:v>
                </c:pt>
                <c:pt idx="1093">
                  <c:v>43497</c:v>
                </c:pt>
                <c:pt idx="1094">
                  <c:v>43500</c:v>
                </c:pt>
                <c:pt idx="1095">
                  <c:v>43501</c:v>
                </c:pt>
                <c:pt idx="1096">
                  <c:v>43502</c:v>
                </c:pt>
                <c:pt idx="1097">
                  <c:v>43503</c:v>
                </c:pt>
                <c:pt idx="1098">
                  <c:v>43504</c:v>
                </c:pt>
                <c:pt idx="1099">
                  <c:v>43507</c:v>
                </c:pt>
                <c:pt idx="1100">
                  <c:v>43508</c:v>
                </c:pt>
                <c:pt idx="1101">
                  <c:v>43509</c:v>
                </c:pt>
                <c:pt idx="1102">
                  <c:v>43510</c:v>
                </c:pt>
                <c:pt idx="1103">
                  <c:v>43511</c:v>
                </c:pt>
                <c:pt idx="1104">
                  <c:v>43514</c:v>
                </c:pt>
                <c:pt idx="1105">
                  <c:v>43515</c:v>
                </c:pt>
                <c:pt idx="1106">
                  <c:v>43516</c:v>
                </c:pt>
                <c:pt idx="1107">
                  <c:v>43517</c:v>
                </c:pt>
                <c:pt idx="1108">
                  <c:v>43518</c:v>
                </c:pt>
                <c:pt idx="1109">
                  <c:v>43521</c:v>
                </c:pt>
                <c:pt idx="1110">
                  <c:v>43522</c:v>
                </c:pt>
                <c:pt idx="1111">
                  <c:v>43523</c:v>
                </c:pt>
                <c:pt idx="1112">
                  <c:v>43524</c:v>
                </c:pt>
                <c:pt idx="1113">
                  <c:v>43525</c:v>
                </c:pt>
                <c:pt idx="1114">
                  <c:v>43528</c:v>
                </c:pt>
                <c:pt idx="1115">
                  <c:v>43529</c:v>
                </c:pt>
                <c:pt idx="1116">
                  <c:v>43530</c:v>
                </c:pt>
                <c:pt idx="1117">
                  <c:v>43531</c:v>
                </c:pt>
                <c:pt idx="1118">
                  <c:v>43532</c:v>
                </c:pt>
                <c:pt idx="1119">
                  <c:v>43535</c:v>
                </c:pt>
                <c:pt idx="1120">
                  <c:v>43536</c:v>
                </c:pt>
                <c:pt idx="1121">
                  <c:v>43537</c:v>
                </c:pt>
                <c:pt idx="1122">
                  <c:v>43538</c:v>
                </c:pt>
                <c:pt idx="1123">
                  <c:v>43539</c:v>
                </c:pt>
                <c:pt idx="1124">
                  <c:v>43542</c:v>
                </c:pt>
                <c:pt idx="1125">
                  <c:v>43543</c:v>
                </c:pt>
                <c:pt idx="1126">
                  <c:v>43544</c:v>
                </c:pt>
                <c:pt idx="1127">
                  <c:v>43545</c:v>
                </c:pt>
                <c:pt idx="1128">
                  <c:v>43546</c:v>
                </c:pt>
                <c:pt idx="1129">
                  <c:v>43549</c:v>
                </c:pt>
                <c:pt idx="1130">
                  <c:v>43550</c:v>
                </c:pt>
                <c:pt idx="1131">
                  <c:v>43551</c:v>
                </c:pt>
                <c:pt idx="1132">
                  <c:v>43552</c:v>
                </c:pt>
                <c:pt idx="1133">
                  <c:v>43553</c:v>
                </c:pt>
                <c:pt idx="1134">
                  <c:v>43556</c:v>
                </c:pt>
                <c:pt idx="1135">
                  <c:v>43557</c:v>
                </c:pt>
                <c:pt idx="1136">
                  <c:v>43558</c:v>
                </c:pt>
                <c:pt idx="1137">
                  <c:v>43559</c:v>
                </c:pt>
                <c:pt idx="1138">
                  <c:v>43560</c:v>
                </c:pt>
                <c:pt idx="1139">
                  <c:v>43563</c:v>
                </c:pt>
                <c:pt idx="1140">
                  <c:v>43564</c:v>
                </c:pt>
                <c:pt idx="1141">
                  <c:v>43565</c:v>
                </c:pt>
                <c:pt idx="1142">
                  <c:v>43566</c:v>
                </c:pt>
                <c:pt idx="1143">
                  <c:v>43567</c:v>
                </c:pt>
                <c:pt idx="1144">
                  <c:v>43570</c:v>
                </c:pt>
                <c:pt idx="1145">
                  <c:v>43571</c:v>
                </c:pt>
                <c:pt idx="1146">
                  <c:v>43572</c:v>
                </c:pt>
                <c:pt idx="1147">
                  <c:v>43573</c:v>
                </c:pt>
                <c:pt idx="1148">
                  <c:v>43574</c:v>
                </c:pt>
                <c:pt idx="1149">
                  <c:v>43577</c:v>
                </c:pt>
                <c:pt idx="1150">
                  <c:v>43578</c:v>
                </c:pt>
                <c:pt idx="1151">
                  <c:v>43579</c:v>
                </c:pt>
                <c:pt idx="1152">
                  <c:v>43580</c:v>
                </c:pt>
                <c:pt idx="1153">
                  <c:v>43581</c:v>
                </c:pt>
                <c:pt idx="1154">
                  <c:v>43584</c:v>
                </c:pt>
                <c:pt idx="1155">
                  <c:v>43585</c:v>
                </c:pt>
                <c:pt idx="1156">
                  <c:v>43586</c:v>
                </c:pt>
                <c:pt idx="1157">
                  <c:v>43587</c:v>
                </c:pt>
                <c:pt idx="1158">
                  <c:v>43588</c:v>
                </c:pt>
                <c:pt idx="1159">
                  <c:v>43591</c:v>
                </c:pt>
                <c:pt idx="1160">
                  <c:v>43592</c:v>
                </c:pt>
                <c:pt idx="1161">
                  <c:v>43593</c:v>
                </c:pt>
                <c:pt idx="1162">
                  <c:v>43594</c:v>
                </c:pt>
                <c:pt idx="1163">
                  <c:v>43595</c:v>
                </c:pt>
                <c:pt idx="1164">
                  <c:v>43598</c:v>
                </c:pt>
                <c:pt idx="1165">
                  <c:v>43599</c:v>
                </c:pt>
                <c:pt idx="1166">
                  <c:v>43600</c:v>
                </c:pt>
                <c:pt idx="1167">
                  <c:v>43601</c:v>
                </c:pt>
                <c:pt idx="1168">
                  <c:v>43602</c:v>
                </c:pt>
                <c:pt idx="1169">
                  <c:v>43605</c:v>
                </c:pt>
                <c:pt idx="1170">
                  <c:v>43606</c:v>
                </c:pt>
                <c:pt idx="1171">
                  <c:v>43607</c:v>
                </c:pt>
                <c:pt idx="1172">
                  <c:v>43608</c:v>
                </c:pt>
                <c:pt idx="1173">
                  <c:v>43609</c:v>
                </c:pt>
                <c:pt idx="1174">
                  <c:v>43612</c:v>
                </c:pt>
                <c:pt idx="1175">
                  <c:v>43613</c:v>
                </c:pt>
                <c:pt idx="1176">
                  <c:v>43614</c:v>
                </c:pt>
                <c:pt idx="1177">
                  <c:v>43615</c:v>
                </c:pt>
                <c:pt idx="1178">
                  <c:v>43616</c:v>
                </c:pt>
                <c:pt idx="1179">
                  <c:v>43619</c:v>
                </c:pt>
                <c:pt idx="1180">
                  <c:v>43620</c:v>
                </c:pt>
                <c:pt idx="1181">
                  <c:v>43621</c:v>
                </c:pt>
                <c:pt idx="1182">
                  <c:v>43622</c:v>
                </c:pt>
                <c:pt idx="1183">
                  <c:v>43623</c:v>
                </c:pt>
                <c:pt idx="1184">
                  <c:v>43626</c:v>
                </c:pt>
                <c:pt idx="1185">
                  <c:v>43627</c:v>
                </c:pt>
                <c:pt idx="1186">
                  <c:v>43628</c:v>
                </c:pt>
                <c:pt idx="1187">
                  <c:v>43629</c:v>
                </c:pt>
                <c:pt idx="1188">
                  <c:v>43630</c:v>
                </c:pt>
                <c:pt idx="1189">
                  <c:v>43633</c:v>
                </c:pt>
                <c:pt idx="1190">
                  <c:v>43634</c:v>
                </c:pt>
                <c:pt idx="1191">
                  <c:v>43635</c:v>
                </c:pt>
                <c:pt idx="1192">
                  <c:v>43636</c:v>
                </c:pt>
                <c:pt idx="1193">
                  <c:v>43637</c:v>
                </c:pt>
                <c:pt idx="1194">
                  <c:v>43640</c:v>
                </c:pt>
                <c:pt idx="1195">
                  <c:v>43641</c:v>
                </c:pt>
                <c:pt idx="1196">
                  <c:v>43642</c:v>
                </c:pt>
                <c:pt idx="1197">
                  <c:v>43643</c:v>
                </c:pt>
                <c:pt idx="1198">
                  <c:v>43644</c:v>
                </c:pt>
                <c:pt idx="1199">
                  <c:v>43647</c:v>
                </c:pt>
                <c:pt idx="1200">
                  <c:v>43648</c:v>
                </c:pt>
                <c:pt idx="1201">
                  <c:v>43649</c:v>
                </c:pt>
                <c:pt idx="1202">
                  <c:v>43650</c:v>
                </c:pt>
                <c:pt idx="1203">
                  <c:v>43651</c:v>
                </c:pt>
                <c:pt idx="1204">
                  <c:v>43654</c:v>
                </c:pt>
                <c:pt idx="1205">
                  <c:v>43655</c:v>
                </c:pt>
                <c:pt idx="1206">
                  <c:v>43656</c:v>
                </c:pt>
                <c:pt idx="1207">
                  <c:v>43657</c:v>
                </c:pt>
                <c:pt idx="1208">
                  <c:v>43658</c:v>
                </c:pt>
                <c:pt idx="1209">
                  <c:v>43661</c:v>
                </c:pt>
                <c:pt idx="1210">
                  <c:v>43662</c:v>
                </c:pt>
                <c:pt idx="1211">
                  <c:v>43663</c:v>
                </c:pt>
                <c:pt idx="1212">
                  <c:v>43664</c:v>
                </c:pt>
                <c:pt idx="1213">
                  <c:v>43665</c:v>
                </c:pt>
                <c:pt idx="1214">
                  <c:v>43668</c:v>
                </c:pt>
                <c:pt idx="1215">
                  <c:v>43669</c:v>
                </c:pt>
                <c:pt idx="1216">
                  <c:v>43670</c:v>
                </c:pt>
                <c:pt idx="1217">
                  <c:v>43671</c:v>
                </c:pt>
                <c:pt idx="1218">
                  <c:v>43672</c:v>
                </c:pt>
                <c:pt idx="1219">
                  <c:v>43675</c:v>
                </c:pt>
                <c:pt idx="1220">
                  <c:v>43676</c:v>
                </c:pt>
                <c:pt idx="1221">
                  <c:v>43677</c:v>
                </c:pt>
                <c:pt idx="1222">
                  <c:v>43678</c:v>
                </c:pt>
                <c:pt idx="1223">
                  <c:v>43679</c:v>
                </c:pt>
                <c:pt idx="1224">
                  <c:v>43682</c:v>
                </c:pt>
                <c:pt idx="1225">
                  <c:v>43683</c:v>
                </c:pt>
                <c:pt idx="1226">
                  <c:v>43684</c:v>
                </c:pt>
                <c:pt idx="1227">
                  <c:v>43685</c:v>
                </c:pt>
                <c:pt idx="1228">
                  <c:v>43686</c:v>
                </c:pt>
                <c:pt idx="1229">
                  <c:v>43689</c:v>
                </c:pt>
                <c:pt idx="1230">
                  <c:v>43690</c:v>
                </c:pt>
                <c:pt idx="1231">
                  <c:v>43691</c:v>
                </c:pt>
                <c:pt idx="1232">
                  <c:v>43692</c:v>
                </c:pt>
                <c:pt idx="1233">
                  <c:v>43693</c:v>
                </c:pt>
                <c:pt idx="1234">
                  <c:v>43696</c:v>
                </c:pt>
                <c:pt idx="1235">
                  <c:v>43697</c:v>
                </c:pt>
                <c:pt idx="1236">
                  <c:v>43698</c:v>
                </c:pt>
                <c:pt idx="1237">
                  <c:v>43699</c:v>
                </c:pt>
                <c:pt idx="1238">
                  <c:v>43700</c:v>
                </c:pt>
                <c:pt idx="1239">
                  <c:v>43703</c:v>
                </c:pt>
                <c:pt idx="1240">
                  <c:v>43704</c:v>
                </c:pt>
                <c:pt idx="1241">
                  <c:v>43705</c:v>
                </c:pt>
                <c:pt idx="1242">
                  <c:v>43706</c:v>
                </c:pt>
                <c:pt idx="1243">
                  <c:v>43707</c:v>
                </c:pt>
                <c:pt idx="1244">
                  <c:v>43710</c:v>
                </c:pt>
                <c:pt idx="1245">
                  <c:v>43711</c:v>
                </c:pt>
                <c:pt idx="1246">
                  <c:v>43712</c:v>
                </c:pt>
                <c:pt idx="1247">
                  <c:v>43713</c:v>
                </c:pt>
                <c:pt idx="1248">
                  <c:v>43714</c:v>
                </c:pt>
                <c:pt idx="1249">
                  <c:v>43717</c:v>
                </c:pt>
                <c:pt idx="1250">
                  <c:v>43718</c:v>
                </c:pt>
                <c:pt idx="1251">
                  <c:v>43719</c:v>
                </c:pt>
                <c:pt idx="1252">
                  <c:v>43720</c:v>
                </c:pt>
                <c:pt idx="1253">
                  <c:v>43721</c:v>
                </c:pt>
                <c:pt idx="1254">
                  <c:v>43724</c:v>
                </c:pt>
                <c:pt idx="1255">
                  <c:v>43725</c:v>
                </c:pt>
                <c:pt idx="1256">
                  <c:v>43726</c:v>
                </c:pt>
                <c:pt idx="1257">
                  <c:v>43727</c:v>
                </c:pt>
                <c:pt idx="1258">
                  <c:v>43728</c:v>
                </c:pt>
                <c:pt idx="1259">
                  <c:v>43731</c:v>
                </c:pt>
                <c:pt idx="1260">
                  <c:v>43732</c:v>
                </c:pt>
                <c:pt idx="1261">
                  <c:v>43733</c:v>
                </c:pt>
                <c:pt idx="1262">
                  <c:v>43734</c:v>
                </c:pt>
                <c:pt idx="1263">
                  <c:v>43735</c:v>
                </c:pt>
                <c:pt idx="1264">
                  <c:v>43738</c:v>
                </c:pt>
                <c:pt idx="1265">
                  <c:v>43739</c:v>
                </c:pt>
                <c:pt idx="1266">
                  <c:v>43740</c:v>
                </c:pt>
                <c:pt idx="1267">
                  <c:v>43741</c:v>
                </c:pt>
                <c:pt idx="1268">
                  <c:v>43742</c:v>
                </c:pt>
                <c:pt idx="1269">
                  <c:v>43745</c:v>
                </c:pt>
                <c:pt idx="1270">
                  <c:v>43746</c:v>
                </c:pt>
                <c:pt idx="1271">
                  <c:v>43747</c:v>
                </c:pt>
                <c:pt idx="1272">
                  <c:v>43748</c:v>
                </c:pt>
                <c:pt idx="1273">
                  <c:v>43749</c:v>
                </c:pt>
                <c:pt idx="1274">
                  <c:v>43752</c:v>
                </c:pt>
                <c:pt idx="1275">
                  <c:v>43753</c:v>
                </c:pt>
                <c:pt idx="1276">
                  <c:v>43754</c:v>
                </c:pt>
                <c:pt idx="1277">
                  <c:v>43755</c:v>
                </c:pt>
                <c:pt idx="1278">
                  <c:v>43756</c:v>
                </c:pt>
                <c:pt idx="1279">
                  <c:v>43759</c:v>
                </c:pt>
                <c:pt idx="1280">
                  <c:v>43760</c:v>
                </c:pt>
                <c:pt idx="1281">
                  <c:v>43761</c:v>
                </c:pt>
                <c:pt idx="1282">
                  <c:v>43762</c:v>
                </c:pt>
                <c:pt idx="1283">
                  <c:v>43763</c:v>
                </c:pt>
                <c:pt idx="1284">
                  <c:v>43766</c:v>
                </c:pt>
                <c:pt idx="1285">
                  <c:v>43767</c:v>
                </c:pt>
                <c:pt idx="1286">
                  <c:v>43768</c:v>
                </c:pt>
                <c:pt idx="1287">
                  <c:v>43769</c:v>
                </c:pt>
                <c:pt idx="1288">
                  <c:v>43770</c:v>
                </c:pt>
                <c:pt idx="1289">
                  <c:v>43773</c:v>
                </c:pt>
                <c:pt idx="1290">
                  <c:v>43774</c:v>
                </c:pt>
                <c:pt idx="1291">
                  <c:v>43775</c:v>
                </c:pt>
                <c:pt idx="1292">
                  <c:v>43776</c:v>
                </c:pt>
                <c:pt idx="1293">
                  <c:v>43777</c:v>
                </c:pt>
                <c:pt idx="1294">
                  <c:v>43780</c:v>
                </c:pt>
                <c:pt idx="1295">
                  <c:v>43781</c:v>
                </c:pt>
                <c:pt idx="1296">
                  <c:v>43782</c:v>
                </c:pt>
                <c:pt idx="1297">
                  <c:v>43783</c:v>
                </c:pt>
                <c:pt idx="1298">
                  <c:v>43784</c:v>
                </c:pt>
                <c:pt idx="1299">
                  <c:v>43787</c:v>
                </c:pt>
                <c:pt idx="1300">
                  <c:v>43788</c:v>
                </c:pt>
                <c:pt idx="1301">
                  <c:v>43789</c:v>
                </c:pt>
                <c:pt idx="1302">
                  <c:v>43790</c:v>
                </c:pt>
                <c:pt idx="1303">
                  <c:v>43791</c:v>
                </c:pt>
                <c:pt idx="1304">
                  <c:v>43794</c:v>
                </c:pt>
                <c:pt idx="1305">
                  <c:v>43795</c:v>
                </c:pt>
                <c:pt idx="1306">
                  <c:v>43796</c:v>
                </c:pt>
                <c:pt idx="1307">
                  <c:v>43797</c:v>
                </c:pt>
                <c:pt idx="1308">
                  <c:v>43798</c:v>
                </c:pt>
                <c:pt idx="1309">
                  <c:v>43801</c:v>
                </c:pt>
                <c:pt idx="1310">
                  <c:v>43802</c:v>
                </c:pt>
                <c:pt idx="1311">
                  <c:v>43803</c:v>
                </c:pt>
                <c:pt idx="1312">
                  <c:v>43804</c:v>
                </c:pt>
                <c:pt idx="1313">
                  <c:v>43805</c:v>
                </c:pt>
                <c:pt idx="1314">
                  <c:v>43808</c:v>
                </c:pt>
                <c:pt idx="1315">
                  <c:v>43809</c:v>
                </c:pt>
                <c:pt idx="1316">
                  <c:v>43810</c:v>
                </c:pt>
                <c:pt idx="1317">
                  <c:v>43811</c:v>
                </c:pt>
                <c:pt idx="1318">
                  <c:v>43812</c:v>
                </c:pt>
                <c:pt idx="1319">
                  <c:v>43815</c:v>
                </c:pt>
                <c:pt idx="1320">
                  <c:v>43816</c:v>
                </c:pt>
                <c:pt idx="1321">
                  <c:v>43817</c:v>
                </c:pt>
                <c:pt idx="1322">
                  <c:v>43818</c:v>
                </c:pt>
                <c:pt idx="1323">
                  <c:v>43819</c:v>
                </c:pt>
                <c:pt idx="1324">
                  <c:v>43822</c:v>
                </c:pt>
                <c:pt idx="1325">
                  <c:v>43823</c:v>
                </c:pt>
                <c:pt idx="1326">
                  <c:v>43824</c:v>
                </c:pt>
                <c:pt idx="1327">
                  <c:v>43825</c:v>
                </c:pt>
                <c:pt idx="1328">
                  <c:v>43826</c:v>
                </c:pt>
                <c:pt idx="1329">
                  <c:v>43829</c:v>
                </c:pt>
                <c:pt idx="1330">
                  <c:v>43830</c:v>
                </c:pt>
                <c:pt idx="1331">
                  <c:v>43831</c:v>
                </c:pt>
                <c:pt idx="1332">
                  <c:v>43832</c:v>
                </c:pt>
                <c:pt idx="1333">
                  <c:v>43833</c:v>
                </c:pt>
                <c:pt idx="1334">
                  <c:v>43836</c:v>
                </c:pt>
                <c:pt idx="1335">
                  <c:v>43837</c:v>
                </c:pt>
                <c:pt idx="1336">
                  <c:v>43838</c:v>
                </c:pt>
                <c:pt idx="1337">
                  <c:v>43839</c:v>
                </c:pt>
                <c:pt idx="1338">
                  <c:v>43840</c:v>
                </c:pt>
                <c:pt idx="1339">
                  <c:v>43843</c:v>
                </c:pt>
                <c:pt idx="1340">
                  <c:v>43844</c:v>
                </c:pt>
                <c:pt idx="1341">
                  <c:v>43845</c:v>
                </c:pt>
                <c:pt idx="1342">
                  <c:v>43846</c:v>
                </c:pt>
                <c:pt idx="1343">
                  <c:v>43847</c:v>
                </c:pt>
                <c:pt idx="1344">
                  <c:v>43850</c:v>
                </c:pt>
                <c:pt idx="1345">
                  <c:v>43851</c:v>
                </c:pt>
                <c:pt idx="1346">
                  <c:v>43852</c:v>
                </c:pt>
                <c:pt idx="1347">
                  <c:v>43853</c:v>
                </c:pt>
                <c:pt idx="1348">
                  <c:v>43854</c:v>
                </c:pt>
                <c:pt idx="1349">
                  <c:v>43857</c:v>
                </c:pt>
                <c:pt idx="1350">
                  <c:v>43858</c:v>
                </c:pt>
                <c:pt idx="1351">
                  <c:v>43859</c:v>
                </c:pt>
                <c:pt idx="1352">
                  <c:v>43860</c:v>
                </c:pt>
                <c:pt idx="1353">
                  <c:v>43861</c:v>
                </c:pt>
                <c:pt idx="1354">
                  <c:v>43864</c:v>
                </c:pt>
                <c:pt idx="1355">
                  <c:v>43865</c:v>
                </c:pt>
                <c:pt idx="1356">
                  <c:v>43866</c:v>
                </c:pt>
                <c:pt idx="1357">
                  <c:v>43867</c:v>
                </c:pt>
                <c:pt idx="1358">
                  <c:v>43868</c:v>
                </c:pt>
                <c:pt idx="1359">
                  <c:v>43871</c:v>
                </c:pt>
                <c:pt idx="1360">
                  <c:v>43872</c:v>
                </c:pt>
                <c:pt idx="1361">
                  <c:v>43873</c:v>
                </c:pt>
                <c:pt idx="1362">
                  <c:v>43874</c:v>
                </c:pt>
                <c:pt idx="1363">
                  <c:v>43875</c:v>
                </c:pt>
                <c:pt idx="1364">
                  <c:v>43878</c:v>
                </c:pt>
                <c:pt idx="1365">
                  <c:v>43879</c:v>
                </c:pt>
                <c:pt idx="1366">
                  <c:v>43880</c:v>
                </c:pt>
                <c:pt idx="1367">
                  <c:v>43881</c:v>
                </c:pt>
                <c:pt idx="1368">
                  <c:v>43882</c:v>
                </c:pt>
                <c:pt idx="1369">
                  <c:v>43885</c:v>
                </c:pt>
                <c:pt idx="1370">
                  <c:v>43886</c:v>
                </c:pt>
                <c:pt idx="1371">
                  <c:v>43887</c:v>
                </c:pt>
                <c:pt idx="1372">
                  <c:v>43888</c:v>
                </c:pt>
                <c:pt idx="1373">
                  <c:v>43889</c:v>
                </c:pt>
                <c:pt idx="1374">
                  <c:v>43892</c:v>
                </c:pt>
                <c:pt idx="1375">
                  <c:v>43893</c:v>
                </c:pt>
                <c:pt idx="1376">
                  <c:v>43894</c:v>
                </c:pt>
                <c:pt idx="1377">
                  <c:v>43895</c:v>
                </c:pt>
                <c:pt idx="1378">
                  <c:v>43896</c:v>
                </c:pt>
                <c:pt idx="1379">
                  <c:v>43899</c:v>
                </c:pt>
                <c:pt idx="1380">
                  <c:v>43900</c:v>
                </c:pt>
                <c:pt idx="1381">
                  <c:v>43901</c:v>
                </c:pt>
                <c:pt idx="1382">
                  <c:v>43902</c:v>
                </c:pt>
                <c:pt idx="1383">
                  <c:v>43903</c:v>
                </c:pt>
                <c:pt idx="1384">
                  <c:v>43906</c:v>
                </c:pt>
                <c:pt idx="1385">
                  <c:v>43907</c:v>
                </c:pt>
                <c:pt idx="1386">
                  <c:v>43908</c:v>
                </c:pt>
                <c:pt idx="1387">
                  <c:v>43909</c:v>
                </c:pt>
                <c:pt idx="1388">
                  <c:v>43910</c:v>
                </c:pt>
                <c:pt idx="1389">
                  <c:v>43913</c:v>
                </c:pt>
                <c:pt idx="1390">
                  <c:v>43914</c:v>
                </c:pt>
                <c:pt idx="1391">
                  <c:v>43915</c:v>
                </c:pt>
                <c:pt idx="1392">
                  <c:v>43916</c:v>
                </c:pt>
                <c:pt idx="1393">
                  <c:v>43917</c:v>
                </c:pt>
                <c:pt idx="1394">
                  <c:v>43920</c:v>
                </c:pt>
                <c:pt idx="1395">
                  <c:v>43921</c:v>
                </c:pt>
                <c:pt idx="1396">
                  <c:v>43922</c:v>
                </c:pt>
                <c:pt idx="1397">
                  <c:v>43923</c:v>
                </c:pt>
                <c:pt idx="1398">
                  <c:v>43924</c:v>
                </c:pt>
                <c:pt idx="1399">
                  <c:v>43927</c:v>
                </c:pt>
                <c:pt idx="1400">
                  <c:v>43928</c:v>
                </c:pt>
                <c:pt idx="1401">
                  <c:v>43929</c:v>
                </c:pt>
                <c:pt idx="1402">
                  <c:v>43930</c:v>
                </c:pt>
                <c:pt idx="1403">
                  <c:v>43931</c:v>
                </c:pt>
                <c:pt idx="1404">
                  <c:v>43934</c:v>
                </c:pt>
                <c:pt idx="1405">
                  <c:v>43935</c:v>
                </c:pt>
                <c:pt idx="1406">
                  <c:v>43936</c:v>
                </c:pt>
                <c:pt idx="1407">
                  <c:v>43937</c:v>
                </c:pt>
                <c:pt idx="1408">
                  <c:v>43938</c:v>
                </c:pt>
                <c:pt idx="1409">
                  <c:v>43941</c:v>
                </c:pt>
                <c:pt idx="1410">
                  <c:v>43942</c:v>
                </c:pt>
                <c:pt idx="1411">
                  <c:v>43943</c:v>
                </c:pt>
                <c:pt idx="1412">
                  <c:v>43944</c:v>
                </c:pt>
                <c:pt idx="1413">
                  <c:v>43945</c:v>
                </c:pt>
                <c:pt idx="1414">
                  <c:v>43948</c:v>
                </c:pt>
                <c:pt idx="1415">
                  <c:v>43949</c:v>
                </c:pt>
                <c:pt idx="1416">
                  <c:v>43950</c:v>
                </c:pt>
                <c:pt idx="1417">
                  <c:v>43951</c:v>
                </c:pt>
                <c:pt idx="1418">
                  <c:v>43952</c:v>
                </c:pt>
                <c:pt idx="1419">
                  <c:v>43955</c:v>
                </c:pt>
                <c:pt idx="1420">
                  <c:v>43956</c:v>
                </c:pt>
                <c:pt idx="1421">
                  <c:v>43957</c:v>
                </c:pt>
                <c:pt idx="1422">
                  <c:v>43958</c:v>
                </c:pt>
                <c:pt idx="1423">
                  <c:v>43959</c:v>
                </c:pt>
                <c:pt idx="1424">
                  <c:v>43962</c:v>
                </c:pt>
                <c:pt idx="1425">
                  <c:v>43963</c:v>
                </c:pt>
                <c:pt idx="1426">
                  <c:v>43964</c:v>
                </c:pt>
                <c:pt idx="1427">
                  <c:v>43965</c:v>
                </c:pt>
                <c:pt idx="1428">
                  <c:v>43966</c:v>
                </c:pt>
                <c:pt idx="1429">
                  <c:v>43969</c:v>
                </c:pt>
                <c:pt idx="1430">
                  <c:v>43970</c:v>
                </c:pt>
                <c:pt idx="1431">
                  <c:v>43971</c:v>
                </c:pt>
                <c:pt idx="1432">
                  <c:v>43972</c:v>
                </c:pt>
                <c:pt idx="1433">
                  <c:v>43973</c:v>
                </c:pt>
                <c:pt idx="1434">
                  <c:v>43976</c:v>
                </c:pt>
                <c:pt idx="1435">
                  <c:v>43977</c:v>
                </c:pt>
                <c:pt idx="1436">
                  <c:v>43978</c:v>
                </c:pt>
                <c:pt idx="1437">
                  <c:v>43979</c:v>
                </c:pt>
                <c:pt idx="1438">
                  <c:v>43980</c:v>
                </c:pt>
                <c:pt idx="1439">
                  <c:v>43983</c:v>
                </c:pt>
                <c:pt idx="1440">
                  <c:v>43984</c:v>
                </c:pt>
                <c:pt idx="1441">
                  <c:v>43985</c:v>
                </c:pt>
                <c:pt idx="1442">
                  <c:v>43986</c:v>
                </c:pt>
                <c:pt idx="1443">
                  <c:v>43987</c:v>
                </c:pt>
                <c:pt idx="1444">
                  <c:v>43990</c:v>
                </c:pt>
                <c:pt idx="1445">
                  <c:v>43991</c:v>
                </c:pt>
                <c:pt idx="1446">
                  <c:v>43992</c:v>
                </c:pt>
                <c:pt idx="1447">
                  <c:v>43993</c:v>
                </c:pt>
                <c:pt idx="1448">
                  <c:v>43994</c:v>
                </c:pt>
                <c:pt idx="1449">
                  <c:v>43997</c:v>
                </c:pt>
                <c:pt idx="1450">
                  <c:v>43998</c:v>
                </c:pt>
                <c:pt idx="1451">
                  <c:v>43999</c:v>
                </c:pt>
                <c:pt idx="1452">
                  <c:v>44000</c:v>
                </c:pt>
                <c:pt idx="1453">
                  <c:v>44001</c:v>
                </c:pt>
                <c:pt idx="1454">
                  <c:v>44004</c:v>
                </c:pt>
                <c:pt idx="1455">
                  <c:v>44005</c:v>
                </c:pt>
                <c:pt idx="1456">
                  <c:v>44006</c:v>
                </c:pt>
                <c:pt idx="1457">
                  <c:v>44007</c:v>
                </c:pt>
                <c:pt idx="1458">
                  <c:v>44008</c:v>
                </c:pt>
                <c:pt idx="1459">
                  <c:v>44011</c:v>
                </c:pt>
                <c:pt idx="1460">
                  <c:v>44012</c:v>
                </c:pt>
                <c:pt idx="1461">
                  <c:v>44013</c:v>
                </c:pt>
                <c:pt idx="1462">
                  <c:v>44014</c:v>
                </c:pt>
                <c:pt idx="1463">
                  <c:v>44015</c:v>
                </c:pt>
                <c:pt idx="1464">
                  <c:v>44018</c:v>
                </c:pt>
                <c:pt idx="1465">
                  <c:v>44019</c:v>
                </c:pt>
                <c:pt idx="1466">
                  <c:v>44020</c:v>
                </c:pt>
                <c:pt idx="1467">
                  <c:v>44021</c:v>
                </c:pt>
                <c:pt idx="1468">
                  <c:v>44022</c:v>
                </c:pt>
                <c:pt idx="1469">
                  <c:v>44025</c:v>
                </c:pt>
                <c:pt idx="1470">
                  <c:v>44026</c:v>
                </c:pt>
                <c:pt idx="1471">
                  <c:v>44027</c:v>
                </c:pt>
                <c:pt idx="1472">
                  <c:v>44028</c:v>
                </c:pt>
                <c:pt idx="1473">
                  <c:v>44029</c:v>
                </c:pt>
                <c:pt idx="1474">
                  <c:v>44032</c:v>
                </c:pt>
                <c:pt idx="1475">
                  <c:v>44033</c:v>
                </c:pt>
                <c:pt idx="1476">
                  <c:v>44034</c:v>
                </c:pt>
                <c:pt idx="1477">
                  <c:v>44035</c:v>
                </c:pt>
                <c:pt idx="1478">
                  <c:v>44036</c:v>
                </c:pt>
                <c:pt idx="1479">
                  <c:v>44039</c:v>
                </c:pt>
                <c:pt idx="1480">
                  <c:v>44040</c:v>
                </c:pt>
                <c:pt idx="1481">
                  <c:v>44041</c:v>
                </c:pt>
                <c:pt idx="1482">
                  <c:v>44042</c:v>
                </c:pt>
                <c:pt idx="1483">
                  <c:v>44043</c:v>
                </c:pt>
                <c:pt idx="1484">
                  <c:v>44046</c:v>
                </c:pt>
                <c:pt idx="1485">
                  <c:v>44047</c:v>
                </c:pt>
                <c:pt idx="1486">
                  <c:v>44048</c:v>
                </c:pt>
                <c:pt idx="1487">
                  <c:v>44049</c:v>
                </c:pt>
                <c:pt idx="1488">
                  <c:v>44050</c:v>
                </c:pt>
                <c:pt idx="1489">
                  <c:v>44053</c:v>
                </c:pt>
                <c:pt idx="1490">
                  <c:v>44054</c:v>
                </c:pt>
                <c:pt idx="1491">
                  <c:v>44055</c:v>
                </c:pt>
                <c:pt idx="1492">
                  <c:v>44056</c:v>
                </c:pt>
                <c:pt idx="1493">
                  <c:v>44057</c:v>
                </c:pt>
                <c:pt idx="1494">
                  <c:v>44060</c:v>
                </c:pt>
                <c:pt idx="1495">
                  <c:v>44061</c:v>
                </c:pt>
                <c:pt idx="1496">
                  <c:v>44062</c:v>
                </c:pt>
                <c:pt idx="1497">
                  <c:v>44063</c:v>
                </c:pt>
                <c:pt idx="1498">
                  <c:v>44064</c:v>
                </c:pt>
                <c:pt idx="1499">
                  <c:v>44067</c:v>
                </c:pt>
                <c:pt idx="1500">
                  <c:v>44068</c:v>
                </c:pt>
                <c:pt idx="1501">
                  <c:v>44069</c:v>
                </c:pt>
                <c:pt idx="1502">
                  <c:v>44070</c:v>
                </c:pt>
                <c:pt idx="1503">
                  <c:v>44071</c:v>
                </c:pt>
                <c:pt idx="1504">
                  <c:v>44074</c:v>
                </c:pt>
                <c:pt idx="1505">
                  <c:v>44075</c:v>
                </c:pt>
                <c:pt idx="1506">
                  <c:v>44076</c:v>
                </c:pt>
                <c:pt idx="1507">
                  <c:v>44077</c:v>
                </c:pt>
                <c:pt idx="1508">
                  <c:v>44078</c:v>
                </c:pt>
                <c:pt idx="1509">
                  <c:v>44081</c:v>
                </c:pt>
                <c:pt idx="1510">
                  <c:v>44082</c:v>
                </c:pt>
                <c:pt idx="1511">
                  <c:v>44083</c:v>
                </c:pt>
                <c:pt idx="1512">
                  <c:v>44084</c:v>
                </c:pt>
                <c:pt idx="1513">
                  <c:v>44085</c:v>
                </c:pt>
                <c:pt idx="1514">
                  <c:v>44088</c:v>
                </c:pt>
                <c:pt idx="1515">
                  <c:v>44089</c:v>
                </c:pt>
                <c:pt idx="1516">
                  <c:v>44090</c:v>
                </c:pt>
                <c:pt idx="1517">
                  <c:v>44091</c:v>
                </c:pt>
                <c:pt idx="1518">
                  <c:v>44092</c:v>
                </c:pt>
                <c:pt idx="1519">
                  <c:v>44095</c:v>
                </c:pt>
                <c:pt idx="1520">
                  <c:v>44096</c:v>
                </c:pt>
                <c:pt idx="1521">
                  <c:v>44097</c:v>
                </c:pt>
                <c:pt idx="1522">
                  <c:v>44098</c:v>
                </c:pt>
                <c:pt idx="1523">
                  <c:v>44099</c:v>
                </c:pt>
                <c:pt idx="1524">
                  <c:v>44102</c:v>
                </c:pt>
                <c:pt idx="1525">
                  <c:v>44103</c:v>
                </c:pt>
                <c:pt idx="1526">
                  <c:v>44104</c:v>
                </c:pt>
                <c:pt idx="1527">
                  <c:v>44105</c:v>
                </c:pt>
                <c:pt idx="1528">
                  <c:v>44106</c:v>
                </c:pt>
                <c:pt idx="1529">
                  <c:v>44109</c:v>
                </c:pt>
                <c:pt idx="1530">
                  <c:v>44110</c:v>
                </c:pt>
                <c:pt idx="1531">
                  <c:v>44111</c:v>
                </c:pt>
                <c:pt idx="1532">
                  <c:v>44112</c:v>
                </c:pt>
                <c:pt idx="1533">
                  <c:v>44113</c:v>
                </c:pt>
                <c:pt idx="1534">
                  <c:v>44116</c:v>
                </c:pt>
                <c:pt idx="1535">
                  <c:v>44117</c:v>
                </c:pt>
                <c:pt idx="1536">
                  <c:v>44118</c:v>
                </c:pt>
                <c:pt idx="1537">
                  <c:v>44119</c:v>
                </c:pt>
                <c:pt idx="1538">
                  <c:v>44120</c:v>
                </c:pt>
                <c:pt idx="1539">
                  <c:v>44123</c:v>
                </c:pt>
                <c:pt idx="1540">
                  <c:v>44124</c:v>
                </c:pt>
                <c:pt idx="1541">
                  <c:v>44125</c:v>
                </c:pt>
                <c:pt idx="1542">
                  <c:v>44126</c:v>
                </c:pt>
                <c:pt idx="1543">
                  <c:v>44127</c:v>
                </c:pt>
                <c:pt idx="1544">
                  <c:v>44130</c:v>
                </c:pt>
                <c:pt idx="1545">
                  <c:v>44131</c:v>
                </c:pt>
                <c:pt idx="1546">
                  <c:v>44132</c:v>
                </c:pt>
                <c:pt idx="1547">
                  <c:v>44133</c:v>
                </c:pt>
                <c:pt idx="1548">
                  <c:v>44134</c:v>
                </c:pt>
                <c:pt idx="1549">
                  <c:v>44137</c:v>
                </c:pt>
                <c:pt idx="1550">
                  <c:v>44138</c:v>
                </c:pt>
                <c:pt idx="1551">
                  <c:v>44139</c:v>
                </c:pt>
                <c:pt idx="1552">
                  <c:v>44140</c:v>
                </c:pt>
                <c:pt idx="1553">
                  <c:v>44141</c:v>
                </c:pt>
                <c:pt idx="1554">
                  <c:v>44144</c:v>
                </c:pt>
                <c:pt idx="1555">
                  <c:v>44145</c:v>
                </c:pt>
                <c:pt idx="1556">
                  <c:v>44146</c:v>
                </c:pt>
                <c:pt idx="1557">
                  <c:v>44147</c:v>
                </c:pt>
                <c:pt idx="1558">
                  <c:v>44148</c:v>
                </c:pt>
                <c:pt idx="1559">
                  <c:v>44151</c:v>
                </c:pt>
                <c:pt idx="1560">
                  <c:v>44152</c:v>
                </c:pt>
                <c:pt idx="1561">
                  <c:v>44153</c:v>
                </c:pt>
                <c:pt idx="1562">
                  <c:v>44154</c:v>
                </c:pt>
                <c:pt idx="1563">
                  <c:v>44155</c:v>
                </c:pt>
                <c:pt idx="1564">
                  <c:v>44158</c:v>
                </c:pt>
                <c:pt idx="1565">
                  <c:v>44159</c:v>
                </c:pt>
                <c:pt idx="1566">
                  <c:v>44160</c:v>
                </c:pt>
                <c:pt idx="1567">
                  <c:v>44161</c:v>
                </c:pt>
                <c:pt idx="1568">
                  <c:v>44162</c:v>
                </c:pt>
                <c:pt idx="1569">
                  <c:v>44165</c:v>
                </c:pt>
                <c:pt idx="1570">
                  <c:v>44166</c:v>
                </c:pt>
                <c:pt idx="1571">
                  <c:v>44167</c:v>
                </c:pt>
                <c:pt idx="1572">
                  <c:v>44168</c:v>
                </c:pt>
                <c:pt idx="1573">
                  <c:v>44169</c:v>
                </c:pt>
                <c:pt idx="1574">
                  <c:v>44172</c:v>
                </c:pt>
                <c:pt idx="1575">
                  <c:v>44173</c:v>
                </c:pt>
                <c:pt idx="1576">
                  <c:v>44174</c:v>
                </c:pt>
                <c:pt idx="1577">
                  <c:v>44175</c:v>
                </c:pt>
                <c:pt idx="1578">
                  <c:v>44176</c:v>
                </c:pt>
                <c:pt idx="1579">
                  <c:v>44179</c:v>
                </c:pt>
                <c:pt idx="1580">
                  <c:v>44180</c:v>
                </c:pt>
                <c:pt idx="1581">
                  <c:v>44181</c:v>
                </c:pt>
                <c:pt idx="1582">
                  <c:v>44182</c:v>
                </c:pt>
                <c:pt idx="1583">
                  <c:v>44183</c:v>
                </c:pt>
                <c:pt idx="1584">
                  <c:v>44186</c:v>
                </c:pt>
                <c:pt idx="1585">
                  <c:v>44187</c:v>
                </c:pt>
                <c:pt idx="1586">
                  <c:v>44188</c:v>
                </c:pt>
                <c:pt idx="1587">
                  <c:v>44189</c:v>
                </c:pt>
                <c:pt idx="1588">
                  <c:v>44190</c:v>
                </c:pt>
                <c:pt idx="1589">
                  <c:v>44193</c:v>
                </c:pt>
                <c:pt idx="1590">
                  <c:v>44194</c:v>
                </c:pt>
                <c:pt idx="1591">
                  <c:v>44195</c:v>
                </c:pt>
                <c:pt idx="1592">
                  <c:v>44196</c:v>
                </c:pt>
                <c:pt idx="1593">
                  <c:v>44197</c:v>
                </c:pt>
                <c:pt idx="1594">
                  <c:v>44200</c:v>
                </c:pt>
                <c:pt idx="1595">
                  <c:v>44201</c:v>
                </c:pt>
                <c:pt idx="1596">
                  <c:v>44202</c:v>
                </c:pt>
                <c:pt idx="1597">
                  <c:v>44203</c:v>
                </c:pt>
                <c:pt idx="1598">
                  <c:v>44204</c:v>
                </c:pt>
                <c:pt idx="1599">
                  <c:v>44207</c:v>
                </c:pt>
                <c:pt idx="1600">
                  <c:v>44208</c:v>
                </c:pt>
                <c:pt idx="1601">
                  <c:v>44209</c:v>
                </c:pt>
                <c:pt idx="1602">
                  <c:v>44210</c:v>
                </c:pt>
                <c:pt idx="1603">
                  <c:v>44211</c:v>
                </c:pt>
                <c:pt idx="1604">
                  <c:v>44214</c:v>
                </c:pt>
                <c:pt idx="1605">
                  <c:v>44215</c:v>
                </c:pt>
                <c:pt idx="1606">
                  <c:v>44216</c:v>
                </c:pt>
                <c:pt idx="1607">
                  <c:v>44217</c:v>
                </c:pt>
                <c:pt idx="1608">
                  <c:v>44218</c:v>
                </c:pt>
                <c:pt idx="1609">
                  <c:v>44221</c:v>
                </c:pt>
                <c:pt idx="1610">
                  <c:v>44222</c:v>
                </c:pt>
                <c:pt idx="1611">
                  <c:v>44223</c:v>
                </c:pt>
                <c:pt idx="1612">
                  <c:v>44224</c:v>
                </c:pt>
                <c:pt idx="1613">
                  <c:v>44225</c:v>
                </c:pt>
                <c:pt idx="1614">
                  <c:v>44228</c:v>
                </c:pt>
                <c:pt idx="1615">
                  <c:v>44229</c:v>
                </c:pt>
                <c:pt idx="1616">
                  <c:v>44230</c:v>
                </c:pt>
                <c:pt idx="1617">
                  <c:v>44231</c:v>
                </c:pt>
                <c:pt idx="1618">
                  <c:v>44232</c:v>
                </c:pt>
                <c:pt idx="1619">
                  <c:v>44235</c:v>
                </c:pt>
                <c:pt idx="1620">
                  <c:v>44236</c:v>
                </c:pt>
                <c:pt idx="1621">
                  <c:v>44237</c:v>
                </c:pt>
                <c:pt idx="1622">
                  <c:v>44238</c:v>
                </c:pt>
                <c:pt idx="1623">
                  <c:v>44239</c:v>
                </c:pt>
                <c:pt idx="1624">
                  <c:v>44242</c:v>
                </c:pt>
                <c:pt idx="1625">
                  <c:v>44243</c:v>
                </c:pt>
                <c:pt idx="1626">
                  <c:v>44244</c:v>
                </c:pt>
                <c:pt idx="1627">
                  <c:v>44245</c:v>
                </c:pt>
                <c:pt idx="1628">
                  <c:v>44246</c:v>
                </c:pt>
                <c:pt idx="1629">
                  <c:v>44249</c:v>
                </c:pt>
                <c:pt idx="1630">
                  <c:v>44250</c:v>
                </c:pt>
                <c:pt idx="1631">
                  <c:v>44251</c:v>
                </c:pt>
                <c:pt idx="1632">
                  <c:v>44252</c:v>
                </c:pt>
                <c:pt idx="1633">
                  <c:v>44253</c:v>
                </c:pt>
                <c:pt idx="1634">
                  <c:v>44256</c:v>
                </c:pt>
                <c:pt idx="1635">
                  <c:v>44257</c:v>
                </c:pt>
                <c:pt idx="1636">
                  <c:v>44258</c:v>
                </c:pt>
                <c:pt idx="1637">
                  <c:v>44259</c:v>
                </c:pt>
                <c:pt idx="1638">
                  <c:v>44260</c:v>
                </c:pt>
                <c:pt idx="1639">
                  <c:v>44263</c:v>
                </c:pt>
                <c:pt idx="1640">
                  <c:v>44264</c:v>
                </c:pt>
                <c:pt idx="1641">
                  <c:v>44265</c:v>
                </c:pt>
                <c:pt idx="1642">
                  <c:v>44266</c:v>
                </c:pt>
                <c:pt idx="1643">
                  <c:v>44267</c:v>
                </c:pt>
                <c:pt idx="1644">
                  <c:v>44270</c:v>
                </c:pt>
                <c:pt idx="1645">
                  <c:v>44271</c:v>
                </c:pt>
                <c:pt idx="1646">
                  <c:v>44272</c:v>
                </c:pt>
                <c:pt idx="1647">
                  <c:v>44273</c:v>
                </c:pt>
                <c:pt idx="1648">
                  <c:v>44274</c:v>
                </c:pt>
                <c:pt idx="1649">
                  <c:v>44277</c:v>
                </c:pt>
                <c:pt idx="1650">
                  <c:v>44278</c:v>
                </c:pt>
                <c:pt idx="1651">
                  <c:v>44279</c:v>
                </c:pt>
                <c:pt idx="1652">
                  <c:v>44280</c:v>
                </c:pt>
                <c:pt idx="1653">
                  <c:v>44281</c:v>
                </c:pt>
                <c:pt idx="1654">
                  <c:v>44284</c:v>
                </c:pt>
                <c:pt idx="1655">
                  <c:v>44285</c:v>
                </c:pt>
                <c:pt idx="1656">
                  <c:v>44286</c:v>
                </c:pt>
                <c:pt idx="1657">
                  <c:v>44287</c:v>
                </c:pt>
                <c:pt idx="1658">
                  <c:v>44288</c:v>
                </c:pt>
                <c:pt idx="1659">
                  <c:v>44291</c:v>
                </c:pt>
                <c:pt idx="1660">
                  <c:v>44292</c:v>
                </c:pt>
                <c:pt idx="1661">
                  <c:v>44293</c:v>
                </c:pt>
                <c:pt idx="1662">
                  <c:v>44294</c:v>
                </c:pt>
                <c:pt idx="1663">
                  <c:v>44295</c:v>
                </c:pt>
                <c:pt idx="1664">
                  <c:v>44298</c:v>
                </c:pt>
                <c:pt idx="1665">
                  <c:v>44299</c:v>
                </c:pt>
                <c:pt idx="1666">
                  <c:v>44300</c:v>
                </c:pt>
                <c:pt idx="1667">
                  <c:v>44301</c:v>
                </c:pt>
                <c:pt idx="1668">
                  <c:v>44302</c:v>
                </c:pt>
                <c:pt idx="1669">
                  <c:v>44305</c:v>
                </c:pt>
                <c:pt idx="1670">
                  <c:v>44306</c:v>
                </c:pt>
                <c:pt idx="1671">
                  <c:v>44307</c:v>
                </c:pt>
                <c:pt idx="1672">
                  <c:v>44308</c:v>
                </c:pt>
                <c:pt idx="1673">
                  <c:v>44309</c:v>
                </c:pt>
                <c:pt idx="1674">
                  <c:v>44312</c:v>
                </c:pt>
                <c:pt idx="1675">
                  <c:v>44313</c:v>
                </c:pt>
                <c:pt idx="1676">
                  <c:v>44314</c:v>
                </c:pt>
                <c:pt idx="1677">
                  <c:v>44315</c:v>
                </c:pt>
                <c:pt idx="1678">
                  <c:v>44316</c:v>
                </c:pt>
                <c:pt idx="1679">
                  <c:v>44319</c:v>
                </c:pt>
                <c:pt idx="1680">
                  <c:v>44320</c:v>
                </c:pt>
                <c:pt idx="1681">
                  <c:v>44321</c:v>
                </c:pt>
                <c:pt idx="1682">
                  <c:v>44322</c:v>
                </c:pt>
                <c:pt idx="1683">
                  <c:v>44323</c:v>
                </c:pt>
                <c:pt idx="1684">
                  <c:v>44326</c:v>
                </c:pt>
                <c:pt idx="1685">
                  <c:v>44327</c:v>
                </c:pt>
                <c:pt idx="1686">
                  <c:v>44328</c:v>
                </c:pt>
                <c:pt idx="1687">
                  <c:v>44329</c:v>
                </c:pt>
                <c:pt idx="1688">
                  <c:v>44330</c:v>
                </c:pt>
                <c:pt idx="1689">
                  <c:v>44333</c:v>
                </c:pt>
                <c:pt idx="1690">
                  <c:v>44334</c:v>
                </c:pt>
                <c:pt idx="1691">
                  <c:v>44335</c:v>
                </c:pt>
                <c:pt idx="1692">
                  <c:v>44336</c:v>
                </c:pt>
                <c:pt idx="1693">
                  <c:v>44337</c:v>
                </c:pt>
                <c:pt idx="1694">
                  <c:v>44340</c:v>
                </c:pt>
                <c:pt idx="1695">
                  <c:v>44341</c:v>
                </c:pt>
                <c:pt idx="1696">
                  <c:v>44342</c:v>
                </c:pt>
                <c:pt idx="1697">
                  <c:v>44343</c:v>
                </c:pt>
                <c:pt idx="1698">
                  <c:v>44344</c:v>
                </c:pt>
                <c:pt idx="1699">
                  <c:v>44347</c:v>
                </c:pt>
                <c:pt idx="1700">
                  <c:v>44348</c:v>
                </c:pt>
                <c:pt idx="1701">
                  <c:v>44349</c:v>
                </c:pt>
                <c:pt idx="1702">
                  <c:v>44350</c:v>
                </c:pt>
                <c:pt idx="1703">
                  <c:v>44351</c:v>
                </c:pt>
                <c:pt idx="1704">
                  <c:v>44354</c:v>
                </c:pt>
                <c:pt idx="1705">
                  <c:v>44355</c:v>
                </c:pt>
                <c:pt idx="1706">
                  <c:v>44356</c:v>
                </c:pt>
                <c:pt idx="1707">
                  <c:v>44357</c:v>
                </c:pt>
                <c:pt idx="1708">
                  <c:v>44358</c:v>
                </c:pt>
                <c:pt idx="1709">
                  <c:v>44361</c:v>
                </c:pt>
                <c:pt idx="1710">
                  <c:v>44362</c:v>
                </c:pt>
                <c:pt idx="1711">
                  <c:v>44363</c:v>
                </c:pt>
                <c:pt idx="1712">
                  <c:v>44364</c:v>
                </c:pt>
                <c:pt idx="1713">
                  <c:v>44365</c:v>
                </c:pt>
                <c:pt idx="1714">
                  <c:v>44368</c:v>
                </c:pt>
                <c:pt idx="1715">
                  <c:v>44369</c:v>
                </c:pt>
                <c:pt idx="1716">
                  <c:v>44370</c:v>
                </c:pt>
                <c:pt idx="1717">
                  <c:v>44371</c:v>
                </c:pt>
                <c:pt idx="1718">
                  <c:v>44372</c:v>
                </c:pt>
                <c:pt idx="1719">
                  <c:v>44375</c:v>
                </c:pt>
                <c:pt idx="1720">
                  <c:v>44376</c:v>
                </c:pt>
                <c:pt idx="1721">
                  <c:v>44377</c:v>
                </c:pt>
                <c:pt idx="1722">
                  <c:v>44378</c:v>
                </c:pt>
                <c:pt idx="1723">
                  <c:v>44379</c:v>
                </c:pt>
                <c:pt idx="1724">
                  <c:v>44382</c:v>
                </c:pt>
                <c:pt idx="1725">
                  <c:v>44383</c:v>
                </c:pt>
                <c:pt idx="1726">
                  <c:v>44384</c:v>
                </c:pt>
                <c:pt idx="1727">
                  <c:v>44385</c:v>
                </c:pt>
                <c:pt idx="1728">
                  <c:v>44386</c:v>
                </c:pt>
                <c:pt idx="1729">
                  <c:v>44389</c:v>
                </c:pt>
                <c:pt idx="1730">
                  <c:v>44390</c:v>
                </c:pt>
                <c:pt idx="1731">
                  <c:v>44391</c:v>
                </c:pt>
                <c:pt idx="1732">
                  <c:v>44392</c:v>
                </c:pt>
                <c:pt idx="1733">
                  <c:v>44393</c:v>
                </c:pt>
                <c:pt idx="1734">
                  <c:v>44396</c:v>
                </c:pt>
                <c:pt idx="1735">
                  <c:v>44397</c:v>
                </c:pt>
                <c:pt idx="1736">
                  <c:v>44398</c:v>
                </c:pt>
                <c:pt idx="1737">
                  <c:v>44399</c:v>
                </c:pt>
                <c:pt idx="1738">
                  <c:v>44400</c:v>
                </c:pt>
                <c:pt idx="1739">
                  <c:v>44403</c:v>
                </c:pt>
                <c:pt idx="1740">
                  <c:v>44404</c:v>
                </c:pt>
                <c:pt idx="1741">
                  <c:v>44405</c:v>
                </c:pt>
                <c:pt idx="1742">
                  <c:v>44406</c:v>
                </c:pt>
                <c:pt idx="1743">
                  <c:v>44407</c:v>
                </c:pt>
                <c:pt idx="1744">
                  <c:v>44410</c:v>
                </c:pt>
                <c:pt idx="1745">
                  <c:v>44411</c:v>
                </c:pt>
                <c:pt idx="1746">
                  <c:v>44412</c:v>
                </c:pt>
                <c:pt idx="1747">
                  <c:v>44413</c:v>
                </c:pt>
                <c:pt idx="1748">
                  <c:v>44414</c:v>
                </c:pt>
                <c:pt idx="1749">
                  <c:v>44417</c:v>
                </c:pt>
                <c:pt idx="1750">
                  <c:v>44418</c:v>
                </c:pt>
                <c:pt idx="1751">
                  <c:v>44419</c:v>
                </c:pt>
                <c:pt idx="1752">
                  <c:v>44420</c:v>
                </c:pt>
                <c:pt idx="1753">
                  <c:v>44421</c:v>
                </c:pt>
                <c:pt idx="1754">
                  <c:v>44424</c:v>
                </c:pt>
                <c:pt idx="1755">
                  <c:v>44425</c:v>
                </c:pt>
                <c:pt idx="1756">
                  <c:v>44426</c:v>
                </c:pt>
                <c:pt idx="1757">
                  <c:v>44427</c:v>
                </c:pt>
                <c:pt idx="1758">
                  <c:v>44428</c:v>
                </c:pt>
                <c:pt idx="1759">
                  <c:v>44431</c:v>
                </c:pt>
                <c:pt idx="1760">
                  <c:v>44432</c:v>
                </c:pt>
                <c:pt idx="1761">
                  <c:v>44433</c:v>
                </c:pt>
                <c:pt idx="1762">
                  <c:v>44434</c:v>
                </c:pt>
                <c:pt idx="1763">
                  <c:v>44435</c:v>
                </c:pt>
                <c:pt idx="1764">
                  <c:v>44438</c:v>
                </c:pt>
                <c:pt idx="1765">
                  <c:v>44439</c:v>
                </c:pt>
                <c:pt idx="1766">
                  <c:v>44440</c:v>
                </c:pt>
                <c:pt idx="1767">
                  <c:v>44441</c:v>
                </c:pt>
                <c:pt idx="1768">
                  <c:v>44442</c:v>
                </c:pt>
                <c:pt idx="1769">
                  <c:v>44445</c:v>
                </c:pt>
                <c:pt idx="1770">
                  <c:v>44446</c:v>
                </c:pt>
                <c:pt idx="1771">
                  <c:v>44447</c:v>
                </c:pt>
                <c:pt idx="1772">
                  <c:v>44448</c:v>
                </c:pt>
                <c:pt idx="1773">
                  <c:v>44449</c:v>
                </c:pt>
                <c:pt idx="1774">
                  <c:v>44452</c:v>
                </c:pt>
                <c:pt idx="1775">
                  <c:v>44453</c:v>
                </c:pt>
                <c:pt idx="1776">
                  <c:v>44454</c:v>
                </c:pt>
                <c:pt idx="1777">
                  <c:v>44455</c:v>
                </c:pt>
                <c:pt idx="1778">
                  <c:v>44456</c:v>
                </c:pt>
                <c:pt idx="1779">
                  <c:v>44459</c:v>
                </c:pt>
                <c:pt idx="1780">
                  <c:v>44460</c:v>
                </c:pt>
                <c:pt idx="1781">
                  <c:v>44461</c:v>
                </c:pt>
                <c:pt idx="1782">
                  <c:v>44462</c:v>
                </c:pt>
                <c:pt idx="1783">
                  <c:v>44463</c:v>
                </c:pt>
                <c:pt idx="1784">
                  <c:v>44466</c:v>
                </c:pt>
                <c:pt idx="1785">
                  <c:v>44467</c:v>
                </c:pt>
                <c:pt idx="1786">
                  <c:v>44468</c:v>
                </c:pt>
                <c:pt idx="1787">
                  <c:v>44469</c:v>
                </c:pt>
                <c:pt idx="1788">
                  <c:v>44470</c:v>
                </c:pt>
                <c:pt idx="1789">
                  <c:v>44473</c:v>
                </c:pt>
                <c:pt idx="1790">
                  <c:v>44474</c:v>
                </c:pt>
                <c:pt idx="1791">
                  <c:v>44475</c:v>
                </c:pt>
                <c:pt idx="1792">
                  <c:v>44476</c:v>
                </c:pt>
                <c:pt idx="1793">
                  <c:v>44477</c:v>
                </c:pt>
                <c:pt idx="1794">
                  <c:v>44480</c:v>
                </c:pt>
                <c:pt idx="1795">
                  <c:v>44481</c:v>
                </c:pt>
                <c:pt idx="1796">
                  <c:v>44482</c:v>
                </c:pt>
                <c:pt idx="1797">
                  <c:v>44483</c:v>
                </c:pt>
                <c:pt idx="1798">
                  <c:v>44484</c:v>
                </c:pt>
                <c:pt idx="1799">
                  <c:v>44487</c:v>
                </c:pt>
                <c:pt idx="1800">
                  <c:v>44488</c:v>
                </c:pt>
                <c:pt idx="1801">
                  <c:v>44489</c:v>
                </c:pt>
                <c:pt idx="1802">
                  <c:v>44490</c:v>
                </c:pt>
                <c:pt idx="1803">
                  <c:v>44491</c:v>
                </c:pt>
                <c:pt idx="1804">
                  <c:v>44494</c:v>
                </c:pt>
                <c:pt idx="1805">
                  <c:v>44495</c:v>
                </c:pt>
                <c:pt idx="1806">
                  <c:v>44496</c:v>
                </c:pt>
                <c:pt idx="1807">
                  <c:v>44497</c:v>
                </c:pt>
                <c:pt idx="1808">
                  <c:v>44498</c:v>
                </c:pt>
                <c:pt idx="1809">
                  <c:v>44501</c:v>
                </c:pt>
                <c:pt idx="1810">
                  <c:v>44502</c:v>
                </c:pt>
                <c:pt idx="1811">
                  <c:v>44503</c:v>
                </c:pt>
                <c:pt idx="1812">
                  <c:v>44504</c:v>
                </c:pt>
                <c:pt idx="1813">
                  <c:v>44505</c:v>
                </c:pt>
                <c:pt idx="1814">
                  <c:v>44508</c:v>
                </c:pt>
                <c:pt idx="1815">
                  <c:v>44509</c:v>
                </c:pt>
                <c:pt idx="1816">
                  <c:v>44510</c:v>
                </c:pt>
                <c:pt idx="1817">
                  <c:v>44511</c:v>
                </c:pt>
                <c:pt idx="1818">
                  <c:v>44512</c:v>
                </c:pt>
                <c:pt idx="1819">
                  <c:v>44515</c:v>
                </c:pt>
                <c:pt idx="1820">
                  <c:v>44516</c:v>
                </c:pt>
                <c:pt idx="1821">
                  <c:v>44517</c:v>
                </c:pt>
                <c:pt idx="1822">
                  <c:v>44518</c:v>
                </c:pt>
                <c:pt idx="1823">
                  <c:v>44519</c:v>
                </c:pt>
                <c:pt idx="1824">
                  <c:v>44522</c:v>
                </c:pt>
                <c:pt idx="1825">
                  <c:v>44523</c:v>
                </c:pt>
                <c:pt idx="1826">
                  <c:v>44524</c:v>
                </c:pt>
                <c:pt idx="1827">
                  <c:v>44525</c:v>
                </c:pt>
                <c:pt idx="1828">
                  <c:v>44526</c:v>
                </c:pt>
                <c:pt idx="1829">
                  <c:v>44529</c:v>
                </c:pt>
                <c:pt idx="1830">
                  <c:v>44530</c:v>
                </c:pt>
                <c:pt idx="1831">
                  <c:v>44531</c:v>
                </c:pt>
                <c:pt idx="1832">
                  <c:v>44532</c:v>
                </c:pt>
                <c:pt idx="1833">
                  <c:v>44533</c:v>
                </c:pt>
                <c:pt idx="1834">
                  <c:v>44536</c:v>
                </c:pt>
                <c:pt idx="1835">
                  <c:v>44537</c:v>
                </c:pt>
                <c:pt idx="1836">
                  <c:v>44538</c:v>
                </c:pt>
                <c:pt idx="1837">
                  <c:v>44539</c:v>
                </c:pt>
                <c:pt idx="1838">
                  <c:v>44540</c:v>
                </c:pt>
                <c:pt idx="1839">
                  <c:v>44543</c:v>
                </c:pt>
                <c:pt idx="1840">
                  <c:v>44544</c:v>
                </c:pt>
                <c:pt idx="1841">
                  <c:v>44545</c:v>
                </c:pt>
                <c:pt idx="1842">
                  <c:v>44546</c:v>
                </c:pt>
                <c:pt idx="1843">
                  <c:v>44547</c:v>
                </c:pt>
                <c:pt idx="1844">
                  <c:v>44550</c:v>
                </c:pt>
                <c:pt idx="1845">
                  <c:v>44551</c:v>
                </c:pt>
                <c:pt idx="1846">
                  <c:v>44552</c:v>
                </c:pt>
                <c:pt idx="1847">
                  <c:v>44553</c:v>
                </c:pt>
                <c:pt idx="1848">
                  <c:v>44554</c:v>
                </c:pt>
                <c:pt idx="1849">
                  <c:v>44557</c:v>
                </c:pt>
                <c:pt idx="1850">
                  <c:v>44558</c:v>
                </c:pt>
                <c:pt idx="1851">
                  <c:v>44559</c:v>
                </c:pt>
                <c:pt idx="1852">
                  <c:v>44560</c:v>
                </c:pt>
                <c:pt idx="1853">
                  <c:v>44561</c:v>
                </c:pt>
                <c:pt idx="1854">
                  <c:v>44564</c:v>
                </c:pt>
                <c:pt idx="1855">
                  <c:v>44565</c:v>
                </c:pt>
                <c:pt idx="1856">
                  <c:v>44566</c:v>
                </c:pt>
                <c:pt idx="1857">
                  <c:v>44567</c:v>
                </c:pt>
                <c:pt idx="1858">
                  <c:v>44568</c:v>
                </c:pt>
                <c:pt idx="1859">
                  <c:v>44571</c:v>
                </c:pt>
                <c:pt idx="1860">
                  <c:v>44572</c:v>
                </c:pt>
                <c:pt idx="1861">
                  <c:v>44573</c:v>
                </c:pt>
                <c:pt idx="1862">
                  <c:v>44574</c:v>
                </c:pt>
                <c:pt idx="1863">
                  <c:v>44575</c:v>
                </c:pt>
                <c:pt idx="1864">
                  <c:v>44578</c:v>
                </c:pt>
                <c:pt idx="1865">
                  <c:v>44579</c:v>
                </c:pt>
                <c:pt idx="1866">
                  <c:v>44580</c:v>
                </c:pt>
                <c:pt idx="1867">
                  <c:v>44581</c:v>
                </c:pt>
                <c:pt idx="1868">
                  <c:v>44582</c:v>
                </c:pt>
                <c:pt idx="1869">
                  <c:v>44585</c:v>
                </c:pt>
                <c:pt idx="1870">
                  <c:v>44586</c:v>
                </c:pt>
                <c:pt idx="1871">
                  <c:v>44587</c:v>
                </c:pt>
                <c:pt idx="1872">
                  <c:v>44588</c:v>
                </c:pt>
                <c:pt idx="1873">
                  <c:v>44589</c:v>
                </c:pt>
                <c:pt idx="1874">
                  <c:v>44592</c:v>
                </c:pt>
                <c:pt idx="1875">
                  <c:v>44593</c:v>
                </c:pt>
                <c:pt idx="1876">
                  <c:v>44594</c:v>
                </c:pt>
                <c:pt idx="1877">
                  <c:v>44595</c:v>
                </c:pt>
                <c:pt idx="1878">
                  <c:v>44596</c:v>
                </c:pt>
                <c:pt idx="1879">
                  <c:v>44599</c:v>
                </c:pt>
                <c:pt idx="1880">
                  <c:v>44600</c:v>
                </c:pt>
                <c:pt idx="1881">
                  <c:v>44601</c:v>
                </c:pt>
                <c:pt idx="1882">
                  <c:v>44602</c:v>
                </c:pt>
                <c:pt idx="1883">
                  <c:v>44603</c:v>
                </c:pt>
                <c:pt idx="1884">
                  <c:v>44606</c:v>
                </c:pt>
                <c:pt idx="1885">
                  <c:v>44607</c:v>
                </c:pt>
                <c:pt idx="1886">
                  <c:v>44608</c:v>
                </c:pt>
                <c:pt idx="1887">
                  <c:v>44609</c:v>
                </c:pt>
                <c:pt idx="1888">
                  <c:v>44610</c:v>
                </c:pt>
                <c:pt idx="1889">
                  <c:v>44613</c:v>
                </c:pt>
                <c:pt idx="1890">
                  <c:v>44614</c:v>
                </c:pt>
                <c:pt idx="1891">
                  <c:v>44615</c:v>
                </c:pt>
                <c:pt idx="1892">
                  <c:v>44616</c:v>
                </c:pt>
                <c:pt idx="1893">
                  <c:v>44617</c:v>
                </c:pt>
                <c:pt idx="1894">
                  <c:v>44620</c:v>
                </c:pt>
                <c:pt idx="1895">
                  <c:v>44621</c:v>
                </c:pt>
                <c:pt idx="1896">
                  <c:v>44622</c:v>
                </c:pt>
                <c:pt idx="1897">
                  <c:v>44623</c:v>
                </c:pt>
                <c:pt idx="1898">
                  <c:v>44624</c:v>
                </c:pt>
                <c:pt idx="1899">
                  <c:v>44627</c:v>
                </c:pt>
                <c:pt idx="1900">
                  <c:v>44628</c:v>
                </c:pt>
                <c:pt idx="1901">
                  <c:v>44629</c:v>
                </c:pt>
                <c:pt idx="1902">
                  <c:v>44630</c:v>
                </c:pt>
                <c:pt idx="1903">
                  <c:v>44631</c:v>
                </c:pt>
                <c:pt idx="1904">
                  <c:v>44634</c:v>
                </c:pt>
                <c:pt idx="1905">
                  <c:v>44635</c:v>
                </c:pt>
                <c:pt idx="1906">
                  <c:v>44636</c:v>
                </c:pt>
                <c:pt idx="1907">
                  <c:v>44637</c:v>
                </c:pt>
                <c:pt idx="1908">
                  <c:v>44638</c:v>
                </c:pt>
                <c:pt idx="1909">
                  <c:v>44641</c:v>
                </c:pt>
                <c:pt idx="1910">
                  <c:v>44642</c:v>
                </c:pt>
                <c:pt idx="1911">
                  <c:v>44643</c:v>
                </c:pt>
                <c:pt idx="1912">
                  <c:v>44644</c:v>
                </c:pt>
                <c:pt idx="1913">
                  <c:v>44645</c:v>
                </c:pt>
                <c:pt idx="1914">
                  <c:v>44648</c:v>
                </c:pt>
                <c:pt idx="1915">
                  <c:v>44649</c:v>
                </c:pt>
                <c:pt idx="1916">
                  <c:v>44650</c:v>
                </c:pt>
                <c:pt idx="1917">
                  <c:v>44651</c:v>
                </c:pt>
                <c:pt idx="1918">
                  <c:v>44652</c:v>
                </c:pt>
                <c:pt idx="1919">
                  <c:v>44655</c:v>
                </c:pt>
                <c:pt idx="1920">
                  <c:v>44656</c:v>
                </c:pt>
                <c:pt idx="1921">
                  <c:v>44657</c:v>
                </c:pt>
                <c:pt idx="1922">
                  <c:v>44658</c:v>
                </c:pt>
                <c:pt idx="1923">
                  <c:v>44659</c:v>
                </c:pt>
                <c:pt idx="1924">
                  <c:v>44662</c:v>
                </c:pt>
                <c:pt idx="1925">
                  <c:v>44663</c:v>
                </c:pt>
                <c:pt idx="1926">
                  <c:v>44664</c:v>
                </c:pt>
                <c:pt idx="1927">
                  <c:v>44665</c:v>
                </c:pt>
                <c:pt idx="1928">
                  <c:v>44666</c:v>
                </c:pt>
                <c:pt idx="1929">
                  <c:v>44669</c:v>
                </c:pt>
                <c:pt idx="1930">
                  <c:v>44670</c:v>
                </c:pt>
                <c:pt idx="1931">
                  <c:v>44671</c:v>
                </c:pt>
                <c:pt idx="1932">
                  <c:v>44672</c:v>
                </c:pt>
                <c:pt idx="1933">
                  <c:v>44673</c:v>
                </c:pt>
                <c:pt idx="1934">
                  <c:v>44676</c:v>
                </c:pt>
                <c:pt idx="1935">
                  <c:v>44677</c:v>
                </c:pt>
                <c:pt idx="1936">
                  <c:v>44678</c:v>
                </c:pt>
                <c:pt idx="1937">
                  <c:v>44679</c:v>
                </c:pt>
                <c:pt idx="1938">
                  <c:v>44680</c:v>
                </c:pt>
                <c:pt idx="1939">
                  <c:v>44683</c:v>
                </c:pt>
                <c:pt idx="1940">
                  <c:v>44684</c:v>
                </c:pt>
                <c:pt idx="1941">
                  <c:v>44685</c:v>
                </c:pt>
                <c:pt idx="1942">
                  <c:v>44686</c:v>
                </c:pt>
                <c:pt idx="1943">
                  <c:v>44687</c:v>
                </c:pt>
                <c:pt idx="1944">
                  <c:v>44690</c:v>
                </c:pt>
                <c:pt idx="1945">
                  <c:v>44691</c:v>
                </c:pt>
                <c:pt idx="1946">
                  <c:v>44692</c:v>
                </c:pt>
                <c:pt idx="1947">
                  <c:v>44693</c:v>
                </c:pt>
                <c:pt idx="1948">
                  <c:v>44694</c:v>
                </c:pt>
                <c:pt idx="1949">
                  <c:v>44697</c:v>
                </c:pt>
                <c:pt idx="1950">
                  <c:v>44698</c:v>
                </c:pt>
                <c:pt idx="1951">
                  <c:v>44699</c:v>
                </c:pt>
                <c:pt idx="1952">
                  <c:v>44700</c:v>
                </c:pt>
                <c:pt idx="1953">
                  <c:v>44701</c:v>
                </c:pt>
                <c:pt idx="1954">
                  <c:v>44704</c:v>
                </c:pt>
                <c:pt idx="1955">
                  <c:v>44705</c:v>
                </c:pt>
                <c:pt idx="1956">
                  <c:v>44706</c:v>
                </c:pt>
                <c:pt idx="1957">
                  <c:v>44707</c:v>
                </c:pt>
                <c:pt idx="1958">
                  <c:v>44708</c:v>
                </c:pt>
                <c:pt idx="1959">
                  <c:v>44711</c:v>
                </c:pt>
                <c:pt idx="1960">
                  <c:v>44712</c:v>
                </c:pt>
                <c:pt idx="1961">
                  <c:v>44713</c:v>
                </c:pt>
                <c:pt idx="1962">
                  <c:v>44714</c:v>
                </c:pt>
                <c:pt idx="1963">
                  <c:v>44715</c:v>
                </c:pt>
                <c:pt idx="1964">
                  <c:v>44718</c:v>
                </c:pt>
                <c:pt idx="1965">
                  <c:v>44719</c:v>
                </c:pt>
                <c:pt idx="1966">
                  <c:v>44720</c:v>
                </c:pt>
                <c:pt idx="1967">
                  <c:v>44721</c:v>
                </c:pt>
                <c:pt idx="1968">
                  <c:v>44722</c:v>
                </c:pt>
                <c:pt idx="1969">
                  <c:v>44725</c:v>
                </c:pt>
                <c:pt idx="1970">
                  <c:v>44726</c:v>
                </c:pt>
                <c:pt idx="1971">
                  <c:v>44727</c:v>
                </c:pt>
                <c:pt idx="1972">
                  <c:v>44728</c:v>
                </c:pt>
                <c:pt idx="1973">
                  <c:v>44729</c:v>
                </c:pt>
                <c:pt idx="1974">
                  <c:v>44732</c:v>
                </c:pt>
                <c:pt idx="1975">
                  <c:v>44733</c:v>
                </c:pt>
                <c:pt idx="1976">
                  <c:v>44734</c:v>
                </c:pt>
                <c:pt idx="1977">
                  <c:v>44735</c:v>
                </c:pt>
                <c:pt idx="1978">
                  <c:v>44736</c:v>
                </c:pt>
                <c:pt idx="1979">
                  <c:v>44739</c:v>
                </c:pt>
                <c:pt idx="1980">
                  <c:v>44740</c:v>
                </c:pt>
                <c:pt idx="1981">
                  <c:v>44741</c:v>
                </c:pt>
                <c:pt idx="1982">
                  <c:v>44742</c:v>
                </c:pt>
                <c:pt idx="1983">
                  <c:v>44743</c:v>
                </c:pt>
                <c:pt idx="1984">
                  <c:v>44746</c:v>
                </c:pt>
                <c:pt idx="1985">
                  <c:v>44747</c:v>
                </c:pt>
                <c:pt idx="1986">
                  <c:v>44748</c:v>
                </c:pt>
                <c:pt idx="1987">
                  <c:v>44749</c:v>
                </c:pt>
                <c:pt idx="1988">
                  <c:v>44750</c:v>
                </c:pt>
                <c:pt idx="1989">
                  <c:v>44753</c:v>
                </c:pt>
                <c:pt idx="1990">
                  <c:v>44754</c:v>
                </c:pt>
                <c:pt idx="1991">
                  <c:v>44755</c:v>
                </c:pt>
                <c:pt idx="1992">
                  <c:v>44756</c:v>
                </c:pt>
                <c:pt idx="1993">
                  <c:v>44757</c:v>
                </c:pt>
                <c:pt idx="1994">
                  <c:v>44760</c:v>
                </c:pt>
                <c:pt idx="1995">
                  <c:v>44761</c:v>
                </c:pt>
                <c:pt idx="1996">
                  <c:v>44762</c:v>
                </c:pt>
                <c:pt idx="1997">
                  <c:v>44763</c:v>
                </c:pt>
                <c:pt idx="1998">
                  <c:v>44764</c:v>
                </c:pt>
                <c:pt idx="1999">
                  <c:v>44767</c:v>
                </c:pt>
                <c:pt idx="2000">
                  <c:v>44768</c:v>
                </c:pt>
                <c:pt idx="2001">
                  <c:v>44769</c:v>
                </c:pt>
                <c:pt idx="2002">
                  <c:v>44770</c:v>
                </c:pt>
                <c:pt idx="2003">
                  <c:v>44771</c:v>
                </c:pt>
                <c:pt idx="2004">
                  <c:v>44774</c:v>
                </c:pt>
                <c:pt idx="2005">
                  <c:v>44775</c:v>
                </c:pt>
                <c:pt idx="2006">
                  <c:v>44776</c:v>
                </c:pt>
                <c:pt idx="2007">
                  <c:v>44777</c:v>
                </c:pt>
                <c:pt idx="2008">
                  <c:v>44778</c:v>
                </c:pt>
                <c:pt idx="2009">
                  <c:v>44781</c:v>
                </c:pt>
                <c:pt idx="2010">
                  <c:v>44782</c:v>
                </c:pt>
                <c:pt idx="2011">
                  <c:v>44783</c:v>
                </c:pt>
                <c:pt idx="2012">
                  <c:v>44784</c:v>
                </c:pt>
                <c:pt idx="2013">
                  <c:v>44785</c:v>
                </c:pt>
                <c:pt idx="2014">
                  <c:v>44788</c:v>
                </c:pt>
                <c:pt idx="2015">
                  <c:v>44789</c:v>
                </c:pt>
                <c:pt idx="2016">
                  <c:v>44790</c:v>
                </c:pt>
                <c:pt idx="2017">
                  <c:v>44791</c:v>
                </c:pt>
                <c:pt idx="2018">
                  <c:v>44792</c:v>
                </c:pt>
                <c:pt idx="2019">
                  <c:v>44795</c:v>
                </c:pt>
                <c:pt idx="2020">
                  <c:v>44796</c:v>
                </c:pt>
                <c:pt idx="2021">
                  <c:v>44797</c:v>
                </c:pt>
                <c:pt idx="2022">
                  <c:v>44798</c:v>
                </c:pt>
                <c:pt idx="2023">
                  <c:v>44799</c:v>
                </c:pt>
                <c:pt idx="2024">
                  <c:v>44802</c:v>
                </c:pt>
                <c:pt idx="2025">
                  <c:v>44803</c:v>
                </c:pt>
                <c:pt idx="2026">
                  <c:v>44804</c:v>
                </c:pt>
                <c:pt idx="2027">
                  <c:v>44805</c:v>
                </c:pt>
                <c:pt idx="2028">
                  <c:v>44806</c:v>
                </c:pt>
                <c:pt idx="2029">
                  <c:v>44809</c:v>
                </c:pt>
                <c:pt idx="2030">
                  <c:v>44810</c:v>
                </c:pt>
                <c:pt idx="2031">
                  <c:v>44811</c:v>
                </c:pt>
                <c:pt idx="2032">
                  <c:v>44812</c:v>
                </c:pt>
                <c:pt idx="2033">
                  <c:v>44813</c:v>
                </c:pt>
                <c:pt idx="2034">
                  <c:v>44816</c:v>
                </c:pt>
                <c:pt idx="2035">
                  <c:v>44817</c:v>
                </c:pt>
                <c:pt idx="2036">
                  <c:v>44818</c:v>
                </c:pt>
                <c:pt idx="2037">
                  <c:v>44819</c:v>
                </c:pt>
                <c:pt idx="2038">
                  <c:v>44820</c:v>
                </c:pt>
                <c:pt idx="2039">
                  <c:v>44823</c:v>
                </c:pt>
                <c:pt idx="2040">
                  <c:v>44824</c:v>
                </c:pt>
                <c:pt idx="2041">
                  <c:v>44825</c:v>
                </c:pt>
                <c:pt idx="2042">
                  <c:v>44826</c:v>
                </c:pt>
                <c:pt idx="2043">
                  <c:v>44827</c:v>
                </c:pt>
                <c:pt idx="2044">
                  <c:v>44830</c:v>
                </c:pt>
                <c:pt idx="2045">
                  <c:v>44831</c:v>
                </c:pt>
                <c:pt idx="2046">
                  <c:v>44832</c:v>
                </c:pt>
                <c:pt idx="2047">
                  <c:v>44833</c:v>
                </c:pt>
                <c:pt idx="2048">
                  <c:v>44834</c:v>
                </c:pt>
                <c:pt idx="2049">
                  <c:v>44837</c:v>
                </c:pt>
                <c:pt idx="2050">
                  <c:v>44838</c:v>
                </c:pt>
                <c:pt idx="2051">
                  <c:v>44839</c:v>
                </c:pt>
                <c:pt idx="2052">
                  <c:v>44840</c:v>
                </c:pt>
                <c:pt idx="2053">
                  <c:v>44841</c:v>
                </c:pt>
                <c:pt idx="2054">
                  <c:v>44844</c:v>
                </c:pt>
                <c:pt idx="2055">
                  <c:v>44845</c:v>
                </c:pt>
                <c:pt idx="2056">
                  <c:v>44846</c:v>
                </c:pt>
                <c:pt idx="2057">
                  <c:v>44847</c:v>
                </c:pt>
                <c:pt idx="2058">
                  <c:v>44848</c:v>
                </c:pt>
                <c:pt idx="2059">
                  <c:v>44851</c:v>
                </c:pt>
                <c:pt idx="2060">
                  <c:v>44852</c:v>
                </c:pt>
                <c:pt idx="2061">
                  <c:v>44853</c:v>
                </c:pt>
                <c:pt idx="2062">
                  <c:v>44854</c:v>
                </c:pt>
                <c:pt idx="2063">
                  <c:v>44855</c:v>
                </c:pt>
                <c:pt idx="2064">
                  <c:v>44858</c:v>
                </c:pt>
                <c:pt idx="2065">
                  <c:v>44859</c:v>
                </c:pt>
                <c:pt idx="2066">
                  <c:v>44860</c:v>
                </c:pt>
                <c:pt idx="2067">
                  <c:v>44861</c:v>
                </c:pt>
                <c:pt idx="2068">
                  <c:v>44862</c:v>
                </c:pt>
                <c:pt idx="2069">
                  <c:v>44865</c:v>
                </c:pt>
                <c:pt idx="2070">
                  <c:v>44866</c:v>
                </c:pt>
                <c:pt idx="2071">
                  <c:v>44867</c:v>
                </c:pt>
                <c:pt idx="2072">
                  <c:v>44868</c:v>
                </c:pt>
                <c:pt idx="2073">
                  <c:v>44869</c:v>
                </c:pt>
                <c:pt idx="2074">
                  <c:v>44872</c:v>
                </c:pt>
                <c:pt idx="2075">
                  <c:v>44873</c:v>
                </c:pt>
                <c:pt idx="2076">
                  <c:v>44874</c:v>
                </c:pt>
                <c:pt idx="2077">
                  <c:v>44875</c:v>
                </c:pt>
                <c:pt idx="2078">
                  <c:v>44876</c:v>
                </c:pt>
                <c:pt idx="2079">
                  <c:v>44879</c:v>
                </c:pt>
                <c:pt idx="2080">
                  <c:v>44880</c:v>
                </c:pt>
                <c:pt idx="2081">
                  <c:v>44881</c:v>
                </c:pt>
                <c:pt idx="2082">
                  <c:v>44882</c:v>
                </c:pt>
                <c:pt idx="2083">
                  <c:v>44883</c:v>
                </c:pt>
                <c:pt idx="2084">
                  <c:v>44886</c:v>
                </c:pt>
                <c:pt idx="2085">
                  <c:v>44887</c:v>
                </c:pt>
                <c:pt idx="2086">
                  <c:v>44888</c:v>
                </c:pt>
                <c:pt idx="2087">
                  <c:v>44889</c:v>
                </c:pt>
                <c:pt idx="2088">
                  <c:v>44890</c:v>
                </c:pt>
                <c:pt idx="2089">
                  <c:v>44893</c:v>
                </c:pt>
                <c:pt idx="2090">
                  <c:v>44894</c:v>
                </c:pt>
                <c:pt idx="2091">
                  <c:v>44895</c:v>
                </c:pt>
                <c:pt idx="2092">
                  <c:v>44896</c:v>
                </c:pt>
                <c:pt idx="2093">
                  <c:v>44897</c:v>
                </c:pt>
                <c:pt idx="2094">
                  <c:v>44900</c:v>
                </c:pt>
                <c:pt idx="2095">
                  <c:v>44901</c:v>
                </c:pt>
                <c:pt idx="2096">
                  <c:v>44902</c:v>
                </c:pt>
                <c:pt idx="2097">
                  <c:v>44903</c:v>
                </c:pt>
                <c:pt idx="2098">
                  <c:v>44904</c:v>
                </c:pt>
                <c:pt idx="2099">
                  <c:v>44907</c:v>
                </c:pt>
                <c:pt idx="2100">
                  <c:v>44908</c:v>
                </c:pt>
                <c:pt idx="2101">
                  <c:v>44909</c:v>
                </c:pt>
                <c:pt idx="2102">
                  <c:v>44910</c:v>
                </c:pt>
                <c:pt idx="2103">
                  <c:v>44911</c:v>
                </c:pt>
                <c:pt idx="2104">
                  <c:v>44914</c:v>
                </c:pt>
                <c:pt idx="2105">
                  <c:v>44915</c:v>
                </c:pt>
                <c:pt idx="2106">
                  <c:v>44916</c:v>
                </c:pt>
                <c:pt idx="2107">
                  <c:v>44917</c:v>
                </c:pt>
                <c:pt idx="2108">
                  <c:v>44918</c:v>
                </c:pt>
                <c:pt idx="2109">
                  <c:v>44921</c:v>
                </c:pt>
                <c:pt idx="2110">
                  <c:v>44922</c:v>
                </c:pt>
                <c:pt idx="2111">
                  <c:v>44923</c:v>
                </c:pt>
                <c:pt idx="2112">
                  <c:v>44924</c:v>
                </c:pt>
                <c:pt idx="2113">
                  <c:v>44925</c:v>
                </c:pt>
                <c:pt idx="2114">
                  <c:v>44928</c:v>
                </c:pt>
                <c:pt idx="2115">
                  <c:v>44929</c:v>
                </c:pt>
                <c:pt idx="2116">
                  <c:v>44930</c:v>
                </c:pt>
                <c:pt idx="2117">
                  <c:v>44931</c:v>
                </c:pt>
                <c:pt idx="2118">
                  <c:v>44932</c:v>
                </c:pt>
                <c:pt idx="2119">
                  <c:v>44935</c:v>
                </c:pt>
                <c:pt idx="2120">
                  <c:v>44936</c:v>
                </c:pt>
                <c:pt idx="2121">
                  <c:v>44937</c:v>
                </c:pt>
                <c:pt idx="2122">
                  <c:v>44938</c:v>
                </c:pt>
                <c:pt idx="2123">
                  <c:v>44939</c:v>
                </c:pt>
                <c:pt idx="2124">
                  <c:v>44942</c:v>
                </c:pt>
                <c:pt idx="2125">
                  <c:v>44943</c:v>
                </c:pt>
                <c:pt idx="2126">
                  <c:v>44944</c:v>
                </c:pt>
                <c:pt idx="2127">
                  <c:v>44945</c:v>
                </c:pt>
                <c:pt idx="2128">
                  <c:v>44946</c:v>
                </c:pt>
                <c:pt idx="2129">
                  <c:v>44949</c:v>
                </c:pt>
                <c:pt idx="2130">
                  <c:v>44950</c:v>
                </c:pt>
                <c:pt idx="2131">
                  <c:v>44951</c:v>
                </c:pt>
                <c:pt idx="2132">
                  <c:v>44952</c:v>
                </c:pt>
                <c:pt idx="2133">
                  <c:v>44953</c:v>
                </c:pt>
                <c:pt idx="2134">
                  <c:v>44956</c:v>
                </c:pt>
                <c:pt idx="2135">
                  <c:v>44957</c:v>
                </c:pt>
                <c:pt idx="2136">
                  <c:v>44958</c:v>
                </c:pt>
                <c:pt idx="2137">
                  <c:v>44959</c:v>
                </c:pt>
                <c:pt idx="2138">
                  <c:v>44960</c:v>
                </c:pt>
                <c:pt idx="2139">
                  <c:v>44963</c:v>
                </c:pt>
                <c:pt idx="2140">
                  <c:v>44964</c:v>
                </c:pt>
                <c:pt idx="2141">
                  <c:v>44965</c:v>
                </c:pt>
                <c:pt idx="2142">
                  <c:v>44966</c:v>
                </c:pt>
                <c:pt idx="2143">
                  <c:v>44967</c:v>
                </c:pt>
                <c:pt idx="2144">
                  <c:v>44970</c:v>
                </c:pt>
                <c:pt idx="2145">
                  <c:v>44971</c:v>
                </c:pt>
                <c:pt idx="2146">
                  <c:v>44972</c:v>
                </c:pt>
                <c:pt idx="2147">
                  <c:v>44973</c:v>
                </c:pt>
                <c:pt idx="2148">
                  <c:v>44974</c:v>
                </c:pt>
                <c:pt idx="2149">
                  <c:v>44977</c:v>
                </c:pt>
                <c:pt idx="2150">
                  <c:v>44978</c:v>
                </c:pt>
                <c:pt idx="2151">
                  <c:v>44979</c:v>
                </c:pt>
                <c:pt idx="2152">
                  <c:v>44980</c:v>
                </c:pt>
                <c:pt idx="2153">
                  <c:v>44981</c:v>
                </c:pt>
                <c:pt idx="2154">
                  <c:v>44984</c:v>
                </c:pt>
                <c:pt idx="2155">
                  <c:v>44985</c:v>
                </c:pt>
                <c:pt idx="2156">
                  <c:v>44986</c:v>
                </c:pt>
                <c:pt idx="2157">
                  <c:v>44987</c:v>
                </c:pt>
                <c:pt idx="2158">
                  <c:v>44988</c:v>
                </c:pt>
                <c:pt idx="2159">
                  <c:v>44991</c:v>
                </c:pt>
                <c:pt idx="2160">
                  <c:v>44992</c:v>
                </c:pt>
                <c:pt idx="2161">
                  <c:v>44993</c:v>
                </c:pt>
                <c:pt idx="2162">
                  <c:v>44994</c:v>
                </c:pt>
                <c:pt idx="2163">
                  <c:v>44995</c:v>
                </c:pt>
                <c:pt idx="2164">
                  <c:v>44998</c:v>
                </c:pt>
                <c:pt idx="2165">
                  <c:v>44999</c:v>
                </c:pt>
                <c:pt idx="2166">
                  <c:v>45000</c:v>
                </c:pt>
                <c:pt idx="2167">
                  <c:v>45001</c:v>
                </c:pt>
                <c:pt idx="2168">
                  <c:v>45002</c:v>
                </c:pt>
                <c:pt idx="2169">
                  <c:v>45005</c:v>
                </c:pt>
                <c:pt idx="2170">
                  <c:v>45006</c:v>
                </c:pt>
                <c:pt idx="2171">
                  <c:v>45007</c:v>
                </c:pt>
                <c:pt idx="2172">
                  <c:v>45008</c:v>
                </c:pt>
                <c:pt idx="2173">
                  <c:v>45009</c:v>
                </c:pt>
                <c:pt idx="2174">
                  <c:v>45012</c:v>
                </c:pt>
                <c:pt idx="2175">
                  <c:v>45013</c:v>
                </c:pt>
                <c:pt idx="2176">
                  <c:v>45014</c:v>
                </c:pt>
                <c:pt idx="2177">
                  <c:v>45015</c:v>
                </c:pt>
                <c:pt idx="2178">
                  <c:v>45016</c:v>
                </c:pt>
                <c:pt idx="2179">
                  <c:v>45019</c:v>
                </c:pt>
                <c:pt idx="2180">
                  <c:v>45020</c:v>
                </c:pt>
                <c:pt idx="2181">
                  <c:v>45021</c:v>
                </c:pt>
                <c:pt idx="2182">
                  <c:v>45022</c:v>
                </c:pt>
                <c:pt idx="2183">
                  <c:v>45023</c:v>
                </c:pt>
                <c:pt idx="2184">
                  <c:v>45026</c:v>
                </c:pt>
                <c:pt idx="2185">
                  <c:v>45027</c:v>
                </c:pt>
                <c:pt idx="2186">
                  <c:v>45028</c:v>
                </c:pt>
                <c:pt idx="2187">
                  <c:v>45029</c:v>
                </c:pt>
                <c:pt idx="2188">
                  <c:v>45030</c:v>
                </c:pt>
                <c:pt idx="2189">
                  <c:v>45033</c:v>
                </c:pt>
                <c:pt idx="2190">
                  <c:v>45034</c:v>
                </c:pt>
                <c:pt idx="2191">
                  <c:v>45035</c:v>
                </c:pt>
                <c:pt idx="2192">
                  <c:v>45036</c:v>
                </c:pt>
                <c:pt idx="2193">
                  <c:v>45037</c:v>
                </c:pt>
                <c:pt idx="2194">
                  <c:v>45040</c:v>
                </c:pt>
                <c:pt idx="2195">
                  <c:v>45041</c:v>
                </c:pt>
                <c:pt idx="2196">
                  <c:v>45042</c:v>
                </c:pt>
                <c:pt idx="2197">
                  <c:v>45043</c:v>
                </c:pt>
                <c:pt idx="2198">
                  <c:v>45044</c:v>
                </c:pt>
                <c:pt idx="2199">
                  <c:v>45047</c:v>
                </c:pt>
                <c:pt idx="2200">
                  <c:v>45048</c:v>
                </c:pt>
                <c:pt idx="2201">
                  <c:v>45049</c:v>
                </c:pt>
                <c:pt idx="2202">
                  <c:v>45050</c:v>
                </c:pt>
                <c:pt idx="2203">
                  <c:v>45051</c:v>
                </c:pt>
                <c:pt idx="2204">
                  <c:v>45054</c:v>
                </c:pt>
                <c:pt idx="2205">
                  <c:v>45055</c:v>
                </c:pt>
                <c:pt idx="2206">
                  <c:v>45056</c:v>
                </c:pt>
                <c:pt idx="2207">
                  <c:v>45057</c:v>
                </c:pt>
                <c:pt idx="2208">
                  <c:v>45058</c:v>
                </c:pt>
                <c:pt idx="2209">
                  <c:v>45061</c:v>
                </c:pt>
                <c:pt idx="2210">
                  <c:v>45062</c:v>
                </c:pt>
                <c:pt idx="2211">
                  <c:v>45063</c:v>
                </c:pt>
                <c:pt idx="2212">
                  <c:v>45064</c:v>
                </c:pt>
                <c:pt idx="2213">
                  <c:v>45065</c:v>
                </c:pt>
                <c:pt idx="2214">
                  <c:v>45068</c:v>
                </c:pt>
                <c:pt idx="2215">
                  <c:v>45069</c:v>
                </c:pt>
                <c:pt idx="2216">
                  <c:v>45070</c:v>
                </c:pt>
                <c:pt idx="2217">
                  <c:v>45071</c:v>
                </c:pt>
                <c:pt idx="2218">
                  <c:v>45072</c:v>
                </c:pt>
                <c:pt idx="2219">
                  <c:v>45075</c:v>
                </c:pt>
                <c:pt idx="2220">
                  <c:v>45076</c:v>
                </c:pt>
                <c:pt idx="2221">
                  <c:v>45077</c:v>
                </c:pt>
                <c:pt idx="2222">
                  <c:v>45078</c:v>
                </c:pt>
                <c:pt idx="2223">
                  <c:v>45079</c:v>
                </c:pt>
                <c:pt idx="2224">
                  <c:v>45082</c:v>
                </c:pt>
                <c:pt idx="2225">
                  <c:v>45083</c:v>
                </c:pt>
                <c:pt idx="2226">
                  <c:v>45084</c:v>
                </c:pt>
                <c:pt idx="2227">
                  <c:v>45085</c:v>
                </c:pt>
                <c:pt idx="2228">
                  <c:v>45086</c:v>
                </c:pt>
                <c:pt idx="2229">
                  <c:v>45089</c:v>
                </c:pt>
                <c:pt idx="2230">
                  <c:v>45090</c:v>
                </c:pt>
                <c:pt idx="2231">
                  <c:v>45091</c:v>
                </c:pt>
                <c:pt idx="2232">
                  <c:v>45092</c:v>
                </c:pt>
                <c:pt idx="2233">
                  <c:v>45093</c:v>
                </c:pt>
                <c:pt idx="2234">
                  <c:v>45096</c:v>
                </c:pt>
                <c:pt idx="2235">
                  <c:v>45097</c:v>
                </c:pt>
                <c:pt idx="2236">
                  <c:v>45098</c:v>
                </c:pt>
                <c:pt idx="2237">
                  <c:v>45099</c:v>
                </c:pt>
                <c:pt idx="2238">
                  <c:v>45100</c:v>
                </c:pt>
                <c:pt idx="2239">
                  <c:v>45103</c:v>
                </c:pt>
                <c:pt idx="2240">
                  <c:v>45104</c:v>
                </c:pt>
                <c:pt idx="2241">
                  <c:v>45105</c:v>
                </c:pt>
                <c:pt idx="2242">
                  <c:v>45106</c:v>
                </c:pt>
                <c:pt idx="2243">
                  <c:v>45107</c:v>
                </c:pt>
                <c:pt idx="2244">
                  <c:v>45110</c:v>
                </c:pt>
                <c:pt idx="2245">
                  <c:v>45111</c:v>
                </c:pt>
                <c:pt idx="2246">
                  <c:v>45112</c:v>
                </c:pt>
                <c:pt idx="2247">
                  <c:v>45113</c:v>
                </c:pt>
                <c:pt idx="2248">
                  <c:v>45114</c:v>
                </c:pt>
                <c:pt idx="2249">
                  <c:v>45117</c:v>
                </c:pt>
                <c:pt idx="2250">
                  <c:v>45118</c:v>
                </c:pt>
                <c:pt idx="2251">
                  <c:v>45119</c:v>
                </c:pt>
                <c:pt idx="2252">
                  <c:v>45120</c:v>
                </c:pt>
                <c:pt idx="2253">
                  <c:v>45121</c:v>
                </c:pt>
                <c:pt idx="2254">
                  <c:v>45124</c:v>
                </c:pt>
                <c:pt idx="2255">
                  <c:v>45125</c:v>
                </c:pt>
                <c:pt idx="2256">
                  <c:v>45126</c:v>
                </c:pt>
                <c:pt idx="2257">
                  <c:v>45127</c:v>
                </c:pt>
                <c:pt idx="2258">
                  <c:v>45128</c:v>
                </c:pt>
                <c:pt idx="2259">
                  <c:v>45131</c:v>
                </c:pt>
                <c:pt idx="2260">
                  <c:v>45132</c:v>
                </c:pt>
                <c:pt idx="2261">
                  <c:v>45133</c:v>
                </c:pt>
                <c:pt idx="2262">
                  <c:v>45134</c:v>
                </c:pt>
                <c:pt idx="2263">
                  <c:v>45135</c:v>
                </c:pt>
                <c:pt idx="2264">
                  <c:v>45138</c:v>
                </c:pt>
                <c:pt idx="2265">
                  <c:v>45139</c:v>
                </c:pt>
                <c:pt idx="2266">
                  <c:v>45140</c:v>
                </c:pt>
                <c:pt idx="2267">
                  <c:v>45141</c:v>
                </c:pt>
                <c:pt idx="2268">
                  <c:v>45142</c:v>
                </c:pt>
                <c:pt idx="2269">
                  <c:v>45145</c:v>
                </c:pt>
                <c:pt idx="2270">
                  <c:v>45146</c:v>
                </c:pt>
                <c:pt idx="2271">
                  <c:v>45147</c:v>
                </c:pt>
                <c:pt idx="2272">
                  <c:v>45148</c:v>
                </c:pt>
                <c:pt idx="2273">
                  <c:v>45149</c:v>
                </c:pt>
                <c:pt idx="2274">
                  <c:v>45152</c:v>
                </c:pt>
                <c:pt idx="2275">
                  <c:v>45153</c:v>
                </c:pt>
                <c:pt idx="2276">
                  <c:v>45154</c:v>
                </c:pt>
                <c:pt idx="2277">
                  <c:v>45155</c:v>
                </c:pt>
                <c:pt idx="2278">
                  <c:v>45156</c:v>
                </c:pt>
                <c:pt idx="2279">
                  <c:v>45159</c:v>
                </c:pt>
                <c:pt idx="2280">
                  <c:v>45160</c:v>
                </c:pt>
                <c:pt idx="2281">
                  <c:v>45161</c:v>
                </c:pt>
                <c:pt idx="2282">
                  <c:v>45162</c:v>
                </c:pt>
                <c:pt idx="2283">
                  <c:v>45163</c:v>
                </c:pt>
                <c:pt idx="2284">
                  <c:v>45166</c:v>
                </c:pt>
                <c:pt idx="2285">
                  <c:v>45167</c:v>
                </c:pt>
                <c:pt idx="2286">
                  <c:v>45168</c:v>
                </c:pt>
                <c:pt idx="2287">
                  <c:v>45169</c:v>
                </c:pt>
                <c:pt idx="2288">
                  <c:v>45170</c:v>
                </c:pt>
                <c:pt idx="2289">
                  <c:v>45173</c:v>
                </c:pt>
                <c:pt idx="2290">
                  <c:v>45174</c:v>
                </c:pt>
                <c:pt idx="2291">
                  <c:v>45175</c:v>
                </c:pt>
                <c:pt idx="2292">
                  <c:v>45176</c:v>
                </c:pt>
                <c:pt idx="2293">
                  <c:v>45177</c:v>
                </c:pt>
                <c:pt idx="2294">
                  <c:v>45180</c:v>
                </c:pt>
                <c:pt idx="2295">
                  <c:v>45181</c:v>
                </c:pt>
                <c:pt idx="2296">
                  <c:v>45182</c:v>
                </c:pt>
                <c:pt idx="2297">
                  <c:v>45183</c:v>
                </c:pt>
                <c:pt idx="2298">
                  <c:v>45184</c:v>
                </c:pt>
                <c:pt idx="2299">
                  <c:v>45187</c:v>
                </c:pt>
                <c:pt idx="2300">
                  <c:v>45188</c:v>
                </c:pt>
                <c:pt idx="2301">
                  <c:v>45189</c:v>
                </c:pt>
                <c:pt idx="2302">
                  <c:v>45190</c:v>
                </c:pt>
                <c:pt idx="2303">
                  <c:v>45191</c:v>
                </c:pt>
                <c:pt idx="2304">
                  <c:v>45194</c:v>
                </c:pt>
                <c:pt idx="2305">
                  <c:v>45195</c:v>
                </c:pt>
                <c:pt idx="2306">
                  <c:v>45196</c:v>
                </c:pt>
                <c:pt idx="2307">
                  <c:v>45197</c:v>
                </c:pt>
                <c:pt idx="2308">
                  <c:v>45198</c:v>
                </c:pt>
                <c:pt idx="2309">
                  <c:v>45201</c:v>
                </c:pt>
                <c:pt idx="2310">
                  <c:v>45202</c:v>
                </c:pt>
                <c:pt idx="2311">
                  <c:v>45203</c:v>
                </c:pt>
                <c:pt idx="2312">
                  <c:v>45204</c:v>
                </c:pt>
                <c:pt idx="2313">
                  <c:v>45205</c:v>
                </c:pt>
                <c:pt idx="2314">
                  <c:v>45208</c:v>
                </c:pt>
                <c:pt idx="2315">
                  <c:v>45209</c:v>
                </c:pt>
                <c:pt idx="2316">
                  <c:v>45210</c:v>
                </c:pt>
                <c:pt idx="2317">
                  <c:v>45211</c:v>
                </c:pt>
                <c:pt idx="2318">
                  <c:v>45212</c:v>
                </c:pt>
                <c:pt idx="2319">
                  <c:v>45215</c:v>
                </c:pt>
                <c:pt idx="2320">
                  <c:v>45216</c:v>
                </c:pt>
                <c:pt idx="2321">
                  <c:v>45217</c:v>
                </c:pt>
                <c:pt idx="2322">
                  <c:v>45218</c:v>
                </c:pt>
                <c:pt idx="2323">
                  <c:v>45219</c:v>
                </c:pt>
                <c:pt idx="2324">
                  <c:v>45222</c:v>
                </c:pt>
                <c:pt idx="2325">
                  <c:v>45223</c:v>
                </c:pt>
                <c:pt idx="2326">
                  <c:v>45224</c:v>
                </c:pt>
                <c:pt idx="2327">
                  <c:v>45225</c:v>
                </c:pt>
                <c:pt idx="2328">
                  <c:v>45226</c:v>
                </c:pt>
                <c:pt idx="2329">
                  <c:v>45229</c:v>
                </c:pt>
                <c:pt idx="2330">
                  <c:v>45230</c:v>
                </c:pt>
                <c:pt idx="2331">
                  <c:v>45231</c:v>
                </c:pt>
                <c:pt idx="2332">
                  <c:v>45232</c:v>
                </c:pt>
                <c:pt idx="2333">
                  <c:v>45233</c:v>
                </c:pt>
                <c:pt idx="2334">
                  <c:v>45236</c:v>
                </c:pt>
                <c:pt idx="2335">
                  <c:v>45237</c:v>
                </c:pt>
                <c:pt idx="2336">
                  <c:v>45238</c:v>
                </c:pt>
                <c:pt idx="2337">
                  <c:v>45239</c:v>
                </c:pt>
                <c:pt idx="2338">
                  <c:v>45240</c:v>
                </c:pt>
                <c:pt idx="2339">
                  <c:v>45243</c:v>
                </c:pt>
                <c:pt idx="2340">
                  <c:v>45244</c:v>
                </c:pt>
                <c:pt idx="2341">
                  <c:v>45245</c:v>
                </c:pt>
                <c:pt idx="2342">
                  <c:v>45246</c:v>
                </c:pt>
                <c:pt idx="2343">
                  <c:v>45247</c:v>
                </c:pt>
                <c:pt idx="2344">
                  <c:v>45250</c:v>
                </c:pt>
                <c:pt idx="2345">
                  <c:v>45251</c:v>
                </c:pt>
                <c:pt idx="2346">
                  <c:v>45252</c:v>
                </c:pt>
                <c:pt idx="2347">
                  <c:v>45253</c:v>
                </c:pt>
                <c:pt idx="2348">
                  <c:v>45254</c:v>
                </c:pt>
                <c:pt idx="2349">
                  <c:v>45257</c:v>
                </c:pt>
                <c:pt idx="2350">
                  <c:v>45258</c:v>
                </c:pt>
                <c:pt idx="2351">
                  <c:v>45259</c:v>
                </c:pt>
                <c:pt idx="2352">
                  <c:v>45260</c:v>
                </c:pt>
                <c:pt idx="2353">
                  <c:v>45261</c:v>
                </c:pt>
                <c:pt idx="2354">
                  <c:v>45264</c:v>
                </c:pt>
                <c:pt idx="2355">
                  <c:v>45265</c:v>
                </c:pt>
                <c:pt idx="2356">
                  <c:v>45266</c:v>
                </c:pt>
                <c:pt idx="2357">
                  <c:v>45267</c:v>
                </c:pt>
                <c:pt idx="2358">
                  <c:v>45268</c:v>
                </c:pt>
                <c:pt idx="2359">
                  <c:v>45271</c:v>
                </c:pt>
                <c:pt idx="2360">
                  <c:v>45272</c:v>
                </c:pt>
                <c:pt idx="2361">
                  <c:v>45273</c:v>
                </c:pt>
                <c:pt idx="2362">
                  <c:v>45274</c:v>
                </c:pt>
                <c:pt idx="2363">
                  <c:v>45275</c:v>
                </c:pt>
                <c:pt idx="2364">
                  <c:v>45278</c:v>
                </c:pt>
                <c:pt idx="2365">
                  <c:v>45279</c:v>
                </c:pt>
                <c:pt idx="2366">
                  <c:v>45280</c:v>
                </c:pt>
                <c:pt idx="2367">
                  <c:v>45281</c:v>
                </c:pt>
                <c:pt idx="2368">
                  <c:v>45282</c:v>
                </c:pt>
                <c:pt idx="2369">
                  <c:v>45285</c:v>
                </c:pt>
                <c:pt idx="2370">
                  <c:v>45286</c:v>
                </c:pt>
                <c:pt idx="2371">
                  <c:v>45287</c:v>
                </c:pt>
                <c:pt idx="2372">
                  <c:v>45288</c:v>
                </c:pt>
                <c:pt idx="2373">
                  <c:v>45289</c:v>
                </c:pt>
                <c:pt idx="2374">
                  <c:v>45292</c:v>
                </c:pt>
                <c:pt idx="2375">
                  <c:v>45293</c:v>
                </c:pt>
                <c:pt idx="2376">
                  <c:v>45294</c:v>
                </c:pt>
                <c:pt idx="2377">
                  <c:v>45295</c:v>
                </c:pt>
                <c:pt idx="2378">
                  <c:v>45296</c:v>
                </c:pt>
                <c:pt idx="2379">
                  <c:v>45299</c:v>
                </c:pt>
                <c:pt idx="2380">
                  <c:v>45300</c:v>
                </c:pt>
                <c:pt idx="2381">
                  <c:v>45301</c:v>
                </c:pt>
                <c:pt idx="2382">
                  <c:v>45302</c:v>
                </c:pt>
                <c:pt idx="2383">
                  <c:v>45303</c:v>
                </c:pt>
                <c:pt idx="2384">
                  <c:v>45306</c:v>
                </c:pt>
                <c:pt idx="2385">
                  <c:v>45307</c:v>
                </c:pt>
                <c:pt idx="2386">
                  <c:v>45308</c:v>
                </c:pt>
                <c:pt idx="2387">
                  <c:v>45309</c:v>
                </c:pt>
                <c:pt idx="2388">
                  <c:v>45310</c:v>
                </c:pt>
                <c:pt idx="2389">
                  <c:v>45313</c:v>
                </c:pt>
                <c:pt idx="2390">
                  <c:v>45314</c:v>
                </c:pt>
                <c:pt idx="2391">
                  <c:v>45315</c:v>
                </c:pt>
                <c:pt idx="2392">
                  <c:v>45316</c:v>
                </c:pt>
                <c:pt idx="2393">
                  <c:v>45317</c:v>
                </c:pt>
                <c:pt idx="2394">
                  <c:v>45320</c:v>
                </c:pt>
                <c:pt idx="2395">
                  <c:v>45321</c:v>
                </c:pt>
                <c:pt idx="2396">
                  <c:v>45322</c:v>
                </c:pt>
                <c:pt idx="2397">
                  <c:v>45323</c:v>
                </c:pt>
                <c:pt idx="2398">
                  <c:v>45324</c:v>
                </c:pt>
                <c:pt idx="2399">
                  <c:v>45327</c:v>
                </c:pt>
                <c:pt idx="2400">
                  <c:v>45328</c:v>
                </c:pt>
                <c:pt idx="2401">
                  <c:v>45329</c:v>
                </c:pt>
                <c:pt idx="2402">
                  <c:v>45330</c:v>
                </c:pt>
                <c:pt idx="2403">
                  <c:v>45331</c:v>
                </c:pt>
                <c:pt idx="2404">
                  <c:v>45334</c:v>
                </c:pt>
                <c:pt idx="2405">
                  <c:v>45335</c:v>
                </c:pt>
                <c:pt idx="2406">
                  <c:v>45336</c:v>
                </c:pt>
                <c:pt idx="2407">
                  <c:v>45337</c:v>
                </c:pt>
                <c:pt idx="2408">
                  <c:v>45338</c:v>
                </c:pt>
                <c:pt idx="2409">
                  <c:v>45341</c:v>
                </c:pt>
                <c:pt idx="2410">
                  <c:v>45342</c:v>
                </c:pt>
                <c:pt idx="2411">
                  <c:v>45343</c:v>
                </c:pt>
                <c:pt idx="2412">
                  <c:v>45344</c:v>
                </c:pt>
                <c:pt idx="2413">
                  <c:v>45345</c:v>
                </c:pt>
                <c:pt idx="2414">
                  <c:v>45348</c:v>
                </c:pt>
                <c:pt idx="2415">
                  <c:v>45349</c:v>
                </c:pt>
                <c:pt idx="2416">
                  <c:v>45350</c:v>
                </c:pt>
                <c:pt idx="2417">
                  <c:v>45351</c:v>
                </c:pt>
                <c:pt idx="2418">
                  <c:v>45352</c:v>
                </c:pt>
                <c:pt idx="2419">
                  <c:v>45355</c:v>
                </c:pt>
                <c:pt idx="2420">
                  <c:v>45356</c:v>
                </c:pt>
                <c:pt idx="2421">
                  <c:v>45357</c:v>
                </c:pt>
                <c:pt idx="2422">
                  <c:v>45358</c:v>
                </c:pt>
                <c:pt idx="2423">
                  <c:v>45359</c:v>
                </c:pt>
                <c:pt idx="2424">
                  <c:v>45362</c:v>
                </c:pt>
                <c:pt idx="2425">
                  <c:v>45363</c:v>
                </c:pt>
                <c:pt idx="2426">
                  <c:v>45364</c:v>
                </c:pt>
                <c:pt idx="2427">
                  <c:v>45365</c:v>
                </c:pt>
                <c:pt idx="2428">
                  <c:v>45366</c:v>
                </c:pt>
                <c:pt idx="2429">
                  <c:v>45369</c:v>
                </c:pt>
                <c:pt idx="2430">
                  <c:v>45370</c:v>
                </c:pt>
                <c:pt idx="2431">
                  <c:v>45371</c:v>
                </c:pt>
                <c:pt idx="2432">
                  <c:v>45372</c:v>
                </c:pt>
                <c:pt idx="2433">
                  <c:v>45373</c:v>
                </c:pt>
                <c:pt idx="2434">
                  <c:v>45376</c:v>
                </c:pt>
                <c:pt idx="2435">
                  <c:v>45377</c:v>
                </c:pt>
                <c:pt idx="2436">
                  <c:v>45378</c:v>
                </c:pt>
                <c:pt idx="2437">
                  <c:v>45379</c:v>
                </c:pt>
                <c:pt idx="2438">
                  <c:v>45380</c:v>
                </c:pt>
                <c:pt idx="2439">
                  <c:v>45383</c:v>
                </c:pt>
                <c:pt idx="2440">
                  <c:v>45384</c:v>
                </c:pt>
                <c:pt idx="2441">
                  <c:v>45385</c:v>
                </c:pt>
                <c:pt idx="2442">
                  <c:v>45386</c:v>
                </c:pt>
                <c:pt idx="2443">
                  <c:v>45387</c:v>
                </c:pt>
                <c:pt idx="2444">
                  <c:v>45390</c:v>
                </c:pt>
                <c:pt idx="2445">
                  <c:v>45391</c:v>
                </c:pt>
                <c:pt idx="2446">
                  <c:v>45392</c:v>
                </c:pt>
                <c:pt idx="2447">
                  <c:v>45393</c:v>
                </c:pt>
                <c:pt idx="2448">
                  <c:v>45394</c:v>
                </c:pt>
                <c:pt idx="2449">
                  <c:v>45397</c:v>
                </c:pt>
                <c:pt idx="2450">
                  <c:v>45398</c:v>
                </c:pt>
                <c:pt idx="2451">
                  <c:v>45399</c:v>
                </c:pt>
                <c:pt idx="2452">
                  <c:v>45400</c:v>
                </c:pt>
                <c:pt idx="2453">
                  <c:v>45401</c:v>
                </c:pt>
                <c:pt idx="2454">
                  <c:v>45404</c:v>
                </c:pt>
                <c:pt idx="2455">
                  <c:v>45405</c:v>
                </c:pt>
                <c:pt idx="2456">
                  <c:v>45406</c:v>
                </c:pt>
                <c:pt idx="2457">
                  <c:v>45407</c:v>
                </c:pt>
                <c:pt idx="2458">
                  <c:v>45408</c:v>
                </c:pt>
                <c:pt idx="2459">
                  <c:v>45411</c:v>
                </c:pt>
                <c:pt idx="2460">
                  <c:v>45412</c:v>
                </c:pt>
                <c:pt idx="2461">
                  <c:v>45413</c:v>
                </c:pt>
                <c:pt idx="2462">
                  <c:v>45414</c:v>
                </c:pt>
                <c:pt idx="2463">
                  <c:v>45415</c:v>
                </c:pt>
                <c:pt idx="2464">
                  <c:v>45418</c:v>
                </c:pt>
                <c:pt idx="2465">
                  <c:v>45419</c:v>
                </c:pt>
                <c:pt idx="2466">
                  <c:v>45420</c:v>
                </c:pt>
                <c:pt idx="2467">
                  <c:v>45421</c:v>
                </c:pt>
                <c:pt idx="2468">
                  <c:v>45422</c:v>
                </c:pt>
                <c:pt idx="2469">
                  <c:v>45425</c:v>
                </c:pt>
                <c:pt idx="2470">
                  <c:v>45426</c:v>
                </c:pt>
                <c:pt idx="2471">
                  <c:v>45427</c:v>
                </c:pt>
                <c:pt idx="2472">
                  <c:v>45428</c:v>
                </c:pt>
                <c:pt idx="2473">
                  <c:v>45429</c:v>
                </c:pt>
                <c:pt idx="2474">
                  <c:v>45432</c:v>
                </c:pt>
                <c:pt idx="2475">
                  <c:v>45433</c:v>
                </c:pt>
                <c:pt idx="2476">
                  <c:v>45434</c:v>
                </c:pt>
                <c:pt idx="2477">
                  <c:v>45435</c:v>
                </c:pt>
                <c:pt idx="2478">
                  <c:v>45436</c:v>
                </c:pt>
                <c:pt idx="2479">
                  <c:v>45439</c:v>
                </c:pt>
                <c:pt idx="2480">
                  <c:v>45440</c:v>
                </c:pt>
                <c:pt idx="2481">
                  <c:v>45441</c:v>
                </c:pt>
                <c:pt idx="2482">
                  <c:v>45442</c:v>
                </c:pt>
                <c:pt idx="2483">
                  <c:v>45443</c:v>
                </c:pt>
                <c:pt idx="2484">
                  <c:v>45446</c:v>
                </c:pt>
                <c:pt idx="2485">
                  <c:v>45447</c:v>
                </c:pt>
                <c:pt idx="2486">
                  <c:v>45448</c:v>
                </c:pt>
                <c:pt idx="2487">
                  <c:v>45449</c:v>
                </c:pt>
                <c:pt idx="2488">
                  <c:v>45450</c:v>
                </c:pt>
                <c:pt idx="2489">
                  <c:v>45453</c:v>
                </c:pt>
                <c:pt idx="2490">
                  <c:v>45454</c:v>
                </c:pt>
                <c:pt idx="2491">
                  <c:v>45455</c:v>
                </c:pt>
                <c:pt idx="2492">
                  <c:v>45456</c:v>
                </c:pt>
                <c:pt idx="2493">
                  <c:v>45457</c:v>
                </c:pt>
                <c:pt idx="2494">
                  <c:v>45460</c:v>
                </c:pt>
                <c:pt idx="2495">
                  <c:v>45461</c:v>
                </c:pt>
                <c:pt idx="2496">
                  <c:v>45462</c:v>
                </c:pt>
                <c:pt idx="2497">
                  <c:v>45463</c:v>
                </c:pt>
                <c:pt idx="2498">
                  <c:v>45464</c:v>
                </c:pt>
                <c:pt idx="2499">
                  <c:v>45467</c:v>
                </c:pt>
                <c:pt idx="2500">
                  <c:v>45468</c:v>
                </c:pt>
                <c:pt idx="2501">
                  <c:v>45469</c:v>
                </c:pt>
                <c:pt idx="2502">
                  <c:v>45470</c:v>
                </c:pt>
                <c:pt idx="2503">
                  <c:v>45471</c:v>
                </c:pt>
                <c:pt idx="2504">
                  <c:v>45474</c:v>
                </c:pt>
                <c:pt idx="2505">
                  <c:v>45475</c:v>
                </c:pt>
                <c:pt idx="2506">
                  <c:v>45476</c:v>
                </c:pt>
                <c:pt idx="2507">
                  <c:v>45477</c:v>
                </c:pt>
                <c:pt idx="2508">
                  <c:v>45478</c:v>
                </c:pt>
                <c:pt idx="2509">
                  <c:v>45481</c:v>
                </c:pt>
                <c:pt idx="2510">
                  <c:v>45482</c:v>
                </c:pt>
                <c:pt idx="2511">
                  <c:v>45483</c:v>
                </c:pt>
                <c:pt idx="2512">
                  <c:v>45484</c:v>
                </c:pt>
                <c:pt idx="2513">
                  <c:v>45485</c:v>
                </c:pt>
                <c:pt idx="2514">
                  <c:v>45488</c:v>
                </c:pt>
                <c:pt idx="2515">
                  <c:v>45489</c:v>
                </c:pt>
                <c:pt idx="2516">
                  <c:v>45490</c:v>
                </c:pt>
                <c:pt idx="2517">
                  <c:v>45491</c:v>
                </c:pt>
                <c:pt idx="2518">
                  <c:v>45492</c:v>
                </c:pt>
                <c:pt idx="2519">
                  <c:v>45495</c:v>
                </c:pt>
                <c:pt idx="2520">
                  <c:v>45496</c:v>
                </c:pt>
                <c:pt idx="2521">
                  <c:v>45497</c:v>
                </c:pt>
                <c:pt idx="2522">
                  <c:v>45498</c:v>
                </c:pt>
                <c:pt idx="2523">
                  <c:v>45499</c:v>
                </c:pt>
                <c:pt idx="2524">
                  <c:v>45502</c:v>
                </c:pt>
                <c:pt idx="2525">
                  <c:v>45503</c:v>
                </c:pt>
                <c:pt idx="2526">
                  <c:v>45504</c:v>
                </c:pt>
                <c:pt idx="2527">
                  <c:v>45505</c:v>
                </c:pt>
                <c:pt idx="2528">
                  <c:v>45506</c:v>
                </c:pt>
                <c:pt idx="2529">
                  <c:v>45509</c:v>
                </c:pt>
                <c:pt idx="2530">
                  <c:v>45510</c:v>
                </c:pt>
                <c:pt idx="2531">
                  <c:v>45511</c:v>
                </c:pt>
                <c:pt idx="2532">
                  <c:v>45512</c:v>
                </c:pt>
                <c:pt idx="2533">
                  <c:v>45513</c:v>
                </c:pt>
                <c:pt idx="2534">
                  <c:v>45516</c:v>
                </c:pt>
                <c:pt idx="2535">
                  <c:v>45517</c:v>
                </c:pt>
                <c:pt idx="2536">
                  <c:v>45518</c:v>
                </c:pt>
                <c:pt idx="2537">
                  <c:v>45519</c:v>
                </c:pt>
                <c:pt idx="2538">
                  <c:v>45520</c:v>
                </c:pt>
                <c:pt idx="2539">
                  <c:v>45523</c:v>
                </c:pt>
                <c:pt idx="2540">
                  <c:v>45524</c:v>
                </c:pt>
                <c:pt idx="2541">
                  <c:v>45525</c:v>
                </c:pt>
                <c:pt idx="2542">
                  <c:v>45526</c:v>
                </c:pt>
                <c:pt idx="2543">
                  <c:v>45527</c:v>
                </c:pt>
                <c:pt idx="2544">
                  <c:v>45530</c:v>
                </c:pt>
                <c:pt idx="2545">
                  <c:v>45531</c:v>
                </c:pt>
                <c:pt idx="2546">
                  <c:v>45532</c:v>
                </c:pt>
                <c:pt idx="2547">
                  <c:v>45533</c:v>
                </c:pt>
                <c:pt idx="2548">
                  <c:v>45534</c:v>
                </c:pt>
                <c:pt idx="2549">
                  <c:v>45537</c:v>
                </c:pt>
                <c:pt idx="2550">
                  <c:v>45538</c:v>
                </c:pt>
                <c:pt idx="2551">
                  <c:v>45539</c:v>
                </c:pt>
                <c:pt idx="2552">
                  <c:v>45540</c:v>
                </c:pt>
                <c:pt idx="2553">
                  <c:v>45541</c:v>
                </c:pt>
                <c:pt idx="2554">
                  <c:v>45544</c:v>
                </c:pt>
                <c:pt idx="2555">
                  <c:v>45545</c:v>
                </c:pt>
                <c:pt idx="2556">
                  <c:v>45546</c:v>
                </c:pt>
                <c:pt idx="2557">
                  <c:v>45547</c:v>
                </c:pt>
                <c:pt idx="2558">
                  <c:v>45548</c:v>
                </c:pt>
                <c:pt idx="2559">
                  <c:v>45551</c:v>
                </c:pt>
                <c:pt idx="2560">
                  <c:v>45552</c:v>
                </c:pt>
                <c:pt idx="2561">
                  <c:v>45553</c:v>
                </c:pt>
                <c:pt idx="2562">
                  <c:v>45554</c:v>
                </c:pt>
                <c:pt idx="2563">
                  <c:v>45555</c:v>
                </c:pt>
                <c:pt idx="2564">
                  <c:v>45558</c:v>
                </c:pt>
                <c:pt idx="2565">
                  <c:v>45559</c:v>
                </c:pt>
                <c:pt idx="2566">
                  <c:v>45560</c:v>
                </c:pt>
                <c:pt idx="2567">
                  <c:v>45561</c:v>
                </c:pt>
                <c:pt idx="2568">
                  <c:v>45562</c:v>
                </c:pt>
                <c:pt idx="2569">
                  <c:v>45565</c:v>
                </c:pt>
                <c:pt idx="2570">
                  <c:v>45566</c:v>
                </c:pt>
                <c:pt idx="2571">
                  <c:v>45567</c:v>
                </c:pt>
                <c:pt idx="2572">
                  <c:v>45568</c:v>
                </c:pt>
                <c:pt idx="2573">
                  <c:v>45569</c:v>
                </c:pt>
                <c:pt idx="2574">
                  <c:v>45572</c:v>
                </c:pt>
                <c:pt idx="2575">
                  <c:v>45573</c:v>
                </c:pt>
                <c:pt idx="2576">
                  <c:v>45574</c:v>
                </c:pt>
                <c:pt idx="2577">
                  <c:v>45575</c:v>
                </c:pt>
                <c:pt idx="2578">
                  <c:v>45576</c:v>
                </c:pt>
                <c:pt idx="2579">
                  <c:v>45579</c:v>
                </c:pt>
                <c:pt idx="2580">
                  <c:v>45580</c:v>
                </c:pt>
                <c:pt idx="2581">
                  <c:v>45581</c:v>
                </c:pt>
                <c:pt idx="2582">
                  <c:v>45582</c:v>
                </c:pt>
                <c:pt idx="2583">
                  <c:v>45583</c:v>
                </c:pt>
                <c:pt idx="2584">
                  <c:v>45586</c:v>
                </c:pt>
                <c:pt idx="2585">
                  <c:v>45587</c:v>
                </c:pt>
                <c:pt idx="2586">
                  <c:v>45588</c:v>
                </c:pt>
                <c:pt idx="2587">
                  <c:v>45589</c:v>
                </c:pt>
                <c:pt idx="2588">
                  <c:v>45590</c:v>
                </c:pt>
                <c:pt idx="2589">
                  <c:v>45593</c:v>
                </c:pt>
                <c:pt idx="2590">
                  <c:v>45594</c:v>
                </c:pt>
                <c:pt idx="2591">
                  <c:v>45595</c:v>
                </c:pt>
                <c:pt idx="2592">
                  <c:v>45596</c:v>
                </c:pt>
                <c:pt idx="2593">
                  <c:v>45597</c:v>
                </c:pt>
                <c:pt idx="2594">
                  <c:v>45600</c:v>
                </c:pt>
                <c:pt idx="2595">
                  <c:v>45601</c:v>
                </c:pt>
                <c:pt idx="2596">
                  <c:v>45602</c:v>
                </c:pt>
                <c:pt idx="2597">
                  <c:v>45603</c:v>
                </c:pt>
                <c:pt idx="2598">
                  <c:v>45604</c:v>
                </c:pt>
                <c:pt idx="2599">
                  <c:v>45607</c:v>
                </c:pt>
                <c:pt idx="2600">
                  <c:v>45608</c:v>
                </c:pt>
                <c:pt idx="2601">
                  <c:v>45609</c:v>
                </c:pt>
                <c:pt idx="2602">
                  <c:v>45610</c:v>
                </c:pt>
                <c:pt idx="2603">
                  <c:v>45611</c:v>
                </c:pt>
                <c:pt idx="2604">
                  <c:v>45614</c:v>
                </c:pt>
                <c:pt idx="2605">
                  <c:v>45615</c:v>
                </c:pt>
                <c:pt idx="2606">
                  <c:v>45616</c:v>
                </c:pt>
                <c:pt idx="2607">
                  <c:v>45617</c:v>
                </c:pt>
                <c:pt idx="2608">
                  <c:v>45618</c:v>
                </c:pt>
                <c:pt idx="2609">
                  <c:v>45621</c:v>
                </c:pt>
              </c:numCache>
            </c:numRef>
          </c:cat>
          <c:val>
            <c:numRef>
              <c:f>Markets!$BU$4:$BU$2654</c:f>
              <c:numCache>
                <c:formatCode>0.00%</c:formatCode>
                <c:ptCount val="2651"/>
                <c:pt idx="0">
                  <c:v>0</c:v>
                </c:pt>
                <c:pt idx="1">
                  <c:v>0</c:v>
                </c:pt>
                <c:pt idx="2">
                  <c:v>-5.7174719215484782E-3</c:v>
                </c:pt>
                <c:pt idx="3">
                  <c:v>-5.7174719215484782E-3</c:v>
                </c:pt>
                <c:pt idx="4">
                  <c:v>-5.7174719215484782E-3</c:v>
                </c:pt>
                <c:pt idx="5">
                  <c:v>-5.7174719215484782E-3</c:v>
                </c:pt>
                <c:pt idx="6">
                  <c:v>-5.7174719215484782E-3</c:v>
                </c:pt>
                <c:pt idx="7">
                  <c:v>-8.3903457919937141E-3</c:v>
                </c:pt>
                <c:pt idx="8">
                  <c:v>-8.3903457919937141E-3</c:v>
                </c:pt>
                <c:pt idx="9">
                  <c:v>-8.3903457919937141E-3</c:v>
                </c:pt>
                <c:pt idx="10">
                  <c:v>-8.3903457919937141E-3</c:v>
                </c:pt>
                <c:pt idx="11">
                  <c:v>-8.3903457919937141E-3</c:v>
                </c:pt>
                <c:pt idx="12">
                  <c:v>-5.1333339233705644E-4</c:v>
                </c:pt>
                <c:pt idx="13">
                  <c:v>-5.1333339233705644E-4</c:v>
                </c:pt>
                <c:pt idx="14">
                  <c:v>-5.1333339233705644E-4</c:v>
                </c:pt>
                <c:pt idx="15">
                  <c:v>-5.1333339233705644E-4</c:v>
                </c:pt>
                <c:pt idx="16">
                  <c:v>-5.1333339233705644E-4</c:v>
                </c:pt>
                <c:pt idx="17">
                  <c:v>-3.0012302300264526E-2</c:v>
                </c:pt>
                <c:pt idx="18">
                  <c:v>-3.0012302300264526E-2</c:v>
                </c:pt>
                <c:pt idx="19">
                  <c:v>-3.0012302300264526E-2</c:v>
                </c:pt>
                <c:pt idx="20">
                  <c:v>-3.0012302300264526E-2</c:v>
                </c:pt>
                <c:pt idx="21">
                  <c:v>-3.0012302300264526E-2</c:v>
                </c:pt>
                <c:pt idx="22">
                  <c:v>-2.7596095125987929E-2</c:v>
                </c:pt>
                <c:pt idx="23">
                  <c:v>-2.7596095125987929E-2</c:v>
                </c:pt>
                <c:pt idx="24">
                  <c:v>-2.7596095125987929E-2</c:v>
                </c:pt>
                <c:pt idx="25">
                  <c:v>-2.7596095125987929E-2</c:v>
                </c:pt>
                <c:pt idx="26">
                  <c:v>-2.7596095125987929E-2</c:v>
                </c:pt>
                <c:pt idx="27">
                  <c:v>-1.0780001239080517E-2</c:v>
                </c:pt>
                <c:pt idx="28">
                  <c:v>-1.0780001239080517E-2</c:v>
                </c:pt>
                <c:pt idx="29">
                  <c:v>-1.0780001239080517E-2</c:v>
                </c:pt>
                <c:pt idx="30">
                  <c:v>-1.0780001239080517E-2</c:v>
                </c:pt>
                <c:pt idx="31">
                  <c:v>-1.0780001239080517E-2</c:v>
                </c:pt>
                <c:pt idx="32">
                  <c:v>-3.2207245081292468E-2</c:v>
                </c:pt>
                <c:pt idx="33">
                  <c:v>-3.2207245081292468E-2</c:v>
                </c:pt>
                <c:pt idx="34">
                  <c:v>-3.2207245081292468E-2</c:v>
                </c:pt>
                <c:pt idx="35">
                  <c:v>-3.2207245081292468E-2</c:v>
                </c:pt>
                <c:pt idx="36">
                  <c:v>-3.2207245081292468E-2</c:v>
                </c:pt>
                <c:pt idx="37">
                  <c:v>-3.3596785470894841E-2</c:v>
                </c:pt>
                <c:pt idx="38">
                  <c:v>-3.3596785470894841E-2</c:v>
                </c:pt>
                <c:pt idx="39">
                  <c:v>-3.3596785470894841E-2</c:v>
                </c:pt>
                <c:pt idx="40">
                  <c:v>-3.3596785470894841E-2</c:v>
                </c:pt>
                <c:pt idx="41">
                  <c:v>-3.3596785470894841E-2</c:v>
                </c:pt>
                <c:pt idx="42">
                  <c:v>-4.8589660757432207E-2</c:v>
                </c:pt>
                <c:pt idx="43">
                  <c:v>-4.8589660757432207E-2</c:v>
                </c:pt>
                <c:pt idx="44">
                  <c:v>-4.8589660757432207E-2</c:v>
                </c:pt>
                <c:pt idx="45">
                  <c:v>-4.8589660757432207E-2</c:v>
                </c:pt>
                <c:pt idx="46">
                  <c:v>-4.8589660757432207E-2</c:v>
                </c:pt>
                <c:pt idx="47">
                  <c:v>-5.0094258631523947E-2</c:v>
                </c:pt>
                <c:pt idx="48">
                  <c:v>-5.0094258631523947E-2</c:v>
                </c:pt>
                <c:pt idx="49">
                  <c:v>-5.0094258631523947E-2</c:v>
                </c:pt>
                <c:pt idx="50">
                  <c:v>-5.0094258631523947E-2</c:v>
                </c:pt>
                <c:pt idx="51">
                  <c:v>-5.0094258631523947E-2</c:v>
                </c:pt>
                <c:pt idx="52">
                  <c:v>-5.4050465982812157E-2</c:v>
                </c:pt>
                <c:pt idx="53">
                  <c:v>-5.4050465982812157E-2</c:v>
                </c:pt>
                <c:pt idx="54">
                  <c:v>-5.4050465982812157E-2</c:v>
                </c:pt>
                <c:pt idx="55">
                  <c:v>-5.4050465982812157E-2</c:v>
                </c:pt>
                <c:pt idx="56">
                  <c:v>-5.4050465982812157E-2</c:v>
                </c:pt>
                <c:pt idx="57">
                  <c:v>-6.3485179710940254E-2</c:v>
                </c:pt>
                <c:pt idx="58">
                  <c:v>-6.3485179710940254E-2</c:v>
                </c:pt>
                <c:pt idx="59">
                  <c:v>-6.3485179710940254E-2</c:v>
                </c:pt>
                <c:pt idx="60">
                  <c:v>-6.3485179710940254E-2</c:v>
                </c:pt>
                <c:pt idx="61">
                  <c:v>-6.3485179710940254E-2</c:v>
                </c:pt>
                <c:pt idx="62">
                  <c:v>-6.3724145255648734E-2</c:v>
                </c:pt>
                <c:pt idx="63">
                  <c:v>-6.3724145255648734E-2</c:v>
                </c:pt>
                <c:pt idx="64">
                  <c:v>-6.3724145255648734E-2</c:v>
                </c:pt>
                <c:pt idx="65">
                  <c:v>-6.3724145255648734E-2</c:v>
                </c:pt>
                <c:pt idx="66">
                  <c:v>-6.3724145255648734E-2</c:v>
                </c:pt>
                <c:pt idx="67">
                  <c:v>-6.8096329666244682E-2</c:v>
                </c:pt>
                <c:pt idx="68">
                  <c:v>-6.8096329666244682E-2</c:v>
                </c:pt>
                <c:pt idx="69">
                  <c:v>-6.8096329666244682E-2</c:v>
                </c:pt>
                <c:pt idx="70">
                  <c:v>-6.8096329666244682E-2</c:v>
                </c:pt>
                <c:pt idx="71">
                  <c:v>-6.8096329666244682E-2</c:v>
                </c:pt>
                <c:pt idx="72">
                  <c:v>-6.0564489720056236E-2</c:v>
                </c:pt>
                <c:pt idx="73">
                  <c:v>-6.0564489720056236E-2</c:v>
                </c:pt>
                <c:pt idx="74">
                  <c:v>-6.0564489720056236E-2</c:v>
                </c:pt>
                <c:pt idx="75">
                  <c:v>-6.0564489720056236E-2</c:v>
                </c:pt>
                <c:pt idx="76">
                  <c:v>-6.0564489720056236E-2</c:v>
                </c:pt>
                <c:pt idx="77">
                  <c:v>-7.3203111862426673E-2</c:v>
                </c:pt>
                <c:pt idx="78">
                  <c:v>-7.3203111862426673E-2</c:v>
                </c:pt>
                <c:pt idx="79">
                  <c:v>-7.3203111862426673E-2</c:v>
                </c:pt>
                <c:pt idx="80">
                  <c:v>-7.3203111862426673E-2</c:v>
                </c:pt>
                <c:pt idx="81">
                  <c:v>-7.3203111862426673E-2</c:v>
                </c:pt>
                <c:pt idx="82">
                  <c:v>-8.1504951897120814E-2</c:v>
                </c:pt>
                <c:pt idx="83">
                  <c:v>-8.1504951897120814E-2</c:v>
                </c:pt>
                <c:pt idx="84">
                  <c:v>-8.1504951897120814E-2</c:v>
                </c:pt>
                <c:pt idx="85">
                  <c:v>-8.1504951897120814E-2</c:v>
                </c:pt>
                <c:pt idx="86">
                  <c:v>-8.1504951897120814E-2</c:v>
                </c:pt>
                <c:pt idx="87">
                  <c:v>-6.3325869347801045E-2</c:v>
                </c:pt>
                <c:pt idx="88">
                  <c:v>-6.3325869347801045E-2</c:v>
                </c:pt>
                <c:pt idx="89">
                  <c:v>-6.3325869347801045E-2</c:v>
                </c:pt>
                <c:pt idx="90">
                  <c:v>-6.3325869347801045E-2</c:v>
                </c:pt>
                <c:pt idx="91">
                  <c:v>-6.3325869347801045E-2</c:v>
                </c:pt>
                <c:pt idx="92">
                  <c:v>-6.4502995919884509E-2</c:v>
                </c:pt>
                <c:pt idx="93">
                  <c:v>-6.4502995919884509E-2</c:v>
                </c:pt>
                <c:pt idx="94">
                  <c:v>-6.4502995919884509E-2</c:v>
                </c:pt>
                <c:pt idx="95">
                  <c:v>-6.4502995919884509E-2</c:v>
                </c:pt>
                <c:pt idx="96">
                  <c:v>-6.4502995919884509E-2</c:v>
                </c:pt>
                <c:pt idx="97">
                  <c:v>-6.6113800702735759E-2</c:v>
                </c:pt>
                <c:pt idx="98">
                  <c:v>-6.6113800702735759E-2</c:v>
                </c:pt>
                <c:pt idx="99">
                  <c:v>-6.6113800702735759E-2</c:v>
                </c:pt>
                <c:pt idx="100">
                  <c:v>-6.6113800702735759E-2</c:v>
                </c:pt>
                <c:pt idx="101">
                  <c:v>-6.6113800702735759E-2</c:v>
                </c:pt>
                <c:pt idx="102">
                  <c:v>-7.2583571561329996E-2</c:v>
                </c:pt>
                <c:pt idx="103">
                  <c:v>-7.2583571561329996E-2</c:v>
                </c:pt>
                <c:pt idx="104">
                  <c:v>-7.2583571561329996E-2</c:v>
                </c:pt>
                <c:pt idx="105">
                  <c:v>-7.2583571561329996E-2</c:v>
                </c:pt>
                <c:pt idx="106">
                  <c:v>-7.2583571561329996E-2</c:v>
                </c:pt>
                <c:pt idx="107">
                  <c:v>-7.2831387681768667E-2</c:v>
                </c:pt>
                <c:pt idx="108">
                  <c:v>-7.2831387681768667E-2</c:v>
                </c:pt>
                <c:pt idx="109">
                  <c:v>-7.2831387681768667E-2</c:v>
                </c:pt>
                <c:pt idx="110">
                  <c:v>-7.2831387681768667E-2</c:v>
                </c:pt>
                <c:pt idx="111">
                  <c:v>-7.2831387681768667E-2</c:v>
                </c:pt>
                <c:pt idx="112">
                  <c:v>-6.2520466956375476E-2</c:v>
                </c:pt>
                <c:pt idx="113">
                  <c:v>-6.2520466956375476E-2</c:v>
                </c:pt>
                <c:pt idx="114">
                  <c:v>-6.2520466956375476E-2</c:v>
                </c:pt>
                <c:pt idx="115">
                  <c:v>-6.2520466956375476E-2</c:v>
                </c:pt>
                <c:pt idx="116">
                  <c:v>-6.2520466956375476E-2</c:v>
                </c:pt>
                <c:pt idx="117">
                  <c:v>-4.9784488480975719E-2</c:v>
                </c:pt>
                <c:pt idx="118">
                  <c:v>-4.9784488480975719E-2</c:v>
                </c:pt>
                <c:pt idx="119">
                  <c:v>-4.9784488480975719E-2</c:v>
                </c:pt>
                <c:pt idx="120">
                  <c:v>-4.9784488480975719E-2</c:v>
                </c:pt>
                <c:pt idx="121">
                  <c:v>-4.9784488480975719E-2</c:v>
                </c:pt>
                <c:pt idx="122">
                  <c:v>-4.9368511421667871E-2</c:v>
                </c:pt>
                <c:pt idx="123">
                  <c:v>-4.9368511421667871E-2</c:v>
                </c:pt>
                <c:pt idx="124">
                  <c:v>-4.9368511421667871E-2</c:v>
                </c:pt>
                <c:pt idx="125">
                  <c:v>-4.9368511421667871E-2</c:v>
                </c:pt>
                <c:pt idx="126">
                  <c:v>-4.9368511421667871E-2</c:v>
                </c:pt>
                <c:pt idx="127">
                  <c:v>-5.3138856682627078E-2</c:v>
                </c:pt>
                <c:pt idx="128">
                  <c:v>-5.3138856682627078E-2</c:v>
                </c:pt>
                <c:pt idx="129">
                  <c:v>-5.3138856682627078E-2</c:v>
                </c:pt>
                <c:pt idx="130">
                  <c:v>-5.3138856682627078E-2</c:v>
                </c:pt>
                <c:pt idx="131">
                  <c:v>-5.3138856682627078E-2</c:v>
                </c:pt>
                <c:pt idx="132">
                  <c:v>-6.4264030375175918E-2</c:v>
                </c:pt>
                <c:pt idx="133">
                  <c:v>-6.4264030375175918E-2</c:v>
                </c:pt>
                <c:pt idx="134">
                  <c:v>-6.4264030375175918E-2</c:v>
                </c:pt>
                <c:pt idx="135">
                  <c:v>-6.4264030375175918E-2</c:v>
                </c:pt>
                <c:pt idx="136">
                  <c:v>-6.4264030375175918E-2</c:v>
                </c:pt>
                <c:pt idx="137">
                  <c:v>-5.1510350748316114E-2</c:v>
                </c:pt>
                <c:pt idx="138">
                  <c:v>-5.1510350748316114E-2</c:v>
                </c:pt>
                <c:pt idx="139">
                  <c:v>-5.1510350748316114E-2</c:v>
                </c:pt>
                <c:pt idx="140">
                  <c:v>-5.1510350748316114E-2</c:v>
                </c:pt>
                <c:pt idx="141">
                  <c:v>-5.1510350748316114E-2</c:v>
                </c:pt>
                <c:pt idx="142">
                  <c:v>-5.5103684494676397E-2</c:v>
                </c:pt>
                <c:pt idx="143">
                  <c:v>-5.5103684494676397E-2</c:v>
                </c:pt>
                <c:pt idx="144">
                  <c:v>-5.5103684494676397E-2</c:v>
                </c:pt>
                <c:pt idx="145">
                  <c:v>-5.5103684494676397E-2</c:v>
                </c:pt>
                <c:pt idx="146">
                  <c:v>-5.5103684494676397E-2</c:v>
                </c:pt>
                <c:pt idx="147">
                  <c:v>-4.7970120456335752E-2</c:v>
                </c:pt>
                <c:pt idx="148">
                  <c:v>-4.7970120456335752E-2</c:v>
                </c:pt>
                <c:pt idx="149">
                  <c:v>-4.7970120456335752E-2</c:v>
                </c:pt>
                <c:pt idx="150">
                  <c:v>-4.7970120456335752E-2</c:v>
                </c:pt>
                <c:pt idx="151">
                  <c:v>-4.7970120456335752E-2</c:v>
                </c:pt>
                <c:pt idx="152">
                  <c:v>-4.4288280952675896E-2</c:v>
                </c:pt>
                <c:pt idx="153">
                  <c:v>-4.4288280952675896E-2</c:v>
                </c:pt>
                <c:pt idx="154">
                  <c:v>-4.4288280952675896E-2</c:v>
                </c:pt>
                <c:pt idx="155">
                  <c:v>-4.4288280952675896E-2</c:v>
                </c:pt>
                <c:pt idx="156">
                  <c:v>-4.4288280952675896E-2</c:v>
                </c:pt>
                <c:pt idx="157">
                  <c:v>-4.3288165895191355E-2</c:v>
                </c:pt>
                <c:pt idx="158">
                  <c:v>-4.3288165895191355E-2</c:v>
                </c:pt>
                <c:pt idx="159">
                  <c:v>-4.3288165895191355E-2</c:v>
                </c:pt>
                <c:pt idx="160">
                  <c:v>-4.3288165895191355E-2</c:v>
                </c:pt>
                <c:pt idx="161">
                  <c:v>-4.3288165895191355E-2</c:v>
                </c:pt>
                <c:pt idx="162">
                  <c:v>-3.5782877676192815E-2</c:v>
                </c:pt>
                <c:pt idx="163">
                  <c:v>-3.5782877676192815E-2</c:v>
                </c:pt>
                <c:pt idx="164">
                  <c:v>-3.5782877676192815E-2</c:v>
                </c:pt>
                <c:pt idx="165">
                  <c:v>-3.5782877676192815E-2</c:v>
                </c:pt>
                <c:pt idx="166">
                  <c:v>-3.5782877676192815E-2</c:v>
                </c:pt>
                <c:pt idx="167">
                  <c:v>-4.6686786975492667E-2</c:v>
                </c:pt>
                <c:pt idx="168">
                  <c:v>-4.6686786975492667E-2</c:v>
                </c:pt>
                <c:pt idx="169">
                  <c:v>-4.6686786975492667E-2</c:v>
                </c:pt>
                <c:pt idx="170">
                  <c:v>-4.6686786975492667E-2</c:v>
                </c:pt>
                <c:pt idx="171">
                  <c:v>-4.6686786975492667E-2</c:v>
                </c:pt>
                <c:pt idx="172">
                  <c:v>-4.9386212573127919E-2</c:v>
                </c:pt>
                <c:pt idx="173">
                  <c:v>-4.9386212573127919E-2</c:v>
                </c:pt>
                <c:pt idx="174">
                  <c:v>-4.9386212573127919E-2</c:v>
                </c:pt>
                <c:pt idx="175">
                  <c:v>-4.9386212573127919E-2</c:v>
                </c:pt>
                <c:pt idx="176">
                  <c:v>-4.9386212573127919E-2</c:v>
                </c:pt>
                <c:pt idx="177">
                  <c:v>-5.5758627098692726E-2</c:v>
                </c:pt>
                <c:pt idx="178">
                  <c:v>-5.5758627098692726E-2</c:v>
                </c:pt>
                <c:pt idx="179">
                  <c:v>-5.5758627098692726E-2</c:v>
                </c:pt>
                <c:pt idx="180">
                  <c:v>-5.5758627098692726E-2</c:v>
                </c:pt>
                <c:pt idx="181">
                  <c:v>-5.5758627098692726E-2</c:v>
                </c:pt>
                <c:pt idx="182">
                  <c:v>-4.7120465186260341E-2</c:v>
                </c:pt>
                <c:pt idx="183">
                  <c:v>-4.7120465186260341E-2</c:v>
                </c:pt>
                <c:pt idx="184">
                  <c:v>-4.7120465186260341E-2</c:v>
                </c:pt>
                <c:pt idx="185">
                  <c:v>-4.7120465186260341E-2</c:v>
                </c:pt>
                <c:pt idx="186">
                  <c:v>-4.7120465186260341E-2</c:v>
                </c:pt>
                <c:pt idx="187">
                  <c:v>-4.7040810004690736E-2</c:v>
                </c:pt>
                <c:pt idx="188">
                  <c:v>-4.7040810004690736E-2</c:v>
                </c:pt>
                <c:pt idx="189">
                  <c:v>-4.7040810004690736E-2</c:v>
                </c:pt>
                <c:pt idx="190">
                  <c:v>-4.7040810004690736E-2</c:v>
                </c:pt>
                <c:pt idx="191">
                  <c:v>-4.7040810004690736E-2</c:v>
                </c:pt>
                <c:pt idx="192">
                  <c:v>-4.1695062263800264E-2</c:v>
                </c:pt>
                <c:pt idx="193">
                  <c:v>-4.1695062263800264E-2</c:v>
                </c:pt>
                <c:pt idx="194">
                  <c:v>-4.1695062263800264E-2</c:v>
                </c:pt>
                <c:pt idx="195">
                  <c:v>-4.1695062263800264E-2</c:v>
                </c:pt>
                <c:pt idx="196">
                  <c:v>-4.1695062263800264E-2</c:v>
                </c:pt>
                <c:pt idx="197">
                  <c:v>-6.2007133564038308E-2</c:v>
                </c:pt>
                <c:pt idx="198">
                  <c:v>-6.2007133564038308E-2</c:v>
                </c:pt>
                <c:pt idx="199">
                  <c:v>-6.2007133564038308E-2</c:v>
                </c:pt>
                <c:pt idx="200">
                  <c:v>-6.2007133564038308E-2</c:v>
                </c:pt>
                <c:pt idx="201">
                  <c:v>-6.2007133564038308E-2</c:v>
                </c:pt>
                <c:pt idx="202">
                  <c:v>-4.9899545965464975E-2</c:v>
                </c:pt>
                <c:pt idx="203">
                  <c:v>-4.9899545965464975E-2</c:v>
                </c:pt>
                <c:pt idx="204">
                  <c:v>-4.9899545965464975E-2</c:v>
                </c:pt>
                <c:pt idx="205">
                  <c:v>-4.9899545965464975E-2</c:v>
                </c:pt>
                <c:pt idx="206">
                  <c:v>-4.9899545965464975E-2</c:v>
                </c:pt>
                <c:pt idx="207">
                  <c:v>-3.6588280067618384E-2</c:v>
                </c:pt>
                <c:pt idx="208">
                  <c:v>-3.6588280067618384E-2</c:v>
                </c:pt>
                <c:pt idx="209">
                  <c:v>-3.6588280067618384E-2</c:v>
                </c:pt>
                <c:pt idx="210">
                  <c:v>-3.6588280067618384E-2</c:v>
                </c:pt>
                <c:pt idx="211">
                  <c:v>-3.6588280067618384E-2</c:v>
                </c:pt>
                <c:pt idx="212">
                  <c:v>-5.1935178383353819E-2</c:v>
                </c:pt>
                <c:pt idx="213">
                  <c:v>-5.1935178383353819E-2</c:v>
                </c:pt>
                <c:pt idx="214">
                  <c:v>-5.1935178383353819E-2</c:v>
                </c:pt>
                <c:pt idx="215">
                  <c:v>-5.1935178383353819E-2</c:v>
                </c:pt>
                <c:pt idx="216">
                  <c:v>-5.1935178383353819E-2</c:v>
                </c:pt>
                <c:pt idx="217">
                  <c:v>-5.0005752874224374E-2</c:v>
                </c:pt>
                <c:pt idx="218">
                  <c:v>-5.0005752874224374E-2</c:v>
                </c:pt>
                <c:pt idx="219">
                  <c:v>-5.0005752874224374E-2</c:v>
                </c:pt>
                <c:pt idx="220">
                  <c:v>-5.0005752874224374E-2</c:v>
                </c:pt>
                <c:pt idx="221">
                  <c:v>-5.0005752874224374E-2</c:v>
                </c:pt>
                <c:pt idx="222">
                  <c:v>-5.8918282634285335E-2</c:v>
                </c:pt>
                <c:pt idx="223">
                  <c:v>-5.8918282634285335E-2</c:v>
                </c:pt>
                <c:pt idx="224">
                  <c:v>-5.8918282634285335E-2</c:v>
                </c:pt>
                <c:pt idx="225">
                  <c:v>-5.8918282634285335E-2</c:v>
                </c:pt>
                <c:pt idx="226">
                  <c:v>-5.8918282634285335E-2</c:v>
                </c:pt>
                <c:pt idx="227">
                  <c:v>-5.4616902829529024E-2</c:v>
                </c:pt>
                <c:pt idx="228">
                  <c:v>-5.4616902829529024E-2</c:v>
                </c:pt>
                <c:pt idx="229">
                  <c:v>-5.4616902829529024E-2</c:v>
                </c:pt>
                <c:pt idx="230">
                  <c:v>-5.4616902829529024E-2</c:v>
                </c:pt>
                <c:pt idx="231">
                  <c:v>-5.4616902829529024E-2</c:v>
                </c:pt>
                <c:pt idx="232">
                  <c:v>-4.7987821607795578E-2</c:v>
                </c:pt>
                <c:pt idx="233">
                  <c:v>-4.7987821607795578E-2</c:v>
                </c:pt>
                <c:pt idx="234">
                  <c:v>-4.7987821607795578E-2</c:v>
                </c:pt>
                <c:pt idx="235">
                  <c:v>-4.7987821607795578E-2</c:v>
                </c:pt>
                <c:pt idx="236">
                  <c:v>-4.7987821607795578E-2</c:v>
                </c:pt>
                <c:pt idx="237">
                  <c:v>-4.9970350571304722E-2</c:v>
                </c:pt>
                <c:pt idx="238">
                  <c:v>-4.9970350571304722E-2</c:v>
                </c:pt>
                <c:pt idx="239">
                  <c:v>-4.9970350571304722E-2</c:v>
                </c:pt>
                <c:pt idx="240">
                  <c:v>-4.9970350571304722E-2</c:v>
                </c:pt>
                <c:pt idx="241">
                  <c:v>-4.9970350571304722E-2</c:v>
                </c:pt>
                <c:pt idx="242">
                  <c:v>-6.8574260755662086E-2</c:v>
                </c:pt>
                <c:pt idx="243">
                  <c:v>-6.8574260755662086E-2</c:v>
                </c:pt>
                <c:pt idx="244">
                  <c:v>-6.8574260755662086E-2</c:v>
                </c:pt>
                <c:pt idx="245">
                  <c:v>-6.8574260755662086E-2</c:v>
                </c:pt>
                <c:pt idx="246">
                  <c:v>-6.8574260755662086E-2</c:v>
                </c:pt>
                <c:pt idx="247">
                  <c:v>-5.8874029755635604E-2</c:v>
                </c:pt>
                <c:pt idx="248">
                  <c:v>-5.8874029755635604E-2</c:v>
                </c:pt>
                <c:pt idx="249">
                  <c:v>-5.8874029755635604E-2</c:v>
                </c:pt>
                <c:pt idx="250">
                  <c:v>-5.8874029755635604E-2</c:v>
                </c:pt>
                <c:pt idx="251">
                  <c:v>-5.8874029755635604E-2</c:v>
                </c:pt>
                <c:pt idx="252">
                  <c:v>-6.6042996096896012E-2</c:v>
                </c:pt>
                <c:pt idx="253">
                  <c:v>-6.6042996096896012E-2</c:v>
                </c:pt>
                <c:pt idx="254">
                  <c:v>-6.6042996096896012E-2</c:v>
                </c:pt>
                <c:pt idx="255">
                  <c:v>-6.6042996096896012E-2</c:v>
                </c:pt>
                <c:pt idx="256">
                  <c:v>-6.6042996096896012E-2</c:v>
                </c:pt>
                <c:pt idx="257">
                  <c:v>-7.7867365272111022E-2</c:v>
                </c:pt>
                <c:pt idx="258">
                  <c:v>-7.7867365272111022E-2</c:v>
                </c:pt>
                <c:pt idx="259">
                  <c:v>-7.7867365272111022E-2</c:v>
                </c:pt>
                <c:pt idx="260">
                  <c:v>-7.7867365272111022E-2</c:v>
                </c:pt>
                <c:pt idx="261">
                  <c:v>-7.7867365272111022E-2</c:v>
                </c:pt>
                <c:pt idx="262">
                  <c:v>-6.930885854124802E-2</c:v>
                </c:pt>
                <c:pt idx="263">
                  <c:v>-6.930885854124802E-2</c:v>
                </c:pt>
                <c:pt idx="264">
                  <c:v>-6.930885854124802E-2</c:v>
                </c:pt>
                <c:pt idx="265">
                  <c:v>-6.930885854124802E-2</c:v>
                </c:pt>
                <c:pt idx="266">
                  <c:v>-6.930885854124802E-2</c:v>
                </c:pt>
                <c:pt idx="267">
                  <c:v>-5.9059891845964607E-2</c:v>
                </c:pt>
                <c:pt idx="268">
                  <c:v>-5.9059891845964607E-2</c:v>
                </c:pt>
                <c:pt idx="269">
                  <c:v>-5.9059891845964607E-2</c:v>
                </c:pt>
                <c:pt idx="270">
                  <c:v>-5.9059891845964607E-2</c:v>
                </c:pt>
                <c:pt idx="271">
                  <c:v>-5.9059891845964607E-2</c:v>
                </c:pt>
                <c:pt idx="272">
                  <c:v>-5.9121845876074164E-2</c:v>
                </c:pt>
                <c:pt idx="273">
                  <c:v>-5.9121845876074164E-2</c:v>
                </c:pt>
                <c:pt idx="274">
                  <c:v>-5.9121845876074164E-2</c:v>
                </c:pt>
                <c:pt idx="275">
                  <c:v>-5.9121845876074164E-2</c:v>
                </c:pt>
                <c:pt idx="276">
                  <c:v>-5.9121845876074164E-2</c:v>
                </c:pt>
                <c:pt idx="277">
                  <c:v>-7.5044031614256546E-2</c:v>
                </c:pt>
                <c:pt idx="278">
                  <c:v>-7.5044031614256546E-2</c:v>
                </c:pt>
                <c:pt idx="279">
                  <c:v>-7.5044031614256546E-2</c:v>
                </c:pt>
                <c:pt idx="280">
                  <c:v>-7.5044031614256546E-2</c:v>
                </c:pt>
                <c:pt idx="281">
                  <c:v>-7.5044031614256546E-2</c:v>
                </c:pt>
                <c:pt idx="282">
                  <c:v>-7.4884721251117337E-2</c:v>
                </c:pt>
                <c:pt idx="283">
                  <c:v>-7.4884721251117337E-2</c:v>
                </c:pt>
                <c:pt idx="284">
                  <c:v>-7.4884721251117337E-2</c:v>
                </c:pt>
                <c:pt idx="285">
                  <c:v>-7.4884721251117337E-2</c:v>
                </c:pt>
                <c:pt idx="286">
                  <c:v>-7.4884721251117337E-2</c:v>
                </c:pt>
                <c:pt idx="287">
                  <c:v>-6.5458858098719319E-2</c:v>
                </c:pt>
                <c:pt idx="288">
                  <c:v>-6.5458858098719319E-2</c:v>
                </c:pt>
                <c:pt idx="289">
                  <c:v>-6.5458858098719319E-2</c:v>
                </c:pt>
                <c:pt idx="290">
                  <c:v>-6.5458858098719319E-2</c:v>
                </c:pt>
                <c:pt idx="291">
                  <c:v>-6.5458858098719319E-2</c:v>
                </c:pt>
                <c:pt idx="292">
                  <c:v>-5.5590466159823659E-2</c:v>
                </c:pt>
                <c:pt idx="293">
                  <c:v>-5.5590466159823659E-2</c:v>
                </c:pt>
                <c:pt idx="294">
                  <c:v>-5.5590466159823659E-2</c:v>
                </c:pt>
                <c:pt idx="295">
                  <c:v>-5.5590466159823659E-2</c:v>
                </c:pt>
                <c:pt idx="296">
                  <c:v>-5.5590466159823659E-2</c:v>
                </c:pt>
                <c:pt idx="297">
                  <c:v>-5.5493109826794229E-2</c:v>
                </c:pt>
                <c:pt idx="298">
                  <c:v>-5.5493109826794229E-2</c:v>
                </c:pt>
                <c:pt idx="299">
                  <c:v>-5.5493109826794229E-2</c:v>
                </c:pt>
                <c:pt idx="300">
                  <c:v>-5.5493109826794229E-2</c:v>
                </c:pt>
                <c:pt idx="301">
                  <c:v>-5.5493109826794229E-2</c:v>
                </c:pt>
                <c:pt idx="302">
                  <c:v>-7.1618858806765329E-2</c:v>
                </c:pt>
                <c:pt idx="303">
                  <c:v>-7.1618858806765329E-2</c:v>
                </c:pt>
                <c:pt idx="304">
                  <c:v>-7.1618858806765329E-2</c:v>
                </c:pt>
                <c:pt idx="305">
                  <c:v>-7.1618858806765329E-2</c:v>
                </c:pt>
                <c:pt idx="306">
                  <c:v>-7.1618858806765329E-2</c:v>
                </c:pt>
                <c:pt idx="307">
                  <c:v>-8.0062308053138742E-2</c:v>
                </c:pt>
                <c:pt idx="308">
                  <c:v>-8.0062308053138742E-2</c:v>
                </c:pt>
                <c:pt idx="309">
                  <c:v>-8.0062308053138742E-2</c:v>
                </c:pt>
                <c:pt idx="310">
                  <c:v>-8.0062308053138742E-2</c:v>
                </c:pt>
                <c:pt idx="311">
                  <c:v>-8.0062308053138742E-2</c:v>
                </c:pt>
                <c:pt idx="312">
                  <c:v>-8.5514262702788724E-2</c:v>
                </c:pt>
                <c:pt idx="313">
                  <c:v>-8.5514262702788724E-2</c:v>
                </c:pt>
                <c:pt idx="314">
                  <c:v>-8.5514262702788724E-2</c:v>
                </c:pt>
                <c:pt idx="315">
                  <c:v>-8.5514262702788724E-2</c:v>
                </c:pt>
                <c:pt idx="316">
                  <c:v>-8.5514262702788724E-2</c:v>
                </c:pt>
                <c:pt idx="317">
                  <c:v>-7.6309663943639583E-2</c:v>
                </c:pt>
                <c:pt idx="318">
                  <c:v>-7.6309663943639583E-2</c:v>
                </c:pt>
                <c:pt idx="319">
                  <c:v>-7.6309663943639583E-2</c:v>
                </c:pt>
                <c:pt idx="320">
                  <c:v>-7.6309663943639583E-2</c:v>
                </c:pt>
                <c:pt idx="321">
                  <c:v>-7.6309663943639583E-2</c:v>
                </c:pt>
                <c:pt idx="322">
                  <c:v>-9.2470815226530445E-2</c:v>
                </c:pt>
                <c:pt idx="323">
                  <c:v>-9.2470815226530445E-2</c:v>
                </c:pt>
                <c:pt idx="324">
                  <c:v>-9.2470815226530445E-2</c:v>
                </c:pt>
                <c:pt idx="325">
                  <c:v>-9.2470815226530445E-2</c:v>
                </c:pt>
                <c:pt idx="326">
                  <c:v>-9.2470815226530445E-2</c:v>
                </c:pt>
                <c:pt idx="327">
                  <c:v>-8.9266906812288105E-2</c:v>
                </c:pt>
                <c:pt idx="328">
                  <c:v>-8.9266906812288105E-2</c:v>
                </c:pt>
                <c:pt idx="329">
                  <c:v>-8.9266906812288105E-2</c:v>
                </c:pt>
                <c:pt idx="330">
                  <c:v>-8.9266906812288105E-2</c:v>
                </c:pt>
                <c:pt idx="331">
                  <c:v>-8.9266906812288105E-2</c:v>
                </c:pt>
                <c:pt idx="332">
                  <c:v>-8.9284607963748042E-2</c:v>
                </c:pt>
                <c:pt idx="333">
                  <c:v>-8.9284607963748042E-2</c:v>
                </c:pt>
                <c:pt idx="334">
                  <c:v>-8.9284607963748042E-2</c:v>
                </c:pt>
                <c:pt idx="335">
                  <c:v>-8.9284607963748042E-2</c:v>
                </c:pt>
                <c:pt idx="336">
                  <c:v>-8.9284607963748042E-2</c:v>
                </c:pt>
                <c:pt idx="337">
                  <c:v>-8.7372883606078533E-2</c:v>
                </c:pt>
                <c:pt idx="338">
                  <c:v>-8.7372883606078533E-2</c:v>
                </c:pt>
                <c:pt idx="339">
                  <c:v>-8.7372883606078533E-2</c:v>
                </c:pt>
                <c:pt idx="340">
                  <c:v>-8.7372883606078533E-2</c:v>
                </c:pt>
                <c:pt idx="341">
                  <c:v>-8.7372883606078533E-2</c:v>
                </c:pt>
                <c:pt idx="342">
                  <c:v>-8.9417366599697234E-2</c:v>
                </c:pt>
                <c:pt idx="343">
                  <c:v>-8.9417366599697234E-2</c:v>
                </c:pt>
                <c:pt idx="344">
                  <c:v>-8.9417366599697234E-2</c:v>
                </c:pt>
                <c:pt idx="345">
                  <c:v>-8.9417366599697234E-2</c:v>
                </c:pt>
                <c:pt idx="346">
                  <c:v>-8.9417366599697234E-2</c:v>
                </c:pt>
                <c:pt idx="347">
                  <c:v>-8.1513802472850783E-2</c:v>
                </c:pt>
                <c:pt idx="348">
                  <c:v>-8.1513802472850783E-2</c:v>
                </c:pt>
                <c:pt idx="349">
                  <c:v>-8.1513802472850783E-2</c:v>
                </c:pt>
                <c:pt idx="350">
                  <c:v>-8.1513802472850783E-2</c:v>
                </c:pt>
                <c:pt idx="351">
                  <c:v>-8.1513802472850783E-2</c:v>
                </c:pt>
                <c:pt idx="352">
                  <c:v>-9.2647826741129369E-2</c:v>
                </c:pt>
                <c:pt idx="353">
                  <c:v>-9.2647826741129369E-2</c:v>
                </c:pt>
                <c:pt idx="354">
                  <c:v>-9.2647826741129369E-2</c:v>
                </c:pt>
                <c:pt idx="355">
                  <c:v>-9.2647826741129369E-2</c:v>
                </c:pt>
                <c:pt idx="356">
                  <c:v>-9.2647826741129369E-2</c:v>
                </c:pt>
                <c:pt idx="357">
                  <c:v>-8.1947480683618457E-2</c:v>
                </c:pt>
                <c:pt idx="358">
                  <c:v>-8.1947480683618457E-2</c:v>
                </c:pt>
                <c:pt idx="359">
                  <c:v>-8.1947480683618457E-2</c:v>
                </c:pt>
                <c:pt idx="360">
                  <c:v>-8.1947480683618457E-2</c:v>
                </c:pt>
                <c:pt idx="361">
                  <c:v>-8.1947480683618457E-2</c:v>
                </c:pt>
                <c:pt idx="362">
                  <c:v>-8.1655411684530055E-2</c:v>
                </c:pt>
                <c:pt idx="363">
                  <c:v>-8.1655411684530055E-2</c:v>
                </c:pt>
                <c:pt idx="364">
                  <c:v>-8.1655411684530055E-2</c:v>
                </c:pt>
                <c:pt idx="365">
                  <c:v>-8.1655411684530055E-2</c:v>
                </c:pt>
                <c:pt idx="366">
                  <c:v>-8.1655411684530055E-2</c:v>
                </c:pt>
                <c:pt idx="367">
                  <c:v>-7.6415870852398982E-2</c:v>
                </c:pt>
                <c:pt idx="368">
                  <c:v>-7.6415870852398982E-2</c:v>
                </c:pt>
                <c:pt idx="369">
                  <c:v>-7.6415870852398982E-2</c:v>
                </c:pt>
                <c:pt idx="370">
                  <c:v>-7.6415870852398982E-2</c:v>
                </c:pt>
                <c:pt idx="371">
                  <c:v>-7.6415870852398982E-2</c:v>
                </c:pt>
                <c:pt idx="372">
                  <c:v>-8.183242319912909E-2</c:v>
                </c:pt>
                <c:pt idx="373">
                  <c:v>-8.183242319912909E-2</c:v>
                </c:pt>
                <c:pt idx="374">
                  <c:v>-8.183242319912909E-2</c:v>
                </c:pt>
                <c:pt idx="375">
                  <c:v>-8.183242319912909E-2</c:v>
                </c:pt>
                <c:pt idx="376">
                  <c:v>-8.183242319912909E-2</c:v>
                </c:pt>
                <c:pt idx="377">
                  <c:v>-6.1688512837760112E-2</c:v>
                </c:pt>
                <c:pt idx="378">
                  <c:v>-6.1688512837760112E-2</c:v>
                </c:pt>
                <c:pt idx="379">
                  <c:v>-6.1688512837760112E-2</c:v>
                </c:pt>
                <c:pt idx="380">
                  <c:v>-6.1688512837760112E-2</c:v>
                </c:pt>
                <c:pt idx="381">
                  <c:v>-6.1688512837760112E-2</c:v>
                </c:pt>
                <c:pt idx="382">
                  <c:v>-6.7830812394346296E-2</c:v>
                </c:pt>
                <c:pt idx="383">
                  <c:v>-6.7830812394346296E-2</c:v>
                </c:pt>
                <c:pt idx="384">
                  <c:v>-6.7830812394346296E-2</c:v>
                </c:pt>
                <c:pt idx="385">
                  <c:v>-6.7830812394346296E-2</c:v>
                </c:pt>
                <c:pt idx="386">
                  <c:v>-6.7830812394346296E-2</c:v>
                </c:pt>
                <c:pt idx="387">
                  <c:v>-7.422092807137104E-2</c:v>
                </c:pt>
                <c:pt idx="388">
                  <c:v>-7.422092807137104E-2</c:v>
                </c:pt>
                <c:pt idx="389">
                  <c:v>-7.422092807137104E-2</c:v>
                </c:pt>
                <c:pt idx="390">
                  <c:v>-7.422092807137104E-2</c:v>
                </c:pt>
                <c:pt idx="391">
                  <c:v>-7.422092807137104E-2</c:v>
                </c:pt>
                <c:pt idx="392">
                  <c:v>-8.5098285643481097E-2</c:v>
                </c:pt>
                <c:pt idx="393">
                  <c:v>-8.5098285643481097E-2</c:v>
                </c:pt>
                <c:pt idx="394">
                  <c:v>-8.5098285643481097E-2</c:v>
                </c:pt>
                <c:pt idx="395">
                  <c:v>-8.5098285643481097E-2</c:v>
                </c:pt>
                <c:pt idx="396">
                  <c:v>-8.5098285643481097E-2</c:v>
                </c:pt>
                <c:pt idx="397">
                  <c:v>-7.341552567994547E-2</c:v>
                </c:pt>
                <c:pt idx="398">
                  <c:v>-7.341552567994547E-2</c:v>
                </c:pt>
                <c:pt idx="399">
                  <c:v>-7.341552567994547E-2</c:v>
                </c:pt>
                <c:pt idx="400">
                  <c:v>-7.341552567994547E-2</c:v>
                </c:pt>
                <c:pt idx="401">
                  <c:v>-7.341552567994547E-2</c:v>
                </c:pt>
                <c:pt idx="402">
                  <c:v>-7.0344375901652323E-2</c:v>
                </c:pt>
                <c:pt idx="403">
                  <c:v>-7.0344375901652323E-2</c:v>
                </c:pt>
                <c:pt idx="404">
                  <c:v>-7.0344375901652323E-2</c:v>
                </c:pt>
                <c:pt idx="405">
                  <c:v>-7.0344375901652323E-2</c:v>
                </c:pt>
                <c:pt idx="406">
                  <c:v>-7.0344375901652323E-2</c:v>
                </c:pt>
                <c:pt idx="407">
                  <c:v>-7.05656402949012E-2</c:v>
                </c:pt>
                <c:pt idx="408">
                  <c:v>-7.05656402949012E-2</c:v>
                </c:pt>
                <c:pt idx="409">
                  <c:v>-7.05656402949012E-2</c:v>
                </c:pt>
                <c:pt idx="410">
                  <c:v>-7.05656402949012E-2</c:v>
                </c:pt>
                <c:pt idx="411">
                  <c:v>-7.05656402949012E-2</c:v>
                </c:pt>
                <c:pt idx="412">
                  <c:v>-6.7521042243797846E-2</c:v>
                </c:pt>
                <c:pt idx="413">
                  <c:v>-6.7521042243797846E-2</c:v>
                </c:pt>
                <c:pt idx="414">
                  <c:v>-6.7521042243797846E-2</c:v>
                </c:pt>
                <c:pt idx="415">
                  <c:v>-6.7521042243797846E-2</c:v>
                </c:pt>
                <c:pt idx="416">
                  <c:v>-6.7521042243797846E-2</c:v>
                </c:pt>
                <c:pt idx="417">
                  <c:v>-8.7921619301335574E-2</c:v>
                </c:pt>
                <c:pt idx="418">
                  <c:v>-8.7921619301335574E-2</c:v>
                </c:pt>
                <c:pt idx="419">
                  <c:v>-8.7921619301335574E-2</c:v>
                </c:pt>
                <c:pt idx="420">
                  <c:v>-8.7921619301335574E-2</c:v>
                </c:pt>
                <c:pt idx="421">
                  <c:v>-8.7921619301335574E-2</c:v>
                </c:pt>
                <c:pt idx="422">
                  <c:v>-7.1132077141617955E-2</c:v>
                </c:pt>
                <c:pt idx="423">
                  <c:v>-7.1132077141617955E-2</c:v>
                </c:pt>
                <c:pt idx="424">
                  <c:v>-7.1132077141617955E-2</c:v>
                </c:pt>
                <c:pt idx="425">
                  <c:v>-7.1132077141617955E-2</c:v>
                </c:pt>
                <c:pt idx="426">
                  <c:v>-7.1132077141617955E-2</c:v>
                </c:pt>
                <c:pt idx="427">
                  <c:v>-7.2751732500199173E-2</c:v>
                </c:pt>
                <c:pt idx="428">
                  <c:v>-7.2751732500199173E-2</c:v>
                </c:pt>
                <c:pt idx="429">
                  <c:v>-7.2751732500199173E-2</c:v>
                </c:pt>
                <c:pt idx="430">
                  <c:v>-7.2751732500199173E-2</c:v>
                </c:pt>
                <c:pt idx="431">
                  <c:v>-7.2751732500199173E-2</c:v>
                </c:pt>
                <c:pt idx="432">
                  <c:v>-7.8557710179047113E-2</c:v>
                </c:pt>
                <c:pt idx="433">
                  <c:v>-7.8557710179047113E-2</c:v>
                </c:pt>
                <c:pt idx="434">
                  <c:v>-7.8557710179047113E-2</c:v>
                </c:pt>
                <c:pt idx="435">
                  <c:v>-7.8557710179047113E-2</c:v>
                </c:pt>
                <c:pt idx="436">
                  <c:v>-7.8557710179047113E-2</c:v>
                </c:pt>
                <c:pt idx="437">
                  <c:v>-7.4849318948197574E-2</c:v>
                </c:pt>
                <c:pt idx="438">
                  <c:v>-7.4849318948197574E-2</c:v>
                </c:pt>
                <c:pt idx="439">
                  <c:v>-7.4849318948197574E-2</c:v>
                </c:pt>
                <c:pt idx="440">
                  <c:v>-7.4849318948197574E-2</c:v>
                </c:pt>
                <c:pt idx="441">
                  <c:v>-7.4849318948197574E-2</c:v>
                </c:pt>
                <c:pt idx="442">
                  <c:v>-6.2184145078637343E-2</c:v>
                </c:pt>
                <c:pt idx="443">
                  <c:v>-6.2184145078637343E-2</c:v>
                </c:pt>
                <c:pt idx="444">
                  <c:v>-6.2184145078637343E-2</c:v>
                </c:pt>
                <c:pt idx="445">
                  <c:v>-6.2184145078637343E-2</c:v>
                </c:pt>
                <c:pt idx="446">
                  <c:v>-6.2184145078637343E-2</c:v>
                </c:pt>
                <c:pt idx="447">
                  <c:v>-6.2511616380645507E-2</c:v>
                </c:pt>
                <c:pt idx="448">
                  <c:v>-6.2511616380645507E-2</c:v>
                </c:pt>
                <c:pt idx="449">
                  <c:v>-6.2511616380645507E-2</c:v>
                </c:pt>
                <c:pt idx="450">
                  <c:v>-6.2511616380645507E-2</c:v>
                </c:pt>
                <c:pt idx="451">
                  <c:v>-6.2511616380645507E-2</c:v>
                </c:pt>
                <c:pt idx="452">
                  <c:v>-6.1608857656190508E-2</c:v>
                </c:pt>
                <c:pt idx="453">
                  <c:v>-6.1608857656190508E-2</c:v>
                </c:pt>
                <c:pt idx="454">
                  <c:v>-6.1608857656190508E-2</c:v>
                </c:pt>
                <c:pt idx="455">
                  <c:v>-6.1608857656190508E-2</c:v>
                </c:pt>
                <c:pt idx="456">
                  <c:v>-6.1608857656190508E-2</c:v>
                </c:pt>
                <c:pt idx="457">
                  <c:v>-5.5829431704532362E-2</c:v>
                </c:pt>
                <c:pt idx="458">
                  <c:v>-5.5829431704532362E-2</c:v>
                </c:pt>
                <c:pt idx="459">
                  <c:v>-5.5829431704532362E-2</c:v>
                </c:pt>
                <c:pt idx="460">
                  <c:v>-5.5829431704532362E-2</c:v>
                </c:pt>
                <c:pt idx="461">
                  <c:v>-5.5829431704532362E-2</c:v>
                </c:pt>
                <c:pt idx="462">
                  <c:v>-5.6997707700885969E-2</c:v>
                </c:pt>
                <c:pt idx="463">
                  <c:v>-5.6997707700885969E-2</c:v>
                </c:pt>
                <c:pt idx="464">
                  <c:v>-5.6997707700885969E-2</c:v>
                </c:pt>
                <c:pt idx="465">
                  <c:v>-5.6997707700885969E-2</c:v>
                </c:pt>
                <c:pt idx="466">
                  <c:v>-5.6997707700885969E-2</c:v>
                </c:pt>
                <c:pt idx="467">
                  <c:v>-5.2669776168939753E-2</c:v>
                </c:pt>
                <c:pt idx="468">
                  <c:v>-5.2669776168939753E-2</c:v>
                </c:pt>
                <c:pt idx="469">
                  <c:v>-5.2669776168939753E-2</c:v>
                </c:pt>
                <c:pt idx="470">
                  <c:v>-5.2669776168939753E-2</c:v>
                </c:pt>
                <c:pt idx="471">
                  <c:v>-5.2669776168939753E-2</c:v>
                </c:pt>
                <c:pt idx="472">
                  <c:v>-5.4731960314018391E-2</c:v>
                </c:pt>
                <c:pt idx="473">
                  <c:v>-5.4731960314018391E-2</c:v>
                </c:pt>
                <c:pt idx="474">
                  <c:v>-5.4731960314018391E-2</c:v>
                </c:pt>
                <c:pt idx="475">
                  <c:v>-5.4731960314018391E-2</c:v>
                </c:pt>
                <c:pt idx="476">
                  <c:v>-5.4731960314018391E-2</c:v>
                </c:pt>
                <c:pt idx="477">
                  <c:v>-6.360023719542951E-2</c:v>
                </c:pt>
                <c:pt idx="478">
                  <c:v>-6.360023719542951E-2</c:v>
                </c:pt>
                <c:pt idx="479">
                  <c:v>-6.360023719542951E-2</c:v>
                </c:pt>
                <c:pt idx="480">
                  <c:v>-6.360023719542951E-2</c:v>
                </c:pt>
                <c:pt idx="481">
                  <c:v>-6.360023719542951E-2</c:v>
                </c:pt>
                <c:pt idx="482">
                  <c:v>-5.6679086974607662E-2</c:v>
                </c:pt>
                <c:pt idx="483">
                  <c:v>-5.6679086974607662E-2</c:v>
                </c:pt>
                <c:pt idx="484">
                  <c:v>-5.6679086974607662E-2</c:v>
                </c:pt>
                <c:pt idx="485">
                  <c:v>-5.6679086974607662E-2</c:v>
                </c:pt>
                <c:pt idx="486">
                  <c:v>-5.6679086974607662E-2</c:v>
                </c:pt>
                <c:pt idx="487">
                  <c:v>-4.9359660845938014E-2</c:v>
                </c:pt>
                <c:pt idx="488">
                  <c:v>-4.9359660845938014E-2</c:v>
                </c:pt>
                <c:pt idx="489">
                  <c:v>-4.9359660845938014E-2</c:v>
                </c:pt>
                <c:pt idx="490">
                  <c:v>-4.9359660845938014E-2</c:v>
                </c:pt>
                <c:pt idx="491">
                  <c:v>-4.9359660845938014E-2</c:v>
                </c:pt>
                <c:pt idx="492">
                  <c:v>-5.2457362351420844E-2</c:v>
                </c:pt>
                <c:pt idx="493">
                  <c:v>-5.2457362351420844E-2</c:v>
                </c:pt>
                <c:pt idx="494">
                  <c:v>-5.2457362351420844E-2</c:v>
                </c:pt>
                <c:pt idx="495">
                  <c:v>-5.2457362351420844E-2</c:v>
                </c:pt>
                <c:pt idx="496">
                  <c:v>-5.2457362351420844E-2</c:v>
                </c:pt>
                <c:pt idx="497">
                  <c:v>-5.3696442953614087E-2</c:v>
                </c:pt>
                <c:pt idx="498">
                  <c:v>-5.3696442953614087E-2</c:v>
                </c:pt>
                <c:pt idx="499">
                  <c:v>-5.3696442953614087E-2</c:v>
                </c:pt>
                <c:pt idx="500">
                  <c:v>-5.3696442953614087E-2</c:v>
                </c:pt>
                <c:pt idx="501">
                  <c:v>-5.3696442953614087E-2</c:v>
                </c:pt>
                <c:pt idx="502">
                  <c:v>-5.4245178648871017E-2</c:v>
                </c:pt>
                <c:pt idx="503">
                  <c:v>-5.4245178648871017E-2</c:v>
                </c:pt>
                <c:pt idx="504">
                  <c:v>-5.4245178648871017E-2</c:v>
                </c:pt>
                <c:pt idx="505">
                  <c:v>-5.4245178648871017E-2</c:v>
                </c:pt>
                <c:pt idx="506">
                  <c:v>-5.4245178648871017E-2</c:v>
                </c:pt>
                <c:pt idx="507">
                  <c:v>-4.0429429934417227E-2</c:v>
                </c:pt>
                <c:pt idx="508">
                  <c:v>-4.0429429934417227E-2</c:v>
                </c:pt>
                <c:pt idx="509">
                  <c:v>-4.0429429934417227E-2</c:v>
                </c:pt>
                <c:pt idx="510">
                  <c:v>-4.0429429934417227E-2</c:v>
                </c:pt>
                <c:pt idx="511">
                  <c:v>-4.0429429934417227E-2</c:v>
                </c:pt>
                <c:pt idx="512">
                  <c:v>-5.148379902112632E-2</c:v>
                </c:pt>
                <c:pt idx="513">
                  <c:v>-5.148379902112632E-2</c:v>
                </c:pt>
                <c:pt idx="514">
                  <c:v>-5.148379902112632E-2</c:v>
                </c:pt>
                <c:pt idx="515">
                  <c:v>-5.148379902112632E-2</c:v>
                </c:pt>
                <c:pt idx="516">
                  <c:v>-5.148379902112632E-2</c:v>
                </c:pt>
                <c:pt idx="517">
                  <c:v>-5.2935293440838249E-2</c:v>
                </c:pt>
                <c:pt idx="518">
                  <c:v>-5.2935293440838249E-2</c:v>
                </c:pt>
                <c:pt idx="519">
                  <c:v>-5.2935293440838249E-2</c:v>
                </c:pt>
                <c:pt idx="520">
                  <c:v>-5.2935293440838249E-2</c:v>
                </c:pt>
                <c:pt idx="521">
                  <c:v>-5.2935293440838249E-2</c:v>
                </c:pt>
                <c:pt idx="522">
                  <c:v>-5.7457937638843326E-2</c:v>
                </c:pt>
                <c:pt idx="523">
                  <c:v>-5.7457937638843326E-2</c:v>
                </c:pt>
                <c:pt idx="524">
                  <c:v>-5.7457937638843326E-2</c:v>
                </c:pt>
                <c:pt idx="525">
                  <c:v>-5.7457937638843326E-2</c:v>
                </c:pt>
                <c:pt idx="526">
                  <c:v>-5.7457937638843326E-2</c:v>
                </c:pt>
                <c:pt idx="527">
                  <c:v>-4.6341614522024566E-2</c:v>
                </c:pt>
                <c:pt idx="528">
                  <c:v>-4.6341614522024566E-2</c:v>
                </c:pt>
                <c:pt idx="529">
                  <c:v>-4.6341614522024566E-2</c:v>
                </c:pt>
                <c:pt idx="530">
                  <c:v>-4.6341614522024566E-2</c:v>
                </c:pt>
                <c:pt idx="531">
                  <c:v>-4.6341614522024566E-2</c:v>
                </c:pt>
                <c:pt idx="532">
                  <c:v>-5.4183224618761461E-2</c:v>
                </c:pt>
                <c:pt idx="533">
                  <c:v>-5.4183224618761461E-2</c:v>
                </c:pt>
                <c:pt idx="534">
                  <c:v>-5.4183224618761461E-2</c:v>
                </c:pt>
                <c:pt idx="535">
                  <c:v>-5.4183224618761461E-2</c:v>
                </c:pt>
                <c:pt idx="536">
                  <c:v>-5.4183224618761461E-2</c:v>
                </c:pt>
                <c:pt idx="537">
                  <c:v>-4.1703912839530122E-2</c:v>
                </c:pt>
                <c:pt idx="538">
                  <c:v>-4.1703912839530122E-2</c:v>
                </c:pt>
                <c:pt idx="539">
                  <c:v>-4.1703912839530122E-2</c:v>
                </c:pt>
                <c:pt idx="540">
                  <c:v>-4.1703912839530122E-2</c:v>
                </c:pt>
                <c:pt idx="541">
                  <c:v>-4.1703912839530122E-2</c:v>
                </c:pt>
                <c:pt idx="542">
                  <c:v>-5.2696327896129547E-2</c:v>
                </c:pt>
                <c:pt idx="543">
                  <c:v>-5.2696327896129547E-2</c:v>
                </c:pt>
                <c:pt idx="544">
                  <c:v>-5.2696327896129547E-2</c:v>
                </c:pt>
                <c:pt idx="545">
                  <c:v>-5.2696327896129547E-2</c:v>
                </c:pt>
                <c:pt idx="546">
                  <c:v>-5.2696327896129547E-2</c:v>
                </c:pt>
                <c:pt idx="547">
                  <c:v>-4.8616212484622112E-2</c:v>
                </c:pt>
                <c:pt idx="548">
                  <c:v>-4.8616212484622112E-2</c:v>
                </c:pt>
                <c:pt idx="549">
                  <c:v>-4.8616212484622112E-2</c:v>
                </c:pt>
                <c:pt idx="550">
                  <c:v>-4.8616212484622112E-2</c:v>
                </c:pt>
                <c:pt idx="551">
                  <c:v>-4.8616212484622112E-2</c:v>
                </c:pt>
                <c:pt idx="552">
                  <c:v>-4.9085292998309438E-2</c:v>
                </c:pt>
                <c:pt idx="553">
                  <c:v>-4.9085292998309438E-2</c:v>
                </c:pt>
                <c:pt idx="554">
                  <c:v>-4.9085292998309438E-2</c:v>
                </c:pt>
                <c:pt idx="555">
                  <c:v>-4.9085292998309438E-2</c:v>
                </c:pt>
                <c:pt idx="556">
                  <c:v>-4.9085292998309438E-2</c:v>
                </c:pt>
                <c:pt idx="557">
                  <c:v>-4.0314372449927749E-2</c:v>
                </c:pt>
                <c:pt idx="558">
                  <c:v>-4.0314372449927749E-2</c:v>
                </c:pt>
                <c:pt idx="559">
                  <c:v>-4.0314372449927749E-2</c:v>
                </c:pt>
                <c:pt idx="560">
                  <c:v>-4.0314372449927749E-2</c:v>
                </c:pt>
                <c:pt idx="561">
                  <c:v>-4.0314372449927749E-2</c:v>
                </c:pt>
                <c:pt idx="562">
                  <c:v>-3.3543682016515142E-2</c:v>
                </c:pt>
                <c:pt idx="563">
                  <c:v>-3.3543682016515142E-2</c:v>
                </c:pt>
                <c:pt idx="564">
                  <c:v>-3.3543682016515142E-2</c:v>
                </c:pt>
                <c:pt idx="565">
                  <c:v>-3.3543682016515142E-2</c:v>
                </c:pt>
                <c:pt idx="566">
                  <c:v>-3.3543682016515142E-2</c:v>
                </c:pt>
                <c:pt idx="567">
                  <c:v>-3.5597015585863812E-2</c:v>
                </c:pt>
                <c:pt idx="568">
                  <c:v>-3.5597015585863812E-2</c:v>
                </c:pt>
                <c:pt idx="569">
                  <c:v>-3.5597015585863812E-2</c:v>
                </c:pt>
                <c:pt idx="570">
                  <c:v>-3.5597015585863812E-2</c:v>
                </c:pt>
                <c:pt idx="571">
                  <c:v>-3.5597015585863812E-2</c:v>
                </c:pt>
                <c:pt idx="572">
                  <c:v>-2.2754830201704657E-2</c:v>
                </c:pt>
                <c:pt idx="573">
                  <c:v>-2.2754830201704657E-2</c:v>
                </c:pt>
                <c:pt idx="574">
                  <c:v>-2.2754830201704657E-2</c:v>
                </c:pt>
                <c:pt idx="575">
                  <c:v>-2.2754830201704657E-2</c:v>
                </c:pt>
                <c:pt idx="576">
                  <c:v>-2.2754830201704657E-2</c:v>
                </c:pt>
                <c:pt idx="577">
                  <c:v>-2.6985405400621221E-2</c:v>
                </c:pt>
                <c:pt idx="578">
                  <c:v>-2.6985405400621221E-2</c:v>
                </c:pt>
                <c:pt idx="579">
                  <c:v>-2.6985405400621221E-2</c:v>
                </c:pt>
                <c:pt idx="580">
                  <c:v>-2.6985405400621221E-2</c:v>
                </c:pt>
                <c:pt idx="581">
                  <c:v>-2.6985405400621221E-2</c:v>
                </c:pt>
                <c:pt idx="582">
                  <c:v>-3.3056900351367879E-2</c:v>
                </c:pt>
                <c:pt idx="583">
                  <c:v>-3.3056900351367879E-2</c:v>
                </c:pt>
                <c:pt idx="584">
                  <c:v>-3.3056900351367879E-2</c:v>
                </c:pt>
                <c:pt idx="585">
                  <c:v>-3.3056900351367879E-2</c:v>
                </c:pt>
                <c:pt idx="586">
                  <c:v>-3.3056900351367879E-2</c:v>
                </c:pt>
                <c:pt idx="587">
                  <c:v>-2.8197934275624559E-2</c:v>
                </c:pt>
                <c:pt idx="588">
                  <c:v>-2.8197934275624559E-2</c:v>
                </c:pt>
                <c:pt idx="589">
                  <c:v>-2.8197934275624559E-2</c:v>
                </c:pt>
                <c:pt idx="590">
                  <c:v>-2.8197934275624559E-2</c:v>
                </c:pt>
                <c:pt idx="591">
                  <c:v>-2.8197934275624559E-2</c:v>
                </c:pt>
                <c:pt idx="592">
                  <c:v>-2.6047244373246459E-2</c:v>
                </c:pt>
                <c:pt idx="593">
                  <c:v>-2.6047244373246459E-2</c:v>
                </c:pt>
                <c:pt idx="594">
                  <c:v>-2.6047244373246459E-2</c:v>
                </c:pt>
                <c:pt idx="595">
                  <c:v>-2.6047244373246459E-2</c:v>
                </c:pt>
                <c:pt idx="596">
                  <c:v>-2.6047244373246459E-2</c:v>
                </c:pt>
                <c:pt idx="597">
                  <c:v>-2.1852071477249546E-2</c:v>
                </c:pt>
                <c:pt idx="598">
                  <c:v>-2.1852071477249546E-2</c:v>
                </c:pt>
                <c:pt idx="599">
                  <c:v>-2.1852071477249546E-2</c:v>
                </c:pt>
                <c:pt idx="600">
                  <c:v>-2.1852071477249546E-2</c:v>
                </c:pt>
                <c:pt idx="601">
                  <c:v>-2.1852071477249546E-2</c:v>
                </c:pt>
                <c:pt idx="602">
                  <c:v>-2.6666784674343025E-2</c:v>
                </c:pt>
                <c:pt idx="603">
                  <c:v>-2.6666784674343025E-2</c:v>
                </c:pt>
                <c:pt idx="604">
                  <c:v>-2.6666784674343025E-2</c:v>
                </c:pt>
                <c:pt idx="605">
                  <c:v>-2.6666784674343025E-2</c:v>
                </c:pt>
                <c:pt idx="606">
                  <c:v>-2.6666784674343025E-2</c:v>
                </c:pt>
                <c:pt idx="607">
                  <c:v>-1.5939886889642096E-2</c:v>
                </c:pt>
                <c:pt idx="608">
                  <c:v>-1.5939886889642096E-2</c:v>
                </c:pt>
                <c:pt idx="609">
                  <c:v>-1.5939886889642096E-2</c:v>
                </c:pt>
                <c:pt idx="610">
                  <c:v>-1.5939886889642096E-2</c:v>
                </c:pt>
                <c:pt idx="611">
                  <c:v>-1.5939886889642096E-2</c:v>
                </c:pt>
                <c:pt idx="612">
                  <c:v>-1.286873711134906E-2</c:v>
                </c:pt>
                <c:pt idx="613">
                  <c:v>-1.286873711134906E-2</c:v>
                </c:pt>
                <c:pt idx="614">
                  <c:v>-1.286873711134906E-2</c:v>
                </c:pt>
                <c:pt idx="615">
                  <c:v>-1.286873711134906E-2</c:v>
                </c:pt>
                <c:pt idx="616">
                  <c:v>-1.286873711134906E-2</c:v>
                </c:pt>
                <c:pt idx="617">
                  <c:v>-4.5845982281147446E-3</c:v>
                </c:pt>
                <c:pt idx="618">
                  <c:v>-4.5845982281147446E-3</c:v>
                </c:pt>
                <c:pt idx="619">
                  <c:v>-4.5845982281147446E-3</c:v>
                </c:pt>
                <c:pt idx="620">
                  <c:v>-4.5845982281147446E-3</c:v>
                </c:pt>
                <c:pt idx="621">
                  <c:v>-4.5845982281147446E-3</c:v>
                </c:pt>
                <c:pt idx="622">
                  <c:v>-3.2835635958118337E-3</c:v>
                </c:pt>
                <c:pt idx="623">
                  <c:v>-3.2835635958118337E-3</c:v>
                </c:pt>
                <c:pt idx="624">
                  <c:v>-3.2835635958118337E-3</c:v>
                </c:pt>
                <c:pt idx="625">
                  <c:v>-3.2835635958118337E-3</c:v>
                </c:pt>
                <c:pt idx="626">
                  <c:v>-3.2835635958118337E-3</c:v>
                </c:pt>
                <c:pt idx="627">
                  <c:v>-1.2744829051128947E-3</c:v>
                </c:pt>
                <c:pt idx="628">
                  <c:v>-1.2744829051128947E-3</c:v>
                </c:pt>
                <c:pt idx="629">
                  <c:v>-1.2744829051128947E-3</c:v>
                </c:pt>
                <c:pt idx="630">
                  <c:v>-1.2744829051128947E-3</c:v>
                </c:pt>
                <c:pt idx="631">
                  <c:v>-1.2744829051128947E-3</c:v>
                </c:pt>
                <c:pt idx="632">
                  <c:v>4.4252878649730931E-5</c:v>
                </c:pt>
                <c:pt idx="633">
                  <c:v>4.4252878649730931E-5</c:v>
                </c:pt>
                <c:pt idx="634">
                  <c:v>4.4252878649730931E-5</c:v>
                </c:pt>
                <c:pt idx="635">
                  <c:v>4.4252878649730931E-5</c:v>
                </c:pt>
                <c:pt idx="636">
                  <c:v>4.4252878649730931E-5</c:v>
                </c:pt>
                <c:pt idx="637">
                  <c:v>8.6027596095126224E-3</c:v>
                </c:pt>
                <c:pt idx="638">
                  <c:v>8.6027596095126224E-3</c:v>
                </c:pt>
                <c:pt idx="639">
                  <c:v>8.6027596095126224E-3</c:v>
                </c:pt>
                <c:pt idx="640">
                  <c:v>8.6027596095126224E-3</c:v>
                </c:pt>
                <c:pt idx="641">
                  <c:v>8.6027596095126224E-3</c:v>
                </c:pt>
                <c:pt idx="642">
                  <c:v>4.3456326834061532E-3</c:v>
                </c:pt>
                <c:pt idx="643">
                  <c:v>4.3456326834061532E-3</c:v>
                </c:pt>
                <c:pt idx="644">
                  <c:v>4.3456326834061532E-3</c:v>
                </c:pt>
                <c:pt idx="645">
                  <c:v>4.3456326834061532E-3</c:v>
                </c:pt>
                <c:pt idx="646">
                  <c:v>4.3456326834061532E-3</c:v>
                </c:pt>
                <c:pt idx="647">
                  <c:v>2.1312186357722585E-2</c:v>
                </c:pt>
                <c:pt idx="648">
                  <c:v>2.1312186357722585E-2</c:v>
                </c:pt>
                <c:pt idx="649">
                  <c:v>2.1312186357722585E-2</c:v>
                </c:pt>
                <c:pt idx="650">
                  <c:v>2.1312186357722585E-2</c:v>
                </c:pt>
                <c:pt idx="651">
                  <c:v>2.1312186357722585E-2</c:v>
                </c:pt>
                <c:pt idx="652">
                  <c:v>1.3311265897846702E-2</c:v>
                </c:pt>
                <c:pt idx="653">
                  <c:v>1.3311265897846702E-2</c:v>
                </c:pt>
                <c:pt idx="654">
                  <c:v>1.3311265897846702E-2</c:v>
                </c:pt>
                <c:pt idx="655">
                  <c:v>1.3311265897846702E-2</c:v>
                </c:pt>
                <c:pt idx="656">
                  <c:v>1.3311265897846702E-2</c:v>
                </c:pt>
                <c:pt idx="657">
                  <c:v>2.2639772717215401E-2</c:v>
                </c:pt>
                <c:pt idx="658">
                  <c:v>2.2639772717215401E-2</c:v>
                </c:pt>
                <c:pt idx="659">
                  <c:v>2.2639772717215401E-2</c:v>
                </c:pt>
                <c:pt idx="660">
                  <c:v>2.2639772717215401E-2</c:v>
                </c:pt>
                <c:pt idx="661">
                  <c:v>2.2639772717215401E-2</c:v>
                </c:pt>
                <c:pt idx="662">
                  <c:v>2.3710692380539466E-2</c:v>
                </c:pt>
                <c:pt idx="663">
                  <c:v>2.3710692380539466E-2</c:v>
                </c:pt>
                <c:pt idx="664">
                  <c:v>2.3710692380539466E-2</c:v>
                </c:pt>
                <c:pt idx="665">
                  <c:v>2.3710692380539466E-2</c:v>
                </c:pt>
                <c:pt idx="666">
                  <c:v>2.3710692380539466E-2</c:v>
                </c:pt>
                <c:pt idx="667">
                  <c:v>2.4852416649703057E-2</c:v>
                </c:pt>
                <c:pt idx="668">
                  <c:v>2.4852416649703057E-2</c:v>
                </c:pt>
                <c:pt idx="669">
                  <c:v>2.4852416649703057E-2</c:v>
                </c:pt>
                <c:pt idx="670">
                  <c:v>2.4852416649703057E-2</c:v>
                </c:pt>
                <c:pt idx="671">
                  <c:v>2.4852416649703057E-2</c:v>
                </c:pt>
                <c:pt idx="672">
                  <c:v>2.183437032578972E-2</c:v>
                </c:pt>
                <c:pt idx="673">
                  <c:v>2.183437032578972E-2</c:v>
                </c:pt>
                <c:pt idx="674">
                  <c:v>2.183437032578972E-2</c:v>
                </c:pt>
                <c:pt idx="675">
                  <c:v>2.183437032578972E-2</c:v>
                </c:pt>
                <c:pt idx="676">
                  <c:v>2.183437032578972E-2</c:v>
                </c:pt>
                <c:pt idx="677">
                  <c:v>1.8285289458079168E-2</c:v>
                </c:pt>
                <c:pt idx="678">
                  <c:v>1.8285289458079168E-2</c:v>
                </c:pt>
                <c:pt idx="679">
                  <c:v>1.8285289458079168E-2</c:v>
                </c:pt>
                <c:pt idx="680">
                  <c:v>1.8285289458079168E-2</c:v>
                </c:pt>
                <c:pt idx="681">
                  <c:v>1.8285289458079168E-2</c:v>
                </c:pt>
                <c:pt idx="682">
                  <c:v>3.2331153141511804E-2</c:v>
                </c:pt>
                <c:pt idx="683">
                  <c:v>3.2331153141511804E-2</c:v>
                </c:pt>
                <c:pt idx="684">
                  <c:v>3.2331153141511804E-2</c:v>
                </c:pt>
                <c:pt idx="685">
                  <c:v>3.2331153141511804E-2</c:v>
                </c:pt>
                <c:pt idx="686">
                  <c:v>3.2331153141511804E-2</c:v>
                </c:pt>
                <c:pt idx="687">
                  <c:v>2.6463221432554196E-2</c:v>
                </c:pt>
                <c:pt idx="688">
                  <c:v>2.6463221432554196E-2</c:v>
                </c:pt>
                <c:pt idx="689">
                  <c:v>2.6463221432554196E-2</c:v>
                </c:pt>
                <c:pt idx="690">
                  <c:v>2.6463221432554196E-2</c:v>
                </c:pt>
                <c:pt idx="691">
                  <c:v>2.6463221432554196E-2</c:v>
                </c:pt>
                <c:pt idx="692">
                  <c:v>3.2437360050271424E-2</c:v>
                </c:pt>
                <c:pt idx="693">
                  <c:v>3.2437360050271424E-2</c:v>
                </c:pt>
                <c:pt idx="694">
                  <c:v>3.2437360050271424E-2</c:v>
                </c:pt>
                <c:pt idx="695">
                  <c:v>3.2437360050271424E-2</c:v>
                </c:pt>
                <c:pt idx="696">
                  <c:v>3.2437360050271424E-2</c:v>
                </c:pt>
                <c:pt idx="697">
                  <c:v>3.8738969969996706E-2</c:v>
                </c:pt>
                <c:pt idx="698">
                  <c:v>3.8738969969996706E-2</c:v>
                </c:pt>
                <c:pt idx="699">
                  <c:v>3.8738969969996706E-2</c:v>
                </c:pt>
                <c:pt idx="700">
                  <c:v>3.8738969969996706E-2</c:v>
                </c:pt>
                <c:pt idx="701">
                  <c:v>3.8738969969996706E-2</c:v>
                </c:pt>
                <c:pt idx="702">
                  <c:v>5.1324488657987333E-2</c:v>
                </c:pt>
                <c:pt idx="703">
                  <c:v>5.1324488657987333E-2</c:v>
                </c:pt>
                <c:pt idx="704">
                  <c:v>5.1324488657987333E-2</c:v>
                </c:pt>
                <c:pt idx="705">
                  <c:v>5.1324488657987333E-2</c:v>
                </c:pt>
                <c:pt idx="706">
                  <c:v>5.1324488657987333E-2</c:v>
                </c:pt>
                <c:pt idx="707">
                  <c:v>4.9421614876047792E-2</c:v>
                </c:pt>
                <c:pt idx="708">
                  <c:v>4.9421614876047792E-2</c:v>
                </c:pt>
                <c:pt idx="709">
                  <c:v>4.9421614876047792E-2</c:v>
                </c:pt>
                <c:pt idx="710">
                  <c:v>4.9421614876047792E-2</c:v>
                </c:pt>
                <c:pt idx="711">
                  <c:v>4.9421614876047792E-2</c:v>
                </c:pt>
                <c:pt idx="712">
                  <c:v>4.8394948091373458E-2</c:v>
                </c:pt>
                <c:pt idx="713">
                  <c:v>4.8394948091373458E-2</c:v>
                </c:pt>
                <c:pt idx="714">
                  <c:v>4.8394948091373458E-2</c:v>
                </c:pt>
                <c:pt idx="715">
                  <c:v>4.8394948091373458E-2</c:v>
                </c:pt>
                <c:pt idx="716">
                  <c:v>4.8394948091373458E-2</c:v>
                </c:pt>
                <c:pt idx="717">
                  <c:v>5.248391407861086E-2</c:v>
                </c:pt>
                <c:pt idx="718">
                  <c:v>5.248391407861086E-2</c:v>
                </c:pt>
                <c:pt idx="719">
                  <c:v>5.248391407861086E-2</c:v>
                </c:pt>
                <c:pt idx="720">
                  <c:v>5.248391407861086E-2</c:v>
                </c:pt>
                <c:pt idx="721">
                  <c:v>5.248391407861086E-2</c:v>
                </c:pt>
                <c:pt idx="722">
                  <c:v>5.3059201501057585E-2</c:v>
                </c:pt>
                <c:pt idx="723">
                  <c:v>5.3059201501057585E-2</c:v>
                </c:pt>
                <c:pt idx="724">
                  <c:v>5.3059201501057585E-2</c:v>
                </c:pt>
                <c:pt idx="725">
                  <c:v>5.3059201501057585E-2</c:v>
                </c:pt>
                <c:pt idx="726">
                  <c:v>5.3059201501057585E-2</c:v>
                </c:pt>
                <c:pt idx="727">
                  <c:v>6.129908750564228E-2</c:v>
                </c:pt>
                <c:pt idx="728">
                  <c:v>6.129908750564228E-2</c:v>
                </c:pt>
                <c:pt idx="729">
                  <c:v>6.129908750564228E-2</c:v>
                </c:pt>
                <c:pt idx="730">
                  <c:v>6.129908750564228E-2</c:v>
                </c:pt>
                <c:pt idx="731">
                  <c:v>6.129908750564228E-2</c:v>
                </c:pt>
                <c:pt idx="732">
                  <c:v>6.3432076256560554E-2</c:v>
                </c:pt>
                <c:pt idx="733">
                  <c:v>6.3432076256560554E-2</c:v>
                </c:pt>
                <c:pt idx="734">
                  <c:v>6.3432076256560554E-2</c:v>
                </c:pt>
                <c:pt idx="735">
                  <c:v>6.3432076256560554E-2</c:v>
                </c:pt>
                <c:pt idx="736">
                  <c:v>6.3432076256560554E-2</c:v>
                </c:pt>
                <c:pt idx="737">
                  <c:v>6.2060237018418007E-2</c:v>
                </c:pt>
                <c:pt idx="738">
                  <c:v>6.2060237018418007E-2</c:v>
                </c:pt>
                <c:pt idx="739">
                  <c:v>6.2060237018418007E-2</c:v>
                </c:pt>
                <c:pt idx="740">
                  <c:v>6.2060237018418007E-2</c:v>
                </c:pt>
                <c:pt idx="741">
                  <c:v>6.2060237018418007E-2</c:v>
                </c:pt>
                <c:pt idx="742">
                  <c:v>5.544000637241453E-2</c:v>
                </c:pt>
                <c:pt idx="743">
                  <c:v>5.544000637241453E-2</c:v>
                </c:pt>
                <c:pt idx="744">
                  <c:v>5.544000637241453E-2</c:v>
                </c:pt>
                <c:pt idx="745">
                  <c:v>5.544000637241453E-2</c:v>
                </c:pt>
                <c:pt idx="746">
                  <c:v>5.544000637241453E-2</c:v>
                </c:pt>
                <c:pt idx="747">
                  <c:v>6.3653340649809431E-2</c:v>
                </c:pt>
                <c:pt idx="748">
                  <c:v>6.3653340649809431E-2</c:v>
                </c:pt>
                <c:pt idx="749">
                  <c:v>6.3653340649809431E-2</c:v>
                </c:pt>
                <c:pt idx="750">
                  <c:v>6.3653340649809431E-2</c:v>
                </c:pt>
                <c:pt idx="751">
                  <c:v>6.3653340649809431E-2</c:v>
                </c:pt>
                <c:pt idx="752">
                  <c:v>6.4609202828644019E-2</c:v>
                </c:pt>
                <c:pt idx="753">
                  <c:v>6.4609202828644019E-2</c:v>
                </c:pt>
                <c:pt idx="754">
                  <c:v>6.4609202828644019E-2</c:v>
                </c:pt>
                <c:pt idx="755">
                  <c:v>6.4609202828644019E-2</c:v>
                </c:pt>
                <c:pt idx="756">
                  <c:v>6.4609202828644019E-2</c:v>
                </c:pt>
                <c:pt idx="757">
                  <c:v>6.4449892465505032E-2</c:v>
                </c:pt>
                <c:pt idx="758">
                  <c:v>6.4449892465505032E-2</c:v>
                </c:pt>
                <c:pt idx="759">
                  <c:v>6.4449892465505032E-2</c:v>
                </c:pt>
                <c:pt idx="760">
                  <c:v>6.4449892465505032E-2</c:v>
                </c:pt>
                <c:pt idx="761">
                  <c:v>6.4449892465505032E-2</c:v>
                </c:pt>
                <c:pt idx="762">
                  <c:v>6.5503110977369161E-2</c:v>
                </c:pt>
                <c:pt idx="763">
                  <c:v>6.5503110977369161E-2</c:v>
                </c:pt>
                <c:pt idx="764">
                  <c:v>6.5503110977369161E-2</c:v>
                </c:pt>
                <c:pt idx="765">
                  <c:v>6.5503110977369161E-2</c:v>
                </c:pt>
                <c:pt idx="766">
                  <c:v>6.5503110977369161E-2</c:v>
                </c:pt>
                <c:pt idx="767">
                  <c:v>6.8184835423544365E-2</c:v>
                </c:pt>
                <c:pt idx="768">
                  <c:v>6.8184835423544365E-2</c:v>
                </c:pt>
                <c:pt idx="769">
                  <c:v>6.8184835423544365E-2</c:v>
                </c:pt>
                <c:pt idx="770">
                  <c:v>6.8184835423544365E-2</c:v>
                </c:pt>
                <c:pt idx="771">
                  <c:v>6.8184835423544365E-2</c:v>
                </c:pt>
                <c:pt idx="772">
                  <c:v>6.7423685910768638E-2</c:v>
                </c:pt>
                <c:pt idx="773">
                  <c:v>6.7423685910768638E-2</c:v>
                </c:pt>
                <c:pt idx="774">
                  <c:v>6.7423685910768638E-2</c:v>
                </c:pt>
                <c:pt idx="775">
                  <c:v>6.7423685910768638E-2</c:v>
                </c:pt>
                <c:pt idx="776">
                  <c:v>6.7423685910768638E-2</c:v>
                </c:pt>
                <c:pt idx="777">
                  <c:v>7.6256560489259773E-2</c:v>
                </c:pt>
                <c:pt idx="778">
                  <c:v>7.6256560489259773E-2</c:v>
                </c:pt>
                <c:pt idx="779">
                  <c:v>7.6256560489259773E-2</c:v>
                </c:pt>
                <c:pt idx="780">
                  <c:v>7.6256560489259773E-2</c:v>
                </c:pt>
                <c:pt idx="781">
                  <c:v>7.6256560489259773E-2</c:v>
                </c:pt>
                <c:pt idx="782">
                  <c:v>7.5336100613344836E-2</c:v>
                </c:pt>
                <c:pt idx="783">
                  <c:v>7.5336100613344836E-2</c:v>
                </c:pt>
                <c:pt idx="784">
                  <c:v>7.5336100613344836E-2</c:v>
                </c:pt>
                <c:pt idx="785">
                  <c:v>7.5336100613344836E-2</c:v>
                </c:pt>
                <c:pt idx="786">
                  <c:v>7.5336100613344836E-2</c:v>
                </c:pt>
                <c:pt idx="787">
                  <c:v>7.892943435970512E-2</c:v>
                </c:pt>
                <c:pt idx="788">
                  <c:v>7.892943435970512E-2</c:v>
                </c:pt>
                <c:pt idx="789">
                  <c:v>7.892943435970512E-2</c:v>
                </c:pt>
                <c:pt idx="790">
                  <c:v>7.892943435970512E-2</c:v>
                </c:pt>
                <c:pt idx="791">
                  <c:v>7.892943435970512E-2</c:v>
                </c:pt>
                <c:pt idx="792">
                  <c:v>8.3602538345119548E-2</c:v>
                </c:pt>
                <c:pt idx="793">
                  <c:v>8.3602538345119548E-2</c:v>
                </c:pt>
                <c:pt idx="794">
                  <c:v>8.3602538345119548E-2</c:v>
                </c:pt>
                <c:pt idx="795">
                  <c:v>8.3602538345119548E-2</c:v>
                </c:pt>
                <c:pt idx="796">
                  <c:v>8.3602538345119548E-2</c:v>
                </c:pt>
                <c:pt idx="797">
                  <c:v>8.268207846920439E-2</c:v>
                </c:pt>
                <c:pt idx="798">
                  <c:v>8.268207846920439E-2</c:v>
                </c:pt>
                <c:pt idx="799">
                  <c:v>8.268207846920439E-2</c:v>
                </c:pt>
                <c:pt idx="800">
                  <c:v>8.268207846920439E-2</c:v>
                </c:pt>
                <c:pt idx="801">
                  <c:v>8.268207846920439E-2</c:v>
                </c:pt>
                <c:pt idx="802">
                  <c:v>8.8116331967394546E-2</c:v>
                </c:pt>
                <c:pt idx="803">
                  <c:v>8.8116331967394546E-2</c:v>
                </c:pt>
                <c:pt idx="804">
                  <c:v>8.8116331967394546E-2</c:v>
                </c:pt>
                <c:pt idx="805">
                  <c:v>8.8116331967394546E-2</c:v>
                </c:pt>
                <c:pt idx="806">
                  <c:v>8.8116331967394546E-2</c:v>
                </c:pt>
                <c:pt idx="807">
                  <c:v>9.0452883960101538E-2</c:v>
                </c:pt>
                <c:pt idx="808">
                  <c:v>9.0452883960101538E-2</c:v>
                </c:pt>
                <c:pt idx="809">
                  <c:v>9.0452883960101538E-2</c:v>
                </c:pt>
                <c:pt idx="810">
                  <c:v>9.0452883960101538E-2</c:v>
                </c:pt>
                <c:pt idx="811">
                  <c:v>9.0452883960101538E-2</c:v>
                </c:pt>
                <c:pt idx="812">
                  <c:v>0.10435713843185512</c:v>
                </c:pt>
                <c:pt idx="813">
                  <c:v>0.10435713843185512</c:v>
                </c:pt>
                <c:pt idx="814">
                  <c:v>0.10435713843185512</c:v>
                </c:pt>
                <c:pt idx="815">
                  <c:v>0.10435713843185512</c:v>
                </c:pt>
                <c:pt idx="816">
                  <c:v>0.10435713843185512</c:v>
                </c:pt>
                <c:pt idx="817">
                  <c:v>0.11793392160160021</c:v>
                </c:pt>
                <c:pt idx="818">
                  <c:v>0.11793392160160021</c:v>
                </c:pt>
                <c:pt idx="819">
                  <c:v>0.11793392160160021</c:v>
                </c:pt>
                <c:pt idx="820">
                  <c:v>0.11793392160160021</c:v>
                </c:pt>
                <c:pt idx="821">
                  <c:v>0.11793392160160021</c:v>
                </c:pt>
                <c:pt idx="822">
                  <c:v>0.12628001451494431</c:v>
                </c:pt>
                <c:pt idx="823">
                  <c:v>0.12628001451494431</c:v>
                </c:pt>
                <c:pt idx="824">
                  <c:v>0.12628001451494431</c:v>
                </c:pt>
                <c:pt idx="825">
                  <c:v>0.12628001451494431</c:v>
                </c:pt>
                <c:pt idx="826">
                  <c:v>0.12628001451494431</c:v>
                </c:pt>
                <c:pt idx="827">
                  <c:v>0.14184817722392862</c:v>
                </c:pt>
                <c:pt idx="828">
                  <c:v>0.14184817722392862</c:v>
                </c:pt>
                <c:pt idx="829">
                  <c:v>0.14184817722392862</c:v>
                </c:pt>
                <c:pt idx="830">
                  <c:v>0.14184817722392862</c:v>
                </c:pt>
                <c:pt idx="831">
                  <c:v>0.14184817722392862</c:v>
                </c:pt>
                <c:pt idx="832">
                  <c:v>0.16468266260720266</c:v>
                </c:pt>
                <c:pt idx="833">
                  <c:v>0.16468266260720266</c:v>
                </c:pt>
                <c:pt idx="834">
                  <c:v>0.16468266260720266</c:v>
                </c:pt>
                <c:pt idx="835">
                  <c:v>0.16468266260720266</c:v>
                </c:pt>
                <c:pt idx="836">
                  <c:v>0.16468266260720266</c:v>
                </c:pt>
                <c:pt idx="837">
                  <c:v>0.17034703107437155</c:v>
                </c:pt>
                <c:pt idx="838">
                  <c:v>0.17034703107437155</c:v>
                </c:pt>
                <c:pt idx="839">
                  <c:v>0.17034703107437155</c:v>
                </c:pt>
                <c:pt idx="840">
                  <c:v>0.17034703107437155</c:v>
                </c:pt>
                <c:pt idx="841">
                  <c:v>0.17034703107437155</c:v>
                </c:pt>
                <c:pt idx="842">
                  <c:v>0.16164691513182938</c:v>
                </c:pt>
                <c:pt idx="843">
                  <c:v>0.16164691513182938</c:v>
                </c:pt>
                <c:pt idx="844">
                  <c:v>0.16164691513182938</c:v>
                </c:pt>
                <c:pt idx="845">
                  <c:v>0.16164691513182938</c:v>
                </c:pt>
                <c:pt idx="846">
                  <c:v>0.16164691513182938</c:v>
                </c:pt>
                <c:pt idx="847">
                  <c:v>0.18081726216290384</c:v>
                </c:pt>
                <c:pt idx="848">
                  <c:v>0.18081726216290384</c:v>
                </c:pt>
                <c:pt idx="849">
                  <c:v>0.18081726216290384</c:v>
                </c:pt>
                <c:pt idx="850">
                  <c:v>0.18081726216290384</c:v>
                </c:pt>
                <c:pt idx="851">
                  <c:v>0.18081726216290384</c:v>
                </c:pt>
                <c:pt idx="852">
                  <c:v>0.1935266889111138</c:v>
                </c:pt>
                <c:pt idx="853">
                  <c:v>0.1935266889111138</c:v>
                </c:pt>
                <c:pt idx="854">
                  <c:v>0.1935266889111138</c:v>
                </c:pt>
                <c:pt idx="855">
                  <c:v>0.1935266889111138</c:v>
                </c:pt>
                <c:pt idx="856">
                  <c:v>0.1935266889111138</c:v>
                </c:pt>
                <c:pt idx="857">
                  <c:v>0.18950852752971592</c:v>
                </c:pt>
                <c:pt idx="858">
                  <c:v>0.18950852752971592</c:v>
                </c:pt>
                <c:pt idx="859">
                  <c:v>0.18950852752971592</c:v>
                </c:pt>
                <c:pt idx="860">
                  <c:v>0.18950852752971592</c:v>
                </c:pt>
                <c:pt idx="861">
                  <c:v>0.18950852752971592</c:v>
                </c:pt>
                <c:pt idx="862">
                  <c:v>0.19351783833538372</c:v>
                </c:pt>
                <c:pt idx="863">
                  <c:v>0.19351783833538372</c:v>
                </c:pt>
                <c:pt idx="864">
                  <c:v>0.19351783833538372</c:v>
                </c:pt>
                <c:pt idx="865">
                  <c:v>0.19351783833538372</c:v>
                </c:pt>
                <c:pt idx="866">
                  <c:v>0.19351783833538372</c:v>
                </c:pt>
                <c:pt idx="867">
                  <c:v>0.18841105613920206</c:v>
                </c:pt>
                <c:pt idx="868">
                  <c:v>0.18841105613920206</c:v>
                </c:pt>
                <c:pt idx="869">
                  <c:v>0.18841105613920206</c:v>
                </c:pt>
                <c:pt idx="870">
                  <c:v>0.18841105613920206</c:v>
                </c:pt>
                <c:pt idx="871">
                  <c:v>0.18841105613920206</c:v>
                </c:pt>
                <c:pt idx="872">
                  <c:v>0.19326117163921519</c:v>
                </c:pt>
                <c:pt idx="873">
                  <c:v>0.19326117163921519</c:v>
                </c:pt>
                <c:pt idx="874">
                  <c:v>0.19326117163921519</c:v>
                </c:pt>
                <c:pt idx="875">
                  <c:v>0.19326117163921519</c:v>
                </c:pt>
                <c:pt idx="876">
                  <c:v>0.19326117163921519</c:v>
                </c:pt>
                <c:pt idx="877">
                  <c:v>0.18813668829157337</c:v>
                </c:pt>
                <c:pt idx="878">
                  <c:v>0.18813668829157337</c:v>
                </c:pt>
                <c:pt idx="879">
                  <c:v>0.18813668829157337</c:v>
                </c:pt>
                <c:pt idx="880">
                  <c:v>0.18813668829157337</c:v>
                </c:pt>
                <c:pt idx="881">
                  <c:v>0.18813668829157337</c:v>
                </c:pt>
                <c:pt idx="882">
                  <c:v>0.20222680485365596</c:v>
                </c:pt>
                <c:pt idx="883">
                  <c:v>0.20222680485365596</c:v>
                </c:pt>
                <c:pt idx="884">
                  <c:v>0.20222680485365596</c:v>
                </c:pt>
                <c:pt idx="885">
                  <c:v>0.20222680485365596</c:v>
                </c:pt>
                <c:pt idx="886">
                  <c:v>0.20222680485365596</c:v>
                </c:pt>
                <c:pt idx="887">
                  <c:v>0.198916689530654</c:v>
                </c:pt>
                <c:pt idx="888">
                  <c:v>0.198916689530654</c:v>
                </c:pt>
                <c:pt idx="889">
                  <c:v>0.198916689530654</c:v>
                </c:pt>
                <c:pt idx="890">
                  <c:v>0.198916689530654</c:v>
                </c:pt>
                <c:pt idx="891">
                  <c:v>0.198916689530654</c:v>
                </c:pt>
                <c:pt idx="892">
                  <c:v>0.19444714878702851</c:v>
                </c:pt>
                <c:pt idx="893">
                  <c:v>0.19444714878702851</c:v>
                </c:pt>
                <c:pt idx="894">
                  <c:v>0.19444714878702851</c:v>
                </c:pt>
                <c:pt idx="895">
                  <c:v>0.19444714878702851</c:v>
                </c:pt>
                <c:pt idx="896">
                  <c:v>0.19444714878702851</c:v>
                </c:pt>
                <c:pt idx="897">
                  <c:v>0.20697956402063955</c:v>
                </c:pt>
                <c:pt idx="898">
                  <c:v>0.20697956402063955</c:v>
                </c:pt>
                <c:pt idx="899">
                  <c:v>0.20697956402063955</c:v>
                </c:pt>
                <c:pt idx="900">
                  <c:v>0.20697956402063955</c:v>
                </c:pt>
                <c:pt idx="901">
                  <c:v>0.20697956402063955</c:v>
                </c:pt>
                <c:pt idx="902">
                  <c:v>0.19487197642206633</c:v>
                </c:pt>
                <c:pt idx="903">
                  <c:v>0.19487197642206633</c:v>
                </c:pt>
                <c:pt idx="904">
                  <c:v>0.19487197642206633</c:v>
                </c:pt>
                <c:pt idx="905">
                  <c:v>0.19487197642206633</c:v>
                </c:pt>
                <c:pt idx="906">
                  <c:v>0.19487197642206633</c:v>
                </c:pt>
                <c:pt idx="907">
                  <c:v>0.19989025286094875</c:v>
                </c:pt>
                <c:pt idx="908">
                  <c:v>0.19989025286094875</c:v>
                </c:pt>
                <c:pt idx="909">
                  <c:v>0.19989025286094875</c:v>
                </c:pt>
                <c:pt idx="910">
                  <c:v>0.19989025286094875</c:v>
                </c:pt>
                <c:pt idx="911">
                  <c:v>0.19989025286094875</c:v>
                </c:pt>
                <c:pt idx="912">
                  <c:v>0.20084611503978356</c:v>
                </c:pt>
                <c:pt idx="913">
                  <c:v>0.20084611503978356</c:v>
                </c:pt>
                <c:pt idx="914">
                  <c:v>0.20084611503978356</c:v>
                </c:pt>
                <c:pt idx="915">
                  <c:v>0.20084611503978356</c:v>
                </c:pt>
                <c:pt idx="916">
                  <c:v>0.20084611503978356</c:v>
                </c:pt>
                <c:pt idx="917">
                  <c:v>0.19204864276421185</c:v>
                </c:pt>
                <c:pt idx="918">
                  <c:v>0.19204864276421185</c:v>
                </c:pt>
                <c:pt idx="919">
                  <c:v>0.19204864276421185</c:v>
                </c:pt>
                <c:pt idx="920">
                  <c:v>0.19204864276421185</c:v>
                </c:pt>
                <c:pt idx="921">
                  <c:v>0.19204864276421185</c:v>
                </c:pt>
                <c:pt idx="922">
                  <c:v>0.20268703479161321</c:v>
                </c:pt>
                <c:pt idx="923">
                  <c:v>0.20268703479161321</c:v>
                </c:pt>
                <c:pt idx="924">
                  <c:v>0.20268703479161321</c:v>
                </c:pt>
                <c:pt idx="925">
                  <c:v>0.20268703479161321</c:v>
                </c:pt>
                <c:pt idx="926">
                  <c:v>0.20268703479161321</c:v>
                </c:pt>
                <c:pt idx="927">
                  <c:v>0.21579473744767097</c:v>
                </c:pt>
                <c:pt idx="928">
                  <c:v>0.21579473744767097</c:v>
                </c:pt>
                <c:pt idx="929">
                  <c:v>0.21579473744767097</c:v>
                </c:pt>
                <c:pt idx="930">
                  <c:v>0.21579473744767097</c:v>
                </c:pt>
                <c:pt idx="931">
                  <c:v>0.21579473744767097</c:v>
                </c:pt>
                <c:pt idx="932">
                  <c:v>0.20609450644764449</c:v>
                </c:pt>
                <c:pt idx="933">
                  <c:v>0.20609450644764449</c:v>
                </c:pt>
                <c:pt idx="934">
                  <c:v>0.20609450644764449</c:v>
                </c:pt>
                <c:pt idx="935">
                  <c:v>0.20609450644764449</c:v>
                </c:pt>
                <c:pt idx="936">
                  <c:v>0.20609450644764449</c:v>
                </c:pt>
                <c:pt idx="937">
                  <c:v>0.21803393310734887</c:v>
                </c:pt>
                <c:pt idx="938">
                  <c:v>0.21803393310734887</c:v>
                </c:pt>
                <c:pt idx="939">
                  <c:v>0.21803393310734887</c:v>
                </c:pt>
                <c:pt idx="940">
                  <c:v>0.21803393310734887</c:v>
                </c:pt>
                <c:pt idx="941">
                  <c:v>0.21803393310734887</c:v>
                </c:pt>
                <c:pt idx="942">
                  <c:v>0.22053864603892492</c:v>
                </c:pt>
                <c:pt idx="943">
                  <c:v>0.22053864603892492</c:v>
                </c:pt>
                <c:pt idx="944">
                  <c:v>0.22053864603892492</c:v>
                </c:pt>
                <c:pt idx="945">
                  <c:v>0.22053864603892492</c:v>
                </c:pt>
                <c:pt idx="946">
                  <c:v>0.22053864603892492</c:v>
                </c:pt>
                <c:pt idx="947">
                  <c:v>0.22699071574605911</c:v>
                </c:pt>
                <c:pt idx="948">
                  <c:v>0.22699071574605911</c:v>
                </c:pt>
                <c:pt idx="949">
                  <c:v>0.22699071574605911</c:v>
                </c:pt>
                <c:pt idx="950">
                  <c:v>0.22699071574605911</c:v>
                </c:pt>
                <c:pt idx="951">
                  <c:v>0.22699071574605911</c:v>
                </c:pt>
                <c:pt idx="952">
                  <c:v>0.21800738138015885</c:v>
                </c:pt>
                <c:pt idx="953">
                  <c:v>0.21800738138015885</c:v>
                </c:pt>
                <c:pt idx="954">
                  <c:v>0.21800738138015885</c:v>
                </c:pt>
                <c:pt idx="955">
                  <c:v>0.21800738138015885</c:v>
                </c:pt>
                <c:pt idx="956">
                  <c:v>0.21800738138015885</c:v>
                </c:pt>
                <c:pt idx="957">
                  <c:v>0.21661784099055637</c:v>
                </c:pt>
                <c:pt idx="958">
                  <c:v>0.21661784099055637</c:v>
                </c:pt>
                <c:pt idx="959">
                  <c:v>0.21661784099055637</c:v>
                </c:pt>
                <c:pt idx="960">
                  <c:v>0.21661784099055637</c:v>
                </c:pt>
                <c:pt idx="961">
                  <c:v>0.21661784099055637</c:v>
                </c:pt>
                <c:pt idx="962">
                  <c:v>0.23558462477984188</c:v>
                </c:pt>
                <c:pt idx="963">
                  <c:v>0.23558462477984188</c:v>
                </c:pt>
                <c:pt idx="964">
                  <c:v>0.23558462477984188</c:v>
                </c:pt>
                <c:pt idx="965">
                  <c:v>0.23558462477984188</c:v>
                </c:pt>
                <c:pt idx="966">
                  <c:v>0.23558462477984188</c:v>
                </c:pt>
                <c:pt idx="967">
                  <c:v>0.2332657739385946</c:v>
                </c:pt>
                <c:pt idx="968">
                  <c:v>0.2332657739385946</c:v>
                </c:pt>
                <c:pt idx="969">
                  <c:v>0.2332657739385946</c:v>
                </c:pt>
                <c:pt idx="970">
                  <c:v>0.2332657739385946</c:v>
                </c:pt>
                <c:pt idx="971">
                  <c:v>0.2332657739385946</c:v>
                </c:pt>
                <c:pt idx="972">
                  <c:v>0.23541646384097303</c:v>
                </c:pt>
                <c:pt idx="973">
                  <c:v>0.23541646384097303</c:v>
                </c:pt>
                <c:pt idx="974">
                  <c:v>0.23541646384097303</c:v>
                </c:pt>
                <c:pt idx="975">
                  <c:v>0.23541646384097303</c:v>
                </c:pt>
                <c:pt idx="976">
                  <c:v>0.23541646384097303</c:v>
                </c:pt>
                <c:pt idx="977">
                  <c:v>0.23238956694132962</c:v>
                </c:pt>
                <c:pt idx="978">
                  <c:v>0.23238956694132962</c:v>
                </c:pt>
                <c:pt idx="979">
                  <c:v>0.23238956694132962</c:v>
                </c:pt>
                <c:pt idx="980">
                  <c:v>0.23238956694132962</c:v>
                </c:pt>
                <c:pt idx="981">
                  <c:v>0.23238956694132962</c:v>
                </c:pt>
                <c:pt idx="982">
                  <c:v>0.23148680821687462</c:v>
                </c:pt>
                <c:pt idx="983">
                  <c:v>0.23148680821687462</c:v>
                </c:pt>
                <c:pt idx="984">
                  <c:v>0.23148680821687462</c:v>
                </c:pt>
                <c:pt idx="985">
                  <c:v>0.23148680821687462</c:v>
                </c:pt>
                <c:pt idx="986">
                  <c:v>0.23148680821687462</c:v>
                </c:pt>
                <c:pt idx="987">
                  <c:v>0.24381566020869649</c:v>
                </c:pt>
                <c:pt idx="988">
                  <c:v>0.24381566020869649</c:v>
                </c:pt>
                <c:pt idx="989">
                  <c:v>0.24381566020869649</c:v>
                </c:pt>
                <c:pt idx="990">
                  <c:v>0.24381566020869649</c:v>
                </c:pt>
                <c:pt idx="991">
                  <c:v>0.24381566020869649</c:v>
                </c:pt>
                <c:pt idx="992">
                  <c:v>0.24246152212201411</c:v>
                </c:pt>
                <c:pt idx="993">
                  <c:v>0.24246152212201411</c:v>
                </c:pt>
                <c:pt idx="994">
                  <c:v>0.24246152212201411</c:v>
                </c:pt>
                <c:pt idx="995">
                  <c:v>0.24246152212201411</c:v>
                </c:pt>
                <c:pt idx="996">
                  <c:v>0.24246152212201411</c:v>
                </c:pt>
                <c:pt idx="997">
                  <c:v>0.24465646490304205</c:v>
                </c:pt>
                <c:pt idx="998">
                  <c:v>0.24465646490304205</c:v>
                </c:pt>
                <c:pt idx="999">
                  <c:v>0.24465646490304205</c:v>
                </c:pt>
                <c:pt idx="1000">
                  <c:v>0.24465646490304205</c:v>
                </c:pt>
                <c:pt idx="1001">
                  <c:v>0.24465646490304205</c:v>
                </c:pt>
                <c:pt idx="1002">
                  <c:v>0.24786037331728417</c:v>
                </c:pt>
                <c:pt idx="1003">
                  <c:v>0.24786037331728417</c:v>
                </c:pt>
                <c:pt idx="1004">
                  <c:v>0.24786037331728417</c:v>
                </c:pt>
                <c:pt idx="1005">
                  <c:v>0.24786037331728417</c:v>
                </c:pt>
                <c:pt idx="1006">
                  <c:v>0.24786037331728417</c:v>
                </c:pt>
                <c:pt idx="1007">
                  <c:v>0.24781612043863444</c:v>
                </c:pt>
                <c:pt idx="1008">
                  <c:v>0.24781612043863444</c:v>
                </c:pt>
                <c:pt idx="1009">
                  <c:v>0.24781612043863444</c:v>
                </c:pt>
                <c:pt idx="1010">
                  <c:v>0.24781612043863444</c:v>
                </c:pt>
                <c:pt idx="1011">
                  <c:v>0.24781612043863444</c:v>
                </c:pt>
                <c:pt idx="1012">
                  <c:v>0.27237646808924931</c:v>
                </c:pt>
                <c:pt idx="1013">
                  <c:v>0.27237646808924931</c:v>
                </c:pt>
                <c:pt idx="1014">
                  <c:v>0.27237646808924931</c:v>
                </c:pt>
                <c:pt idx="1015">
                  <c:v>0.27237646808924931</c:v>
                </c:pt>
                <c:pt idx="1016">
                  <c:v>0.27237646808924931</c:v>
                </c:pt>
                <c:pt idx="1017">
                  <c:v>0.25136520130634499</c:v>
                </c:pt>
                <c:pt idx="1018">
                  <c:v>0.25136520130634499</c:v>
                </c:pt>
                <c:pt idx="1019">
                  <c:v>0.25136520130634499</c:v>
                </c:pt>
                <c:pt idx="1020">
                  <c:v>0.25136520130634499</c:v>
                </c:pt>
                <c:pt idx="1021">
                  <c:v>0.25136520130634499</c:v>
                </c:pt>
                <c:pt idx="1022">
                  <c:v>0.27242072096789904</c:v>
                </c:pt>
                <c:pt idx="1023">
                  <c:v>0.27242072096789904</c:v>
                </c:pt>
                <c:pt idx="1024">
                  <c:v>0.27242072096789904</c:v>
                </c:pt>
                <c:pt idx="1025">
                  <c:v>0.27242072096789904</c:v>
                </c:pt>
                <c:pt idx="1026">
                  <c:v>0.27242072096789904</c:v>
                </c:pt>
                <c:pt idx="1027">
                  <c:v>0.23992140688751817</c:v>
                </c:pt>
                <c:pt idx="1028">
                  <c:v>0.23992140688751817</c:v>
                </c:pt>
                <c:pt idx="1029">
                  <c:v>0.23992140688751817</c:v>
                </c:pt>
                <c:pt idx="1030">
                  <c:v>0.23992140688751817</c:v>
                </c:pt>
                <c:pt idx="1031">
                  <c:v>0.23992140688751817</c:v>
                </c:pt>
                <c:pt idx="1032">
                  <c:v>0.23190278527618213</c:v>
                </c:pt>
                <c:pt idx="1033">
                  <c:v>0.23190278527618213</c:v>
                </c:pt>
                <c:pt idx="1034">
                  <c:v>0.23190278527618213</c:v>
                </c:pt>
                <c:pt idx="1035">
                  <c:v>0.23190278527618213</c:v>
                </c:pt>
                <c:pt idx="1036">
                  <c:v>0.23190278527618213</c:v>
                </c:pt>
                <c:pt idx="1037">
                  <c:v>0.24948887925159524</c:v>
                </c:pt>
                <c:pt idx="1038">
                  <c:v>0.24948887925159524</c:v>
                </c:pt>
                <c:pt idx="1039">
                  <c:v>0.24948887925159524</c:v>
                </c:pt>
                <c:pt idx="1040">
                  <c:v>0.24948887925159524</c:v>
                </c:pt>
                <c:pt idx="1041">
                  <c:v>0.24948887925159524</c:v>
                </c:pt>
                <c:pt idx="1042">
                  <c:v>0.24015152185649691</c:v>
                </c:pt>
                <c:pt idx="1043">
                  <c:v>0.24015152185649691</c:v>
                </c:pt>
                <c:pt idx="1044">
                  <c:v>0.24015152185649691</c:v>
                </c:pt>
                <c:pt idx="1045">
                  <c:v>0.24015152185649691</c:v>
                </c:pt>
                <c:pt idx="1046">
                  <c:v>0.24015152185649691</c:v>
                </c:pt>
                <c:pt idx="1047">
                  <c:v>0.2203527839485957</c:v>
                </c:pt>
                <c:pt idx="1048">
                  <c:v>0.2203527839485957</c:v>
                </c:pt>
                <c:pt idx="1049">
                  <c:v>0.2203527839485957</c:v>
                </c:pt>
                <c:pt idx="1050">
                  <c:v>0.2203527839485957</c:v>
                </c:pt>
                <c:pt idx="1051">
                  <c:v>0.2203527839485957</c:v>
                </c:pt>
                <c:pt idx="1052">
                  <c:v>0.2449839362050501</c:v>
                </c:pt>
                <c:pt idx="1053">
                  <c:v>0.2449839362050501</c:v>
                </c:pt>
                <c:pt idx="1054">
                  <c:v>0.2449839362050501</c:v>
                </c:pt>
                <c:pt idx="1055">
                  <c:v>0.2449839362050501</c:v>
                </c:pt>
                <c:pt idx="1056">
                  <c:v>0.2449839362050501</c:v>
                </c:pt>
                <c:pt idx="1057">
                  <c:v>0.23310646357545561</c:v>
                </c:pt>
                <c:pt idx="1058">
                  <c:v>0.23310646357545561</c:v>
                </c:pt>
                <c:pt idx="1059">
                  <c:v>0.23310646357545561</c:v>
                </c:pt>
                <c:pt idx="1060">
                  <c:v>0.23310646357545561</c:v>
                </c:pt>
                <c:pt idx="1061">
                  <c:v>0.23310646357545561</c:v>
                </c:pt>
                <c:pt idx="1062">
                  <c:v>0.24692221228990952</c:v>
                </c:pt>
                <c:pt idx="1063">
                  <c:v>0.24692221228990952</c:v>
                </c:pt>
                <c:pt idx="1064">
                  <c:v>0.24692221228990952</c:v>
                </c:pt>
                <c:pt idx="1065">
                  <c:v>0.24692221228990952</c:v>
                </c:pt>
                <c:pt idx="1066">
                  <c:v>0.24692221228990952</c:v>
                </c:pt>
                <c:pt idx="1067">
                  <c:v>0.19760680432262112</c:v>
                </c:pt>
                <c:pt idx="1068">
                  <c:v>0.19760680432262112</c:v>
                </c:pt>
                <c:pt idx="1069">
                  <c:v>0.19760680432262112</c:v>
                </c:pt>
                <c:pt idx="1070">
                  <c:v>0.19760680432262112</c:v>
                </c:pt>
                <c:pt idx="1071">
                  <c:v>0.19760680432262112</c:v>
                </c:pt>
                <c:pt idx="1072">
                  <c:v>0.2422756600316851</c:v>
                </c:pt>
                <c:pt idx="1073">
                  <c:v>0.2422756600316851</c:v>
                </c:pt>
                <c:pt idx="1074">
                  <c:v>0.2422756600316851</c:v>
                </c:pt>
                <c:pt idx="1075">
                  <c:v>0.2422756600316851</c:v>
                </c:pt>
                <c:pt idx="1076">
                  <c:v>0.2422756600316851</c:v>
                </c:pt>
                <c:pt idx="1077">
                  <c:v>0.23311531415118547</c:v>
                </c:pt>
                <c:pt idx="1078">
                  <c:v>0.23311531415118547</c:v>
                </c:pt>
                <c:pt idx="1079">
                  <c:v>0.23311531415118547</c:v>
                </c:pt>
                <c:pt idx="1080">
                  <c:v>0.23311531415118547</c:v>
                </c:pt>
                <c:pt idx="1081">
                  <c:v>0.23311531415118547</c:v>
                </c:pt>
                <c:pt idx="1082">
                  <c:v>0.22999991149424259</c:v>
                </c:pt>
                <c:pt idx="1083">
                  <c:v>0.22999991149424259</c:v>
                </c:pt>
                <c:pt idx="1084">
                  <c:v>0.22999991149424259</c:v>
                </c:pt>
                <c:pt idx="1085">
                  <c:v>0.22999991149424259</c:v>
                </c:pt>
                <c:pt idx="1086">
                  <c:v>0.22999991149424259</c:v>
                </c:pt>
                <c:pt idx="1087">
                  <c:v>0.22276014054714266</c:v>
                </c:pt>
                <c:pt idx="1088">
                  <c:v>0.22276014054714266</c:v>
                </c:pt>
                <c:pt idx="1089">
                  <c:v>0.22276014054714266</c:v>
                </c:pt>
                <c:pt idx="1090">
                  <c:v>0.22276014054714266</c:v>
                </c:pt>
                <c:pt idx="1091">
                  <c:v>0.22276014054714266</c:v>
                </c:pt>
                <c:pt idx="1092">
                  <c:v>0.20996220804163324</c:v>
                </c:pt>
                <c:pt idx="1093">
                  <c:v>0.20996220804163324</c:v>
                </c:pt>
                <c:pt idx="1094">
                  <c:v>0.20996220804163324</c:v>
                </c:pt>
                <c:pt idx="1095">
                  <c:v>0.20996220804163324</c:v>
                </c:pt>
                <c:pt idx="1096">
                  <c:v>0.20996220804163324</c:v>
                </c:pt>
                <c:pt idx="1097">
                  <c:v>0.22746864683547652</c:v>
                </c:pt>
                <c:pt idx="1098">
                  <c:v>0.22746864683547652</c:v>
                </c:pt>
                <c:pt idx="1099">
                  <c:v>0.22746864683547652</c:v>
                </c:pt>
                <c:pt idx="1100">
                  <c:v>0.22746864683547652</c:v>
                </c:pt>
                <c:pt idx="1101">
                  <c:v>0.22746864683547652</c:v>
                </c:pt>
                <c:pt idx="1102">
                  <c:v>0.2165293352332569</c:v>
                </c:pt>
                <c:pt idx="1103">
                  <c:v>0.2165293352332569</c:v>
                </c:pt>
                <c:pt idx="1104">
                  <c:v>0.2165293352332569</c:v>
                </c:pt>
                <c:pt idx="1105">
                  <c:v>0.2165293352332569</c:v>
                </c:pt>
                <c:pt idx="1106">
                  <c:v>0.2165293352332569</c:v>
                </c:pt>
                <c:pt idx="1107">
                  <c:v>0.21680370308088559</c:v>
                </c:pt>
                <c:pt idx="1108">
                  <c:v>0.21680370308088559</c:v>
                </c:pt>
                <c:pt idx="1109">
                  <c:v>0.21680370308088559</c:v>
                </c:pt>
                <c:pt idx="1110">
                  <c:v>0.21680370308088559</c:v>
                </c:pt>
                <c:pt idx="1111">
                  <c:v>0.21680370308088559</c:v>
                </c:pt>
                <c:pt idx="1112">
                  <c:v>0.21640542717303757</c:v>
                </c:pt>
                <c:pt idx="1113">
                  <c:v>0.21640542717303757</c:v>
                </c:pt>
                <c:pt idx="1114">
                  <c:v>0.21640542717303757</c:v>
                </c:pt>
                <c:pt idx="1115">
                  <c:v>0.21640542717303757</c:v>
                </c:pt>
                <c:pt idx="1116">
                  <c:v>0.21640542717303757</c:v>
                </c:pt>
                <c:pt idx="1117">
                  <c:v>0.22318496818218048</c:v>
                </c:pt>
                <c:pt idx="1118">
                  <c:v>0.22318496818218048</c:v>
                </c:pt>
                <c:pt idx="1119">
                  <c:v>0.22318496818218048</c:v>
                </c:pt>
                <c:pt idx="1120">
                  <c:v>0.22318496818218048</c:v>
                </c:pt>
                <c:pt idx="1121">
                  <c:v>0.22318496818218048</c:v>
                </c:pt>
                <c:pt idx="1122">
                  <c:v>0.21198013930806203</c:v>
                </c:pt>
                <c:pt idx="1123">
                  <c:v>0.21198013930806203</c:v>
                </c:pt>
                <c:pt idx="1124">
                  <c:v>0.21198013930806203</c:v>
                </c:pt>
                <c:pt idx="1125">
                  <c:v>0.21198013930806203</c:v>
                </c:pt>
                <c:pt idx="1126">
                  <c:v>0.21198013930806203</c:v>
                </c:pt>
                <c:pt idx="1127">
                  <c:v>0.21986600228344866</c:v>
                </c:pt>
                <c:pt idx="1128">
                  <c:v>0.21986600228344866</c:v>
                </c:pt>
                <c:pt idx="1129">
                  <c:v>0.21986600228344866</c:v>
                </c:pt>
                <c:pt idx="1130">
                  <c:v>0.21986600228344866</c:v>
                </c:pt>
                <c:pt idx="1131">
                  <c:v>0.21986600228344866</c:v>
                </c:pt>
                <c:pt idx="1132">
                  <c:v>0.22027312876702632</c:v>
                </c:pt>
                <c:pt idx="1133">
                  <c:v>0.22027312876702632</c:v>
                </c:pt>
                <c:pt idx="1134">
                  <c:v>0.22027312876702632</c:v>
                </c:pt>
                <c:pt idx="1135">
                  <c:v>0.22027312876702632</c:v>
                </c:pt>
                <c:pt idx="1136">
                  <c:v>0.22027312876702632</c:v>
                </c:pt>
                <c:pt idx="1137">
                  <c:v>0.22157416339932912</c:v>
                </c:pt>
                <c:pt idx="1138">
                  <c:v>0.22157416339932912</c:v>
                </c:pt>
                <c:pt idx="1139">
                  <c:v>0.22157416339932912</c:v>
                </c:pt>
                <c:pt idx="1140">
                  <c:v>0.22157416339932912</c:v>
                </c:pt>
                <c:pt idx="1141">
                  <c:v>0.22157416339932912</c:v>
                </c:pt>
                <c:pt idx="1142">
                  <c:v>0.22122014037013105</c:v>
                </c:pt>
                <c:pt idx="1143">
                  <c:v>0.22122014037013105</c:v>
                </c:pt>
                <c:pt idx="1144">
                  <c:v>0.22122014037013105</c:v>
                </c:pt>
                <c:pt idx="1145">
                  <c:v>0.22122014037013105</c:v>
                </c:pt>
                <c:pt idx="1146">
                  <c:v>0.22122014037013105</c:v>
                </c:pt>
                <c:pt idx="1147">
                  <c:v>0.22545071556904794</c:v>
                </c:pt>
                <c:pt idx="1148">
                  <c:v>0.22545071556904794</c:v>
                </c:pt>
                <c:pt idx="1149">
                  <c:v>0.22545071556904794</c:v>
                </c:pt>
                <c:pt idx="1150">
                  <c:v>0.22545071556904794</c:v>
                </c:pt>
                <c:pt idx="1151">
                  <c:v>0.22545071556904794</c:v>
                </c:pt>
                <c:pt idx="1152">
                  <c:v>0.22381335905900679</c:v>
                </c:pt>
                <c:pt idx="1153">
                  <c:v>0.22381335905900679</c:v>
                </c:pt>
                <c:pt idx="1154">
                  <c:v>0.22381335905900679</c:v>
                </c:pt>
                <c:pt idx="1155">
                  <c:v>0.22381335905900679</c:v>
                </c:pt>
                <c:pt idx="1156">
                  <c:v>0.22381335905900679</c:v>
                </c:pt>
                <c:pt idx="1157">
                  <c:v>0.23724853301707283</c:v>
                </c:pt>
                <c:pt idx="1158">
                  <c:v>0.23724853301707283</c:v>
                </c:pt>
                <c:pt idx="1159">
                  <c:v>0.23724853301707283</c:v>
                </c:pt>
                <c:pt idx="1160">
                  <c:v>0.23724853301707283</c:v>
                </c:pt>
                <c:pt idx="1161">
                  <c:v>0.23724853301707283</c:v>
                </c:pt>
                <c:pt idx="1162">
                  <c:v>0.23226565888111028</c:v>
                </c:pt>
                <c:pt idx="1163">
                  <c:v>0.23226565888111028</c:v>
                </c:pt>
                <c:pt idx="1164">
                  <c:v>0.23226565888111028</c:v>
                </c:pt>
                <c:pt idx="1165">
                  <c:v>0.23226565888111028</c:v>
                </c:pt>
                <c:pt idx="1166">
                  <c:v>0.23226565888111028</c:v>
                </c:pt>
                <c:pt idx="1167">
                  <c:v>0.22666324444405128</c:v>
                </c:pt>
                <c:pt idx="1168">
                  <c:v>0.22666324444405128</c:v>
                </c:pt>
                <c:pt idx="1169">
                  <c:v>0.22666324444405128</c:v>
                </c:pt>
                <c:pt idx="1170">
                  <c:v>0.22666324444405128</c:v>
                </c:pt>
                <c:pt idx="1171">
                  <c:v>0.22666324444405128</c:v>
                </c:pt>
                <c:pt idx="1172">
                  <c:v>0.22869887686194001</c:v>
                </c:pt>
                <c:pt idx="1173">
                  <c:v>0.22869887686194001</c:v>
                </c:pt>
                <c:pt idx="1174">
                  <c:v>0.22869887686194001</c:v>
                </c:pt>
                <c:pt idx="1175">
                  <c:v>0.22869887686194001</c:v>
                </c:pt>
                <c:pt idx="1176">
                  <c:v>0.22869887686194001</c:v>
                </c:pt>
                <c:pt idx="1177">
                  <c:v>0.23115933691486634</c:v>
                </c:pt>
                <c:pt idx="1178">
                  <c:v>0.23115933691486634</c:v>
                </c:pt>
                <c:pt idx="1179">
                  <c:v>0.23115933691486634</c:v>
                </c:pt>
                <c:pt idx="1180">
                  <c:v>0.23115933691486634</c:v>
                </c:pt>
                <c:pt idx="1181">
                  <c:v>0.23115933691486634</c:v>
                </c:pt>
                <c:pt idx="1182">
                  <c:v>0.22131749670316059</c:v>
                </c:pt>
                <c:pt idx="1183">
                  <c:v>0.22131749670316059</c:v>
                </c:pt>
                <c:pt idx="1184">
                  <c:v>0.22131749670316059</c:v>
                </c:pt>
                <c:pt idx="1185">
                  <c:v>0.22131749670316059</c:v>
                </c:pt>
                <c:pt idx="1186">
                  <c:v>0.22131749670316059</c:v>
                </c:pt>
                <c:pt idx="1187">
                  <c:v>0.22977864710099416</c:v>
                </c:pt>
                <c:pt idx="1188">
                  <c:v>0.22977864710099416</c:v>
                </c:pt>
                <c:pt idx="1189">
                  <c:v>0.22977864710099416</c:v>
                </c:pt>
                <c:pt idx="1190">
                  <c:v>0.22977864710099416</c:v>
                </c:pt>
                <c:pt idx="1191">
                  <c:v>0.22977864710099416</c:v>
                </c:pt>
                <c:pt idx="1192">
                  <c:v>0.22045014028162546</c:v>
                </c:pt>
                <c:pt idx="1193">
                  <c:v>0.22045014028162546</c:v>
                </c:pt>
                <c:pt idx="1194">
                  <c:v>0.22045014028162546</c:v>
                </c:pt>
                <c:pt idx="1195">
                  <c:v>0.22045014028162546</c:v>
                </c:pt>
                <c:pt idx="1196">
                  <c:v>0.22045014028162546</c:v>
                </c:pt>
                <c:pt idx="1197">
                  <c:v>0.22846876189296106</c:v>
                </c:pt>
                <c:pt idx="1198">
                  <c:v>0.22846876189296106</c:v>
                </c:pt>
                <c:pt idx="1199">
                  <c:v>0.22846876189296106</c:v>
                </c:pt>
                <c:pt idx="1200">
                  <c:v>0.22846876189296106</c:v>
                </c:pt>
                <c:pt idx="1201">
                  <c:v>0.22846876189296106</c:v>
                </c:pt>
                <c:pt idx="1202">
                  <c:v>0.22666324444405128</c:v>
                </c:pt>
                <c:pt idx="1203">
                  <c:v>0.22666324444405128</c:v>
                </c:pt>
                <c:pt idx="1204">
                  <c:v>0.22666324444405128</c:v>
                </c:pt>
                <c:pt idx="1205">
                  <c:v>0.22666324444405128</c:v>
                </c:pt>
                <c:pt idx="1206">
                  <c:v>0.22666324444405128</c:v>
                </c:pt>
                <c:pt idx="1207">
                  <c:v>0.22550381902342753</c:v>
                </c:pt>
                <c:pt idx="1208">
                  <c:v>0.22550381902342753</c:v>
                </c:pt>
                <c:pt idx="1209">
                  <c:v>0.22550381902342753</c:v>
                </c:pt>
                <c:pt idx="1210">
                  <c:v>0.22550381902342753</c:v>
                </c:pt>
                <c:pt idx="1211">
                  <c:v>0.22550381902342753</c:v>
                </c:pt>
                <c:pt idx="1212">
                  <c:v>0.23214175082089095</c:v>
                </c:pt>
                <c:pt idx="1213">
                  <c:v>0.23214175082089095</c:v>
                </c:pt>
                <c:pt idx="1214">
                  <c:v>0.23214175082089095</c:v>
                </c:pt>
                <c:pt idx="1215">
                  <c:v>0.23214175082089095</c:v>
                </c:pt>
                <c:pt idx="1216">
                  <c:v>0.23214175082089095</c:v>
                </c:pt>
                <c:pt idx="1217">
                  <c:v>0.21906945046775306</c:v>
                </c:pt>
                <c:pt idx="1218">
                  <c:v>0.21906945046775306</c:v>
                </c:pt>
                <c:pt idx="1219">
                  <c:v>0.21906945046775306</c:v>
                </c:pt>
                <c:pt idx="1220">
                  <c:v>0.21906945046775306</c:v>
                </c:pt>
                <c:pt idx="1221">
                  <c:v>0.21906945046775306</c:v>
                </c:pt>
                <c:pt idx="1222">
                  <c:v>0.23672634904900569</c:v>
                </c:pt>
                <c:pt idx="1223">
                  <c:v>0.23672634904900569</c:v>
                </c:pt>
                <c:pt idx="1224">
                  <c:v>0.23672634904900569</c:v>
                </c:pt>
                <c:pt idx="1225">
                  <c:v>0.23672634904900569</c:v>
                </c:pt>
                <c:pt idx="1226">
                  <c:v>0.23672634904900569</c:v>
                </c:pt>
                <c:pt idx="1227">
                  <c:v>0.22680485365573033</c:v>
                </c:pt>
                <c:pt idx="1228">
                  <c:v>0.22680485365573033</c:v>
                </c:pt>
                <c:pt idx="1229">
                  <c:v>0.22680485365573033</c:v>
                </c:pt>
                <c:pt idx="1230">
                  <c:v>0.22680485365573033</c:v>
                </c:pt>
                <c:pt idx="1231">
                  <c:v>0.22680485365573033</c:v>
                </c:pt>
                <c:pt idx="1232">
                  <c:v>0.24988715515944326</c:v>
                </c:pt>
                <c:pt idx="1233">
                  <c:v>0.24988715515944326</c:v>
                </c:pt>
                <c:pt idx="1234">
                  <c:v>0.24988715515944326</c:v>
                </c:pt>
                <c:pt idx="1235">
                  <c:v>0.24988715515944326</c:v>
                </c:pt>
                <c:pt idx="1236">
                  <c:v>0.24988715515944326</c:v>
                </c:pt>
                <c:pt idx="1237">
                  <c:v>0.21462646145131736</c:v>
                </c:pt>
                <c:pt idx="1238">
                  <c:v>0.21462646145131736</c:v>
                </c:pt>
                <c:pt idx="1239">
                  <c:v>0.21462646145131736</c:v>
                </c:pt>
                <c:pt idx="1240">
                  <c:v>0.21462646145131736</c:v>
                </c:pt>
                <c:pt idx="1241">
                  <c:v>0.21462646145131736</c:v>
                </c:pt>
                <c:pt idx="1242">
                  <c:v>0.21713117438289364</c:v>
                </c:pt>
                <c:pt idx="1243">
                  <c:v>0.21713117438289364</c:v>
                </c:pt>
                <c:pt idx="1244">
                  <c:v>0.21713117438289364</c:v>
                </c:pt>
                <c:pt idx="1245">
                  <c:v>0.21713117438289364</c:v>
                </c:pt>
                <c:pt idx="1246">
                  <c:v>0.21713117438289364</c:v>
                </c:pt>
                <c:pt idx="1247">
                  <c:v>0.21614876047686904</c:v>
                </c:pt>
                <c:pt idx="1248">
                  <c:v>0.21614876047686904</c:v>
                </c:pt>
                <c:pt idx="1249">
                  <c:v>0.21614876047686904</c:v>
                </c:pt>
                <c:pt idx="1250">
                  <c:v>0.21614876047686904</c:v>
                </c:pt>
                <c:pt idx="1251">
                  <c:v>0.21614876047686904</c:v>
                </c:pt>
                <c:pt idx="1252">
                  <c:v>0.21940577234549097</c:v>
                </c:pt>
                <c:pt idx="1253">
                  <c:v>0.21940577234549097</c:v>
                </c:pt>
                <c:pt idx="1254">
                  <c:v>0.21940577234549097</c:v>
                </c:pt>
                <c:pt idx="1255">
                  <c:v>0.21940577234549097</c:v>
                </c:pt>
                <c:pt idx="1256">
                  <c:v>0.21940577234549097</c:v>
                </c:pt>
                <c:pt idx="1257">
                  <c:v>0.22383991078619658</c:v>
                </c:pt>
                <c:pt idx="1258">
                  <c:v>0.22383991078619658</c:v>
                </c:pt>
                <c:pt idx="1259">
                  <c:v>0.22383991078619658</c:v>
                </c:pt>
                <c:pt idx="1260">
                  <c:v>0.22383991078619658</c:v>
                </c:pt>
                <c:pt idx="1261">
                  <c:v>0.22383991078619658</c:v>
                </c:pt>
                <c:pt idx="1262">
                  <c:v>0.21679485250515551</c:v>
                </c:pt>
                <c:pt idx="1263">
                  <c:v>0.21679485250515551</c:v>
                </c:pt>
                <c:pt idx="1264">
                  <c:v>0.21679485250515551</c:v>
                </c:pt>
                <c:pt idx="1265">
                  <c:v>0.21679485250515551</c:v>
                </c:pt>
                <c:pt idx="1266">
                  <c:v>0.21679485250515551</c:v>
                </c:pt>
                <c:pt idx="1267">
                  <c:v>0.24008956782638724</c:v>
                </c:pt>
                <c:pt idx="1268">
                  <c:v>0.24008956782638724</c:v>
                </c:pt>
                <c:pt idx="1269">
                  <c:v>0.24008956782638724</c:v>
                </c:pt>
                <c:pt idx="1270">
                  <c:v>0.24008956782638724</c:v>
                </c:pt>
                <c:pt idx="1271">
                  <c:v>0.24008956782638724</c:v>
                </c:pt>
                <c:pt idx="1272">
                  <c:v>0.21671519732358613</c:v>
                </c:pt>
                <c:pt idx="1273">
                  <c:v>0.21671519732358613</c:v>
                </c:pt>
                <c:pt idx="1274">
                  <c:v>0.21671519732358613</c:v>
                </c:pt>
                <c:pt idx="1275">
                  <c:v>0.21671519732358613</c:v>
                </c:pt>
                <c:pt idx="1276">
                  <c:v>0.21671519732358613</c:v>
                </c:pt>
                <c:pt idx="1277">
                  <c:v>0.22362749696867779</c:v>
                </c:pt>
                <c:pt idx="1278">
                  <c:v>0.22362749696867779</c:v>
                </c:pt>
                <c:pt idx="1279">
                  <c:v>0.22362749696867779</c:v>
                </c:pt>
                <c:pt idx="1280">
                  <c:v>0.22362749696867779</c:v>
                </c:pt>
                <c:pt idx="1281">
                  <c:v>0.22362749696867779</c:v>
                </c:pt>
                <c:pt idx="1282">
                  <c:v>0.22074220928071364</c:v>
                </c:pt>
                <c:pt idx="1283">
                  <c:v>0.22074220928071364</c:v>
                </c:pt>
                <c:pt idx="1284">
                  <c:v>0.22074220928071364</c:v>
                </c:pt>
                <c:pt idx="1285">
                  <c:v>0.22074220928071364</c:v>
                </c:pt>
                <c:pt idx="1286">
                  <c:v>0.22074220928071364</c:v>
                </c:pt>
                <c:pt idx="1287">
                  <c:v>0.21577703629621103</c:v>
                </c:pt>
                <c:pt idx="1288">
                  <c:v>0.21577703629621103</c:v>
                </c:pt>
                <c:pt idx="1289">
                  <c:v>0.21577703629621103</c:v>
                </c:pt>
                <c:pt idx="1290">
                  <c:v>0.21577703629621103</c:v>
                </c:pt>
                <c:pt idx="1291">
                  <c:v>0.21577703629621103</c:v>
                </c:pt>
                <c:pt idx="1292">
                  <c:v>0.22392841654349627</c:v>
                </c:pt>
                <c:pt idx="1293">
                  <c:v>0.22392841654349627</c:v>
                </c:pt>
                <c:pt idx="1294">
                  <c:v>0.22392841654349627</c:v>
                </c:pt>
                <c:pt idx="1295">
                  <c:v>0.22392841654349627</c:v>
                </c:pt>
                <c:pt idx="1296">
                  <c:v>0.22392841654349627</c:v>
                </c:pt>
                <c:pt idx="1297">
                  <c:v>0.21965358846592986</c:v>
                </c:pt>
                <c:pt idx="1298">
                  <c:v>0.21965358846592986</c:v>
                </c:pt>
                <c:pt idx="1299">
                  <c:v>0.21965358846592986</c:v>
                </c:pt>
                <c:pt idx="1300">
                  <c:v>0.21965358846592986</c:v>
                </c:pt>
                <c:pt idx="1301">
                  <c:v>0.21965358846592986</c:v>
                </c:pt>
                <c:pt idx="1302">
                  <c:v>0.2229637037889316</c:v>
                </c:pt>
                <c:pt idx="1303">
                  <c:v>0.2229637037889316</c:v>
                </c:pt>
                <c:pt idx="1304">
                  <c:v>0.2229637037889316</c:v>
                </c:pt>
                <c:pt idx="1305">
                  <c:v>0.2229637037889316</c:v>
                </c:pt>
                <c:pt idx="1306">
                  <c:v>0.2229637037889316</c:v>
                </c:pt>
                <c:pt idx="1307">
                  <c:v>0.2134227831520441</c:v>
                </c:pt>
                <c:pt idx="1308">
                  <c:v>0.2134227831520441</c:v>
                </c:pt>
                <c:pt idx="1309">
                  <c:v>0.2134227831520441</c:v>
                </c:pt>
                <c:pt idx="1310">
                  <c:v>0.2134227831520441</c:v>
                </c:pt>
                <c:pt idx="1311">
                  <c:v>0.2134227831520441</c:v>
                </c:pt>
                <c:pt idx="1312">
                  <c:v>0.21721082956446325</c:v>
                </c:pt>
                <c:pt idx="1313">
                  <c:v>0.21721082956446325</c:v>
                </c:pt>
                <c:pt idx="1314">
                  <c:v>0.21721082956446325</c:v>
                </c:pt>
                <c:pt idx="1315">
                  <c:v>0.21721082956446325</c:v>
                </c:pt>
                <c:pt idx="1316">
                  <c:v>0.21721082956446325</c:v>
                </c:pt>
                <c:pt idx="1317">
                  <c:v>0.21947657695133072</c:v>
                </c:pt>
                <c:pt idx="1318">
                  <c:v>0.21947657695133072</c:v>
                </c:pt>
                <c:pt idx="1319">
                  <c:v>0.21947657695133072</c:v>
                </c:pt>
                <c:pt idx="1320">
                  <c:v>0.21947657695133072</c:v>
                </c:pt>
                <c:pt idx="1321">
                  <c:v>0.21947657695133072</c:v>
                </c:pt>
                <c:pt idx="1322">
                  <c:v>0.22094577252250258</c:v>
                </c:pt>
                <c:pt idx="1323">
                  <c:v>0.22094577252250258</c:v>
                </c:pt>
                <c:pt idx="1324">
                  <c:v>0.22094577252250258</c:v>
                </c:pt>
                <c:pt idx="1325">
                  <c:v>0.22094577252250258</c:v>
                </c:pt>
                <c:pt idx="1326">
                  <c:v>0.22094577252250258</c:v>
                </c:pt>
                <c:pt idx="1327">
                  <c:v>0.21768876065388065</c:v>
                </c:pt>
                <c:pt idx="1328">
                  <c:v>0.21768876065388065</c:v>
                </c:pt>
                <c:pt idx="1329">
                  <c:v>0.21768876065388065</c:v>
                </c:pt>
                <c:pt idx="1330">
                  <c:v>0.21768876065388065</c:v>
                </c:pt>
                <c:pt idx="1331">
                  <c:v>0.21768876065388065</c:v>
                </c:pt>
                <c:pt idx="1332">
                  <c:v>0.23235416463840997</c:v>
                </c:pt>
                <c:pt idx="1333">
                  <c:v>0.23235416463840997</c:v>
                </c:pt>
                <c:pt idx="1334">
                  <c:v>0.23235416463840997</c:v>
                </c:pt>
                <c:pt idx="1335">
                  <c:v>0.23235416463840997</c:v>
                </c:pt>
                <c:pt idx="1336">
                  <c:v>0.23235416463840997</c:v>
                </c:pt>
                <c:pt idx="1337">
                  <c:v>0.22467186490481228</c:v>
                </c:pt>
                <c:pt idx="1338">
                  <c:v>0.22467186490481228</c:v>
                </c:pt>
                <c:pt idx="1339">
                  <c:v>0.22467186490481228</c:v>
                </c:pt>
                <c:pt idx="1340">
                  <c:v>0.22467186490481228</c:v>
                </c:pt>
                <c:pt idx="1341">
                  <c:v>0.22467186490481228</c:v>
                </c:pt>
                <c:pt idx="1342">
                  <c:v>0.22407002575517554</c:v>
                </c:pt>
                <c:pt idx="1343">
                  <c:v>0.22407002575517554</c:v>
                </c:pt>
                <c:pt idx="1344">
                  <c:v>0.22407002575517554</c:v>
                </c:pt>
                <c:pt idx="1345">
                  <c:v>0.22407002575517554</c:v>
                </c:pt>
                <c:pt idx="1346">
                  <c:v>0.22407002575517554</c:v>
                </c:pt>
                <c:pt idx="1347">
                  <c:v>0.22454795684459294</c:v>
                </c:pt>
                <c:pt idx="1348">
                  <c:v>0.22454795684459294</c:v>
                </c:pt>
                <c:pt idx="1349">
                  <c:v>0.22454795684459294</c:v>
                </c:pt>
                <c:pt idx="1350">
                  <c:v>0.22454795684459294</c:v>
                </c:pt>
                <c:pt idx="1351">
                  <c:v>0.22454795684459294</c:v>
                </c:pt>
                <c:pt idx="1352">
                  <c:v>0.22370715215024739</c:v>
                </c:pt>
                <c:pt idx="1353">
                  <c:v>0.22370715215024739</c:v>
                </c:pt>
                <c:pt idx="1354">
                  <c:v>0.22370715215024739</c:v>
                </c:pt>
                <c:pt idx="1355">
                  <c:v>0.22370715215024739</c:v>
                </c:pt>
                <c:pt idx="1356">
                  <c:v>0.22370715215024739</c:v>
                </c:pt>
                <c:pt idx="1357">
                  <c:v>0.22066255409914426</c:v>
                </c:pt>
                <c:pt idx="1358">
                  <c:v>0.22066255409914426</c:v>
                </c:pt>
                <c:pt idx="1359">
                  <c:v>0.22066255409914426</c:v>
                </c:pt>
                <c:pt idx="1360">
                  <c:v>0.22066255409914426</c:v>
                </c:pt>
                <c:pt idx="1361">
                  <c:v>0.22066255409914426</c:v>
                </c:pt>
                <c:pt idx="1362">
                  <c:v>0.2177241629568003</c:v>
                </c:pt>
                <c:pt idx="1363">
                  <c:v>0.2177241629568003</c:v>
                </c:pt>
                <c:pt idx="1364">
                  <c:v>0.2177241629568003</c:v>
                </c:pt>
                <c:pt idx="1365">
                  <c:v>0.2177241629568003</c:v>
                </c:pt>
                <c:pt idx="1366">
                  <c:v>0.2177241629568003</c:v>
                </c:pt>
                <c:pt idx="1367">
                  <c:v>0.21731703647322265</c:v>
                </c:pt>
                <c:pt idx="1368">
                  <c:v>0.21731703647322265</c:v>
                </c:pt>
                <c:pt idx="1369">
                  <c:v>0.21731703647322265</c:v>
                </c:pt>
                <c:pt idx="1370">
                  <c:v>0.21731703647322265</c:v>
                </c:pt>
                <c:pt idx="1371">
                  <c:v>0.21731703647322265</c:v>
                </c:pt>
                <c:pt idx="1372">
                  <c:v>0.21906059989202298</c:v>
                </c:pt>
                <c:pt idx="1373">
                  <c:v>0.21906059989202298</c:v>
                </c:pt>
                <c:pt idx="1374">
                  <c:v>0.21906059989202298</c:v>
                </c:pt>
                <c:pt idx="1375">
                  <c:v>0.21906059989202298</c:v>
                </c:pt>
                <c:pt idx="1376">
                  <c:v>0.21906059989202298</c:v>
                </c:pt>
                <c:pt idx="1377">
                  <c:v>0.19234071176330025</c:v>
                </c:pt>
                <c:pt idx="1378">
                  <c:v>0.19234071176330025</c:v>
                </c:pt>
                <c:pt idx="1379">
                  <c:v>0.19234071176330025</c:v>
                </c:pt>
                <c:pt idx="1380">
                  <c:v>0.19234071176330025</c:v>
                </c:pt>
                <c:pt idx="1381">
                  <c:v>0.19234071176330025</c:v>
                </c:pt>
                <c:pt idx="1382">
                  <c:v>0.25940152406914074</c:v>
                </c:pt>
                <c:pt idx="1383">
                  <c:v>0.25940152406914074</c:v>
                </c:pt>
                <c:pt idx="1384">
                  <c:v>0.25940152406914074</c:v>
                </c:pt>
                <c:pt idx="1385">
                  <c:v>0.25940152406914074</c:v>
                </c:pt>
                <c:pt idx="1386">
                  <c:v>0.25940152406914074</c:v>
                </c:pt>
                <c:pt idx="1387">
                  <c:v>0.21852071477249591</c:v>
                </c:pt>
                <c:pt idx="1388">
                  <c:v>0.21852071477249591</c:v>
                </c:pt>
                <c:pt idx="1389">
                  <c:v>0.21852071477249591</c:v>
                </c:pt>
                <c:pt idx="1390">
                  <c:v>0.21852071477249591</c:v>
                </c:pt>
                <c:pt idx="1391">
                  <c:v>0.21852071477249591</c:v>
                </c:pt>
                <c:pt idx="1392">
                  <c:v>0.12043863453317649</c:v>
                </c:pt>
                <c:pt idx="1393">
                  <c:v>0.12043863453317649</c:v>
                </c:pt>
                <c:pt idx="1394">
                  <c:v>0.12043863453317649</c:v>
                </c:pt>
                <c:pt idx="1395">
                  <c:v>0.12043863453317649</c:v>
                </c:pt>
                <c:pt idx="1396">
                  <c:v>0.12043863453317649</c:v>
                </c:pt>
                <c:pt idx="1397">
                  <c:v>0.14653013178507268</c:v>
                </c:pt>
                <c:pt idx="1398">
                  <c:v>0.14653013178507268</c:v>
                </c:pt>
                <c:pt idx="1399">
                  <c:v>0.14653013178507268</c:v>
                </c:pt>
                <c:pt idx="1400">
                  <c:v>0.14653013178507268</c:v>
                </c:pt>
                <c:pt idx="1401">
                  <c:v>0.14653013178507268</c:v>
                </c:pt>
                <c:pt idx="1402">
                  <c:v>4.3403223379680833E-2</c:v>
                </c:pt>
                <c:pt idx="1403">
                  <c:v>4.3403223379680833E-2</c:v>
                </c:pt>
                <c:pt idx="1404">
                  <c:v>4.3403223379680833E-2</c:v>
                </c:pt>
                <c:pt idx="1405">
                  <c:v>4.3403223379680833E-2</c:v>
                </c:pt>
                <c:pt idx="1406">
                  <c:v>4.3403223379680833E-2</c:v>
                </c:pt>
                <c:pt idx="1407">
                  <c:v>5.0395178206342317E-2</c:v>
                </c:pt>
                <c:pt idx="1408">
                  <c:v>5.0395178206342317E-2</c:v>
                </c:pt>
                <c:pt idx="1409">
                  <c:v>5.0395178206342317E-2</c:v>
                </c:pt>
                <c:pt idx="1410">
                  <c:v>5.0395178206342317E-2</c:v>
                </c:pt>
                <c:pt idx="1411">
                  <c:v>5.0395178206342317E-2</c:v>
                </c:pt>
                <c:pt idx="1412">
                  <c:v>-1.7258622673404833E-2</c:v>
                </c:pt>
                <c:pt idx="1413">
                  <c:v>-1.7258622673404833E-2</c:v>
                </c:pt>
                <c:pt idx="1414">
                  <c:v>-1.7258622673404833E-2</c:v>
                </c:pt>
                <c:pt idx="1415">
                  <c:v>-1.7258622673404833E-2</c:v>
                </c:pt>
                <c:pt idx="1416">
                  <c:v>-1.7258622673404833E-2</c:v>
                </c:pt>
                <c:pt idx="1417">
                  <c:v>-3.9438165452662544E-2</c:v>
                </c:pt>
                <c:pt idx="1418">
                  <c:v>-3.9438165452662544E-2</c:v>
                </c:pt>
                <c:pt idx="1419">
                  <c:v>-3.9438165452662544E-2</c:v>
                </c:pt>
                <c:pt idx="1420">
                  <c:v>-3.9438165452662544E-2</c:v>
                </c:pt>
                <c:pt idx="1421">
                  <c:v>-3.9438165452662544E-2</c:v>
                </c:pt>
                <c:pt idx="1422">
                  <c:v>-1.4868967226318031E-2</c:v>
                </c:pt>
                <c:pt idx="1423">
                  <c:v>-1.4868967226318031E-2</c:v>
                </c:pt>
                <c:pt idx="1424">
                  <c:v>-1.4868967226318031E-2</c:v>
                </c:pt>
                <c:pt idx="1425">
                  <c:v>-1.4868967226318031E-2</c:v>
                </c:pt>
                <c:pt idx="1426">
                  <c:v>-1.4868967226318031E-2</c:v>
                </c:pt>
                <c:pt idx="1427">
                  <c:v>-1.8196783700779706E-2</c:v>
                </c:pt>
                <c:pt idx="1428">
                  <c:v>-1.8196783700779706E-2</c:v>
                </c:pt>
                <c:pt idx="1429">
                  <c:v>-1.8196783700779706E-2</c:v>
                </c:pt>
                <c:pt idx="1430">
                  <c:v>-1.8196783700779706E-2</c:v>
                </c:pt>
                <c:pt idx="1431">
                  <c:v>-1.8196783700779706E-2</c:v>
                </c:pt>
                <c:pt idx="1432">
                  <c:v>-5.0085408055793978E-2</c:v>
                </c:pt>
                <c:pt idx="1433">
                  <c:v>-5.0085408055793978E-2</c:v>
                </c:pt>
                <c:pt idx="1434">
                  <c:v>-5.0085408055793978E-2</c:v>
                </c:pt>
                <c:pt idx="1435">
                  <c:v>-5.0085408055793978E-2</c:v>
                </c:pt>
                <c:pt idx="1436">
                  <c:v>-5.0085408055793978E-2</c:v>
                </c:pt>
                <c:pt idx="1437">
                  <c:v>-5.3554833741934815E-2</c:v>
                </c:pt>
                <c:pt idx="1438">
                  <c:v>-5.3554833741934815E-2</c:v>
                </c:pt>
                <c:pt idx="1439">
                  <c:v>-5.3554833741934815E-2</c:v>
                </c:pt>
                <c:pt idx="1440">
                  <c:v>-5.3554833741934815E-2</c:v>
                </c:pt>
                <c:pt idx="1441">
                  <c:v>-5.3554833741934815E-2</c:v>
                </c:pt>
                <c:pt idx="1442">
                  <c:v>-4.0606441449016151E-2</c:v>
                </c:pt>
                <c:pt idx="1443">
                  <c:v>-4.0606441449016151E-2</c:v>
                </c:pt>
                <c:pt idx="1444">
                  <c:v>-4.0606441449016151E-2</c:v>
                </c:pt>
                <c:pt idx="1445">
                  <c:v>-4.0606441449016151E-2</c:v>
                </c:pt>
                <c:pt idx="1446">
                  <c:v>-4.0606441449016151E-2</c:v>
                </c:pt>
                <c:pt idx="1447">
                  <c:v>-2.8826325152451093E-2</c:v>
                </c:pt>
                <c:pt idx="1448">
                  <c:v>-2.8826325152451093E-2</c:v>
                </c:pt>
                <c:pt idx="1449">
                  <c:v>-2.8826325152451093E-2</c:v>
                </c:pt>
                <c:pt idx="1450">
                  <c:v>-2.8826325152451093E-2</c:v>
                </c:pt>
                <c:pt idx="1451">
                  <c:v>-2.8826325152451093E-2</c:v>
                </c:pt>
                <c:pt idx="1452">
                  <c:v>-3.3720693531114065E-2</c:v>
                </c:pt>
                <c:pt idx="1453">
                  <c:v>-3.3720693531114065E-2</c:v>
                </c:pt>
                <c:pt idx="1454">
                  <c:v>-3.3720693531114065E-2</c:v>
                </c:pt>
                <c:pt idx="1455">
                  <c:v>-3.3720693531114065E-2</c:v>
                </c:pt>
                <c:pt idx="1456">
                  <c:v>-3.3720693531114065E-2</c:v>
                </c:pt>
                <c:pt idx="1457">
                  <c:v>-1.9719082726331272E-2</c:v>
                </c:pt>
                <c:pt idx="1458">
                  <c:v>-1.9719082726331272E-2</c:v>
                </c:pt>
                <c:pt idx="1459">
                  <c:v>-1.9719082726331272E-2</c:v>
                </c:pt>
                <c:pt idx="1460">
                  <c:v>-1.9719082726331272E-2</c:v>
                </c:pt>
                <c:pt idx="1461">
                  <c:v>-1.9719082726331272E-2</c:v>
                </c:pt>
                <c:pt idx="1462">
                  <c:v>-2.4047014258277488E-2</c:v>
                </c:pt>
                <c:pt idx="1463">
                  <c:v>-2.4047014258277488E-2</c:v>
                </c:pt>
                <c:pt idx="1464">
                  <c:v>-2.4047014258277488E-2</c:v>
                </c:pt>
                <c:pt idx="1465">
                  <c:v>-2.4047014258277488E-2</c:v>
                </c:pt>
                <c:pt idx="1466">
                  <c:v>-2.4047014258277488E-2</c:v>
                </c:pt>
                <c:pt idx="1467">
                  <c:v>-2.618885358492562E-2</c:v>
                </c:pt>
                <c:pt idx="1468">
                  <c:v>-2.618885358492562E-2</c:v>
                </c:pt>
                <c:pt idx="1469">
                  <c:v>-2.618885358492562E-2</c:v>
                </c:pt>
                <c:pt idx="1470">
                  <c:v>-2.618885358492562E-2</c:v>
                </c:pt>
                <c:pt idx="1471">
                  <c:v>-2.618885358492562E-2</c:v>
                </c:pt>
                <c:pt idx="1472">
                  <c:v>-2.6772991583102423E-2</c:v>
                </c:pt>
                <c:pt idx="1473">
                  <c:v>-2.6772991583102423E-2</c:v>
                </c:pt>
                <c:pt idx="1474">
                  <c:v>-2.6772991583102423E-2</c:v>
                </c:pt>
                <c:pt idx="1475">
                  <c:v>-2.6772991583102423E-2</c:v>
                </c:pt>
                <c:pt idx="1476">
                  <c:v>-2.6772991583102423E-2</c:v>
                </c:pt>
                <c:pt idx="1477">
                  <c:v>-1.6780691583987539E-2</c:v>
                </c:pt>
                <c:pt idx="1478">
                  <c:v>-1.6780691583987539E-2</c:v>
                </c:pt>
                <c:pt idx="1479">
                  <c:v>-1.6780691583987539E-2</c:v>
                </c:pt>
                <c:pt idx="1480">
                  <c:v>-1.6780691583987539E-2</c:v>
                </c:pt>
                <c:pt idx="1481">
                  <c:v>-1.6780691583987539E-2</c:v>
                </c:pt>
                <c:pt idx="1482">
                  <c:v>-1.5081381043836828E-2</c:v>
                </c:pt>
                <c:pt idx="1483">
                  <c:v>-1.5081381043836828E-2</c:v>
                </c:pt>
                <c:pt idx="1484">
                  <c:v>-1.5081381043836828E-2</c:v>
                </c:pt>
                <c:pt idx="1485">
                  <c:v>-1.5081381043836828E-2</c:v>
                </c:pt>
                <c:pt idx="1486">
                  <c:v>-1.5081381043836828E-2</c:v>
                </c:pt>
                <c:pt idx="1487">
                  <c:v>1.4753909741828775E-2</c:v>
                </c:pt>
                <c:pt idx="1488">
                  <c:v>1.4753909741828775E-2</c:v>
                </c:pt>
                <c:pt idx="1489">
                  <c:v>1.4753909741828775E-2</c:v>
                </c:pt>
                <c:pt idx="1490">
                  <c:v>1.4753909741828775E-2</c:v>
                </c:pt>
                <c:pt idx="1491">
                  <c:v>1.4753909741828775E-2</c:v>
                </c:pt>
                <c:pt idx="1492">
                  <c:v>8.3991963677239045E-3</c:v>
                </c:pt>
                <c:pt idx="1493">
                  <c:v>8.3991963677239045E-3</c:v>
                </c:pt>
                <c:pt idx="1494">
                  <c:v>8.3991963677239045E-3</c:v>
                </c:pt>
                <c:pt idx="1495">
                  <c:v>8.3991963677239045E-3</c:v>
                </c:pt>
                <c:pt idx="1496">
                  <c:v>8.3991963677239045E-3</c:v>
                </c:pt>
                <c:pt idx="1497">
                  <c:v>2.4524945347694782E-2</c:v>
                </c:pt>
                <c:pt idx="1498">
                  <c:v>2.4524945347694782E-2</c:v>
                </c:pt>
                <c:pt idx="1499">
                  <c:v>2.4524945347694782E-2</c:v>
                </c:pt>
                <c:pt idx="1500">
                  <c:v>2.4524945347694782E-2</c:v>
                </c:pt>
                <c:pt idx="1501">
                  <c:v>2.4524945347694782E-2</c:v>
                </c:pt>
                <c:pt idx="1502">
                  <c:v>1.167390938780577E-2</c:v>
                </c:pt>
                <c:pt idx="1503">
                  <c:v>1.167390938780577E-2</c:v>
                </c:pt>
                <c:pt idx="1504">
                  <c:v>1.167390938780577E-2</c:v>
                </c:pt>
                <c:pt idx="1505">
                  <c:v>1.167390938780577E-2</c:v>
                </c:pt>
                <c:pt idx="1506">
                  <c:v>1.167390938780577E-2</c:v>
                </c:pt>
                <c:pt idx="1507">
                  <c:v>3.1499199022896551E-2</c:v>
                </c:pt>
                <c:pt idx="1508">
                  <c:v>3.1499199022896551E-2</c:v>
                </c:pt>
                <c:pt idx="1509">
                  <c:v>3.1499199022896551E-2</c:v>
                </c:pt>
                <c:pt idx="1510">
                  <c:v>3.1499199022896551E-2</c:v>
                </c:pt>
                <c:pt idx="1511">
                  <c:v>3.1499199022896551E-2</c:v>
                </c:pt>
                <c:pt idx="1512">
                  <c:v>2.1515749599511524E-2</c:v>
                </c:pt>
                <c:pt idx="1513">
                  <c:v>2.1515749599511524E-2</c:v>
                </c:pt>
                <c:pt idx="1514">
                  <c:v>2.1515749599511524E-2</c:v>
                </c:pt>
                <c:pt idx="1515">
                  <c:v>2.1515749599511524E-2</c:v>
                </c:pt>
                <c:pt idx="1516">
                  <c:v>2.1515749599511524E-2</c:v>
                </c:pt>
                <c:pt idx="1517">
                  <c:v>4.2217246231867511E-2</c:v>
                </c:pt>
                <c:pt idx="1518">
                  <c:v>4.2217246231867511E-2</c:v>
                </c:pt>
                <c:pt idx="1519">
                  <c:v>4.2217246231867511E-2</c:v>
                </c:pt>
                <c:pt idx="1520">
                  <c:v>4.2217246231867511E-2</c:v>
                </c:pt>
                <c:pt idx="1521">
                  <c:v>4.2217246231867511E-2</c:v>
                </c:pt>
                <c:pt idx="1522">
                  <c:v>5.4218626921681334E-2</c:v>
                </c:pt>
                <c:pt idx="1523">
                  <c:v>5.4218626921681334E-2</c:v>
                </c:pt>
                <c:pt idx="1524">
                  <c:v>5.4218626921681334E-2</c:v>
                </c:pt>
                <c:pt idx="1525">
                  <c:v>5.4218626921681334E-2</c:v>
                </c:pt>
                <c:pt idx="1526">
                  <c:v>5.4218626921681334E-2</c:v>
                </c:pt>
                <c:pt idx="1527">
                  <c:v>5.0952764477329326E-2</c:v>
                </c:pt>
                <c:pt idx="1528">
                  <c:v>5.0952764477329326E-2</c:v>
                </c:pt>
                <c:pt idx="1529">
                  <c:v>5.0952764477329326E-2</c:v>
                </c:pt>
                <c:pt idx="1530">
                  <c:v>5.0952764477329326E-2</c:v>
                </c:pt>
                <c:pt idx="1531">
                  <c:v>5.0952764477329326E-2</c:v>
                </c:pt>
                <c:pt idx="1532">
                  <c:v>4.5624717887898569E-2</c:v>
                </c:pt>
                <c:pt idx="1533">
                  <c:v>4.5624717887898569E-2</c:v>
                </c:pt>
                <c:pt idx="1534">
                  <c:v>4.5624717887898569E-2</c:v>
                </c:pt>
                <c:pt idx="1535">
                  <c:v>4.5624717887898569E-2</c:v>
                </c:pt>
                <c:pt idx="1536">
                  <c:v>4.5624717887898569E-2</c:v>
                </c:pt>
                <c:pt idx="1537">
                  <c:v>6.4963225857842088E-2</c:v>
                </c:pt>
                <c:pt idx="1538">
                  <c:v>6.4963225857842088E-2</c:v>
                </c:pt>
                <c:pt idx="1539">
                  <c:v>6.4963225857842088E-2</c:v>
                </c:pt>
                <c:pt idx="1540">
                  <c:v>6.4963225857842088E-2</c:v>
                </c:pt>
                <c:pt idx="1541">
                  <c:v>6.4963225857842088E-2</c:v>
                </c:pt>
                <c:pt idx="1542">
                  <c:v>6.5334950038500095E-2</c:v>
                </c:pt>
                <c:pt idx="1543">
                  <c:v>6.5334950038500095E-2</c:v>
                </c:pt>
                <c:pt idx="1544">
                  <c:v>6.5334950038500095E-2</c:v>
                </c:pt>
                <c:pt idx="1545">
                  <c:v>6.5334950038500095E-2</c:v>
                </c:pt>
                <c:pt idx="1546">
                  <c:v>6.5334950038500095E-2</c:v>
                </c:pt>
                <c:pt idx="1547">
                  <c:v>9.4532999371609305E-2</c:v>
                </c:pt>
                <c:pt idx="1548">
                  <c:v>9.4532999371609305E-2</c:v>
                </c:pt>
                <c:pt idx="1549">
                  <c:v>9.4532999371609305E-2</c:v>
                </c:pt>
                <c:pt idx="1550">
                  <c:v>9.4532999371609305E-2</c:v>
                </c:pt>
                <c:pt idx="1551">
                  <c:v>9.4532999371609305E-2</c:v>
                </c:pt>
                <c:pt idx="1552">
                  <c:v>7.4707709736518302E-2</c:v>
                </c:pt>
                <c:pt idx="1553">
                  <c:v>7.4707709736518302E-2</c:v>
                </c:pt>
                <c:pt idx="1554">
                  <c:v>7.4707709736518302E-2</c:v>
                </c:pt>
                <c:pt idx="1555">
                  <c:v>7.4707709736518302E-2</c:v>
                </c:pt>
                <c:pt idx="1556">
                  <c:v>7.4707709736518302E-2</c:v>
                </c:pt>
                <c:pt idx="1557">
                  <c:v>9.0072309203713674E-2</c:v>
                </c:pt>
                <c:pt idx="1558">
                  <c:v>9.0072309203713674E-2</c:v>
                </c:pt>
                <c:pt idx="1559">
                  <c:v>9.0072309203713674E-2</c:v>
                </c:pt>
                <c:pt idx="1560">
                  <c:v>9.0072309203713674E-2</c:v>
                </c:pt>
                <c:pt idx="1561">
                  <c:v>9.0072309203713674E-2</c:v>
                </c:pt>
                <c:pt idx="1562">
                  <c:v>0.10586173630594664</c:v>
                </c:pt>
                <c:pt idx="1563">
                  <c:v>0.10586173630594664</c:v>
                </c:pt>
                <c:pt idx="1564">
                  <c:v>0.10586173630594664</c:v>
                </c:pt>
                <c:pt idx="1565">
                  <c:v>0.10586173630594664</c:v>
                </c:pt>
                <c:pt idx="1566">
                  <c:v>0.10586173630594664</c:v>
                </c:pt>
                <c:pt idx="1567">
                  <c:v>0.10229495428677637</c:v>
                </c:pt>
                <c:pt idx="1568">
                  <c:v>0.10229495428677637</c:v>
                </c:pt>
                <c:pt idx="1569">
                  <c:v>0.10229495428677637</c:v>
                </c:pt>
                <c:pt idx="1570">
                  <c:v>0.10229495428677637</c:v>
                </c:pt>
                <c:pt idx="1571">
                  <c:v>0.10229495428677637</c:v>
                </c:pt>
                <c:pt idx="1572">
                  <c:v>0.11781886411711096</c:v>
                </c:pt>
                <c:pt idx="1573">
                  <c:v>0.11781886411711096</c:v>
                </c:pt>
                <c:pt idx="1574">
                  <c:v>0.11781886411711096</c:v>
                </c:pt>
                <c:pt idx="1575">
                  <c:v>0.11781886411711096</c:v>
                </c:pt>
                <c:pt idx="1576">
                  <c:v>0.11781886411711096</c:v>
                </c:pt>
                <c:pt idx="1577">
                  <c:v>0.13227185428412125</c:v>
                </c:pt>
                <c:pt idx="1578">
                  <c:v>0.13227185428412125</c:v>
                </c:pt>
                <c:pt idx="1579">
                  <c:v>0.13227185428412125</c:v>
                </c:pt>
                <c:pt idx="1580">
                  <c:v>0.13227185428412125</c:v>
                </c:pt>
                <c:pt idx="1581">
                  <c:v>0.13227185428412125</c:v>
                </c:pt>
                <c:pt idx="1582">
                  <c:v>0.12780231354049598</c:v>
                </c:pt>
                <c:pt idx="1583">
                  <c:v>0.12780231354049598</c:v>
                </c:pt>
                <c:pt idx="1584">
                  <c:v>0.12780231354049598</c:v>
                </c:pt>
                <c:pt idx="1585">
                  <c:v>0.12780231354049598</c:v>
                </c:pt>
                <c:pt idx="1586">
                  <c:v>0.12780231354049598</c:v>
                </c:pt>
                <c:pt idx="1587">
                  <c:v>0.13107702656057785</c:v>
                </c:pt>
                <c:pt idx="1588">
                  <c:v>0.13107702656057785</c:v>
                </c:pt>
                <c:pt idx="1589">
                  <c:v>0.13107702656057785</c:v>
                </c:pt>
                <c:pt idx="1590">
                  <c:v>0.13107702656057785</c:v>
                </c:pt>
                <c:pt idx="1591">
                  <c:v>0.13107702656057785</c:v>
                </c:pt>
                <c:pt idx="1592">
                  <c:v>0.13313921070565637</c:v>
                </c:pt>
                <c:pt idx="1593">
                  <c:v>0.13313921070565637</c:v>
                </c:pt>
                <c:pt idx="1594">
                  <c:v>0.13313921070565637</c:v>
                </c:pt>
                <c:pt idx="1595">
                  <c:v>0.13313921070565637</c:v>
                </c:pt>
                <c:pt idx="1596">
                  <c:v>0.13313921070565637</c:v>
                </c:pt>
                <c:pt idx="1597">
                  <c:v>0.15162806340552448</c:v>
                </c:pt>
                <c:pt idx="1598">
                  <c:v>0.15162806340552448</c:v>
                </c:pt>
                <c:pt idx="1599">
                  <c:v>0.15162806340552448</c:v>
                </c:pt>
                <c:pt idx="1600">
                  <c:v>0.15162806340552448</c:v>
                </c:pt>
                <c:pt idx="1601">
                  <c:v>0.15162806340552448</c:v>
                </c:pt>
                <c:pt idx="1602">
                  <c:v>0.15596484551320078</c:v>
                </c:pt>
                <c:pt idx="1603">
                  <c:v>0.15596484551320078</c:v>
                </c:pt>
                <c:pt idx="1604">
                  <c:v>0.15596484551320078</c:v>
                </c:pt>
                <c:pt idx="1605">
                  <c:v>0.15596484551320078</c:v>
                </c:pt>
                <c:pt idx="1606">
                  <c:v>0.15596484551320078</c:v>
                </c:pt>
                <c:pt idx="1607">
                  <c:v>0.15509748909166543</c:v>
                </c:pt>
                <c:pt idx="1608">
                  <c:v>0.15509748909166543</c:v>
                </c:pt>
                <c:pt idx="1609">
                  <c:v>0.15509748909166543</c:v>
                </c:pt>
                <c:pt idx="1610">
                  <c:v>0.15509748909166543</c:v>
                </c:pt>
                <c:pt idx="1611">
                  <c:v>0.15509748909166543</c:v>
                </c:pt>
                <c:pt idx="1612">
                  <c:v>0.19876622974324487</c:v>
                </c:pt>
                <c:pt idx="1613">
                  <c:v>0.19876622974324487</c:v>
                </c:pt>
                <c:pt idx="1614">
                  <c:v>0.19876622974324487</c:v>
                </c:pt>
                <c:pt idx="1615">
                  <c:v>0.19876622974324487</c:v>
                </c:pt>
                <c:pt idx="1616">
                  <c:v>0.19876622974324487</c:v>
                </c:pt>
                <c:pt idx="1617">
                  <c:v>0.19527025232991413</c:v>
                </c:pt>
                <c:pt idx="1618">
                  <c:v>0.19527025232991413</c:v>
                </c:pt>
                <c:pt idx="1619">
                  <c:v>0.19527025232991413</c:v>
                </c:pt>
                <c:pt idx="1620">
                  <c:v>0.19527025232991413</c:v>
                </c:pt>
                <c:pt idx="1621">
                  <c:v>0.19527025232991413</c:v>
                </c:pt>
                <c:pt idx="1622">
                  <c:v>0.20245691982263447</c:v>
                </c:pt>
                <c:pt idx="1623">
                  <c:v>0.20245691982263447</c:v>
                </c:pt>
                <c:pt idx="1624">
                  <c:v>0.20245691982263447</c:v>
                </c:pt>
                <c:pt idx="1625">
                  <c:v>0.20245691982263447</c:v>
                </c:pt>
                <c:pt idx="1626">
                  <c:v>0.20245691982263447</c:v>
                </c:pt>
                <c:pt idx="1627">
                  <c:v>0.20666094329436135</c:v>
                </c:pt>
                <c:pt idx="1628">
                  <c:v>0.20666094329436135</c:v>
                </c:pt>
                <c:pt idx="1629">
                  <c:v>0.20666094329436135</c:v>
                </c:pt>
                <c:pt idx="1630">
                  <c:v>0.20666094329436135</c:v>
                </c:pt>
                <c:pt idx="1631">
                  <c:v>0.20666094329436135</c:v>
                </c:pt>
                <c:pt idx="1632">
                  <c:v>0.20519174772318949</c:v>
                </c:pt>
                <c:pt idx="1633">
                  <c:v>0.20519174772318949</c:v>
                </c:pt>
                <c:pt idx="1634">
                  <c:v>0.20519174772318949</c:v>
                </c:pt>
                <c:pt idx="1635">
                  <c:v>0.20519174772318949</c:v>
                </c:pt>
                <c:pt idx="1636">
                  <c:v>0.20519174772318949</c:v>
                </c:pt>
                <c:pt idx="1637">
                  <c:v>0.23731048704718249</c:v>
                </c:pt>
                <c:pt idx="1638">
                  <c:v>0.23731048704718249</c:v>
                </c:pt>
                <c:pt idx="1639">
                  <c:v>0.23731048704718249</c:v>
                </c:pt>
                <c:pt idx="1640">
                  <c:v>0.23731048704718249</c:v>
                </c:pt>
                <c:pt idx="1641">
                  <c:v>0.23731048704718249</c:v>
                </c:pt>
                <c:pt idx="1642">
                  <c:v>0.21817554231902792</c:v>
                </c:pt>
                <c:pt idx="1643">
                  <c:v>0.21817554231902792</c:v>
                </c:pt>
                <c:pt idx="1644">
                  <c:v>0.21817554231902792</c:v>
                </c:pt>
                <c:pt idx="1645">
                  <c:v>0.21817554231902792</c:v>
                </c:pt>
                <c:pt idx="1646">
                  <c:v>0.21817554231902792</c:v>
                </c:pt>
                <c:pt idx="1647">
                  <c:v>0.22499048563109025</c:v>
                </c:pt>
                <c:pt idx="1648">
                  <c:v>0.22499048563109025</c:v>
                </c:pt>
                <c:pt idx="1649">
                  <c:v>0.22499048563109025</c:v>
                </c:pt>
                <c:pt idx="1650">
                  <c:v>0.22499048563109025</c:v>
                </c:pt>
                <c:pt idx="1651">
                  <c:v>0.22499048563109025</c:v>
                </c:pt>
                <c:pt idx="1652">
                  <c:v>0.23586784320320042</c:v>
                </c:pt>
                <c:pt idx="1653">
                  <c:v>0.23586784320320042</c:v>
                </c:pt>
                <c:pt idx="1654">
                  <c:v>0.23586784320320042</c:v>
                </c:pt>
                <c:pt idx="1655">
                  <c:v>0.23586784320320042</c:v>
                </c:pt>
                <c:pt idx="1656">
                  <c:v>0.23586784320320042</c:v>
                </c:pt>
                <c:pt idx="1657">
                  <c:v>0.23781496986378969</c:v>
                </c:pt>
                <c:pt idx="1658">
                  <c:v>0.23781496986378969</c:v>
                </c:pt>
                <c:pt idx="1659">
                  <c:v>0.23781496986378969</c:v>
                </c:pt>
                <c:pt idx="1660">
                  <c:v>0.23781496986378969</c:v>
                </c:pt>
                <c:pt idx="1661">
                  <c:v>0.23781496986378969</c:v>
                </c:pt>
                <c:pt idx="1662">
                  <c:v>0.24702841919866891</c:v>
                </c:pt>
                <c:pt idx="1663">
                  <c:v>0.24702841919866891</c:v>
                </c:pt>
                <c:pt idx="1664">
                  <c:v>0.24702841919866891</c:v>
                </c:pt>
                <c:pt idx="1665">
                  <c:v>0.24702841919866891</c:v>
                </c:pt>
                <c:pt idx="1666">
                  <c:v>0.24702841919866891</c:v>
                </c:pt>
                <c:pt idx="1667">
                  <c:v>0.26182658181914742</c:v>
                </c:pt>
                <c:pt idx="1668">
                  <c:v>0.26182658181914742</c:v>
                </c:pt>
                <c:pt idx="1669">
                  <c:v>0.26182658181914742</c:v>
                </c:pt>
                <c:pt idx="1670">
                  <c:v>0.26182658181914742</c:v>
                </c:pt>
                <c:pt idx="1671">
                  <c:v>0.26182658181914742</c:v>
                </c:pt>
                <c:pt idx="1672">
                  <c:v>0.26541106498977762</c:v>
                </c:pt>
                <c:pt idx="1673">
                  <c:v>0.26541106498977762</c:v>
                </c:pt>
                <c:pt idx="1674">
                  <c:v>0.26541106498977762</c:v>
                </c:pt>
                <c:pt idx="1675">
                  <c:v>0.26541106498977762</c:v>
                </c:pt>
                <c:pt idx="1676">
                  <c:v>0.26541106498977762</c:v>
                </c:pt>
                <c:pt idx="1677">
                  <c:v>0.29284784975262634</c:v>
                </c:pt>
                <c:pt idx="1678">
                  <c:v>0.29284784975262634</c:v>
                </c:pt>
                <c:pt idx="1679">
                  <c:v>0.29284784975262634</c:v>
                </c:pt>
                <c:pt idx="1680">
                  <c:v>0.29284784975262634</c:v>
                </c:pt>
                <c:pt idx="1681">
                  <c:v>0.29284784975262634</c:v>
                </c:pt>
                <c:pt idx="1682">
                  <c:v>0.31631072601272714</c:v>
                </c:pt>
                <c:pt idx="1683">
                  <c:v>0.31631072601272714</c:v>
                </c:pt>
                <c:pt idx="1684">
                  <c:v>0.31631072601272714</c:v>
                </c:pt>
                <c:pt idx="1685">
                  <c:v>0.31631072601272714</c:v>
                </c:pt>
                <c:pt idx="1686">
                  <c:v>0.31631072601272714</c:v>
                </c:pt>
                <c:pt idx="1687">
                  <c:v>0.35063325869347817</c:v>
                </c:pt>
                <c:pt idx="1688">
                  <c:v>0.35063325869347817</c:v>
                </c:pt>
                <c:pt idx="1689">
                  <c:v>0.35063325869347817</c:v>
                </c:pt>
                <c:pt idx="1690">
                  <c:v>0.35063325869347817</c:v>
                </c:pt>
                <c:pt idx="1691">
                  <c:v>0.35063325869347817</c:v>
                </c:pt>
                <c:pt idx="1692">
                  <c:v>0.34110118863232053</c:v>
                </c:pt>
                <c:pt idx="1693">
                  <c:v>0.34110118863232053</c:v>
                </c:pt>
                <c:pt idx="1694">
                  <c:v>0.34110118863232053</c:v>
                </c:pt>
                <c:pt idx="1695">
                  <c:v>0.34110118863232053</c:v>
                </c:pt>
                <c:pt idx="1696">
                  <c:v>0.34110118863232053</c:v>
                </c:pt>
                <c:pt idx="1697">
                  <c:v>0.33982670572720775</c:v>
                </c:pt>
                <c:pt idx="1698">
                  <c:v>0.33982670572720775</c:v>
                </c:pt>
                <c:pt idx="1699">
                  <c:v>0.33982670572720775</c:v>
                </c:pt>
                <c:pt idx="1700">
                  <c:v>0.33982670572720775</c:v>
                </c:pt>
                <c:pt idx="1701">
                  <c:v>0.33982670572720775</c:v>
                </c:pt>
                <c:pt idx="1702">
                  <c:v>0.34664164903927008</c:v>
                </c:pt>
                <c:pt idx="1703">
                  <c:v>0.34664164903927008</c:v>
                </c:pt>
                <c:pt idx="1704">
                  <c:v>0.34664164903927008</c:v>
                </c:pt>
                <c:pt idx="1705">
                  <c:v>0.34664164903927008</c:v>
                </c:pt>
                <c:pt idx="1706">
                  <c:v>0.34664164903927008</c:v>
                </c:pt>
                <c:pt idx="1707">
                  <c:v>0.35212900599183983</c:v>
                </c:pt>
                <c:pt idx="1708">
                  <c:v>0.35212900599183983</c:v>
                </c:pt>
                <c:pt idx="1709">
                  <c:v>0.35212900599183983</c:v>
                </c:pt>
                <c:pt idx="1710">
                  <c:v>0.35212900599183983</c:v>
                </c:pt>
                <c:pt idx="1711">
                  <c:v>0.35212900599183983</c:v>
                </c:pt>
                <c:pt idx="1712">
                  <c:v>0.35434164992432771</c:v>
                </c:pt>
                <c:pt idx="1713">
                  <c:v>0.35434164992432771</c:v>
                </c:pt>
                <c:pt idx="1714">
                  <c:v>0.35434164992432771</c:v>
                </c:pt>
                <c:pt idx="1715">
                  <c:v>0.35434164992432771</c:v>
                </c:pt>
                <c:pt idx="1716">
                  <c:v>0.35434164992432771</c:v>
                </c:pt>
                <c:pt idx="1717">
                  <c:v>0.34776567215697396</c:v>
                </c:pt>
                <c:pt idx="1718">
                  <c:v>0.34776567215697396</c:v>
                </c:pt>
                <c:pt idx="1719">
                  <c:v>0.34776567215697396</c:v>
                </c:pt>
                <c:pt idx="1720">
                  <c:v>0.34776567215697396</c:v>
                </c:pt>
                <c:pt idx="1721">
                  <c:v>0.34776567215697396</c:v>
                </c:pt>
                <c:pt idx="1722">
                  <c:v>0.36165222547726716</c:v>
                </c:pt>
                <c:pt idx="1723">
                  <c:v>0.36165222547726716</c:v>
                </c:pt>
                <c:pt idx="1724">
                  <c:v>0.36165222547726716</c:v>
                </c:pt>
                <c:pt idx="1725">
                  <c:v>0.36165222547726716</c:v>
                </c:pt>
                <c:pt idx="1726">
                  <c:v>0.36165222547726716</c:v>
                </c:pt>
                <c:pt idx="1727">
                  <c:v>0.36104153575190079</c:v>
                </c:pt>
                <c:pt idx="1728">
                  <c:v>0.36104153575190079</c:v>
                </c:pt>
                <c:pt idx="1729">
                  <c:v>0.36104153575190079</c:v>
                </c:pt>
                <c:pt idx="1730">
                  <c:v>0.36104153575190079</c:v>
                </c:pt>
                <c:pt idx="1731">
                  <c:v>0.36104153575190079</c:v>
                </c:pt>
                <c:pt idx="1732">
                  <c:v>0.36889199642436754</c:v>
                </c:pt>
                <c:pt idx="1733">
                  <c:v>0.36889199642436754</c:v>
                </c:pt>
                <c:pt idx="1734">
                  <c:v>0.36889199642436754</c:v>
                </c:pt>
                <c:pt idx="1735">
                  <c:v>0.36889199642436754</c:v>
                </c:pt>
                <c:pt idx="1736">
                  <c:v>0.36889199642436754</c:v>
                </c:pt>
                <c:pt idx="1737">
                  <c:v>0.36427199589333292</c:v>
                </c:pt>
                <c:pt idx="1738">
                  <c:v>0.36427199589333292</c:v>
                </c:pt>
                <c:pt idx="1739">
                  <c:v>0.36427199589333292</c:v>
                </c:pt>
                <c:pt idx="1740">
                  <c:v>0.36427199589333292</c:v>
                </c:pt>
                <c:pt idx="1741">
                  <c:v>0.36427199589333292</c:v>
                </c:pt>
                <c:pt idx="1742">
                  <c:v>0.38960234363245339</c:v>
                </c:pt>
                <c:pt idx="1743">
                  <c:v>0.38960234363245339</c:v>
                </c:pt>
                <c:pt idx="1744">
                  <c:v>0.38960234363245339</c:v>
                </c:pt>
                <c:pt idx="1745">
                  <c:v>0.38960234363245339</c:v>
                </c:pt>
                <c:pt idx="1746">
                  <c:v>0.38960234363245339</c:v>
                </c:pt>
                <c:pt idx="1747">
                  <c:v>0.41658774903307472</c:v>
                </c:pt>
                <c:pt idx="1748">
                  <c:v>0.41658774903307472</c:v>
                </c:pt>
                <c:pt idx="1749">
                  <c:v>0.41658774903307472</c:v>
                </c:pt>
                <c:pt idx="1750">
                  <c:v>0.41658774903307472</c:v>
                </c:pt>
                <c:pt idx="1751">
                  <c:v>0.41658774903307472</c:v>
                </c:pt>
                <c:pt idx="1752">
                  <c:v>0.4120474036836097</c:v>
                </c:pt>
                <c:pt idx="1753">
                  <c:v>0.4120474036836097</c:v>
                </c:pt>
                <c:pt idx="1754">
                  <c:v>0.4120474036836097</c:v>
                </c:pt>
                <c:pt idx="1755">
                  <c:v>0.4120474036836097</c:v>
                </c:pt>
                <c:pt idx="1756">
                  <c:v>0.4120474036836097</c:v>
                </c:pt>
                <c:pt idx="1757">
                  <c:v>0.42815545151212087</c:v>
                </c:pt>
                <c:pt idx="1758">
                  <c:v>0.42815545151212087</c:v>
                </c:pt>
                <c:pt idx="1759">
                  <c:v>0.42815545151212087</c:v>
                </c:pt>
                <c:pt idx="1760">
                  <c:v>0.42815545151212087</c:v>
                </c:pt>
                <c:pt idx="1761">
                  <c:v>0.42815545151212087</c:v>
                </c:pt>
                <c:pt idx="1762">
                  <c:v>0.41907476081319084</c:v>
                </c:pt>
                <c:pt idx="1763">
                  <c:v>0.41907476081319084</c:v>
                </c:pt>
                <c:pt idx="1764">
                  <c:v>0.41907476081319084</c:v>
                </c:pt>
                <c:pt idx="1765">
                  <c:v>0.41907476081319084</c:v>
                </c:pt>
                <c:pt idx="1766">
                  <c:v>0.41907476081319084</c:v>
                </c:pt>
                <c:pt idx="1767">
                  <c:v>0.42263269225663147</c:v>
                </c:pt>
                <c:pt idx="1768">
                  <c:v>0.42263269225663147</c:v>
                </c:pt>
                <c:pt idx="1769">
                  <c:v>0.42263269225663147</c:v>
                </c:pt>
                <c:pt idx="1770">
                  <c:v>0.42263269225663147</c:v>
                </c:pt>
                <c:pt idx="1771">
                  <c:v>0.42263269225663147</c:v>
                </c:pt>
                <c:pt idx="1772">
                  <c:v>0.42887234814624686</c:v>
                </c:pt>
                <c:pt idx="1773">
                  <c:v>0.42887234814624686</c:v>
                </c:pt>
                <c:pt idx="1774">
                  <c:v>0.42887234814624686</c:v>
                </c:pt>
                <c:pt idx="1775">
                  <c:v>0.42887234814624686</c:v>
                </c:pt>
                <c:pt idx="1776">
                  <c:v>0.42887234814624686</c:v>
                </c:pt>
                <c:pt idx="1777">
                  <c:v>0.42000407126483585</c:v>
                </c:pt>
                <c:pt idx="1778">
                  <c:v>0.42000407126483585</c:v>
                </c:pt>
                <c:pt idx="1779">
                  <c:v>0.42000407126483585</c:v>
                </c:pt>
                <c:pt idx="1780">
                  <c:v>0.42000407126483585</c:v>
                </c:pt>
                <c:pt idx="1781">
                  <c:v>0.42000407126483585</c:v>
                </c:pt>
                <c:pt idx="1782">
                  <c:v>0.41798613999840706</c:v>
                </c:pt>
                <c:pt idx="1783">
                  <c:v>0.41798613999840706</c:v>
                </c:pt>
                <c:pt idx="1784">
                  <c:v>0.41798613999840706</c:v>
                </c:pt>
                <c:pt idx="1785">
                  <c:v>0.41798613999840706</c:v>
                </c:pt>
                <c:pt idx="1786">
                  <c:v>0.41798613999840706</c:v>
                </c:pt>
                <c:pt idx="1787">
                  <c:v>0.42076522077761158</c:v>
                </c:pt>
                <c:pt idx="1788">
                  <c:v>0.42076522077761158</c:v>
                </c:pt>
                <c:pt idx="1789">
                  <c:v>0.42076522077761158</c:v>
                </c:pt>
                <c:pt idx="1790">
                  <c:v>0.42076522077761158</c:v>
                </c:pt>
                <c:pt idx="1791">
                  <c:v>0.42076522077761158</c:v>
                </c:pt>
                <c:pt idx="1792">
                  <c:v>0.42733234796923547</c:v>
                </c:pt>
                <c:pt idx="1793">
                  <c:v>0.42733234796923547</c:v>
                </c:pt>
                <c:pt idx="1794">
                  <c:v>0.42733234796923547</c:v>
                </c:pt>
                <c:pt idx="1795">
                  <c:v>0.42733234796923547</c:v>
                </c:pt>
                <c:pt idx="1796">
                  <c:v>0.42733234796923547</c:v>
                </c:pt>
                <c:pt idx="1797">
                  <c:v>0.42830591129953</c:v>
                </c:pt>
                <c:pt idx="1798">
                  <c:v>0.42830591129953</c:v>
                </c:pt>
                <c:pt idx="1799">
                  <c:v>0.42830591129953</c:v>
                </c:pt>
                <c:pt idx="1800">
                  <c:v>0.42830591129953</c:v>
                </c:pt>
                <c:pt idx="1801">
                  <c:v>0.42830591129953</c:v>
                </c:pt>
                <c:pt idx="1802">
                  <c:v>0.43531556727765142</c:v>
                </c:pt>
                <c:pt idx="1803">
                  <c:v>0.43531556727765142</c:v>
                </c:pt>
                <c:pt idx="1804">
                  <c:v>0.43531556727765142</c:v>
                </c:pt>
                <c:pt idx="1805">
                  <c:v>0.43531556727765142</c:v>
                </c:pt>
                <c:pt idx="1806">
                  <c:v>0.43531556727765142</c:v>
                </c:pt>
                <c:pt idx="1807">
                  <c:v>0.44806039632878125</c:v>
                </c:pt>
                <c:pt idx="1808">
                  <c:v>0.44806039632878125</c:v>
                </c:pt>
                <c:pt idx="1809">
                  <c:v>0.44806039632878125</c:v>
                </c:pt>
                <c:pt idx="1810">
                  <c:v>0.44806039632878125</c:v>
                </c:pt>
                <c:pt idx="1811">
                  <c:v>0.44806039632878125</c:v>
                </c:pt>
                <c:pt idx="1812">
                  <c:v>0.44785683308699231</c:v>
                </c:pt>
                <c:pt idx="1813">
                  <c:v>0.44785683308699231</c:v>
                </c:pt>
                <c:pt idx="1814">
                  <c:v>0.44785683308699231</c:v>
                </c:pt>
                <c:pt idx="1815">
                  <c:v>0.44785683308699231</c:v>
                </c:pt>
                <c:pt idx="1816">
                  <c:v>0.44785683308699231</c:v>
                </c:pt>
                <c:pt idx="1817">
                  <c:v>0.46806269747847118</c:v>
                </c:pt>
                <c:pt idx="1818">
                  <c:v>0.46806269747847118</c:v>
                </c:pt>
                <c:pt idx="1819">
                  <c:v>0.46806269747847118</c:v>
                </c:pt>
                <c:pt idx="1820">
                  <c:v>0.46806269747847118</c:v>
                </c:pt>
                <c:pt idx="1821">
                  <c:v>0.46806269747847118</c:v>
                </c:pt>
                <c:pt idx="1822">
                  <c:v>0.45936258153592902</c:v>
                </c:pt>
                <c:pt idx="1823">
                  <c:v>0.45936258153592902</c:v>
                </c:pt>
                <c:pt idx="1824">
                  <c:v>0.45936258153592902</c:v>
                </c:pt>
                <c:pt idx="1825">
                  <c:v>0.45936258153592902</c:v>
                </c:pt>
                <c:pt idx="1826">
                  <c:v>0.45936258153592902</c:v>
                </c:pt>
                <c:pt idx="1827">
                  <c:v>0.45144131625762252</c:v>
                </c:pt>
                <c:pt idx="1828">
                  <c:v>0.45144131625762252</c:v>
                </c:pt>
                <c:pt idx="1829">
                  <c:v>0.45144131625762252</c:v>
                </c:pt>
                <c:pt idx="1830">
                  <c:v>0.45144131625762252</c:v>
                </c:pt>
                <c:pt idx="1831">
                  <c:v>0.45144131625762252</c:v>
                </c:pt>
                <c:pt idx="1832">
                  <c:v>0.47446166373122578</c:v>
                </c:pt>
                <c:pt idx="1833">
                  <c:v>0.47446166373122578</c:v>
                </c:pt>
                <c:pt idx="1834">
                  <c:v>0.47446166373122578</c:v>
                </c:pt>
                <c:pt idx="1835">
                  <c:v>0.47446166373122578</c:v>
                </c:pt>
                <c:pt idx="1836">
                  <c:v>0.47446166373122578</c:v>
                </c:pt>
                <c:pt idx="1837">
                  <c:v>0.45614982254595682</c:v>
                </c:pt>
                <c:pt idx="1838">
                  <c:v>0.45614982254595682</c:v>
                </c:pt>
                <c:pt idx="1839">
                  <c:v>0.45614982254595682</c:v>
                </c:pt>
                <c:pt idx="1840">
                  <c:v>0.45614982254595682</c:v>
                </c:pt>
                <c:pt idx="1841">
                  <c:v>0.45614982254595682</c:v>
                </c:pt>
                <c:pt idx="1842">
                  <c:v>0.4455202810942851</c:v>
                </c:pt>
                <c:pt idx="1843">
                  <c:v>0.4455202810942851</c:v>
                </c:pt>
                <c:pt idx="1844">
                  <c:v>0.4455202810942851</c:v>
                </c:pt>
                <c:pt idx="1845">
                  <c:v>0.4455202810942851</c:v>
                </c:pt>
                <c:pt idx="1846">
                  <c:v>0.4455202810942851</c:v>
                </c:pt>
                <c:pt idx="1847">
                  <c:v>0.45219361519466861</c:v>
                </c:pt>
                <c:pt idx="1848">
                  <c:v>0.45219361519466861</c:v>
                </c:pt>
                <c:pt idx="1849">
                  <c:v>0.45219361519466861</c:v>
                </c:pt>
                <c:pt idx="1850">
                  <c:v>0.45219361519466861</c:v>
                </c:pt>
                <c:pt idx="1851">
                  <c:v>0.45219361519466861</c:v>
                </c:pt>
                <c:pt idx="1852">
                  <c:v>0.46337189234159704</c:v>
                </c:pt>
                <c:pt idx="1853">
                  <c:v>0.46337189234159704</c:v>
                </c:pt>
                <c:pt idx="1854">
                  <c:v>0.46337189234159704</c:v>
                </c:pt>
                <c:pt idx="1855">
                  <c:v>0.46337189234159704</c:v>
                </c:pt>
                <c:pt idx="1856">
                  <c:v>0.46337189234159704</c:v>
                </c:pt>
                <c:pt idx="1857">
                  <c:v>0.49919902289643936</c:v>
                </c:pt>
                <c:pt idx="1858">
                  <c:v>0.49919902289643936</c:v>
                </c:pt>
                <c:pt idx="1859">
                  <c:v>0.49919902289643936</c:v>
                </c:pt>
                <c:pt idx="1860">
                  <c:v>0.49919902289643936</c:v>
                </c:pt>
                <c:pt idx="1861">
                  <c:v>0.49919902289643936</c:v>
                </c:pt>
                <c:pt idx="1862">
                  <c:v>0.47837361820386426</c:v>
                </c:pt>
                <c:pt idx="1863">
                  <c:v>0.47837361820386426</c:v>
                </c:pt>
                <c:pt idx="1864">
                  <c:v>0.47837361820386426</c:v>
                </c:pt>
                <c:pt idx="1865">
                  <c:v>0.47837361820386426</c:v>
                </c:pt>
                <c:pt idx="1866">
                  <c:v>0.47837361820386426</c:v>
                </c:pt>
                <c:pt idx="1867">
                  <c:v>0.49485339021303343</c:v>
                </c:pt>
                <c:pt idx="1868">
                  <c:v>0.49485339021303343</c:v>
                </c:pt>
                <c:pt idx="1869">
                  <c:v>0.49485339021303343</c:v>
                </c:pt>
                <c:pt idx="1870">
                  <c:v>0.49485339021303343</c:v>
                </c:pt>
                <c:pt idx="1871">
                  <c:v>0.49485339021303343</c:v>
                </c:pt>
                <c:pt idx="1872">
                  <c:v>0.48767557329604294</c:v>
                </c:pt>
                <c:pt idx="1873">
                  <c:v>0.48767557329604294</c:v>
                </c:pt>
                <c:pt idx="1874">
                  <c:v>0.48767557329604294</c:v>
                </c:pt>
                <c:pt idx="1875">
                  <c:v>0.48767557329604294</c:v>
                </c:pt>
                <c:pt idx="1876">
                  <c:v>0.48767557329604294</c:v>
                </c:pt>
                <c:pt idx="1877">
                  <c:v>0.49518971209077178</c:v>
                </c:pt>
                <c:pt idx="1878">
                  <c:v>0.49518971209077178</c:v>
                </c:pt>
                <c:pt idx="1879">
                  <c:v>0.49518971209077178</c:v>
                </c:pt>
                <c:pt idx="1880">
                  <c:v>0.49518971209077178</c:v>
                </c:pt>
                <c:pt idx="1881">
                  <c:v>0.49518971209077178</c:v>
                </c:pt>
                <c:pt idx="1882">
                  <c:v>0.49079097595298582</c:v>
                </c:pt>
                <c:pt idx="1883">
                  <c:v>0.49079097595298582</c:v>
                </c:pt>
                <c:pt idx="1884">
                  <c:v>0.49079097595298582</c:v>
                </c:pt>
                <c:pt idx="1885">
                  <c:v>0.49079097595298582</c:v>
                </c:pt>
                <c:pt idx="1886">
                  <c:v>0.49079097595298582</c:v>
                </c:pt>
                <c:pt idx="1887">
                  <c:v>0.51124465646490314</c:v>
                </c:pt>
                <c:pt idx="1888">
                  <c:v>0.51124465646490314</c:v>
                </c:pt>
                <c:pt idx="1889">
                  <c:v>0.51124465646490314</c:v>
                </c:pt>
                <c:pt idx="1890">
                  <c:v>0.51124465646490314</c:v>
                </c:pt>
                <c:pt idx="1891">
                  <c:v>0.51124465646490314</c:v>
                </c:pt>
                <c:pt idx="1892">
                  <c:v>0.53337994636551134</c:v>
                </c:pt>
                <c:pt idx="1893">
                  <c:v>0.53337994636551134</c:v>
                </c:pt>
                <c:pt idx="1894">
                  <c:v>0.53337994636551134</c:v>
                </c:pt>
                <c:pt idx="1895">
                  <c:v>0.53337994636551134</c:v>
                </c:pt>
                <c:pt idx="1896">
                  <c:v>0.53337994636551134</c:v>
                </c:pt>
                <c:pt idx="1897">
                  <c:v>0.49965040225866697</c:v>
                </c:pt>
                <c:pt idx="1898">
                  <c:v>0.49965040225866697</c:v>
                </c:pt>
                <c:pt idx="1899">
                  <c:v>0.49965040225866697</c:v>
                </c:pt>
                <c:pt idx="1900">
                  <c:v>0.49965040225866697</c:v>
                </c:pt>
                <c:pt idx="1901">
                  <c:v>0.49965040225866697</c:v>
                </c:pt>
                <c:pt idx="1902">
                  <c:v>0.48964925168382223</c:v>
                </c:pt>
                <c:pt idx="1903">
                  <c:v>0.48964925168382223</c:v>
                </c:pt>
                <c:pt idx="1904">
                  <c:v>0.48964925168382223</c:v>
                </c:pt>
                <c:pt idx="1905">
                  <c:v>0.48964925168382223</c:v>
                </c:pt>
                <c:pt idx="1906">
                  <c:v>0.48964925168382223</c:v>
                </c:pt>
                <c:pt idx="1907">
                  <c:v>0.4962163788754459</c:v>
                </c:pt>
                <c:pt idx="1908">
                  <c:v>0.4962163788754459</c:v>
                </c:pt>
                <c:pt idx="1909">
                  <c:v>0.4962163788754459</c:v>
                </c:pt>
                <c:pt idx="1910">
                  <c:v>0.4962163788754459</c:v>
                </c:pt>
                <c:pt idx="1911">
                  <c:v>0.4962163788754459</c:v>
                </c:pt>
                <c:pt idx="1912">
                  <c:v>0.54003557931443447</c:v>
                </c:pt>
                <c:pt idx="1913">
                  <c:v>0.54003557931443447</c:v>
                </c:pt>
                <c:pt idx="1914">
                  <c:v>0.54003557931443447</c:v>
                </c:pt>
                <c:pt idx="1915">
                  <c:v>0.54003557931443447</c:v>
                </c:pt>
                <c:pt idx="1916">
                  <c:v>0.54003557931443447</c:v>
                </c:pt>
                <c:pt idx="1917">
                  <c:v>0.53741580889836893</c:v>
                </c:pt>
                <c:pt idx="1918">
                  <c:v>0.53741580889836893</c:v>
                </c:pt>
                <c:pt idx="1919">
                  <c:v>0.53741580889836893</c:v>
                </c:pt>
                <c:pt idx="1920">
                  <c:v>0.53741580889836893</c:v>
                </c:pt>
                <c:pt idx="1921">
                  <c:v>0.53741580889836893</c:v>
                </c:pt>
                <c:pt idx="1922">
                  <c:v>0.55226707497322702</c:v>
                </c:pt>
                <c:pt idx="1923">
                  <c:v>0.55226707497322702</c:v>
                </c:pt>
                <c:pt idx="1924">
                  <c:v>0.55226707497322702</c:v>
                </c:pt>
                <c:pt idx="1925">
                  <c:v>0.55226707497322702</c:v>
                </c:pt>
                <c:pt idx="1926">
                  <c:v>0.55226707497322702</c:v>
                </c:pt>
                <c:pt idx="1927">
                  <c:v>0.52259994512643049</c:v>
                </c:pt>
                <c:pt idx="1928">
                  <c:v>0.52259994512643049</c:v>
                </c:pt>
                <c:pt idx="1929">
                  <c:v>0.52259994512643049</c:v>
                </c:pt>
                <c:pt idx="1930">
                  <c:v>0.52259994512643049</c:v>
                </c:pt>
                <c:pt idx="1931">
                  <c:v>0.52259994512643049</c:v>
                </c:pt>
                <c:pt idx="1932">
                  <c:v>0.55290431642578364</c:v>
                </c:pt>
                <c:pt idx="1933">
                  <c:v>0.55290431642578364</c:v>
                </c:pt>
                <c:pt idx="1934">
                  <c:v>0.55290431642578364</c:v>
                </c:pt>
                <c:pt idx="1935">
                  <c:v>0.55290431642578364</c:v>
                </c:pt>
                <c:pt idx="1936">
                  <c:v>0.55290431642578364</c:v>
                </c:pt>
                <c:pt idx="1937">
                  <c:v>0.53032649773867813</c:v>
                </c:pt>
                <c:pt idx="1938">
                  <c:v>0.53032649773867813</c:v>
                </c:pt>
                <c:pt idx="1939">
                  <c:v>0.53032649773867813</c:v>
                </c:pt>
                <c:pt idx="1940">
                  <c:v>0.53032649773867813</c:v>
                </c:pt>
                <c:pt idx="1941">
                  <c:v>0.53032649773867813</c:v>
                </c:pt>
                <c:pt idx="1942">
                  <c:v>0.50509350633258721</c:v>
                </c:pt>
                <c:pt idx="1943">
                  <c:v>0.50509350633258721</c:v>
                </c:pt>
                <c:pt idx="1944">
                  <c:v>0.50509350633258721</c:v>
                </c:pt>
                <c:pt idx="1945">
                  <c:v>0.50509350633258721</c:v>
                </c:pt>
                <c:pt idx="1946">
                  <c:v>0.50509350633258721</c:v>
                </c:pt>
                <c:pt idx="1947">
                  <c:v>0.55565684547779837</c:v>
                </c:pt>
                <c:pt idx="1948">
                  <c:v>0.55565684547779837</c:v>
                </c:pt>
                <c:pt idx="1949">
                  <c:v>0.55565684547779837</c:v>
                </c:pt>
                <c:pt idx="1950">
                  <c:v>0.55565684547779837</c:v>
                </c:pt>
                <c:pt idx="1951">
                  <c:v>0.55565684547779837</c:v>
                </c:pt>
                <c:pt idx="1952">
                  <c:v>0.58643029729083884</c:v>
                </c:pt>
                <c:pt idx="1953">
                  <c:v>0.58643029729083884</c:v>
                </c:pt>
                <c:pt idx="1954">
                  <c:v>0.58643029729083884</c:v>
                </c:pt>
                <c:pt idx="1955">
                  <c:v>0.58643029729083884</c:v>
                </c:pt>
                <c:pt idx="1956">
                  <c:v>0.58643029729083884</c:v>
                </c:pt>
                <c:pt idx="1957">
                  <c:v>0.5378760388363264</c:v>
                </c:pt>
                <c:pt idx="1958">
                  <c:v>0.5378760388363264</c:v>
                </c:pt>
                <c:pt idx="1959">
                  <c:v>0.5378760388363264</c:v>
                </c:pt>
                <c:pt idx="1960">
                  <c:v>0.5378760388363264</c:v>
                </c:pt>
                <c:pt idx="1961">
                  <c:v>0.5378760388363264</c:v>
                </c:pt>
                <c:pt idx="1962">
                  <c:v>0.56729535256268426</c:v>
                </c:pt>
                <c:pt idx="1963">
                  <c:v>0.56729535256268426</c:v>
                </c:pt>
                <c:pt idx="1964">
                  <c:v>0.56729535256268426</c:v>
                </c:pt>
                <c:pt idx="1965">
                  <c:v>0.56729535256268426</c:v>
                </c:pt>
                <c:pt idx="1966">
                  <c:v>0.56729535256268426</c:v>
                </c:pt>
                <c:pt idx="1967">
                  <c:v>0.5684016745289282</c:v>
                </c:pt>
                <c:pt idx="1968">
                  <c:v>0.5684016745289282</c:v>
                </c:pt>
                <c:pt idx="1969">
                  <c:v>0.5684016745289282</c:v>
                </c:pt>
                <c:pt idx="1970">
                  <c:v>0.5684016745289282</c:v>
                </c:pt>
                <c:pt idx="1971">
                  <c:v>0.5684016745289282</c:v>
                </c:pt>
                <c:pt idx="1972">
                  <c:v>0.53016718737553892</c:v>
                </c:pt>
                <c:pt idx="1973">
                  <c:v>0.53016718737553892</c:v>
                </c:pt>
                <c:pt idx="1974">
                  <c:v>0.53016718737553892</c:v>
                </c:pt>
                <c:pt idx="1975">
                  <c:v>0.53016718737553892</c:v>
                </c:pt>
                <c:pt idx="1976">
                  <c:v>0.53016718737553892</c:v>
                </c:pt>
                <c:pt idx="1977">
                  <c:v>0.5514793737332615</c:v>
                </c:pt>
                <c:pt idx="1978">
                  <c:v>0.5514793737332615</c:v>
                </c:pt>
                <c:pt idx="1979">
                  <c:v>0.5514793737332615</c:v>
                </c:pt>
                <c:pt idx="1980">
                  <c:v>0.5514793737332615</c:v>
                </c:pt>
                <c:pt idx="1981">
                  <c:v>0.5514793737332615</c:v>
                </c:pt>
                <c:pt idx="1982">
                  <c:v>0.54646109729437908</c:v>
                </c:pt>
                <c:pt idx="1983">
                  <c:v>0.54646109729437908</c:v>
                </c:pt>
                <c:pt idx="1984">
                  <c:v>0.54646109729437908</c:v>
                </c:pt>
                <c:pt idx="1985">
                  <c:v>0.54646109729437908</c:v>
                </c:pt>
                <c:pt idx="1986">
                  <c:v>0.54646109729437908</c:v>
                </c:pt>
                <c:pt idx="1987">
                  <c:v>0.54323948772867703</c:v>
                </c:pt>
                <c:pt idx="1988">
                  <c:v>0.54323948772867703</c:v>
                </c:pt>
                <c:pt idx="1989">
                  <c:v>0.54323948772867703</c:v>
                </c:pt>
                <c:pt idx="1990">
                  <c:v>0.54323948772867703</c:v>
                </c:pt>
                <c:pt idx="1991">
                  <c:v>0.54323948772867703</c:v>
                </c:pt>
                <c:pt idx="1992">
                  <c:v>0.54415994760459174</c:v>
                </c:pt>
                <c:pt idx="1993">
                  <c:v>0.54415994760459174</c:v>
                </c:pt>
                <c:pt idx="1994">
                  <c:v>0.54415994760459174</c:v>
                </c:pt>
                <c:pt idx="1995">
                  <c:v>0.54415994760459174</c:v>
                </c:pt>
                <c:pt idx="1996">
                  <c:v>0.54415994760459174</c:v>
                </c:pt>
                <c:pt idx="1997">
                  <c:v>0.53220281979342765</c:v>
                </c:pt>
                <c:pt idx="1998">
                  <c:v>0.53220281979342765</c:v>
                </c:pt>
                <c:pt idx="1999">
                  <c:v>0.53220281979342765</c:v>
                </c:pt>
                <c:pt idx="2000">
                  <c:v>0.53220281979342765</c:v>
                </c:pt>
                <c:pt idx="2001">
                  <c:v>0.53220281979342765</c:v>
                </c:pt>
                <c:pt idx="2002">
                  <c:v>0.5014205174046571</c:v>
                </c:pt>
                <c:pt idx="2003">
                  <c:v>0.5014205174046571</c:v>
                </c:pt>
                <c:pt idx="2004">
                  <c:v>0.5014205174046571</c:v>
                </c:pt>
                <c:pt idx="2005">
                  <c:v>0.5014205174046571</c:v>
                </c:pt>
                <c:pt idx="2006">
                  <c:v>0.5014205174046571</c:v>
                </c:pt>
                <c:pt idx="2007">
                  <c:v>0.5238478763043537</c:v>
                </c:pt>
                <c:pt idx="2008">
                  <c:v>0.5238478763043537</c:v>
                </c:pt>
                <c:pt idx="2009">
                  <c:v>0.5238478763043537</c:v>
                </c:pt>
                <c:pt idx="2010">
                  <c:v>0.5238478763043537</c:v>
                </c:pt>
                <c:pt idx="2011">
                  <c:v>0.5238478763043537</c:v>
                </c:pt>
                <c:pt idx="2012">
                  <c:v>0.51487339251418307</c:v>
                </c:pt>
                <c:pt idx="2013">
                  <c:v>0.51487339251418307</c:v>
                </c:pt>
                <c:pt idx="2014">
                  <c:v>0.51487339251418307</c:v>
                </c:pt>
                <c:pt idx="2015">
                  <c:v>0.51487339251418307</c:v>
                </c:pt>
                <c:pt idx="2016">
                  <c:v>0.51487339251418307</c:v>
                </c:pt>
                <c:pt idx="2017">
                  <c:v>0.54775328135095203</c:v>
                </c:pt>
                <c:pt idx="2018">
                  <c:v>0.54775328135095203</c:v>
                </c:pt>
                <c:pt idx="2019">
                  <c:v>0.54775328135095203</c:v>
                </c:pt>
                <c:pt idx="2020">
                  <c:v>0.54775328135095203</c:v>
                </c:pt>
                <c:pt idx="2021">
                  <c:v>0.54775328135095203</c:v>
                </c:pt>
                <c:pt idx="2022">
                  <c:v>0.52819350898775963</c:v>
                </c:pt>
                <c:pt idx="2023">
                  <c:v>0.52819350898775963</c:v>
                </c:pt>
                <c:pt idx="2024">
                  <c:v>0.52819350898775963</c:v>
                </c:pt>
                <c:pt idx="2025">
                  <c:v>0.52819350898775963</c:v>
                </c:pt>
                <c:pt idx="2026">
                  <c:v>0.52819350898775963</c:v>
                </c:pt>
                <c:pt idx="2027">
                  <c:v>0.54586810872047242</c:v>
                </c:pt>
                <c:pt idx="2028">
                  <c:v>0.54586810872047242</c:v>
                </c:pt>
                <c:pt idx="2029">
                  <c:v>0.54586810872047242</c:v>
                </c:pt>
                <c:pt idx="2030">
                  <c:v>0.54586810872047242</c:v>
                </c:pt>
                <c:pt idx="2031">
                  <c:v>0.54586810872047242</c:v>
                </c:pt>
                <c:pt idx="2032">
                  <c:v>0.50859833432164758</c:v>
                </c:pt>
                <c:pt idx="2033">
                  <c:v>0.50859833432164758</c:v>
                </c:pt>
                <c:pt idx="2034">
                  <c:v>0.50859833432164758</c:v>
                </c:pt>
                <c:pt idx="2035">
                  <c:v>0.50859833432164758</c:v>
                </c:pt>
                <c:pt idx="2036">
                  <c:v>0.50859833432164758</c:v>
                </c:pt>
                <c:pt idx="2037">
                  <c:v>0.52673316399231784</c:v>
                </c:pt>
                <c:pt idx="2038">
                  <c:v>0.52673316399231784</c:v>
                </c:pt>
                <c:pt idx="2039">
                  <c:v>0.52673316399231784</c:v>
                </c:pt>
                <c:pt idx="2040">
                  <c:v>0.52673316399231784</c:v>
                </c:pt>
                <c:pt idx="2041">
                  <c:v>0.52673316399231784</c:v>
                </c:pt>
                <c:pt idx="2042">
                  <c:v>0.54695672953525643</c:v>
                </c:pt>
                <c:pt idx="2043">
                  <c:v>0.54695672953525643</c:v>
                </c:pt>
                <c:pt idx="2044">
                  <c:v>0.54695672953525643</c:v>
                </c:pt>
                <c:pt idx="2045">
                  <c:v>0.54695672953525643</c:v>
                </c:pt>
                <c:pt idx="2046">
                  <c:v>0.54695672953525643</c:v>
                </c:pt>
                <c:pt idx="2047">
                  <c:v>0.49169373467744082</c:v>
                </c:pt>
                <c:pt idx="2048">
                  <c:v>0.49169373467744082</c:v>
                </c:pt>
                <c:pt idx="2049">
                  <c:v>0.49169373467744082</c:v>
                </c:pt>
                <c:pt idx="2050">
                  <c:v>0.49169373467744082</c:v>
                </c:pt>
                <c:pt idx="2051">
                  <c:v>0.49169373467744082</c:v>
                </c:pt>
                <c:pt idx="2052">
                  <c:v>0.52437891084815091</c:v>
                </c:pt>
                <c:pt idx="2053">
                  <c:v>0.52437891084815091</c:v>
                </c:pt>
                <c:pt idx="2054">
                  <c:v>0.52437891084815091</c:v>
                </c:pt>
                <c:pt idx="2055">
                  <c:v>0.52437891084815091</c:v>
                </c:pt>
                <c:pt idx="2056">
                  <c:v>0.52437891084815091</c:v>
                </c:pt>
                <c:pt idx="2057">
                  <c:v>0.51478488675688361</c:v>
                </c:pt>
                <c:pt idx="2058">
                  <c:v>0.51478488675688361</c:v>
                </c:pt>
                <c:pt idx="2059">
                  <c:v>0.51478488675688361</c:v>
                </c:pt>
                <c:pt idx="2060">
                  <c:v>0.51478488675688361</c:v>
                </c:pt>
                <c:pt idx="2061">
                  <c:v>0.51478488675688361</c:v>
                </c:pt>
                <c:pt idx="2062">
                  <c:v>0.5155017833910096</c:v>
                </c:pt>
                <c:pt idx="2063">
                  <c:v>0.5155017833910096</c:v>
                </c:pt>
                <c:pt idx="2064">
                  <c:v>0.5155017833910096</c:v>
                </c:pt>
                <c:pt idx="2065">
                  <c:v>0.5155017833910096</c:v>
                </c:pt>
                <c:pt idx="2066">
                  <c:v>0.5155017833910096</c:v>
                </c:pt>
                <c:pt idx="2067">
                  <c:v>0.50639454096488978</c:v>
                </c:pt>
                <c:pt idx="2068">
                  <c:v>0.50639454096488978</c:v>
                </c:pt>
                <c:pt idx="2069">
                  <c:v>0.50639454096488978</c:v>
                </c:pt>
                <c:pt idx="2070">
                  <c:v>0.50639454096488978</c:v>
                </c:pt>
                <c:pt idx="2071">
                  <c:v>0.50639454096488978</c:v>
                </c:pt>
                <c:pt idx="2072">
                  <c:v>0.52003327816474476</c:v>
                </c:pt>
                <c:pt idx="2073">
                  <c:v>0.52003327816474476</c:v>
                </c:pt>
                <c:pt idx="2074">
                  <c:v>0.52003327816474476</c:v>
                </c:pt>
                <c:pt idx="2075">
                  <c:v>0.52003327816474476</c:v>
                </c:pt>
                <c:pt idx="2076">
                  <c:v>0.52003327816474476</c:v>
                </c:pt>
                <c:pt idx="2077">
                  <c:v>0.51881189871401134</c:v>
                </c:pt>
                <c:pt idx="2078">
                  <c:v>0.51881189871401134</c:v>
                </c:pt>
                <c:pt idx="2079">
                  <c:v>0.51881189871401134</c:v>
                </c:pt>
                <c:pt idx="2080">
                  <c:v>0.51881189871401134</c:v>
                </c:pt>
                <c:pt idx="2081">
                  <c:v>0.51881189871401134</c:v>
                </c:pt>
                <c:pt idx="2082">
                  <c:v>0.51981201377149588</c:v>
                </c:pt>
                <c:pt idx="2083">
                  <c:v>0.51981201377149588</c:v>
                </c:pt>
                <c:pt idx="2084">
                  <c:v>0.51981201377149588</c:v>
                </c:pt>
                <c:pt idx="2085">
                  <c:v>0.51981201377149588</c:v>
                </c:pt>
                <c:pt idx="2086">
                  <c:v>0.51981201377149588</c:v>
                </c:pt>
                <c:pt idx="2087">
                  <c:v>0.50042040234717278</c:v>
                </c:pt>
                <c:pt idx="2088">
                  <c:v>0.50042040234717278</c:v>
                </c:pt>
                <c:pt idx="2089">
                  <c:v>0.50042040234717278</c:v>
                </c:pt>
                <c:pt idx="2090">
                  <c:v>0.50042040234717278</c:v>
                </c:pt>
                <c:pt idx="2091">
                  <c:v>0.50042040234717278</c:v>
                </c:pt>
                <c:pt idx="2092">
                  <c:v>0.48412649242833261</c:v>
                </c:pt>
                <c:pt idx="2093">
                  <c:v>0.48412649242833261</c:v>
                </c:pt>
                <c:pt idx="2094">
                  <c:v>0.48412649242833261</c:v>
                </c:pt>
                <c:pt idx="2095">
                  <c:v>0.48412649242833261</c:v>
                </c:pt>
                <c:pt idx="2096">
                  <c:v>0.48412649242833261</c:v>
                </c:pt>
                <c:pt idx="2097">
                  <c:v>0.52132546222131748</c:v>
                </c:pt>
                <c:pt idx="2098">
                  <c:v>0.52132546222131748</c:v>
                </c:pt>
                <c:pt idx="2099">
                  <c:v>0.52132546222131748</c:v>
                </c:pt>
                <c:pt idx="2100">
                  <c:v>0.52132546222131748</c:v>
                </c:pt>
                <c:pt idx="2101">
                  <c:v>0.52132546222131748</c:v>
                </c:pt>
                <c:pt idx="2102">
                  <c:v>0.52899006080345523</c:v>
                </c:pt>
                <c:pt idx="2103">
                  <c:v>0.52899006080345523</c:v>
                </c:pt>
                <c:pt idx="2104">
                  <c:v>0.52899006080345523</c:v>
                </c:pt>
                <c:pt idx="2105">
                  <c:v>0.52899006080345523</c:v>
                </c:pt>
                <c:pt idx="2106">
                  <c:v>0.52899006080345523</c:v>
                </c:pt>
                <c:pt idx="2107">
                  <c:v>0.50350925327692586</c:v>
                </c:pt>
                <c:pt idx="2108">
                  <c:v>0.50350925327692586</c:v>
                </c:pt>
                <c:pt idx="2109">
                  <c:v>0.50350925327692586</c:v>
                </c:pt>
                <c:pt idx="2110">
                  <c:v>0.50350925327692586</c:v>
                </c:pt>
                <c:pt idx="2111">
                  <c:v>0.50350925327692586</c:v>
                </c:pt>
                <c:pt idx="2112">
                  <c:v>0.53080442882809553</c:v>
                </c:pt>
                <c:pt idx="2113">
                  <c:v>0.53080442882809553</c:v>
                </c:pt>
                <c:pt idx="2114">
                  <c:v>0.53080442882809553</c:v>
                </c:pt>
                <c:pt idx="2115">
                  <c:v>0.53080442882809553</c:v>
                </c:pt>
                <c:pt idx="2116">
                  <c:v>0.53080442882809553</c:v>
                </c:pt>
                <c:pt idx="2117">
                  <c:v>0.51764362271765774</c:v>
                </c:pt>
                <c:pt idx="2118">
                  <c:v>0.51764362271765774</c:v>
                </c:pt>
                <c:pt idx="2119">
                  <c:v>0.51764362271765774</c:v>
                </c:pt>
                <c:pt idx="2120">
                  <c:v>0.51764362271765774</c:v>
                </c:pt>
                <c:pt idx="2121">
                  <c:v>0.51764362271765774</c:v>
                </c:pt>
                <c:pt idx="2122">
                  <c:v>0.51231557612822742</c:v>
                </c:pt>
                <c:pt idx="2123">
                  <c:v>0.51231557612822742</c:v>
                </c:pt>
                <c:pt idx="2124">
                  <c:v>0.51231557612822742</c:v>
                </c:pt>
                <c:pt idx="2125">
                  <c:v>0.51231557612822742</c:v>
                </c:pt>
                <c:pt idx="2126">
                  <c:v>0.51231557612822742</c:v>
                </c:pt>
                <c:pt idx="2127">
                  <c:v>0.54221282094400247</c:v>
                </c:pt>
                <c:pt idx="2128">
                  <c:v>0.54221282094400247</c:v>
                </c:pt>
                <c:pt idx="2129">
                  <c:v>0.54221282094400247</c:v>
                </c:pt>
                <c:pt idx="2130">
                  <c:v>0.54221282094400247</c:v>
                </c:pt>
                <c:pt idx="2131">
                  <c:v>0.54221282094400247</c:v>
                </c:pt>
                <c:pt idx="2132">
                  <c:v>0.52075017479887054</c:v>
                </c:pt>
                <c:pt idx="2133">
                  <c:v>0.52075017479887054</c:v>
                </c:pt>
                <c:pt idx="2134">
                  <c:v>0.52075017479887054</c:v>
                </c:pt>
                <c:pt idx="2135">
                  <c:v>0.52075017479887054</c:v>
                </c:pt>
                <c:pt idx="2136">
                  <c:v>0.52075017479887054</c:v>
                </c:pt>
                <c:pt idx="2137">
                  <c:v>0.51463442696947426</c:v>
                </c:pt>
                <c:pt idx="2138">
                  <c:v>0.51463442696947426</c:v>
                </c:pt>
                <c:pt idx="2139">
                  <c:v>0.51463442696947426</c:v>
                </c:pt>
                <c:pt idx="2140">
                  <c:v>0.51463442696947426</c:v>
                </c:pt>
                <c:pt idx="2141">
                  <c:v>0.51463442696947426</c:v>
                </c:pt>
                <c:pt idx="2142">
                  <c:v>0.52469753157442889</c:v>
                </c:pt>
                <c:pt idx="2143">
                  <c:v>0.52469753157442889</c:v>
                </c:pt>
                <c:pt idx="2144">
                  <c:v>0.52469753157442889</c:v>
                </c:pt>
                <c:pt idx="2145">
                  <c:v>0.52469753157442889</c:v>
                </c:pt>
                <c:pt idx="2146">
                  <c:v>0.52469753157442889</c:v>
                </c:pt>
                <c:pt idx="2147">
                  <c:v>0.50567764433076401</c:v>
                </c:pt>
                <c:pt idx="2148">
                  <c:v>0.50567764433076401</c:v>
                </c:pt>
                <c:pt idx="2149">
                  <c:v>0.50567764433076401</c:v>
                </c:pt>
                <c:pt idx="2150">
                  <c:v>0.50567764433076401</c:v>
                </c:pt>
                <c:pt idx="2151">
                  <c:v>0.50567764433076401</c:v>
                </c:pt>
                <c:pt idx="2152">
                  <c:v>0.50696982838733673</c:v>
                </c:pt>
                <c:pt idx="2153">
                  <c:v>0.50696982838733673</c:v>
                </c:pt>
                <c:pt idx="2154">
                  <c:v>0.50696982838733673</c:v>
                </c:pt>
                <c:pt idx="2155">
                  <c:v>0.50696982838733673</c:v>
                </c:pt>
                <c:pt idx="2156">
                  <c:v>0.50696982838733673</c:v>
                </c:pt>
                <c:pt idx="2157">
                  <c:v>0.51308557621673301</c:v>
                </c:pt>
                <c:pt idx="2158">
                  <c:v>0.51308557621673301</c:v>
                </c:pt>
                <c:pt idx="2159">
                  <c:v>0.51308557621673301</c:v>
                </c:pt>
                <c:pt idx="2160">
                  <c:v>0.51308557621673301</c:v>
                </c:pt>
                <c:pt idx="2161">
                  <c:v>0.51308557621673301</c:v>
                </c:pt>
                <c:pt idx="2162">
                  <c:v>0.50302247161177838</c:v>
                </c:pt>
                <c:pt idx="2163">
                  <c:v>0.50302247161177838</c:v>
                </c:pt>
                <c:pt idx="2164">
                  <c:v>0.50302247161177838</c:v>
                </c:pt>
                <c:pt idx="2165">
                  <c:v>0.50302247161177838</c:v>
                </c:pt>
                <c:pt idx="2166">
                  <c:v>0.50302247161177838</c:v>
                </c:pt>
                <c:pt idx="2167">
                  <c:v>0.51703293299229114</c:v>
                </c:pt>
                <c:pt idx="2168">
                  <c:v>0.51703293299229114</c:v>
                </c:pt>
                <c:pt idx="2169">
                  <c:v>0.51703293299229114</c:v>
                </c:pt>
                <c:pt idx="2170">
                  <c:v>0.51703293299229114</c:v>
                </c:pt>
                <c:pt idx="2171">
                  <c:v>0.51703293299229114</c:v>
                </c:pt>
                <c:pt idx="2172">
                  <c:v>0.52957419880163203</c:v>
                </c:pt>
                <c:pt idx="2173">
                  <c:v>0.52957419880163203</c:v>
                </c:pt>
                <c:pt idx="2174">
                  <c:v>0.52957419880163203</c:v>
                </c:pt>
                <c:pt idx="2175">
                  <c:v>0.52957419880163203</c:v>
                </c:pt>
                <c:pt idx="2176">
                  <c:v>0.52957419880163203</c:v>
                </c:pt>
                <c:pt idx="2177">
                  <c:v>0.49527821784807102</c:v>
                </c:pt>
                <c:pt idx="2178">
                  <c:v>0.49527821784807102</c:v>
                </c:pt>
                <c:pt idx="2179">
                  <c:v>0.49527821784807102</c:v>
                </c:pt>
                <c:pt idx="2180">
                  <c:v>0.49527821784807102</c:v>
                </c:pt>
                <c:pt idx="2181">
                  <c:v>0.49527821784807102</c:v>
                </c:pt>
                <c:pt idx="2182">
                  <c:v>0.52717569277881515</c:v>
                </c:pt>
                <c:pt idx="2183">
                  <c:v>0.52717569277881515</c:v>
                </c:pt>
                <c:pt idx="2184">
                  <c:v>0.52717569277881515</c:v>
                </c:pt>
                <c:pt idx="2185">
                  <c:v>0.52717569277881515</c:v>
                </c:pt>
                <c:pt idx="2186">
                  <c:v>0.52717569277881515</c:v>
                </c:pt>
                <c:pt idx="2187">
                  <c:v>0.52164408294759568</c:v>
                </c:pt>
                <c:pt idx="2188">
                  <c:v>0.52164408294759568</c:v>
                </c:pt>
                <c:pt idx="2189">
                  <c:v>0.52164408294759568</c:v>
                </c:pt>
                <c:pt idx="2190">
                  <c:v>0.52164408294759568</c:v>
                </c:pt>
                <c:pt idx="2191">
                  <c:v>0.52164408294759568</c:v>
                </c:pt>
                <c:pt idx="2192">
                  <c:v>0.51810385265561543</c:v>
                </c:pt>
                <c:pt idx="2193">
                  <c:v>0.51810385265561543</c:v>
                </c:pt>
                <c:pt idx="2194">
                  <c:v>0.51810385265561543</c:v>
                </c:pt>
                <c:pt idx="2195">
                  <c:v>0.51810385265561543</c:v>
                </c:pt>
                <c:pt idx="2196">
                  <c:v>0.51810385265561543</c:v>
                </c:pt>
                <c:pt idx="2197">
                  <c:v>0.52350270385088549</c:v>
                </c:pt>
                <c:pt idx="2198">
                  <c:v>0.52350270385088549</c:v>
                </c:pt>
                <c:pt idx="2199">
                  <c:v>0.52350270385088549</c:v>
                </c:pt>
                <c:pt idx="2200">
                  <c:v>0.52350270385088549</c:v>
                </c:pt>
                <c:pt idx="2201">
                  <c:v>0.52350270385088549</c:v>
                </c:pt>
                <c:pt idx="2202">
                  <c:v>0.53921247577154907</c:v>
                </c:pt>
                <c:pt idx="2203">
                  <c:v>0.53921247577154907</c:v>
                </c:pt>
                <c:pt idx="2204">
                  <c:v>0.53921247577154907</c:v>
                </c:pt>
                <c:pt idx="2205">
                  <c:v>0.53921247577154907</c:v>
                </c:pt>
                <c:pt idx="2206">
                  <c:v>0.53921247577154907</c:v>
                </c:pt>
                <c:pt idx="2207">
                  <c:v>0.52920247462097425</c:v>
                </c:pt>
                <c:pt idx="2208">
                  <c:v>0.52920247462097425</c:v>
                </c:pt>
                <c:pt idx="2209">
                  <c:v>0.52920247462097425</c:v>
                </c:pt>
                <c:pt idx="2210">
                  <c:v>0.52920247462097425</c:v>
                </c:pt>
                <c:pt idx="2211">
                  <c:v>0.52920247462097425</c:v>
                </c:pt>
                <c:pt idx="2212">
                  <c:v>0.51816580668572487</c:v>
                </c:pt>
                <c:pt idx="2213">
                  <c:v>0.51816580668572487</c:v>
                </c:pt>
                <c:pt idx="2214">
                  <c:v>0.51816580668572487</c:v>
                </c:pt>
                <c:pt idx="2215">
                  <c:v>0.51816580668572487</c:v>
                </c:pt>
                <c:pt idx="2216">
                  <c:v>0.51816580668572487</c:v>
                </c:pt>
                <c:pt idx="2217">
                  <c:v>0.53744236062555895</c:v>
                </c:pt>
                <c:pt idx="2218">
                  <c:v>0.53744236062555895</c:v>
                </c:pt>
                <c:pt idx="2219">
                  <c:v>0.53744236062555895</c:v>
                </c:pt>
                <c:pt idx="2220">
                  <c:v>0.53744236062555895</c:v>
                </c:pt>
                <c:pt idx="2221">
                  <c:v>0.53744236062555895</c:v>
                </c:pt>
                <c:pt idx="2222">
                  <c:v>0.54530167187375533</c:v>
                </c:pt>
                <c:pt idx="2223">
                  <c:v>0.54530167187375533</c:v>
                </c:pt>
                <c:pt idx="2224">
                  <c:v>0.54530167187375533</c:v>
                </c:pt>
                <c:pt idx="2225">
                  <c:v>0.54530167187375533</c:v>
                </c:pt>
                <c:pt idx="2226">
                  <c:v>0.54530167187375533</c:v>
                </c:pt>
                <c:pt idx="2227">
                  <c:v>0.53804419977519546</c:v>
                </c:pt>
                <c:pt idx="2228">
                  <c:v>0.53804419977519546</c:v>
                </c:pt>
                <c:pt idx="2229">
                  <c:v>0.53804419977519546</c:v>
                </c:pt>
                <c:pt idx="2230">
                  <c:v>0.53804419977519546</c:v>
                </c:pt>
                <c:pt idx="2231">
                  <c:v>0.53804419977519546</c:v>
                </c:pt>
                <c:pt idx="2232">
                  <c:v>0.53544213051058986</c:v>
                </c:pt>
                <c:pt idx="2233">
                  <c:v>0.53544213051058986</c:v>
                </c:pt>
                <c:pt idx="2234">
                  <c:v>0.53544213051058986</c:v>
                </c:pt>
                <c:pt idx="2235">
                  <c:v>0.53544213051058986</c:v>
                </c:pt>
                <c:pt idx="2236">
                  <c:v>0.53544213051058986</c:v>
                </c:pt>
                <c:pt idx="2237">
                  <c:v>0.54323063715294695</c:v>
                </c:pt>
                <c:pt idx="2238">
                  <c:v>0.54323063715294695</c:v>
                </c:pt>
                <c:pt idx="2239">
                  <c:v>0.54323063715294695</c:v>
                </c:pt>
                <c:pt idx="2240">
                  <c:v>0.54323063715294695</c:v>
                </c:pt>
                <c:pt idx="2241">
                  <c:v>0.54323063715294695</c:v>
                </c:pt>
                <c:pt idx="2242">
                  <c:v>0.53259224512554559</c:v>
                </c:pt>
                <c:pt idx="2243">
                  <c:v>0.53259224512554559</c:v>
                </c:pt>
                <c:pt idx="2244">
                  <c:v>0.53259224512554559</c:v>
                </c:pt>
                <c:pt idx="2245">
                  <c:v>0.53259224512554559</c:v>
                </c:pt>
                <c:pt idx="2246">
                  <c:v>0.53259224512554559</c:v>
                </c:pt>
                <c:pt idx="2247">
                  <c:v>0.542469487640171</c:v>
                </c:pt>
                <c:pt idx="2248">
                  <c:v>0.542469487640171</c:v>
                </c:pt>
                <c:pt idx="2249">
                  <c:v>0.542469487640171</c:v>
                </c:pt>
                <c:pt idx="2250">
                  <c:v>0.542469487640171</c:v>
                </c:pt>
                <c:pt idx="2251">
                  <c:v>0.542469487640171</c:v>
                </c:pt>
                <c:pt idx="2252">
                  <c:v>0.53470753272500371</c:v>
                </c:pt>
                <c:pt idx="2253">
                  <c:v>0.53470753272500371</c:v>
                </c:pt>
                <c:pt idx="2254">
                  <c:v>0.53470753272500371</c:v>
                </c:pt>
                <c:pt idx="2255">
                  <c:v>0.53470753272500371</c:v>
                </c:pt>
                <c:pt idx="2256">
                  <c:v>0.53470753272500371</c:v>
                </c:pt>
                <c:pt idx="2257">
                  <c:v>0.54588580987193214</c:v>
                </c:pt>
                <c:pt idx="2258">
                  <c:v>0.54588580987193214</c:v>
                </c:pt>
                <c:pt idx="2259">
                  <c:v>0.54588580987193214</c:v>
                </c:pt>
                <c:pt idx="2260">
                  <c:v>0.54588580987193214</c:v>
                </c:pt>
                <c:pt idx="2261">
                  <c:v>0.54588580987193214</c:v>
                </c:pt>
                <c:pt idx="2262">
                  <c:v>0.54392983263561301</c:v>
                </c:pt>
                <c:pt idx="2263">
                  <c:v>0.54392983263561301</c:v>
                </c:pt>
                <c:pt idx="2264">
                  <c:v>0.54392983263561301</c:v>
                </c:pt>
                <c:pt idx="2265">
                  <c:v>0.54392983263561301</c:v>
                </c:pt>
                <c:pt idx="2266">
                  <c:v>0.54392983263561301</c:v>
                </c:pt>
                <c:pt idx="2267">
                  <c:v>0.57220742209280728</c:v>
                </c:pt>
                <c:pt idx="2268">
                  <c:v>0.57220742209280728</c:v>
                </c:pt>
                <c:pt idx="2269">
                  <c:v>0.57220742209280728</c:v>
                </c:pt>
                <c:pt idx="2270">
                  <c:v>0.57220742209280728</c:v>
                </c:pt>
                <c:pt idx="2271">
                  <c:v>0.57220742209280728</c:v>
                </c:pt>
                <c:pt idx="2272">
                  <c:v>0.56441891545044998</c:v>
                </c:pt>
                <c:pt idx="2273">
                  <c:v>0.56441891545044998</c:v>
                </c:pt>
                <c:pt idx="2274">
                  <c:v>0.56441891545044998</c:v>
                </c:pt>
                <c:pt idx="2275">
                  <c:v>0.56441891545044998</c:v>
                </c:pt>
                <c:pt idx="2276">
                  <c:v>0.56441891545044998</c:v>
                </c:pt>
                <c:pt idx="2277">
                  <c:v>0.56356926018037501</c:v>
                </c:pt>
                <c:pt idx="2278">
                  <c:v>0.56356926018037501</c:v>
                </c:pt>
                <c:pt idx="2279">
                  <c:v>0.56356926018037501</c:v>
                </c:pt>
                <c:pt idx="2280">
                  <c:v>0.56356926018037501</c:v>
                </c:pt>
                <c:pt idx="2281">
                  <c:v>0.56356926018037501</c:v>
                </c:pt>
                <c:pt idx="2282">
                  <c:v>0.54403603954437241</c:v>
                </c:pt>
                <c:pt idx="2283">
                  <c:v>0.54403603954437241</c:v>
                </c:pt>
                <c:pt idx="2284">
                  <c:v>0.54403603954437241</c:v>
                </c:pt>
                <c:pt idx="2285">
                  <c:v>0.54403603954437241</c:v>
                </c:pt>
                <c:pt idx="2286">
                  <c:v>0.54403603954437241</c:v>
                </c:pt>
                <c:pt idx="2287">
                  <c:v>0.5511873047341731</c:v>
                </c:pt>
                <c:pt idx="2288">
                  <c:v>0.5511873047341731</c:v>
                </c:pt>
                <c:pt idx="2289">
                  <c:v>0.5511873047341731</c:v>
                </c:pt>
                <c:pt idx="2290">
                  <c:v>0.5511873047341731</c:v>
                </c:pt>
                <c:pt idx="2291">
                  <c:v>0.5511873047341731</c:v>
                </c:pt>
                <c:pt idx="2292">
                  <c:v>0.56906546770867439</c:v>
                </c:pt>
                <c:pt idx="2293">
                  <c:v>0.56906546770867439</c:v>
                </c:pt>
                <c:pt idx="2294">
                  <c:v>0.56906546770867439</c:v>
                </c:pt>
                <c:pt idx="2295">
                  <c:v>0.56906546770867439</c:v>
                </c:pt>
                <c:pt idx="2296">
                  <c:v>0.56906546770867439</c:v>
                </c:pt>
                <c:pt idx="2297">
                  <c:v>0.56102914494587885</c:v>
                </c:pt>
                <c:pt idx="2298">
                  <c:v>0.56102914494587885</c:v>
                </c:pt>
                <c:pt idx="2299">
                  <c:v>0.56102914494587885</c:v>
                </c:pt>
                <c:pt idx="2300">
                  <c:v>0.56102914494587885</c:v>
                </c:pt>
                <c:pt idx="2301">
                  <c:v>0.56102914494587885</c:v>
                </c:pt>
                <c:pt idx="2302">
                  <c:v>0.57228707727437667</c:v>
                </c:pt>
                <c:pt idx="2303">
                  <c:v>0.57228707727437667</c:v>
                </c:pt>
                <c:pt idx="2304">
                  <c:v>0.57228707727437667</c:v>
                </c:pt>
                <c:pt idx="2305">
                  <c:v>0.57228707727437667</c:v>
                </c:pt>
                <c:pt idx="2306">
                  <c:v>0.57228707727437667</c:v>
                </c:pt>
                <c:pt idx="2307">
                  <c:v>0.55743581119951857</c:v>
                </c:pt>
                <c:pt idx="2308">
                  <c:v>0.55743581119951857</c:v>
                </c:pt>
                <c:pt idx="2309">
                  <c:v>0.55743581119951857</c:v>
                </c:pt>
                <c:pt idx="2310">
                  <c:v>0.55743581119951857</c:v>
                </c:pt>
                <c:pt idx="2311">
                  <c:v>0.55743581119951857</c:v>
                </c:pt>
                <c:pt idx="2312">
                  <c:v>0.55670121341393264</c:v>
                </c:pt>
                <c:pt idx="2313">
                  <c:v>0.55670121341393264</c:v>
                </c:pt>
                <c:pt idx="2314">
                  <c:v>0.55670121341393264</c:v>
                </c:pt>
                <c:pt idx="2315">
                  <c:v>0.55670121341393264</c:v>
                </c:pt>
                <c:pt idx="2316">
                  <c:v>0.55670121341393264</c:v>
                </c:pt>
                <c:pt idx="2317">
                  <c:v>0.56495880056997705</c:v>
                </c:pt>
                <c:pt idx="2318">
                  <c:v>0.56495880056997705</c:v>
                </c:pt>
                <c:pt idx="2319">
                  <c:v>0.56495880056997705</c:v>
                </c:pt>
                <c:pt idx="2320">
                  <c:v>0.56495880056997705</c:v>
                </c:pt>
                <c:pt idx="2321">
                  <c:v>0.56495880056997705</c:v>
                </c:pt>
                <c:pt idx="2322">
                  <c:v>0.58281926239301862</c:v>
                </c:pt>
                <c:pt idx="2323">
                  <c:v>0.58281926239301862</c:v>
                </c:pt>
                <c:pt idx="2324">
                  <c:v>0.58281926239301862</c:v>
                </c:pt>
                <c:pt idx="2325">
                  <c:v>0.58281926239301862</c:v>
                </c:pt>
                <c:pt idx="2326">
                  <c:v>0.58281926239301862</c:v>
                </c:pt>
                <c:pt idx="2327">
                  <c:v>0.58120845761016771</c:v>
                </c:pt>
                <c:pt idx="2328">
                  <c:v>0.58120845761016771</c:v>
                </c:pt>
                <c:pt idx="2329">
                  <c:v>0.58120845761016771</c:v>
                </c:pt>
                <c:pt idx="2330">
                  <c:v>0.58120845761016771</c:v>
                </c:pt>
                <c:pt idx="2331">
                  <c:v>0.58120845761016771</c:v>
                </c:pt>
                <c:pt idx="2332">
                  <c:v>0.56027684600883298</c:v>
                </c:pt>
                <c:pt idx="2333">
                  <c:v>0.56027684600883298</c:v>
                </c:pt>
                <c:pt idx="2334">
                  <c:v>0.56027684600883298</c:v>
                </c:pt>
                <c:pt idx="2335">
                  <c:v>0.56027684600883298</c:v>
                </c:pt>
                <c:pt idx="2336">
                  <c:v>0.56027684600883298</c:v>
                </c:pt>
                <c:pt idx="2337">
                  <c:v>0.57569454893040795</c:v>
                </c:pt>
                <c:pt idx="2338">
                  <c:v>0.57569454893040795</c:v>
                </c:pt>
                <c:pt idx="2339">
                  <c:v>0.57569454893040795</c:v>
                </c:pt>
                <c:pt idx="2340">
                  <c:v>0.57569454893040795</c:v>
                </c:pt>
                <c:pt idx="2341">
                  <c:v>0.57569454893040795</c:v>
                </c:pt>
                <c:pt idx="2342">
                  <c:v>0.57639374441307401</c:v>
                </c:pt>
                <c:pt idx="2343">
                  <c:v>0.57639374441307401</c:v>
                </c:pt>
                <c:pt idx="2344">
                  <c:v>0.57639374441307401</c:v>
                </c:pt>
                <c:pt idx="2345">
                  <c:v>0.57639374441307401</c:v>
                </c:pt>
                <c:pt idx="2346">
                  <c:v>0.57639374441307401</c:v>
                </c:pt>
                <c:pt idx="2347">
                  <c:v>0.5801463885225735</c:v>
                </c:pt>
                <c:pt idx="2348">
                  <c:v>0.5801463885225735</c:v>
                </c:pt>
                <c:pt idx="2349">
                  <c:v>0.5801463885225735</c:v>
                </c:pt>
                <c:pt idx="2350">
                  <c:v>0.5801463885225735</c:v>
                </c:pt>
                <c:pt idx="2351">
                  <c:v>0.5801463885225735</c:v>
                </c:pt>
                <c:pt idx="2352">
                  <c:v>0.58697903298609577</c:v>
                </c:pt>
                <c:pt idx="2353">
                  <c:v>0.58697903298609577</c:v>
                </c:pt>
                <c:pt idx="2354">
                  <c:v>0.58697903298609577</c:v>
                </c:pt>
                <c:pt idx="2355">
                  <c:v>0.58697903298609577</c:v>
                </c:pt>
                <c:pt idx="2356">
                  <c:v>0.58697903298609577</c:v>
                </c:pt>
                <c:pt idx="2357">
                  <c:v>0.59819271243594385</c:v>
                </c:pt>
                <c:pt idx="2358">
                  <c:v>0.59819271243594385</c:v>
                </c:pt>
                <c:pt idx="2359">
                  <c:v>0.59819271243594385</c:v>
                </c:pt>
                <c:pt idx="2360">
                  <c:v>0.59819271243594385</c:v>
                </c:pt>
                <c:pt idx="2361">
                  <c:v>0.59819271243594385</c:v>
                </c:pt>
                <c:pt idx="2362">
                  <c:v>0.57381822687565842</c:v>
                </c:pt>
                <c:pt idx="2363">
                  <c:v>0.57381822687565842</c:v>
                </c:pt>
                <c:pt idx="2364">
                  <c:v>0.57381822687565842</c:v>
                </c:pt>
                <c:pt idx="2365">
                  <c:v>0.57381822687565842</c:v>
                </c:pt>
                <c:pt idx="2366">
                  <c:v>0.57381822687565842</c:v>
                </c:pt>
                <c:pt idx="2367">
                  <c:v>0.61405294414401657</c:v>
                </c:pt>
                <c:pt idx="2368">
                  <c:v>0.61405294414401657</c:v>
                </c:pt>
                <c:pt idx="2369">
                  <c:v>0.61405294414401657</c:v>
                </c:pt>
                <c:pt idx="2370">
                  <c:v>0.61405294414401657</c:v>
                </c:pt>
                <c:pt idx="2371">
                  <c:v>0.61405294414401657</c:v>
                </c:pt>
                <c:pt idx="2372">
                  <c:v>0.59799799976988499</c:v>
                </c:pt>
                <c:pt idx="2373">
                  <c:v>0.59799799976988499</c:v>
                </c:pt>
                <c:pt idx="2374">
                  <c:v>0.59799799976988499</c:v>
                </c:pt>
                <c:pt idx="2375">
                  <c:v>0.59799799976988499</c:v>
                </c:pt>
                <c:pt idx="2376">
                  <c:v>0.59799799976988499</c:v>
                </c:pt>
                <c:pt idx="2377">
                  <c:v>0.62218662323984186</c:v>
                </c:pt>
                <c:pt idx="2378">
                  <c:v>0.62218662323984186</c:v>
                </c:pt>
                <c:pt idx="2379">
                  <c:v>0.62218662323984186</c:v>
                </c:pt>
                <c:pt idx="2380">
                  <c:v>0.62218662323984186</c:v>
                </c:pt>
                <c:pt idx="2381">
                  <c:v>0.62218662323984186</c:v>
                </c:pt>
                <c:pt idx="2382">
                  <c:v>0.60030800003540241</c:v>
                </c:pt>
                <c:pt idx="2383">
                  <c:v>0.60030800003540241</c:v>
                </c:pt>
                <c:pt idx="2384">
                  <c:v>0.60030800003540241</c:v>
                </c:pt>
                <c:pt idx="2385">
                  <c:v>0.60030800003540241</c:v>
                </c:pt>
                <c:pt idx="2386">
                  <c:v>0.60030800003540241</c:v>
                </c:pt>
                <c:pt idx="2387">
                  <c:v>0.60545018453450417</c:v>
                </c:pt>
                <c:pt idx="2388">
                  <c:v>0.60545018453450417</c:v>
                </c:pt>
                <c:pt idx="2389">
                  <c:v>0.60545018453450417</c:v>
                </c:pt>
                <c:pt idx="2390">
                  <c:v>0.60545018453450417</c:v>
                </c:pt>
                <c:pt idx="2391">
                  <c:v>0.60545018453450417</c:v>
                </c:pt>
                <c:pt idx="2392">
                  <c:v>0.59091753918592405</c:v>
                </c:pt>
                <c:pt idx="2393">
                  <c:v>0.59091753918592405</c:v>
                </c:pt>
                <c:pt idx="2394">
                  <c:v>0.59091753918592405</c:v>
                </c:pt>
                <c:pt idx="2395">
                  <c:v>0.59091753918592405</c:v>
                </c:pt>
                <c:pt idx="2396">
                  <c:v>0.59091753918592405</c:v>
                </c:pt>
                <c:pt idx="2397">
                  <c:v>0.62484179595882727</c:v>
                </c:pt>
                <c:pt idx="2398">
                  <c:v>0.62484179595882727</c:v>
                </c:pt>
                <c:pt idx="2399">
                  <c:v>0.62484179595882727</c:v>
                </c:pt>
                <c:pt idx="2400">
                  <c:v>0.62484179595882727</c:v>
                </c:pt>
                <c:pt idx="2401">
                  <c:v>0.62484179595882727</c:v>
                </c:pt>
                <c:pt idx="2402">
                  <c:v>0.59598891907918605</c:v>
                </c:pt>
                <c:pt idx="2403">
                  <c:v>0.59598891907918605</c:v>
                </c:pt>
                <c:pt idx="2404">
                  <c:v>0.59598891907918605</c:v>
                </c:pt>
                <c:pt idx="2405">
                  <c:v>0.59598891907918605</c:v>
                </c:pt>
                <c:pt idx="2406">
                  <c:v>0.59598891907918605</c:v>
                </c:pt>
                <c:pt idx="2407">
                  <c:v>0.58880225158646593</c:v>
                </c:pt>
                <c:pt idx="2408">
                  <c:v>0.58880225158646593</c:v>
                </c:pt>
                <c:pt idx="2409">
                  <c:v>0.58880225158646593</c:v>
                </c:pt>
                <c:pt idx="2410">
                  <c:v>0.58880225158646593</c:v>
                </c:pt>
                <c:pt idx="2411">
                  <c:v>0.58880225158646593</c:v>
                </c:pt>
                <c:pt idx="2412">
                  <c:v>0.60566259835202296</c:v>
                </c:pt>
                <c:pt idx="2413">
                  <c:v>0.60566259835202296</c:v>
                </c:pt>
                <c:pt idx="2414">
                  <c:v>0.60566259835202296</c:v>
                </c:pt>
                <c:pt idx="2415">
                  <c:v>0.60566259835202296</c:v>
                </c:pt>
                <c:pt idx="2416">
                  <c:v>0.60566259835202296</c:v>
                </c:pt>
                <c:pt idx="2417">
                  <c:v>0.60794604689035014</c:v>
                </c:pt>
                <c:pt idx="2418">
                  <c:v>0.60794604689035014</c:v>
                </c:pt>
                <c:pt idx="2419">
                  <c:v>0.60794604689035014</c:v>
                </c:pt>
                <c:pt idx="2420">
                  <c:v>0.60794604689035014</c:v>
                </c:pt>
                <c:pt idx="2421">
                  <c:v>0.60794604689035014</c:v>
                </c:pt>
                <c:pt idx="2422">
                  <c:v>0.61438041544602484</c:v>
                </c:pt>
                <c:pt idx="2423">
                  <c:v>0.61438041544602484</c:v>
                </c:pt>
                <c:pt idx="2424">
                  <c:v>0.61438041544602484</c:v>
                </c:pt>
                <c:pt idx="2425">
                  <c:v>0.61438041544602484</c:v>
                </c:pt>
                <c:pt idx="2426">
                  <c:v>0.61438041544602484</c:v>
                </c:pt>
                <c:pt idx="2427">
                  <c:v>0.62631099152999914</c:v>
                </c:pt>
                <c:pt idx="2428">
                  <c:v>0.62631099152999914</c:v>
                </c:pt>
                <c:pt idx="2429">
                  <c:v>0.62631099152999914</c:v>
                </c:pt>
                <c:pt idx="2430">
                  <c:v>0.62631099152999914</c:v>
                </c:pt>
                <c:pt idx="2431">
                  <c:v>0.62631099152999914</c:v>
                </c:pt>
                <c:pt idx="2432">
                  <c:v>0.60862754122155649</c:v>
                </c:pt>
                <c:pt idx="2433">
                  <c:v>0.60862754122155649</c:v>
                </c:pt>
                <c:pt idx="2434">
                  <c:v>0.60862754122155649</c:v>
                </c:pt>
                <c:pt idx="2435">
                  <c:v>0.60862754122155649</c:v>
                </c:pt>
                <c:pt idx="2436">
                  <c:v>0.60862754122155649</c:v>
                </c:pt>
                <c:pt idx="2437">
                  <c:v>0.60229052899891156</c:v>
                </c:pt>
                <c:pt idx="2438">
                  <c:v>0.60229052899891156</c:v>
                </c:pt>
                <c:pt idx="2439">
                  <c:v>0.60229052899891156</c:v>
                </c:pt>
                <c:pt idx="2440">
                  <c:v>0.60229052899891156</c:v>
                </c:pt>
                <c:pt idx="2441">
                  <c:v>0.60229052899891156</c:v>
                </c:pt>
                <c:pt idx="2442">
                  <c:v>0.63203731402727747</c:v>
                </c:pt>
                <c:pt idx="2443">
                  <c:v>0.63203731402727747</c:v>
                </c:pt>
                <c:pt idx="2444">
                  <c:v>0.63203731402727747</c:v>
                </c:pt>
                <c:pt idx="2445">
                  <c:v>0.63203731402727747</c:v>
                </c:pt>
                <c:pt idx="2446">
                  <c:v>0.63203731402727747</c:v>
                </c:pt>
                <c:pt idx="2447">
                  <c:v>0.64308283253825671</c:v>
                </c:pt>
                <c:pt idx="2448">
                  <c:v>0.64308283253825671</c:v>
                </c:pt>
                <c:pt idx="2449">
                  <c:v>0.64308283253825671</c:v>
                </c:pt>
                <c:pt idx="2450">
                  <c:v>0.64308283253825671</c:v>
                </c:pt>
                <c:pt idx="2451">
                  <c:v>0.64308283253825671</c:v>
                </c:pt>
                <c:pt idx="2452">
                  <c:v>0.63295777390319241</c:v>
                </c:pt>
                <c:pt idx="2453">
                  <c:v>0.63295777390319241</c:v>
                </c:pt>
                <c:pt idx="2454">
                  <c:v>0.63295777390319241</c:v>
                </c:pt>
                <c:pt idx="2455">
                  <c:v>0.63295777390319241</c:v>
                </c:pt>
                <c:pt idx="2456">
                  <c:v>0.63295777390319241</c:v>
                </c:pt>
                <c:pt idx="2457">
                  <c:v>0.62864754352270613</c:v>
                </c:pt>
                <c:pt idx="2458">
                  <c:v>0.62864754352270613</c:v>
                </c:pt>
                <c:pt idx="2459">
                  <c:v>0.62864754352270613</c:v>
                </c:pt>
                <c:pt idx="2460">
                  <c:v>0.62864754352270613</c:v>
                </c:pt>
                <c:pt idx="2461">
                  <c:v>0.62864754352270613</c:v>
                </c:pt>
                <c:pt idx="2462">
                  <c:v>0.65171214387495935</c:v>
                </c:pt>
                <c:pt idx="2463">
                  <c:v>0.65171214387495935</c:v>
                </c:pt>
                <c:pt idx="2464">
                  <c:v>0.65171214387495935</c:v>
                </c:pt>
                <c:pt idx="2465">
                  <c:v>0.65171214387495935</c:v>
                </c:pt>
                <c:pt idx="2466">
                  <c:v>0.65171214387495935</c:v>
                </c:pt>
                <c:pt idx="2467">
                  <c:v>0.65511076495526033</c:v>
                </c:pt>
                <c:pt idx="2468">
                  <c:v>0.65511076495526033</c:v>
                </c:pt>
                <c:pt idx="2469">
                  <c:v>0.65511076495526033</c:v>
                </c:pt>
                <c:pt idx="2470">
                  <c:v>0.65511076495526033</c:v>
                </c:pt>
                <c:pt idx="2471">
                  <c:v>0.65511076495526033</c:v>
                </c:pt>
                <c:pt idx="2472">
                  <c:v>0.64237478647986057</c:v>
                </c:pt>
                <c:pt idx="2473">
                  <c:v>0.64237478647986057</c:v>
                </c:pt>
                <c:pt idx="2474">
                  <c:v>0.64237478647986057</c:v>
                </c:pt>
                <c:pt idx="2475">
                  <c:v>0.64237478647986057</c:v>
                </c:pt>
                <c:pt idx="2476">
                  <c:v>0.64237478647986057</c:v>
                </c:pt>
                <c:pt idx="2477">
                  <c:v>0.66345685786860464</c:v>
                </c:pt>
                <c:pt idx="2478">
                  <c:v>0.66345685786860464</c:v>
                </c:pt>
                <c:pt idx="2479">
                  <c:v>0.66345685786860464</c:v>
                </c:pt>
                <c:pt idx="2480">
                  <c:v>0.66345685786860464</c:v>
                </c:pt>
                <c:pt idx="2481">
                  <c:v>0.66345685786860464</c:v>
                </c:pt>
                <c:pt idx="2482">
                  <c:v>0.67020099657482746</c:v>
                </c:pt>
                <c:pt idx="2483">
                  <c:v>0.67020099657482746</c:v>
                </c:pt>
                <c:pt idx="2484">
                  <c:v>0.67020099657482746</c:v>
                </c:pt>
                <c:pt idx="2485">
                  <c:v>0.67020099657482746</c:v>
                </c:pt>
                <c:pt idx="2486">
                  <c:v>0.67020099657482746</c:v>
                </c:pt>
                <c:pt idx="2487">
                  <c:v>0.66299662793064695</c:v>
                </c:pt>
                <c:pt idx="2488">
                  <c:v>0.66299662793064695</c:v>
                </c:pt>
                <c:pt idx="2489">
                  <c:v>0.66299662793064695</c:v>
                </c:pt>
                <c:pt idx="2490">
                  <c:v>0.66299662793064695</c:v>
                </c:pt>
                <c:pt idx="2491">
                  <c:v>0.66299662793064695</c:v>
                </c:pt>
                <c:pt idx="2492">
                  <c:v>0.66225317956933094</c:v>
                </c:pt>
                <c:pt idx="2493">
                  <c:v>0.66225317956933094</c:v>
                </c:pt>
                <c:pt idx="2494">
                  <c:v>0.66225317956933094</c:v>
                </c:pt>
                <c:pt idx="2495">
                  <c:v>0.66225317956933094</c:v>
                </c:pt>
                <c:pt idx="2496">
                  <c:v>0.66225317956933094</c:v>
                </c:pt>
                <c:pt idx="2497">
                  <c:v>0.67312168656571125</c:v>
                </c:pt>
                <c:pt idx="2498">
                  <c:v>0.67312168656571125</c:v>
                </c:pt>
                <c:pt idx="2499">
                  <c:v>0.67312168656571125</c:v>
                </c:pt>
                <c:pt idx="2500">
                  <c:v>0.67312168656571125</c:v>
                </c:pt>
                <c:pt idx="2501">
                  <c:v>0.67312168656571125</c:v>
                </c:pt>
                <c:pt idx="2502">
                  <c:v>0.66604122598175031</c:v>
                </c:pt>
                <c:pt idx="2503">
                  <c:v>0.66604122598175031</c:v>
                </c:pt>
                <c:pt idx="2504">
                  <c:v>0.66604122598175031</c:v>
                </c:pt>
                <c:pt idx="2505">
                  <c:v>0.66604122598175031</c:v>
                </c:pt>
                <c:pt idx="2506">
                  <c:v>0.66604122598175031</c:v>
                </c:pt>
                <c:pt idx="2507">
                  <c:v>0.67147547947994024</c:v>
                </c:pt>
                <c:pt idx="2508">
                  <c:v>0.67147547947994024</c:v>
                </c:pt>
                <c:pt idx="2509">
                  <c:v>0.67147547947994024</c:v>
                </c:pt>
                <c:pt idx="2510">
                  <c:v>0.67147547947994024</c:v>
                </c:pt>
                <c:pt idx="2511">
                  <c:v>0.67147547947994024</c:v>
                </c:pt>
                <c:pt idx="2512">
                  <c:v>0.67168789329745904</c:v>
                </c:pt>
                <c:pt idx="2513">
                  <c:v>0.67168789329745904</c:v>
                </c:pt>
                <c:pt idx="2514">
                  <c:v>0.67168789329745904</c:v>
                </c:pt>
                <c:pt idx="2515">
                  <c:v>0.67168789329745904</c:v>
                </c:pt>
                <c:pt idx="2516">
                  <c:v>0.67168789329745904</c:v>
                </c:pt>
                <c:pt idx="2517">
                  <c:v>0.70708134564153391</c:v>
                </c:pt>
                <c:pt idx="2518">
                  <c:v>0.70708134564153391</c:v>
                </c:pt>
                <c:pt idx="2519">
                  <c:v>0.70708134564153391</c:v>
                </c:pt>
                <c:pt idx="2520">
                  <c:v>0.70708134564153391</c:v>
                </c:pt>
                <c:pt idx="2521">
                  <c:v>0.70708134564153391</c:v>
                </c:pt>
                <c:pt idx="2522">
                  <c:v>0.71860479524193055</c:v>
                </c:pt>
                <c:pt idx="2523">
                  <c:v>0.71860479524193055</c:v>
                </c:pt>
                <c:pt idx="2524">
                  <c:v>0.71860479524193055</c:v>
                </c:pt>
                <c:pt idx="2525">
                  <c:v>0.71860479524193055</c:v>
                </c:pt>
                <c:pt idx="2526">
                  <c:v>0.71860479524193055</c:v>
                </c:pt>
                <c:pt idx="2527">
                  <c:v>0.67929053784948712</c:v>
                </c:pt>
                <c:pt idx="2528">
                  <c:v>0.67929053784948712</c:v>
                </c:pt>
                <c:pt idx="2529">
                  <c:v>0.67929053784948712</c:v>
                </c:pt>
                <c:pt idx="2530">
                  <c:v>0.67929053784948712</c:v>
                </c:pt>
                <c:pt idx="2531">
                  <c:v>0.67929053784948712</c:v>
                </c:pt>
                <c:pt idx="2532">
                  <c:v>0.72451697982953811</c:v>
                </c:pt>
                <c:pt idx="2533">
                  <c:v>0.72451697982953811</c:v>
                </c:pt>
                <c:pt idx="2534">
                  <c:v>0.72451697982953811</c:v>
                </c:pt>
                <c:pt idx="2535">
                  <c:v>0.72451697982953811</c:v>
                </c:pt>
                <c:pt idx="2536">
                  <c:v>0.72451697982953811</c:v>
                </c:pt>
                <c:pt idx="2537">
                  <c:v>0.70726720773186313</c:v>
                </c:pt>
                <c:pt idx="2538">
                  <c:v>0.70726720773186313</c:v>
                </c:pt>
                <c:pt idx="2539">
                  <c:v>0.70726720773186313</c:v>
                </c:pt>
                <c:pt idx="2540">
                  <c:v>0.70726720773186313</c:v>
                </c:pt>
                <c:pt idx="2541">
                  <c:v>0.70726720773186313</c:v>
                </c:pt>
                <c:pt idx="2542">
                  <c:v>0.71276341526016274</c:v>
                </c:pt>
                <c:pt idx="2543">
                  <c:v>0.71276341526016274</c:v>
                </c:pt>
                <c:pt idx="2544">
                  <c:v>0.71276341526016274</c:v>
                </c:pt>
                <c:pt idx="2545">
                  <c:v>0.71276341526016274</c:v>
                </c:pt>
                <c:pt idx="2546">
                  <c:v>0.71276341526016274</c:v>
                </c:pt>
                <c:pt idx="2547">
                  <c:v>0.73076548629488358</c:v>
                </c:pt>
                <c:pt idx="2548">
                  <c:v>0.73076548629488358</c:v>
                </c:pt>
                <c:pt idx="2549">
                  <c:v>0.73076548629488358</c:v>
                </c:pt>
                <c:pt idx="2550">
                  <c:v>0.73076548629488358</c:v>
                </c:pt>
                <c:pt idx="2551">
                  <c:v>0.73076548629488358</c:v>
                </c:pt>
                <c:pt idx="2552">
                  <c:v>0.73602272827847459</c:v>
                </c:pt>
                <c:pt idx="2553">
                  <c:v>0.73602272827847459</c:v>
                </c:pt>
                <c:pt idx="2554">
                  <c:v>0.73602272827847459</c:v>
                </c:pt>
                <c:pt idx="2555">
                  <c:v>0.73602272827847459</c:v>
                </c:pt>
                <c:pt idx="2556">
                  <c:v>0.73602272827847459</c:v>
                </c:pt>
                <c:pt idx="2557">
                  <c:v>0.71919778381583743</c:v>
                </c:pt>
                <c:pt idx="2558">
                  <c:v>0.71919778381583743</c:v>
                </c:pt>
                <c:pt idx="2559">
                  <c:v>0.71919778381583743</c:v>
                </c:pt>
                <c:pt idx="2560">
                  <c:v>0.71919778381583743</c:v>
                </c:pt>
                <c:pt idx="2561">
                  <c:v>0.71919778381583743</c:v>
                </c:pt>
                <c:pt idx="2562">
                  <c:v>0.73588111906679532</c:v>
                </c:pt>
                <c:pt idx="2563">
                  <c:v>0.73588111906679532</c:v>
                </c:pt>
                <c:pt idx="2564">
                  <c:v>0.73588111906679532</c:v>
                </c:pt>
                <c:pt idx="2565">
                  <c:v>0.73588111906679532</c:v>
                </c:pt>
                <c:pt idx="2566">
                  <c:v>0.73588111906679532</c:v>
                </c:pt>
                <c:pt idx="2567">
                  <c:v>0.72777399169816004</c:v>
                </c:pt>
                <c:pt idx="2568">
                  <c:v>0.72777399169816004</c:v>
                </c:pt>
                <c:pt idx="2569">
                  <c:v>0.72777399169816004</c:v>
                </c:pt>
                <c:pt idx="2570">
                  <c:v>0.72777399169816004</c:v>
                </c:pt>
                <c:pt idx="2571">
                  <c:v>0.72777399169816004</c:v>
                </c:pt>
                <c:pt idx="2572">
                  <c:v>0.7385716940887006</c:v>
                </c:pt>
                <c:pt idx="2573">
                  <c:v>0.7385716940887006</c:v>
                </c:pt>
                <c:pt idx="2574">
                  <c:v>0.7385716940887006</c:v>
                </c:pt>
                <c:pt idx="2575">
                  <c:v>0.7385716940887006</c:v>
                </c:pt>
                <c:pt idx="2576">
                  <c:v>0.7385716940887006</c:v>
                </c:pt>
                <c:pt idx="2577">
                  <c:v>0.71464858789064234</c:v>
                </c:pt>
                <c:pt idx="2578">
                  <c:v>0.71464858789064234</c:v>
                </c:pt>
                <c:pt idx="2579">
                  <c:v>0.71464858789064234</c:v>
                </c:pt>
                <c:pt idx="2580">
                  <c:v>0.71464858789064234</c:v>
                </c:pt>
                <c:pt idx="2581">
                  <c:v>0.71464858789064234</c:v>
                </c:pt>
                <c:pt idx="2582">
                  <c:v>0.71286077159319228</c:v>
                </c:pt>
                <c:pt idx="2583">
                  <c:v>0.71286077159319228</c:v>
                </c:pt>
                <c:pt idx="2584">
                  <c:v>0.71286077159319228</c:v>
                </c:pt>
                <c:pt idx="2585">
                  <c:v>0.71286077159319228</c:v>
                </c:pt>
                <c:pt idx="2586">
                  <c:v>0.71286077159319228</c:v>
                </c:pt>
                <c:pt idx="2587">
                  <c:v>0.72448157752661824</c:v>
                </c:pt>
                <c:pt idx="2588">
                  <c:v>0.72448157752661824</c:v>
                </c:pt>
                <c:pt idx="2589">
                  <c:v>0.72448157752661824</c:v>
                </c:pt>
                <c:pt idx="2590">
                  <c:v>0.72448157752661824</c:v>
                </c:pt>
                <c:pt idx="2591">
                  <c:v>0.72448157752661824</c:v>
                </c:pt>
                <c:pt idx="2592">
                  <c:v>0.71151548408223952</c:v>
                </c:pt>
                <c:pt idx="2593">
                  <c:v>0.71151548408223952</c:v>
                </c:pt>
                <c:pt idx="2594">
                  <c:v>0.71151548408223952</c:v>
                </c:pt>
                <c:pt idx="2595">
                  <c:v>0.71151548408223952</c:v>
                </c:pt>
                <c:pt idx="2596">
                  <c:v>0.71151548408223952</c:v>
                </c:pt>
                <c:pt idx="2597">
                  <c:v>0.69097329781302275</c:v>
                </c:pt>
                <c:pt idx="2598">
                  <c:v>0.69097329781302275</c:v>
                </c:pt>
                <c:pt idx="2599">
                  <c:v>0.69097329781302275</c:v>
                </c:pt>
                <c:pt idx="2600">
                  <c:v>0.69097329781302275</c:v>
                </c:pt>
                <c:pt idx="2601">
                  <c:v>0.69097329781302275</c:v>
                </c:pt>
                <c:pt idx="2602">
                  <c:v>0.71351571419720861</c:v>
                </c:pt>
                <c:pt idx="2603">
                  <c:v>0.71351571419720861</c:v>
                </c:pt>
                <c:pt idx="2604">
                  <c:v>0.71351571419720861</c:v>
                </c:pt>
                <c:pt idx="2605">
                  <c:v>0.71351571419720861</c:v>
                </c:pt>
                <c:pt idx="2606">
                  <c:v>0.71351571419720861</c:v>
                </c:pt>
                <c:pt idx="2607">
                  <c:v>0.71351571419720861</c:v>
                </c:pt>
                <c:pt idx="2608">
                  <c:v>0.71351571419720861</c:v>
                </c:pt>
                <c:pt idx="2609">
                  <c:v>0.71351571419720861</c:v>
                </c:pt>
                <c:pt idx="2610">
                  <c:v>-1</c:v>
                </c:pt>
                <c:pt idx="2611">
                  <c:v>-1</c:v>
                </c:pt>
                <c:pt idx="2612">
                  <c:v>-1</c:v>
                </c:pt>
                <c:pt idx="2613">
                  <c:v>-1</c:v>
                </c:pt>
                <c:pt idx="2614">
                  <c:v>-1</c:v>
                </c:pt>
                <c:pt idx="2615">
                  <c:v>-1</c:v>
                </c:pt>
                <c:pt idx="2616">
                  <c:v>-1</c:v>
                </c:pt>
                <c:pt idx="2617">
                  <c:v>-1</c:v>
                </c:pt>
                <c:pt idx="2618">
                  <c:v>-1</c:v>
                </c:pt>
                <c:pt idx="2619">
                  <c:v>-1</c:v>
                </c:pt>
                <c:pt idx="2620">
                  <c:v>-1</c:v>
                </c:pt>
                <c:pt idx="2621">
                  <c:v>-1</c:v>
                </c:pt>
                <c:pt idx="2622">
                  <c:v>-1</c:v>
                </c:pt>
                <c:pt idx="2623">
                  <c:v>-1</c:v>
                </c:pt>
                <c:pt idx="2624">
                  <c:v>-1</c:v>
                </c:pt>
                <c:pt idx="2625">
                  <c:v>-1</c:v>
                </c:pt>
                <c:pt idx="2626">
                  <c:v>-1</c:v>
                </c:pt>
                <c:pt idx="2627">
                  <c:v>-1</c:v>
                </c:pt>
                <c:pt idx="2628">
                  <c:v>-1</c:v>
                </c:pt>
                <c:pt idx="2629">
                  <c:v>-1</c:v>
                </c:pt>
                <c:pt idx="2630">
                  <c:v>-1</c:v>
                </c:pt>
                <c:pt idx="2631">
                  <c:v>-1</c:v>
                </c:pt>
                <c:pt idx="2632">
                  <c:v>-1</c:v>
                </c:pt>
                <c:pt idx="2633">
                  <c:v>-1</c:v>
                </c:pt>
                <c:pt idx="2634">
                  <c:v>-1</c:v>
                </c:pt>
                <c:pt idx="2635">
                  <c:v>-1</c:v>
                </c:pt>
                <c:pt idx="2636">
                  <c:v>-1</c:v>
                </c:pt>
                <c:pt idx="2637">
                  <c:v>-1</c:v>
                </c:pt>
                <c:pt idx="2638">
                  <c:v>-1</c:v>
                </c:pt>
                <c:pt idx="2639">
                  <c:v>-1</c:v>
                </c:pt>
              </c:numCache>
            </c:numRef>
          </c:val>
          <c:smooth val="0"/>
          <c:extLst>
            <c:ext xmlns:c16="http://schemas.microsoft.com/office/drawing/2014/chart" uri="{C3380CC4-5D6E-409C-BE32-E72D297353CC}">
              <c16:uniqueId val="{00000000-6C18-4B17-A434-8DAA5F9510F2}"/>
            </c:ext>
          </c:extLst>
        </c:ser>
        <c:ser>
          <c:idx val="1"/>
          <c:order val="1"/>
          <c:tx>
            <c:strRef>
              <c:f>Markets!$BV$1</c:f>
              <c:strCache>
                <c:ptCount val="1"/>
                <c:pt idx="0">
                  <c:v>MSCI World Gesundheitswesen Gewinnwachstum*</c:v>
                </c:pt>
              </c:strCache>
            </c:strRef>
          </c:tx>
          <c:spPr>
            <a:ln w="28575" cap="rnd">
              <a:solidFill>
                <a:schemeClr val="accent2"/>
              </a:solidFill>
              <a:round/>
            </a:ln>
            <a:effectLst/>
          </c:spPr>
          <c:marker>
            <c:symbol val="none"/>
          </c:marker>
          <c:cat>
            <c:numRef>
              <c:f>Markets!$BI$4:$BI$2654</c:f>
              <c:numCache>
                <c:formatCode>m/d/yyyy</c:formatCode>
                <c:ptCount val="2651"/>
                <c:pt idx="0">
                  <c:v>41968</c:v>
                </c:pt>
                <c:pt idx="1">
                  <c:v>41969</c:v>
                </c:pt>
                <c:pt idx="2">
                  <c:v>41970</c:v>
                </c:pt>
                <c:pt idx="3">
                  <c:v>41971</c:v>
                </c:pt>
                <c:pt idx="4">
                  <c:v>41974</c:v>
                </c:pt>
                <c:pt idx="5">
                  <c:v>41975</c:v>
                </c:pt>
                <c:pt idx="6">
                  <c:v>41976</c:v>
                </c:pt>
                <c:pt idx="7">
                  <c:v>41977</c:v>
                </c:pt>
                <c:pt idx="8">
                  <c:v>41978</c:v>
                </c:pt>
                <c:pt idx="9">
                  <c:v>41981</c:v>
                </c:pt>
                <c:pt idx="10">
                  <c:v>41982</c:v>
                </c:pt>
                <c:pt idx="11">
                  <c:v>41983</c:v>
                </c:pt>
                <c:pt idx="12">
                  <c:v>41984</c:v>
                </c:pt>
                <c:pt idx="13">
                  <c:v>41985</c:v>
                </c:pt>
                <c:pt idx="14">
                  <c:v>41988</c:v>
                </c:pt>
                <c:pt idx="15">
                  <c:v>41989</c:v>
                </c:pt>
                <c:pt idx="16">
                  <c:v>41990</c:v>
                </c:pt>
                <c:pt idx="17">
                  <c:v>41991</c:v>
                </c:pt>
                <c:pt idx="18">
                  <c:v>41992</c:v>
                </c:pt>
                <c:pt idx="19">
                  <c:v>41995</c:v>
                </c:pt>
                <c:pt idx="20">
                  <c:v>41996</c:v>
                </c:pt>
                <c:pt idx="21">
                  <c:v>41997</c:v>
                </c:pt>
                <c:pt idx="22">
                  <c:v>41998</c:v>
                </c:pt>
                <c:pt idx="23">
                  <c:v>41999</c:v>
                </c:pt>
                <c:pt idx="24">
                  <c:v>42002</c:v>
                </c:pt>
                <c:pt idx="25">
                  <c:v>42003</c:v>
                </c:pt>
                <c:pt idx="26">
                  <c:v>42004</c:v>
                </c:pt>
                <c:pt idx="27">
                  <c:v>42005</c:v>
                </c:pt>
                <c:pt idx="28">
                  <c:v>42006</c:v>
                </c:pt>
                <c:pt idx="29">
                  <c:v>42009</c:v>
                </c:pt>
                <c:pt idx="30">
                  <c:v>42010</c:v>
                </c:pt>
                <c:pt idx="31">
                  <c:v>42011</c:v>
                </c:pt>
                <c:pt idx="32">
                  <c:v>42012</c:v>
                </c:pt>
                <c:pt idx="33">
                  <c:v>42013</c:v>
                </c:pt>
                <c:pt idx="34">
                  <c:v>42016</c:v>
                </c:pt>
                <c:pt idx="35">
                  <c:v>42017</c:v>
                </c:pt>
                <c:pt idx="36">
                  <c:v>42018</c:v>
                </c:pt>
                <c:pt idx="37">
                  <c:v>42019</c:v>
                </c:pt>
                <c:pt idx="38">
                  <c:v>42020</c:v>
                </c:pt>
                <c:pt idx="39">
                  <c:v>42023</c:v>
                </c:pt>
                <c:pt idx="40">
                  <c:v>42024</c:v>
                </c:pt>
                <c:pt idx="41">
                  <c:v>42025</c:v>
                </c:pt>
                <c:pt idx="42">
                  <c:v>42026</c:v>
                </c:pt>
                <c:pt idx="43">
                  <c:v>42027</c:v>
                </c:pt>
                <c:pt idx="44">
                  <c:v>42030</c:v>
                </c:pt>
                <c:pt idx="45">
                  <c:v>42031</c:v>
                </c:pt>
                <c:pt idx="46">
                  <c:v>42032</c:v>
                </c:pt>
                <c:pt idx="47">
                  <c:v>42033</c:v>
                </c:pt>
                <c:pt idx="48">
                  <c:v>42034</c:v>
                </c:pt>
                <c:pt idx="49">
                  <c:v>42037</c:v>
                </c:pt>
                <c:pt idx="50">
                  <c:v>42038</c:v>
                </c:pt>
                <c:pt idx="51">
                  <c:v>42039</c:v>
                </c:pt>
                <c:pt idx="52">
                  <c:v>42040</c:v>
                </c:pt>
                <c:pt idx="53">
                  <c:v>42041</c:v>
                </c:pt>
                <c:pt idx="54">
                  <c:v>42044</c:v>
                </c:pt>
                <c:pt idx="55">
                  <c:v>42045</c:v>
                </c:pt>
                <c:pt idx="56">
                  <c:v>42046</c:v>
                </c:pt>
                <c:pt idx="57">
                  <c:v>42047</c:v>
                </c:pt>
                <c:pt idx="58">
                  <c:v>42048</c:v>
                </c:pt>
                <c:pt idx="59">
                  <c:v>42051</c:v>
                </c:pt>
                <c:pt idx="60">
                  <c:v>42052</c:v>
                </c:pt>
                <c:pt idx="61">
                  <c:v>42053</c:v>
                </c:pt>
                <c:pt idx="62">
                  <c:v>42054</c:v>
                </c:pt>
                <c:pt idx="63">
                  <c:v>42055</c:v>
                </c:pt>
                <c:pt idx="64">
                  <c:v>42058</c:v>
                </c:pt>
                <c:pt idx="65">
                  <c:v>42059</c:v>
                </c:pt>
                <c:pt idx="66">
                  <c:v>42060</c:v>
                </c:pt>
                <c:pt idx="67">
                  <c:v>42061</c:v>
                </c:pt>
                <c:pt idx="68">
                  <c:v>42062</c:v>
                </c:pt>
                <c:pt idx="69">
                  <c:v>42065</c:v>
                </c:pt>
                <c:pt idx="70">
                  <c:v>42066</c:v>
                </c:pt>
                <c:pt idx="71">
                  <c:v>42067</c:v>
                </c:pt>
                <c:pt idx="72">
                  <c:v>42068</c:v>
                </c:pt>
                <c:pt idx="73">
                  <c:v>42069</c:v>
                </c:pt>
                <c:pt idx="74">
                  <c:v>42072</c:v>
                </c:pt>
                <c:pt idx="75">
                  <c:v>42073</c:v>
                </c:pt>
                <c:pt idx="76">
                  <c:v>42074</c:v>
                </c:pt>
                <c:pt idx="77">
                  <c:v>42075</c:v>
                </c:pt>
                <c:pt idx="78">
                  <c:v>42076</c:v>
                </c:pt>
                <c:pt idx="79">
                  <c:v>42079</c:v>
                </c:pt>
                <c:pt idx="80">
                  <c:v>42080</c:v>
                </c:pt>
                <c:pt idx="81">
                  <c:v>42081</c:v>
                </c:pt>
                <c:pt idx="82">
                  <c:v>42082</c:v>
                </c:pt>
                <c:pt idx="83">
                  <c:v>42083</c:v>
                </c:pt>
                <c:pt idx="84">
                  <c:v>42086</c:v>
                </c:pt>
                <c:pt idx="85">
                  <c:v>42087</c:v>
                </c:pt>
                <c:pt idx="86">
                  <c:v>42088</c:v>
                </c:pt>
                <c:pt idx="87">
                  <c:v>42089</c:v>
                </c:pt>
                <c:pt idx="88">
                  <c:v>42090</c:v>
                </c:pt>
                <c:pt idx="89">
                  <c:v>42093</c:v>
                </c:pt>
                <c:pt idx="90">
                  <c:v>42094</c:v>
                </c:pt>
                <c:pt idx="91">
                  <c:v>42095</c:v>
                </c:pt>
                <c:pt idx="92">
                  <c:v>42096</c:v>
                </c:pt>
                <c:pt idx="93">
                  <c:v>42097</c:v>
                </c:pt>
                <c:pt idx="94">
                  <c:v>42100</c:v>
                </c:pt>
                <c:pt idx="95">
                  <c:v>42101</c:v>
                </c:pt>
                <c:pt idx="96">
                  <c:v>42102</c:v>
                </c:pt>
                <c:pt idx="97">
                  <c:v>42103</c:v>
                </c:pt>
                <c:pt idx="98">
                  <c:v>42104</c:v>
                </c:pt>
                <c:pt idx="99">
                  <c:v>42107</c:v>
                </c:pt>
                <c:pt idx="100">
                  <c:v>42108</c:v>
                </c:pt>
                <c:pt idx="101">
                  <c:v>42109</c:v>
                </c:pt>
                <c:pt idx="102">
                  <c:v>42110</c:v>
                </c:pt>
                <c:pt idx="103">
                  <c:v>42111</c:v>
                </c:pt>
                <c:pt idx="104">
                  <c:v>42114</c:v>
                </c:pt>
                <c:pt idx="105">
                  <c:v>42115</c:v>
                </c:pt>
                <c:pt idx="106">
                  <c:v>42116</c:v>
                </c:pt>
                <c:pt idx="107">
                  <c:v>42117</c:v>
                </c:pt>
                <c:pt idx="108">
                  <c:v>42118</c:v>
                </c:pt>
                <c:pt idx="109">
                  <c:v>42121</c:v>
                </c:pt>
                <c:pt idx="110">
                  <c:v>42122</c:v>
                </c:pt>
                <c:pt idx="111">
                  <c:v>42123</c:v>
                </c:pt>
                <c:pt idx="112">
                  <c:v>42124</c:v>
                </c:pt>
                <c:pt idx="113">
                  <c:v>42125</c:v>
                </c:pt>
                <c:pt idx="114">
                  <c:v>42128</c:v>
                </c:pt>
                <c:pt idx="115">
                  <c:v>42129</c:v>
                </c:pt>
                <c:pt idx="116">
                  <c:v>42130</c:v>
                </c:pt>
                <c:pt idx="117">
                  <c:v>42131</c:v>
                </c:pt>
                <c:pt idx="118">
                  <c:v>42132</c:v>
                </c:pt>
                <c:pt idx="119">
                  <c:v>42135</c:v>
                </c:pt>
                <c:pt idx="120">
                  <c:v>42136</c:v>
                </c:pt>
                <c:pt idx="121">
                  <c:v>42137</c:v>
                </c:pt>
                <c:pt idx="122">
                  <c:v>42138</c:v>
                </c:pt>
                <c:pt idx="123">
                  <c:v>42139</c:v>
                </c:pt>
                <c:pt idx="124">
                  <c:v>42142</c:v>
                </c:pt>
                <c:pt idx="125">
                  <c:v>42143</c:v>
                </c:pt>
                <c:pt idx="126">
                  <c:v>42144</c:v>
                </c:pt>
                <c:pt idx="127">
                  <c:v>42145</c:v>
                </c:pt>
                <c:pt idx="128">
                  <c:v>42146</c:v>
                </c:pt>
                <c:pt idx="129">
                  <c:v>42149</c:v>
                </c:pt>
                <c:pt idx="130">
                  <c:v>42150</c:v>
                </c:pt>
                <c:pt idx="131">
                  <c:v>42151</c:v>
                </c:pt>
                <c:pt idx="132">
                  <c:v>42152</c:v>
                </c:pt>
                <c:pt idx="133">
                  <c:v>42153</c:v>
                </c:pt>
                <c:pt idx="134">
                  <c:v>42156</c:v>
                </c:pt>
                <c:pt idx="135">
                  <c:v>42157</c:v>
                </c:pt>
                <c:pt idx="136">
                  <c:v>42158</c:v>
                </c:pt>
                <c:pt idx="137">
                  <c:v>42159</c:v>
                </c:pt>
                <c:pt idx="138">
                  <c:v>42160</c:v>
                </c:pt>
                <c:pt idx="139">
                  <c:v>42163</c:v>
                </c:pt>
                <c:pt idx="140">
                  <c:v>42164</c:v>
                </c:pt>
                <c:pt idx="141">
                  <c:v>42165</c:v>
                </c:pt>
                <c:pt idx="142">
                  <c:v>42166</c:v>
                </c:pt>
                <c:pt idx="143">
                  <c:v>42167</c:v>
                </c:pt>
                <c:pt idx="144">
                  <c:v>42170</c:v>
                </c:pt>
                <c:pt idx="145">
                  <c:v>42171</c:v>
                </c:pt>
                <c:pt idx="146">
                  <c:v>42172</c:v>
                </c:pt>
                <c:pt idx="147">
                  <c:v>42173</c:v>
                </c:pt>
                <c:pt idx="148">
                  <c:v>42174</c:v>
                </c:pt>
                <c:pt idx="149">
                  <c:v>42177</c:v>
                </c:pt>
                <c:pt idx="150">
                  <c:v>42178</c:v>
                </c:pt>
                <c:pt idx="151">
                  <c:v>42179</c:v>
                </c:pt>
                <c:pt idx="152">
                  <c:v>42180</c:v>
                </c:pt>
                <c:pt idx="153">
                  <c:v>42181</c:v>
                </c:pt>
                <c:pt idx="154">
                  <c:v>42184</c:v>
                </c:pt>
                <c:pt idx="155">
                  <c:v>42185</c:v>
                </c:pt>
                <c:pt idx="156">
                  <c:v>42186</c:v>
                </c:pt>
                <c:pt idx="157">
                  <c:v>42187</c:v>
                </c:pt>
                <c:pt idx="158">
                  <c:v>42188</c:v>
                </c:pt>
                <c:pt idx="159">
                  <c:v>42191</c:v>
                </c:pt>
                <c:pt idx="160">
                  <c:v>42192</c:v>
                </c:pt>
                <c:pt idx="161">
                  <c:v>42193</c:v>
                </c:pt>
                <c:pt idx="162">
                  <c:v>42194</c:v>
                </c:pt>
                <c:pt idx="163">
                  <c:v>42195</c:v>
                </c:pt>
                <c:pt idx="164">
                  <c:v>42198</c:v>
                </c:pt>
                <c:pt idx="165">
                  <c:v>42199</c:v>
                </c:pt>
                <c:pt idx="166">
                  <c:v>42200</c:v>
                </c:pt>
                <c:pt idx="167">
                  <c:v>42201</c:v>
                </c:pt>
                <c:pt idx="168">
                  <c:v>42202</c:v>
                </c:pt>
                <c:pt idx="169">
                  <c:v>42205</c:v>
                </c:pt>
                <c:pt idx="170">
                  <c:v>42206</c:v>
                </c:pt>
                <c:pt idx="171">
                  <c:v>42207</c:v>
                </c:pt>
                <c:pt idx="172">
                  <c:v>42208</c:v>
                </c:pt>
                <c:pt idx="173">
                  <c:v>42209</c:v>
                </c:pt>
                <c:pt idx="174">
                  <c:v>42212</c:v>
                </c:pt>
                <c:pt idx="175">
                  <c:v>42213</c:v>
                </c:pt>
                <c:pt idx="176">
                  <c:v>42214</c:v>
                </c:pt>
                <c:pt idx="177">
                  <c:v>42215</c:v>
                </c:pt>
                <c:pt idx="178">
                  <c:v>42216</c:v>
                </c:pt>
                <c:pt idx="179">
                  <c:v>42219</c:v>
                </c:pt>
                <c:pt idx="180">
                  <c:v>42220</c:v>
                </c:pt>
                <c:pt idx="181">
                  <c:v>42221</c:v>
                </c:pt>
                <c:pt idx="182">
                  <c:v>42222</c:v>
                </c:pt>
                <c:pt idx="183">
                  <c:v>42223</c:v>
                </c:pt>
                <c:pt idx="184">
                  <c:v>42226</c:v>
                </c:pt>
                <c:pt idx="185">
                  <c:v>42227</c:v>
                </c:pt>
                <c:pt idx="186">
                  <c:v>42228</c:v>
                </c:pt>
                <c:pt idx="187">
                  <c:v>42229</c:v>
                </c:pt>
                <c:pt idx="188">
                  <c:v>42230</c:v>
                </c:pt>
                <c:pt idx="189">
                  <c:v>42233</c:v>
                </c:pt>
                <c:pt idx="190">
                  <c:v>42234</c:v>
                </c:pt>
                <c:pt idx="191">
                  <c:v>42235</c:v>
                </c:pt>
                <c:pt idx="192">
                  <c:v>42236</c:v>
                </c:pt>
                <c:pt idx="193">
                  <c:v>42237</c:v>
                </c:pt>
                <c:pt idx="194">
                  <c:v>42240</c:v>
                </c:pt>
                <c:pt idx="195">
                  <c:v>42241</c:v>
                </c:pt>
                <c:pt idx="196">
                  <c:v>42242</c:v>
                </c:pt>
                <c:pt idx="197">
                  <c:v>42243</c:v>
                </c:pt>
                <c:pt idx="198">
                  <c:v>42244</c:v>
                </c:pt>
                <c:pt idx="199">
                  <c:v>42247</c:v>
                </c:pt>
                <c:pt idx="200">
                  <c:v>42248</c:v>
                </c:pt>
                <c:pt idx="201">
                  <c:v>42249</c:v>
                </c:pt>
                <c:pt idx="202">
                  <c:v>42250</c:v>
                </c:pt>
                <c:pt idx="203">
                  <c:v>42251</c:v>
                </c:pt>
                <c:pt idx="204">
                  <c:v>42254</c:v>
                </c:pt>
                <c:pt idx="205">
                  <c:v>42255</c:v>
                </c:pt>
                <c:pt idx="206">
                  <c:v>42256</c:v>
                </c:pt>
                <c:pt idx="207">
                  <c:v>42257</c:v>
                </c:pt>
                <c:pt idx="208">
                  <c:v>42258</c:v>
                </c:pt>
                <c:pt idx="209">
                  <c:v>42261</c:v>
                </c:pt>
                <c:pt idx="210">
                  <c:v>42262</c:v>
                </c:pt>
                <c:pt idx="211">
                  <c:v>42263</c:v>
                </c:pt>
                <c:pt idx="212">
                  <c:v>42264</c:v>
                </c:pt>
                <c:pt idx="213">
                  <c:v>42265</c:v>
                </c:pt>
                <c:pt idx="214">
                  <c:v>42268</c:v>
                </c:pt>
                <c:pt idx="215">
                  <c:v>42269</c:v>
                </c:pt>
                <c:pt idx="216">
                  <c:v>42270</c:v>
                </c:pt>
                <c:pt idx="217">
                  <c:v>42271</c:v>
                </c:pt>
                <c:pt idx="218">
                  <c:v>42272</c:v>
                </c:pt>
                <c:pt idx="219">
                  <c:v>42275</c:v>
                </c:pt>
                <c:pt idx="220">
                  <c:v>42276</c:v>
                </c:pt>
                <c:pt idx="221">
                  <c:v>42277</c:v>
                </c:pt>
                <c:pt idx="222">
                  <c:v>42278</c:v>
                </c:pt>
                <c:pt idx="223">
                  <c:v>42279</c:v>
                </c:pt>
                <c:pt idx="224">
                  <c:v>42282</c:v>
                </c:pt>
                <c:pt idx="225">
                  <c:v>42283</c:v>
                </c:pt>
                <c:pt idx="226">
                  <c:v>42284</c:v>
                </c:pt>
                <c:pt idx="227">
                  <c:v>42285</c:v>
                </c:pt>
                <c:pt idx="228">
                  <c:v>42286</c:v>
                </c:pt>
                <c:pt idx="229">
                  <c:v>42289</c:v>
                </c:pt>
                <c:pt idx="230">
                  <c:v>42290</c:v>
                </c:pt>
                <c:pt idx="231">
                  <c:v>42291</c:v>
                </c:pt>
                <c:pt idx="232">
                  <c:v>42292</c:v>
                </c:pt>
                <c:pt idx="233">
                  <c:v>42293</c:v>
                </c:pt>
                <c:pt idx="234">
                  <c:v>42296</c:v>
                </c:pt>
                <c:pt idx="235">
                  <c:v>42297</c:v>
                </c:pt>
                <c:pt idx="236">
                  <c:v>42298</c:v>
                </c:pt>
                <c:pt idx="237">
                  <c:v>42299</c:v>
                </c:pt>
                <c:pt idx="238">
                  <c:v>42300</c:v>
                </c:pt>
                <c:pt idx="239">
                  <c:v>42303</c:v>
                </c:pt>
                <c:pt idx="240">
                  <c:v>42304</c:v>
                </c:pt>
                <c:pt idx="241">
                  <c:v>42305</c:v>
                </c:pt>
                <c:pt idx="242">
                  <c:v>42306</c:v>
                </c:pt>
                <c:pt idx="243">
                  <c:v>42307</c:v>
                </c:pt>
                <c:pt idx="244">
                  <c:v>42310</c:v>
                </c:pt>
                <c:pt idx="245">
                  <c:v>42311</c:v>
                </c:pt>
                <c:pt idx="246">
                  <c:v>42312</c:v>
                </c:pt>
                <c:pt idx="247">
                  <c:v>42313</c:v>
                </c:pt>
                <c:pt idx="248">
                  <c:v>42314</c:v>
                </c:pt>
                <c:pt idx="249">
                  <c:v>42317</c:v>
                </c:pt>
                <c:pt idx="250">
                  <c:v>42318</c:v>
                </c:pt>
                <c:pt idx="251">
                  <c:v>42319</c:v>
                </c:pt>
                <c:pt idx="252">
                  <c:v>42320</c:v>
                </c:pt>
                <c:pt idx="253">
                  <c:v>42321</c:v>
                </c:pt>
                <c:pt idx="254">
                  <c:v>42324</c:v>
                </c:pt>
                <c:pt idx="255">
                  <c:v>42325</c:v>
                </c:pt>
                <c:pt idx="256">
                  <c:v>42326</c:v>
                </c:pt>
                <c:pt idx="257">
                  <c:v>42327</c:v>
                </c:pt>
                <c:pt idx="258">
                  <c:v>42328</c:v>
                </c:pt>
                <c:pt idx="259">
                  <c:v>42331</c:v>
                </c:pt>
                <c:pt idx="260">
                  <c:v>42332</c:v>
                </c:pt>
                <c:pt idx="261">
                  <c:v>42333</c:v>
                </c:pt>
                <c:pt idx="262">
                  <c:v>42334</c:v>
                </c:pt>
                <c:pt idx="263">
                  <c:v>42335</c:v>
                </c:pt>
                <c:pt idx="264">
                  <c:v>42338</c:v>
                </c:pt>
                <c:pt idx="265">
                  <c:v>42339</c:v>
                </c:pt>
                <c:pt idx="266">
                  <c:v>42340</c:v>
                </c:pt>
                <c:pt idx="267">
                  <c:v>42341</c:v>
                </c:pt>
                <c:pt idx="268">
                  <c:v>42342</c:v>
                </c:pt>
                <c:pt idx="269">
                  <c:v>42345</c:v>
                </c:pt>
                <c:pt idx="270">
                  <c:v>42346</c:v>
                </c:pt>
                <c:pt idx="271">
                  <c:v>42347</c:v>
                </c:pt>
                <c:pt idx="272">
                  <c:v>42348</c:v>
                </c:pt>
                <c:pt idx="273">
                  <c:v>42349</c:v>
                </c:pt>
                <c:pt idx="274">
                  <c:v>42352</c:v>
                </c:pt>
                <c:pt idx="275">
                  <c:v>42353</c:v>
                </c:pt>
                <c:pt idx="276">
                  <c:v>42354</c:v>
                </c:pt>
                <c:pt idx="277">
                  <c:v>42355</c:v>
                </c:pt>
                <c:pt idx="278">
                  <c:v>42356</c:v>
                </c:pt>
                <c:pt idx="279">
                  <c:v>42359</c:v>
                </c:pt>
                <c:pt idx="280">
                  <c:v>42360</c:v>
                </c:pt>
                <c:pt idx="281">
                  <c:v>42361</c:v>
                </c:pt>
                <c:pt idx="282">
                  <c:v>42362</c:v>
                </c:pt>
                <c:pt idx="283">
                  <c:v>42363</c:v>
                </c:pt>
                <c:pt idx="284">
                  <c:v>42366</c:v>
                </c:pt>
                <c:pt idx="285">
                  <c:v>42367</c:v>
                </c:pt>
                <c:pt idx="286">
                  <c:v>42368</c:v>
                </c:pt>
                <c:pt idx="287">
                  <c:v>42369</c:v>
                </c:pt>
                <c:pt idx="288">
                  <c:v>42370</c:v>
                </c:pt>
                <c:pt idx="289">
                  <c:v>42373</c:v>
                </c:pt>
                <c:pt idx="290">
                  <c:v>42374</c:v>
                </c:pt>
                <c:pt idx="291">
                  <c:v>42375</c:v>
                </c:pt>
                <c:pt idx="292">
                  <c:v>42376</c:v>
                </c:pt>
                <c:pt idx="293">
                  <c:v>42377</c:v>
                </c:pt>
                <c:pt idx="294">
                  <c:v>42380</c:v>
                </c:pt>
                <c:pt idx="295">
                  <c:v>42381</c:v>
                </c:pt>
                <c:pt idx="296">
                  <c:v>42382</c:v>
                </c:pt>
                <c:pt idx="297">
                  <c:v>42383</c:v>
                </c:pt>
                <c:pt idx="298">
                  <c:v>42384</c:v>
                </c:pt>
                <c:pt idx="299">
                  <c:v>42387</c:v>
                </c:pt>
                <c:pt idx="300">
                  <c:v>42388</c:v>
                </c:pt>
                <c:pt idx="301">
                  <c:v>42389</c:v>
                </c:pt>
                <c:pt idx="302">
                  <c:v>42390</c:v>
                </c:pt>
                <c:pt idx="303">
                  <c:v>42391</c:v>
                </c:pt>
                <c:pt idx="304">
                  <c:v>42394</c:v>
                </c:pt>
                <c:pt idx="305">
                  <c:v>42395</c:v>
                </c:pt>
                <c:pt idx="306">
                  <c:v>42396</c:v>
                </c:pt>
                <c:pt idx="307">
                  <c:v>42397</c:v>
                </c:pt>
                <c:pt idx="308">
                  <c:v>42398</c:v>
                </c:pt>
                <c:pt idx="309">
                  <c:v>42401</c:v>
                </c:pt>
                <c:pt idx="310">
                  <c:v>42402</c:v>
                </c:pt>
                <c:pt idx="311">
                  <c:v>42403</c:v>
                </c:pt>
                <c:pt idx="312">
                  <c:v>42404</c:v>
                </c:pt>
                <c:pt idx="313">
                  <c:v>42405</c:v>
                </c:pt>
                <c:pt idx="314">
                  <c:v>42408</c:v>
                </c:pt>
                <c:pt idx="315">
                  <c:v>42409</c:v>
                </c:pt>
                <c:pt idx="316">
                  <c:v>42410</c:v>
                </c:pt>
                <c:pt idx="317">
                  <c:v>42411</c:v>
                </c:pt>
                <c:pt idx="318">
                  <c:v>42412</c:v>
                </c:pt>
                <c:pt idx="319">
                  <c:v>42415</c:v>
                </c:pt>
                <c:pt idx="320">
                  <c:v>42416</c:v>
                </c:pt>
                <c:pt idx="321">
                  <c:v>42417</c:v>
                </c:pt>
                <c:pt idx="322">
                  <c:v>42418</c:v>
                </c:pt>
                <c:pt idx="323">
                  <c:v>42419</c:v>
                </c:pt>
                <c:pt idx="324">
                  <c:v>42422</c:v>
                </c:pt>
                <c:pt idx="325">
                  <c:v>42423</c:v>
                </c:pt>
                <c:pt idx="326">
                  <c:v>42424</c:v>
                </c:pt>
                <c:pt idx="327">
                  <c:v>42425</c:v>
                </c:pt>
                <c:pt idx="328">
                  <c:v>42426</c:v>
                </c:pt>
                <c:pt idx="329">
                  <c:v>42429</c:v>
                </c:pt>
                <c:pt idx="330">
                  <c:v>42430</c:v>
                </c:pt>
                <c:pt idx="331">
                  <c:v>42431</c:v>
                </c:pt>
                <c:pt idx="332">
                  <c:v>42432</c:v>
                </c:pt>
                <c:pt idx="333">
                  <c:v>42433</c:v>
                </c:pt>
                <c:pt idx="334">
                  <c:v>42436</c:v>
                </c:pt>
                <c:pt idx="335">
                  <c:v>42437</c:v>
                </c:pt>
                <c:pt idx="336">
                  <c:v>42438</c:v>
                </c:pt>
                <c:pt idx="337">
                  <c:v>42439</c:v>
                </c:pt>
                <c:pt idx="338">
                  <c:v>42440</c:v>
                </c:pt>
                <c:pt idx="339">
                  <c:v>42443</c:v>
                </c:pt>
                <c:pt idx="340">
                  <c:v>42444</c:v>
                </c:pt>
                <c:pt idx="341">
                  <c:v>42445</c:v>
                </c:pt>
                <c:pt idx="342">
                  <c:v>42446</c:v>
                </c:pt>
                <c:pt idx="343">
                  <c:v>42447</c:v>
                </c:pt>
                <c:pt idx="344">
                  <c:v>42450</c:v>
                </c:pt>
                <c:pt idx="345">
                  <c:v>42451</c:v>
                </c:pt>
                <c:pt idx="346">
                  <c:v>42452</c:v>
                </c:pt>
                <c:pt idx="347">
                  <c:v>42453</c:v>
                </c:pt>
                <c:pt idx="348">
                  <c:v>42454</c:v>
                </c:pt>
                <c:pt idx="349">
                  <c:v>42457</c:v>
                </c:pt>
                <c:pt idx="350">
                  <c:v>42458</c:v>
                </c:pt>
                <c:pt idx="351">
                  <c:v>42459</c:v>
                </c:pt>
                <c:pt idx="352">
                  <c:v>42460</c:v>
                </c:pt>
                <c:pt idx="353">
                  <c:v>42461</c:v>
                </c:pt>
                <c:pt idx="354">
                  <c:v>42464</c:v>
                </c:pt>
                <c:pt idx="355">
                  <c:v>42465</c:v>
                </c:pt>
                <c:pt idx="356">
                  <c:v>42466</c:v>
                </c:pt>
                <c:pt idx="357">
                  <c:v>42467</c:v>
                </c:pt>
                <c:pt idx="358">
                  <c:v>42468</c:v>
                </c:pt>
                <c:pt idx="359">
                  <c:v>42471</c:v>
                </c:pt>
                <c:pt idx="360">
                  <c:v>42472</c:v>
                </c:pt>
                <c:pt idx="361">
                  <c:v>42473</c:v>
                </c:pt>
                <c:pt idx="362">
                  <c:v>42474</c:v>
                </c:pt>
                <c:pt idx="363">
                  <c:v>42475</c:v>
                </c:pt>
                <c:pt idx="364">
                  <c:v>42478</c:v>
                </c:pt>
                <c:pt idx="365">
                  <c:v>42479</c:v>
                </c:pt>
                <c:pt idx="366">
                  <c:v>42480</c:v>
                </c:pt>
                <c:pt idx="367">
                  <c:v>42481</c:v>
                </c:pt>
                <c:pt idx="368">
                  <c:v>42482</c:v>
                </c:pt>
                <c:pt idx="369">
                  <c:v>42485</c:v>
                </c:pt>
                <c:pt idx="370">
                  <c:v>42486</c:v>
                </c:pt>
                <c:pt idx="371">
                  <c:v>42487</c:v>
                </c:pt>
                <c:pt idx="372">
                  <c:v>42488</c:v>
                </c:pt>
                <c:pt idx="373">
                  <c:v>42489</c:v>
                </c:pt>
                <c:pt idx="374">
                  <c:v>42492</c:v>
                </c:pt>
                <c:pt idx="375">
                  <c:v>42493</c:v>
                </c:pt>
                <c:pt idx="376">
                  <c:v>42494</c:v>
                </c:pt>
                <c:pt idx="377">
                  <c:v>42495</c:v>
                </c:pt>
                <c:pt idx="378">
                  <c:v>42496</c:v>
                </c:pt>
                <c:pt idx="379">
                  <c:v>42499</c:v>
                </c:pt>
                <c:pt idx="380">
                  <c:v>42500</c:v>
                </c:pt>
                <c:pt idx="381">
                  <c:v>42501</c:v>
                </c:pt>
                <c:pt idx="382">
                  <c:v>42502</c:v>
                </c:pt>
                <c:pt idx="383">
                  <c:v>42503</c:v>
                </c:pt>
                <c:pt idx="384">
                  <c:v>42506</c:v>
                </c:pt>
                <c:pt idx="385">
                  <c:v>42507</c:v>
                </c:pt>
                <c:pt idx="386">
                  <c:v>42508</c:v>
                </c:pt>
                <c:pt idx="387">
                  <c:v>42509</c:v>
                </c:pt>
                <c:pt idx="388">
                  <c:v>42510</c:v>
                </c:pt>
                <c:pt idx="389">
                  <c:v>42513</c:v>
                </c:pt>
                <c:pt idx="390">
                  <c:v>42514</c:v>
                </c:pt>
                <c:pt idx="391">
                  <c:v>42515</c:v>
                </c:pt>
                <c:pt idx="392">
                  <c:v>42516</c:v>
                </c:pt>
                <c:pt idx="393">
                  <c:v>42517</c:v>
                </c:pt>
                <c:pt idx="394">
                  <c:v>42520</c:v>
                </c:pt>
                <c:pt idx="395">
                  <c:v>42521</c:v>
                </c:pt>
                <c:pt idx="396">
                  <c:v>42522</c:v>
                </c:pt>
                <c:pt idx="397">
                  <c:v>42523</c:v>
                </c:pt>
                <c:pt idx="398">
                  <c:v>42524</c:v>
                </c:pt>
                <c:pt idx="399">
                  <c:v>42527</c:v>
                </c:pt>
                <c:pt idx="400">
                  <c:v>42528</c:v>
                </c:pt>
                <c:pt idx="401">
                  <c:v>42529</c:v>
                </c:pt>
                <c:pt idx="402">
                  <c:v>42530</c:v>
                </c:pt>
                <c:pt idx="403">
                  <c:v>42531</c:v>
                </c:pt>
                <c:pt idx="404">
                  <c:v>42534</c:v>
                </c:pt>
                <c:pt idx="405">
                  <c:v>42535</c:v>
                </c:pt>
                <c:pt idx="406">
                  <c:v>42536</c:v>
                </c:pt>
                <c:pt idx="407">
                  <c:v>42537</c:v>
                </c:pt>
                <c:pt idx="408">
                  <c:v>42538</c:v>
                </c:pt>
                <c:pt idx="409">
                  <c:v>42541</c:v>
                </c:pt>
                <c:pt idx="410">
                  <c:v>42542</c:v>
                </c:pt>
                <c:pt idx="411">
                  <c:v>42543</c:v>
                </c:pt>
                <c:pt idx="412">
                  <c:v>42544</c:v>
                </c:pt>
                <c:pt idx="413">
                  <c:v>42545</c:v>
                </c:pt>
                <c:pt idx="414">
                  <c:v>42548</c:v>
                </c:pt>
                <c:pt idx="415">
                  <c:v>42549</c:v>
                </c:pt>
                <c:pt idx="416">
                  <c:v>42550</c:v>
                </c:pt>
                <c:pt idx="417">
                  <c:v>42551</c:v>
                </c:pt>
                <c:pt idx="418">
                  <c:v>42552</c:v>
                </c:pt>
                <c:pt idx="419">
                  <c:v>42555</c:v>
                </c:pt>
                <c:pt idx="420">
                  <c:v>42556</c:v>
                </c:pt>
                <c:pt idx="421">
                  <c:v>42557</c:v>
                </c:pt>
                <c:pt idx="422">
                  <c:v>42558</c:v>
                </c:pt>
                <c:pt idx="423">
                  <c:v>42559</c:v>
                </c:pt>
                <c:pt idx="424">
                  <c:v>42562</c:v>
                </c:pt>
                <c:pt idx="425">
                  <c:v>42563</c:v>
                </c:pt>
                <c:pt idx="426">
                  <c:v>42564</c:v>
                </c:pt>
                <c:pt idx="427">
                  <c:v>42565</c:v>
                </c:pt>
                <c:pt idx="428">
                  <c:v>42566</c:v>
                </c:pt>
                <c:pt idx="429">
                  <c:v>42569</c:v>
                </c:pt>
                <c:pt idx="430">
                  <c:v>42570</c:v>
                </c:pt>
                <c:pt idx="431">
                  <c:v>42571</c:v>
                </c:pt>
                <c:pt idx="432">
                  <c:v>42572</c:v>
                </c:pt>
                <c:pt idx="433">
                  <c:v>42573</c:v>
                </c:pt>
                <c:pt idx="434">
                  <c:v>42576</c:v>
                </c:pt>
                <c:pt idx="435">
                  <c:v>42577</c:v>
                </c:pt>
                <c:pt idx="436">
                  <c:v>42578</c:v>
                </c:pt>
                <c:pt idx="437">
                  <c:v>42579</c:v>
                </c:pt>
                <c:pt idx="438">
                  <c:v>42580</c:v>
                </c:pt>
                <c:pt idx="439">
                  <c:v>42583</c:v>
                </c:pt>
                <c:pt idx="440">
                  <c:v>42584</c:v>
                </c:pt>
                <c:pt idx="441">
                  <c:v>42585</c:v>
                </c:pt>
                <c:pt idx="442">
                  <c:v>42586</c:v>
                </c:pt>
                <c:pt idx="443">
                  <c:v>42587</c:v>
                </c:pt>
                <c:pt idx="444">
                  <c:v>42590</c:v>
                </c:pt>
                <c:pt idx="445">
                  <c:v>42591</c:v>
                </c:pt>
                <c:pt idx="446">
                  <c:v>42592</c:v>
                </c:pt>
                <c:pt idx="447">
                  <c:v>42593</c:v>
                </c:pt>
                <c:pt idx="448">
                  <c:v>42594</c:v>
                </c:pt>
                <c:pt idx="449">
                  <c:v>42597</c:v>
                </c:pt>
                <c:pt idx="450">
                  <c:v>42598</c:v>
                </c:pt>
                <c:pt idx="451">
                  <c:v>42599</c:v>
                </c:pt>
                <c:pt idx="452">
                  <c:v>42600</c:v>
                </c:pt>
                <c:pt idx="453">
                  <c:v>42601</c:v>
                </c:pt>
                <c:pt idx="454">
                  <c:v>42604</c:v>
                </c:pt>
                <c:pt idx="455">
                  <c:v>42605</c:v>
                </c:pt>
                <c:pt idx="456">
                  <c:v>42606</c:v>
                </c:pt>
                <c:pt idx="457">
                  <c:v>42607</c:v>
                </c:pt>
                <c:pt idx="458">
                  <c:v>42608</c:v>
                </c:pt>
                <c:pt idx="459">
                  <c:v>42611</c:v>
                </c:pt>
                <c:pt idx="460">
                  <c:v>42612</c:v>
                </c:pt>
                <c:pt idx="461">
                  <c:v>42613</c:v>
                </c:pt>
                <c:pt idx="462">
                  <c:v>42614</c:v>
                </c:pt>
                <c:pt idx="463">
                  <c:v>42615</c:v>
                </c:pt>
                <c:pt idx="464">
                  <c:v>42618</c:v>
                </c:pt>
                <c:pt idx="465">
                  <c:v>42619</c:v>
                </c:pt>
                <c:pt idx="466">
                  <c:v>42620</c:v>
                </c:pt>
                <c:pt idx="467">
                  <c:v>42621</c:v>
                </c:pt>
                <c:pt idx="468">
                  <c:v>42622</c:v>
                </c:pt>
                <c:pt idx="469">
                  <c:v>42625</c:v>
                </c:pt>
                <c:pt idx="470">
                  <c:v>42626</c:v>
                </c:pt>
                <c:pt idx="471">
                  <c:v>42627</c:v>
                </c:pt>
                <c:pt idx="472">
                  <c:v>42628</c:v>
                </c:pt>
                <c:pt idx="473">
                  <c:v>42629</c:v>
                </c:pt>
                <c:pt idx="474">
                  <c:v>42632</c:v>
                </c:pt>
                <c:pt idx="475">
                  <c:v>42633</c:v>
                </c:pt>
                <c:pt idx="476">
                  <c:v>42634</c:v>
                </c:pt>
                <c:pt idx="477">
                  <c:v>42635</c:v>
                </c:pt>
                <c:pt idx="478">
                  <c:v>42636</c:v>
                </c:pt>
                <c:pt idx="479">
                  <c:v>42639</c:v>
                </c:pt>
                <c:pt idx="480">
                  <c:v>42640</c:v>
                </c:pt>
                <c:pt idx="481">
                  <c:v>42641</c:v>
                </c:pt>
                <c:pt idx="482">
                  <c:v>42642</c:v>
                </c:pt>
                <c:pt idx="483">
                  <c:v>42643</c:v>
                </c:pt>
                <c:pt idx="484">
                  <c:v>42646</c:v>
                </c:pt>
                <c:pt idx="485">
                  <c:v>42647</c:v>
                </c:pt>
                <c:pt idx="486">
                  <c:v>42648</c:v>
                </c:pt>
                <c:pt idx="487">
                  <c:v>42649</c:v>
                </c:pt>
                <c:pt idx="488">
                  <c:v>42650</c:v>
                </c:pt>
                <c:pt idx="489">
                  <c:v>42653</c:v>
                </c:pt>
                <c:pt idx="490">
                  <c:v>42654</c:v>
                </c:pt>
                <c:pt idx="491">
                  <c:v>42655</c:v>
                </c:pt>
                <c:pt idx="492">
                  <c:v>42656</c:v>
                </c:pt>
                <c:pt idx="493">
                  <c:v>42657</c:v>
                </c:pt>
                <c:pt idx="494">
                  <c:v>42660</c:v>
                </c:pt>
                <c:pt idx="495">
                  <c:v>42661</c:v>
                </c:pt>
                <c:pt idx="496">
                  <c:v>42662</c:v>
                </c:pt>
                <c:pt idx="497">
                  <c:v>42663</c:v>
                </c:pt>
                <c:pt idx="498">
                  <c:v>42664</c:v>
                </c:pt>
                <c:pt idx="499">
                  <c:v>42667</c:v>
                </c:pt>
                <c:pt idx="500">
                  <c:v>42668</c:v>
                </c:pt>
                <c:pt idx="501">
                  <c:v>42669</c:v>
                </c:pt>
                <c:pt idx="502">
                  <c:v>42670</c:v>
                </c:pt>
                <c:pt idx="503">
                  <c:v>42671</c:v>
                </c:pt>
                <c:pt idx="504">
                  <c:v>42674</c:v>
                </c:pt>
                <c:pt idx="505">
                  <c:v>42675</c:v>
                </c:pt>
                <c:pt idx="506">
                  <c:v>42676</c:v>
                </c:pt>
                <c:pt idx="507">
                  <c:v>42677</c:v>
                </c:pt>
                <c:pt idx="508">
                  <c:v>42678</c:v>
                </c:pt>
                <c:pt idx="509">
                  <c:v>42681</c:v>
                </c:pt>
                <c:pt idx="510">
                  <c:v>42682</c:v>
                </c:pt>
                <c:pt idx="511">
                  <c:v>42683</c:v>
                </c:pt>
                <c:pt idx="512">
                  <c:v>42684</c:v>
                </c:pt>
                <c:pt idx="513">
                  <c:v>42685</c:v>
                </c:pt>
                <c:pt idx="514">
                  <c:v>42688</c:v>
                </c:pt>
                <c:pt idx="515">
                  <c:v>42689</c:v>
                </c:pt>
                <c:pt idx="516">
                  <c:v>42690</c:v>
                </c:pt>
                <c:pt idx="517">
                  <c:v>42691</c:v>
                </c:pt>
                <c:pt idx="518">
                  <c:v>42692</c:v>
                </c:pt>
                <c:pt idx="519">
                  <c:v>42695</c:v>
                </c:pt>
                <c:pt idx="520">
                  <c:v>42696</c:v>
                </c:pt>
                <c:pt idx="521">
                  <c:v>42697</c:v>
                </c:pt>
                <c:pt idx="522">
                  <c:v>42698</c:v>
                </c:pt>
                <c:pt idx="523">
                  <c:v>42699</c:v>
                </c:pt>
                <c:pt idx="524">
                  <c:v>42702</c:v>
                </c:pt>
                <c:pt idx="525">
                  <c:v>42703</c:v>
                </c:pt>
                <c:pt idx="526">
                  <c:v>42704</c:v>
                </c:pt>
                <c:pt idx="527">
                  <c:v>42705</c:v>
                </c:pt>
                <c:pt idx="528">
                  <c:v>42706</c:v>
                </c:pt>
                <c:pt idx="529">
                  <c:v>42709</c:v>
                </c:pt>
                <c:pt idx="530">
                  <c:v>42710</c:v>
                </c:pt>
                <c:pt idx="531">
                  <c:v>42711</c:v>
                </c:pt>
                <c:pt idx="532">
                  <c:v>42712</c:v>
                </c:pt>
                <c:pt idx="533">
                  <c:v>42713</c:v>
                </c:pt>
                <c:pt idx="534">
                  <c:v>42716</c:v>
                </c:pt>
                <c:pt idx="535">
                  <c:v>42717</c:v>
                </c:pt>
                <c:pt idx="536">
                  <c:v>42718</c:v>
                </c:pt>
                <c:pt idx="537">
                  <c:v>42719</c:v>
                </c:pt>
                <c:pt idx="538">
                  <c:v>42720</c:v>
                </c:pt>
                <c:pt idx="539">
                  <c:v>42723</c:v>
                </c:pt>
                <c:pt idx="540">
                  <c:v>42724</c:v>
                </c:pt>
                <c:pt idx="541">
                  <c:v>42725</c:v>
                </c:pt>
                <c:pt idx="542">
                  <c:v>42726</c:v>
                </c:pt>
                <c:pt idx="543">
                  <c:v>42727</c:v>
                </c:pt>
                <c:pt idx="544">
                  <c:v>42730</c:v>
                </c:pt>
                <c:pt idx="545">
                  <c:v>42731</c:v>
                </c:pt>
                <c:pt idx="546">
                  <c:v>42732</c:v>
                </c:pt>
                <c:pt idx="547">
                  <c:v>42733</c:v>
                </c:pt>
                <c:pt idx="548">
                  <c:v>42734</c:v>
                </c:pt>
                <c:pt idx="549">
                  <c:v>42737</c:v>
                </c:pt>
                <c:pt idx="550">
                  <c:v>42738</c:v>
                </c:pt>
                <c:pt idx="551">
                  <c:v>42739</c:v>
                </c:pt>
                <c:pt idx="552">
                  <c:v>42740</c:v>
                </c:pt>
                <c:pt idx="553">
                  <c:v>42741</c:v>
                </c:pt>
                <c:pt idx="554">
                  <c:v>42744</c:v>
                </c:pt>
                <c:pt idx="555">
                  <c:v>42745</c:v>
                </c:pt>
                <c:pt idx="556">
                  <c:v>42746</c:v>
                </c:pt>
                <c:pt idx="557">
                  <c:v>42747</c:v>
                </c:pt>
                <c:pt idx="558">
                  <c:v>42748</c:v>
                </c:pt>
                <c:pt idx="559">
                  <c:v>42751</c:v>
                </c:pt>
                <c:pt idx="560">
                  <c:v>42752</c:v>
                </c:pt>
                <c:pt idx="561">
                  <c:v>42753</c:v>
                </c:pt>
                <c:pt idx="562">
                  <c:v>42754</c:v>
                </c:pt>
                <c:pt idx="563">
                  <c:v>42755</c:v>
                </c:pt>
                <c:pt idx="564">
                  <c:v>42758</c:v>
                </c:pt>
                <c:pt idx="565">
                  <c:v>42759</c:v>
                </c:pt>
                <c:pt idx="566">
                  <c:v>42760</c:v>
                </c:pt>
                <c:pt idx="567">
                  <c:v>42761</c:v>
                </c:pt>
                <c:pt idx="568">
                  <c:v>42762</c:v>
                </c:pt>
                <c:pt idx="569">
                  <c:v>42765</c:v>
                </c:pt>
                <c:pt idx="570">
                  <c:v>42766</c:v>
                </c:pt>
                <c:pt idx="571">
                  <c:v>42767</c:v>
                </c:pt>
                <c:pt idx="572">
                  <c:v>42768</c:v>
                </c:pt>
                <c:pt idx="573">
                  <c:v>42769</c:v>
                </c:pt>
                <c:pt idx="574">
                  <c:v>42772</c:v>
                </c:pt>
                <c:pt idx="575">
                  <c:v>42773</c:v>
                </c:pt>
                <c:pt idx="576">
                  <c:v>42774</c:v>
                </c:pt>
                <c:pt idx="577">
                  <c:v>42775</c:v>
                </c:pt>
                <c:pt idx="578">
                  <c:v>42776</c:v>
                </c:pt>
                <c:pt idx="579">
                  <c:v>42779</c:v>
                </c:pt>
                <c:pt idx="580">
                  <c:v>42780</c:v>
                </c:pt>
                <c:pt idx="581">
                  <c:v>42781</c:v>
                </c:pt>
                <c:pt idx="582">
                  <c:v>42782</c:v>
                </c:pt>
                <c:pt idx="583">
                  <c:v>42783</c:v>
                </c:pt>
                <c:pt idx="584">
                  <c:v>42786</c:v>
                </c:pt>
                <c:pt idx="585">
                  <c:v>42787</c:v>
                </c:pt>
                <c:pt idx="586">
                  <c:v>42788</c:v>
                </c:pt>
                <c:pt idx="587">
                  <c:v>42789</c:v>
                </c:pt>
                <c:pt idx="588">
                  <c:v>42790</c:v>
                </c:pt>
                <c:pt idx="589">
                  <c:v>42793</c:v>
                </c:pt>
                <c:pt idx="590">
                  <c:v>42794</c:v>
                </c:pt>
                <c:pt idx="591">
                  <c:v>42795</c:v>
                </c:pt>
                <c:pt idx="592">
                  <c:v>42796</c:v>
                </c:pt>
                <c:pt idx="593">
                  <c:v>42797</c:v>
                </c:pt>
                <c:pt idx="594">
                  <c:v>42800</c:v>
                </c:pt>
                <c:pt idx="595">
                  <c:v>42801</c:v>
                </c:pt>
                <c:pt idx="596">
                  <c:v>42802</c:v>
                </c:pt>
                <c:pt idx="597">
                  <c:v>42803</c:v>
                </c:pt>
                <c:pt idx="598">
                  <c:v>42804</c:v>
                </c:pt>
                <c:pt idx="599">
                  <c:v>42807</c:v>
                </c:pt>
                <c:pt idx="600">
                  <c:v>42808</c:v>
                </c:pt>
                <c:pt idx="601">
                  <c:v>42809</c:v>
                </c:pt>
                <c:pt idx="602">
                  <c:v>42810</c:v>
                </c:pt>
                <c:pt idx="603">
                  <c:v>42811</c:v>
                </c:pt>
                <c:pt idx="604">
                  <c:v>42814</c:v>
                </c:pt>
                <c:pt idx="605">
                  <c:v>42815</c:v>
                </c:pt>
                <c:pt idx="606">
                  <c:v>42816</c:v>
                </c:pt>
                <c:pt idx="607">
                  <c:v>42817</c:v>
                </c:pt>
                <c:pt idx="608">
                  <c:v>42818</c:v>
                </c:pt>
                <c:pt idx="609">
                  <c:v>42821</c:v>
                </c:pt>
                <c:pt idx="610">
                  <c:v>42822</c:v>
                </c:pt>
                <c:pt idx="611">
                  <c:v>42823</c:v>
                </c:pt>
                <c:pt idx="612">
                  <c:v>42824</c:v>
                </c:pt>
                <c:pt idx="613">
                  <c:v>42825</c:v>
                </c:pt>
                <c:pt idx="614">
                  <c:v>42828</c:v>
                </c:pt>
                <c:pt idx="615">
                  <c:v>42829</c:v>
                </c:pt>
                <c:pt idx="616">
                  <c:v>42830</c:v>
                </c:pt>
                <c:pt idx="617">
                  <c:v>42831</c:v>
                </c:pt>
                <c:pt idx="618">
                  <c:v>42832</c:v>
                </c:pt>
                <c:pt idx="619">
                  <c:v>42835</c:v>
                </c:pt>
                <c:pt idx="620">
                  <c:v>42836</c:v>
                </c:pt>
                <c:pt idx="621">
                  <c:v>42837</c:v>
                </c:pt>
                <c:pt idx="622">
                  <c:v>42838</c:v>
                </c:pt>
                <c:pt idx="623">
                  <c:v>42839</c:v>
                </c:pt>
                <c:pt idx="624">
                  <c:v>42842</c:v>
                </c:pt>
                <c:pt idx="625">
                  <c:v>42843</c:v>
                </c:pt>
                <c:pt idx="626">
                  <c:v>42844</c:v>
                </c:pt>
                <c:pt idx="627">
                  <c:v>42845</c:v>
                </c:pt>
                <c:pt idx="628">
                  <c:v>42846</c:v>
                </c:pt>
                <c:pt idx="629">
                  <c:v>42849</c:v>
                </c:pt>
                <c:pt idx="630">
                  <c:v>42850</c:v>
                </c:pt>
                <c:pt idx="631">
                  <c:v>42851</c:v>
                </c:pt>
                <c:pt idx="632">
                  <c:v>42852</c:v>
                </c:pt>
                <c:pt idx="633">
                  <c:v>42853</c:v>
                </c:pt>
                <c:pt idx="634">
                  <c:v>42856</c:v>
                </c:pt>
                <c:pt idx="635">
                  <c:v>42857</c:v>
                </c:pt>
                <c:pt idx="636">
                  <c:v>42858</c:v>
                </c:pt>
                <c:pt idx="637">
                  <c:v>42859</c:v>
                </c:pt>
                <c:pt idx="638">
                  <c:v>42860</c:v>
                </c:pt>
                <c:pt idx="639">
                  <c:v>42863</c:v>
                </c:pt>
                <c:pt idx="640">
                  <c:v>42864</c:v>
                </c:pt>
                <c:pt idx="641">
                  <c:v>42865</c:v>
                </c:pt>
                <c:pt idx="642">
                  <c:v>42866</c:v>
                </c:pt>
                <c:pt idx="643">
                  <c:v>42867</c:v>
                </c:pt>
                <c:pt idx="644">
                  <c:v>42870</c:v>
                </c:pt>
                <c:pt idx="645">
                  <c:v>42871</c:v>
                </c:pt>
                <c:pt idx="646">
                  <c:v>42872</c:v>
                </c:pt>
                <c:pt idx="647">
                  <c:v>42873</c:v>
                </c:pt>
                <c:pt idx="648">
                  <c:v>42874</c:v>
                </c:pt>
                <c:pt idx="649">
                  <c:v>42877</c:v>
                </c:pt>
                <c:pt idx="650">
                  <c:v>42878</c:v>
                </c:pt>
                <c:pt idx="651">
                  <c:v>42879</c:v>
                </c:pt>
                <c:pt idx="652">
                  <c:v>42880</c:v>
                </c:pt>
                <c:pt idx="653">
                  <c:v>42881</c:v>
                </c:pt>
                <c:pt idx="654">
                  <c:v>42884</c:v>
                </c:pt>
                <c:pt idx="655">
                  <c:v>42885</c:v>
                </c:pt>
                <c:pt idx="656">
                  <c:v>42886</c:v>
                </c:pt>
                <c:pt idx="657">
                  <c:v>42887</c:v>
                </c:pt>
                <c:pt idx="658">
                  <c:v>42888</c:v>
                </c:pt>
                <c:pt idx="659">
                  <c:v>42891</c:v>
                </c:pt>
                <c:pt idx="660">
                  <c:v>42892</c:v>
                </c:pt>
                <c:pt idx="661">
                  <c:v>42893</c:v>
                </c:pt>
                <c:pt idx="662">
                  <c:v>42894</c:v>
                </c:pt>
                <c:pt idx="663">
                  <c:v>42895</c:v>
                </c:pt>
                <c:pt idx="664">
                  <c:v>42898</c:v>
                </c:pt>
                <c:pt idx="665">
                  <c:v>42899</c:v>
                </c:pt>
                <c:pt idx="666">
                  <c:v>42900</c:v>
                </c:pt>
                <c:pt idx="667">
                  <c:v>42901</c:v>
                </c:pt>
                <c:pt idx="668">
                  <c:v>42902</c:v>
                </c:pt>
                <c:pt idx="669">
                  <c:v>42905</c:v>
                </c:pt>
                <c:pt idx="670">
                  <c:v>42906</c:v>
                </c:pt>
                <c:pt idx="671">
                  <c:v>42907</c:v>
                </c:pt>
                <c:pt idx="672">
                  <c:v>42908</c:v>
                </c:pt>
                <c:pt idx="673">
                  <c:v>42909</c:v>
                </c:pt>
                <c:pt idx="674">
                  <c:v>42912</c:v>
                </c:pt>
                <c:pt idx="675">
                  <c:v>42913</c:v>
                </c:pt>
                <c:pt idx="676">
                  <c:v>42914</c:v>
                </c:pt>
                <c:pt idx="677">
                  <c:v>42915</c:v>
                </c:pt>
                <c:pt idx="678">
                  <c:v>42916</c:v>
                </c:pt>
                <c:pt idx="679">
                  <c:v>42919</c:v>
                </c:pt>
                <c:pt idx="680">
                  <c:v>42920</c:v>
                </c:pt>
                <c:pt idx="681">
                  <c:v>42921</c:v>
                </c:pt>
                <c:pt idx="682">
                  <c:v>42922</c:v>
                </c:pt>
                <c:pt idx="683">
                  <c:v>42923</c:v>
                </c:pt>
                <c:pt idx="684">
                  <c:v>42926</c:v>
                </c:pt>
                <c:pt idx="685">
                  <c:v>42927</c:v>
                </c:pt>
                <c:pt idx="686">
                  <c:v>42928</c:v>
                </c:pt>
                <c:pt idx="687">
                  <c:v>42929</c:v>
                </c:pt>
                <c:pt idx="688">
                  <c:v>42930</c:v>
                </c:pt>
                <c:pt idx="689">
                  <c:v>42933</c:v>
                </c:pt>
                <c:pt idx="690">
                  <c:v>42934</c:v>
                </c:pt>
                <c:pt idx="691">
                  <c:v>42935</c:v>
                </c:pt>
                <c:pt idx="692">
                  <c:v>42936</c:v>
                </c:pt>
                <c:pt idx="693">
                  <c:v>42937</c:v>
                </c:pt>
                <c:pt idx="694">
                  <c:v>42940</c:v>
                </c:pt>
                <c:pt idx="695">
                  <c:v>42941</c:v>
                </c:pt>
                <c:pt idx="696">
                  <c:v>42942</c:v>
                </c:pt>
                <c:pt idx="697">
                  <c:v>42943</c:v>
                </c:pt>
                <c:pt idx="698">
                  <c:v>42944</c:v>
                </c:pt>
                <c:pt idx="699">
                  <c:v>42947</c:v>
                </c:pt>
                <c:pt idx="700">
                  <c:v>42948</c:v>
                </c:pt>
                <c:pt idx="701">
                  <c:v>42949</c:v>
                </c:pt>
                <c:pt idx="702">
                  <c:v>42950</c:v>
                </c:pt>
                <c:pt idx="703">
                  <c:v>42951</c:v>
                </c:pt>
                <c:pt idx="704">
                  <c:v>42954</c:v>
                </c:pt>
                <c:pt idx="705">
                  <c:v>42955</c:v>
                </c:pt>
                <c:pt idx="706">
                  <c:v>42956</c:v>
                </c:pt>
                <c:pt idx="707">
                  <c:v>42957</c:v>
                </c:pt>
                <c:pt idx="708">
                  <c:v>42958</c:v>
                </c:pt>
                <c:pt idx="709">
                  <c:v>42961</c:v>
                </c:pt>
                <c:pt idx="710">
                  <c:v>42962</c:v>
                </c:pt>
                <c:pt idx="711">
                  <c:v>42963</c:v>
                </c:pt>
                <c:pt idx="712">
                  <c:v>42964</c:v>
                </c:pt>
                <c:pt idx="713">
                  <c:v>42965</c:v>
                </c:pt>
                <c:pt idx="714">
                  <c:v>42968</c:v>
                </c:pt>
                <c:pt idx="715">
                  <c:v>42969</c:v>
                </c:pt>
                <c:pt idx="716">
                  <c:v>42970</c:v>
                </c:pt>
                <c:pt idx="717">
                  <c:v>42971</c:v>
                </c:pt>
                <c:pt idx="718">
                  <c:v>42972</c:v>
                </c:pt>
                <c:pt idx="719">
                  <c:v>42975</c:v>
                </c:pt>
                <c:pt idx="720">
                  <c:v>42976</c:v>
                </c:pt>
                <c:pt idx="721">
                  <c:v>42977</c:v>
                </c:pt>
                <c:pt idx="722">
                  <c:v>42978</c:v>
                </c:pt>
                <c:pt idx="723">
                  <c:v>42979</c:v>
                </c:pt>
                <c:pt idx="724">
                  <c:v>42982</c:v>
                </c:pt>
                <c:pt idx="725">
                  <c:v>42983</c:v>
                </c:pt>
                <c:pt idx="726">
                  <c:v>42984</c:v>
                </c:pt>
                <c:pt idx="727">
                  <c:v>42985</c:v>
                </c:pt>
                <c:pt idx="728">
                  <c:v>42986</c:v>
                </c:pt>
                <c:pt idx="729">
                  <c:v>42989</c:v>
                </c:pt>
                <c:pt idx="730">
                  <c:v>42990</c:v>
                </c:pt>
                <c:pt idx="731">
                  <c:v>42991</c:v>
                </c:pt>
                <c:pt idx="732">
                  <c:v>42992</c:v>
                </c:pt>
                <c:pt idx="733">
                  <c:v>42993</c:v>
                </c:pt>
                <c:pt idx="734">
                  <c:v>42996</c:v>
                </c:pt>
                <c:pt idx="735">
                  <c:v>42997</c:v>
                </c:pt>
                <c:pt idx="736">
                  <c:v>42998</c:v>
                </c:pt>
                <c:pt idx="737">
                  <c:v>42999</c:v>
                </c:pt>
                <c:pt idx="738">
                  <c:v>43000</c:v>
                </c:pt>
                <c:pt idx="739">
                  <c:v>43003</c:v>
                </c:pt>
                <c:pt idx="740">
                  <c:v>43004</c:v>
                </c:pt>
                <c:pt idx="741">
                  <c:v>43005</c:v>
                </c:pt>
                <c:pt idx="742">
                  <c:v>43006</c:v>
                </c:pt>
                <c:pt idx="743">
                  <c:v>43007</c:v>
                </c:pt>
                <c:pt idx="744">
                  <c:v>43010</c:v>
                </c:pt>
                <c:pt idx="745">
                  <c:v>43011</c:v>
                </c:pt>
                <c:pt idx="746">
                  <c:v>43012</c:v>
                </c:pt>
                <c:pt idx="747">
                  <c:v>43013</c:v>
                </c:pt>
                <c:pt idx="748">
                  <c:v>43014</c:v>
                </c:pt>
                <c:pt idx="749">
                  <c:v>43017</c:v>
                </c:pt>
                <c:pt idx="750">
                  <c:v>43018</c:v>
                </c:pt>
                <c:pt idx="751">
                  <c:v>43019</c:v>
                </c:pt>
                <c:pt idx="752">
                  <c:v>43020</c:v>
                </c:pt>
                <c:pt idx="753">
                  <c:v>43021</c:v>
                </c:pt>
                <c:pt idx="754">
                  <c:v>43024</c:v>
                </c:pt>
                <c:pt idx="755">
                  <c:v>43025</c:v>
                </c:pt>
                <c:pt idx="756">
                  <c:v>43026</c:v>
                </c:pt>
                <c:pt idx="757">
                  <c:v>43027</c:v>
                </c:pt>
                <c:pt idx="758">
                  <c:v>43028</c:v>
                </c:pt>
                <c:pt idx="759">
                  <c:v>43031</c:v>
                </c:pt>
                <c:pt idx="760">
                  <c:v>43032</c:v>
                </c:pt>
                <c:pt idx="761">
                  <c:v>43033</c:v>
                </c:pt>
                <c:pt idx="762">
                  <c:v>43034</c:v>
                </c:pt>
                <c:pt idx="763">
                  <c:v>43035</c:v>
                </c:pt>
                <c:pt idx="764">
                  <c:v>43038</c:v>
                </c:pt>
                <c:pt idx="765">
                  <c:v>43039</c:v>
                </c:pt>
                <c:pt idx="766">
                  <c:v>43040</c:v>
                </c:pt>
                <c:pt idx="767">
                  <c:v>43041</c:v>
                </c:pt>
                <c:pt idx="768">
                  <c:v>43042</c:v>
                </c:pt>
                <c:pt idx="769">
                  <c:v>43045</c:v>
                </c:pt>
                <c:pt idx="770">
                  <c:v>43046</c:v>
                </c:pt>
                <c:pt idx="771">
                  <c:v>43047</c:v>
                </c:pt>
                <c:pt idx="772">
                  <c:v>43048</c:v>
                </c:pt>
                <c:pt idx="773">
                  <c:v>43049</c:v>
                </c:pt>
                <c:pt idx="774">
                  <c:v>43052</c:v>
                </c:pt>
                <c:pt idx="775">
                  <c:v>43053</c:v>
                </c:pt>
                <c:pt idx="776">
                  <c:v>43054</c:v>
                </c:pt>
                <c:pt idx="777">
                  <c:v>43055</c:v>
                </c:pt>
                <c:pt idx="778">
                  <c:v>43056</c:v>
                </c:pt>
                <c:pt idx="779">
                  <c:v>43059</c:v>
                </c:pt>
                <c:pt idx="780">
                  <c:v>43060</c:v>
                </c:pt>
                <c:pt idx="781">
                  <c:v>43061</c:v>
                </c:pt>
                <c:pt idx="782">
                  <c:v>43062</c:v>
                </c:pt>
                <c:pt idx="783">
                  <c:v>43063</c:v>
                </c:pt>
                <c:pt idx="784">
                  <c:v>43066</c:v>
                </c:pt>
                <c:pt idx="785">
                  <c:v>43067</c:v>
                </c:pt>
                <c:pt idx="786">
                  <c:v>43068</c:v>
                </c:pt>
                <c:pt idx="787">
                  <c:v>43069</c:v>
                </c:pt>
                <c:pt idx="788">
                  <c:v>43070</c:v>
                </c:pt>
                <c:pt idx="789">
                  <c:v>43073</c:v>
                </c:pt>
                <c:pt idx="790">
                  <c:v>43074</c:v>
                </c:pt>
                <c:pt idx="791">
                  <c:v>43075</c:v>
                </c:pt>
                <c:pt idx="792">
                  <c:v>43076</c:v>
                </c:pt>
                <c:pt idx="793">
                  <c:v>43077</c:v>
                </c:pt>
                <c:pt idx="794">
                  <c:v>43080</c:v>
                </c:pt>
                <c:pt idx="795">
                  <c:v>43081</c:v>
                </c:pt>
                <c:pt idx="796">
                  <c:v>43082</c:v>
                </c:pt>
                <c:pt idx="797">
                  <c:v>43083</c:v>
                </c:pt>
                <c:pt idx="798">
                  <c:v>43084</c:v>
                </c:pt>
                <c:pt idx="799">
                  <c:v>43087</c:v>
                </c:pt>
                <c:pt idx="800">
                  <c:v>43088</c:v>
                </c:pt>
                <c:pt idx="801">
                  <c:v>43089</c:v>
                </c:pt>
                <c:pt idx="802">
                  <c:v>43090</c:v>
                </c:pt>
                <c:pt idx="803">
                  <c:v>43091</c:v>
                </c:pt>
                <c:pt idx="804">
                  <c:v>43094</c:v>
                </c:pt>
                <c:pt idx="805">
                  <c:v>43095</c:v>
                </c:pt>
                <c:pt idx="806">
                  <c:v>43096</c:v>
                </c:pt>
                <c:pt idx="807">
                  <c:v>43097</c:v>
                </c:pt>
                <c:pt idx="808">
                  <c:v>43098</c:v>
                </c:pt>
                <c:pt idx="809">
                  <c:v>43101</c:v>
                </c:pt>
                <c:pt idx="810">
                  <c:v>43102</c:v>
                </c:pt>
                <c:pt idx="811">
                  <c:v>43103</c:v>
                </c:pt>
                <c:pt idx="812">
                  <c:v>43104</c:v>
                </c:pt>
                <c:pt idx="813">
                  <c:v>43105</c:v>
                </c:pt>
                <c:pt idx="814">
                  <c:v>43108</c:v>
                </c:pt>
                <c:pt idx="815">
                  <c:v>43109</c:v>
                </c:pt>
                <c:pt idx="816">
                  <c:v>43110</c:v>
                </c:pt>
                <c:pt idx="817">
                  <c:v>43111</c:v>
                </c:pt>
                <c:pt idx="818">
                  <c:v>43112</c:v>
                </c:pt>
                <c:pt idx="819">
                  <c:v>43115</c:v>
                </c:pt>
                <c:pt idx="820">
                  <c:v>43116</c:v>
                </c:pt>
                <c:pt idx="821">
                  <c:v>43117</c:v>
                </c:pt>
                <c:pt idx="822">
                  <c:v>43118</c:v>
                </c:pt>
                <c:pt idx="823">
                  <c:v>43119</c:v>
                </c:pt>
                <c:pt idx="824">
                  <c:v>43122</c:v>
                </c:pt>
                <c:pt idx="825">
                  <c:v>43123</c:v>
                </c:pt>
                <c:pt idx="826">
                  <c:v>43124</c:v>
                </c:pt>
                <c:pt idx="827">
                  <c:v>43125</c:v>
                </c:pt>
                <c:pt idx="828">
                  <c:v>43126</c:v>
                </c:pt>
                <c:pt idx="829">
                  <c:v>43129</c:v>
                </c:pt>
                <c:pt idx="830">
                  <c:v>43130</c:v>
                </c:pt>
                <c:pt idx="831">
                  <c:v>43131</c:v>
                </c:pt>
                <c:pt idx="832">
                  <c:v>43132</c:v>
                </c:pt>
                <c:pt idx="833">
                  <c:v>43133</c:v>
                </c:pt>
                <c:pt idx="834">
                  <c:v>43136</c:v>
                </c:pt>
                <c:pt idx="835">
                  <c:v>43137</c:v>
                </c:pt>
                <c:pt idx="836">
                  <c:v>43138</c:v>
                </c:pt>
                <c:pt idx="837">
                  <c:v>43139</c:v>
                </c:pt>
                <c:pt idx="838">
                  <c:v>43140</c:v>
                </c:pt>
                <c:pt idx="839">
                  <c:v>43143</c:v>
                </c:pt>
                <c:pt idx="840">
                  <c:v>43144</c:v>
                </c:pt>
                <c:pt idx="841">
                  <c:v>43145</c:v>
                </c:pt>
                <c:pt idx="842">
                  <c:v>43146</c:v>
                </c:pt>
                <c:pt idx="843">
                  <c:v>43147</c:v>
                </c:pt>
                <c:pt idx="844">
                  <c:v>43150</c:v>
                </c:pt>
                <c:pt idx="845">
                  <c:v>43151</c:v>
                </c:pt>
                <c:pt idx="846">
                  <c:v>43152</c:v>
                </c:pt>
                <c:pt idx="847">
                  <c:v>43153</c:v>
                </c:pt>
                <c:pt idx="848">
                  <c:v>43154</c:v>
                </c:pt>
                <c:pt idx="849">
                  <c:v>43157</c:v>
                </c:pt>
                <c:pt idx="850">
                  <c:v>43158</c:v>
                </c:pt>
                <c:pt idx="851">
                  <c:v>43159</c:v>
                </c:pt>
                <c:pt idx="852">
                  <c:v>43160</c:v>
                </c:pt>
                <c:pt idx="853">
                  <c:v>43161</c:v>
                </c:pt>
                <c:pt idx="854">
                  <c:v>43164</c:v>
                </c:pt>
                <c:pt idx="855">
                  <c:v>43165</c:v>
                </c:pt>
                <c:pt idx="856">
                  <c:v>43166</c:v>
                </c:pt>
                <c:pt idx="857">
                  <c:v>43167</c:v>
                </c:pt>
                <c:pt idx="858">
                  <c:v>43168</c:v>
                </c:pt>
                <c:pt idx="859">
                  <c:v>43171</c:v>
                </c:pt>
                <c:pt idx="860">
                  <c:v>43172</c:v>
                </c:pt>
                <c:pt idx="861">
                  <c:v>43173</c:v>
                </c:pt>
                <c:pt idx="862">
                  <c:v>43174</c:v>
                </c:pt>
                <c:pt idx="863">
                  <c:v>43175</c:v>
                </c:pt>
                <c:pt idx="864">
                  <c:v>43178</c:v>
                </c:pt>
                <c:pt idx="865">
                  <c:v>43179</c:v>
                </c:pt>
                <c:pt idx="866">
                  <c:v>43180</c:v>
                </c:pt>
                <c:pt idx="867">
                  <c:v>43181</c:v>
                </c:pt>
                <c:pt idx="868">
                  <c:v>43182</c:v>
                </c:pt>
                <c:pt idx="869">
                  <c:v>43185</c:v>
                </c:pt>
                <c:pt idx="870">
                  <c:v>43186</c:v>
                </c:pt>
                <c:pt idx="871">
                  <c:v>43187</c:v>
                </c:pt>
                <c:pt idx="872">
                  <c:v>43188</c:v>
                </c:pt>
                <c:pt idx="873">
                  <c:v>43189</c:v>
                </c:pt>
                <c:pt idx="874">
                  <c:v>43192</c:v>
                </c:pt>
                <c:pt idx="875">
                  <c:v>43193</c:v>
                </c:pt>
                <c:pt idx="876">
                  <c:v>43194</c:v>
                </c:pt>
                <c:pt idx="877">
                  <c:v>43195</c:v>
                </c:pt>
                <c:pt idx="878">
                  <c:v>43196</c:v>
                </c:pt>
                <c:pt idx="879">
                  <c:v>43199</c:v>
                </c:pt>
                <c:pt idx="880">
                  <c:v>43200</c:v>
                </c:pt>
                <c:pt idx="881">
                  <c:v>43201</c:v>
                </c:pt>
                <c:pt idx="882">
                  <c:v>43202</c:v>
                </c:pt>
                <c:pt idx="883">
                  <c:v>43203</c:v>
                </c:pt>
                <c:pt idx="884">
                  <c:v>43206</c:v>
                </c:pt>
                <c:pt idx="885">
                  <c:v>43207</c:v>
                </c:pt>
                <c:pt idx="886">
                  <c:v>43208</c:v>
                </c:pt>
                <c:pt idx="887">
                  <c:v>43209</c:v>
                </c:pt>
                <c:pt idx="888">
                  <c:v>43210</c:v>
                </c:pt>
                <c:pt idx="889">
                  <c:v>43213</c:v>
                </c:pt>
                <c:pt idx="890">
                  <c:v>43214</c:v>
                </c:pt>
                <c:pt idx="891">
                  <c:v>43215</c:v>
                </c:pt>
                <c:pt idx="892">
                  <c:v>43216</c:v>
                </c:pt>
                <c:pt idx="893">
                  <c:v>43217</c:v>
                </c:pt>
                <c:pt idx="894">
                  <c:v>43220</c:v>
                </c:pt>
                <c:pt idx="895">
                  <c:v>43221</c:v>
                </c:pt>
                <c:pt idx="896">
                  <c:v>43222</c:v>
                </c:pt>
                <c:pt idx="897">
                  <c:v>43223</c:v>
                </c:pt>
                <c:pt idx="898">
                  <c:v>43224</c:v>
                </c:pt>
                <c:pt idx="899">
                  <c:v>43227</c:v>
                </c:pt>
                <c:pt idx="900">
                  <c:v>43228</c:v>
                </c:pt>
                <c:pt idx="901">
                  <c:v>43229</c:v>
                </c:pt>
                <c:pt idx="902">
                  <c:v>43230</c:v>
                </c:pt>
                <c:pt idx="903">
                  <c:v>43231</c:v>
                </c:pt>
                <c:pt idx="904">
                  <c:v>43234</c:v>
                </c:pt>
                <c:pt idx="905">
                  <c:v>43235</c:v>
                </c:pt>
                <c:pt idx="906">
                  <c:v>43236</c:v>
                </c:pt>
                <c:pt idx="907">
                  <c:v>43237</c:v>
                </c:pt>
                <c:pt idx="908">
                  <c:v>43238</c:v>
                </c:pt>
                <c:pt idx="909">
                  <c:v>43241</c:v>
                </c:pt>
                <c:pt idx="910">
                  <c:v>43242</c:v>
                </c:pt>
                <c:pt idx="911">
                  <c:v>43243</c:v>
                </c:pt>
                <c:pt idx="912">
                  <c:v>43244</c:v>
                </c:pt>
                <c:pt idx="913">
                  <c:v>43245</c:v>
                </c:pt>
                <c:pt idx="914">
                  <c:v>43248</c:v>
                </c:pt>
                <c:pt idx="915">
                  <c:v>43249</c:v>
                </c:pt>
                <c:pt idx="916">
                  <c:v>43250</c:v>
                </c:pt>
                <c:pt idx="917">
                  <c:v>43251</c:v>
                </c:pt>
                <c:pt idx="918">
                  <c:v>43252</c:v>
                </c:pt>
                <c:pt idx="919">
                  <c:v>43255</c:v>
                </c:pt>
                <c:pt idx="920">
                  <c:v>43256</c:v>
                </c:pt>
                <c:pt idx="921">
                  <c:v>43257</c:v>
                </c:pt>
                <c:pt idx="922">
                  <c:v>43258</c:v>
                </c:pt>
                <c:pt idx="923">
                  <c:v>43259</c:v>
                </c:pt>
                <c:pt idx="924">
                  <c:v>43262</c:v>
                </c:pt>
                <c:pt idx="925">
                  <c:v>43263</c:v>
                </c:pt>
                <c:pt idx="926">
                  <c:v>43264</c:v>
                </c:pt>
                <c:pt idx="927">
                  <c:v>43265</c:v>
                </c:pt>
                <c:pt idx="928">
                  <c:v>43266</c:v>
                </c:pt>
                <c:pt idx="929">
                  <c:v>43269</c:v>
                </c:pt>
                <c:pt idx="930">
                  <c:v>43270</c:v>
                </c:pt>
                <c:pt idx="931">
                  <c:v>43271</c:v>
                </c:pt>
                <c:pt idx="932">
                  <c:v>43272</c:v>
                </c:pt>
                <c:pt idx="933">
                  <c:v>43273</c:v>
                </c:pt>
                <c:pt idx="934">
                  <c:v>43276</c:v>
                </c:pt>
                <c:pt idx="935">
                  <c:v>43277</c:v>
                </c:pt>
                <c:pt idx="936">
                  <c:v>43278</c:v>
                </c:pt>
                <c:pt idx="937">
                  <c:v>43279</c:v>
                </c:pt>
                <c:pt idx="938">
                  <c:v>43280</c:v>
                </c:pt>
                <c:pt idx="939">
                  <c:v>43283</c:v>
                </c:pt>
                <c:pt idx="940">
                  <c:v>43284</c:v>
                </c:pt>
                <c:pt idx="941">
                  <c:v>43285</c:v>
                </c:pt>
                <c:pt idx="942">
                  <c:v>43286</c:v>
                </c:pt>
                <c:pt idx="943">
                  <c:v>43287</c:v>
                </c:pt>
                <c:pt idx="944">
                  <c:v>43290</c:v>
                </c:pt>
                <c:pt idx="945">
                  <c:v>43291</c:v>
                </c:pt>
                <c:pt idx="946">
                  <c:v>43292</c:v>
                </c:pt>
                <c:pt idx="947">
                  <c:v>43293</c:v>
                </c:pt>
                <c:pt idx="948">
                  <c:v>43294</c:v>
                </c:pt>
                <c:pt idx="949">
                  <c:v>43297</c:v>
                </c:pt>
                <c:pt idx="950">
                  <c:v>43298</c:v>
                </c:pt>
                <c:pt idx="951">
                  <c:v>43299</c:v>
                </c:pt>
                <c:pt idx="952">
                  <c:v>43300</c:v>
                </c:pt>
                <c:pt idx="953">
                  <c:v>43301</c:v>
                </c:pt>
                <c:pt idx="954">
                  <c:v>43304</c:v>
                </c:pt>
                <c:pt idx="955">
                  <c:v>43305</c:v>
                </c:pt>
                <c:pt idx="956">
                  <c:v>43306</c:v>
                </c:pt>
                <c:pt idx="957">
                  <c:v>43307</c:v>
                </c:pt>
                <c:pt idx="958">
                  <c:v>43308</c:v>
                </c:pt>
                <c:pt idx="959">
                  <c:v>43311</c:v>
                </c:pt>
                <c:pt idx="960">
                  <c:v>43312</c:v>
                </c:pt>
                <c:pt idx="961">
                  <c:v>43313</c:v>
                </c:pt>
                <c:pt idx="962">
                  <c:v>43314</c:v>
                </c:pt>
                <c:pt idx="963">
                  <c:v>43315</c:v>
                </c:pt>
                <c:pt idx="964">
                  <c:v>43318</c:v>
                </c:pt>
                <c:pt idx="965">
                  <c:v>43319</c:v>
                </c:pt>
                <c:pt idx="966">
                  <c:v>43320</c:v>
                </c:pt>
                <c:pt idx="967">
                  <c:v>43321</c:v>
                </c:pt>
                <c:pt idx="968">
                  <c:v>43322</c:v>
                </c:pt>
                <c:pt idx="969">
                  <c:v>43325</c:v>
                </c:pt>
                <c:pt idx="970">
                  <c:v>43326</c:v>
                </c:pt>
                <c:pt idx="971">
                  <c:v>43327</c:v>
                </c:pt>
                <c:pt idx="972">
                  <c:v>43328</c:v>
                </c:pt>
                <c:pt idx="973">
                  <c:v>43329</c:v>
                </c:pt>
                <c:pt idx="974">
                  <c:v>43332</c:v>
                </c:pt>
                <c:pt idx="975">
                  <c:v>43333</c:v>
                </c:pt>
                <c:pt idx="976">
                  <c:v>43334</c:v>
                </c:pt>
                <c:pt idx="977">
                  <c:v>43335</c:v>
                </c:pt>
                <c:pt idx="978">
                  <c:v>43336</c:v>
                </c:pt>
                <c:pt idx="979">
                  <c:v>43339</c:v>
                </c:pt>
                <c:pt idx="980">
                  <c:v>43340</c:v>
                </c:pt>
                <c:pt idx="981">
                  <c:v>43341</c:v>
                </c:pt>
                <c:pt idx="982">
                  <c:v>43342</c:v>
                </c:pt>
                <c:pt idx="983">
                  <c:v>43343</c:v>
                </c:pt>
                <c:pt idx="984">
                  <c:v>43346</c:v>
                </c:pt>
                <c:pt idx="985">
                  <c:v>43347</c:v>
                </c:pt>
                <c:pt idx="986">
                  <c:v>43348</c:v>
                </c:pt>
                <c:pt idx="987">
                  <c:v>43349</c:v>
                </c:pt>
                <c:pt idx="988">
                  <c:v>43350</c:v>
                </c:pt>
                <c:pt idx="989">
                  <c:v>43353</c:v>
                </c:pt>
                <c:pt idx="990">
                  <c:v>43354</c:v>
                </c:pt>
                <c:pt idx="991">
                  <c:v>43355</c:v>
                </c:pt>
                <c:pt idx="992">
                  <c:v>43356</c:v>
                </c:pt>
                <c:pt idx="993">
                  <c:v>43357</c:v>
                </c:pt>
                <c:pt idx="994">
                  <c:v>43360</c:v>
                </c:pt>
                <c:pt idx="995">
                  <c:v>43361</c:v>
                </c:pt>
                <c:pt idx="996">
                  <c:v>43362</c:v>
                </c:pt>
                <c:pt idx="997">
                  <c:v>43363</c:v>
                </c:pt>
                <c:pt idx="998">
                  <c:v>43364</c:v>
                </c:pt>
                <c:pt idx="999">
                  <c:v>43367</c:v>
                </c:pt>
                <c:pt idx="1000">
                  <c:v>43368</c:v>
                </c:pt>
                <c:pt idx="1001">
                  <c:v>43369</c:v>
                </c:pt>
                <c:pt idx="1002">
                  <c:v>43370</c:v>
                </c:pt>
                <c:pt idx="1003">
                  <c:v>43371</c:v>
                </c:pt>
                <c:pt idx="1004">
                  <c:v>43374</c:v>
                </c:pt>
                <c:pt idx="1005">
                  <c:v>43375</c:v>
                </c:pt>
                <c:pt idx="1006">
                  <c:v>43376</c:v>
                </c:pt>
                <c:pt idx="1007">
                  <c:v>43377</c:v>
                </c:pt>
                <c:pt idx="1008">
                  <c:v>43378</c:v>
                </c:pt>
                <c:pt idx="1009">
                  <c:v>43381</c:v>
                </c:pt>
                <c:pt idx="1010">
                  <c:v>43382</c:v>
                </c:pt>
                <c:pt idx="1011">
                  <c:v>43383</c:v>
                </c:pt>
                <c:pt idx="1012">
                  <c:v>43384</c:v>
                </c:pt>
                <c:pt idx="1013">
                  <c:v>43385</c:v>
                </c:pt>
                <c:pt idx="1014">
                  <c:v>43388</c:v>
                </c:pt>
                <c:pt idx="1015">
                  <c:v>43389</c:v>
                </c:pt>
                <c:pt idx="1016">
                  <c:v>43390</c:v>
                </c:pt>
                <c:pt idx="1017">
                  <c:v>43391</c:v>
                </c:pt>
                <c:pt idx="1018">
                  <c:v>43392</c:v>
                </c:pt>
                <c:pt idx="1019">
                  <c:v>43395</c:v>
                </c:pt>
                <c:pt idx="1020">
                  <c:v>43396</c:v>
                </c:pt>
                <c:pt idx="1021">
                  <c:v>43397</c:v>
                </c:pt>
                <c:pt idx="1022">
                  <c:v>43398</c:v>
                </c:pt>
                <c:pt idx="1023">
                  <c:v>43399</c:v>
                </c:pt>
                <c:pt idx="1024">
                  <c:v>43402</c:v>
                </c:pt>
                <c:pt idx="1025">
                  <c:v>43403</c:v>
                </c:pt>
                <c:pt idx="1026">
                  <c:v>43404</c:v>
                </c:pt>
                <c:pt idx="1027">
                  <c:v>43405</c:v>
                </c:pt>
                <c:pt idx="1028">
                  <c:v>43406</c:v>
                </c:pt>
                <c:pt idx="1029">
                  <c:v>43409</c:v>
                </c:pt>
                <c:pt idx="1030">
                  <c:v>43410</c:v>
                </c:pt>
                <c:pt idx="1031">
                  <c:v>43411</c:v>
                </c:pt>
                <c:pt idx="1032">
                  <c:v>43412</c:v>
                </c:pt>
                <c:pt idx="1033">
                  <c:v>43413</c:v>
                </c:pt>
                <c:pt idx="1034">
                  <c:v>43416</c:v>
                </c:pt>
                <c:pt idx="1035">
                  <c:v>43417</c:v>
                </c:pt>
                <c:pt idx="1036">
                  <c:v>43418</c:v>
                </c:pt>
                <c:pt idx="1037">
                  <c:v>43419</c:v>
                </c:pt>
                <c:pt idx="1038">
                  <c:v>43420</c:v>
                </c:pt>
                <c:pt idx="1039">
                  <c:v>43423</c:v>
                </c:pt>
                <c:pt idx="1040">
                  <c:v>43424</c:v>
                </c:pt>
                <c:pt idx="1041">
                  <c:v>43425</c:v>
                </c:pt>
                <c:pt idx="1042">
                  <c:v>43426</c:v>
                </c:pt>
                <c:pt idx="1043">
                  <c:v>43427</c:v>
                </c:pt>
                <c:pt idx="1044">
                  <c:v>43430</c:v>
                </c:pt>
                <c:pt idx="1045">
                  <c:v>43431</c:v>
                </c:pt>
                <c:pt idx="1046">
                  <c:v>43432</c:v>
                </c:pt>
                <c:pt idx="1047">
                  <c:v>43433</c:v>
                </c:pt>
                <c:pt idx="1048">
                  <c:v>43434</c:v>
                </c:pt>
                <c:pt idx="1049">
                  <c:v>43437</c:v>
                </c:pt>
                <c:pt idx="1050">
                  <c:v>43438</c:v>
                </c:pt>
                <c:pt idx="1051">
                  <c:v>43439</c:v>
                </c:pt>
                <c:pt idx="1052">
                  <c:v>43440</c:v>
                </c:pt>
                <c:pt idx="1053">
                  <c:v>43441</c:v>
                </c:pt>
                <c:pt idx="1054">
                  <c:v>43444</c:v>
                </c:pt>
                <c:pt idx="1055">
                  <c:v>43445</c:v>
                </c:pt>
                <c:pt idx="1056">
                  <c:v>43446</c:v>
                </c:pt>
                <c:pt idx="1057">
                  <c:v>43447</c:v>
                </c:pt>
                <c:pt idx="1058">
                  <c:v>43448</c:v>
                </c:pt>
                <c:pt idx="1059">
                  <c:v>43451</c:v>
                </c:pt>
                <c:pt idx="1060">
                  <c:v>43452</c:v>
                </c:pt>
                <c:pt idx="1061">
                  <c:v>43453</c:v>
                </c:pt>
                <c:pt idx="1062">
                  <c:v>43454</c:v>
                </c:pt>
                <c:pt idx="1063">
                  <c:v>43455</c:v>
                </c:pt>
                <c:pt idx="1064">
                  <c:v>43458</c:v>
                </c:pt>
                <c:pt idx="1065">
                  <c:v>43459</c:v>
                </c:pt>
                <c:pt idx="1066">
                  <c:v>43460</c:v>
                </c:pt>
                <c:pt idx="1067">
                  <c:v>43461</c:v>
                </c:pt>
                <c:pt idx="1068">
                  <c:v>43462</c:v>
                </c:pt>
                <c:pt idx="1069">
                  <c:v>43465</c:v>
                </c:pt>
                <c:pt idx="1070">
                  <c:v>43466</c:v>
                </c:pt>
                <c:pt idx="1071">
                  <c:v>43467</c:v>
                </c:pt>
                <c:pt idx="1072">
                  <c:v>43468</c:v>
                </c:pt>
                <c:pt idx="1073">
                  <c:v>43469</c:v>
                </c:pt>
                <c:pt idx="1074">
                  <c:v>43472</c:v>
                </c:pt>
                <c:pt idx="1075">
                  <c:v>43473</c:v>
                </c:pt>
                <c:pt idx="1076">
                  <c:v>43474</c:v>
                </c:pt>
                <c:pt idx="1077">
                  <c:v>43475</c:v>
                </c:pt>
                <c:pt idx="1078">
                  <c:v>43476</c:v>
                </c:pt>
                <c:pt idx="1079">
                  <c:v>43479</c:v>
                </c:pt>
                <c:pt idx="1080">
                  <c:v>43480</c:v>
                </c:pt>
                <c:pt idx="1081">
                  <c:v>43481</c:v>
                </c:pt>
                <c:pt idx="1082">
                  <c:v>43482</c:v>
                </c:pt>
                <c:pt idx="1083">
                  <c:v>43483</c:v>
                </c:pt>
                <c:pt idx="1084">
                  <c:v>43486</c:v>
                </c:pt>
                <c:pt idx="1085">
                  <c:v>43487</c:v>
                </c:pt>
                <c:pt idx="1086">
                  <c:v>43488</c:v>
                </c:pt>
                <c:pt idx="1087">
                  <c:v>43489</c:v>
                </c:pt>
                <c:pt idx="1088">
                  <c:v>43490</c:v>
                </c:pt>
                <c:pt idx="1089">
                  <c:v>43493</c:v>
                </c:pt>
                <c:pt idx="1090">
                  <c:v>43494</c:v>
                </c:pt>
                <c:pt idx="1091">
                  <c:v>43495</c:v>
                </c:pt>
                <c:pt idx="1092">
                  <c:v>43496</c:v>
                </c:pt>
                <c:pt idx="1093">
                  <c:v>43497</c:v>
                </c:pt>
                <c:pt idx="1094">
                  <c:v>43500</c:v>
                </c:pt>
                <c:pt idx="1095">
                  <c:v>43501</c:v>
                </c:pt>
                <c:pt idx="1096">
                  <c:v>43502</c:v>
                </c:pt>
                <c:pt idx="1097">
                  <c:v>43503</c:v>
                </c:pt>
                <c:pt idx="1098">
                  <c:v>43504</c:v>
                </c:pt>
                <c:pt idx="1099">
                  <c:v>43507</c:v>
                </c:pt>
                <c:pt idx="1100">
                  <c:v>43508</c:v>
                </c:pt>
                <c:pt idx="1101">
                  <c:v>43509</c:v>
                </c:pt>
                <c:pt idx="1102">
                  <c:v>43510</c:v>
                </c:pt>
                <c:pt idx="1103">
                  <c:v>43511</c:v>
                </c:pt>
                <c:pt idx="1104">
                  <c:v>43514</c:v>
                </c:pt>
                <c:pt idx="1105">
                  <c:v>43515</c:v>
                </c:pt>
                <c:pt idx="1106">
                  <c:v>43516</c:v>
                </c:pt>
                <c:pt idx="1107">
                  <c:v>43517</c:v>
                </c:pt>
                <c:pt idx="1108">
                  <c:v>43518</c:v>
                </c:pt>
                <c:pt idx="1109">
                  <c:v>43521</c:v>
                </c:pt>
                <c:pt idx="1110">
                  <c:v>43522</c:v>
                </c:pt>
                <c:pt idx="1111">
                  <c:v>43523</c:v>
                </c:pt>
                <c:pt idx="1112">
                  <c:v>43524</c:v>
                </c:pt>
                <c:pt idx="1113">
                  <c:v>43525</c:v>
                </c:pt>
                <c:pt idx="1114">
                  <c:v>43528</c:v>
                </c:pt>
                <c:pt idx="1115">
                  <c:v>43529</c:v>
                </c:pt>
                <c:pt idx="1116">
                  <c:v>43530</c:v>
                </c:pt>
                <c:pt idx="1117">
                  <c:v>43531</c:v>
                </c:pt>
                <c:pt idx="1118">
                  <c:v>43532</c:v>
                </c:pt>
                <c:pt idx="1119">
                  <c:v>43535</c:v>
                </c:pt>
                <c:pt idx="1120">
                  <c:v>43536</c:v>
                </c:pt>
                <c:pt idx="1121">
                  <c:v>43537</c:v>
                </c:pt>
                <c:pt idx="1122">
                  <c:v>43538</c:v>
                </c:pt>
                <c:pt idx="1123">
                  <c:v>43539</c:v>
                </c:pt>
                <c:pt idx="1124">
                  <c:v>43542</c:v>
                </c:pt>
                <c:pt idx="1125">
                  <c:v>43543</c:v>
                </c:pt>
                <c:pt idx="1126">
                  <c:v>43544</c:v>
                </c:pt>
                <c:pt idx="1127">
                  <c:v>43545</c:v>
                </c:pt>
                <c:pt idx="1128">
                  <c:v>43546</c:v>
                </c:pt>
                <c:pt idx="1129">
                  <c:v>43549</c:v>
                </c:pt>
                <c:pt idx="1130">
                  <c:v>43550</c:v>
                </c:pt>
                <c:pt idx="1131">
                  <c:v>43551</c:v>
                </c:pt>
                <c:pt idx="1132">
                  <c:v>43552</c:v>
                </c:pt>
                <c:pt idx="1133">
                  <c:v>43553</c:v>
                </c:pt>
                <c:pt idx="1134">
                  <c:v>43556</c:v>
                </c:pt>
                <c:pt idx="1135">
                  <c:v>43557</c:v>
                </c:pt>
                <c:pt idx="1136">
                  <c:v>43558</c:v>
                </c:pt>
                <c:pt idx="1137">
                  <c:v>43559</c:v>
                </c:pt>
                <c:pt idx="1138">
                  <c:v>43560</c:v>
                </c:pt>
                <c:pt idx="1139">
                  <c:v>43563</c:v>
                </c:pt>
                <c:pt idx="1140">
                  <c:v>43564</c:v>
                </c:pt>
                <c:pt idx="1141">
                  <c:v>43565</c:v>
                </c:pt>
                <c:pt idx="1142">
                  <c:v>43566</c:v>
                </c:pt>
                <c:pt idx="1143">
                  <c:v>43567</c:v>
                </c:pt>
                <c:pt idx="1144">
                  <c:v>43570</c:v>
                </c:pt>
                <c:pt idx="1145">
                  <c:v>43571</c:v>
                </c:pt>
                <c:pt idx="1146">
                  <c:v>43572</c:v>
                </c:pt>
                <c:pt idx="1147">
                  <c:v>43573</c:v>
                </c:pt>
                <c:pt idx="1148">
                  <c:v>43574</c:v>
                </c:pt>
                <c:pt idx="1149">
                  <c:v>43577</c:v>
                </c:pt>
                <c:pt idx="1150">
                  <c:v>43578</c:v>
                </c:pt>
                <c:pt idx="1151">
                  <c:v>43579</c:v>
                </c:pt>
                <c:pt idx="1152">
                  <c:v>43580</c:v>
                </c:pt>
                <c:pt idx="1153">
                  <c:v>43581</c:v>
                </c:pt>
                <c:pt idx="1154">
                  <c:v>43584</c:v>
                </c:pt>
                <c:pt idx="1155">
                  <c:v>43585</c:v>
                </c:pt>
                <c:pt idx="1156">
                  <c:v>43586</c:v>
                </c:pt>
                <c:pt idx="1157">
                  <c:v>43587</c:v>
                </c:pt>
                <c:pt idx="1158">
                  <c:v>43588</c:v>
                </c:pt>
                <c:pt idx="1159">
                  <c:v>43591</c:v>
                </c:pt>
                <c:pt idx="1160">
                  <c:v>43592</c:v>
                </c:pt>
                <c:pt idx="1161">
                  <c:v>43593</c:v>
                </c:pt>
                <c:pt idx="1162">
                  <c:v>43594</c:v>
                </c:pt>
                <c:pt idx="1163">
                  <c:v>43595</c:v>
                </c:pt>
                <c:pt idx="1164">
                  <c:v>43598</c:v>
                </c:pt>
                <c:pt idx="1165">
                  <c:v>43599</c:v>
                </c:pt>
                <c:pt idx="1166">
                  <c:v>43600</c:v>
                </c:pt>
                <c:pt idx="1167">
                  <c:v>43601</c:v>
                </c:pt>
                <c:pt idx="1168">
                  <c:v>43602</c:v>
                </c:pt>
                <c:pt idx="1169">
                  <c:v>43605</c:v>
                </c:pt>
                <c:pt idx="1170">
                  <c:v>43606</c:v>
                </c:pt>
                <c:pt idx="1171">
                  <c:v>43607</c:v>
                </c:pt>
                <c:pt idx="1172">
                  <c:v>43608</c:v>
                </c:pt>
                <c:pt idx="1173">
                  <c:v>43609</c:v>
                </c:pt>
                <c:pt idx="1174">
                  <c:v>43612</c:v>
                </c:pt>
                <c:pt idx="1175">
                  <c:v>43613</c:v>
                </c:pt>
                <c:pt idx="1176">
                  <c:v>43614</c:v>
                </c:pt>
                <c:pt idx="1177">
                  <c:v>43615</c:v>
                </c:pt>
                <c:pt idx="1178">
                  <c:v>43616</c:v>
                </c:pt>
                <c:pt idx="1179">
                  <c:v>43619</c:v>
                </c:pt>
                <c:pt idx="1180">
                  <c:v>43620</c:v>
                </c:pt>
                <c:pt idx="1181">
                  <c:v>43621</c:v>
                </c:pt>
                <c:pt idx="1182">
                  <c:v>43622</c:v>
                </c:pt>
                <c:pt idx="1183">
                  <c:v>43623</c:v>
                </c:pt>
                <c:pt idx="1184">
                  <c:v>43626</c:v>
                </c:pt>
                <c:pt idx="1185">
                  <c:v>43627</c:v>
                </c:pt>
                <c:pt idx="1186">
                  <c:v>43628</c:v>
                </c:pt>
                <c:pt idx="1187">
                  <c:v>43629</c:v>
                </c:pt>
                <c:pt idx="1188">
                  <c:v>43630</c:v>
                </c:pt>
                <c:pt idx="1189">
                  <c:v>43633</c:v>
                </c:pt>
                <c:pt idx="1190">
                  <c:v>43634</c:v>
                </c:pt>
                <c:pt idx="1191">
                  <c:v>43635</c:v>
                </c:pt>
                <c:pt idx="1192">
                  <c:v>43636</c:v>
                </c:pt>
                <c:pt idx="1193">
                  <c:v>43637</c:v>
                </c:pt>
                <c:pt idx="1194">
                  <c:v>43640</c:v>
                </c:pt>
                <c:pt idx="1195">
                  <c:v>43641</c:v>
                </c:pt>
                <c:pt idx="1196">
                  <c:v>43642</c:v>
                </c:pt>
                <c:pt idx="1197">
                  <c:v>43643</c:v>
                </c:pt>
                <c:pt idx="1198">
                  <c:v>43644</c:v>
                </c:pt>
                <c:pt idx="1199">
                  <c:v>43647</c:v>
                </c:pt>
                <c:pt idx="1200">
                  <c:v>43648</c:v>
                </c:pt>
                <c:pt idx="1201">
                  <c:v>43649</c:v>
                </c:pt>
                <c:pt idx="1202">
                  <c:v>43650</c:v>
                </c:pt>
                <c:pt idx="1203">
                  <c:v>43651</c:v>
                </c:pt>
                <c:pt idx="1204">
                  <c:v>43654</c:v>
                </c:pt>
                <c:pt idx="1205">
                  <c:v>43655</c:v>
                </c:pt>
                <c:pt idx="1206">
                  <c:v>43656</c:v>
                </c:pt>
                <c:pt idx="1207">
                  <c:v>43657</c:v>
                </c:pt>
                <c:pt idx="1208">
                  <c:v>43658</c:v>
                </c:pt>
                <c:pt idx="1209">
                  <c:v>43661</c:v>
                </c:pt>
                <c:pt idx="1210">
                  <c:v>43662</c:v>
                </c:pt>
                <c:pt idx="1211">
                  <c:v>43663</c:v>
                </c:pt>
                <c:pt idx="1212">
                  <c:v>43664</c:v>
                </c:pt>
                <c:pt idx="1213">
                  <c:v>43665</c:v>
                </c:pt>
                <c:pt idx="1214">
                  <c:v>43668</c:v>
                </c:pt>
                <c:pt idx="1215">
                  <c:v>43669</c:v>
                </c:pt>
                <c:pt idx="1216">
                  <c:v>43670</c:v>
                </c:pt>
                <c:pt idx="1217">
                  <c:v>43671</c:v>
                </c:pt>
                <c:pt idx="1218">
                  <c:v>43672</c:v>
                </c:pt>
                <c:pt idx="1219">
                  <c:v>43675</c:v>
                </c:pt>
                <c:pt idx="1220">
                  <c:v>43676</c:v>
                </c:pt>
                <c:pt idx="1221">
                  <c:v>43677</c:v>
                </c:pt>
                <c:pt idx="1222">
                  <c:v>43678</c:v>
                </c:pt>
                <c:pt idx="1223">
                  <c:v>43679</c:v>
                </c:pt>
                <c:pt idx="1224">
                  <c:v>43682</c:v>
                </c:pt>
                <c:pt idx="1225">
                  <c:v>43683</c:v>
                </c:pt>
                <c:pt idx="1226">
                  <c:v>43684</c:v>
                </c:pt>
                <c:pt idx="1227">
                  <c:v>43685</c:v>
                </c:pt>
                <c:pt idx="1228">
                  <c:v>43686</c:v>
                </c:pt>
                <c:pt idx="1229">
                  <c:v>43689</c:v>
                </c:pt>
                <c:pt idx="1230">
                  <c:v>43690</c:v>
                </c:pt>
                <c:pt idx="1231">
                  <c:v>43691</c:v>
                </c:pt>
                <c:pt idx="1232">
                  <c:v>43692</c:v>
                </c:pt>
                <c:pt idx="1233">
                  <c:v>43693</c:v>
                </c:pt>
                <c:pt idx="1234">
                  <c:v>43696</c:v>
                </c:pt>
                <c:pt idx="1235">
                  <c:v>43697</c:v>
                </c:pt>
                <c:pt idx="1236">
                  <c:v>43698</c:v>
                </c:pt>
                <c:pt idx="1237">
                  <c:v>43699</c:v>
                </c:pt>
                <c:pt idx="1238">
                  <c:v>43700</c:v>
                </c:pt>
                <c:pt idx="1239">
                  <c:v>43703</c:v>
                </c:pt>
                <c:pt idx="1240">
                  <c:v>43704</c:v>
                </c:pt>
                <c:pt idx="1241">
                  <c:v>43705</c:v>
                </c:pt>
                <c:pt idx="1242">
                  <c:v>43706</c:v>
                </c:pt>
                <c:pt idx="1243">
                  <c:v>43707</c:v>
                </c:pt>
                <c:pt idx="1244">
                  <c:v>43710</c:v>
                </c:pt>
                <c:pt idx="1245">
                  <c:v>43711</c:v>
                </c:pt>
                <c:pt idx="1246">
                  <c:v>43712</c:v>
                </c:pt>
                <c:pt idx="1247">
                  <c:v>43713</c:v>
                </c:pt>
                <c:pt idx="1248">
                  <c:v>43714</c:v>
                </c:pt>
                <c:pt idx="1249">
                  <c:v>43717</c:v>
                </c:pt>
                <c:pt idx="1250">
                  <c:v>43718</c:v>
                </c:pt>
                <c:pt idx="1251">
                  <c:v>43719</c:v>
                </c:pt>
                <c:pt idx="1252">
                  <c:v>43720</c:v>
                </c:pt>
                <c:pt idx="1253">
                  <c:v>43721</c:v>
                </c:pt>
                <c:pt idx="1254">
                  <c:v>43724</c:v>
                </c:pt>
                <c:pt idx="1255">
                  <c:v>43725</c:v>
                </c:pt>
                <c:pt idx="1256">
                  <c:v>43726</c:v>
                </c:pt>
                <c:pt idx="1257">
                  <c:v>43727</c:v>
                </c:pt>
                <c:pt idx="1258">
                  <c:v>43728</c:v>
                </c:pt>
                <c:pt idx="1259">
                  <c:v>43731</c:v>
                </c:pt>
                <c:pt idx="1260">
                  <c:v>43732</c:v>
                </c:pt>
                <c:pt idx="1261">
                  <c:v>43733</c:v>
                </c:pt>
                <c:pt idx="1262">
                  <c:v>43734</c:v>
                </c:pt>
                <c:pt idx="1263">
                  <c:v>43735</c:v>
                </c:pt>
                <c:pt idx="1264">
                  <c:v>43738</c:v>
                </c:pt>
                <c:pt idx="1265">
                  <c:v>43739</c:v>
                </c:pt>
                <c:pt idx="1266">
                  <c:v>43740</c:v>
                </c:pt>
                <c:pt idx="1267">
                  <c:v>43741</c:v>
                </c:pt>
                <c:pt idx="1268">
                  <c:v>43742</c:v>
                </c:pt>
                <c:pt idx="1269">
                  <c:v>43745</c:v>
                </c:pt>
                <c:pt idx="1270">
                  <c:v>43746</c:v>
                </c:pt>
                <c:pt idx="1271">
                  <c:v>43747</c:v>
                </c:pt>
                <c:pt idx="1272">
                  <c:v>43748</c:v>
                </c:pt>
                <c:pt idx="1273">
                  <c:v>43749</c:v>
                </c:pt>
                <c:pt idx="1274">
                  <c:v>43752</c:v>
                </c:pt>
                <c:pt idx="1275">
                  <c:v>43753</c:v>
                </c:pt>
                <c:pt idx="1276">
                  <c:v>43754</c:v>
                </c:pt>
                <c:pt idx="1277">
                  <c:v>43755</c:v>
                </c:pt>
                <c:pt idx="1278">
                  <c:v>43756</c:v>
                </c:pt>
                <c:pt idx="1279">
                  <c:v>43759</c:v>
                </c:pt>
                <c:pt idx="1280">
                  <c:v>43760</c:v>
                </c:pt>
                <c:pt idx="1281">
                  <c:v>43761</c:v>
                </c:pt>
                <c:pt idx="1282">
                  <c:v>43762</c:v>
                </c:pt>
                <c:pt idx="1283">
                  <c:v>43763</c:v>
                </c:pt>
                <c:pt idx="1284">
                  <c:v>43766</c:v>
                </c:pt>
                <c:pt idx="1285">
                  <c:v>43767</c:v>
                </c:pt>
                <c:pt idx="1286">
                  <c:v>43768</c:v>
                </c:pt>
                <c:pt idx="1287">
                  <c:v>43769</c:v>
                </c:pt>
                <c:pt idx="1288">
                  <c:v>43770</c:v>
                </c:pt>
                <c:pt idx="1289">
                  <c:v>43773</c:v>
                </c:pt>
                <c:pt idx="1290">
                  <c:v>43774</c:v>
                </c:pt>
                <c:pt idx="1291">
                  <c:v>43775</c:v>
                </c:pt>
                <c:pt idx="1292">
                  <c:v>43776</c:v>
                </c:pt>
                <c:pt idx="1293">
                  <c:v>43777</c:v>
                </c:pt>
                <c:pt idx="1294">
                  <c:v>43780</c:v>
                </c:pt>
                <c:pt idx="1295">
                  <c:v>43781</c:v>
                </c:pt>
                <c:pt idx="1296">
                  <c:v>43782</c:v>
                </c:pt>
                <c:pt idx="1297">
                  <c:v>43783</c:v>
                </c:pt>
                <c:pt idx="1298">
                  <c:v>43784</c:v>
                </c:pt>
                <c:pt idx="1299">
                  <c:v>43787</c:v>
                </c:pt>
                <c:pt idx="1300">
                  <c:v>43788</c:v>
                </c:pt>
                <c:pt idx="1301">
                  <c:v>43789</c:v>
                </c:pt>
                <c:pt idx="1302">
                  <c:v>43790</c:v>
                </c:pt>
                <c:pt idx="1303">
                  <c:v>43791</c:v>
                </c:pt>
                <c:pt idx="1304">
                  <c:v>43794</c:v>
                </c:pt>
                <c:pt idx="1305">
                  <c:v>43795</c:v>
                </c:pt>
                <c:pt idx="1306">
                  <c:v>43796</c:v>
                </c:pt>
                <c:pt idx="1307">
                  <c:v>43797</c:v>
                </c:pt>
                <c:pt idx="1308">
                  <c:v>43798</c:v>
                </c:pt>
                <c:pt idx="1309">
                  <c:v>43801</c:v>
                </c:pt>
                <c:pt idx="1310">
                  <c:v>43802</c:v>
                </c:pt>
                <c:pt idx="1311">
                  <c:v>43803</c:v>
                </c:pt>
                <c:pt idx="1312">
                  <c:v>43804</c:v>
                </c:pt>
                <c:pt idx="1313">
                  <c:v>43805</c:v>
                </c:pt>
                <c:pt idx="1314">
                  <c:v>43808</c:v>
                </c:pt>
                <c:pt idx="1315">
                  <c:v>43809</c:v>
                </c:pt>
                <c:pt idx="1316">
                  <c:v>43810</c:v>
                </c:pt>
                <c:pt idx="1317">
                  <c:v>43811</c:v>
                </c:pt>
                <c:pt idx="1318">
                  <c:v>43812</c:v>
                </c:pt>
                <c:pt idx="1319">
                  <c:v>43815</c:v>
                </c:pt>
                <c:pt idx="1320">
                  <c:v>43816</c:v>
                </c:pt>
                <c:pt idx="1321">
                  <c:v>43817</c:v>
                </c:pt>
                <c:pt idx="1322">
                  <c:v>43818</c:v>
                </c:pt>
                <c:pt idx="1323">
                  <c:v>43819</c:v>
                </c:pt>
                <c:pt idx="1324">
                  <c:v>43822</c:v>
                </c:pt>
                <c:pt idx="1325">
                  <c:v>43823</c:v>
                </c:pt>
                <c:pt idx="1326">
                  <c:v>43824</c:v>
                </c:pt>
                <c:pt idx="1327">
                  <c:v>43825</c:v>
                </c:pt>
                <c:pt idx="1328">
                  <c:v>43826</c:v>
                </c:pt>
                <c:pt idx="1329">
                  <c:v>43829</c:v>
                </c:pt>
                <c:pt idx="1330">
                  <c:v>43830</c:v>
                </c:pt>
                <c:pt idx="1331">
                  <c:v>43831</c:v>
                </c:pt>
                <c:pt idx="1332">
                  <c:v>43832</c:v>
                </c:pt>
                <c:pt idx="1333">
                  <c:v>43833</c:v>
                </c:pt>
                <c:pt idx="1334">
                  <c:v>43836</c:v>
                </c:pt>
                <c:pt idx="1335">
                  <c:v>43837</c:v>
                </c:pt>
                <c:pt idx="1336">
                  <c:v>43838</c:v>
                </c:pt>
                <c:pt idx="1337">
                  <c:v>43839</c:v>
                </c:pt>
                <c:pt idx="1338">
                  <c:v>43840</c:v>
                </c:pt>
                <c:pt idx="1339">
                  <c:v>43843</c:v>
                </c:pt>
                <c:pt idx="1340">
                  <c:v>43844</c:v>
                </c:pt>
                <c:pt idx="1341">
                  <c:v>43845</c:v>
                </c:pt>
                <c:pt idx="1342">
                  <c:v>43846</c:v>
                </c:pt>
                <c:pt idx="1343">
                  <c:v>43847</c:v>
                </c:pt>
                <c:pt idx="1344">
                  <c:v>43850</c:v>
                </c:pt>
                <c:pt idx="1345">
                  <c:v>43851</c:v>
                </c:pt>
                <c:pt idx="1346">
                  <c:v>43852</c:v>
                </c:pt>
                <c:pt idx="1347">
                  <c:v>43853</c:v>
                </c:pt>
                <c:pt idx="1348">
                  <c:v>43854</c:v>
                </c:pt>
                <c:pt idx="1349">
                  <c:v>43857</c:v>
                </c:pt>
                <c:pt idx="1350">
                  <c:v>43858</c:v>
                </c:pt>
                <c:pt idx="1351">
                  <c:v>43859</c:v>
                </c:pt>
                <c:pt idx="1352">
                  <c:v>43860</c:v>
                </c:pt>
                <c:pt idx="1353">
                  <c:v>43861</c:v>
                </c:pt>
                <c:pt idx="1354">
                  <c:v>43864</c:v>
                </c:pt>
                <c:pt idx="1355">
                  <c:v>43865</c:v>
                </c:pt>
                <c:pt idx="1356">
                  <c:v>43866</c:v>
                </c:pt>
                <c:pt idx="1357">
                  <c:v>43867</c:v>
                </c:pt>
                <c:pt idx="1358">
                  <c:v>43868</c:v>
                </c:pt>
                <c:pt idx="1359">
                  <c:v>43871</c:v>
                </c:pt>
                <c:pt idx="1360">
                  <c:v>43872</c:v>
                </c:pt>
                <c:pt idx="1361">
                  <c:v>43873</c:v>
                </c:pt>
                <c:pt idx="1362">
                  <c:v>43874</c:v>
                </c:pt>
                <c:pt idx="1363">
                  <c:v>43875</c:v>
                </c:pt>
                <c:pt idx="1364">
                  <c:v>43878</c:v>
                </c:pt>
                <c:pt idx="1365">
                  <c:v>43879</c:v>
                </c:pt>
                <c:pt idx="1366">
                  <c:v>43880</c:v>
                </c:pt>
                <c:pt idx="1367">
                  <c:v>43881</c:v>
                </c:pt>
                <c:pt idx="1368">
                  <c:v>43882</c:v>
                </c:pt>
                <c:pt idx="1369">
                  <c:v>43885</c:v>
                </c:pt>
                <c:pt idx="1370">
                  <c:v>43886</c:v>
                </c:pt>
                <c:pt idx="1371">
                  <c:v>43887</c:v>
                </c:pt>
                <c:pt idx="1372">
                  <c:v>43888</c:v>
                </c:pt>
                <c:pt idx="1373">
                  <c:v>43889</c:v>
                </c:pt>
                <c:pt idx="1374">
                  <c:v>43892</c:v>
                </c:pt>
                <c:pt idx="1375">
                  <c:v>43893</c:v>
                </c:pt>
                <c:pt idx="1376">
                  <c:v>43894</c:v>
                </c:pt>
                <c:pt idx="1377">
                  <c:v>43895</c:v>
                </c:pt>
                <c:pt idx="1378">
                  <c:v>43896</c:v>
                </c:pt>
                <c:pt idx="1379">
                  <c:v>43899</c:v>
                </c:pt>
                <c:pt idx="1380">
                  <c:v>43900</c:v>
                </c:pt>
                <c:pt idx="1381">
                  <c:v>43901</c:v>
                </c:pt>
                <c:pt idx="1382">
                  <c:v>43902</c:v>
                </c:pt>
                <c:pt idx="1383">
                  <c:v>43903</c:v>
                </c:pt>
                <c:pt idx="1384">
                  <c:v>43906</c:v>
                </c:pt>
                <c:pt idx="1385">
                  <c:v>43907</c:v>
                </c:pt>
                <c:pt idx="1386">
                  <c:v>43908</c:v>
                </c:pt>
                <c:pt idx="1387">
                  <c:v>43909</c:v>
                </c:pt>
                <c:pt idx="1388">
                  <c:v>43910</c:v>
                </c:pt>
                <c:pt idx="1389">
                  <c:v>43913</c:v>
                </c:pt>
                <c:pt idx="1390">
                  <c:v>43914</c:v>
                </c:pt>
                <c:pt idx="1391">
                  <c:v>43915</c:v>
                </c:pt>
                <c:pt idx="1392">
                  <c:v>43916</c:v>
                </c:pt>
                <c:pt idx="1393">
                  <c:v>43917</c:v>
                </c:pt>
                <c:pt idx="1394">
                  <c:v>43920</c:v>
                </c:pt>
                <c:pt idx="1395">
                  <c:v>43921</c:v>
                </c:pt>
                <c:pt idx="1396">
                  <c:v>43922</c:v>
                </c:pt>
                <c:pt idx="1397">
                  <c:v>43923</c:v>
                </c:pt>
                <c:pt idx="1398">
                  <c:v>43924</c:v>
                </c:pt>
                <c:pt idx="1399">
                  <c:v>43927</c:v>
                </c:pt>
                <c:pt idx="1400">
                  <c:v>43928</c:v>
                </c:pt>
                <c:pt idx="1401">
                  <c:v>43929</c:v>
                </c:pt>
                <c:pt idx="1402">
                  <c:v>43930</c:v>
                </c:pt>
                <c:pt idx="1403">
                  <c:v>43931</c:v>
                </c:pt>
                <c:pt idx="1404">
                  <c:v>43934</c:v>
                </c:pt>
                <c:pt idx="1405">
                  <c:v>43935</c:v>
                </c:pt>
                <c:pt idx="1406">
                  <c:v>43936</c:v>
                </c:pt>
                <c:pt idx="1407">
                  <c:v>43937</c:v>
                </c:pt>
                <c:pt idx="1408">
                  <c:v>43938</c:v>
                </c:pt>
                <c:pt idx="1409">
                  <c:v>43941</c:v>
                </c:pt>
                <c:pt idx="1410">
                  <c:v>43942</c:v>
                </c:pt>
                <c:pt idx="1411">
                  <c:v>43943</c:v>
                </c:pt>
                <c:pt idx="1412">
                  <c:v>43944</c:v>
                </c:pt>
                <c:pt idx="1413">
                  <c:v>43945</c:v>
                </c:pt>
                <c:pt idx="1414">
                  <c:v>43948</c:v>
                </c:pt>
                <c:pt idx="1415">
                  <c:v>43949</c:v>
                </c:pt>
                <c:pt idx="1416">
                  <c:v>43950</c:v>
                </c:pt>
                <c:pt idx="1417">
                  <c:v>43951</c:v>
                </c:pt>
                <c:pt idx="1418">
                  <c:v>43952</c:v>
                </c:pt>
                <c:pt idx="1419">
                  <c:v>43955</c:v>
                </c:pt>
                <c:pt idx="1420">
                  <c:v>43956</c:v>
                </c:pt>
                <c:pt idx="1421">
                  <c:v>43957</c:v>
                </c:pt>
                <c:pt idx="1422">
                  <c:v>43958</c:v>
                </c:pt>
                <c:pt idx="1423">
                  <c:v>43959</c:v>
                </c:pt>
                <c:pt idx="1424">
                  <c:v>43962</c:v>
                </c:pt>
                <c:pt idx="1425">
                  <c:v>43963</c:v>
                </c:pt>
                <c:pt idx="1426">
                  <c:v>43964</c:v>
                </c:pt>
                <c:pt idx="1427">
                  <c:v>43965</c:v>
                </c:pt>
                <c:pt idx="1428">
                  <c:v>43966</c:v>
                </c:pt>
                <c:pt idx="1429">
                  <c:v>43969</c:v>
                </c:pt>
                <c:pt idx="1430">
                  <c:v>43970</c:v>
                </c:pt>
                <c:pt idx="1431">
                  <c:v>43971</c:v>
                </c:pt>
                <c:pt idx="1432">
                  <c:v>43972</c:v>
                </c:pt>
                <c:pt idx="1433">
                  <c:v>43973</c:v>
                </c:pt>
                <c:pt idx="1434">
                  <c:v>43976</c:v>
                </c:pt>
                <c:pt idx="1435">
                  <c:v>43977</c:v>
                </c:pt>
                <c:pt idx="1436">
                  <c:v>43978</c:v>
                </c:pt>
                <c:pt idx="1437">
                  <c:v>43979</c:v>
                </c:pt>
                <c:pt idx="1438">
                  <c:v>43980</c:v>
                </c:pt>
                <c:pt idx="1439">
                  <c:v>43983</c:v>
                </c:pt>
                <c:pt idx="1440">
                  <c:v>43984</c:v>
                </c:pt>
                <c:pt idx="1441">
                  <c:v>43985</c:v>
                </c:pt>
                <c:pt idx="1442">
                  <c:v>43986</c:v>
                </c:pt>
                <c:pt idx="1443">
                  <c:v>43987</c:v>
                </c:pt>
                <c:pt idx="1444">
                  <c:v>43990</c:v>
                </c:pt>
                <c:pt idx="1445">
                  <c:v>43991</c:v>
                </c:pt>
                <c:pt idx="1446">
                  <c:v>43992</c:v>
                </c:pt>
                <c:pt idx="1447">
                  <c:v>43993</c:v>
                </c:pt>
                <c:pt idx="1448">
                  <c:v>43994</c:v>
                </c:pt>
                <c:pt idx="1449">
                  <c:v>43997</c:v>
                </c:pt>
                <c:pt idx="1450">
                  <c:v>43998</c:v>
                </c:pt>
                <c:pt idx="1451">
                  <c:v>43999</c:v>
                </c:pt>
                <c:pt idx="1452">
                  <c:v>44000</c:v>
                </c:pt>
                <c:pt idx="1453">
                  <c:v>44001</c:v>
                </c:pt>
                <c:pt idx="1454">
                  <c:v>44004</c:v>
                </c:pt>
                <c:pt idx="1455">
                  <c:v>44005</c:v>
                </c:pt>
                <c:pt idx="1456">
                  <c:v>44006</c:v>
                </c:pt>
                <c:pt idx="1457">
                  <c:v>44007</c:v>
                </c:pt>
                <c:pt idx="1458">
                  <c:v>44008</c:v>
                </c:pt>
                <c:pt idx="1459">
                  <c:v>44011</c:v>
                </c:pt>
                <c:pt idx="1460">
                  <c:v>44012</c:v>
                </c:pt>
                <c:pt idx="1461">
                  <c:v>44013</c:v>
                </c:pt>
                <c:pt idx="1462">
                  <c:v>44014</c:v>
                </c:pt>
                <c:pt idx="1463">
                  <c:v>44015</c:v>
                </c:pt>
                <c:pt idx="1464">
                  <c:v>44018</c:v>
                </c:pt>
                <c:pt idx="1465">
                  <c:v>44019</c:v>
                </c:pt>
                <c:pt idx="1466">
                  <c:v>44020</c:v>
                </c:pt>
                <c:pt idx="1467">
                  <c:v>44021</c:v>
                </c:pt>
                <c:pt idx="1468">
                  <c:v>44022</c:v>
                </c:pt>
                <c:pt idx="1469">
                  <c:v>44025</c:v>
                </c:pt>
                <c:pt idx="1470">
                  <c:v>44026</c:v>
                </c:pt>
                <c:pt idx="1471">
                  <c:v>44027</c:v>
                </c:pt>
                <c:pt idx="1472">
                  <c:v>44028</c:v>
                </c:pt>
                <c:pt idx="1473">
                  <c:v>44029</c:v>
                </c:pt>
                <c:pt idx="1474">
                  <c:v>44032</c:v>
                </c:pt>
                <c:pt idx="1475">
                  <c:v>44033</c:v>
                </c:pt>
                <c:pt idx="1476">
                  <c:v>44034</c:v>
                </c:pt>
                <c:pt idx="1477">
                  <c:v>44035</c:v>
                </c:pt>
                <c:pt idx="1478">
                  <c:v>44036</c:v>
                </c:pt>
                <c:pt idx="1479">
                  <c:v>44039</c:v>
                </c:pt>
                <c:pt idx="1480">
                  <c:v>44040</c:v>
                </c:pt>
                <c:pt idx="1481">
                  <c:v>44041</c:v>
                </c:pt>
                <c:pt idx="1482">
                  <c:v>44042</c:v>
                </c:pt>
                <c:pt idx="1483">
                  <c:v>44043</c:v>
                </c:pt>
                <c:pt idx="1484">
                  <c:v>44046</c:v>
                </c:pt>
                <c:pt idx="1485">
                  <c:v>44047</c:v>
                </c:pt>
                <c:pt idx="1486">
                  <c:v>44048</c:v>
                </c:pt>
                <c:pt idx="1487">
                  <c:v>44049</c:v>
                </c:pt>
                <c:pt idx="1488">
                  <c:v>44050</c:v>
                </c:pt>
                <c:pt idx="1489">
                  <c:v>44053</c:v>
                </c:pt>
                <c:pt idx="1490">
                  <c:v>44054</c:v>
                </c:pt>
                <c:pt idx="1491">
                  <c:v>44055</c:v>
                </c:pt>
                <c:pt idx="1492">
                  <c:v>44056</c:v>
                </c:pt>
                <c:pt idx="1493">
                  <c:v>44057</c:v>
                </c:pt>
                <c:pt idx="1494">
                  <c:v>44060</c:v>
                </c:pt>
                <c:pt idx="1495">
                  <c:v>44061</c:v>
                </c:pt>
                <c:pt idx="1496">
                  <c:v>44062</c:v>
                </c:pt>
                <c:pt idx="1497">
                  <c:v>44063</c:v>
                </c:pt>
                <c:pt idx="1498">
                  <c:v>44064</c:v>
                </c:pt>
                <c:pt idx="1499">
                  <c:v>44067</c:v>
                </c:pt>
                <c:pt idx="1500">
                  <c:v>44068</c:v>
                </c:pt>
                <c:pt idx="1501">
                  <c:v>44069</c:v>
                </c:pt>
                <c:pt idx="1502">
                  <c:v>44070</c:v>
                </c:pt>
                <c:pt idx="1503">
                  <c:v>44071</c:v>
                </c:pt>
                <c:pt idx="1504">
                  <c:v>44074</c:v>
                </c:pt>
                <c:pt idx="1505">
                  <c:v>44075</c:v>
                </c:pt>
                <c:pt idx="1506">
                  <c:v>44076</c:v>
                </c:pt>
                <c:pt idx="1507">
                  <c:v>44077</c:v>
                </c:pt>
                <c:pt idx="1508">
                  <c:v>44078</c:v>
                </c:pt>
                <c:pt idx="1509">
                  <c:v>44081</c:v>
                </c:pt>
                <c:pt idx="1510">
                  <c:v>44082</c:v>
                </c:pt>
                <c:pt idx="1511">
                  <c:v>44083</c:v>
                </c:pt>
                <c:pt idx="1512">
                  <c:v>44084</c:v>
                </c:pt>
                <c:pt idx="1513">
                  <c:v>44085</c:v>
                </c:pt>
                <c:pt idx="1514">
                  <c:v>44088</c:v>
                </c:pt>
                <c:pt idx="1515">
                  <c:v>44089</c:v>
                </c:pt>
                <c:pt idx="1516">
                  <c:v>44090</c:v>
                </c:pt>
                <c:pt idx="1517">
                  <c:v>44091</c:v>
                </c:pt>
                <c:pt idx="1518">
                  <c:v>44092</c:v>
                </c:pt>
                <c:pt idx="1519">
                  <c:v>44095</c:v>
                </c:pt>
                <c:pt idx="1520">
                  <c:v>44096</c:v>
                </c:pt>
                <c:pt idx="1521">
                  <c:v>44097</c:v>
                </c:pt>
                <c:pt idx="1522">
                  <c:v>44098</c:v>
                </c:pt>
                <c:pt idx="1523">
                  <c:v>44099</c:v>
                </c:pt>
                <c:pt idx="1524">
                  <c:v>44102</c:v>
                </c:pt>
                <c:pt idx="1525">
                  <c:v>44103</c:v>
                </c:pt>
                <c:pt idx="1526">
                  <c:v>44104</c:v>
                </c:pt>
                <c:pt idx="1527">
                  <c:v>44105</c:v>
                </c:pt>
                <c:pt idx="1528">
                  <c:v>44106</c:v>
                </c:pt>
                <c:pt idx="1529">
                  <c:v>44109</c:v>
                </c:pt>
                <c:pt idx="1530">
                  <c:v>44110</c:v>
                </c:pt>
                <c:pt idx="1531">
                  <c:v>44111</c:v>
                </c:pt>
                <c:pt idx="1532">
                  <c:v>44112</c:v>
                </c:pt>
                <c:pt idx="1533">
                  <c:v>44113</c:v>
                </c:pt>
                <c:pt idx="1534">
                  <c:v>44116</c:v>
                </c:pt>
                <c:pt idx="1535">
                  <c:v>44117</c:v>
                </c:pt>
                <c:pt idx="1536">
                  <c:v>44118</c:v>
                </c:pt>
                <c:pt idx="1537">
                  <c:v>44119</c:v>
                </c:pt>
                <c:pt idx="1538">
                  <c:v>44120</c:v>
                </c:pt>
                <c:pt idx="1539">
                  <c:v>44123</c:v>
                </c:pt>
                <c:pt idx="1540">
                  <c:v>44124</c:v>
                </c:pt>
                <c:pt idx="1541">
                  <c:v>44125</c:v>
                </c:pt>
                <c:pt idx="1542">
                  <c:v>44126</c:v>
                </c:pt>
                <c:pt idx="1543">
                  <c:v>44127</c:v>
                </c:pt>
                <c:pt idx="1544">
                  <c:v>44130</c:v>
                </c:pt>
                <c:pt idx="1545">
                  <c:v>44131</c:v>
                </c:pt>
                <c:pt idx="1546">
                  <c:v>44132</c:v>
                </c:pt>
                <c:pt idx="1547">
                  <c:v>44133</c:v>
                </c:pt>
                <c:pt idx="1548">
                  <c:v>44134</c:v>
                </c:pt>
                <c:pt idx="1549">
                  <c:v>44137</c:v>
                </c:pt>
                <c:pt idx="1550">
                  <c:v>44138</c:v>
                </c:pt>
                <c:pt idx="1551">
                  <c:v>44139</c:v>
                </c:pt>
                <c:pt idx="1552">
                  <c:v>44140</c:v>
                </c:pt>
                <c:pt idx="1553">
                  <c:v>44141</c:v>
                </c:pt>
                <c:pt idx="1554">
                  <c:v>44144</c:v>
                </c:pt>
                <c:pt idx="1555">
                  <c:v>44145</c:v>
                </c:pt>
                <c:pt idx="1556">
                  <c:v>44146</c:v>
                </c:pt>
                <c:pt idx="1557">
                  <c:v>44147</c:v>
                </c:pt>
                <c:pt idx="1558">
                  <c:v>44148</c:v>
                </c:pt>
                <c:pt idx="1559">
                  <c:v>44151</c:v>
                </c:pt>
                <c:pt idx="1560">
                  <c:v>44152</c:v>
                </c:pt>
                <c:pt idx="1561">
                  <c:v>44153</c:v>
                </c:pt>
                <c:pt idx="1562">
                  <c:v>44154</c:v>
                </c:pt>
                <c:pt idx="1563">
                  <c:v>44155</c:v>
                </c:pt>
                <c:pt idx="1564">
                  <c:v>44158</c:v>
                </c:pt>
                <c:pt idx="1565">
                  <c:v>44159</c:v>
                </c:pt>
                <c:pt idx="1566">
                  <c:v>44160</c:v>
                </c:pt>
                <c:pt idx="1567">
                  <c:v>44161</c:v>
                </c:pt>
                <c:pt idx="1568">
                  <c:v>44162</c:v>
                </c:pt>
                <c:pt idx="1569">
                  <c:v>44165</c:v>
                </c:pt>
                <c:pt idx="1570">
                  <c:v>44166</c:v>
                </c:pt>
                <c:pt idx="1571">
                  <c:v>44167</c:v>
                </c:pt>
                <c:pt idx="1572">
                  <c:v>44168</c:v>
                </c:pt>
                <c:pt idx="1573">
                  <c:v>44169</c:v>
                </c:pt>
                <c:pt idx="1574">
                  <c:v>44172</c:v>
                </c:pt>
                <c:pt idx="1575">
                  <c:v>44173</c:v>
                </c:pt>
                <c:pt idx="1576">
                  <c:v>44174</c:v>
                </c:pt>
                <c:pt idx="1577">
                  <c:v>44175</c:v>
                </c:pt>
                <c:pt idx="1578">
                  <c:v>44176</c:v>
                </c:pt>
                <c:pt idx="1579">
                  <c:v>44179</c:v>
                </c:pt>
                <c:pt idx="1580">
                  <c:v>44180</c:v>
                </c:pt>
                <c:pt idx="1581">
                  <c:v>44181</c:v>
                </c:pt>
                <c:pt idx="1582">
                  <c:v>44182</c:v>
                </c:pt>
                <c:pt idx="1583">
                  <c:v>44183</c:v>
                </c:pt>
                <c:pt idx="1584">
                  <c:v>44186</c:v>
                </c:pt>
                <c:pt idx="1585">
                  <c:v>44187</c:v>
                </c:pt>
                <c:pt idx="1586">
                  <c:v>44188</c:v>
                </c:pt>
                <c:pt idx="1587">
                  <c:v>44189</c:v>
                </c:pt>
                <c:pt idx="1588">
                  <c:v>44190</c:v>
                </c:pt>
                <c:pt idx="1589">
                  <c:v>44193</c:v>
                </c:pt>
                <c:pt idx="1590">
                  <c:v>44194</c:v>
                </c:pt>
                <c:pt idx="1591">
                  <c:v>44195</c:v>
                </c:pt>
                <c:pt idx="1592">
                  <c:v>44196</c:v>
                </c:pt>
                <c:pt idx="1593">
                  <c:v>44197</c:v>
                </c:pt>
                <c:pt idx="1594">
                  <c:v>44200</c:v>
                </c:pt>
                <c:pt idx="1595">
                  <c:v>44201</c:v>
                </c:pt>
                <c:pt idx="1596">
                  <c:v>44202</c:v>
                </c:pt>
                <c:pt idx="1597">
                  <c:v>44203</c:v>
                </c:pt>
                <c:pt idx="1598">
                  <c:v>44204</c:v>
                </c:pt>
                <c:pt idx="1599">
                  <c:v>44207</c:v>
                </c:pt>
                <c:pt idx="1600">
                  <c:v>44208</c:v>
                </c:pt>
                <c:pt idx="1601">
                  <c:v>44209</c:v>
                </c:pt>
                <c:pt idx="1602">
                  <c:v>44210</c:v>
                </c:pt>
                <c:pt idx="1603">
                  <c:v>44211</c:v>
                </c:pt>
                <c:pt idx="1604">
                  <c:v>44214</c:v>
                </c:pt>
                <c:pt idx="1605">
                  <c:v>44215</c:v>
                </c:pt>
                <c:pt idx="1606">
                  <c:v>44216</c:v>
                </c:pt>
                <c:pt idx="1607">
                  <c:v>44217</c:v>
                </c:pt>
                <c:pt idx="1608">
                  <c:v>44218</c:v>
                </c:pt>
                <c:pt idx="1609">
                  <c:v>44221</c:v>
                </c:pt>
                <c:pt idx="1610">
                  <c:v>44222</c:v>
                </c:pt>
                <c:pt idx="1611">
                  <c:v>44223</c:v>
                </c:pt>
                <c:pt idx="1612">
                  <c:v>44224</c:v>
                </c:pt>
                <c:pt idx="1613">
                  <c:v>44225</c:v>
                </c:pt>
                <c:pt idx="1614">
                  <c:v>44228</c:v>
                </c:pt>
                <c:pt idx="1615">
                  <c:v>44229</c:v>
                </c:pt>
                <c:pt idx="1616">
                  <c:v>44230</c:v>
                </c:pt>
                <c:pt idx="1617">
                  <c:v>44231</c:v>
                </c:pt>
                <c:pt idx="1618">
                  <c:v>44232</c:v>
                </c:pt>
                <c:pt idx="1619">
                  <c:v>44235</c:v>
                </c:pt>
                <c:pt idx="1620">
                  <c:v>44236</c:v>
                </c:pt>
                <c:pt idx="1621">
                  <c:v>44237</c:v>
                </c:pt>
                <c:pt idx="1622">
                  <c:v>44238</c:v>
                </c:pt>
                <c:pt idx="1623">
                  <c:v>44239</c:v>
                </c:pt>
                <c:pt idx="1624">
                  <c:v>44242</c:v>
                </c:pt>
                <c:pt idx="1625">
                  <c:v>44243</c:v>
                </c:pt>
                <c:pt idx="1626">
                  <c:v>44244</c:v>
                </c:pt>
                <c:pt idx="1627">
                  <c:v>44245</c:v>
                </c:pt>
                <c:pt idx="1628">
                  <c:v>44246</c:v>
                </c:pt>
                <c:pt idx="1629">
                  <c:v>44249</c:v>
                </c:pt>
                <c:pt idx="1630">
                  <c:v>44250</c:v>
                </c:pt>
                <c:pt idx="1631">
                  <c:v>44251</c:v>
                </c:pt>
                <c:pt idx="1632">
                  <c:v>44252</c:v>
                </c:pt>
                <c:pt idx="1633">
                  <c:v>44253</c:v>
                </c:pt>
                <c:pt idx="1634">
                  <c:v>44256</c:v>
                </c:pt>
                <c:pt idx="1635">
                  <c:v>44257</c:v>
                </c:pt>
                <c:pt idx="1636">
                  <c:v>44258</c:v>
                </c:pt>
                <c:pt idx="1637">
                  <c:v>44259</c:v>
                </c:pt>
                <c:pt idx="1638">
                  <c:v>44260</c:v>
                </c:pt>
                <c:pt idx="1639">
                  <c:v>44263</c:v>
                </c:pt>
                <c:pt idx="1640">
                  <c:v>44264</c:v>
                </c:pt>
                <c:pt idx="1641">
                  <c:v>44265</c:v>
                </c:pt>
                <c:pt idx="1642">
                  <c:v>44266</c:v>
                </c:pt>
                <c:pt idx="1643">
                  <c:v>44267</c:v>
                </c:pt>
                <c:pt idx="1644">
                  <c:v>44270</c:v>
                </c:pt>
                <c:pt idx="1645">
                  <c:v>44271</c:v>
                </c:pt>
                <c:pt idx="1646">
                  <c:v>44272</c:v>
                </c:pt>
                <c:pt idx="1647">
                  <c:v>44273</c:v>
                </c:pt>
                <c:pt idx="1648">
                  <c:v>44274</c:v>
                </c:pt>
                <c:pt idx="1649">
                  <c:v>44277</c:v>
                </c:pt>
                <c:pt idx="1650">
                  <c:v>44278</c:v>
                </c:pt>
                <c:pt idx="1651">
                  <c:v>44279</c:v>
                </c:pt>
                <c:pt idx="1652">
                  <c:v>44280</c:v>
                </c:pt>
                <c:pt idx="1653">
                  <c:v>44281</c:v>
                </c:pt>
                <c:pt idx="1654">
                  <c:v>44284</c:v>
                </c:pt>
                <c:pt idx="1655">
                  <c:v>44285</c:v>
                </c:pt>
                <c:pt idx="1656">
                  <c:v>44286</c:v>
                </c:pt>
                <c:pt idx="1657">
                  <c:v>44287</c:v>
                </c:pt>
                <c:pt idx="1658">
                  <c:v>44288</c:v>
                </c:pt>
                <c:pt idx="1659">
                  <c:v>44291</c:v>
                </c:pt>
                <c:pt idx="1660">
                  <c:v>44292</c:v>
                </c:pt>
                <c:pt idx="1661">
                  <c:v>44293</c:v>
                </c:pt>
                <c:pt idx="1662">
                  <c:v>44294</c:v>
                </c:pt>
                <c:pt idx="1663">
                  <c:v>44295</c:v>
                </c:pt>
                <c:pt idx="1664">
                  <c:v>44298</c:v>
                </c:pt>
                <c:pt idx="1665">
                  <c:v>44299</c:v>
                </c:pt>
                <c:pt idx="1666">
                  <c:v>44300</c:v>
                </c:pt>
                <c:pt idx="1667">
                  <c:v>44301</c:v>
                </c:pt>
                <c:pt idx="1668">
                  <c:v>44302</c:v>
                </c:pt>
                <c:pt idx="1669">
                  <c:v>44305</c:v>
                </c:pt>
                <c:pt idx="1670">
                  <c:v>44306</c:v>
                </c:pt>
                <c:pt idx="1671">
                  <c:v>44307</c:v>
                </c:pt>
                <c:pt idx="1672">
                  <c:v>44308</c:v>
                </c:pt>
                <c:pt idx="1673">
                  <c:v>44309</c:v>
                </c:pt>
                <c:pt idx="1674">
                  <c:v>44312</c:v>
                </c:pt>
                <c:pt idx="1675">
                  <c:v>44313</c:v>
                </c:pt>
                <c:pt idx="1676">
                  <c:v>44314</c:v>
                </c:pt>
                <c:pt idx="1677">
                  <c:v>44315</c:v>
                </c:pt>
                <c:pt idx="1678">
                  <c:v>44316</c:v>
                </c:pt>
                <c:pt idx="1679">
                  <c:v>44319</c:v>
                </c:pt>
                <c:pt idx="1680">
                  <c:v>44320</c:v>
                </c:pt>
                <c:pt idx="1681">
                  <c:v>44321</c:v>
                </c:pt>
                <c:pt idx="1682">
                  <c:v>44322</c:v>
                </c:pt>
                <c:pt idx="1683">
                  <c:v>44323</c:v>
                </c:pt>
                <c:pt idx="1684">
                  <c:v>44326</c:v>
                </c:pt>
                <c:pt idx="1685">
                  <c:v>44327</c:v>
                </c:pt>
                <c:pt idx="1686">
                  <c:v>44328</c:v>
                </c:pt>
                <c:pt idx="1687">
                  <c:v>44329</c:v>
                </c:pt>
                <c:pt idx="1688">
                  <c:v>44330</c:v>
                </c:pt>
                <c:pt idx="1689">
                  <c:v>44333</c:v>
                </c:pt>
                <c:pt idx="1690">
                  <c:v>44334</c:v>
                </c:pt>
                <c:pt idx="1691">
                  <c:v>44335</c:v>
                </c:pt>
                <c:pt idx="1692">
                  <c:v>44336</c:v>
                </c:pt>
                <c:pt idx="1693">
                  <c:v>44337</c:v>
                </c:pt>
                <c:pt idx="1694">
                  <c:v>44340</c:v>
                </c:pt>
                <c:pt idx="1695">
                  <c:v>44341</c:v>
                </c:pt>
                <c:pt idx="1696">
                  <c:v>44342</c:v>
                </c:pt>
                <c:pt idx="1697">
                  <c:v>44343</c:v>
                </c:pt>
                <c:pt idx="1698">
                  <c:v>44344</c:v>
                </c:pt>
                <c:pt idx="1699">
                  <c:v>44347</c:v>
                </c:pt>
                <c:pt idx="1700">
                  <c:v>44348</c:v>
                </c:pt>
                <c:pt idx="1701">
                  <c:v>44349</c:v>
                </c:pt>
                <c:pt idx="1702">
                  <c:v>44350</c:v>
                </c:pt>
                <c:pt idx="1703">
                  <c:v>44351</c:v>
                </c:pt>
                <c:pt idx="1704">
                  <c:v>44354</c:v>
                </c:pt>
                <c:pt idx="1705">
                  <c:v>44355</c:v>
                </c:pt>
                <c:pt idx="1706">
                  <c:v>44356</c:v>
                </c:pt>
                <c:pt idx="1707">
                  <c:v>44357</c:v>
                </c:pt>
                <c:pt idx="1708">
                  <c:v>44358</c:v>
                </c:pt>
                <c:pt idx="1709">
                  <c:v>44361</c:v>
                </c:pt>
                <c:pt idx="1710">
                  <c:v>44362</c:v>
                </c:pt>
                <c:pt idx="1711">
                  <c:v>44363</c:v>
                </c:pt>
                <c:pt idx="1712">
                  <c:v>44364</c:v>
                </c:pt>
                <c:pt idx="1713">
                  <c:v>44365</c:v>
                </c:pt>
                <c:pt idx="1714">
                  <c:v>44368</c:v>
                </c:pt>
                <c:pt idx="1715">
                  <c:v>44369</c:v>
                </c:pt>
                <c:pt idx="1716">
                  <c:v>44370</c:v>
                </c:pt>
                <c:pt idx="1717">
                  <c:v>44371</c:v>
                </c:pt>
                <c:pt idx="1718">
                  <c:v>44372</c:v>
                </c:pt>
                <c:pt idx="1719">
                  <c:v>44375</c:v>
                </c:pt>
                <c:pt idx="1720">
                  <c:v>44376</c:v>
                </c:pt>
                <c:pt idx="1721">
                  <c:v>44377</c:v>
                </c:pt>
                <c:pt idx="1722">
                  <c:v>44378</c:v>
                </c:pt>
                <c:pt idx="1723">
                  <c:v>44379</c:v>
                </c:pt>
                <c:pt idx="1724">
                  <c:v>44382</c:v>
                </c:pt>
                <c:pt idx="1725">
                  <c:v>44383</c:v>
                </c:pt>
                <c:pt idx="1726">
                  <c:v>44384</c:v>
                </c:pt>
                <c:pt idx="1727">
                  <c:v>44385</c:v>
                </c:pt>
                <c:pt idx="1728">
                  <c:v>44386</c:v>
                </c:pt>
                <c:pt idx="1729">
                  <c:v>44389</c:v>
                </c:pt>
                <c:pt idx="1730">
                  <c:v>44390</c:v>
                </c:pt>
                <c:pt idx="1731">
                  <c:v>44391</c:v>
                </c:pt>
                <c:pt idx="1732">
                  <c:v>44392</c:v>
                </c:pt>
                <c:pt idx="1733">
                  <c:v>44393</c:v>
                </c:pt>
                <c:pt idx="1734">
                  <c:v>44396</c:v>
                </c:pt>
                <c:pt idx="1735">
                  <c:v>44397</c:v>
                </c:pt>
                <c:pt idx="1736">
                  <c:v>44398</c:v>
                </c:pt>
                <c:pt idx="1737">
                  <c:v>44399</c:v>
                </c:pt>
                <c:pt idx="1738">
                  <c:v>44400</c:v>
                </c:pt>
                <c:pt idx="1739">
                  <c:v>44403</c:v>
                </c:pt>
                <c:pt idx="1740">
                  <c:v>44404</c:v>
                </c:pt>
                <c:pt idx="1741">
                  <c:v>44405</c:v>
                </c:pt>
                <c:pt idx="1742">
                  <c:v>44406</c:v>
                </c:pt>
                <c:pt idx="1743">
                  <c:v>44407</c:v>
                </c:pt>
                <c:pt idx="1744">
                  <c:v>44410</c:v>
                </c:pt>
                <c:pt idx="1745">
                  <c:v>44411</c:v>
                </c:pt>
                <c:pt idx="1746">
                  <c:v>44412</c:v>
                </c:pt>
                <c:pt idx="1747">
                  <c:v>44413</c:v>
                </c:pt>
                <c:pt idx="1748">
                  <c:v>44414</c:v>
                </c:pt>
                <c:pt idx="1749">
                  <c:v>44417</c:v>
                </c:pt>
                <c:pt idx="1750">
                  <c:v>44418</c:v>
                </c:pt>
                <c:pt idx="1751">
                  <c:v>44419</c:v>
                </c:pt>
                <c:pt idx="1752">
                  <c:v>44420</c:v>
                </c:pt>
                <c:pt idx="1753">
                  <c:v>44421</c:v>
                </c:pt>
                <c:pt idx="1754">
                  <c:v>44424</c:v>
                </c:pt>
                <c:pt idx="1755">
                  <c:v>44425</c:v>
                </c:pt>
                <c:pt idx="1756">
                  <c:v>44426</c:v>
                </c:pt>
                <c:pt idx="1757">
                  <c:v>44427</c:v>
                </c:pt>
                <c:pt idx="1758">
                  <c:v>44428</c:v>
                </c:pt>
                <c:pt idx="1759">
                  <c:v>44431</c:v>
                </c:pt>
                <c:pt idx="1760">
                  <c:v>44432</c:v>
                </c:pt>
                <c:pt idx="1761">
                  <c:v>44433</c:v>
                </c:pt>
                <c:pt idx="1762">
                  <c:v>44434</c:v>
                </c:pt>
                <c:pt idx="1763">
                  <c:v>44435</c:v>
                </c:pt>
                <c:pt idx="1764">
                  <c:v>44438</c:v>
                </c:pt>
                <c:pt idx="1765">
                  <c:v>44439</c:v>
                </c:pt>
                <c:pt idx="1766">
                  <c:v>44440</c:v>
                </c:pt>
                <c:pt idx="1767">
                  <c:v>44441</c:v>
                </c:pt>
                <c:pt idx="1768">
                  <c:v>44442</c:v>
                </c:pt>
                <c:pt idx="1769">
                  <c:v>44445</c:v>
                </c:pt>
                <c:pt idx="1770">
                  <c:v>44446</c:v>
                </c:pt>
                <c:pt idx="1771">
                  <c:v>44447</c:v>
                </c:pt>
                <c:pt idx="1772">
                  <c:v>44448</c:v>
                </c:pt>
                <c:pt idx="1773">
                  <c:v>44449</c:v>
                </c:pt>
                <c:pt idx="1774">
                  <c:v>44452</c:v>
                </c:pt>
                <c:pt idx="1775">
                  <c:v>44453</c:v>
                </c:pt>
                <c:pt idx="1776">
                  <c:v>44454</c:v>
                </c:pt>
                <c:pt idx="1777">
                  <c:v>44455</c:v>
                </c:pt>
                <c:pt idx="1778">
                  <c:v>44456</c:v>
                </c:pt>
                <c:pt idx="1779">
                  <c:v>44459</c:v>
                </c:pt>
                <c:pt idx="1780">
                  <c:v>44460</c:v>
                </c:pt>
                <c:pt idx="1781">
                  <c:v>44461</c:v>
                </c:pt>
                <c:pt idx="1782">
                  <c:v>44462</c:v>
                </c:pt>
                <c:pt idx="1783">
                  <c:v>44463</c:v>
                </c:pt>
                <c:pt idx="1784">
                  <c:v>44466</c:v>
                </c:pt>
                <c:pt idx="1785">
                  <c:v>44467</c:v>
                </c:pt>
                <c:pt idx="1786">
                  <c:v>44468</c:v>
                </c:pt>
                <c:pt idx="1787">
                  <c:v>44469</c:v>
                </c:pt>
                <c:pt idx="1788">
                  <c:v>44470</c:v>
                </c:pt>
                <c:pt idx="1789">
                  <c:v>44473</c:v>
                </c:pt>
                <c:pt idx="1790">
                  <c:v>44474</c:v>
                </c:pt>
                <c:pt idx="1791">
                  <c:v>44475</c:v>
                </c:pt>
                <c:pt idx="1792">
                  <c:v>44476</c:v>
                </c:pt>
                <c:pt idx="1793">
                  <c:v>44477</c:v>
                </c:pt>
                <c:pt idx="1794">
                  <c:v>44480</c:v>
                </c:pt>
                <c:pt idx="1795">
                  <c:v>44481</c:v>
                </c:pt>
                <c:pt idx="1796">
                  <c:v>44482</c:v>
                </c:pt>
                <c:pt idx="1797">
                  <c:v>44483</c:v>
                </c:pt>
                <c:pt idx="1798">
                  <c:v>44484</c:v>
                </c:pt>
                <c:pt idx="1799">
                  <c:v>44487</c:v>
                </c:pt>
                <c:pt idx="1800">
                  <c:v>44488</c:v>
                </c:pt>
                <c:pt idx="1801">
                  <c:v>44489</c:v>
                </c:pt>
                <c:pt idx="1802">
                  <c:v>44490</c:v>
                </c:pt>
                <c:pt idx="1803">
                  <c:v>44491</c:v>
                </c:pt>
                <c:pt idx="1804">
                  <c:v>44494</c:v>
                </c:pt>
                <c:pt idx="1805">
                  <c:v>44495</c:v>
                </c:pt>
                <c:pt idx="1806">
                  <c:v>44496</c:v>
                </c:pt>
                <c:pt idx="1807">
                  <c:v>44497</c:v>
                </c:pt>
                <c:pt idx="1808">
                  <c:v>44498</c:v>
                </c:pt>
                <c:pt idx="1809">
                  <c:v>44501</c:v>
                </c:pt>
                <c:pt idx="1810">
                  <c:v>44502</c:v>
                </c:pt>
                <c:pt idx="1811">
                  <c:v>44503</c:v>
                </c:pt>
                <c:pt idx="1812">
                  <c:v>44504</c:v>
                </c:pt>
                <c:pt idx="1813">
                  <c:v>44505</c:v>
                </c:pt>
                <c:pt idx="1814">
                  <c:v>44508</c:v>
                </c:pt>
                <c:pt idx="1815">
                  <c:v>44509</c:v>
                </c:pt>
                <c:pt idx="1816">
                  <c:v>44510</c:v>
                </c:pt>
                <c:pt idx="1817">
                  <c:v>44511</c:v>
                </c:pt>
                <c:pt idx="1818">
                  <c:v>44512</c:v>
                </c:pt>
                <c:pt idx="1819">
                  <c:v>44515</c:v>
                </c:pt>
                <c:pt idx="1820">
                  <c:v>44516</c:v>
                </c:pt>
                <c:pt idx="1821">
                  <c:v>44517</c:v>
                </c:pt>
                <c:pt idx="1822">
                  <c:v>44518</c:v>
                </c:pt>
                <c:pt idx="1823">
                  <c:v>44519</c:v>
                </c:pt>
                <c:pt idx="1824">
                  <c:v>44522</c:v>
                </c:pt>
                <c:pt idx="1825">
                  <c:v>44523</c:v>
                </c:pt>
                <c:pt idx="1826">
                  <c:v>44524</c:v>
                </c:pt>
                <c:pt idx="1827">
                  <c:v>44525</c:v>
                </c:pt>
                <c:pt idx="1828">
                  <c:v>44526</c:v>
                </c:pt>
                <c:pt idx="1829">
                  <c:v>44529</c:v>
                </c:pt>
                <c:pt idx="1830">
                  <c:v>44530</c:v>
                </c:pt>
                <c:pt idx="1831">
                  <c:v>44531</c:v>
                </c:pt>
                <c:pt idx="1832">
                  <c:v>44532</c:v>
                </c:pt>
                <c:pt idx="1833">
                  <c:v>44533</c:v>
                </c:pt>
                <c:pt idx="1834">
                  <c:v>44536</c:v>
                </c:pt>
                <c:pt idx="1835">
                  <c:v>44537</c:v>
                </c:pt>
                <c:pt idx="1836">
                  <c:v>44538</c:v>
                </c:pt>
                <c:pt idx="1837">
                  <c:v>44539</c:v>
                </c:pt>
                <c:pt idx="1838">
                  <c:v>44540</c:v>
                </c:pt>
                <c:pt idx="1839">
                  <c:v>44543</c:v>
                </c:pt>
                <c:pt idx="1840">
                  <c:v>44544</c:v>
                </c:pt>
                <c:pt idx="1841">
                  <c:v>44545</c:v>
                </c:pt>
                <c:pt idx="1842">
                  <c:v>44546</c:v>
                </c:pt>
                <c:pt idx="1843">
                  <c:v>44547</c:v>
                </c:pt>
                <c:pt idx="1844">
                  <c:v>44550</c:v>
                </c:pt>
                <c:pt idx="1845">
                  <c:v>44551</c:v>
                </c:pt>
                <c:pt idx="1846">
                  <c:v>44552</c:v>
                </c:pt>
                <c:pt idx="1847">
                  <c:v>44553</c:v>
                </c:pt>
                <c:pt idx="1848">
                  <c:v>44554</c:v>
                </c:pt>
                <c:pt idx="1849">
                  <c:v>44557</c:v>
                </c:pt>
                <c:pt idx="1850">
                  <c:v>44558</c:v>
                </c:pt>
                <c:pt idx="1851">
                  <c:v>44559</c:v>
                </c:pt>
                <c:pt idx="1852">
                  <c:v>44560</c:v>
                </c:pt>
                <c:pt idx="1853">
                  <c:v>44561</c:v>
                </c:pt>
                <c:pt idx="1854">
                  <c:v>44564</c:v>
                </c:pt>
                <c:pt idx="1855">
                  <c:v>44565</c:v>
                </c:pt>
                <c:pt idx="1856">
                  <c:v>44566</c:v>
                </c:pt>
                <c:pt idx="1857">
                  <c:v>44567</c:v>
                </c:pt>
                <c:pt idx="1858">
                  <c:v>44568</c:v>
                </c:pt>
                <c:pt idx="1859">
                  <c:v>44571</c:v>
                </c:pt>
                <c:pt idx="1860">
                  <c:v>44572</c:v>
                </c:pt>
                <c:pt idx="1861">
                  <c:v>44573</c:v>
                </c:pt>
                <c:pt idx="1862">
                  <c:v>44574</c:v>
                </c:pt>
                <c:pt idx="1863">
                  <c:v>44575</c:v>
                </c:pt>
                <c:pt idx="1864">
                  <c:v>44578</c:v>
                </c:pt>
                <c:pt idx="1865">
                  <c:v>44579</c:v>
                </c:pt>
                <c:pt idx="1866">
                  <c:v>44580</c:v>
                </c:pt>
                <c:pt idx="1867">
                  <c:v>44581</c:v>
                </c:pt>
                <c:pt idx="1868">
                  <c:v>44582</c:v>
                </c:pt>
                <c:pt idx="1869">
                  <c:v>44585</c:v>
                </c:pt>
                <c:pt idx="1870">
                  <c:v>44586</c:v>
                </c:pt>
                <c:pt idx="1871">
                  <c:v>44587</c:v>
                </c:pt>
                <c:pt idx="1872">
                  <c:v>44588</c:v>
                </c:pt>
                <c:pt idx="1873">
                  <c:v>44589</c:v>
                </c:pt>
                <c:pt idx="1874">
                  <c:v>44592</c:v>
                </c:pt>
                <c:pt idx="1875">
                  <c:v>44593</c:v>
                </c:pt>
                <c:pt idx="1876">
                  <c:v>44594</c:v>
                </c:pt>
                <c:pt idx="1877">
                  <c:v>44595</c:v>
                </c:pt>
                <c:pt idx="1878">
                  <c:v>44596</c:v>
                </c:pt>
                <c:pt idx="1879">
                  <c:v>44599</c:v>
                </c:pt>
                <c:pt idx="1880">
                  <c:v>44600</c:v>
                </c:pt>
                <c:pt idx="1881">
                  <c:v>44601</c:v>
                </c:pt>
                <c:pt idx="1882">
                  <c:v>44602</c:v>
                </c:pt>
                <c:pt idx="1883">
                  <c:v>44603</c:v>
                </c:pt>
                <c:pt idx="1884">
                  <c:v>44606</c:v>
                </c:pt>
                <c:pt idx="1885">
                  <c:v>44607</c:v>
                </c:pt>
                <c:pt idx="1886">
                  <c:v>44608</c:v>
                </c:pt>
                <c:pt idx="1887">
                  <c:v>44609</c:v>
                </c:pt>
                <c:pt idx="1888">
                  <c:v>44610</c:v>
                </c:pt>
                <c:pt idx="1889">
                  <c:v>44613</c:v>
                </c:pt>
                <c:pt idx="1890">
                  <c:v>44614</c:v>
                </c:pt>
                <c:pt idx="1891">
                  <c:v>44615</c:v>
                </c:pt>
                <c:pt idx="1892">
                  <c:v>44616</c:v>
                </c:pt>
                <c:pt idx="1893">
                  <c:v>44617</c:v>
                </c:pt>
                <c:pt idx="1894">
                  <c:v>44620</c:v>
                </c:pt>
                <c:pt idx="1895">
                  <c:v>44621</c:v>
                </c:pt>
                <c:pt idx="1896">
                  <c:v>44622</c:v>
                </c:pt>
                <c:pt idx="1897">
                  <c:v>44623</c:v>
                </c:pt>
                <c:pt idx="1898">
                  <c:v>44624</c:v>
                </c:pt>
                <c:pt idx="1899">
                  <c:v>44627</c:v>
                </c:pt>
                <c:pt idx="1900">
                  <c:v>44628</c:v>
                </c:pt>
                <c:pt idx="1901">
                  <c:v>44629</c:v>
                </c:pt>
                <c:pt idx="1902">
                  <c:v>44630</c:v>
                </c:pt>
                <c:pt idx="1903">
                  <c:v>44631</c:v>
                </c:pt>
                <c:pt idx="1904">
                  <c:v>44634</c:v>
                </c:pt>
                <c:pt idx="1905">
                  <c:v>44635</c:v>
                </c:pt>
                <c:pt idx="1906">
                  <c:v>44636</c:v>
                </c:pt>
                <c:pt idx="1907">
                  <c:v>44637</c:v>
                </c:pt>
                <c:pt idx="1908">
                  <c:v>44638</c:v>
                </c:pt>
                <c:pt idx="1909">
                  <c:v>44641</c:v>
                </c:pt>
                <c:pt idx="1910">
                  <c:v>44642</c:v>
                </c:pt>
                <c:pt idx="1911">
                  <c:v>44643</c:v>
                </c:pt>
                <c:pt idx="1912">
                  <c:v>44644</c:v>
                </c:pt>
                <c:pt idx="1913">
                  <c:v>44645</c:v>
                </c:pt>
                <c:pt idx="1914">
                  <c:v>44648</c:v>
                </c:pt>
                <c:pt idx="1915">
                  <c:v>44649</c:v>
                </c:pt>
                <c:pt idx="1916">
                  <c:v>44650</c:v>
                </c:pt>
                <c:pt idx="1917">
                  <c:v>44651</c:v>
                </c:pt>
                <c:pt idx="1918">
                  <c:v>44652</c:v>
                </c:pt>
                <c:pt idx="1919">
                  <c:v>44655</c:v>
                </c:pt>
                <c:pt idx="1920">
                  <c:v>44656</c:v>
                </c:pt>
                <c:pt idx="1921">
                  <c:v>44657</c:v>
                </c:pt>
                <c:pt idx="1922">
                  <c:v>44658</c:v>
                </c:pt>
                <c:pt idx="1923">
                  <c:v>44659</c:v>
                </c:pt>
                <c:pt idx="1924">
                  <c:v>44662</c:v>
                </c:pt>
                <c:pt idx="1925">
                  <c:v>44663</c:v>
                </c:pt>
                <c:pt idx="1926">
                  <c:v>44664</c:v>
                </c:pt>
                <c:pt idx="1927">
                  <c:v>44665</c:v>
                </c:pt>
                <c:pt idx="1928">
                  <c:v>44666</c:v>
                </c:pt>
                <c:pt idx="1929">
                  <c:v>44669</c:v>
                </c:pt>
                <c:pt idx="1930">
                  <c:v>44670</c:v>
                </c:pt>
                <c:pt idx="1931">
                  <c:v>44671</c:v>
                </c:pt>
                <c:pt idx="1932">
                  <c:v>44672</c:v>
                </c:pt>
                <c:pt idx="1933">
                  <c:v>44673</c:v>
                </c:pt>
                <c:pt idx="1934">
                  <c:v>44676</c:v>
                </c:pt>
                <c:pt idx="1935">
                  <c:v>44677</c:v>
                </c:pt>
                <c:pt idx="1936">
                  <c:v>44678</c:v>
                </c:pt>
                <c:pt idx="1937">
                  <c:v>44679</c:v>
                </c:pt>
                <c:pt idx="1938">
                  <c:v>44680</c:v>
                </c:pt>
                <c:pt idx="1939">
                  <c:v>44683</c:v>
                </c:pt>
                <c:pt idx="1940">
                  <c:v>44684</c:v>
                </c:pt>
                <c:pt idx="1941">
                  <c:v>44685</c:v>
                </c:pt>
                <c:pt idx="1942">
                  <c:v>44686</c:v>
                </c:pt>
                <c:pt idx="1943">
                  <c:v>44687</c:v>
                </c:pt>
                <c:pt idx="1944">
                  <c:v>44690</c:v>
                </c:pt>
                <c:pt idx="1945">
                  <c:v>44691</c:v>
                </c:pt>
                <c:pt idx="1946">
                  <c:v>44692</c:v>
                </c:pt>
                <c:pt idx="1947">
                  <c:v>44693</c:v>
                </c:pt>
                <c:pt idx="1948">
                  <c:v>44694</c:v>
                </c:pt>
                <c:pt idx="1949">
                  <c:v>44697</c:v>
                </c:pt>
                <c:pt idx="1950">
                  <c:v>44698</c:v>
                </c:pt>
                <c:pt idx="1951">
                  <c:v>44699</c:v>
                </c:pt>
                <c:pt idx="1952">
                  <c:v>44700</c:v>
                </c:pt>
                <c:pt idx="1953">
                  <c:v>44701</c:v>
                </c:pt>
                <c:pt idx="1954">
                  <c:v>44704</c:v>
                </c:pt>
                <c:pt idx="1955">
                  <c:v>44705</c:v>
                </c:pt>
                <c:pt idx="1956">
                  <c:v>44706</c:v>
                </c:pt>
                <c:pt idx="1957">
                  <c:v>44707</c:v>
                </c:pt>
                <c:pt idx="1958">
                  <c:v>44708</c:v>
                </c:pt>
                <c:pt idx="1959">
                  <c:v>44711</c:v>
                </c:pt>
                <c:pt idx="1960">
                  <c:v>44712</c:v>
                </c:pt>
                <c:pt idx="1961">
                  <c:v>44713</c:v>
                </c:pt>
                <c:pt idx="1962">
                  <c:v>44714</c:v>
                </c:pt>
                <c:pt idx="1963">
                  <c:v>44715</c:v>
                </c:pt>
                <c:pt idx="1964">
                  <c:v>44718</c:v>
                </c:pt>
                <c:pt idx="1965">
                  <c:v>44719</c:v>
                </c:pt>
                <c:pt idx="1966">
                  <c:v>44720</c:v>
                </c:pt>
                <c:pt idx="1967">
                  <c:v>44721</c:v>
                </c:pt>
                <c:pt idx="1968">
                  <c:v>44722</c:v>
                </c:pt>
                <c:pt idx="1969">
                  <c:v>44725</c:v>
                </c:pt>
                <c:pt idx="1970">
                  <c:v>44726</c:v>
                </c:pt>
                <c:pt idx="1971">
                  <c:v>44727</c:v>
                </c:pt>
                <c:pt idx="1972">
                  <c:v>44728</c:v>
                </c:pt>
                <c:pt idx="1973">
                  <c:v>44729</c:v>
                </c:pt>
                <c:pt idx="1974">
                  <c:v>44732</c:v>
                </c:pt>
                <c:pt idx="1975">
                  <c:v>44733</c:v>
                </c:pt>
                <c:pt idx="1976">
                  <c:v>44734</c:v>
                </c:pt>
                <c:pt idx="1977">
                  <c:v>44735</c:v>
                </c:pt>
                <c:pt idx="1978">
                  <c:v>44736</c:v>
                </c:pt>
                <c:pt idx="1979">
                  <c:v>44739</c:v>
                </c:pt>
                <c:pt idx="1980">
                  <c:v>44740</c:v>
                </c:pt>
                <c:pt idx="1981">
                  <c:v>44741</c:v>
                </c:pt>
                <c:pt idx="1982">
                  <c:v>44742</c:v>
                </c:pt>
                <c:pt idx="1983">
                  <c:v>44743</c:v>
                </c:pt>
                <c:pt idx="1984">
                  <c:v>44746</c:v>
                </c:pt>
                <c:pt idx="1985">
                  <c:v>44747</c:v>
                </c:pt>
                <c:pt idx="1986">
                  <c:v>44748</c:v>
                </c:pt>
                <c:pt idx="1987">
                  <c:v>44749</c:v>
                </c:pt>
                <c:pt idx="1988">
                  <c:v>44750</c:v>
                </c:pt>
                <c:pt idx="1989">
                  <c:v>44753</c:v>
                </c:pt>
                <c:pt idx="1990">
                  <c:v>44754</c:v>
                </c:pt>
                <c:pt idx="1991">
                  <c:v>44755</c:v>
                </c:pt>
                <c:pt idx="1992">
                  <c:v>44756</c:v>
                </c:pt>
                <c:pt idx="1993">
                  <c:v>44757</c:v>
                </c:pt>
                <c:pt idx="1994">
                  <c:v>44760</c:v>
                </c:pt>
                <c:pt idx="1995">
                  <c:v>44761</c:v>
                </c:pt>
                <c:pt idx="1996">
                  <c:v>44762</c:v>
                </c:pt>
                <c:pt idx="1997">
                  <c:v>44763</c:v>
                </c:pt>
                <c:pt idx="1998">
                  <c:v>44764</c:v>
                </c:pt>
                <c:pt idx="1999">
                  <c:v>44767</c:v>
                </c:pt>
                <c:pt idx="2000">
                  <c:v>44768</c:v>
                </c:pt>
                <c:pt idx="2001">
                  <c:v>44769</c:v>
                </c:pt>
                <c:pt idx="2002">
                  <c:v>44770</c:v>
                </c:pt>
                <c:pt idx="2003">
                  <c:v>44771</c:v>
                </c:pt>
                <c:pt idx="2004">
                  <c:v>44774</c:v>
                </c:pt>
                <c:pt idx="2005">
                  <c:v>44775</c:v>
                </c:pt>
                <c:pt idx="2006">
                  <c:v>44776</c:v>
                </c:pt>
                <c:pt idx="2007">
                  <c:v>44777</c:v>
                </c:pt>
                <c:pt idx="2008">
                  <c:v>44778</c:v>
                </c:pt>
                <c:pt idx="2009">
                  <c:v>44781</c:v>
                </c:pt>
                <c:pt idx="2010">
                  <c:v>44782</c:v>
                </c:pt>
                <c:pt idx="2011">
                  <c:v>44783</c:v>
                </c:pt>
                <c:pt idx="2012">
                  <c:v>44784</c:v>
                </c:pt>
                <c:pt idx="2013">
                  <c:v>44785</c:v>
                </c:pt>
                <c:pt idx="2014">
                  <c:v>44788</c:v>
                </c:pt>
                <c:pt idx="2015">
                  <c:v>44789</c:v>
                </c:pt>
                <c:pt idx="2016">
                  <c:v>44790</c:v>
                </c:pt>
                <c:pt idx="2017">
                  <c:v>44791</c:v>
                </c:pt>
                <c:pt idx="2018">
                  <c:v>44792</c:v>
                </c:pt>
                <c:pt idx="2019">
                  <c:v>44795</c:v>
                </c:pt>
                <c:pt idx="2020">
                  <c:v>44796</c:v>
                </c:pt>
                <c:pt idx="2021">
                  <c:v>44797</c:v>
                </c:pt>
                <c:pt idx="2022">
                  <c:v>44798</c:v>
                </c:pt>
                <c:pt idx="2023">
                  <c:v>44799</c:v>
                </c:pt>
                <c:pt idx="2024">
                  <c:v>44802</c:v>
                </c:pt>
                <c:pt idx="2025">
                  <c:v>44803</c:v>
                </c:pt>
                <c:pt idx="2026">
                  <c:v>44804</c:v>
                </c:pt>
                <c:pt idx="2027">
                  <c:v>44805</c:v>
                </c:pt>
                <c:pt idx="2028">
                  <c:v>44806</c:v>
                </c:pt>
                <c:pt idx="2029">
                  <c:v>44809</c:v>
                </c:pt>
                <c:pt idx="2030">
                  <c:v>44810</c:v>
                </c:pt>
                <c:pt idx="2031">
                  <c:v>44811</c:v>
                </c:pt>
                <c:pt idx="2032">
                  <c:v>44812</c:v>
                </c:pt>
                <c:pt idx="2033">
                  <c:v>44813</c:v>
                </c:pt>
                <c:pt idx="2034">
                  <c:v>44816</c:v>
                </c:pt>
                <c:pt idx="2035">
                  <c:v>44817</c:v>
                </c:pt>
                <c:pt idx="2036">
                  <c:v>44818</c:v>
                </c:pt>
                <c:pt idx="2037">
                  <c:v>44819</c:v>
                </c:pt>
                <c:pt idx="2038">
                  <c:v>44820</c:v>
                </c:pt>
                <c:pt idx="2039">
                  <c:v>44823</c:v>
                </c:pt>
                <c:pt idx="2040">
                  <c:v>44824</c:v>
                </c:pt>
                <c:pt idx="2041">
                  <c:v>44825</c:v>
                </c:pt>
                <c:pt idx="2042">
                  <c:v>44826</c:v>
                </c:pt>
                <c:pt idx="2043">
                  <c:v>44827</c:v>
                </c:pt>
                <c:pt idx="2044">
                  <c:v>44830</c:v>
                </c:pt>
                <c:pt idx="2045">
                  <c:v>44831</c:v>
                </c:pt>
                <c:pt idx="2046">
                  <c:v>44832</c:v>
                </c:pt>
                <c:pt idx="2047">
                  <c:v>44833</c:v>
                </c:pt>
                <c:pt idx="2048">
                  <c:v>44834</c:v>
                </c:pt>
                <c:pt idx="2049">
                  <c:v>44837</c:v>
                </c:pt>
                <c:pt idx="2050">
                  <c:v>44838</c:v>
                </c:pt>
                <c:pt idx="2051">
                  <c:v>44839</c:v>
                </c:pt>
                <c:pt idx="2052">
                  <c:v>44840</c:v>
                </c:pt>
                <c:pt idx="2053">
                  <c:v>44841</c:v>
                </c:pt>
                <c:pt idx="2054">
                  <c:v>44844</c:v>
                </c:pt>
                <c:pt idx="2055">
                  <c:v>44845</c:v>
                </c:pt>
                <c:pt idx="2056">
                  <c:v>44846</c:v>
                </c:pt>
                <c:pt idx="2057">
                  <c:v>44847</c:v>
                </c:pt>
                <c:pt idx="2058">
                  <c:v>44848</c:v>
                </c:pt>
                <c:pt idx="2059">
                  <c:v>44851</c:v>
                </c:pt>
                <c:pt idx="2060">
                  <c:v>44852</c:v>
                </c:pt>
                <c:pt idx="2061">
                  <c:v>44853</c:v>
                </c:pt>
                <c:pt idx="2062">
                  <c:v>44854</c:v>
                </c:pt>
                <c:pt idx="2063">
                  <c:v>44855</c:v>
                </c:pt>
                <c:pt idx="2064">
                  <c:v>44858</c:v>
                </c:pt>
                <c:pt idx="2065">
                  <c:v>44859</c:v>
                </c:pt>
                <c:pt idx="2066">
                  <c:v>44860</c:v>
                </c:pt>
                <c:pt idx="2067">
                  <c:v>44861</c:v>
                </c:pt>
                <c:pt idx="2068">
                  <c:v>44862</c:v>
                </c:pt>
                <c:pt idx="2069">
                  <c:v>44865</c:v>
                </c:pt>
                <c:pt idx="2070">
                  <c:v>44866</c:v>
                </c:pt>
                <c:pt idx="2071">
                  <c:v>44867</c:v>
                </c:pt>
                <c:pt idx="2072">
                  <c:v>44868</c:v>
                </c:pt>
                <c:pt idx="2073">
                  <c:v>44869</c:v>
                </c:pt>
                <c:pt idx="2074">
                  <c:v>44872</c:v>
                </c:pt>
                <c:pt idx="2075">
                  <c:v>44873</c:v>
                </c:pt>
                <c:pt idx="2076">
                  <c:v>44874</c:v>
                </c:pt>
                <c:pt idx="2077">
                  <c:v>44875</c:v>
                </c:pt>
                <c:pt idx="2078">
                  <c:v>44876</c:v>
                </c:pt>
                <c:pt idx="2079">
                  <c:v>44879</c:v>
                </c:pt>
                <c:pt idx="2080">
                  <c:v>44880</c:v>
                </c:pt>
                <c:pt idx="2081">
                  <c:v>44881</c:v>
                </c:pt>
                <c:pt idx="2082">
                  <c:v>44882</c:v>
                </c:pt>
                <c:pt idx="2083">
                  <c:v>44883</c:v>
                </c:pt>
                <c:pt idx="2084">
                  <c:v>44886</c:v>
                </c:pt>
                <c:pt idx="2085">
                  <c:v>44887</c:v>
                </c:pt>
                <c:pt idx="2086">
                  <c:v>44888</c:v>
                </c:pt>
                <c:pt idx="2087">
                  <c:v>44889</c:v>
                </c:pt>
                <c:pt idx="2088">
                  <c:v>44890</c:v>
                </c:pt>
                <c:pt idx="2089">
                  <c:v>44893</c:v>
                </c:pt>
                <c:pt idx="2090">
                  <c:v>44894</c:v>
                </c:pt>
                <c:pt idx="2091">
                  <c:v>44895</c:v>
                </c:pt>
                <c:pt idx="2092">
                  <c:v>44896</c:v>
                </c:pt>
                <c:pt idx="2093">
                  <c:v>44897</c:v>
                </c:pt>
                <c:pt idx="2094">
                  <c:v>44900</c:v>
                </c:pt>
                <c:pt idx="2095">
                  <c:v>44901</c:v>
                </c:pt>
                <c:pt idx="2096">
                  <c:v>44902</c:v>
                </c:pt>
                <c:pt idx="2097">
                  <c:v>44903</c:v>
                </c:pt>
                <c:pt idx="2098">
                  <c:v>44904</c:v>
                </c:pt>
                <c:pt idx="2099">
                  <c:v>44907</c:v>
                </c:pt>
                <c:pt idx="2100">
                  <c:v>44908</c:v>
                </c:pt>
                <c:pt idx="2101">
                  <c:v>44909</c:v>
                </c:pt>
                <c:pt idx="2102">
                  <c:v>44910</c:v>
                </c:pt>
                <c:pt idx="2103">
                  <c:v>44911</c:v>
                </c:pt>
                <c:pt idx="2104">
                  <c:v>44914</c:v>
                </c:pt>
                <c:pt idx="2105">
                  <c:v>44915</c:v>
                </c:pt>
                <c:pt idx="2106">
                  <c:v>44916</c:v>
                </c:pt>
                <c:pt idx="2107">
                  <c:v>44917</c:v>
                </c:pt>
                <c:pt idx="2108">
                  <c:v>44918</c:v>
                </c:pt>
                <c:pt idx="2109">
                  <c:v>44921</c:v>
                </c:pt>
                <c:pt idx="2110">
                  <c:v>44922</c:v>
                </c:pt>
                <c:pt idx="2111">
                  <c:v>44923</c:v>
                </c:pt>
                <c:pt idx="2112">
                  <c:v>44924</c:v>
                </c:pt>
                <c:pt idx="2113">
                  <c:v>44925</c:v>
                </c:pt>
                <c:pt idx="2114">
                  <c:v>44928</c:v>
                </c:pt>
                <c:pt idx="2115">
                  <c:v>44929</c:v>
                </c:pt>
                <c:pt idx="2116">
                  <c:v>44930</c:v>
                </c:pt>
                <c:pt idx="2117">
                  <c:v>44931</c:v>
                </c:pt>
                <c:pt idx="2118">
                  <c:v>44932</c:v>
                </c:pt>
                <c:pt idx="2119">
                  <c:v>44935</c:v>
                </c:pt>
                <c:pt idx="2120">
                  <c:v>44936</c:v>
                </c:pt>
                <c:pt idx="2121">
                  <c:v>44937</c:v>
                </c:pt>
                <c:pt idx="2122">
                  <c:v>44938</c:v>
                </c:pt>
                <c:pt idx="2123">
                  <c:v>44939</c:v>
                </c:pt>
                <c:pt idx="2124">
                  <c:v>44942</c:v>
                </c:pt>
                <c:pt idx="2125">
                  <c:v>44943</c:v>
                </c:pt>
                <c:pt idx="2126">
                  <c:v>44944</c:v>
                </c:pt>
                <c:pt idx="2127">
                  <c:v>44945</c:v>
                </c:pt>
                <c:pt idx="2128">
                  <c:v>44946</c:v>
                </c:pt>
                <c:pt idx="2129">
                  <c:v>44949</c:v>
                </c:pt>
                <c:pt idx="2130">
                  <c:v>44950</c:v>
                </c:pt>
                <c:pt idx="2131">
                  <c:v>44951</c:v>
                </c:pt>
                <c:pt idx="2132">
                  <c:v>44952</c:v>
                </c:pt>
                <c:pt idx="2133">
                  <c:v>44953</c:v>
                </c:pt>
                <c:pt idx="2134">
                  <c:v>44956</c:v>
                </c:pt>
                <c:pt idx="2135">
                  <c:v>44957</c:v>
                </c:pt>
                <c:pt idx="2136">
                  <c:v>44958</c:v>
                </c:pt>
                <c:pt idx="2137">
                  <c:v>44959</c:v>
                </c:pt>
                <c:pt idx="2138">
                  <c:v>44960</c:v>
                </c:pt>
                <c:pt idx="2139">
                  <c:v>44963</c:v>
                </c:pt>
                <c:pt idx="2140">
                  <c:v>44964</c:v>
                </c:pt>
                <c:pt idx="2141">
                  <c:v>44965</c:v>
                </c:pt>
                <c:pt idx="2142">
                  <c:v>44966</c:v>
                </c:pt>
                <c:pt idx="2143">
                  <c:v>44967</c:v>
                </c:pt>
                <c:pt idx="2144">
                  <c:v>44970</c:v>
                </c:pt>
                <c:pt idx="2145">
                  <c:v>44971</c:v>
                </c:pt>
                <c:pt idx="2146">
                  <c:v>44972</c:v>
                </c:pt>
                <c:pt idx="2147">
                  <c:v>44973</c:v>
                </c:pt>
                <c:pt idx="2148">
                  <c:v>44974</c:v>
                </c:pt>
                <c:pt idx="2149">
                  <c:v>44977</c:v>
                </c:pt>
                <c:pt idx="2150">
                  <c:v>44978</c:v>
                </c:pt>
                <c:pt idx="2151">
                  <c:v>44979</c:v>
                </c:pt>
                <c:pt idx="2152">
                  <c:v>44980</c:v>
                </c:pt>
                <c:pt idx="2153">
                  <c:v>44981</c:v>
                </c:pt>
                <c:pt idx="2154">
                  <c:v>44984</c:v>
                </c:pt>
                <c:pt idx="2155">
                  <c:v>44985</c:v>
                </c:pt>
                <c:pt idx="2156">
                  <c:v>44986</c:v>
                </c:pt>
                <c:pt idx="2157">
                  <c:v>44987</c:v>
                </c:pt>
                <c:pt idx="2158">
                  <c:v>44988</c:v>
                </c:pt>
                <c:pt idx="2159">
                  <c:v>44991</c:v>
                </c:pt>
                <c:pt idx="2160">
                  <c:v>44992</c:v>
                </c:pt>
                <c:pt idx="2161">
                  <c:v>44993</c:v>
                </c:pt>
                <c:pt idx="2162">
                  <c:v>44994</c:v>
                </c:pt>
                <c:pt idx="2163">
                  <c:v>44995</c:v>
                </c:pt>
                <c:pt idx="2164">
                  <c:v>44998</c:v>
                </c:pt>
                <c:pt idx="2165">
                  <c:v>44999</c:v>
                </c:pt>
                <c:pt idx="2166">
                  <c:v>45000</c:v>
                </c:pt>
                <c:pt idx="2167">
                  <c:v>45001</c:v>
                </c:pt>
                <c:pt idx="2168">
                  <c:v>45002</c:v>
                </c:pt>
                <c:pt idx="2169">
                  <c:v>45005</c:v>
                </c:pt>
                <c:pt idx="2170">
                  <c:v>45006</c:v>
                </c:pt>
                <c:pt idx="2171">
                  <c:v>45007</c:v>
                </c:pt>
                <c:pt idx="2172">
                  <c:v>45008</c:v>
                </c:pt>
                <c:pt idx="2173">
                  <c:v>45009</c:v>
                </c:pt>
                <c:pt idx="2174">
                  <c:v>45012</c:v>
                </c:pt>
                <c:pt idx="2175">
                  <c:v>45013</c:v>
                </c:pt>
                <c:pt idx="2176">
                  <c:v>45014</c:v>
                </c:pt>
                <c:pt idx="2177">
                  <c:v>45015</c:v>
                </c:pt>
                <c:pt idx="2178">
                  <c:v>45016</c:v>
                </c:pt>
                <c:pt idx="2179">
                  <c:v>45019</c:v>
                </c:pt>
                <c:pt idx="2180">
                  <c:v>45020</c:v>
                </c:pt>
                <c:pt idx="2181">
                  <c:v>45021</c:v>
                </c:pt>
                <c:pt idx="2182">
                  <c:v>45022</c:v>
                </c:pt>
                <c:pt idx="2183">
                  <c:v>45023</c:v>
                </c:pt>
                <c:pt idx="2184">
                  <c:v>45026</c:v>
                </c:pt>
                <c:pt idx="2185">
                  <c:v>45027</c:v>
                </c:pt>
                <c:pt idx="2186">
                  <c:v>45028</c:v>
                </c:pt>
                <c:pt idx="2187">
                  <c:v>45029</c:v>
                </c:pt>
                <c:pt idx="2188">
                  <c:v>45030</c:v>
                </c:pt>
                <c:pt idx="2189">
                  <c:v>45033</c:v>
                </c:pt>
                <c:pt idx="2190">
                  <c:v>45034</c:v>
                </c:pt>
                <c:pt idx="2191">
                  <c:v>45035</c:v>
                </c:pt>
                <c:pt idx="2192">
                  <c:v>45036</c:v>
                </c:pt>
                <c:pt idx="2193">
                  <c:v>45037</c:v>
                </c:pt>
                <c:pt idx="2194">
                  <c:v>45040</c:v>
                </c:pt>
                <c:pt idx="2195">
                  <c:v>45041</c:v>
                </c:pt>
                <c:pt idx="2196">
                  <c:v>45042</c:v>
                </c:pt>
                <c:pt idx="2197">
                  <c:v>45043</c:v>
                </c:pt>
                <c:pt idx="2198">
                  <c:v>45044</c:v>
                </c:pt>
                <c:pt idx="2199">
                  <c:v>45047</c:v>
                </c:pt>
                <c:pt idx="2200">
                  <c:v>45048</c:v>
                </c:pt>
                <c:pt idx="2201">
                  <c:v>45049</c:v>
                </c:pt>
                <c:pt idx="2202">
                  <c:v>45050</c:v>
                </c:pt>
                <c:pt idx="2203">
                  <c:v>45051</c:v>
                </c:pt>
                <c:pt idx="2204">
                  <c:v>45054</c:v>
                </c:pt>
                <c:pt idx="2205">
                  <c:v>45055</c:v>
                </c:pt>
                <c:pt idx="2206">
                  <c:v>45056</c:v>
                </c:pt>
                <c:pt idx="2207">
                  <c:v>45057</c:v>
                </c:pt>
                <c:pt idx="2208">
                  <c:v>45058</c:v>
                </c:pt>
                <c:pt idx="2209">
                  <c:v>45061</c:v>
                </c:pt>
                <c:pt idx="2210">
                  <c:v>45062</c:v>
                </c:pt>
                <c:pt idx="2211">
                  <c:v>45063</c:v>
                </c:pt>
                <c:pt idx="2212">
                  <c:v>45064</c:v>
                </c:pt>
                <c:pt idx="2213">
                  <c:v>45065</c:v>
                </c:pt>
                <c:pt idx="2214">
                  <c:v>45068</c:v>
                </c:pt>
                <c:pt idx="2215">
                  <c:v>45069</c:v>
                </c:pt>
                <c:pt idx="2216">
                  <c:v>45070</c:v>
                </c:pt>
                <c:pt idx="2217">
                  <c:v>45071</c:v>
                </c:pt>
                <c:pt idx="2218">
                  <c:v>45072</c:v>
                </c:pt>
                <c:pt idx="2219">
                  <c:v>45075</c:v>
                </c:pt>
                <c:pt idx="2220">
                  <c:v>45076</c:v>
                </c:pt>
                <c:pt idx="2221">
                  <c:v>45077</c:v>
                </c:pt>
                <c:pt idx="2222">
                  <c:v>45078</c:v>
                </c:pt>
                <c:pt idx="2223">
                  <c:v>45079</c:v>
                </c:pt>
                <c:pt idx="2224">
                  <c:v>45082</c:v>
                </c:pt>
                <c:pt idx="2225">
                  <c:v>45083</c:v>
                </c:pt>
                <c:pt idx="2226">
                  <c:v>45084</c:v>
                </c:pt>
                <c:pt idx="2227">
                  <c:v>45085</c:v>
                </c:pt>
                <c:pt idx="2228">
                  <c:v>45086</c:v>
                </c:pt>
                <c:pt idx="2229">
                  <c:v>45089</c:v>
                </c:pt>
                <c:pt idx="2230">
                  <c:v>45090</c:v>
                </c:pt>
                <c:pt idx="2231">
                  <c:v>45091</c:v>
                </c:pt>
                <c:pt idx="2232">
                  <c:v>45092</c:v>
                </c:pt>
                <c:pt idx="2233">
                  <c:v>45093</c:v>
                </c:pt>
                <c:pt idx="2234">
                  <c:v>45096</c:v>
                </c:pt>
                <c:pt idx="2235">
                  <c:v>45097</c:v>
                </c:pt>
                <c:pt idx="2236">
                  <c:v>45098</c:v>
                </c:pt>
                <c:pt idx="2237">
                  <c:v>45099</c:v>
                </c:pt>
                <c:pt idx="2238">
                  <c:v>45100</c:v>
                </c:pt>
                <c:pt idx="2239">
                  <c:v>45103</c:v>
                </c:pt>
                <c:pt idx="2240">
                  <c:v>45104</c:v>
                </c:pt>
                <c:pt idx="2241">
                  <c:v>45105</c:v>
                </c:pt>
                <c:pt idx="2242">
                  <c:v>45106</c:v>
                </c:pt>
                <c:pt idx="2243">
                  <c:v>45107</c:v>
                </c:pt>
                <c:pt idx="2244">
                  <c:v>45110</c:v>
                </c:pt>
                <c:pt idx="2245">
                  <c:v>45111</c:v>
                </c:pt>
                <c:pt idx="2246">
                  <c:v>45112</c:v>
                </c:pt>
                <c:pt idx="2247">
                  <c:v>45113</c:v>
                </c:pt>
                <c:pt idx="2248">
                  <c:v>45114</c:v>
                </c:pt>
                <c:pt idx="2249">
                  <c:v>45117</c:v>
                </c:pt>
                <c:pt idx="2250">
                  <c:v>45118</c:v>
                </c:pt>
                <c:pt idx="2251">
                  <c:v>45119</c:v>
                </c:pt>
                <c:pt idx="2252">
                  <c:v>45120</c:v>
                </c:pt>
                <c:pt idx="2253">
                  <c:v>45121</c:v>
                </c:pt>
                <c:pt idx="2254">
                  <c:v>45124</c:v>
                </c:pt>
                <c:pt idx="2255">
                  <c:v>45125</c:v>
                </c:pt>
                <c:pt idx="2256">
                  <c:v>45126</c:v>
                </c:pt>
                <c:pt idx="2257">
                  <c:v>45127</c:v>
                </c:pt>
                <c:pt idx="2258">
                  <c:v>45128</c:v>
                </c:pt>
                <c:pt idx="2259">
                  <c:v>45131</c:v>
                </c:pt>
                <c:pt idx="2260">
                  <c:v>45132</c:v>
                </c:pt>
                <c:pt idx="2261">
                  <c:v>45133</c:v>
                </c:pt>
                <c:pt idx="2262">
                  <c:v>45134</c:v>
                </c:pt>
                <c:pt idx="2263">
                  <c:v>45135</c:v>
                </c:pt>
                <c:pt idx="2264">
                  <c:v>45138</c:v>
                </c:pt>
                <c:pt idx="2265">
                  <c:v>45139</c:v>
                </c:pt>
                <c:pt idx="2266">
                  <c:v>45140</c:v>
                </c:pt>
                <c:pt idx="2267">
                  <c:v>45141</c:v>
                </c:pt>
                <c:pt idx="2268">
                  <c:v>45142</c:v>
                </c:pt>
                <c:pt idx="2269">
                  <c:v>45145</c:v>
                </c:pt>
                <c:pt idx="2270">
                  <c:v>45146</c:v>
                </c:pt>
                <c:pt idx="2271">
                  <c:v>45147</c:v>
                </c:pt>
                <c:pt idx="2272">
                  <c:v>45148</c:v>
                </c:pt>
                <c:pt idx="2273">
                  <c:v>45149</c:v>
                </c:pt>
                <c:pt idx="2274">
                  <c:v>45152</c:v>
                </c:pt>
                <c:pt idx="2275">
                  <c:v>45153</c:v>
                </c:pt>
                <c:pt idx="2276">
                  <c:v>45154</c:v>
                </c:pt>
                <c:pt idx="2277">
                  <c:v>45155</c:v>
                </c:pt>
                <c:pt idx="2278">
                  <c:v>45156</c:v>
                </c:pt>
                <c:pt idx="2279">
                  <c:v>45159</c:v>
                </c:pt>
                <c:pt idx="2280">
                  <c:v>45160</c:v>
                </c:pt>
                <c:pt idx="2281">
                  <c:v>45161</c:v>
                </c:pt>
                <c:pt idx="2282">
                  <c:v>45162</c:v>
                </c:pt>
                <c:pt idx="2283">
                  <c:v>45163</c:v>
                </c:pt>
                <c:pt idx="2284">
                  <c:v>45166</c:v>
                </c:pt>
                <c:pt idx="2285">
                  <c:v>45167</c:v>
                </c:pt>
                <c:pt idx="2286">
                  <c:v>45168</c:v>
                </c:pt>
                <c:pt idx="2287">
                  <c:v>45169</c:v>
                </c:pt>
                <c:pt idx="2288">
                  <c:v>45170</c:v>
                </c:pt>
                <c:pt idx="2289">
                  <c:v>45173</c:v>
                </c:pt>
                <c:pt idx="2290">
                  <c:v>45174</c:v>
                </c:pt>
                <c:pt idx="2291">
                  <c:v>45175</c:v>
                </c:pt>
                <c:pt idx="2292">
                  <c:v>45176</c:v>
                </c:pt>
                <c:pt idx="2293">
                  <c:v>45177</c:v>
                </c:pt>
                <c:pt idx="2294">
                  <c:v>45180</c:v>
                </c:pt>
                <c:pt idx="2295">
                  <c:v>45181</c:v>
                </c:pt>
                <c:pt idx="2296">
                  <c:v>45182</c:v>
                </c:pt>
                <c:pt idx="2297">
                  <c:v>45183</c:v>
                </c:pt>
                <c:pt idx="2298">
                  <c:v>45184</c:v>
                </c:pt>
                <c:pt idx="2299">
                  <c:v>45187</c:v>
                </c:pt>
                <c:pt idx="2300">
                  <c:v>45188</c:v>
                </c:pt>
                <c:pt idx="2301">
                  <c:v>45189</c:v>
                </c:pt>
                <c:pt idx="2302">
                  <c:v>45190</c:v>
                </c:pt>
                <c:pt idx="2303">
                  <c:v>45191</c:v>
                </c:pt>
                <c:pt idx="2304">
                  <c:v>45194</c:v>
                </c:pt>
                <c:pt idx="2305">
                  <c:v>45195</c:v>
                </c:pt>
                <c:pt idx="2306">
                  <c:v>45196</c:v>
                </c:pt>
                <c:pt idx="2307">
                  <c:v>45197</c:v>
                </c:pt>
                <c:pt idx="2308">
                  <c:v>45198</c:v>
                </c:pt>
                <c:pt idx="2309">
                  <c:v>45201</c:v>
                </c:pt>
                <c:pt idx="2310">
                  <c:v>45202</c:v>
                </c:pt>
                <c:pt idx="2311">
                  <c:v>45203</c:v>
                </c:pt>
                <c:pt idx="2312">
                  <c:v>45204</c:v>
                </c:pt>
                <c:pt idx="2313">
                  <c:v>45205</c:v>
                </c:pt>
                <c:pt idx="2314">
                  <c:v>45208</c:v>
                </c:pt>
                <c:pt idx="2315">
                  <c:v>45209</c:v>
                </c:pt>
                <c:pt idx="2316">
                  <c:v>45210</c:v>
                </c:pt>
                <c:pt idx="2317">
                  <c:v>45211</c:v>
                </c:pt>
                <c:pt idx="2318">
                  <c:v>45212</c:v>
                </c:pt>
                <c:pt idx="2319">
                  <c:v>45215</c:v>
                </c:pt>
                <c:pt idx="2320">
                  <c:v>45216</c:v>
                </c:pt>
                <c:pt idx="2321">
                  <c:v>45217</c:v>
                </c:pt>
                <c:pt idx="2322">
                  <c:v>45218</c:v>
                </c:pt>
                <c:pt idx="2323">
                  <c:v>45219</c:v>
                </c:pt>
                <c:pt idx="2324">
                  <c:v>45222</c:v>
                </c:pt>
                <c:pt idx="2325">
                  <c:v>45223</c:v>
                </c:pt>
                <c:pt idx="2326">
                  <c:v>45224</c:v>
                </c:pt>
                <c:pt idx="2327">
                  <c:v>45225</c:v>
                </c:pt>
                <c:pt idx="2328">
                  <c:v>45226</c:v>
                </c:pt>
                <c:pt idx="2329">
                  <c:v>45229</c:v>
                </c:pt>
                <c:pt idx="2330">
                  <c:v>45230</c:v>
                </c:pt>
                <c:pt idx="2331">
                  <c:v>45231</c:v>
                </c:pt>
                <c:pt idx="2332">
                  <c:v>45232</c:v>
                </c:pt>
                <c:pt idx="2333">
                  <c:v>45233</c:v>
                </c:pt>
                <c:pt idx="2334">
                  <c:v>45236</c:v>
                </c:pt>
                <c:pt idx="2335">
                  <c:v>45237</c:v>
                </c:pt>
                <c:pt idx="2336">
                  <c:v>45238</c:v>
                </c:pt>
                <c:pt idx="2337">
                  <c:v>45239</c:v>
                </c:pt>
                <c:pt idx="2338">
                  <c:v>45240</c:v>
                </c:pt>
                <c:pt idx="2339">
                  <c:v>45243</c:v>
                </c:pt>
                <c:pt idx="2340">
                  <c:v>45244</c:v>
                </c:pt>
                <c:pt idx="2341">
                  <c:v>45245</c:v>
                </c:pt>
                <c:pt idx="2342">
                  <c:v>45246</c:v>
                </c:pt>
                <c:pt idx="2343">
                  <c:v>45247</c:v>
                </c:pt>
                <c:pt idx="2344">
                  <c:v>45250</c:v>
                </c:pt>
                <c:pt idx="2345">
                  <c:v>45251</c:v>
                </c:pt>
                <c:pt idx="2346">
                  <c:v>45252</c:v>
                </c:pt>
                <c:pt idx="2347">
                  <c:v>45253</c:v>
                </c:pt>
                <c:pt idx="2348">
                  <c:v>45254</c:v>
                </c:pt>
                <c:pt idx="2349">
                  <c:v>45257</c:v>
                </c:pt>
                <c:pt idx="2350">
                  <c:v>45258</c:v>
                </c:pt>
                <c:pt idx="2351">
                  <c:v>45259</c:v>
                </c:pt>
                <c:pt idx="2352">
                  <c:v>45260</c:v>
                </c:pt>
                <c:pt idx="2353">
                  <c:v>45261</c:v>
                </c:pt>
                <c:pt idx="2354">
                  <c:v>45264</c:v>
                </c:pt>
                <c:pt idx="2355">
                  <c:v>45265</c:v>
                </c:pt>
                <c:pt idx="2356">
                  <c:v>45266</c:v>
                </c:pt>
                <c:pt idx="2357">
                  <c:v>45267</c:v>
                </c:pt>
                <c:pt idx="2358">
                  <c:v>45268</c:v>
                </c:pt>
                <c:pt idx="2359">
                  <c:v>45271</c:v>
                </c:pt>
                <c:pt idx="2360">
                  <c:v>45272</c:v>
                </c:pt>
                <c:pt idx="2361">
                  <c:v>45273</c:v>
                </c:pt>
                <c:pt idx="2362">
                  <c:v>45274</c:v>
                </c:pt>
                <c:pt idx="2363">
                  <c:v>45275</c:v>
                </c:pt>
                <c:pt idx="2364">
                  <c:v>45278</c:v>
                </c:pt>
                <c:pt idx="2365">
                  <c:v>45279</c:v>
                </c:pt>
                <c:pt idx="2366">
                  <c:v>45280</c:v>
                </c:pt>
                <c:pt idx="2367">
                  <c:v>45281</c:v>
                </c:pt>
                <c:pt idx="2368">
                  <c:v>45282</c:v>
                </c:pt>
                <c:pt idx="2369">
                  <c:v>45285</c:v>
                </c:pt>
                <c:pt idx="2370">
                  <c:v>45286</c:v>
                </c:pt>
                <c:pt idx="2371">
                  <c:v>45287</c:v>
                </c:pt>
                <c:pt idx="2372">
                  <c:v>45288</c:v>
                </c:pt>
                <c:pt idx="2373">
                  <c:v>45289</c:v>
                </c:pt>
                <c:pt idx="2374">
                  <c:v>45292</c:v>
                </c:pt>
                <c:pt idx="2375">
                  <c:v>45293</c:v>
                </c:pt>
                <c:pt idx="2376">
                  <c:v>45294</c:v>
                </c:pt>
                <c:pt idx="2377">
                  <c:v>45295</c:v>
                </c:pt>
                <c:pt idx="2378">
                  <c:v>45296</c:v>
                </c:pt>
                <c:pt idx="2379">
                  <c:v>45299</c:v>
                </c:pt>
                <c:pt idx="2380">
                  <c:v>45300</c:v>
                </c:pt>
                <c:pt idx="2381">
                  <c:v>45301</c:v>
                </c:pt>
                <c:pt idx="2382">
                  <c:v>45302</c:v>
                </c:pt>
                <c:pt idx="2383">
                  <c:v>45303</c:v>
                </c:pt>
                <c:pt idx="2384">
                  <c:v>45306</c:v>
                </c:pt>
                <c:pt idx="2385">
                  <c:v>45307</c:v>
                </c:pt>
                <c:pt idx="2386">
                  <c:v>45308</c:v>
                </c:pt>
                <c:pt idx="2387">
                  <c:v>45309</c:v>
                </c:pt>
                <c:pt idx="2388">
                  <c:v>45310</c:v>
                </c:pt>
                <c:pt idx="2389">
                  <c:v>45313</c:v>
                </c:pt>
                <c:pt idx="2390">
                  <c:v>45314</c:v>
                </c:pt>
                <c:pt idx="2391">
                  <c:v>45315</c:v>
                </c:pt>
                <c:pt idx="2392">
                  <c:v>45316</c:v>
                </c:pt>
                <c:pt idx="2393">
                  <c:v>45317</c:v>
                </c:pt>
                <c:pt idx="2394">
                  <c:v>45320</c:v>
                </c:pt>
                <c:pt idx="2395">
                  <c:v>45321</c:v>
                </c:pt>
                <c:pt idx="2396">
                  <c:v>45322</c:v>
                </c:pt>
                <c:pt idx="2397">
                  <c:v>45323</c:v>
                </c:pt>
                <c:pt idx="2398">
                  <c:v>45324</c:v>
                </c:pt>
                <c:pt idx="2399">
                  <c:v>45327</c:v>
                </c:pt>
                <c:pt idx="2400">
                  <c:v>45328</c:v>
                </c:pt>
                <c:pt idx="2401">
                  <c:v>45329</c:v>
                </c:pt>
                <c:pt idx="2402">
                  <c:v>45330</c:v>
                </c:pt>
                <c:pt idx="2403">
                  <c:v>45331</c:v>
                </c:pt>
                <c:pt idx="2404">
                  <c:v>45334</c:v>
                </c:pt>
                <c:pt idx="2405">
                  <c:v>45335</c:v>
                </c:pt>
                <c:pt idx="2406">
                  <c:v>45336</c:v>
                </c:pt>
                <c:pt idx="2407">
                  <c:v>45337</c:v>
                </c:pt>
                <c:pt idx="2408">
                  <c:v>45338</c:v>
                </c:pt>
                <c:pt idx="2409">
                  <c:v>45341</c:v>
                </c:pt>
                <c:pt idx="2410">
                  <c:v>45342</c:v>
                </c:pt>
                <c:pt idx="2411">
                  <c:v>45343</c:v>
                </c:pt>
                <c:pt idx="2412">
                  <c:v>45344</c:v>
                </c:pt>
                <c:pt idx="2413">
                  <c:v>45345</c:v>
                </c:pt>
                <c:pt idx="2414">
                  <c:v>45348</c:v>
                </c:pt>
                <c:pt idx="2415">
                  <c:v>45349</c:v>
                </c:pt>
                <c:pt idx="2416">
                  <c:v>45350</c:v>
                </c:pt>
                <c:pt idx="2417">
                  <c:v>45351</c:v>
                </c:pt>
                <c:pt idx="2418">
                  <c:v>45352</c:v>
                </c:pt>
                <c:pt idx="2419">
                  <c:v>45355</c:v>
                </c:pt>
                <c:pt idx="2420">
                  <c:v>45356</c:v>
                </c:pt>
                <c:pt idx="2421">
                  <c:v>45357</c:v>
                </c:pt>
                <c:pt idx="2422">
                  <c:v>45358</c:v>
                </c:pt>
                <c:pt idx="2423">
                  <c:v>45359</c:v>
                </c:pt>
                <c:pt idx="2424">
                  <c:v>45362</c:v>
                </c:pt>
                <c:pt idx="2425">
                  <c:v>45363</c:v>
                </c:pt>
                <c:pt idx="2426">
                  <c:v>45364</c:v>
                </c:pt>
                <c:pt idx="2427">
                  <c:v>45365</c:v>
                </c:pt>
                <c:pt idx="2428">
                  <c:v>45366</c:v>
                </c:pt>
                <c:pt idx="2429">
                  <c:v>45369</c:v>
                </c:pt>
                <c:pt idx="2430">
                  <c:v>45370</c:v>
                </c:pt>
                <c:pt idx="2431">
                  <c:v>45371</c:v>
                </c:pt>
                <c:pt idx="2432">
                  <c:v>45372</c:v>
                </c:pt>
                <c:pt idx="2433">
                  <c:v>45373</c:v>
                </c:pt>
                <c:pt idx="2434">
                  <c:v>45376</c:v>
                </c:pt>
                <c:pt idx="2435">
                  <c:v>45377</c:v>
                </c:pt>
                <c:pt idx="2436">
                  <c:v>45378</c:v>
                </c:pt>
                <c:pt idx="2437">
                  <c:v>45379</c:v>
                </c:pt>
                <c:pt idx="2438">
                  <c:v>45380</c:v>
                </c:pt>
                <c:pt idx="2439">
                  <c:v>45383</c:v>
                </c:pt>
                <c:pt idx="2440">
                  <c:v>45384</c:v>
                </c:pt>
                <c:pt idx="2441">
                  <c:v>45385</c:v>
                </c:pt>
                <c:pt idx="2442">
                  <c:v>45386</c:v>
                </c:pt>
                <c:pt idx="2443">
                  <c:v>45387</c:v>
                </c:pt>
                <c:pt idx="2444">
                  <c:v>45390</c:v>
                </c:pt>
                <c:pt idx="2445">
                  <c:v>45391</c:v>
                </c:pt>
                <c:pt idx="2446">
                  <c:v>45392</c:v>
                </c:pt>
                <c:pt idx="2447">
                  <c:v>45393</c:v>
                </c:pt>
                <c:pt idx="2448">
                  <c:v>45394</c:v>
                </c:pt>
                <c:pt idx="2449">
                  <c:v>45397</c:v>
                </c:pt>
                <c:pt idx="2450">
                  <c:v>45398</c:v>
                </c:pt>
                <c:pt idx="2451">
                  <c:v>45399</c:v>
                </c:pt>
                <c:pt idx="2452">
                  <c:v>45400</c:v>
                </c:pt>
                <c:pt idx="2453">
                  <c:v>45401</c:v>
                </c:pt>
                <c:pt idx="2454">
                  <c:v>45404</c:v>
                </c:pt>
                <c:pt idx="2455">
                  <c:v>45405</c:v>
                </c:pt>
                <c:pt idx="2456">
                  <c:v>45406</c:v>
                </c:pt>
                <c:pt idx="2457">
                  <c:v>45407</c:v>
                </c:pt>
                <c:pt idx="2458">
                  <c:v>45408</c:v>
                </c:pt>
                <c:pt idx="2459">
                  <c:v>45411</c:v>
                </c:pt>
                <c:pt idx="2460">
                  <c:v>45412</c:v>
                </c:pt>
                <c:pt idx="2461">
                  <c:v>45413</c:v>
                </c:pt>
                <c:pt idx="2462">
                  <c:v>45414</c:v>
                </c:pt>
                <c:pt idx="2463">
                  <c:v>45415</c:v>
                </c:pt>
                <c:pt idx="2464">
                  <c:v>45418</c:v>
                </c:pt>
                <c:pt idx="2465">
                  <c:v>45419</c:v>
                </c:pt>
                <c:pt idx="2466">
                  <c:v>45420</c:v>
                </c:pt>
                <c:pt idx="2467">
                  <c:v>45421</c:v>
                </c:pt>
                <c:pt idx="2468">
                  <c:v>45422</c:v>
                </c:pt>
                <c:pt idx="2469">
                  <c:v>45425</c:v>
                </c:pt>
                <c:pt idx="2470">
                  <c:v>45426</c:v>
                </c:pt>
                <c:pt idx="2471">
                  <c:v>45427</c:v>
                </c:pt>
                <c:pt idx="2472">
                  <c:v>45428</c:v>
                </c:pt>
                <c:pt idx="2473">
                  <c:v>45429</c:v>
                </c:pt>
                <c:pt idx="2474">
                  <c:v>45432</c:v>
                </c:pt>
                <c:pt idx="2475">
                  <c:v>45433</c:v>
                </c:pt>
                <c:pt idx="2476">
                  <c:v>45434</c:v>
                </c:pt>
                <c:pt idx="2477">
                  <c:v>45435</c:v>
                </c:pt>
                <c:pt idx="2478">
                  <c:v>45436</c:v>
                </c:pt>
                <c:pt idx="2479">
                  <c:v>45439</c:v>
                </c:pt>
                <c:pt idx="2480">
                  <c:v>45440</c:v>
                </c:pt>
                <c:pt idx="2481">
                  <c:v>45441</c:v>
                </c:pt>
                <c:pt idx="2482">
                  <c:v>45442</c:v>
                </c:pt>
                <c:pt idx="2483">
                  <c:v>45443</c:v>
                </c:pt>
                <c:pt idx="2484">
                  <c:v>45446</c:v>
                </c:pt>
                <c:pt idx="2485">
                  <c:v>45447</c:v>
                </c:pt>
                <c:pt idx="2486">
                  <c:v>45448</c:v>
                </c:pt>
                <c:pt idx="2487">
                  <c:v>45449</c:v>
                </c:pt>
                <c:pt idx="2488">
                  <c:v>45450</c:v>
                </c:pt>
                <c:pt idx="2489">
                  <c:v>45453</c:v>
                </c:pt>
                <c:pt idx="2490">
                  <c:v>45454</c:v>
                </c:pt>
                <c:pt idx="2491">
                  <c:v>45455</c:v>
                </c:pt>
                <c:pt idx="2492">
                  <c:v>45456</c:v>
                </c:pt>
                <c:pt idx="2493">
                  <c:v>45457</c:v>
                </c:pt>
                <c:pt idx="2494">
                  <c:v>45460</c:v>
                </c:pt>
                <c:pt idx="2495">
                  <c:v>45461</c:v>
                </c:pt>
                <c:pt idx="2496">
                  <c:v>45462</c:v>
                </c:pt>
                <c:pt idx="2497">
                  <c:v>45463</c:v>
                </c:pt>
                <c:pt idx="2498">
                  <c:v>45464</c:v>
                </c:pt>
                <c:pt idx="2499">
                  <c:v>45467</c:v>
                </c:pt>
                <c:pt idx="2500">
                  <c:v>45468</c:v>
                </c:pt>
                <c:pt idx="2501">
                  <c:v>45469</c:v>
                </c:pt>
                <c:pt idx="2502">
                  <c:v>45470</c:v>
                </c:pt>
                <c:pt idx="2503">
                  <c:v>45471</c:v>
                </c:pt>
                <c:pt idx="2504">
                  <c:v>45474</c:v>
                </c:pt>
                <c:pt idx="2505">
                  <c:v>45475</c:v>
                </c:pt>
                <c:pt idx="2506">
                  <c:v>45476</c:v>
                </c:pt>
                <c:pt idx="2507">
                  <c:v>45477</c:v>
                </c:pt>
                <c:pt idx="2508">
                  <c:v>45478</c:v>
                </c:pt>
                <c:pt idx="2509">
                  <c:v>45481</c:v>
                </c:pt>
                <c:pt idx="2510">
                  <c:v>45482</c:v>
                </c:pt>
                <c:pt idx="2511">
                  <c:v>45483</c:v>
                </c:pt>
                <c:pt idx="2512">
                  <c:v>45484</c:v>
                </c:pt>
                <c:pt idx="2513">
                  <c:v>45485</c:v>
                </c:pt>
                <c:pt idx="2514">
                  <c:v>45488</c:v>
                </c:pt>
                <c:pt idx="2515">
                  <c:v>45489</c:v>
                </c:pt>
                <c:pt idx="2516">
                  <c:v>45490</c:v>
                </c:pt>
                <c:pt idx="2517">
                  <c:v>45491</c:v>
                </c:pt>
                <c:pt idx="2518">
                  <c:v>45492</c:v>
                </c:pt>
                <c:pt idx="2519">
                  <c:v>45495</c:v>
                </c:pt>
                <c:pt idx="2520">
                  <c:v>45496</c:v>
                </c:pt>
                <c:pt idx="2521">
                  <c:v>45497</c:v>
                </c:pt>
                <c:pt idx="2522">
                  <c:v>45498</c:v>
                </c:pt>
                <c:pt idx="2523">
                  <c:v>45499</c:v>
                </c:pt>
                <c:pt idx="2524">
                  <c:v>45502</c:v>
                </c:pt>
                <c:pt idx="2525">
                  <c:v>45503</c:v>
                </c:pt>
                <c:pt idx="2526">
                  <c:v>45504</c:v>
                </c:pt>
                <c:pt idx="2527">
                  <c:v>45505</c:v>
                </c:pt>
                <c:pt idx="2528">
                  <c:v>45506</c:v>
                </c:pt>
                <c:pt idx="2529">
                  <c:v>45509</c:v>
                </c:pt>
                <c:pt idx="2530">
                  <c:v>45510</c:v>
                </c:pt>
                <c:pt idx="2531">
                  <c:v>45511</c:v>
                </c:pt>
                <c:pt idx="2532">
                  <c:v>45512</c:v>
                </c:pt>
                <c:pt idx="2533">
                  <c:v>45513</c:v>
                </c:pt>
                <c:pt idx="2534">
                  <c:v>45516</c:v>
                </c:pt>
                <c:pt idx="2535">
                  <c:v>45517</c:v>
                </c:pt>
                <c:pt idx="2536">
                  <c:v>45518</c:v>
                </c:pt>
                <c:pt idx="2537">
                  <c:v>45519</c:v>
                </c:pt>
                <c:pt idx="2538">
                  <c:v>45520</c:v>
                </c:pt>
                <c:pt idx="2539">
                  <c:v>45523</c:v>
                </c:pt>
                <c:pt idx="2540">
                  <c:v>45524</c:v>
                </c:pt>
                <c:pt idx="2541">
                  <c:v>45525</c:v>
                </c:pt>
                <c:pt idx="2542">
                  <c:v>45526</c:v>
                </c:pt>
                <c:pt idx="2543">
                  <c:v>45527</c:v>
                </c:pt>
                <c:pt idx="2544">
                  <c:v>45530</c:v>
                </c:pt>
                <c:pt idx="2545">
                  <c:v>45531</c:v>
                </c:pt>
                <c:pt idx="2546">
                  <c:v>45532</c:v>
                </c:pt>
                <c:pt idx="2547">
                  <c:v>45533</c:v>
                </c:pt>
                <c:pt idx="2548">
                  <c:v>45534</c:v>
                </c:pt>
                <c:pt idx="2549">
                  <c:v>45537</c:v>
                </c:pt>
                <c:pt idx="2550">
                  <c:v>45538</c:v>
                </c:pt>
                <c:pt idx="2551">
                  <c:v>45539</c:v>
                </c:pt>
                <c:pt idx="2552">
                  <c:v>45540</c:v>
                </c:pt>
                <c:pt idx="2553">
                  <c:v>45541</c:v>
                </c:pt>
                <c:pt idx="2554">
                  <c:v>45544</c:v>
                </c:pt>
                <c:pt idx="2555">
                  <c:v>45545</c:v>
                </c:pt>
                <c:pt idx="2556">
                  <c:v>45546</c:v>
                </c:pt>
                <c:pt idx="2557">
                  <c:v>45547</c:v>
                </c:pt>
                <c:pt idx="2558">
                  <c:v>45548</c:v>
                </c:pt>
                <c:pt idx="2559">
                  <c:v>45551</c:v>
                </c:pt>
                <c:pt idx="2560">
                  <c:v>45552</c:v>
                </c:pt>
                <c:pt idx="2561">
                  <c:v>45553</c:v>
                </c:pt>
                <c:pt idx="2562">
                  <c:v>45554</c:v>
                </c:pt>
                <c:pt idx="2563">
                  <c:v>45555</c:v>
                </c:pt>
                <c:pt idx="2564">
                  <c:v>45558</c:v>
                </c:pt>
                <c:pt idx="2565">
                  <c:v>45559</c:v>
                </c:pt>
                <c:pt idx="2566">
                  <c:v>45560</c:v>
                </c:pt>
                <c:pt idx="2567">
                  <c:v>45561</c:v>
                </c:pt>
                <c:pt idx="2568">
                  <c:v>45562</c:v>
                </c:pt>
                <c:pt idx="2569">
                  <c:v>45565</c:v>
                </c:pt>
                <c:pt idx="2570">
                  <c:v>45566</c:v>
                </c:pt>
                <c:pt idx="2571">
                  <c:v>45567</c:v>
                </c:pt>
                <c:pt idx="2572">
                  <c:v>45568</c:v>
                </c:pt>
                <c:pt idx="2573">
                  <c:v>45569</c:v>
                </c:pt>
                <c:pt idx="2574">
                  <c:v>45572</c:v>
                </c:pt>
                <c:pt idx="2575">
                  <c:v>45573</c:v>
                </c:pt>
                <c:pt idx="2576">
                  <c:v>45574</c:v>
                </c:pt>
                <c:pt idx="2577">
                  <c:v>45575</c:v>
                </c:pt>
                <c:pt idx="2578">
                  <c:v>45576</c:v>
                </c:pt>
                <c:pt idx="2579">
                  <c:v>45579</c:v>
                </c:pt>
                <c:pt idx="2580">
                  <c:v>45580</c:v>
                </c:pt>
                <c:pt idx="2581">
                  <c:v>45581</c:v>
                </c:pt>
                <c:pt idx="2582">
                  <c:v>45582</c:v>
                </c:pt>
                <c:pt idx="2583">
                  <c:v>45583</c:v>
                </c:pt>
                <c:pt idx="2584">
                  <c:v>45586</c:v>
                </c:pt>
                <c:pt idx="2585">
                  <c:v>45587</c:v>
                </c:pt>
                <c:pt idx="2586">
                  <c:v>45588</c:v>
                </c:pt>
                <c:pt idx="2587">
                  <c:v>45589</c:v>
                </c:pt>
                <c:pt idx="2588">
                  <c:v>45590</c:v>
                </c:pt>
                <c:pt idx="2589">
                  <c:v>45593</c:v>
                </c:pt>
                <c:pt idx="2590">
                  <c:v>45594</c:v>
                </c:pt>
                <c:pt idx="2591">
                  <c:v>45595</c:v>
                </c:pt>
                <c:pt idx="2592">
                  <c:v>45596</c:v>
                </c:pt>
                <c:pt idx="2593">
                  <c:v>45597</c:v>
                </c:pt>
                <c:pt idx="2594">
                  <c:v>45600</c:v>
                </c:pt>
                <c:pt idx="2595">
                  <c:v>45601</c:v>
                </c:pt>
                <c:pt idx="2596">
                  <c:v>45602</c:v>
                </c:pt>
                <c:pt idx="2597">
                  <c:v>45603</c:v>
                </c:pt>
                <c:pt idx="2598">
                  <c:v>45604</c:v>
                </c:pt>
                <c:pt idx="2599">
                  <c:v>45607</c:v>
                </c:pt>
                <c:pt idx="2600">
                  <c:v>45608</c:v>
                </c:pt>
                <c:pt idx="2601">
                  <c:v>45609</c:v>
                </c:pt>
                <c:pt idx="2602">
                  <c:v>45610</c:v>
                </c:pt>
                <c:pt idx="2603">
                  <c:v>45611</c:v>
                </c:pt>
                <c:pt idx="2604">
                  <c:v>45614</c:v>
                </c:pt>
                <c:pt idx="2605">
                  <c:v>45615</c:v>
                </c:pt>
                <c:pt idx="2606">
                  <c:v>45616</c:v>
                </c:pt>
                <c:pt idx="2607">
                  <c:v>45617</c:v>
                </c:pt>
                <c:pt idx="2608">
                  <c:v>45618</c:v>
                </c:pt>
                <c:pt idx="2609">
                  <c:v>45621</c:v>
                </c:pt>
              </c:numCache>
            </c:numRef>
          </c:cat>
          <c:val>
            <c:numRef>
              <c:f>Markets!$BV$4:$BV$2654</c:f>
              <c:numCache>
                <c:formatCode>0.00%</c:formatCode>
                <c:ptCount val="2651"/>
                <c:pt idx="0">
                  <c:v>0</c:v>
                </c:pt>
                <c:pt idx="1">
                  <c:v>0</c:v>
                </c:pt>
                <c:pt idx="2">
                  <c:v>-9.0790048013966729E-3</c:v>
                </c:pt>
                <c:pt idx="3">
                  <c:v>-9.0790048013966729E-3</c:v>
                </c:pt>
                <c:pt idx="4">
                  <c:v>-9.0790048013966729E-3</c:v>
                </c:pt>
                <c:pt idx="5">
                  <c:v>-9.0790048013966729E-3</c:v>
                </c:pt>
                <c:pt idx="6">
                  <c:v>-9.0790048013966729E-3</c:v>
                </c:pt>
                <c:pt idx="7">
                  <c:v>-4.888694893059875E-3</c:v>
                </c:pt>
                <c:pt idx="8">
                  <c:v>-4.888694893059875E-3</c:v>
                </c:pt>
                <c:pt idx="9">
                  <c:v>-4.888694893059875E-3</c:v>
                </c:pt>
                <c:pt idx="10">
                  <c:v>-4.888694893059875E-3</c:v>
                </c:pt>
                <c:pt idx="11">
                  <c:v>-4.888694893059875E-3</c:v>
                </c:pt>
                <c:pt idx="12">
                  <c:v>8.3806198166740398E-3</c:v>
                </c:pt>
                <c:pt idx="13">
                  <c:v>8.3806198166740398E-3</c:v>
                </c:pt>
                <c:pt idx="14">
                  <c:v>8.3806198166740398E-3</c:v>
                </c:pt>
                <c:pt idx="15">
                  <c:v>8.3806198166740398E-3</c:v>
                </c:pt>
                <c:pt idx="16">
                  <c:v>8.3806198166740398E-3</c:v>
                </c:pt>
                <c:pt idx="17">
                  <c:v>-1.4229594063727702E-2</c:v>
                </c:pt>
                <c:pt idx="18">
                  <c:v>-1.4229594063727702E-2</c:v>
                </c:pt>
                <c:pt idx="19">
                  <c:v>-1.4229594063727702E-2</c:v>
                </c:pt>
                <c:pt idx="20">
                  <c:v>-1.4229594063727702E-2</c:v>
                </c:pt>
                <c:pt idx="21">
                  <c:v>-1.4229594063727702E-2</c:v>
                </c:pt>
                <c:pt idx="22">
                  <c:v>-1.2309035355739906E-2</c:v>
                </c:pt>
                <c:pt idx="23">
                  <c:v>-1.2309035355739906E-2</c:v>
                </c:pt>
                <c:pt idx="24">
                  <c:v>-1.2309035355739906E-2</c:v>
                </c:pt>
                <c:pt idx="25">
                  <c:v>-1.2309035355739906E-2</c:v>
                </c:pt>
                <c:pt idx="26">
                  <c:v>-1.2309035355739906E-2</c:v>
                </c:pt>
                <c:pt idx="27">
                  <c:v>7.8568310781317319E-3</c:v>
                </c:pt>
                <c:pt idx="28">
                  <c:v>7.8568310781317319E-3</c:v>
                </c:pt>
                <c:pt idx="29">
                  <c:v>7.8568310781317319E-3</c:v>
                </c:pt>
                <c:pt idx="30">
                  <c:v>7.8568310781317319E-3</c:v>
                </c:pt>
                <c:pt idx="31">
                  <c:v>7.8568310781317319E-3</c:v>
                </c:pt>
                <c:pt idx="32">
                  <c:v>-1.8332605848974337E-2</c:v>
                </c:pt>
                <c:pt idx="33">
                  <c:v>-1.8332605848974337E-2</c:v>
                </c:pt>
                <c:pt idx="34">
                  <c:v>-1.8332605848974337E-2</c:v>
                </c:pt>
                <c:pt idx="35">
                  <c:v>-1.8332605848974337E-2</c:v>
                </c:pt>
                <c:pt idx="36">
                  <c:v>-1.8332605848974337E-2</c:v>
                </c:pt>
                <c:pt idx="37">
                  <c:v>-6.372762985595859E-3</c:v>
                </c:pt>
                <c:pt idx="38">
                  <c:v>-6.372762985595859E-3</c:v>
                </c:pt>
                <c:pt idx="39">
                  <c:v>-6.372762985595859E-3</c:v>
                </c:pt>
                <c:pt idx="40">
                  <c:v>-6.372762985595859E-3</c:v>
                </c:pt>
                <c:pt idx="41">
                  <c:v>-6.372762985595859E-3</c:v>
                </c:pt>
                <c:pt idx="42">
                  <c:v>-3.1427324312527372E-3</c:v>
                </c:pt>
                <c:pt idx="43">
                  <c:v>-3.1427324312527372E-3</c:v>
                </c:pt>
                <c:pt idx="44">
                  <c:v>-3.1427324312527372E-3</c:v>
                </c:pt>
                <c:pt idx="45">
                  <c:v>-3.1427324312527372E-3</c:v>
                </c:pt>
                <c:pt idx="46">
                  <c:v>-3.1427324312527372E-3</c:v>
                </c:pt>
                <c:pt idx="47">
                  <c:v>-4.2776080314272935E-3</c:v>
                </c:pt>
                <c:pt idx="48">
                  <c:v>-4.2776080314272935E-3</c:v>
                </c:pt>
                <c:pt idx="49">
                  <c:v>-4.2776080314272935E-3</c:v>
                </c:pt>
                <c:pt idx="50">
                  <c:v>-4.2776080314272935E-3</c:v>
                </c:pt>
                <c:pt idx="51">
                  <c:v>-4.2776080314272935E-3</c:v>
                </c:pt>
                <c:pt idx="52">
                  <c:v>1.4840680925358729E-3</c:v>
                </c:pt>
                <c:pt idx="53">
                  <c:v>1.4840680925358729E-3</c:v>
                </c:pt>
                <c:pt idx="54">
                  <c:v>1.4840680925358729E-3</c:v>
                </c:pt>
                <c:pt idx="55">
                  <c:v>1.4840680925358729E-3</c:v>
                </c:pt>
                <c:pt idx="56">
                  <c:v>1.4840680925358729E-3</c:v>
                </c:pt>
                <c:pt idx="57">
                  <c:v>-9.6027935399388697E-3</c:v>
                </c:pt>
                <c:pt idx="58">
                  <c:v>-9.6027935399388697E-3</c:v>
                </c:pt>
                <c:pt idx="59">
                  <c:v>-9.6027935399388697E-3</c:v>
                </c:pt>
                <c:pt idx="60">
                  <c:v>-9.6027935399388697E-3</c:v>
                </c:pt>
                <c:pt idx="61">
                  <c:v>-9.6027935399388697E-3</c:v>
                </c:pt>
                <c:pt idx="62">
                  <c:v>-9.777389786119639E-3</c:v>
                </c:pt>
                <c:pt idx="63">
                  <c:v>-9.777389786119639E-3</c:v>
                </c:pt>
                <c:pt idx="64">
                  <c:v>-9.777389786119639E-3</c:v>
                </c:pt>
                <c:pt idx="65">
                  <c:v>-9.777389786119639E-3</c:v>
                </c:pt>
                <c:pt idx="66">
                  <c:v>-9.777389786119639E-3</c:v>
                </c:pt>
                <c:pt idx="67">
                  <c:v>-1.0912265386294195E-2</c:v>
                </c:pt>
                <c:pt idx="68">
                  <c:v>-1.0912265386294195E-2</c:v>
                </c:pt>
                <c:pt idx="69">
                  <c:v>-1.0912265386294195E-2</c:v>
                </c:pt>
                <c:pt idx="70">
                  <c:v>-1.0912265386294195E-2</c:v>
                </c:pt>
                <c:pt idx="71">
                  <c:v>-1.0912265386294195E-2</c:v>
                </c:pt>
                <c:pt idx="72">
                  <c:v>-1.3443910955914462E-2</c:v>
                </c:pt>
                <c:pt idx="73">
                  <c:v>-1.3443910955914462E-2</c:v>
                </c:pt>
                <c:pt idx="74">
                  <c:v>-1.3443910955914462E-2</c:v>
                </c:pt>
                <c:pt idx="75">
                  <c:v>-1.3443910955914462E-2</c:v>
                </c:pt>
                <c:pt idx="76">
                  <c:v>-1.3443910955914462E-2</c:v>
                </c:pt>
                <c:pt idx="77">
                  <c:v>-1.5189873417721489E-2</c:v>
                </c:pt>
                <c:pt idx="78">
                  <c:v>-1.5189873417721489E-2</c:v>
                </c:pt>
                <c:pt idx="79">
                  <c:v>-1.5189873417721489E-2</c:v>
                </c:pt>
                <c:pt idx="80">
                  <c:v>-1.5189873417721489E-2</c:v>
                </c:pt>
                <c:pt idx="81">
                  <c:v>-1.5189873417721489E-2</c:v>
                </c:pt>
                <c:pt idx="82">
                  <c:v>-1.8419903972064611E-2</c:v>
                </c:pt>
                <c:pt idx="83">
                  <c:v>-1.8419903972064611E-2</c:v>
                </c:pt>
                <c:pt idx="84">
                  <c:v>-1.8419903972064611E-2</c:v>
                </c:pt>
                <c:pt idx="85">
                  <c:v>-1.8419903972064611E-2</c:v>
                </c:pt>
                <c:pt idx="86">
                  <c:v>-1.8419903972064611E-2</c:v>
                </c:pt>
                <c:pt idx="87">
                  <c:v>9.0790048013966729E-3</c:v>
                </c:pt>
                <c:pt idx="88">
                  <c:v>9.0790048013966729E-3</c:v>
                </c:pt>
                <c:pt idx="89">
                  <c:v>9.0790048013966729E-3</c:v>
                </c:pt>
                <c:pt idx="90">
                  <c:v>9.0790048013966729E-3</c:v>
                </c:pt>
                <c:pt idx="91">
                  <c:v>9.0790048013966729E-3</c:v>
                </c:pt>
                <c:pt idx="92">
                  <c:v>1.3182016586643419E-2</c:v>
                </c:pt>
                <c:pt idx="93">
                  <c:v>1.3182016586643419E-2</c:v>
                </c:pt>
                <c:pt idx="94">
                  <c:v>1.3182016586643419E-2</c:v>
                </c:pt>
                <c:pt idx="95">
                  <c:v>1.3182016586643419E-2</c:v>
                </c:pt>
                <c:pt idx="96">
                  <c:v>1.3182016586643419E-2</c:v>
                </c:pt>
                <c:pt idx="97">
                  <c:v>2.2697512003491127E-3</c:v>
                </c:pt>
                <c:pt idx="98">
                  <c:v>2.2697512003491127E-3</c:v>
                </c:pt>
                <c:pt idx="99">
                  <c:v>2.2697512003491127E-3</c:v>
                </c:pt>
                <c:pt idx="100">
                  <c:v>2.2697512003491127E-3</c:v>
                </c:pt>
                <c:pt idx="101">
                  <c:v>2.2697512003491127E-3</c:v>
                </c:pt>
                <c:pt idx="102">
                  <c:v>4.6268005237886101E-3</c:v>
                </c:pt>
                <c:pt idx="103">
                  <c:v>4.6268005237886101E-3</c:v>
                </c:pt>
                <c:pt idx="104">
                  <c:v>4.6268005237886101E-3</c:v>
                </c:pt>
                <c:pt idx="105">
                  <c:v>4.6268005237886101E-3</c:v>
                </c:pt>
                <c:pt idx="106">
                  <c:v>4.6268005237886101E-3</c:v>
                </c:pt>
                <c:pt idx="107">
                  <c:v>7.1584460934090988E-3</c:v>
                </c:pt>
                <c:pt idx="108">
                  <c:v>7.1584460934090988E-3</c:v>
                </c:pt>
                <c:pt idx="109">
                  <c:v>7.1584460934090988E-3</c:v>
                </c:pt>
                <c:pt idx="110">
                  <c:v>7.1584460934090988E-3</c:v>
                </c:pt>
                <c:pt idx="111">
                  <c:v>7.1584460934090988E-3</c:v>
                </c:pt>
                <c:pt idx="112">
                  <c:v>1.6150152771715387E-2</c:v>
                </c:pt>
                <c:pt idx="113">
                  <c:v>1.6150152771715387E-2</c:v>
                </c:pt>
                <c:pt idx="114">
                  <c:v>1.6150152771715387E-2</c:v>
                </c:pt>
                <c:pt idx="115">
                  <c:v>1.6150152771715387E-2</c:v>
                </c:pt>
                <c:pt idx="116">
                  <c:v>1.6150152771715387E-2</c:v>
                </c:pt>
                <c:pt idx="117">
                  <c:v>3.3871671759057254E-2</c:v>
                </c:pt>
                <c:pt idx="118">
                  <c:v>3.3871671759057254E-2</c:v>
                </c:pt>
                <c:pt idx="119">
                  <c:v>3.3871671759057254E-2</c:v>
                </c:pt>
                <c:pt idx="120">
                  <c:v>3.3871671759057254E-2</c:v>
                </c:pt>
                <c:pt idx="121">
                  <c:v>3.3871671759057254E-2</c:v>
                </c:pt>
                <c:pt idx="122">
                  <c:v>3.3522479266695715E-2</c:v>
                </c:pt>
                <c:pt idx="123">
                  <c:v>3.3522479266695715E-2</c:v>
                </c:pt>
                <c:pt idx="124">
                  <c:v>3.3522479266695715E-2</c:v>
                </c:pt>
                <c:pt idx="125">
                  <c:v>3.3522479266695715E-2</c:v>
                </c:pt>
                <c:pt idx="126">
                  <c:v>3.3522479266695715E-2</c:v>
                </c:pt>
                <c:pt idx="127">
                  <c:v>2.9244871235268421E-2</c:v>
                </c:pt>
                <c:pt idx="128">
                  <c:v>2.9244871235268421E-2</c:v>
                </c:pt>
                <c:pt idx="129">
                  <c:v>2.9244871235268421E-2</c:v>
                </c:pt>
                <c:pt idx="130">
                  <c:v>2.9244871235268421E-2</c:v>
                </c:pt>
                <c:pt idx="131">
                  <c:v>2.9244871235268421E-2</c:v>
                </c:pt>
                <c:pt idx="132">
                  <c:v>2.2173723264949707E-2</c:v>
                </c:pt>
                <c:pt idx="133">
                  <c:v>2.2173723264949707E-2</c:v>
                </c:pt>
                <c:pt idx="134">
                  <c:v>2.2173723264949707E-2</c:v>
                </c:pt>
                <c:pt idx="135">
                  <c:v>2.2173723264949707E-2</c:v>
                </c:pt>
                <c:pt idx="136">
                  <c:v>2.2173723264949707E-2</c:v>
                </c:pt>
                <c:pt idx="137">
                  <c:v>3.4744652989960656E-2</c:v>
                </c:pt>
                <c:pt idx="138">
                  <c:v>3.4744652989960656E-2</c:v>
                </c:pt>
                <c:pt idx="139">
                  <c:v>3.4744652989960656E-2</c:v>
                </c:pt>
                <c:pt idx="140">
                  <c:v>3.4744652989960656E-2</c:v>
                </c:pt>
                <c:pt idx="141">
                  <c:v>3.4744652989960656E-2</c:v>
                </c:pt>
                <c:pt idx="142">
                  <c:v>2.9070274989087652E-2</c:v>
                </c:pt>
                <c:pt idx="143">
                  <c:v>2.9070274989087652E-2</c:v>
                </c:pt>
                <c:pt idx="144">
                  <c:v>2.9070274989087652E-2</c:v>
                </c:pt>
                <c:pt idx="145">
                  <c:v>2.9070274989087652E-2</c:v>
                </c:pt>
                <c:pt idx="146">
                  <c:v>2.9070274989087652E-2</c:v>
                </c:pt>
                <c:pt idx="147">
                  <c:v>3.1252728066346602E-2</c:v>
                </c:pt>
                <c:pt idx="148">
                  <c:v>3.1252728066346602E-2</c:v>
                </c:pt>
                <c:pt idx="149">
                  <c:v>3.1252728066346602E-2</c:v>
                </c:pt>
                <c:pt idx="150">
                  <c:v>3.1252728066346602E-2</c:v>
                </c:pt>
                <c:pt idx="151">
                  <c:v>3.1252728066346602E-2</c:v>
                </c:pt>
                <c:pt idx="152">
                  <c:v>4.3561763422086397E-2</c:v>
                </c:pt>
                <c:pt idx="153">
                  <c:v>4.3561763422086397E-2</c:v>
                </c:pt>
                <c:pt idx="154">
                  <c:v>4.3561763422086397E-2</c:v>
                </c:pt>
                <c:pt idx="155">
                  <c:v>4.3561763422086397E-2</c:v>
                </c:pt>
                <c:pt idx="156">
                  <c:v>4.3561763422086397E-2</c:v>
                </c:pt>
                <c:pt idx="157">
                  <c:v>4.5918812745525894E-2</c:v>
                </c:pt>
                <c:pt idx="158">
                  <c:v>4.5918812745525894E-2</c:v>
                </c:pt>
                <c:pt idx="159">
                  <c:v>4.5918812745525894E-2</c:v>
                </c:pt>
                <c:pt idx="160">
                  <c:v>4.5918812745525894E-2</c:v>
                </c:pt>
                <c:pt idx="161">
                  <c:v>4.5918812745525894E-2</c:v>
                </c:pt>
                <c:pt idx="162">
                  <c:v>5.342645133129631E-2</c:v>
                </c:pt>
                <c:pt idx="163">
                  <c:v>5.342645133129631E-2</c:v>
                </c:pt>
                <c:pt idx="164">
                  <c:v>5.342645133129631E-2</c:v>
                </c:pt>
                <c:pt idx="165">
                  <c:v>5.342645133129631E-2</c:v>
                </c:pt>
                <c:pt idx="166">
                  <c:v>5.342645133129631E-2</c:v>
                </c:pt>
                <c:pt idx="167">
                  <c:v>4.1292012221737284E-2</c:v>
                </c:pt>
                <c:pt idx="168">
                  <c:v>4.1292012221737284E-2</c:v>
                </c:pt>
                <c:pt idx="169">
                  <c:v>4.1292012221737284E-2</c:v>
                </c:pt>
                <c:pt idx="170">
                  <c:v>4.1292012221737284E-2</c:v>
                </c:pt>
                <c:pt idx="171">
                  <c:v>4.1292012221737284E-2</c:v>
                </c:pt>
                <c:pt idx="172">
                  <c:v>4.1117415975556515E-2</c:v>
                </c:pt>
                <c:pt idx="173">
                  <c:v>4.1117415975556515E-2</c:v>
                </c:pt>
                <c:pt idx="174">
                  <c:v>4.1117415975556515E-2</c:v>
                </c:pt>
                <c:pt idx="175">
                  <c:v>4.1117415975556515E-2</c:v>
                </c:pt>
                <c:pt idx="176">
                  <c:v>4.1117415975556515E-2</c:v>
                </c:pt>
                <c:pt idx="177">
                  <c:v>4.5045831514622492E-2</c:v>
                </c:pt>
                <c:pt idx="178">
                  <c:v>4.5045831514622492E-2</c:v>
                </c:pt>
                <c:pt idx="179">
                  <c:v>4.5045831514622492E-2</c:v>
                </c:pt>
                <c:pt idx="180">
                  <c:v>4.5045831514622492E-2</c:v>
                </c:pt>
                <c:pt idx="181">
                  <c:v>4.5045831514622492E-2</c:v>
                </c:pt>
                <c:pt idx="182">
                  <c:v>5.1156700130947197E-2</c:v>
                </c:pt>
                <c:pt idx="183">
                  <c:v>5.1156700130947197E-2</c:v>
                </c:pt>
                <c:pt idx="184">
                  <c:v>5.1156700130947197E-2</c:v>
                </c:pt>
                <c:pt idx="185">
                  <c:v>5.1156700130947197E-2</c:v>
                </c:pt>
                <c:pt idx="186">
                  <c:v>5.1156700130947197E-2</c:v>
                </c:pt>
                <c:pt idx="187">
                  <c:v>5.6569183762549047E-2</c:v>
                </c:pt>
                <c:pt idx="188">
                  <c:v>5.6569183762549047E-2</c:v>
                </c:pt>
                <c:pt idx="189">
                  <c:v>5.6569183762549047E-2</c:v>
                </c:pt>
                <c:pt idx="190">
                  <c:v>5.6569183762549047E-2</c:v>
                </c:pt>
                <c:pt idx="191">
                  <c:v>5.6569183762549047E-2</c:v>
                </c:pt>
                <c:pt idx="192">
                  <c:v>6.0672195547795793E-2</c:v>
                </c:pt>
                <c:pt idx="193">
                  <c:v>6.0672195547795793E-2</c:v>
                </c:pt>
                <c:pt idx="194">
                  <c:v>6.0672195547795793E-2</c:v>
                </c:pt>
                <c:pt idx="195">
                  <c:v>6.0672195547795793E-2</c:v>
                </c:pt>
                <c:pt idx="196">
                  <c:v>6.0672195547795793E-2</c:v>
                </c:pt>
                <c:pt idx="197">
                  <c:v>3.4046268005238023E-2</c:v>
                </c:pt>
                <c:pt idx="198">
                  <c:v>3.4046268005238023E-2</c:v>
                </c:pt>
                <c:pt idx="199">
                  <c:v>3.4046268005238023E-2</c:v>
                </c:pt>
                <c:pt idx="200">
                  <c:v>3.4046268005238023E-2</c:v>
                </c:pt>
                <c:pt idx="201">
                  <c:v>3.4046268005238023E-2</c:v>
                </c:pt>
                <c:pt idx="202">
                  <c:v>5.403753819292878E-2</c:v>
                </c:pt>
                <c:pt idx="203">
                  <c:v>5.403753819292878E-2</c:v>
                </c:pt>
                <c:pt idx="204">
                  <c:v>5.403753819292878E-2</c:v>
                </c:pt>
                <c:pt idx="205">
                  <c:v>5.403753819292878E-2</c:v>
                </c:pt>
                <c:pt idx="206">
                  <c:v>5.403753819292878E-2</c:v>
                </c:pt>
                <c:pt idx="207">
                  <c:v>7.4989087734613769E-2</c:v>
                </c:pt>
                <c:pt idx="208">
                  <c:v>7.4989087734613769E-2</c:v>
                </c:pt>
                <c:pt idx="209">
                  <c:v>7.4989087734613769E-2</c:v>
                </c:pt>
                <c:pt idx="210">
                  <c:v>7.4989087734613769E-2</c:v>
                </c:pt>
                <c:pt idx="211">
                  <c:v>7.4989087734613769E-2</c:v>
                </c:pt>
                <c:pt idx="212">
                  <c:v>6.1108686163247494E-2</c:v>
                </c:pt>
                <c:pt idx="213">
                  <c:v>6.1108686163247494E-2</c:v>
                </c:pt>
                <c:pt idx="214">
                  <c:v>6.1108686163247494E-2</c:v>
                </c:pt>
                <c:pt idx="215">
                  <c:v>6.1108686163247494E-2</c:v>
                </c:pt>
                <c:pt idx="216">
                  <c:v>6.1108686163247494E-2</c:v>
                </c:pt>
                <c:pt idx="217">
                  <c:v>6.3902226102138693E-2</c:v>
                </c:pt>
                <c:pt idx="218">
                  <c:v>6.3902226102138693E-2</c:v>
                </c:pt>
                <c:pt idx="219">
                  <c:v>6.3902226102138693E-2</c:v>
                </c:pt>
                <c:pt idx="220">
                  <c:v>6.3902226102138693E-2</c:v>
                </c:pt>
                <c:pt idx="221">
                  <c:v>6.3902226102138693E-2</c:v>
                </c:pt>
                <c:pt idx="222">
                  <c:v>5.342645133129631E-2</c:v>
                </c:pt>
                <c:pt idx="223">
                  <c:v>5.342645133129631E-2</c:v>
                </c:pt>
                <c:pt idx="224">
                  <c:v>5.342645133129631E-2</c:v>
                </c:pt>
                <c:pt idx="225">
                  <c:v>5.342645133129631E-2</c:v>
                </c:pt>
                <c:pt idx="226">
                  <c:v>5.342645133129631E-2</c:v>
                </c:pt>
                <c:pt idx="227">
                  <c:v>5.9886512439982553E-2</c:v>
                </c:pt>
                <c:pt idx="228">
                  <c:v>5.9886512439982553E-2</c:v>
                </c:pt>
                <c:pt idx="229">
                  <c:v>5.9886512439982553E-2</c:v>
                </c:pt>
                <c:pt idx="230">
                  <c:v>5.9886512439982553E-2</c:v>
                </c:pt>
                <c:pt idx="231">
                  <c:v>5.9886512439982553E-2</c:v>
                </c:pt>
                <c:pt idx="232">
                  <c:v>7.0973374072457407E-2</c:v>
                </c:pt>
                <c:pt idx="233">
                  <c:v>7.0973374072457407E-2</c:v>
                </c:pt>
                <c:pt idx="234">
                  <c:v>7.0973374072457407E-2</c:v>
                </c:pt>
                <c:pt idx="235">
                  <c:v>7.0973374072457407E-2</c:v>
                </c:pt>
                <c:pt idx="236">
                  <c:v>7.0973374072457407E-2</c:v>
                </c:pt>
                <c:pt idx="237">
                  <c:v>7.9353993889131447E-2</c:v>
                </c:pt>
                <c:pt idx="238">
                  <c:v>7.9353993889131447E-2</c:v>
                </c:pt>
                <c:pt idx="239">
                  <c:v>7.9353993889131447E-2</c:v>
                </c:pt>
                <c:pt idx="240">
                  <c:v>7.9353993889131447E-2</c:v>
                </c:pt>
                <c:pt idx="241">
                  <c:v>7.9353993889131447E-2</c:v>
                </c:pt>
                <c:pt idx="242">
                  <c:v>6.023570493234387E-2</c:v>
                </c:pt>
                <c:pt idx="243">
                  <c:v>6.023570493234387E-2</c:v>
                </c:pt>
                <c:pt idx="244">
                  <c:v>6.023570493234387E-2</c:v>
                </c:pt>
                <c:pt idx="245">
                  <c:v>6.023570493234387E-2</c:v>
                </c:pt>
                <c:pt idx="246">
                  <c:v>6.023570493234387E-2</c:v>
                </c:pt>
                <c:pt idx="247">
                  <c:v>7.7346137058053266E-2</c:v>
                </c:pt>
                <c:pt idx="248">
                  <c:v>7.7346137058053266E-2</c:v>
                </c:pt>
                <c:pt idx="249">
                  <c:v>7.7346137058053266E-2</c:v>
                </c:pt>
                <c:pt idx="250">
                  <c:v>7.7346137058053266E-2</c:v>
                </c:pt>
                <c:pt idx="251">
                  <c:v>7.7346137058053266E-2</c:v>
                </c:pt>
                <c:pt idx="252">
                  <c:v>7.4378000872981298E-2</c:v>
                </c:pt>
                <c:pt idx="253">
                  <c:v>7.4378000872981298E-2</c:v>
                </c:pt>
                <c:pt idx="254">
                  <c:v>7.4378000872981298E-2</c:v>
                </c:pt>
                <c:pt idx="255">
                  <c:v>7.4378000872981298E-2</c:v>
                </c:pt>
                <c:pt idx="256">
                  <c:v>7.4378000872981298E-2</c:v>
                </c:pt>
                <c:pt idx="257">
                  <c:v>5.0982103884766428E-2</c:v>
                </c:pt>
                <c:pt idx="258">
                  <c:v>5.0982103884766428E-2</c:v>
                </c:pt>
                <c:pt idx="259">
                  <c:v>5.0982103884766428E-2</c:v>
                </c:pt>
                <c:pt idx="260">
                  <c:v>5.0982103884766428E-2</c:v>
                </c:pt>
                <c:pt idx="261">
                  <c:v>5.0982103884766428E-2</c:v>
                </c:pt>
                <c:pt idx="262">
                  <c:v>6.2243561763422051E-2</c:v>
                </c:pt>
                <c:pt idx="263">
                  <c:v>6.2243561763422051E-2</c:v>
                </c:pt>
                <c:pt idx="264">
                  <c:v>6.2243561763422051E-2</c:v>
                </c:pt>
                <c:pt idx="265">
                  <c:v>6.2243561763422051E-2</c:v>
                </c:pt>
                <c:pt idx="266">
                  <c:v>6.2243561763422051E-2</c:v>
                </c:pt>
                <c:pt idx="267">
                  <c:v>7.9353993889131447E-2</c:v>
                </c:pt>
                <c:pt idx="268">
                  <c:v>7.9353993889131447E-2</c:v>
                </c:pt>
                <c:pt idx="269">
                  <c:v>7.9353993889131447E-2</c:v>
                </c:pt>
                <c:pt idx="270">
                  <c:v>7.9353993889131447E-2</c:v>
                </c:pt>
                <c:pt idx="271">
                  <c:v>7.9353993889131447E-2</c:v>
                </c:pt>
                <c:pt idx="272">
                  <c:v>8.5464862505456152E-2</c:v>
                </c:pt>
                <c:pt idx="273">
                  <c:v>8.5464862505456152E-2</c:v>
                </c:pt>
                <c:pt idx="274">
                  <c:v>8.5464862505456152E-2</c:v>
                </c:pt>
                <c:pt idx="275">
                  <c:v>8.5464862505456152E-2</c:v>
                </c:pt>
                <c:pt idx="276">
                  <c:v>8.5464862505456152E-2</c:v>
                </c:pt>
                <c:pt idx="277">
                  <c:v>6.7656045395024123E-2</c:v>
                </c:pt>
                <c:pt idx="278">
                  <c:v>6.7656045395024123E-2</c:v>
                </c:pt>
                <c:pt idx="279">
                  <c:v>6.7656045395024123E-2</c:v>
                </c:pt>
                <c:pt idx="280">
                  <c:v>6.7656045395024123E-2</c:v>
                </c:pt>
                <c:pt idx="281">
                  <c:v>6.7656045395024123E-2</c:v>
                </c:pt>
                <c:pt idx="282">
                  <c:v>7.3155827149716135E-2</c:v>
                </c:pt>
                <c:pt idx="283">
                  <c:v>7.3155827149716135E-2</c:v>
                </c:pt>
                <c:pt idx="284">
                  <c:v>7.3155827149716135E-2</c:v>
                </c:pt>
                <c:pt idx="285">
                  <c:v>7.3155827149716135E-2</c:v>
                </c:pt>
                <c:pt idx="286">
                  <c:v>7.3155827149716135E-2</c:v>
                </c:pt>
                <c:pt idx="287">
                  <c:v>8.083806198166732E-2</c:v>
                </c:pt>
                <c:pt idx="288">
                  <c:v>8.083806198166732E-2</c:v>
                </c:pt>
                <c:pt idx="289">
                  <c:v>8.083806198166732E-2</c:v>
                </c:pt>
                <c:pt idx="290">
                  <c:v>8.083806198166732E-2</c:v>
                </c:pt>
                <c:pt idx="291">
                  <c:v>8.083806198166732E-2</c:v>
                </c:pt>
                <c:pt idx="292">
                  <c:v>9.061545176778707E-2</c:v>
                </c:pt>
                <c:pt idx="293">
                  <c:v>9.061545176778707E-2</c:v>
                </c:pt>
                <c:pt idx="294">
                  <c:v>9.061545176778707E-2</c:v>
                </c:pt>
                <c:pt idx="295">
                  <c:v>9.061545176778707E-2</c:v>
                </c:pt>
                <c:pt idx="296">
                  <c:v>9.061545176778707E-2</c:v>
                </c:pt>
                <c:pt idx="297">
                  <c:v>0.10903535573985157</c:v>
                </c:pt>
                <c:pt idx="298">
                  <c:v>0.10903535573985157</c:v>
                </c:pt>
                <c:pt idx="299">
                  <c:v>0.10903535573985157</c:v>
                </c:pt>
                <c:pt idx="300">
                  <c:v>0.10903535573985157</c:v>
                </c:pt>
                <c:pt idx="301">
                  <c:v>0.10903535573985157</c:v>
                </c:pt>
                <c:pt idx="302">
                  <c:v>8.4068092536010441E-2</c:v>
                </c:pt>
                <c:pt idx="303">
                  <c:v>8.4068092536010441E-2</c:v>
                </c:pt>
                <c:pt idx="304">
                  <c:v>8.4068092536010441E-2</c:v>
                </c:pt>
                <c:pt idx="305">
                  <c:v>8.4068092536010441E-2</c:v>
                </c:pt>
                <c:pt idx="306">
                  <c:v>8.4068092536010441E-2</c:v>
                </c:pt>
                <c:pt idx="307">
                  <c:v>8.9917066783064215E-2</c:v>
                </c:pt>
                <c:pt idx="308">
                  <c:v>8.9917066783064215E-2</c:v>
                </c:pt>
                <c:pt idx="309">
                  <c:v>8.9917066783064215E-2</c:v>
                </c:pt>
                <c:pt idx="310">
                  <c:v>8.9917066783064215E-2</c:v>
                </c:pt>
                <c:pt idx="311">
                  <c:v>8.9917066783064215E-2</c:v>
                </c:pt>
                <c:pt idx="312">
                  <c:v>8.3282409428197424E-2</c:v>
                </c:pt>
                <c:pt idx="313">
                  <c:v>8.3282409428197424E-2</c:v>
                </c:pt>
                <c:pt idx="314">
                  <c:v>8.3282409428197424E-2</c:v>
                </c:pt>
                <c:pt idx="315">
                  <c:v>8.3282409428197424E-2</c:v>
                </c:pt>
                <c:pt idx="316">
                  <c:v>8.3282409428197424E-2</c:v>
                </c:pt>
                <c:pt idx="317">
                  <c:v>8.7821911828895649E-2</c:v>
                </c:pt>
                <c:pt idx="318">
                  <c:v>8.7821911828895649E-2</c:v>
                </c:pt>
                <c:pt idx="319">
                  <c:v>8.7821911828895649E-2</c:v>
                </c:pt>
                <c:pt idx="320">
                  <c:v>8.7821911828895649E-2</c:v>
                </c:pt>
                <c:pt idx="321">
                  <c:v>8.7821911828895649E-2</c:v>
                </c:pt>
                <c:pt idx="322">
                  <c:v>7.8568310781318207E-2</c:v>
                </c:pt>
                <c:pt idx="323">
                  <c:v>7.8568310781318207E-2</c:v>
                </c:pt>
                <c:pt idx="324">
                  <c:v>7.8568310781318207E-2</c:v>
                </c:pt>
                <c:pt idx="325">
                  <c:v>7.8568310781318207E-2</c:v>
                </c:pt>
                <c:pt idx="326">
                  <c:v>7.8568310781318207E-2</c:v>
                </c:pt>
                <c:pt idx="327">
                  <c:v>8.1972937581842098E-2</c:v>
                </c:pt>
                <c:pt idx="328">
                  <c:v>8.1972937581842098E-2</c:v>
                </c:pt>
                <c:pt idx="329">
                  <c:v>8.1972937581842098E-2</c:v>
                </c:pt>
                <c:pt idx="330">
                  <c:v>8.1972937581842098E-2</c:v>
                </c:pt>
                <c:pt idx="331">
                  <c:v>8.1972937581842098E-2</c:v>
                </c:pt>
                <c:pt idx="332">
                  <c:v>8.4329986905281373E-2</c:v>
                </c:pt>
                <c:pt idx="333">
                  <c:v>8.4329986905281373E-2</c:v>
                </c:pt>
                <c:pt idx="334">
                  <c:v>8.4329986905281373E-2</c:v>
                </c:pt>
                <c:pt idx="335">
                  <c:v>8.4329986905281373E-2</c:v>
                </c:pt>
                <c:pt idx="336">
                  <c:v>8.4329986905281373E-2</c:v>
                </c:pt>
                <c:pt idx="337">
                  <c:v>8.8083806198166803E-2</c:v>
                </c:pt>
                <c:pt idx="338">
                  <c:v>8.8083806198166803E-2</c:v>
                </c:pt>
                <c:pt idx="339">
                  <c:v>8.8083806198166803E-2</c:v>
                </c:pt>
                <c:pt idx="340">
                  <c:v>8.8083806198166803E-2</c:v>
                </c:pt>
                <c:pt idx="341">
                  <c:v>8.8083806198166803E-2</c:v>
                </c:pt>
                <c:pt idx="342">
                  <c:v>8.7560017459624717E-2</c:v>
                </c:pt>
                <c:pt idx="343">
                  <c:v>8.7560017459624717E-2</c:v>
                </c:pt>
                <c:pt idx="344">
                  <c:v>8.7560017459624717E-2</c:v>
                </c:pt>
                <c:pt idx="345">
                  <c:v>8.7560017459624717E-2</c:v>
                </c:pt>
                <c:pt idx="346">
                  <c:v>8.7560017459624717E-2</c:v>
                </c:pt>
                <c:pt idx="347">
                  <c:v>8.9393278044521907E-2</c:v>
                </c:pt>
                <c:pt idx="348">
                  <c:v>8.9393278044521907E-2</c:v>
                </c:pt>
                <c:pt idx="349">
                  <c:v>8.9393278044521907E-2</c:v>
                </c:pt>
                <c:pt idx="350">
                  <c:v>8.9393278044521907E-2</c:v>
                </c:pt>
                <c:pt idx="351">
                  <c:v>8.9393278044521907E-2</c:v>
                </c:pt>
                <c:pt idx="352">
                  <c:v>7.0798777826276638E-2</c:v>
                </c:pt>
                <c:pt idx="353">
                  <c:v>7.0798777826276638E-2</c:v>
                </c:pt>
                <c:pt idx="354">
                  <c:v>7.0798777826276638E-2</c:v>
                </c:pt>
                <c:pt idx="355">
                  <c:v>7.0798777826276638E-2</c:v>
                </c:pt>
                <c:pt idx="356">
                  <c:v>7.0798777826276638E-2</c:v>
                </c:pt>
                <c:pt idx="357">
                  <c:v>7.463989524225223E-2</c:v>
                </c:pt>
                <c:pt idx="358">
                  <c:v>7.463989524225223E-2</c:v>
                </c:pt>
                <c:pt idx="359">
                  <c:v>7.463989524225223E-2</c:v>
                </c:pt>
                <c:pt idx="360">
                  <c:v>7.463989524225223E-2</c:v>
                </c:pt>
                <c:pt idx="361">
                  <c:v>7.463989524225223E-2</c:v>
                </c:pt>
                <c:pt idx="362">
                  <c:v>8.8956787429070205E-2</c:v>
                </c:pt>
                <c:pt idx="363">
                  <c:v>8.8956787429070205E-2</c:v>
                </c:pt>
                <c:pt idx="364">
                  <c:v>8.8956787429070205E-2</c:v>
                </c:pt>
                <c:pt idx="365">
                  <c:v>8.8956787429070205E-2</c:v>
                </c:pt>
                <c:pt idx="366">
                  <c:v>8.8956787429070205E-2</c:v>
                </c:pt>
                <c:pt idx="367">
                  <c:v>9.2972501091226567E-2</c:v>
                </c:pt>
                <c:pt idx="368">
                  <c:v>9.2972501091226567E-2</c:v>
                </c:pt>
                <c:pt idx="369">
                  <c:v>9.2972501091226567E-2</c:v>
                </c:pt>
                <c:pt idx="370">
                  <c:v>9.2972501091226567E-2</c:v>
                </c:pt>
                <c:pt idx="371">
                  <c:v>9.2972501091226567E-2</c:v>
                </c:pt>
                <c:pt idx="372">
                  <c:v>9.6289829768659851E-2</c:v>
                </c:pt>
                <c:pt idx="373">
                  <c:v>9.6289829768659851E-2</c:v>
                </c:pt>
                <c:pt idx="374">
                  <c:v>9.6289829768659851E-2</c:v>
                </c:pt>
                <c:pt idx="375">
                  <c:v>9.6289829768659851E-2</c:v>
                </c:pt>
                <c:pt idx="376">
                  <c:v>9.6289829768659851E-2</c:v>
                </c:pt>
                <c:pt idx="377">
                  <c:v>0.11872544740288071</c:v>
                </c:pt>
                <c:pt idx="378">
                  <c:v>0.11872544740288071</c:v>
                </c:pt>
                <c:pt idx="379">
                  <c:v>0.11872544740288071</c:v>
                </c:pt>
                <c:pt idx="380">
                  <c:v>0.11872544740288071</c:v>
                </c:pt>
                <c:pt idx="381">
                  <c:v>0.11872544740288071</c:v>
                </c:pt>
                <c:pt idx="382">
                  <c:v>0.11470973374072457</c:v>
                </c:pt>
                <c:pt idx="383">
                  <c:v>0.11470973374072457</c:v>
                </c:pt>
                <c:pt idx="384">
                  <c:v>0.11470973374072457</c:v>
                </c:pt>
                <c:pt idx="385">
                  <c:v>0.11470973374072457</c:v>
                </c:pt>
                <c:pt idx="386">
                  <c:v>0.11470973374072457</c:v>
                </c:pt>
                <c:pt idx="387">
                  <c:v>0.10170231340026192</c:v>
                </c:pt>
                <c:pt idx="388">
                  <c:v>0.10170231340026192</c:v>
                </c:pt>
                <c:pt idx="389">
                  <c:v>0.10170231340026192</c:v>
                </c:pt>
                <c:pt idx="390">
                  <c:v>0.10170231340026192</c:v>
                </c:pt>
                <c:pt idx="391">
                  <c:v>0.10170231340026192</c:v>
                </c:pt>
                <c:pt idx="392">
                  <c:v>9.6464426014840621E-2</c:v>
                </c:pt>
                <c:pt idx="393">
                  <c:v>9.6464426014840621E-2</c:v>
                </c:pt>
                <c:pt idx="394">
                  <c:v>9.6464426014840621E-2</c:v>
                </c:pt>
                <c:pt idx="395">
                  <c:v>9.6464426014840621E-2</c:v>
                </c:pt>
                <c:pt idx="396">
                  <c:v>9.6464426014840621E-2</c:v>
                </c:pt>
                <c:pt idx="397">
                  <c:v>0.10615451767786976</c:v>
                </c:pt>
                <c:pt idx="398">
                  <c:v>0.10615451767786976</c:v>
                </c:pt>
                <c:pt idx="399">
                  <c:v>0.10615451767786976</c:v>
                </c:pt>
                <c:pt idx="400">
                  <c:v>0.10615451767786976</c:v>
                </c:pt>
                <c:pt idx="401">
                  <c:v>0.10615451767786976</c:v>
                </c:pt>
                <c:pt idx="402">
                  <c:v>0.10641641204714092</c:v>
                </c:pt>
                <c:pt idx="403">
                  <c:v>0.10641641204714092</c:v>
                </c:pt>
                <c:pt idx="404">
                  <c:v>0.10641641204714092</c:v>
                </c:pt>
                <c:pt idx="405">
                  <c:v>0.10641641204714092</c:v>
                </c:pt>
                <c:pt idx="406">
                  <c:v>0.10641641204714092</c:v>
                </c:pt>
                <c:pt idx="407">
                  <c:v>0.1132256656481887</c:v>
                </c:pt>
                <c:pt idx="408">
                  <c:v>0.1132256656481887</c:v>
                </c:pt>
                <c:pt idx="409">
                  <c:v>0.1132256656481887</c:v>
                </c:pt>
                <c:pt idx="410">
                  <c:v>0.1132256656481887</c:v>
                </c:pt>
                <c:pt idx="411">
                  <c:v>0.1132256656481887</c:v>
                </c:pt>
                <c:pt idx="412">
                  <c:v>0.10772588389349624</c:v>
                </c:pt>
                <c:pt idx="413">
                  <c:v>0.10772588389349624</c:v>
                </c:pt>
                <c:pt idx="414">
                  <c:v>0.10772588389349624</c:v>
                </c:pt>
                <c:pt idx="415">
                  <c:v>0.10772588389349624</c:v>
                </c:pt>
                <c:pt idx="416">
                  <c:v>0.10772588389349624</c:v>
                </c:pt>
                <c:pt idx="417">
                  <c:v>9.0964644260148386E-2</c:v>
                </c:pt>
                <c:pt idx="418">
                  <c:v>9.0964644260148386E-2</c:v>
                </c:pt>
                <c:pt idx="419">
                  <c:v>9.0964644260148386E-2</c:v>
                </c:pt>
                <c:pt idx="420">
                  <c:v>9.0964644260148386E-2</c:v>
                </c:pt>
                <c:pt idx="421">
                  <c:v>9.0964644260148386E-2</c:v>
                </c:pt>
                <c:pt idx="422">
                  <c:v>0.10528153644696636</c:v>
                </c:pt>
                <c:pt idx="423">
                  <c:v>0.10528153644696636</c:v>
                </c:pt>
                <c:pt idx="424">
                  <c:v>0.10528153644696636</c:v>
                </c:pt>
                <c:pt idx="425">
                  <c:v>0.10528153644696636</c:v>
                </c:pt>
                <c:pt idx="426">
                  <c:v>0.10528153644696636</c:v>
                </c:pt>
                <c:pt idx="427">
                  <c:v>0.10999563509384536</c:v>
                </c:pt>
                <c:pt idx="428">
                  <c:v>0.10999563509384536</c:v>
                </c:pt>
                <c:pt idx="429">
                  <c:v>0.10999563509384536</c:v>
                </c:pt>
                <c:pt idx="430">
                  <c:v>0.10999563509384536</c:v>
                </c:pt>
                <c:pt idx="431">
                  <c:v>0.10999563509384536</c:v>
                </c:pt>
                <c:pt idx="432">
                  <c:v>0.10458315146224351</c:v>
                </c:pt>
                <c:pt idx="433">
                  <c:v>0.10458315146224351</c:v>
                </c:pt>
                <c:pt idx="434">
                  <c:v>0.10458315146224351</c:v>
                </c:pt>
                <c:pt idx="435">
                  <c:v>0.10458315146224351</c:v>
                </c:pt>
                <c:pt idx="436">
                  <c:v>0.10458315146224351</c:v>
                </c:pt>
                <c:pt idx="437">
                  <c:v>0.10632911392405053</c:v>
                </c:pt>
                <c:pt idx="438">
                  <c:v>0.10632911392405053</c:v>
                </c:pt>
                <c:pt idx="439">
                  <c:v>0.10632911392405053</c:v>
                </c:pt>
                <c:pt idx="440">
                  <c:v>0.10632911392405053</c:v>
                </c:pt>
                <c:pt idx="441">
                  <c:v>0.10632911392405053</c:v>
                </c:pt>
                <c:pt idx="442">
                  <c:v>0.12623308598865113</c:v>
                </c:pt>
                <c:pt idx="443">
                  <c:v>0.12623308598865113</c:v>
                </c:pt>
                <c:pt idx="444">
                  <c:v>0.12623308598865113</c:v>
                </c:pt>
                <c:pt idx="445">
                  <c:v>0.12623308598865113</c:v>
                </c:pt>
                <c:pt idx="446">
                  <c:v>0.12623308598865113</c:v>
                </c:pt>
                <c:pt idx="447">
                  <c:v>0.12291575731121784</c:v>
                </c:pt>
                <c:pt idx="448">
                  <c:v>0.12291575731121784</c:v>
                </c:pt>
                <c:pt idx="449">
                  <c:v>0.12291575731121784</c:v>
                </c:pt>
                <c:pt idx="450">
                  <c:v>0.12291575731121784</c:v>
                </c:pt>
                <c:pt idx="451">
                  <c:v>0.12291575731121784</c:v>
                </c:pt>
                <c:pt idx="452">
                  <c:v>0.12003491924923604</c:v>
                </c:pt>
                <c:pt idx="453">
                  <c:v>0.12003491924923604</c:v>
                </c:pt>
                <c:pt idx="454">
                  <c:v>0.12003491924923604</c:v>
                </c:pt>
                <c:pt idx="455">
                  <c:v>0.12003491924923604</c:v>
                </c:pt>
                <c:pt idx="456">
                  <c:v>0.12003491924923604</c:v>
                </c:pt>
                <c:pt idx="457">
                  <c:v>0.13513749454386725</c:v>
                </c:pt>
                <c:pt idx="458">
                  <c:v>0.13513749454386725</c:v>
                </c:pt>
                <c:pt idx="459">
                  <c:v>0.13513749454386725</c:v>
                </c:pt>
                <c:pt idx="460">
                  <c:v>0.13513749454386725</c:v>
                </c:pt>
                <c:pt idx="461">
                  <c:v>0.13513749454386725</c:v>
                </c:pt>
                <c:pt idx="462">
                  <c:v>0.12256656481885631</c:v>
                </c:pt>
                <c:pt idx="463">
                  <c:v>0.12256656481885631</c:v>
                </c:pt>
                <c:pt idx="464">
                  <c:v>0.12256656481885631</c:v>
                </c:pt>
                <c:pt idx="465">
                  <c:v>0.12256656481885631</c:v>
                </c:pt>
                <c:pt idx="466">
                  <c:v>0.12256656481885631</c:v>
                </c:pt>
                <c:pt idx="467">
                  <c:v>0.12797904845045815</c:v>
                </c:pt>
                <c:pt idx="468">
                  <c:v>0.12797904845045815</c:v>
                </c:pt>
                <c:pt idx="469">
                  <c:v>0.12797904845045815</c:v>
                </c:pt>
                <c:pt idx="470">
                  <c:v>0.12797904845045815</c:v>
                </c:pt>
                <c:pt idx="471">
                  <c:v>0.12797904845045815</c:v>
                </c:pt>
                <c:pt idx="472">
                  <c:v>0.12797904845045815</c:v>
                </c:pt>
                <c:pt idx="473">
                  <c:v>0.12797904845045815</c:v>
                </c:pt>
                <c:pt idx="474">
                  <c:v>0.12797904845045815</c:v>
                </c:pt>
                <c:pt idx="475">
                  <c:v>0.12797904845045815</c:v>
                </c:pt>
                <c:pt idx="476">
                  <c:v>0.12797904845045815</c:v>
                </c:pt>
                <c:pt idx="477">
                  <c:v>0.11750327367961599</c:v>
                </c:pt>
                <c:pt idx="478">
                  <c:v>0.11750327367961599</c:v>
                </c:pt>
                <c:pt idx="479">
                  <c:v>0.11750327367961599</c:v>
                </c:pt>
                <c:pt idx="480">
                  <c:v>0.11750327367961599</c:v>
                </c:pt>
                <c:pt idx="481">
                  <c:v>0.11750327367961599</c:v>
                </c:pt>
                <c:pt idx="482">
                  <c:v>0.12920122217372332</c:v>
                </c:pt>
                <c:pt idx="483">
                  <c:v>0.12920122217372332</c:v>
                </c:pt>
                <c:pt idx="484">
                  <c:v>0.12920122217372332</c:v>
                </c:pt>
                <c:pt idx="485">
                  <c:v>0.12920122217372332</c:v>
                </c:pt>
                <c:pt idx="486">
                  <c:v>0.12920122217372332</c:v>
                </c:pt>
                <c:pt idx="487">
                  <c:v>0.13147097337407243</c:v>
                </c:pt>
                <c:pt idx="488">
                  <c:v>0.13147097337407243</c:v>
                </c:pt>
                <c:pt idx="489">
                  <c:v>0.13147097337407243</c:v>
                </c:pt>
                <c:pt idx="490">
                  <c:v>0.13147097337407243</c:v>
                </c:pt>
                <c:pt idx="491">
                  <c:v>0.13147097337407243</c:v>
                </c:pt>
                <c:pt idx="492">
                  <c:v>0.13539938891313841</c:v>
                </c:pt>
                <c:pt idx="493">
                  <c:v>0.13539938891313841</c:v>
                </c:pt>
                <c:pt idx="494">
                  <c:v>0.13539938891313841</c:v>
                </c:pt>
                <c:pt idx="495">
                  <c:v>0.13539938891313841</c:v>
                </c:pt>
                <c:pt idx="496">
                  <c:v>0.13539938891313841</c:v>
                </c:pt>
                <c:pt idx="497">
                  <c:v>0.13085988651243996</c:v>
                </c:pt>
                <c:pt idx="498">
                  <c:v>0.13085988651243996</c:v>
                </c:pt>
                <c:pt idx="499">
                  <c:v>0.13085988651243996</c:v>
                </c:pt>
                <c:pt idx="500">
                  <c:v>0.13085988651243996</c:v>
                </c:pt>
                <c:pt idx="501">
                  <c:v>0.13085988651243996</c:v>
                </c:pt>
                <c:pt idx="502">
                  <c:v>0.13094718463553034</c:v>
                </c:pt>
                <c:pt idx="503">
                  <c:v>0.13094718463553034</c:v>
                </c:pt>
                <c:pt idx="504">
                  <c:v>0.13094718463553034</c:v>
                </c:pt>
                <c:pt idx="505">
                  <c:v>0.13094718463553034</c:v>
                </c:pt>
                <c:pt idx="506">
                  <c:v>0.13094718463553034</c:v>
                </c:pt>
                <c:pt idx="507">
                  <c:v>0.13278044522042776</c:v>
                </c:pt>
                <c:pt idx="508">
                  <c:v>0.13278044522042776</c:v>
                </c:pt>
                <c:pt idx="509">
                  <c:v>0.13278044522042776</c:v>
                </c:pt>
                <c:pt idx="510">
                  <c:v>0.13278044522042776</c:v>
                </c:pt>
                <c:pt idx="511">
                  <c:v>0.13278044522042776</c:v>
                </c:pt>
                <c:pt idx="512">
                  <c:v>9.9257965953732041E-2</c:v>
                </c:pt>
                <c:pt idx="513">
                  <c:v>9.9257965953732041E-2</c:v>
                </c:pt>
                <c:pt idx="514">
                  <c:v>9.9257965953732041E-2</c:v>
                </c:pt>
                <c:pt idx="515">
                  <c:v>9.9257965953732041E-2</c:v>
                </c:pt>
                <c:pt idx="516">
                  <c:v>9.9257965953732041E-2</c:v>
                </c:pt>
                <c:pt idx="517">
                  <c:v>0.12108249672632043</c:v>
                </c:pt>
                <c:pt idx="518">
                  <c:v>0.12108249672632043</c:v>
                </c:pt>
                <c:pt idx="519">
                  <c:v>0.12108249672632043</c:v>
                </c:pt>
                <c:pt idx="520">
                  <c:v>0.12108249672632043</c:v>
                </c:pt>
                <c:pt idx="521">
                  <c:v>0.12108249672632043</c:v>
                </c:pt>
                <c:pt idx="522">
                  <c:v>0.11060672195547783</c:v>
                </c:pt>
                <c:pt idx="523">
                  <c:v>0.11060672195547783</c:v>
                </c:pt>
                <c:pt idx="524">
                  <c:v>0.11060672195547783</c:v>
                </c:pt>
                <c:pt idx="525">
                  <c:v>0.11060672195547783</c:v>
                </c:pt>
                <c:pt idx="526">
                  <c:v>0.11060672195547783</c:v>
                </c:pt>
                <c:pt idx="527">
                  <c:v>0.12876473155827139</c:v>
                </c:pt>
                <c:pt idx="528">
                  <c:v>0.12876473155827139</c:v>
                </c:pt>
                <c:pt idx="529">
                  <c:v>0.12876473155827139</c:v>
                </c:pt>
                <c:pt idx="530">
                  <c:v>0.12876473155827139</c:v>
                </c:pt>
                <c:pt idx="531">
                  <c:v>0.12876473155827139</c:v>
                </c:pt>
                <c:pt idx="532">
                  <c:v>0.12544740288083811</c:v>
                </c:pt>
                <c:pt idx="533">
                  <c:v>0.12544740288083811</c:v>
                </c:pt>
                <c:pt idx="534">
                  <c:v>0.12544740288083811</c:v>
                </c:pt>
                <c:pt idx="535">
                  <c:v>0.12544740288083811</c:v>
                </c:pt>
                <c:pt idx="536">
                  <c:v>0.12544740288083811</c:v>
                </c:pt>
                <c:pt idx="537">
                  <c:v>0.12090790048013966</c:v>
                </c:pt>
                <c:pt idx="538">
                  <c:v>0.12090790048013966</c:v>
                </c:pt>
                <c:pt idx="539">
                  <c:v>0.12090790048013966</c:v>
                </c:pt>
                <c:pt idx="540">
                  <c:v>0.12090790048013966</c:v>
                </c:pt>
                <c:pt idx="541">
                  <c:v>0.12090790048013966</c:v>
                </c:pt>
                <c:pt idx="542">
                  <c:v>0.11540811872544743</c:v>
                </c:pt>
                <c:pt idx="543">
                  <c:v>0.11540811872544743</c:v>
                </c:pt>
                <c:pt idx="544">
                  <c:v>0.11540811872544743</c:v>
                </c:pt>
                <c:pt idx="545">
                  <c:v>0.11540811872544743</c:v>
                </c:pt>
                <c:pt idx="546">
                  <c:v>0.11540811872544743</c:v>
                </c:pt>
                <c:pt idx="547">
                  <c:v>0.11732867743343522</c:v>
                </c:pt>
                <c:pt idx="548">
                  <c:v>0.11732867743343522</c:v>
                </c:pt>
                <c:pt idx="549">
                  <c:v>0.11732867743343522</c:v>
                </c:pt>
                <c:pt idx="550">
                  <c:v>0.11732867743343522</c:v>
                </c:pt>
                <c:pt idx="551">
                  <c:v>0.11732867743343522</c:v>
                </c:pt>
                <c:pt idx="552">
                  <c:v>0.1136621562636404</c:v>
                </c:pt>
                <c:pt idx="553">
                  <c:v>0.1136621562636404</c:v>
                </c:pt>
                <c:pt idx="554">
                  <c:v>0.1136621562636404</c:v>
                </c:pt>
                <c:pt idx="555">
                  <c:v>0.1136621562636404</c:v>
                </c:pt>
                <c:pt idx="556">
                  <c:v>0.1136621562636404</c:v>
                </c:pt>
                <c:pt idx="557">
                  <c:v>0.13155827149716282</c:v>
                </c:pt>
                <c:pt idx="558">
                  <c:v>0.13155827149716282</c:v>
                </c:pt>
                <c:pt idx="559">
                  <c:v>0.13155827149716282</c:v>
                </c:pt>
                <c:pt idx="560">
                  <c:v>0.13155827149716282</c:v>
                </c:pt>
                <c:pt idx="561">
                  <c:v>0.13155827149716282</c:v>
                </c:pt>
                <c:pt idx="562">
                  <c:v>0.12483631601920564</c:v>
                </c:pt>
                <c:pt idx="563">
                  <c:v>0.12483631601920564</c:v>
                </c:pt>
                <c:pt idx="564">
                  <c:v>0.12483631601920564</c:v>
                </c:pt>
                <c:pt idx="565">
                  <c:v>0.12483631601920564</c:v>
                </c:pt>
                <c:pt idx="566">
                  <c:v>0.12483631601920564</c:v>
                </c:pt>
                <c:pt idx="567">
                  <c:v>0.11331296377127886</c:v>
                </c:pt>
                <c:pt idx="568">
                  <c:v>0.11331296377127886</c:v>
                </c:pt>
                <c:pt idx="569">
                  <c:v>0.11331296377127886</c:v>
                </c:pt>
                <c:pt idx="570">
                  <c:v>0.11331296377127886</c:v>
                </c:pt>
                <c:pt idx="571">
                  <c:v>0.11331296377127886</c:v>
                </c:pt>
                <c:pt idx="572">
                  <c:v>0.12343954604975993</c:v>
                </c:pt>
                <c:pt idx="573">
                  <c:v>0.12343954604975993</c:v>
                </c:pt>
                <c:pt idx="574">
                  <c:v>0.12343954604975993</c:v>
                </c:pt>
                <c:pt idx="575">
                  <c:v>0.12343954604975993</c:v>
                </c:pt>
                <c:pt idx="576">
                  <c:v>0.12343954604975993</c:v>
                </c:pt>
                <c:pt idx="577">
                  <c:v>0.11549541684853781</c:v>
                </c:pt>
                <c:pt idx="578">
                  <c:v>0.11549541684853781</c:v>
                </c:pt>
                <c:pt idx="579">
                  <c:v>0.11549541684853781</c:v>
                </c:pt>
                <c:pt idx="580">
                  <c:v>0.11549541684853781</c:v>
                </c:pt>
                <c:pt idx="581">
                  <c:v>0.11549541684853781</c:v>
                </c:pt>
                <c:pt idx="582">
                  <c:v>0.10135312090790038</c:v>
                </c:pt>
                <c:pt idx="583">
                  <c:v>0.10135312090790038</c:v>
                </c:pt>
                <c:pt idx="584">
                  <c:v>0.10135312090790038</c:v>
                </c:pt>
                <c:pt idx="585">
                  <c:v>0.10135312090790038</c:v>
                </c:pt>
                <c:pt idx="586">
                  <c:v>0.10135312090790038</c:v>
                </c:pt>
                <c:pt idx="587">
                  <c:v>0.1113051069402009</c:v>
                </c:pt>
                <c:pt idx="588">
                  <c:v>0.1113051069402009</c:v>
                </c:pt>
                <c:pt idx="589">
                  <c:v>0.1113051069402009</c:v>
                </c:pt>
                <c:pt idx="590">
                  <c:v>0.1113051069402009</c:v>
                </c:pt>
                <c:pt idx="591">
                  <c:v>0.1113051069402009</c:v>
                </c:pt>
                <c:pt idx="592">
                  <c:v>0.10746398952422531</c:v>
                </c:pt>
                <c:pt idx="593">
                  <c:v>0.10746398952422531</c:v>
                </c:pt>
                <c:pt idx="594">
                  <c:v>0.10746398952422531</c:v>
                </c:pt>
                <c:pt idx="595">
                  <c:v>0.10746398952422531</c:v>
                </c:pt>
                <c:pt idx="596">
                  <c:v>0.10746398952422531</c:v>
                </c:pt>
                <c:pt idx="597">
                  <c:v>0.10528153644696636</c:v>
                </c:pt>
                <c:pt idx="598">
                  <c:v>0.10528153644696636</c:v>
                </c:pt>
                <c:pt idx="599">
                  <c:v>0.10528153644696636</c:v>
                </c:pt>
                <c:pt idx="600">
                  <c:v>0.10528153644696636</c:v>
                </c:pt>
                <c:pt idx="601">
                  <c:v>0.10528153644696636</c:v>
                </c:pt>
                <c:pt idx="602">
                  <c:v>9.9083369707551272E-2</c:v>
                </c:pt>
                <c:pt idx="603">
                  <c:v>9.9083369707551272E-2</c:v>
                </c:pt>
                <c:pt idx="604">
                  <c:v>9.9083369707551272E-2</c:v>
                </c:pt>
                <c:pt idx="605">
                  <c:v>9.9083369707551272E-2</c:v>
                </c:pt>
                <c:pt idx="606">
                  <c:v>9.9083369707551272E-2</c:v>
                </c:pt>
                <c:pt idx="607">
                  <c:v>0.11051942383238766</c:v>
                </c:pt>
                <c:pt idx="608">
                  <c:v>0.11051942383238766</c:v>
                </c:pt>
                <c:pt idx="609">
                  <c:v>0.11051942383238766</c:v>
                </c:pt>
                <c:pt idx="610">
                  <c:v>0.11051942383238766</c:v>
                </c:pt>
                <c:pt idx="611">
                  <c:v>0.11051942383238766</c:v>
                </c:pt>
                <c:pt idx="612">
                  <c:v>0.11418594500218249</c:v>
                </c:pt>
                <c:pt idx="613">
                  <c:v>0.11418594500218249</c:v>
                </c:pt>
                <c:pt idx="614">
                  <c:v>0.11418594500218249</c:v>
                </c:pt>
                <c:pt idx="615">
                  <c:v>0.11418594500218249</c:v>
                </c:pt>
                <c:pt idx="616">
                  <c:v>0.11418594500218249</c:v>
                </c:pt>
                <c:pt idx="617">
                  <c:v>0.12099519860323005</c:v>
                </c:pt>
                <c:pt idx="618">
                  <c:v>0.12099519860323005</c:v>
                </c:pt>
                <c:pt idx="619">
                  <c:v>0.12099519860323005</c:v>
                </c:pt>
                <c:pt idx="620">
                  <c:v>0.12099519860323005</c:v>
                </c:pt>
                <c:pt idx="621">
                  <c:v>0.12099519860323005</c:v>
                </c:pt>
                <c:pt idx="622">
                  <c:v>0.11759057180270616</c:v>
                </c:pt>
                <c:pt idx="623">
                  <c:v>0.11759057180270616</c:v>
                </c:pt>
                <c:pt idx="624">
                  <c:v>0.11759057180270616</c:v>
                </c:pt>
                <c:pt idx="625">
                  <c:v>0.11759057180270616</c:v>
                </c:pt>
                <c:pt idx="626">
                  <c:v>0.11759057180270616</c:v>
                </c:pt>
                <c:pt idx="627">
                  <c:v>0.11890004364906148</c:v>
                </c:pt>
                <c:pt idx="628">
                  <c:v>0.11890004364906148</c:v>
                </c:pt>
                <c:pt idx="629">
                  <c:v>0.11890004364906148</c:v>
                </c:pt>
                <c:pt idx="630">
                  <c:v>0.11890004364906148</c:v>
                </c:pt>
                <c:pt idx="631">
                  <c:v>0.11890004364906148</c:v>
                </c:pt>
                <c:pt idx="632">
                  <c:v>0.11994762112614588</c:v>
                </c:pt>
                <c:pt idx="633">
                  <c:v>0.11994762112614588</c:v>
                </c:pt>
                <c:pt idx="634">
                  <c:v>0.11994762112614588</c:v>
                </c:pt>
                <c:pt idx="635">
                  <c:v>0.11994762112614588</c:v>
                </c:pt>
                <c:pt idx="636">
                  <c:v>0.11994762112614588</c:v>
                </c:pt>
                <c:pt idx="637">
                  <c:v>0.13539938891313841</c:v>
                </c:pt>
                <c:pt idx="638">
                  <c:v>0.13539938891313841</c:v>
                </c:pt>
                <c:pt idx="639">
                  <c:v>0.13539938891313841</c:v>
                </c:pt>
                <c:pt idx="640">
                  <c:v>0.13539938891313841</c:v>
                </c:pt>
                <c:pt idx="641">
                  <c:v>0.13539938891313841</c:v>
                </c:pt>
                <c:pt idx="642">
                  <c:v>0.13295504146660853</c:v>
                </c:pt>
                <c:pt idx="643">
                  <c:v>0.13295504146660853</c:v>
                </c:pt>
                <c:pt idx="644">
                  <c:v>0.13295504146660853</c:v>
                </c:pt>
                <c:pt idx="645">
                  <c:v>0.13295504146660853</c:v>
                </c:pt>
                <c:pt idx="646">
                  <c:v>0.13295504146660853</c:v>
                </c:pt>
                <c:pt idx="647">
                  <c:v>0.14281972937581844</c:v>
                </c:pt>
                <c:pt idx="648">
                  <c:v>0.14281972937581844</c:v>
                </c:pt>
                <c:pt idx="649">
                  <c:v>0.14281972937581844</c:v>
                </c:pt>
                <c:pt idx="650">
                  <c:v>0.14281972937581844</c:v>
                </c:pt>
                <c:pt idx="651">
                  <c:v>0.14281972937581844</c:v>
                </c:pt>
                <c:pt idx="652">
                  <c:v>0.1344391095591444</c:v>
                </c:pt>
                <c:pt idx="653">
                  <c:v>0.1344391095591444</c:v>
                </c:pt>
                <c:pt idx="654">
                  <c:v>0.1344391095591444</c:v>
                </c:pt>
                <c:pt idx="655">
                  <c:v>0.1344391095591444</c:v>
                </c:pt>
                <c:pt idx="656">
                  <c:v>0.1344391095591444</c:v>
                </c:pt>
                <c:pt idx="657">
                  <c:v>0.13897861195984285</c:v>
                </c:pt>
                <c:pt idx="658">
                  <c:v>0.13897861195984285</c:v>
                </c:pt>
                <c:pt idx="659">
                  <c:v>0.13897861195984285</c:v>
                </c:pt>
                <c:pt idx="660">
                  <c:v>0.13897861195984285</c:v>
                </c:pt>
                <c:pt idx="661">
                  <c:v>0.13897861195984285</c:v>
                </c:pt>
                <c:pt idx="662">
                  <c:v>0.13365342645133138</c:v>
                </c:pt>
                <c:pt idx="663">
                  <c:v>0.13365342645133138</c:v>
                </c:pt>
                <c:pt idx="664">
                  <c:v>0.13365342645133138</c:v>
                </c:pt>
                <c:pt idx="665">
                  <c:v>0.13365342645133138</c:v>
                </c:pt>
                <c:pt idx="666">
                  <c:v>0.13365342645133138</c:v>
                </c:pt>
                <c:pt idx="667">
                  <c:v>0.1312090790048015</c:v>
                </c:pt>
                <c:pt idx="668">
                  <c:v>0.1312090790048015</c:v>
                </c:pt>
                <c:pt idx="669">
                  <c:v>0.1312090790048015</c:v>
                </c:pt>
                <c:pt idx="670">
                  <c:v>0.1312090790048015</c:v>
                </c:pt>
                <c:pt idx="671">
                  <c:v>0.1312090790048015</c:v>
                </c:pt>
                <c:pt idx="672">
                  <c:v>0.12754255783500668</c:v>
                </c:pt>
                <c:pt idx="673">
                  <c:v>0.12754255783500668</c:v>
                </c:pt>
                <c:pt idx="674">
                  <c:v>0.12754255783500668</c:v>
                </c:pt>
                <c:pt idx="675">
                  <c:v>0.12754255783500668</c:v>
                </c:pt>
                <c:pt idx="676">
                  <c:v>0.12754255783500668</c:v>
                </c:pt>
                <c:pt idx="677">
                  <c:v>0.13470100392841555</c:v>
                </c:pt>
                <c:pt idx="678">
                  <c:v>0.13470100392841555</c:v>
                </c:pt>
                <c:pt idx="679">
                  <c:v>0.13470100392841555</c:v>
                </c:pt>
                <c:pt idx="680">
                  <c:v>0.13470100392841555</c:v>
                </c:pt>
                <c:pt idx="681">
                  <c:v>0.13470100392841555</c:v>
                </c:pt>
                <c:pt idx="682">
                  <c:v>0.14395460497599299</c:v>
                </c:pt>
                <c:pt idx="683">
                  <c:v>0.14395460497599299</c:v>
                </c:pt>
                <c:pt idx="684">
                  <c:v>0.14395460497599299</c:v>
                </c:pt>
                <c:pt idx="685">
                  <c:v>0.14395460497599299</c:v>
                </c:pt>
                <c:pt idx="686">
                  <c:v>0.14395460497599299</c:v>
                </c:pt>
                <c:pt idx="687">
                  <c:v>0.1415975556525535</c:v>
                </c:pt>
                <c:pt idx="688">
                  <c:v>0.1415975556525535</c:v>
                </c:pt>
                <c:pt idx="689">
                  <c:v>0.1415975556525535</c:v>
                </c:pt>
                <c:pt idx="690">
                  <c:v>0.1415975556525535</c:v>
                </c:pt>
                <c:pt idx="691">
                  <c:v>0.1415975556525535</c:v>
                </c:pt>
                <c:pt idx="692">
                  <c:v>0.14648625054561326</c:v>
                </c:pt>
                <c:pt idx="693">
                  <c:v>0.14648625054561326</c:v>
                </c:pt>
                <c:pt idx="694">
                  <c:v>0.14648625054561326</c:v>
                </c:pt>
                <c:pt idx="695">
                  <c:v>0.14648625054561326</c:v>
                </c:pt>
                <c:pt idx="696">
                  <c:v>0.14648625054561326</c:v>
                </c:pt>
                <c:pt idx="697">
                  <c:v>0.15879528590135306</c:v>
                </c:pt>
                <c:pt idx="698">
                  <c:v>0.15879528590135306</c:v>
                </c:pt>
                <c:pt idx="699">
                  <c:v>0.15879528590135306</c:v>
                </c:pt>
                <c:pt idx="700">
                  <c:v>0.15879528590135306</c:v>
                </c:pt>
                <c:pt idx="701">
                  <c:v>0.15879528590135306</c:v>
                </c:pt>
                <c:pt idx="702">
                  <c:v>0.16743780008729803</c:v>
                </c:pt>
                <c:pt idx="703">
                  <c:v>0.16743780008729803</c:v>
                </c:pt>
                <c:pt idx="704">
                  <c:v>0.16743780008729803</c:v>
                </c:pt>
                <c:pt idx="705">
                  <c:v>0.16743780008729803</c:v>
                </c:pt>
                <c:pt idx="706">
                  <c:v>0.16743780008729803</c:v>
                </c:pt>
                <c:pt idx="707">
                  <c:v>0.15844609340899174</c:v>
                </c:pt>
                <c:pt idx="708">
                  <c:v>0.15844609340899174</c:v>
                </c:pt>
                <c:pt idx="709">
                  <c:v>0.15844609340899174</c:v>
                </c:pt>
                <c:pt idx="710">
                  <c:v>0.15844609340899174</c:v>
                </c:pt>
                <c:pt idx="711">
                  <c:v>0.15844609340899174</c:v>
                </c:pt>
                <c:pt idx="712">
                  <c:v>0.15504146660846785</c:v>
                </c:pt>
                <c:pt idx="713">
                  <c:v>0.15504146660846785</c:v>
                </c:pt>
                <c:pt idx="714">
                  <c:v>0.15504146660846785</c:v>
                </c:pt>
                <c:pt idx="715">
                  <c:v>0.15504146660846785</c:v>
                </c:pt>
                <c:pt idx="716">
                  <c:v>0.15504146660846785</c:v>
                </c:pt>
                <c:pt idx="717">
                  <c:v>0.16368398079441282</c:v>
                </c:pt>
                <c:pt idx="718">
                  <c:v>0.16368398079441282</c:v>
                </c:pt>
                <c:pt idx="719">
                  <c:v>0.16368398079441282</c:v>
                </c:pt>
                <c:pt idx="720">
                  <c:v>0.16368398079441282</c:v>
                </c:pt>
                <c:pt idx="721">
                  <c:v>0.16368398079441282</c:v>
                </c:pt>
                <c:pt idx="722">
                  <c:v>0.15818419903972059</c:v>
                </c:pt>
                <c:pt idx="723">
                  <c:v>0.15818419903972059</c:v>
                </c:pt>
                <c:pt idx="724">
                  <c:v>0.15818419903972059</c:v>
                </c:pt>
                <c:pt idx="725">
                  <c:v>0.15818419903972059</c:v>
                </c:pt>
                <c:pt idx="726">
                  <c:v>0.15818419903972059</c:v>
                </c:pt>
                <c:pt idx="727">
                  <c:v>0.16368398079441282</c:v>
                </c:pt>
                <c:pt idx="728">
                  <c:v>0.16368398079441282</c:v>
                </c:pt>
                <c:pt idx="729">
                  <c:v>0.16368398079441282</c:v>
                </c:pt>
                <c:pt idx="730">
                  <c:v>0.16368398079441282</c:v>
                </c:pt>
                <c:pt idx="731">
                  <c:v>0.16368398079441282</c:v>
                </c:pt>
                <c:pt idx="732">
                  <c:v>0.17119161938018346</c:v>
                </c:pt>
                <c:pt idx="733">
                  <c:v>0.17119161938018346</c:v>
                </c:pt>
                <c:pt idx="734">
                  <c:v>0.17119161938018346</c:v>
                </c:pt>
                <c:pt idx="735">
                  <c:v>0.17119161938018346</c:v>
                </c:pt>
                <c:pt idx="736">
                  <c:v>0.17119161938018346</c:v>
                </c:pt>
                <c:pt idx="737">
                  <c:v>0.16735050196420764</c:v>
                </c:pt>
                <c:pt idx="738">
                  <c:v>0.16735050196420764</c:v>
                </c:pt>
                <c:pt idx="739">
                  <c:v>0.16735050196420764</c:v>
                </c:pt>
                <c:pt idx="740">
                  <c:v>0.16735050196420764</c:v>
                </c:pt>
                <c:pt idx="741">
                  <c:v>0.16735050196420764</c:v>
                </c:pt>
                <c:pt idx="742">
                  <c:v>0.16516804888694891</c:v>
                </c:pt>
                <c:pt idx="743">
                  <c:v>0.16516804888694891</c:v>
                </c:pt>
                <c:pt idx="744">
                  <c:v>0.16516804888694891</c:v>
                </c:pt>
                <c:pt idx="745">
                  <c:v>0.16516804888694891</c:v>
                </c:pt>
                <c:pt idx="746">
                  <c:v>0.16516804888694891</c:v>
                </c:pt>
                <c:pt idx="747">
                  <c:v>0.16857267568747258</c:v>
                </c:pt>
                <c:pt idx="748">
                  <c:v>0.16857267568747258</c:v>
                </c:pt>
                <c:pt idx="749">
                  <c:v>0.16857267568747258</c:v>
                </c:pt>
                <c:pt idx="750">
                  <c:v>0.16857267568747258</c:v>
                </c:pt>
                <c:pt idx="751">
                  <c:v>0.16857267568747258</c:v>
                </c:pt>
                <c:pt idx="752">
                  <c:v>0.16944565691837621</c:v>
                </c:pt>
                <c:pt idx="753">
                  <c:v>0.16944565691837621</c:v>
                </c:pt>
                <c:pt idx="754">
                  <c:v>0.16944565691837621</c:v>
                </c:pt>
                <c:pt idx="755">
                  <c:v>0.16944565691837621</c:v>
                </c:pt>
                <c:pt idx="756">
                  <c:v>0.16944565691837621</c:v>
                </c:pt>
                <c:pt idx="757">
                  <c:v>0.16848537756438242</c:v>
                </c:pt>
                <c:pt idx="758">
                  <c:v>0.16848537756438242</c:v>
                </c:pt>
                <c:pt idx="759">
                  <c:v>0.16848537756438242</c:v>
                </c:pt>
                <c:pt idx="760">
                  <c:v>0.16848537756438242</c:v>
                </c:pt>
                <c:pt idx="761">
                  <c:v>0.16848537756438242</c:v>
                </c:pt>
                <c:pt idx="762">
                  <c:v>0.16621562636403309</c:v>
                </c:pt>
                <c:pt idx="763">
                  <c:v>0.16621562636403309</c:v>
                </c:pt>
                <c:pt idx="764">
                  <c:v>0.16621562636403309</c:v>
                </c:pt>
                <c:pt idx="765">
                  <c:v>0.16621562636403309</c:v>
                </c:pt>
                <c:pt idx="766">
                  <c:v>0.16621562636403309</c:v>
                </c:pt>
                <c:pt idx="767">
                  <c:v>0.1637712789175032</c:v>
                </c:pt>
                <c:pt idx="768">
                  <c:v>0.1637712789175032</c:v>
                </c:pt>
                <c:pt idx="769">
                  <c:v>0.1637712789175032</c:v>
                </c:pt>
                <c:pt idx="770">
                  <c:v>0.1637712789175032</c:v>
                </c:pt>
                <c:pt idx="771">
                  <c:v>0.1637712789175032</c:v>
                </c:pt>
                <c:pt idx="772">
                  <c:v>0.15966826713225668</c:v>
                </c:pt>
                <c:pt idx="773">
                  <c:v>0.15966826713225668</c:v>
                </c:pt>
                <c:pt idx="774">
                  <c:v>0.15966826713225668</c:v>
                </c:pt>
                <c:pt idx="775">
                  <c:v>0.15966826713225668</c:v>
                </c:pt>
                <c:pt idx="776">
                  <c:v>0.15966826713225668</c:v>
                </c:pt>
                <c:pt idx="777">
                  <c:v>0.16473155827149721</c:v>
                </c:pt>
                <c:pt idx="778">
                  <c:v>0.16473155827149721</c:v>
                </c:pt>
                <c:pt idx="779">
                  <c:v>0.16473155827149721</c:v>
                </c:pt>
                <c:pt idx="780">
                  <c:v>0.16473155827149721</c:v>
                </c:pt>
                <c:pt idx="781">
                  <c:v>0.16473155827149721</c:v>
                </c:pt>
                <c:pt idx="782">
                  <c:v>0.16307289393278057</c:v>
                </c:pt>
                <c:pt idx="783">
                  <c:v>0.16307289393278057</c:v>
                </c:pt>
                <c:pt idx="784">
                  <c:v>0.16307289393278057</c:v>
                </c:pt>
                <c:pt idx="785">
                  <c:v>0.16307289393278057</c:v>
                </c:pt>
                <c:pt idx="786">
                  <c:v>0.16307289393278057</c:v>
                </c:pt>
                <c:pt idx="787">
                  <c:v>0.16123963334788294</c:v>
                </c:pt>
                <c:pt idx="788">
                  <c:v>0.16123963334788294</c:v>
                </c:pt>
                <c:pt idx="789">
                  <c:v>0.16123963334788294</c:v>
                </c:pt>
                <c:pt idx="790">
                  <c:v>0.16123963334788294</c:v>
                </c:pt>
                <c:pt idx="791">
                  <c:v>0.16123963334788294</c:v>
                </c:pt>
                <c:pt idx="792">
                  <c:v>0.16368398079441282</c:v>
                </c:pt>
                <c:pt idx="793">
                  <c:v>0.16368398079441282</c:v>
                </c:pt>
                <c:pt idx="794">
                  <c:v>0.16368398079441282</c:v>
                </c:pt>
                <c:pt idx="795">
                  <c:v>0.16368398079441282</c:v>
                </c:pt>
                <c:pt idx="796">
                  <c:v>0.16368398079441282</c:v>
                </c:pt>
                <c:pt idx="797">
                  <c:v>0.15835879528590135</c:v>
                </c:pt>
                <c:pt idx="798">
                  <c:v>0.15835879528590135</c:v>
                </c:pt>
                <c:pt idx="799">
                  <c:v>0.15835879528590135</c:v>
                </c:pt>
                <c:pt idx="800">
                  <c:v>0.15835879528590135</c:v>
                </c:pt>
                <c:pt idx="801">
                  <c:v>0.15835879528590135</c:v>
                </c:pt>
                <c:pt idx="802">
                  <c:v>0.16455696202531644</c:v>
                </c:pt>
                <c:pt idx="803">
                  <c:v>0.16455696202531644</c:v>
                </c:pt>
                <c:pt idx="804">
                  <c:v>0.16455696202531644</c:v>
                </c:pt>
                <c:pt idx="805">
                  <c:v>0.16455696202531644</c:v>
                </c:pt>
                <c:pt idx="806">
                  <c:v>0.16455696202531644</c:v>
                </c:pt>
                <c:pt idx="807">
                  <c:v>0.16150152771715409</c:v>
                </c:pt>
                <c:pt idx="808">
                  <c:v>0.16150152771715409</c:v>
                </c:pt>
                <c:pt idx="809">
                  <c:v>0.16150152771715409</c:v>
                </c:pt>
                <c:pt idx="810">
                  <c:v>0.16150152771715409</c:v>
                </c:pt>
                <c:pt idx="811">
                  <c:v>0.16150152771715409</c:v>
                </c:pt>
                <c:pt idx="812">
                  <c:v>0.17031863814927983</c:v>
                </c:pt>
                <c:pt idx="813">
                  <c:v>0.17031863814927983</c:v>
                </c:pt>
                <c:pt idx="814">
                  <c:v>0.17031863814927983</c:v>
                </c:pt>
                <c:pt idx="815">
                  <c:v>0.17031863814927983</c:v>
                </c:pt>
                <c:pt idx="816">
                  <c:v>0.17031863814927983</c:v>
                </c:pt>
                <c:pt idx="817">
                  <c:v>0.18446093408991704</c:v>
                </c:pt>
                <c:pt idx="818">
                  <c:v>0.18446093408991704</c:v>
                </c:pt>
                <c:pt idx="819">
                  <c:v>0.18446093408991704</c:v>
                </c:pt>
                <c:pt idx="820">
                  <c:v>0.18446093408991704</c:v>
                </c:pt>
                <c:pt idx="821">
                  <c:v>0.18446093408991704</c:v>
                </c:pt>
                <c:pt idx="822">
                  <c:v>0.18812745525971186</c:v>
                </c:pt>
                <c:pt idx="823">
                  <c:v>0.18812745525971186</c:v>
                </c:pt>
                <c:pt idx="824">
                  <c:v>0.18812745525971186</c:v>
                </c:pt>
                <c:pt idx="825">
                  <c:v>0.18812745525971186</c:v>
                </c:pt>
                <c:pt idx="826">
                  <c:v>0.18812745525971186</c:v>
                </c:pt>
                <c:pt idx="827">
                  <c:v>0.19965080750763864</c:v>
                </c:pt>
                <c:pt idx="828">
                  <c:v>0.19965080750763864</c:v>
                </c:pt>
                <c:pt idx="829">
                  <c:v>0.19965080750763864</c:v>
                </c:pt>
                <c:pt idx="830">
                  <c:v>0.19965080750763864</c:v>
                </c:pt>
                <c:pt idx="831">
                  <c:v>0.19965080750763864</c:v>
                </c:pt>
                <c:pt idx="832">
                  <c:v>0.24338716717590581</c:v>
                </c:pt>
                <c:pt idx="833">
                  <c:v>0.24338716717590581</c:v>
                </c:pt>
                <c:pt idx="834">
                  <c:v>0.24338716717590581</c:v>
                </c:pt>
                <c:pt idx="835">
                  <c:v>0.24338716717590581</c:v>
                </c:pt>
                <c:pt idx="836">
                  <c:v>0.24338716717590581</c:v>
                </c:pt>
                <c:pt idx="837">
                  <c:v>0.23378437363596682</c:v>
                </c:pt>
                <c:pt idx="838">
                  <c:v>0.23378437363596682</c:v>
                </c:pt>
                <c:pt idx="839">
                  <c:v>0.23378437363596682</c:v>
                </c:pt>
                <c:pt idx="840">
                  <c:v>0.23378437363596682</c:v>
                </c:pt>
                <c:pt idx="841">
                  <c:v>0.23378437363596682</c:v>
                </c:pt>
                <c:pt idx="842">
                  <c:v>0.2248799650807507</c:v>
                </c:pt>
                <c:pt idx="843">
                  <c:v>0.2248799650807507</c:v>
                </c:pt>
                <c:pt idx="844">
                  <c:v>0.2248799650807507</c:v>
                </c:pt>
                <c:pt idx="845">
                  <c:v>0.2248799650807507</c:v>
                </c:pt>
                <c:pt idx="846">
                  <c:v>0.2248799650807507</c:v>
                </c:pt>
                <c:pt idx="847">
                  <c:v>0.23849847228284582</c:v>
                </c:pt>
                <c:pt idx="848">
                  <c:v>0.23849847228284582</c:v>
                </c:pt>
                <c:pt idx="849">
                  <c:v>0.23849847228284582</c:v>
                </c:pt>
                <c:pt idx="850">
                  <c:v>0.23849847228284582</c:v>
                </c:pt>
                <c:pt idx="851">
                  <c:v>0.23849847228284582</c:v>
                </c:pt>
                <c:pt idx="852">
                  <c:v>0.25517241379310351</c:v>
                </c:pt>
                <c:pt idx="853">
                  <c:v>0.25517241379310351</c:v>
                </c:pt>
                <c:pt idx="854">
                  <c:v>0.25517241379310351</c:v>
                </c:pt>
                <c:pt idx="855">
                  <c:v>0.25517241379310351</c:v>
                </c:pt>
                <c:pt idx="856">
                  <c:v>0.25517241379310351</c:v>
                </c:pt>
                <c:pt idx="857">
                  <c:v>0.23867306852902659</c:v>
                </c:pt>
                <c:pt idx="858">
                  <c:v>0.23867306852902659</c:v>
                </c:pt>
                <c:pt idx="859">
                  <c:v>0.23867306852902659</c:v>
                </c:pt>
                <c:pt idx="860">
                  <c:v>0.23867306852902659</c:v>
                </c:pt>
                <c:pt idx="861">
                  <c:v>0.23867306852902659</c:v>
                </c:pt>
                <c:pt idx="862">
                  <c:v>0.24687909209951986</c:v>
                </c:pt>
                <c:pt idx="863">
                  <c:v>0.24687909209951986</c:v>
                </c:pt>
                <c:pt idx="864">
                  <c:v>0.24687909209951986</c:v>
                </c:pt>
                <c:pt idx="865">
                  <c:v>0.24687909209951986</c:v>
                </c:pt>
                <c:pt idx="866">
                  <c:v>0.24687909209951986</c:v>
                </c:pt>
                <c:pt idx="867">
                  <c:v>0.24347446529899597</c:v>
                </c:pt>
                <c:pt idx="868">
                  <c:v>0.24347446529899597</c:v>
                </c:pt>
                <c:pt idx="869">
                  <c:v>0.24347446529899597</c:v>
                </c:pt>
                <c:pt idx="870">
                  <c:v>0.24347446529899597</c:v>
                </c:pt>
                <c:pt idx="871">
                  <c:v>0.24347446529899597</c:v>
                </c:pt>
                <c:pt idx="872">
                  <c:v>0.23753819292885203</c:v>
                </c:pt>
                <c:pt idx="873">
                  <c:v>0.23753819292885203</c:v>
                </c:pt>
                <c:pt idx="874">
                  <c:v>0.23753819292885203</c:v>
                </c:pt>
                <c:pt idx="875">
                  <c:v>0.23753819292885203</c:v>
                </c:pt>
                <c:pt idx="876">
                  <c:v>0.23753819292885203</c:v>
                </c:pt>
                <c:pt idx="877">
                  <c:v>0.23675250982103879</c:v>
                </c:pt>
                <c:pt idx="878">
                  <c:v>0.23675250982103879</c:v>
                </c:pt>
                <c:pt idx="879">
                  <c:v>0.23675250982103879</c:v>
                </c:pt>
                <c:pt idx="880">
                  <c:v>0.23675250982103879</c:v>
                </c:pt>
                <c:pt idx="881">
                  <c:v>0.23675250982103879</c:v>
                </c:pt>
                <c:pt idx="882">
                  <c:v>0.25604539502400692</c:v>
                </c:pt>
                <c:pt idx="883">
                  <c:v>0.25604539502400692</c:v>
                </c:pt>
                <c:pt idx="884">
                  <c:v>0.25604539502400692</c:v>
                </c:pt>
                <c:pt idx="885">
                  <c:v>0.25604539502400692</c:v>
                </c:pt>
                <c:pt idx="886">
                  <c:v>0.25604539502400692</c:v>
                </c:pt>
                <c:pt idx="887">
                  <c:v>0.24818856394587518</c:v>
                </c:pt>
                <c:pt idx="888">
                  <c:v>0.24818856394587518</c:v>
                </c:pt>
                <c:pt idx="889">
                  <c:v>0.24818856394587518</c:v>
                </c:pt>
                <c:pt idx="890">
                  <c:v>0.24818856394587518</c:v>
                </c:pt>
                <c:pt idx="891">
                  <c:v>0.24818856394587518</c:v>
                </c:pt>
                <c:pt idx="892">
                  <c:v>0.2428633784373635</c:v>
                </c:pt>
                <c:pt idx="893">
                  <c:v>0.2428633784373635</c:v>
                </c:pt>
                <c:pt idx="894">
                  <c:v>0.2428633784373635</c:v>
                </c:pt>
                <c:pt idx="895">
                  <c:v>0.2428633784373635</c:v>
                </c:pt>
                <c:pt idx="896">
                  <c:v>0.2428633784373635</c:v>
                </c:pt>
                <c:pt idx="897">
                  <c:v>0.27577477084242696</c:v>
                </c:pt>
                <c:pt idx="898">
                  <c:v>0.27577477084242696</c:v>
                </c:pt>
                <c:pt idx="899">
                  <c:v>0.27577477084242696</c:v>
                </c:pt>
                <c:pt idx="900">
                  <c:v>0.27577477084242696</c:v>
                </c:pt>
                <c:pt idx="901">
                  <c:v>0.27577477084242696</c:v>
                </c:pt>
                <c:pt idx="902">
                  <c:v>0.25744216499345263</c:v>
                </c:pt>
                <c:pt idx="903">
                  <c:v>0.25744216499345263</c:v>
                </c:pt>
                <c:pt idx="904">
                  <c:v>0.25744216499345263</c:v>
                </c:pt>
                <c:pt idx="905">
                  <c:v>0.25744216499345263</c:v>
                </c:pt>
                <c:pt idx="906">
                  <c:v>0.25744216499345263</c:v>
                </c:pt>
                <c:pt idx="907">
                  <c:v>0.25866433871671757</c:v>
                </c:pt>
                <c:pt idx="908">
                  <c:v>0.25866433871671757</c:v>
                </c:pt>
                <c:pt idx="909">
                  <c:v>0.25866433871671757</c:v>
                </c:pt>
                <c:pt idx="910">
                  <c:v>0.25866433871671757</c:v>
                </c:pt>
                <c:pt idx="911">
                  <c:v>0.25866433871671757</c:v>
                </c:pt>
                <c:pt idx="912">
                  <c:v>0.25953731994762119</c:v>
                </c:pt>
                <c:pt idx="913">
                  <c:v>0.25953731994762119</c:v>
                </c:pt>
                <c:pt idx="914">
                  <c:v>0.25953731994762119</c:v>
                </c:pt>
                <c:pt idx="915">
                  <c:v>0.25953731994762119</c:v>
                </c:pt>
                <c:pt idx="916">
                  <c:v>0.25953731994762119</c:v>
                </c:pt>
                <c:pt idx="917">
                  <c:v>0.24958533391532089</c:v>
                </c:pt>
                <c:pt idx="918">
                  <c:v>0.24958533391532089</c:v>
                </c:pt>
                <c:pt idx="919">
                  <c:v>0.24958533391532089</c:v>
                </c:pt>
                <c:pt idx="920">
                  <c:v>0.24958533391532089</c:v>
                </c:pt>
                <c:pt idx="921">
                  <c:v>0.24958533391532089</c:v>
                </c:pt>
                <c:pt idx="922">
                  <c:v>0.25333915320820588</c:v>
                </c:pt>
                <c:pt idx="923">
                  <c:v>0.25333915320820588</c:v>
                </c:pt>
                <c:pt idx="924">
                  <c:v>0.25333915320820588</c:v>
                </c:pt>
                <c:pt idx="925">
                  <c:v>0.25333915320820588</c:v>
                </c:pt>
                <c:pt idx="926">
                  <c:v>0.25333915320820588</c:v>
                </c:pt>
                <c:pt idx="927">
                  <c:v>0.26660846791793968</c:v>
                </c:pt>
                <c:pt idx="928">
                  <c:v>0.26660846791793968</c:v>
                </c:pt>
                <c:pt idx="929">
                  <c:v>0.26660846791793968</c:v>
                </c:pt>
                <c:pt idx="930">
                  <c:v>0.26660846791793968</c:v>
                </c:pt>
                <c:pt idx="931">
                  <c:v>0.26660846791793968</c:v>
                </c:pt>
                <c:pt idx="932">
                  <c:v>0.26198166739415107</c:v>
                </c:pt>
                <c:pt idx="933">
                  <c:v>0.26198166739415107</c:v>
                </c:pt>
                <c:pt idx="934">
                  <c:v>0.26198166739415107</c:v>
                </c:pt>
                <c:pt idx="935">
                  <c:v>0.26198166739415107</c:v>
                </c:pt>
                <c:pt idx="936">
                  <c:v>0.26198166739415107</c:v>
                </c:pt>
                <c:pt idx="937">
                  <c:v>0.27376691401134878</c:v>
                </c:pt>
                <c:pt idx="938">
                  <c:v>0.27376691401134878</c:v>
                </c:pt>
                <c:pt idx="939">
                  <c:v>0.27376691401134878</c:v>
                </c:pt>
                <c:pt idx="940">
                  <c:v>0.27376691401134878</c:v>
                </c:pt>
                <c:pt idx="941">
                  <c:v>0.27376691401134878</c:v>
                </c:pt>
                <c:pt idx="942">
                  <c:v>0.27359231776516801</c:v>
                </c:pt>
                <c:pt idx="943">
                  <c:v>0.27359231776516801</c:v>
                </c:pt>
                <c:pt idx="944">
                  <c:v>0.27359231776516801</c:v>
                </c:pt>
                <c:pt idx="945">
                  <c:v>0.27359231776516801</c:v>
                </c:pt>
                <c:pt idx="946">
                  <c:v>0.27359231776516801</c:v>
                </c:pt>
                <c:pt idx="947">
                  <c:v>0.28101265822784804</c:v>
                </c:pt>
                <c:pt idx="948">
                  <c:v>0.28101265822784804</c:v>
                </c:pt>
                <c:pt idx="949">
                  <c:v>0.28101265822784804</c:v>
                </c:pt>
                <c:pt idx="950">
                  <c:v>0.28101265822784804</c:v>
                </c:pt>
                <c:pt idx="951">
                  <c:v>0.28101265822784804</c:v>
                </c:pt>
                <c:pt idx="952">
                  <c:v>0.27271933653426461</c:v>
                </c:pt>
                <c:pt idx="953">
                  <c:v>0.27271933653426461</c:v>
                </c:pt>
                <c:pt idx="954">
                  <c:v>0.27271933653426461</c:v>
                </c:pt>
                <c:pt idx="955">
                  <c:v>0.27271933653426461</c:v>
                </c:pt>
                <c:pt idx="956">
                  <c:v>0.27271933653426461</c:v>
                </c:pt>
                <c:pt idx="957">
                  <c:v>0.27010039284155396</c:v>
                </c:pt>
                <c:pt idx="958">
                  <c:v>0.27010039284155396</c:v>
                </c:pt>
                <c:pt idx="959">
                  <c:v>0.27010039284155396</c:v>
                </c:pt>
                <c:pt idx="960">
                  <c:v>0.27010039284155396</c:v>
                </c:pt>
                <c:pt idx="961">
                  <c:v>0.27010039284155396</c:v>
                </c:pt>
                <c:pt idx="962">
                  <c:v>0.29305979921431691</c:v>
                </c:pt>
                <c:pt idx="963">
                  <c:v>0.29305979921431691</c:v>
                </c:pt>
                <c:pt idx="964">
                  <c:v>0.29305979921431691</c:v>
                </c:pt>
                <c:pt idx="965">
                  <c:v>0.29305979921431691</c:v>
                </c:pt>
                <c:pt idx="966">
                  <c:v>0.29305979921431691</c:v>
                </c:pt>
                <c:pt idx="967">
                  <c:v>0.2912265386294195</c:v>
                </c:pt>
                <c:pt idx="968">
                  <c:v>0.2912265386294195</c:v>
                </c:pt>
                <c:pt idx="969">
                  <c:v>0.2912265386294195</c:v>
                </c:pt>
                <c:pt idx="970">
                  <c:v>0.2912265386294195</c:v>
                </c:pt>
                <c:pt idx="971">
                  <c:v>0.2912265386294195</c:v>
                </c:pt>
                <c:pt idx="972">
                  <c:v>0.29096464426014834</c:v>
                </c:pt>
                <c:pt idx="973">
                  <c:v>0.29096464426014834</c:v>
                </c:pt>
                <c:pt idx="974">
                  <c:v>0.29096464426014834</c:v>
                </c:pt>
                <c:pt idx="975">
                  <c:v>0.29096464426014834</c:v>
                </c:pt>
                <c:pt idx="976">
                  <c:v>0.29096464426014834</c:v>
                </c:pt>
                <c:pt idx="977">
                  <c:v>0.29079004801396757</c:v>
                </c:pt>
                <c:pt idx="978">
                  <c:v>0.29079004801396757</c:v>
                </c:pt>
                <c:pt idx="979">
                  <c:v>0.29079004801396757</c:v>
                </c:pt>
                <c:pt idx="980">
                  <c:v>0.29079004801396757</c:v>
                </c:pt>
                <c:pt idx="981">
                  <c:v>0.29079004801396757</c:v>
                </c:pt>
                <c:pt idx="982">
                  <c:v>0.28869489305979923</c:v>
                </c:pt>
                <c:pt idx="983">
                  <c:v>0.28869489305979923</c:v>
                </c:pt>
                <c:pt idx="984">
                  <c:v>0.28869489305979923</c:v>
                </c:pt>
                <c:pt idx="985">
                  <c:v>0.28869489305979923</c:v>
                </c:pt>
                <c:pt idx="986">
                  <c:v>0.28869489305979923</c:v>
                </c:pt>
                <c:pt idx="987">
                  <c:v>0.2973374072457442</c:v>
                </c:pt>
                <c:pt idx="988">
                  <c:v>0.2973374072457442</c:v>
                </c:pt>
                <c:pt idx="989">
                  <c:v>0.2973374072457442</c:v>
                </c:pt>
                <c:pt idx="990">
                  <c:v>0.2973374072457442</c:v>
                </c:pt>
                <c:pt idx="991">
                  <c:v>0.2973374072457442</c:v>
                </c:pt>
                <c:pt idx="992">
                  <c:v>0.29410737669140108</c:v>
                </c:pt>
                <c:pt idx="993">
                  <c:v>0.29410737669140108</c:v>
                </c:pt>
                <c:pt idx="994">
                  <c:v>0.29410737669140108</c:v>
                </c:pt>
                <c:pt idx="995">
                  <c:v>0.29410737669140108</c:v>
                </c:pt>
                <c:pt idx="996">
                  <c:v>0.29410737669140108</c:v>
                </c:pt>
                <c:pt idx="997">
                  <c:v>0.30371017023134006</c:v>
                </c:pt>
                <c:pt idx="998">
                  <c:v>0.30371017023134006</c:v>
                </c:pt>
                <c:pt idx="999">
                  <c:v>0.30371017023134006</c:v>
                </c:pt>
                <c:pt idx="1000">
                  <c:v>0.30371017023134006</c:v>
                </c:pt>
                <c:pt idx="1001">
                  <c:v>0.30371017023134006</c:v>
                </c:pt>
                <c:pt idx="1002">
                  <c:v>0.30021824530772578</c:v>
                </c:pt>
                <c:pt idx="1003">
                  <c:v>0.30021824530772578</c:v>
                </c:pt>
                <c:pt idx="1004">
                  <c:v>0.30021824530772578</c:v>
                </c:pt>
                <c:pt idx="1005">
                  <c:v>0.30021824530772578</c:v>
                </c:pt>
                <c:pt idx="1006">
                  <c:v>0.30021824530772578</c:v>
                </c:pt>
                <c:pt idx="1007">
                  <c:v>0.30798777826276735</c:v>
                </c:pt>
                <c:pt idx="1008">
                  <c:v>0.30798777826276735</c:v>
                </c:pt>
                <c:pt idx="1009">
                  <c:v>0.30798777826276735</c:v>
                </c:pt>
                <c:pt idx="1010">
                  <c:v>0.30798777826276735</c:v>
                </c:pt>
                <c:pt idx="1011">
                  <c:v>0.30798777826276735</c:v>
                </c:pt>
                <c:pt idx="1012">
                  <c:v>0.32605848974247054</c:v>
                </c:pt>
                <c:pt idx="1013">
                  <c:v>0.32605848974247054</c:v>
                </c:pt>
                <c:pt idx="1014">
                  <c:v>0.32605848974247054</c:v>
                </c:pt>
                <c:pt idx="1015">
                  <c:v>0.32605848974247054</c:v>
                </c:pt>
                <c:pt idx="1016">
                  <c:v>0.32605848974247054</c:v>
                </c:pt>
                <c:pt idx="1017">
                  <c:v>0.30371017023134006</c:v>
                </c:pt>
                <c:pt idx="1018">
                  <c:v>0.30371017023134006</c:v>
                </c:pt>
                <c:pt idx="1019">
                  <c:v>0.30371017023134006</c:v>
                </c:pt>
                <c:pt idx="1020">
                  <c:v>0.30371017023134006</c:v>
                </c:pt>
                <c:pt idx="1021">
                  <c:v>0.30371017023134006</c:v>
                </c:pt>
                <c:pt idx="1022">
                  <c:v>0.33583587952859006</c:v>
                </c:pt>
                <c:pt idx="1023">
                  <c:v>0.33583587952859006</c:v>
                </c:pt>
                <c:pt idx="1024">
                  <c:v>0.33583587952859006</c:v>
                </c:pt>
                <c:pt idx="1025">
                  <c:v>0.33583587952859006</c:v>
                </c:pt>
                <c:pt idx="1026">
                  <c:v>0.33583587952859006</c:v>
                </c:pt>
                <c:pt idx="1027">
                  <c:v>0.30903535573985152</c:v>
                </c:pt>
                <c:pt idx="1028">
                  <c:v>0.30903535573985152</c:v>
                </c:pt>
                <c:pt idx="1029">
                  <c:v>0.30903535573985152</c:v>
                </c:pt>
                <c:pt idx="1030">
                  <c:v>0.30903535573985152</c:v>
                </c:pt>
                <c:pt idx="1031">
                  <c:v>0.30903535573985152</c:v>
                </c:pt>
                <c:pt idx="1032">
                  <c:v>0.28642514185945012</c:v>
                </c:pt>
                <c:pt idx="1033">
                  <c:v>0.28642514185945012</c:v>
                </c:pt>
                <c:pt idx="1034">
                  <c:v>0.28642514185945012</c:v>
                </c:pt>
                <c:pt idx="1035">
                  <c:v>0.28642514185945012</c:v>
                </c:pt>
                <c:pt idx="1036">
                  <c:v>0.28642514185945012</c:v>
                </c:pt>
                <c:pt idx="1037">
                  <c:v>0.31540811872544738</c:v>
                </c:pt>
                <c:pt idx="1038">
                  <c:v>0.31540811872544738</c:v>
                </c:pt>
                <c:pt idx="1039">
                  <c:v>0.31540811872544738</c:v>
                </c:pt>
                <c:pt idx="1040">
                  <c:v>0.31540811872544738</c:v>
                </c:pt>
                <c:pt idx="1041">
                  <c:v>0.31540811872544738</c:v>
                </c:pt>
                <c:pt idx="1042">
                  <c:v>0.3134002618943692</c:v>
                </c:pt>
                <c:pt idx="1043">
                  <c:v>0.3134002618943692</c:v>
                </c:pt>
                <c:pt idx="1044">
                  <c:v>0.3134002618943692</c:v>
                </c:pt>
                <c:pt idx="1045">
                  <c:v>0.3134002618943692</c:v>
                </c:pt>
                <c:pt idx="1046">
                  <c:v>0.3134002618943692</c:v>
                </c:pt>
                <c:pt idx="1047">
                  <c:v>0.28511567001309479</c:v>
                </c:pt>
                <c:pt idx="1048">
                  <c:v>0.28511567001309479</c:v>
                </c:pt>
                <c:pt idx="1049">
                  <c:v>0.28511567001309479</c:v>
                </c:pt>
                <c:pt idx="1050">
                  <c:v>0.28511567001309479</c:v>
                </c:pt>
                <c:pt idx="1051">
                  <c:v>0.28511567001309479</c:v>
                </c:pt>
                <c:pt idx="1052">
                  <c:v>0.31366215626364036</c:v>
                </c:pt>
                <c:pt idx="1053">
                  <c:v>0.31366215626364036</c:v>
                </c:pt>
                <c:pt idx="1054">
                  <c:v>0.31366215626364036</c:v>
                </c:pt>
                <c:pt idx="1055">
                  <c:v>0.31366215626364036</c:v>
                </c:pt>
                <c:pt idx="1056">
                  <c:v>0.31366215626364036</c:v>
                </c:pt>
                <c:pt idx="1057">
                  <c:v>0.299257965953732</c:v>
                </c:pt>
                <c:pt idx="1058">
                  <c:v>0.299257965953732</c:v>
                </c:pt>
                <c:pt idx="1059">
                  <c:v>0.299257965953732</c:v>
                </c:pt>
                <c:pt idx="1060">
                  <c:v>0.299257965953732</c:v>
                </c:pt>
                <c:pt idx="1061">
                  <c:v>0.299257965953732</c:v>
                </c:pt>
                <c:pt idx="1062">
                  <c:v>0.31959842863378429</c:v>
                </c:pt>
                <c:pt idx="1063">
                  <c:v>0.31959842863378429</c:v>
                </c:pt>
                <c:pt idx="1064">
                  <c:v>0.31959842863378429</c:v>
                </c:pt>
                <c:pt idx="1065">
                  <c:v>0.31959842863378429</c:v>
                </c:pt>
                <c:pt idx="1066">
                  <c:v>0.31959842863378429</c:v>
                </c:pt>
                <c:pt idx="1067">
                  <c:v>0.25141859450021831</c:v>
                </c:pt>
                <c:pt idx="1068">
                  <c:v>0.25141859450021831</c:v>
                </c:pt>
                <c:pt idx="1069">
                  <c:v>0.25141859450021831</c:v>
                </c:pt>
                <c:pt idx="1070">
                  <c:v>0.25141859450021831</c:v>
                </c:pt>
                <c:pt idx="1071">
                  <c:v>0.25141859450021831</c:v>
                </c:pt>
                <c:pt idx="1072">
                  <c:v>0.31645569620253156</c:v>
                </c:pt>
                <c:pt idx="1073">
                  <c:v>0.31645569620253156</c:v>
                </c:pt>
                <c:pt idx="1074">
                  <c:v>0.31645569620253156</c:v>
                </c:pt>
                <c:pt idx="1075">
                  <c:v>0.31645569620253156</c:v>
                </c:pt>
                <c:pt idx="1076">
                  <c:v>0.31645569620253156</c:v>
                </c:pt>
                <c:pt idx="1077">
                  <c:v>0.30039284155390655</c:v>
                </c:pt>
                <c:pt idx="1078">
                  <c:v>0.30039284155390655</c:v>
                </c:pt>
                <c:pt idx="1079">
                  <c:v>0.30039284155390655</c:v>
                </c:pt>
                <c:pt idx="1080">
                  <c:v>0.30039284155390655</c:v>
                </c:pt>
                <c:pt idx="1081">
                  <c:v>0.30039284155390655</c:v>
                </c:pt>
                <c:pt idx="1082">
                  <c:v>0.30336097773897852</c:v>
                </c:pt>
                <c:pt idx="1083">
                  <c:v>0.30336097773897852</c:v>
                </c:pt>
                <c:pt idx="1084">
                  <c:v>0.30336097773897852</c:v>
                </c:pt>
                <c:pt idx="1085">
                  <c:v>0.30336097773897852</c:v>
                </c:pt>
                <c:pt idx="1086">
                  <c:v>0.30336097773897852</c:v>
                </c:pt>
                <c:pt idx="1087">
                  <c:v>0.29812309035355722</c:v>
                </c:pt>
                <c:pt idx="1088">
                  <c:v>0.29812309035355722</c:v>
                </c:pt>
                <c:pt idx="1089">
                  <c:v>0.29812309035355722</c:v>
                </c:pt>
                <c:pt idx="1090">
                  <c:v>0.29812309035355722</c:v>
                </c:pt>
                <c:pt idx="1091">
                  <c:v>0.29812309035355722</c:v>
                </c:pt>
                <c:pt idx="1092">
                  <c:v>0.28459188127455248</c:v>
                </c:pt>
                <c:pt idx="1093">
                  <c:v>0.28459188127455248</c:v>
                </c:pt>
                <c:pt idx="1094">
                  <c:v>0.28459188127455248</c:v>
                </c:pt>
                <c:pt idx="1095">
                  <c:v>0.28459188127455248</c:v>
                </c:pt>
                <c:pt idx="1096">
                  <c:v>0.28459188127455248</c:v>
                </c:pt>
                <c:pt idx="1097">
                  <c:v>0.30074203404626809</c:v>
                </c:pt>
                <c:pt idx="1098">
                  <c:v>0.30074203404626809</c:v>
                </c:pt>
                <c:pt idx="1099">
                  <c:v>0.30074203404626809</c:v>
                </c:pt>
                <c:pt idx="1100">
                  <c:v>0.30074203404626809</c:v>
                </c:pt>
                <c:pt idx="1101">
                  <c:v>0.30074203404626809</c:v>
                </c:pt>
                <c:pt idx="1102">
                  <c:v>0.29829768659973799</c:v>
                </c:pt>
                <c:pt idx="1103">
                  <c:v>0.29829768659973799</c:v>
                </c:pt>
                <c:pt idx="1104">
                  <c:v>0.29829768659973799</c:v>
                </c:pt>
                <c:pt idx="1105">
                  <c:v>0.29829768659973799</c:v>
                </c:pt>
                <c:pt idx="1106">
                  <c:v>0.29829768659973799</c:v>
                </c:pt>
                <c:pt idx="1107">
                  <c:v>0.30013094718463562</c:v>
                </c:pt>
                <c:pt idx="1108">
                  <c:v>0.30013094718463562</c:v>
                </c:pt>
                <c:pt idx="1109">
                  <c:v>0.30013094718463562</c:v>
                </c:pt>
                <c:pt idx="1110">
                  <c:v>0.30013094718463562</c:v>
                </c:pt>
                <c:pt idx="1111">
                  <c:v>0.30013094718463562</c:v>
                </c:pt>
                <c:pt idx="1112">
                  <c:v>0.30126582278481018</c:v>
                </c:pt>
                <c:pt idx="1113">
                  <c:v>0.30126582278481018</c:v>
                </c:pt>
                <c:pt idx="1114">
                  <c:v>0.30126582278481018</c:v>
                </c:pt>
                <c:pt idx="1115">
                  <c:v>0.30126582278481018</c:v>
                </c:pt>
                <c:pt idx="1116">
                  <c:v>0.30126582278481018</c:v>
                </c:pt>
                <c:pt idx="1117">
                  <c:v>0.31689218681798348</c:v>
                </c:pt>
                <c:pt idx="1118">
                  <c:v>0.31689218681798348</c:v>
                </c:pt>
                <c:pt idx="1119">
                  <c:v>0.31689218681798348</c:v>
                </c:pt>
                <c:pt idx="1120">
                  <c:v>0.31689218681798348</c:v>
                </c:pt>
                <c:pt idx="1121">
                  <c:v>0.31689218681798348</c:v>
                </c:pt>
                <c:pt idx="1122">
                  <c:v>0.29131383675250988</c:v>
                </c:pt>
                <c:pt idx="1123">
                  <c:v>0.29131383675250988</c:v>
                </c:pt>
                <c:pt idx="1124">
                  <c:v>0.29131383675250988</c:v>
                </c:pt>
                <c:pt idx="1125">
                  <c:v>0.29131383675250988</c:v>
                </c:pt>
                <c:pt idx="1126">
                  <c:v>0.29131383675250988</c:v>
                </c:pt>
                <c:pt idx="1127">
                  <c:v>0.30851156700130944</c:v>
                </c:pt>
                <c:pt idx="1128">
                  <c:v>0.30851156700130944</c:v>
                </c:pt>
                <c:pt idx="1129">
                  <c:v>0.30851156700130944</c:v>
                </c:pt>
                <c:pt idx="1130">
                  <c:v>0.30851156700130944</c:v>
                </c:pt>
                <c:pt idx="1131">
                  <c:v>0.30851156700130944</c:v>
                </c:pt>
                <c:pt idx="1132">
                  <c:v>0.31017023134002608</c:v>
                </c:pt>
                <c:pt idx="1133">
                  <c:v>0.31017023134002608</c:v>
                </c:pt>
                <c:pt idx="1134">
                  <c:v>0.31017023134002608</c:v>
                </c:pt>
                <c:pt idx="1135">
                  <c:v>0.31017023134002608</c:v>
                </c:pt>
                <c:pt idx="1136">
                  <c:v>0.31017023134002608</c:v>
                </c:pt>
                <c:pt idx="1137">
                  <c:v>0.31147970318638141</c:v>
                </c:pt>
                <c:pt idx="1138">
                  <c:v>0.31147970318638141</c:v>
                </c:pt>
                <c:pt idx="1139">
                  <c:v>0.31147970318638141</c:v>
                </c:pt>
                <c:pt idx="1140">
                  <c:v>0.31147970318638141</c:v>
                </c:pt>
                <c:pt idx="1141">
                  <c:v>0.31147970318638141</c:v>
                </c:pt>
                <c:pt idx="1142">
                  <c:v>0.31436054124836299</c:v>
                </c:pt>
                <c:pt idx="1143">
                  <c:v>0.31436054124836299</c:v>
                </c:pt>
                <c:pt idx="1144">
                  <c:v>0.31436054124836299</c:v>
                </c:pt>
                <c:pt idx="1145">
                  <c:v>0.31436054124836299</c:v>
                </c:pt>
                <c:pt idx="1146">
                  <c:v>0.31436054124836299</c:v>
                </c:pt>
                <c:pt idx="1147">
                  <c:v>0.33950240069838489</c:v>
                </c:pt>
                <c:pt idx="1148">
                  <c:v>0.33950240069838489</c:v>
                </c:pt>
                <c:pt idx="1149">
                  <c:v>0.33950240069838489</c:v>
                </c:pt>
                <c:pt idx="1150">
                  <c:v>0.33950240069838489</c:v>
                </c:pt>
                <c:pt idx="1151">
                  <c:v>0.33950240069838489</c:v>
                </c:pt>
                <c:pt idx="1152">
                  <c:v>0.31182889567874272</c:v>
                </c:pt>
                <c:pt idx="1153">
                  <c:v>0.31182889567874272</c:v>
                </c:pt>
                <c:pt idx="1154">
                  <c:v>0.31182889567874272</c:v>
                </c:pt>
                <c:pt idx="1155">
                  <c:v>0.31182889567874272</c:v>
                </c:pt>
                <c:pt idx="1156">
                  <c:v>0.31182889567874272</c:v>
                </c:pt>
                <c:pt idx="1157">
                  <c:v>0.32745525971191625</c:v>
                </c:pt>
                <c:pt idx="1158">
                  <c:v>0.32745525971191625</c:v>
                </c:pt>
                <c:pt idx="1159">
                  <c:v>0.32745525971191625</c:v>
                </c:pt>
                <c:pt idx="1160">
                  <c:v>0.32745525971191625</c:v>
                </c:pt>
                <c:pt idx="1161">
                  <c:v>0.32745525971191625</c:v>
                </c:pt>
                <c:pt idx="1162">
                  <c:v>0.32099519860323</c:v>
                </c:pt>
                <c:pt idx="1163">
                  <c:v>0.32099519860323</c:v>
                </c:pt>
                <c:pt idx="1164">
                  <c:v>0.32099519860323</c:v>
                </c:pt>
                <c:pt idx="1165">
                  <c:v>0.32099519860323</c:v>
                </c:pt>
                <c:pt idx="1166">
                  <c:v>0.32099519860323</c:v>
                </c:pt>
                <c:pt idx="1167">
                  <c:v>0.32047140986468792</c:v>
                </c:pt>
                <c:pt idx="1168">
                  <c:v>0.32047140986468792</c:v>
                </c:pt>
                <c:pt idx="1169">
                  <c:v>0.32047140986468792</c:v>
                </c:pt>
                <c:pt idx="1170">
                  <c:v>0.32047140986468792</c:v>
                </c:pt>
                <c:pt idx="1171">
                  <c:v>0.32047140986468792</c:v>
                </c:pt>
                <c:pt idx="1172">
                  <c:v>0.30432125709297253</c:v>
                </c:pt>
                <c:pt idx="1173">
                  <c:v>0.30432125709297253</c:v>
                </c:pt>
                <c:pt idx="1174">
                  <c:v>0.30432125709297253</c:v>
                </c:pt>
                <c:pt idx="1175">
                  <c:v>0.30432125709297253</c:v>
                </c:pt>
                <c:pt idx="1176">
                  <c:v>0.30432125709297253</c:v>
                </c:pt>
                <c:pt idx="1177">
                  <c:v>0.31811436054124842</c:v>
                </c:pt>
                <c:pt idx="1178">
                  <c:v>0.31811436054124842</c:v>
                </c:pt>
                <c:pt idx="1179">
                  <c:v>0.31811436054124842</c:v>
                </c:pt>
                <c:pt idx="1180">
                  <c:v>0.31811436054124842</c:v>
                </c:pt>
                <c:pt idx="1181">
                  <c:v>0.31811436054124842</c:v>
                </c:pt>
                <c:pt idx="1182">
                  <c:v>0.30563072893932786</c:v>
                </c:pt>
                <c:pt idx="1183">
                  <c:v>0.30563072893932786</c:v>
                </c:pt>
                <c:pt idx="1184">
                  <c:v>0.30563072893932786</c:v>
                </c:pt>
                <c:pt idx="1185">
                  <c:v>0.30563072893932786</c:v>
                </c:pt>
                <c:pt idx="1186">
                  <c:v>0.30563072893932786</c:v>
                </c:pt>
                <c:pt idx="1187">
                  <c:v>0.3068529026625928</c:v>
                </c:pt>
                <c:pt idx="1188">
                  <c:v>0.3068529026625928</c:v>
                </c:pt>
                <c:pt idx="1189">
                  <c:v>0.3068529026625928</c:v>
                </c:pt>
                <c:pt idx="1190">
                  <c:v>0.3068529026625928</c:v>
                </c:pt>
                <c:pt idx="1191">
                  <c:v>0.3068529026625928</c:v>
                </c:pt>
                <c:pt idx="1192">
                  <c:v>0.30004364906154501</c:v>
                </c:pt>
                <c:pt idx="1193">
                  <c:v>0.30004364906154501</c:v>
                </c:pt>
                <c:pt idx="1194">
                  <c:v>0.30004364906154501</c:v>
                </c:pt>
                <c:pt idx="1195">
                  <c:v>0.30004364906154501</c:v>
                </c:pt>
                <c:pt idx="1196">
                  <c:v>0.30004364906154501</c:v>
                </c:pt>
                <c:pt idx="1197">
                  <c:v>0.32570929725010922</c:v>
                </c:pt>
                <c:pt idx="1198">
                  <c:v>0.32570929725010922</c:v>
                </c:pt>
                <c:pt idx="1199">
                  <c:v>0.32570929725010922</c:v>
                </c:pt>
                <c:pt idx="1200">
                  <c:v>0.32570929725010922</c:v>
                </c:pt>
                <c:pt idx="1201">
                  <c:v>0.32570929725010922</c:v>
                </c:pt>
                <c:pt idx="1202">
                  <c:v>0.31436054124836299</c:v>
                </c:pt>
                <c:pt idx="1203">
                  <c:v>0.31436054124836299</c:v>
                </c:pt>
                <c:pt idx="1204">
                  <c:v>0.31436054124836299</c:v>
                </c:pt>
                <c:pt idx="1205">
                  <c:v>0.31436054124836299</c:v>
                </c:pt>
                <c:pt idx="1206">
                  <c:v>0.31436054124836299</c:v>
                </c:pt>
                <c:pt idx="1207">
                  <c:v>0.31828895678742919</c:v>
                </c:pt>
                <c:pt idx="1208">
                  <c:v>0.31828895678742919</c:v>
                </c:pt>
                <c:pt idx="1209">
                  <c:v>0.31828895678742919</c:v>
                </c:pt>
                <c:pt idx="1210">
                  <c:v>0.31828895678742919</c:v>
                </c:pt>
                <c:pt idx="1211">
                  <c:v>0.31828895678742919</c:v>
                </c:pt>
                <c:pt idx="1212">
                  <c:v>0.32038411174159753</c:v>
                </c:pt>
                <c:pt idx="1213">
                  <c:v>0.32038411174159753</c:v>
                </c:pt>
                <c:pt idx="1214">
                  <c:v>0.32038411174159753</c:v>
                </c:pt>
                <c:pt idx="1215">
                  <c:v>0.32038411174159753</c:v>
                </c:pt>
                <c:pt idx="1216">
                  <c:v>0.32038411174159753</c:v>
                </c:pt>
                <c:pt idx="1217">
                  <c:v>0.32247926669576588</c:v>
                </c:pt>
                <c:pt idx="1218">
                  <c:v>0.32247926669576588</c:v>
                </c:pt>
                <c:pt idx="1219">
                  <c:v>0.32247926669576588</c:v>
                </c:pt>
                <c:pt idx="1220">
                  <c:v>0.32247926669576588</c:v>
                </c:pt>
                <c:pt idx="1221">
                  <c:v>0.32247926669576588</c:v>
                </c:pt>
                <c:pt idx="1222">
                  <c:v>0.34325621999127032</c:v>
                </c:pt>
                <c:pt idx="1223">
                  <c:v>0.34325621999127032</c:v>
                </c:pt>
                <c:pt idx="1224">
                  <c:v>0.34325621999127032</c:v>
                </c:pt>
                <c:pt idx="1225">
                  <c:v>0.34325621999127032</c:v>
                </c:pt>
                <c:pt idx="1226">
                  <c:v>0.34325621999127032</c:v>
                </c:pt>
                <c:pt idx="1227">
                  <c:v>0.33679615888258407</c:v>
                </c:pt>
                <c:pt idx="1228">
                  <c:v>0.33679615888258407</c:v>
                </c:pt>
                <c:pt idx="1229">
                  <c:v>0.33679615888258407</c:v>
                </c:pt>
                <c:pt idx="1230">
                  <c:v>0.33679615888258407</c:v>
                </c:pt>
                <c:pt idx="1231">
                  <c:v>0.33679615888258407</c:v>
                </c:pt>
                <c:pt idx="1232">
                  <c:v>0.36359668267132239</c:v>
                </c:pt>
                <c:pt idx="1233">
                  <c:v>0.36359668267132239</c:v>
                </c:pt>
                <c:pt idx="1234">
                  <c:v>0.36359668267132239</c:v>
                </c:pt>
                <c:pt idx="1235">
                  <c:v>0.36359668267132239</c:v>
                </c:pt>
                <c:pt idx="1236">
                  <c:v>0.36359668267132239</c:v>
                </c:pt>
                <c:pt idx="1237">
                  <c:v>0.3290266259275425</c:v>
                </c:pt>
                <c:pt idx="1238">
                  <c:v>0.3290266259275425</c:v>
                </c:pt>
                <c:pt idx="1239">
                  <c:v>0.3290266259275425</c:v>
                </c:pt>
                <c:pt idx="1240">
                  <c:v>0.3290266259275425</c:v>
                </c:pt>
                <c:pt idx="1241">
                  <c:v>0.3290266259275425</c:v>
                </c:pt>
                <c:pt idx="1242">
                  <c:v>0.33112178088171107</c:v>
                </c:pt>
                <c:pt idx="1243">
                  <c:v>0.33112178088171107</c:v>
                </c:pt>
                <c:pt idx="1244">
                  <c:v>0.33112178088171107</c:v>
                </c:pt>
                <c:pt idx="1245">
                  <c:v>0.33112178088171107</c:v>
                </c:pt>
                <c:pt idx="1246">
                  <c:v>0.33112178088171107</c:v>
                </c:pt>
                <c:pt idx="1247">
                  <c:v>0.3404626800523789</c:v>
                </c:pt>
                <c:pt idx="1248">
                  <c:v>0.3404626800523789</c:v>
                </c:pt>
                <c:pt idx="1249">
                  <c:v>0.3404626800523789</c:v>
                </c:pt>
                <c:pt idx="1250">
                  <c:v>0.3404626800523789</c:v>
                </c:pt>
                <c:pt idx="1251">
                  <c:v>0.3404626800523789</c:v>
                </c:pt>
                <c:pt idx="1252">
                  <c:v>0.34299432562199916</c:v>
                </c:pt>
                <c:pt idx="1253">
                  <c:v>0.34299432562199916</c:v>
                </c:pt>
                <c:pt idx="1254">
                  <c:v>0.34299432562199916</c:v>
                </c:pt>
                <c:pt idx="1255">
                  <c:v>0.34299432562199916</c:v>
                </c:pt>
                <c:pt idx="1256">
                  <c:v>0.34299432562199916</c:v>
                </c:pt>
                <c:pt idx="1257">
                  <c:v>0.35268441728502831</c:v>
                </c:pt>
                <c:pt idx="1258">
                  <c:v>0.35268441728502831</c:v>
                </c:pt>
                <c:pt idx="1259">
                  <c:v>0.35268441728502831</c:v>
                </c:pt>
                <c:pt idx="1260">
                  <c:v>0.35268441728502831</c:v>
                </c:pt>
                <c:pt idx="1261">
                  <c:v>0.35268441728502831</c:v>
                </c:pt>
                <c:pt idx="1262">
                  <c:v>0.35722391968572675</c:v>
                </c:pt>
                <c:pt idx="1263">
                  <c:v>0.35722391968572675</c:v>
                </c:pt>
                <c:pt idx="1264">
                  <c:v>0.35722391968572675</c:v>
                </c:pt>
                <c:pt idx="1265">
                  <c:v>0.35722391968572675</c:v>
                </c:pt>
                <c:pt idx="1266">
                  <c:v>0.35722391968572675</c:v>
                </c:pt>
                <c:pt idx="1267">
                  <c:v>0.37590571802706241</c:v>
                </c:pt>
                <c:pt idx="1268">
                  <c:v>0.37590571802706241</c:v>
                </c:pt>
                <c:pt idx="1269">
                  <c:v>0.37590571802706241</c:v>
                </c:pt>
                <c:pt idx="1270">
                  <c:v>0.37590571802706241</c:v>
                </c:pt>
                <c:pt idx="1271">
                  <c:v>0.37590571802706241</c:v>
                </c:pt>
                <c:pt idx="1272">
                  <c:v>0.35678742907027505</c:v>
                </c:pt>
                <c:pt idx="1273">
                  <c:v>0.35678742907027505</c:v>
                </c:pt>
                <c:pt idx="1274">
                  <c:v>0.35678742907027505</c:v>
                </c:pt>
                <c:pt idx="1275">
                  <c:v>0.35678742907027505</c:v>
                </c:pt>
                <c:pt idx="1276">
                  <c:v>0.35678742907027505</c:v>
                </c:pt>
                <c:pt idx="1277">
                  <c:v>0.36682671322566573</c:v>
                </c:pt>
                <c:pt idx="1278">
                  <c:v>0.36682671322566573</c:v>
                </c:pt>
                <c:pt idx="1279">
                  <c:v>0.36682671322566573</c:v>
                </c:pt>
                <c:pt idx="1280">
                  <c:v>0.36682671322566573</c:v>
                </c:pt>
                <c:pt idx="1281">
                  <c:v>0.36682671322566573</c:v>
                </c:pt>
                <c:pt idx="1282">
                  <c:v>0.36586643387167173</c:v>
                </c:pt>
                <c:pt idx="1283">
                  <c:v>0.36586643387167173</c:v>
                </c:pt>
                <c:pt idx="1284">
                  <c:v>0.36586643387167173</c:v>
                </c:pt>
                <c:pt idx="1285">
                  <c:v>0.36586643387167173</c:v>
                </c:pt>
                <c:pt idx="1286">
                  <c:v>0.36586643387167173</c:v>
                </c:pt>
                <c:pt idx="1287">
                  <c:v>0.3649934526407681</c:v>
                </c:pt>
                <c:pt idx="1288">
                  <c:v>0.3649934526407681</c:v>
                </c:pt>
                <c:pt idx="1289">
                  <c:v>0.3649934526407681</c:v>
                </c:pt>
                <c:pt idx="1290">
                  <c:v>0.3649934526407681</c:v>
                </c:pt>
                <c:pt idx="1291">
                  <c:v>0.3649934526407681</c:v>
                </c:pt>
                <c:pt idx="1292">
                  <c:v>0.3806198166739414</c:v>
                </c:pt>
                <c:pt idx="1293">
                  <c:v>0.3806198166739414</c:v>
                </c:pt>
                <c:pt idx="1294">
                  <c:v>0.3806198166739414</c:v>
                </c:pt>
                <c:pt idx="1295">
                  <c:v>0.3806198166739414</c:v>
                </c:pt>
                <c:pt idx="1296">
                  <c:v>0.3806198166739414</c:v>
                </c:pt>
                <c:pt idx="1297">
                  <c:v>0.38280226975120035</c:v>
                </c:pt>
                <c:pt idx="1298">
                  <c:v>0.38280226975120035</c:v>
                </c:pt>
                <c:pt idx="1299">
                  <c:v>0.38280226975120035</c:v>
                </c:pt>
                <c:pt idx="1300">
                  <c:v>0.38280226975120035</c:v>
                </c:pt>
                <c:pt idx="1301">
                  <c:v>0.38280226975120035</c:v>
                </c:pt>
                <c:pt idx="1302">
                  <c:v>0.36892186817983408</c:v>
                </c:pt>
                <c:pt idx="1303">
                  <c:v>0.36892186817983408</c:v>
                </c:pt>
                <c:pt idx="1304">
                  <c:v>0.36892186817983408</c:v>
                </c:pt>
                <c:pt idx="1305">
                  <c:v>0.36892186817983408</c:v>
                </c:pt>
                <c:pt idx="1306">
                  <c:v>0.36892186817983408</c:v>
                </c:pt>
                <c:pt idx="1307">
                  <c:v>0.37180270624181588</c:v>
                </c:pt>
                <c:pt idx="1308">
                  <c:v>0.37180270624181588</c:v>
                </c:pt>
                <c:pt idx="1309">
                  <c:v>0.37180270624181588</c:v>
                </c:pt>
                <c:pt idx="1310">
                  <c:v>0.37180270624181588</c:v>
                </c:pt>
                <c:pt idx="1311">
                  <c:v>0.37180270624181588</c:v>
                </c:pt>
                <c:pt idx="1312">
                  <c:v>0.37285028371890006</c:v>
                </c:pt>
                <c:pt idx="1313">
                  <c:v>0.37285028371890006</c:v>
                </c:pt>
                <c:pt idx="1314">
                  <c:v>0.37285028371890006</c:v>
                </c:pt>
                <c:pt idx="1315">
                  <c:v>0.37285028371890006</c:v>
                </c:pt>
                <c:pt idx="1316">
                  <c:v>0.37285028371890006</c:v>
                </c:pt>
                <c:pt idx="1317">
                  <c:v>0.37835006547359229</c:v>
                </c:pt>
                <c:pt idx="1318">
                  <c:v>0.37835006547359229</c:v>
                </c:pt>
                <c:pt idx="1319">
                  <c:v>0.37835006547359229</c:v>
                </c:pt>
                <c:pt idx="1320">
                  <c:v>0.37835006547359229</c:v>
                </c:pt>
                <c:pt idx="1321">
                  <c:v>0.37835006547359229</c:v>
                </c:pt>
                <c:pt idx="1322">
                  <c:v>0.38158009602793541</c:v>
                </c:pt>
                <c:pt idx="1323">
                  <c:v>0.38158009602793541</c:v>
                </c:pt>
                <c:pt idx="1324">
                  <c:v>0.38158009602793541</c:v>
                </c:pt>
                <c:pt idx="1325">
                  <c:v>0.38158009602793541</c:v>
                </c:pt>
                <c:pt idx="1326">
                  <c:v>0.38158009602793541</c:v>
                </c:pt>
                <c:pt idx="1327">
                  <c:v>0.38219118288956788</c:v>
                </c:pt>
                <c:pt idx="1328">
                  <c:v>0.38219118288956788</c:v>
                </c:pt>
                <c:pt idx="1329">
                  <c:v>0.38219118288956788</c:v>
                </c:pt>
                <c:pt idx="1330">
                  <c:v>0.38219118288956788</c:v>
                </c:pt>
                <c:pt idx="1331">
                  <c:v>0.38219118288956788</c:v>
                </c:pt>
                <c:pt idx="1332">
                  <c:v>0.39886512439982558</c:v>
                </c:pt>
                <c:pt idx="1333">
                  <c:v>0.39886512439982558</c:v>
                </c:pt>
                <c:pt idx="1334">
                  <c:v>0.39886512439982558</c:v>
                </c:pt>
                <c:pt idx="1335">
                  <c:v>0.39886512439982558</c:v>
                </c:pt>
                <c:pt idx="1336">
                  <c:v>0.39886512439982558</c:v>
                </c:pt>
                <c:pt idx="1337">
                  <c:v>0.38926233085988637</c:v>
                </c:pt>
                <c:pt idx="1338">
                  <c:v>0.38926233085988637</c:v>
                </c:pt>
                <c:pt idx="1339">
                  <c:v>0.38926233085988637</c:v>
                </c:pt>
                <c:pt idx="1340">
                  <c:v>0.38926233085988637</c:v>
                </c:pt>
                <c:pt idx="1341">
                  <c:v>0.38926233085988637</c:v>
                </c:pt>
                <c:pt idx="1342">
                  <c:v>0.3882147533828022</c:v>
                </c:pt>
                <c:pt idx="1343">
                  <c:v>0.3882147533828022</c:v>
                </c:pt>
                <c:pt idx="1344">
                  <c:v>0.3882147533828022</c:v>
                </c:pt>
                <c:pt idx="1345">
                  <c:v>0.3882147533828022</c:v>
                </c:pt>
                <c:pt idx="1346">
                  <c:v>0.3882147533828022</c:v>
                </c:pt>
                <c:pt idx="1347">
                  <c:v>0.39484941073766922</c:v>
                </c:pt>
                <c:pt idx="1348">
                  <c:v>0.39484941073766922</c:v>
                </c:pt>
                <c:pt idx="1349">
                  <c:v>0.39484941073766922</c:v>
                </c:pt>
                <c:pt idx="1350">
                  <c:v>0.39484941073766922</c:v>
                </c:pt>
                <c:pt idx="1351">
                  <c:v>0.39484941073766922</c:v>
                </c:pt>
                <c:pt idx="1352">
                  <c:v>0.39825403753819288</c:v>
                </c:pt>
                <c:pt idx="1353">
                  <c:v>0.39825403753819288</c:v>
                </c:pt>
                <c:pt idx="1354">
                  <c:v>0.39825403753819288</c:v>
                </c:pt>
                <c:pt idx="1355">
                  <c:v>0.39825403753819288</c:v>
                </c:pt>
                <c:pt idx="1356">
                  <c:v>0.39825403753819288</c:v>
                </c:pt>
                <c:pt idx="1357">
                  <c:v>0.39083369707551285</c:v>
                </c:pt>
                <c:pt idx="1358">
                  <c:v>0.39083369707551285</c:v>
                </c:pt>
                <c:pt idx="1359">
                  <c:v>0.39083369707551285</c:v>
                </c:pt>
                <c:pt idx="1360">
                  <c:v>0.39083369707551285</c:v>
                </c:pt>
                <c:pt idx="1361">
                  <c:v>0.39083369707551285</c:v>
                </c:pt>
                <c:pt idx="1362">
                  <c:v>0.40497599301615028</c:v>
                </c:pt>
                <c:pt idx="1363">
                  <c:v>0.40497599301615028</c:v>
                </c:pt>
                <c:pt idx="1364">
                  <c:v>0.40497599301615028</c:v>
                </c:pt>
                <c:pt idx="1365">
                  <c:v>0.40497599301615028</c:v>
                </c:pt>
                <c:pt idx="1366">
                  <c:v>0.40497599301615028</c:v>
                </c:pt>
                <c:pt idx="1367">
                  <c:v>0.3977302487996508</c:v>
                </c:pt>
                <c:pt idx="1368">
                  <c:v>0.3977302487996508</c:v>
                </c:pt>
                <c:pt idx="1369">
                  <c:v>0.3977302487996508</c:v>
                </c:pt>
                <c:pt idx="1370">
                  <c:v>0.3977302487996508</c:v>
                </c:pt>
                <c:pt idx="1371">
                  <c:v>0.3977302487996508</c:v>
                </c:pt>
                <c:pt idx="1372">
                  <c:v>0.4048886948930599</c:v>
                </c:pt>
                <c:pt idx="1373">
                  <c:v>0.4048886948930599</c:v>
                </c:pt>
                <c:pt idx="1374">
                  <c:v>0.4048886948930599</c:v>
                </c:pt>
                <c:pt idx="1375">
                  <c:v>0.4048886948930599</c:v>
                </c:pt>
                <c:pt idx="1376">
                  <c:v>0.4048886948930599</c:v>
                </c:pt>
                <c:pt idx="1377">
                  <c:v>0.3664775207333042</c:v>
                </c:pt>
                <c:pt idx="1378">
                  <c:v>0.3664775207333042</c:v>
                </c:pt>
                <c:pt idx="1379">
                  <c:v>0.3664775207333042</c:v>
                </c:pt>
                <c:pt idx="1380">
                  <c:v>0.3664775207333042</c:v>
                </c:pt>
                <c:pt idx="1381">
                  <c:v>0.3664775207333042</c:v>
                </c:pt>
                <c:pt idx="1382">
                  <c:v>0.46433871671759075</c:v>
                </c:pt>
                <c:pt idx="1383">
                  <c:v>0.46433871671759075</c:v>
                </c:pt>
                <c:pt idx="1384">
                  <c:v>0.46433871671759075</c:v>
                </c:pt>
                <c:pt idx="1385">
                  <c:v>0.46433871671759075</c:v>
                </c:pt>
                <c:pt idx="1386">
                  <c:v>0.46433871671759075</c:v>
                </c:pt>
                <c:pt idx="1387">
                  <c:v>0.44303797468354444</c:v>
                </c:pt>
                <c:pt idx="1388">
                  <c:v>0.44303797468354444</c:v>
                </c:pt>
                <c:pt idx="1389">
                  <c:v>0.44303797468354444</c:v>
                </c:pt>
                <c:pt idx="1390">
                  <c:v>0.44303797468354444</c:v>
                </c:pt>
                <c:pt idx="1391">
                  <c:v>0.44303797468354444</c:v>
                </c:pt>
                <c:pt idx="1392">
                  <c:v>0.3858577040593627</c:v>
                </c:pt>
                <c:pt idx="1393">
                  <c:v>0.3858577040593627</c:v>
                </c:pt>
                <c:pt idx="1394">
                  <c:v>0.3858577040593627</c:v>
                </c:pt>
                <c:pt idx="1395">
                  <c:v>0.3858577040593627</c:v>
                </c:pt>
                <c:pt idx="1396">
                  <c:v>0.3858577040593627</c:v>
                </c:pt>
                <c:pt idx="1397">
                  <c:v>0.44329986905281538</c:v>
                </c:pt>
                <c:pt idx="1398">
                  <c:v>0.44329986905281538</c:v>
                </c:pt>
                <c:pt idx="1399">
                  <c:v>0.44329986905281538</c:v>
                </c:pt>
                <c:pt idx="1400">
                  <c:v>0.44329986905281538</c:v>
                </c:pt>
                <c:pt idx="1401">
                  <c:v>0.44329986905281538</c:v>
                </c:pt>
                <c:pt idx="1402">
                  <c:v>0.34631165429943267</c:v>
                </c:pt>
                <c:pt idx="1403">
                  <c:v>0.34631165429943267</c:v>
                </c:pt>
                <c:pt idx="1404">
                  <c:v>0.34631165429943267</c:v>
                </c:pt>
                <c:pt idx="1405">
                  <c:v>0.34631165429943267</c:v>
                </c:pt>
                <c:pt idx="1406">
                  <c:v>0.34631165429943267</c:v>
                </c:pt>
                <c:pt idx="1407">
                  <c:v>0.37904845045831514</c:v>
                </c:pt>
                <c:pt idx="1408">
                  <c:v>0.37904845045831514</c:v>
                </c:pt>
                <c:pt idx="1409">
                  <c:v>0.37904845045831514</c:v>
                </c:pt>
                <c:pt idx="1410">
                  <c:v>0.37904845045831514</c:v>
                </c:pt>
                <c:pt idx="1411">
                  <c:v>0.37904845045831514</c:v>
                </c:pt>
                <c:pt idx="1412">
                  <c:v>0.34107376691401137</c:v>
                </c:pt>
                <c:pt idx="1413">
                  <c:v>0.34107376691401137</c:v>
                </c:pt>
                <c:pt idx="1414">
                  <c:v>0.34107376691401137</c:v>
                </c:pt>
                <c:pt idx="1415">
                  <c:v>0.34107376691401137</c:v>
                </c:pt>
                <c:pt idx="1416">
                  <c:v>0.34107376691401137</c:v>
                </c:pt>
                <c:pt idx="1417">
                  <c:v>0.34238323876036669</c:v>
                </c:pt>
                <c:pt idx="1418">
                  <c:v>0.34238323876036669</c:v>
                </c:pt>
                <c:pt idx="1419">
                  <c:v>0.34238323876036669</c:v>
                </c:pt>
                <c:pt idx="1420">
                  <c:v>0.34238323876036669</c:v>
                </c:pt>
                <c:pt idx="1421">
                  <c:v>0.34238323876036669</c:v>
                </c:pt>
                <c:pt idx="1422">
                  <c:v>0.37154081187254473</c:v>
                </c:pt>
                <c:pt idx="1423">
                  <c:v>0.37154081187254473</c:v>
                </c:pt>
                <c:pt idx="1424">
                  <c:v>0.37154081187254473</c:v>
                </c:pt>
                <c:pt idx="1425">
                  <c:v>0.37154081187254473</c:v>
                </c:pt>
                <c:pt idx="1426">
                  <c:v>0.37154081187254473</c:v>
                </c:pt>
                <c:pt idx="1427">
                  <c:v>0.37529463116542994</c:v>
                </c:pt>
                <c:pt idx="1428">
                  <c:v>0.37529463116542994</c:v>
                </c:pt>
                <c:pt idx="1429">
                  <c:v>0.37529463116542994</c:v>
                </c:pt>
                <c:pt idx="1430">
                  <c:v>0.37529463116542994</c:v>
                </c:pt>
                <c:pt idx="1431">
                  <c:v>0.37529463116542994</c:v>
                </c:pt>
                <c:pt idx="1432">
                  <c:v>0.36080314273243119</c:v>
                </c:pt>
                <c:pt idx="1433">
                  <c:v>0.36080314273243119</c:v>
                </c:pt>
                <c:pt idx="1434">
                  <c:v>0.36080314273243119</c:v>
                </c:pt>
                <c:pt idx="1435">
                  <c:v>0.36080314273243119</c:v>
                </c:pt>
                <c:pt idx="1436">
                  <c:v>0.36080314273243119</c:v>
                </c:pt>
                <c:pt idx="1437">
                  <c:v>0.34858140549978178</c:v>
                </c:pt>
                <c:pt idx="1438">
                  <c:v>0.34858140549978178</c:v>
                </c:pt>
                <c:pt idx="1439">
                  <c:v>0.34858140549978178</c:v>
                </c:pt>
                <c:pt idx="1440">
                  <c:v>0.34858140549978178</c:v>
                </c:pt>
                <c:pt idx="1441">
                  <c:v>0.34858140549978178</c:v>
                </c:pt>
                <c:pt idx="1442">
                  <c:v>0.36385857704059354</c:v>
                </c:pt>
                <c:pt idx="1443">
                  <c:v>0.36385857704059354</c:v>
                </c:pt>
                <c:pt idx="1444">
                  <c:v>0.36385857704059354</c:v>
                </c:pt>
                <c:pt idx="1445">
                  <c:v>0.36385857704059354</c:v>
                </c:pt>
                <c:pt idx="1446">
                  <c:v>0.36385857704059354</c:v>
                </c:pt>
                <c:pt idx="1447">
                  <c:v>0.36246180707114783</c:v>
                </c:pt>
                <c:pt idx="1448">
                  <c:v>0.36246180707114783</c:v>
                </c:pt>
                <c:pt idx="1449">
                  <c:v>0.36246180707114783</c:v>
                </c:pt>
                <c:pt idx="1450">
                  <c:v>0.36246180707114783</c:v>
                </c:pt>
                <c:pt idx="1451">
                  <c:v>0.36246180707114783</c:v>
                </c:pt>
                <c:pt idx="1452">
                  <c:v>0.36115233522479273</c:v>
                </c:pt>
                <c:pt idx="1453">
                  <c:v>0.36115233522479273</c:v>
                </c:pt>
                <c:pt idx="1454">
                  <c:v>0.36115233522479273</c:v>
                </c:pt>
                <c:pt idx="1455">
                  <c:v>0.36115233522479273</c:v>
                </c:pt>
                <c:pt idx="1456">
                  <c:v>0.36115233522479273</c:v>
                </c:pt>
                <c:pt idx="1457">
                  <c:v>0.38865124399825413</c:v>
                </c:pt>
                <c:pt idx="1458">
                  <c:v>0.38865124399825413</c:v>
                </c:pt>
                <c:pt idx="1459">
                  <c:v>0.38865124399825413</c:v>
                </c:pt>
                <c:pt idx="1460">
                  <c:v>0.38865124399825413</c:v>
                </c:pt>
                <c:pt idx="1461">
                  <c:v>0.38865124399825413</c:v>
                </c:pt>
                <c:pt idx="1462">
                  <c:v>0.35713662156263637</c:v>
                </c:pt>
                <c:pt idx="1463">
                  <c:v>0.35713662156263637</c:v>
                </c:pt>
                <c:pt idx="1464">
                  <c:v>0.35713662156263637</c:v>
                </c:pt>
                <c:pt idx="1465">
                  <c:v>0.35713662156263637</c:v>
                </c:pt>
                <c:pt idx="1466">
                  <c:v>0.35713662156263637</c:v>
                </c:pt>
                <c:pt idx="1467">
                  <c:v>0.38053251855085124</c:v>
                </c:pt>
                <c:pt idx="1468">
                  <c:v>0.38053251855085124</c:v>
                </c:pt>
                <c:pt idx="1469">
                  <c:v>0.38053251855085124</c:v>
                </c:pt>
                <c:pt idx="1470">
                  <c:v>0.38053251855085124</c:v>
                </c:pt>
                <c:pt idx="1471">
                  <c:v>0.38053251855085124</c:v>
                </c:pt>
                <c:pt idx="1472">
                  <c:v>0.37337407245744214</c:v>
                </c:pt>
                <c:pt idx="1473">
                  <c:v>0.37337407245744214</c:v>
                </c:pt>
                <c:pt idx="1474">
                  <c:v>0.37337407245744214</c:v>
                </c:pt>
                <c:pt idx="1475">
                  <c:v>0.37337407245744214</c:v>
                </c:pt>
                <c:pt idx="1476">
                  <c:v>0.37337407245744214</c:v>
                </c:pt>
                <c:pt idx="1477">
                  <c:v>0.39240506329113911</c:v>
                </c:pt>
                <c:pt idx="1478">
                  <c:v>0.39240506329113911</c:v>
                </c:pt>
                <c:pt idx="1479">
                  <c:v>0.39240506329113911</c:v>
                </c:pt>
                <c:pt idx="1480">
                  <c:v>0.39240506329113911</c:v>
                </c:pt>
                <c:pt idx="1481">
                  <c:v>0.39240506329113911</c:v>
                </c:pt>
                <c:pt idx="1482">
                  <c:v>0.40261894369271056</c:v>
                </c:pt>
                <c:pt idx="1483">
                  <c:v>0.40261894369271056</c:v>
                </c:pt>
                <c:pt idx="1484">
                  <c:v>0.40261894369271056</c:v>
                </c:pt>
                <c:pt idx="1485">
                  <c:v>0.40261894369271056</c:v>
                </c:pt>
                <c:pt idx="1486">
                  <c:v>0.40261894369271056</c:v>
                </c:pt>
                <c:pt idx="1487">
                  <c:v>0.43474465298996057</c:v>
                </c:pt>
                <c:pt idx="1488">
                  <c:v>0.43474465298996057</c:v>
                </c:pt>
                <c:pt idx="1489">
                  <c:v>0.43474465298996057</c:v>
                </c:pt>
                <c:pt idx="1490">
                  <c:v>0.43474465298996057</c:v>
                </c:pt>
                <c:pt idx="1491">
                  <c:v>0.43474465298996057</c:v>
                </c:pt>
                <c:pt idx="1492">
                  <c:v>0.42409428197293741</c:v>
                </c:pt>
                <c:pt idx="1493">
                  <c:v>0.42409428197293741</c:v>
                </c:pt>
                <c:pt idx="1494">
                  <c:v>0.42409428197293741</c:v>
                </c:pt>
                <c:pt idx="1495">
                  <c:v>0.42409428197293741</c:v>
                </c:pt>
                <c:pt idx="1496">
                  <c:v>0.42409428197293741</c:v>
                </c:pt>
                <c:pt idx="1497">
                  <c:v>0.449847228284592</c:v>
                </c:pt>
                <c:pt idx="1498">
                  <c:v>0.449847228284592</c:v>
                </c:pt>
                <c:pt idx="1499">
                  <c:v>0.449847228284592</c:v>
                </c:pt>
                <c:pt idx="1500">
                  <c:v>0.449847228284592</c:v>
                </c:pt>
                <c:pt idx="1501">
                  <c:v>0.449847228284592</c:v>
                </c:pt>
                <c:pt idx="1502">
                  <c:v>0.44207769532955021</c:v>
                </c:pt>
                <c:pt idx="1503">
                  <c:v>0.44207769532955021</c:v>
                </c:pt>
                <c:pt idx="1504">
                  <c:v>0.44207769532955021</c:v>
                </c:pt>
                <c:pt idx="1505">
                  <c:v>0.44207769532955021</c:v>
                </c:pt>
                <c:pt idx="1506">
                  <c:v>0.44207769532955021</c:v>
                </c:pt>
                <c:pt idx="1507">
                  <c:v>0.43587952859013535</c:v>
                </c:pt>
                <c:pt idx="1508">
                  <c:v>0.43587952859013535</c:v>
                </c:pt>
                <c:pt idx="1509">
                  <c:v>0.43587952859013535</c:v>
                </c:pt>
                <c:pt idx="1510">
                  <c:v>0.43587952859013535</c:v>
                </c:pt>
                <c:pt idx="1511">
                  <c:v>0.43587952859013535</c:v>
                </c:pt>
                <c:pt idx="1512">
                  <c:v>0.43535573985159326</c:v>
                </c:pt>
                <c:pt idx="1513">
                  <c:v>0.43535573985159326</c:v>
                </c:pt>
                <c:pt idx="1514">
                  <c:v>0.43535573985159326</c:v>
                </c:pt>
                <c:pt idx="1515">
                  <c:v>0.43535573985159326</c:v>
                </c:pt>
                <c:pt idx="1516">
                  <c:v>0.43535573985159326</c:v>
                </c:pt>
                <c:pt idx="1517">
                  <c:v>0.45621999127018786</c:v>
                </c:pt>
                <c:pt idx="1518">
                  <c:v>0.45621999127018786</c:v>
                </c:pt>
                <c:pt idx="1519">
                  <c:v>0.45621999127018786</c:v>
                </c:pt>
                <c:pt idx="1520">
                  <c:v>0.45621999127018786</c:v>
                </c:pt>
                <c:pt idx="1521">
                  <c:v>0.45621999127018786</c:v>
                </c:pt>
                <c:pt idx="1522">
                  <c:v>0.46294194674814482</c:v>
                </c:pt>
                <c:pt idx="1523">
                  <c:v>0.46294194674814482</c:v>
                </c:pt>
                <c:pt idx="1524">
                  <c:v>0.46294194674814482</c:v>
                </c:pt>
                <c:pt idx="1525">
                  <c:v>0.46294194674814482</c:v>
                </c:pt>
                <c:pt idx="1526">
                  <c:v>0.46294194674814482</c:v>
                </c:pt>
                <c:pt idx="1527">
                  <c:v>0.45098210388476634</c:v>
                </c:pt>
                <c:pt idx="1528">
                  <c:v>0.45098210388476634</c:v>
                </c:pt>
                <c:pt idx="1529">
                  <c:v>0.45098210388476634</c:v>
                </c:pt>
                <c:pt idx="1530">
                  <c:v>0.45098210388476634</c:v>
                </c:pt>
                <c:pt idx="1531">
                  <c:v>0.45098210388476634</c:v>
                </c:pt>
                <c:pt idx="1532">
                  <c:v>0.44914884329986915</c:v>
                </c:pt>
                <c:pt idx="1533">
                  <c:v>0.44914884329986915</c:v>
                </c:pt>
                <c:pt idx="1534">
                  <c:v>0.44914884329986915</c:v>
                </c:pt>
                <c:pt idx="1535">
                  <c:v>0.44914884329986915</c:v>
                </c:pt>
                <c:pt idx="1536">
                  <c:v>0.44914884329986915</c:v>
                </c:pt>
                <c:pt idx="1537">
                  <c:v>0.47987778262767367</c:v>
                </c:pt>
                <c:pt idx="1538">
                  <c:v>0.47987778262767367</c:v>
                </c:pt>
                <c:pt idx="1539">
                  <c:v>0.47987778262767367</c:v>
                </c:pt>
                <c:pt idx="1540">
                  <c:v>0.47987778262767367</c:v>
                </c:pt>
                <c:pt idx="1541">
                  <c:v>0.47987778262767367</c:v>
                </c:pt>
                <c:pt idx="1542">
                  <c:v>0.475338280226975</c:v>
                </c:pt>
                <c:pt idx="1543">
                  <c:v>0.475338280226975</c:v>
                </c:pt>
                <c:pt idx="1544">
                  <c:v>0.475338280226975</c:v>
                </c:pt>
                <c:pt idx="1545">
                  <c:v>0.475338280226975</c:v>
                </c:pt>
                <c:pt idx="1546">
                  <c:v>0.475338280226975</c:v>
                </c:pt>
                <c:pt idx="1547">
                  <c:v>0.51069402007856834</c:v>
                </c:pt>
                <c:pt idx="1548">
                  <c:v>0.51069402007856834</c:v>
                </c:pt>
                <c:pt idx="1549">
                  <c:v>0.51069402007856834</c:v>
                </c:pt>
                <c:pt idx="1550">
                  <c:v>0.51069402007856834</c:v>
                </c:pt>
                <c:pt idx="1551">
                  <c:v>0.51069402007856834</c:v>
                </c:pt>
                <c:pt idx="1552">
                  <c:v>0.44295067656045384</c:v>
                </c:pt>
                <c:pt idx="1553">
                  <c:v>0.44295067656045384</c:v>
                </c:pt>
                <c:pt idx="1554">
                  <c:v>0.44295067656045384</c:v>
                </c:pt>
                <c:pt idx="1555">
                  <c:v>0.44295067656045384</c:v>
                </c:pt>
                <c:pt idx="1556">
                  <c:v>0.44295067656045384</c:v>
                </c:pt>
                <c:pt idx="1557">
                  <c:v>0.49454386730685296</c:v>
                </c:pt>
                <c:pt idx="1558">
                  <c:v>0.49454386730685296</c:v>
                </c:pt>
                <c:pt idx="1559">
                  <c:v>0.49454386730685296</c:v>
                </c:pt>
                <c:pt idx="1560">
                  <c:v>0.49454386730685296</c:v>
                </c:pt>
                <c:pt idx="1561">
                  <c:v>0.49454386730685296</c:v>
                </c:pt>
                <c:pt idx="1562">
                  <c:v>0.49969445656918365</c:v>
                </c:pt>
                <c:pt idx="1563">
                  <c:v>0.49969445656918365</c:v>
                </c:pt>
                <c:pt idx="1564">
                  <c:v>0.49969445656918365</c:v>
                </c:pt>
                <c:pt idx="1565">
                  <c:v>0.49969445656918365</c:v>
                </c:pt>
                <c:pt idx="1566">
                  <c:v>0.49969445656918365</c:v>
                </c:pt>
                <c:pt idx="1567">
                  <c:v>0.50170231340026206</c:v>
                </c:pt>
                <c:pt idx="1568">
                  <c:v>0.50170231340026206</c:v>
                </c:pt>
                <c:pt idx="1569">
                  <c:v>0.50170231340026206</c:v>
                </c:pt>
                <c:pt idx="1570">
                  <c:v>0.50170231340026206</c:v>
                </c:pt>
                <c:pt idx="1571">
                  <c:v>0.50170231340026206</c:v>
                </c:pt>
                <c:pt idx="1572">
                  <c:v>0.5090353557398517</c:v>
                </c:pt>
                <c:pt idx="1573">
                  <c:v>0.5090353557398517</c:v>
                </c:pt>
                <c:pt idx="1574">
                  <c:v>0.5090353557398517</c:v>
                </c:pt>
                <c:pt idx="1575">
                  <c:v>0.5090353557398517</c:v>
                </c:pt>
                <c:pt idx="1576">
                  <c:v>0.5090353557398517</c:v>
                </c:pt>
                <c:pt idx="1577">
                  <c:v>0.52911392405063284</c:v>
                </c:pt>
                <c:pt idx="1578">
                  <c:v>0.52911392405063284</c:v>
                </c:pt>
                <c:pt idx="1579">
                  <c:v>0.52911392405063284</c:v>
                </c:pt>
                <c:pt idx="1580">
                  <c:v>0.52911392405063284</c:v>
                </c:pt>
                <c:pt idx="1581">
                  <c:v>0.52911392405063284</c:v>
                </c:pt>
                <c:pt idx="1582">
                  <c:v>0.52841553906590999</c:v>
                </c:pt>
                <c:pt idx="1583">
                  <c:v>0.52841553906590999</c:v>
                </c:pt>
                <c:pt idx="1584">
                  <c:v>0.52841553906590999</c:v>
                </c:pt>
                <c:pt idx="1585">
                  <c:v>0.52841553906590999</c:v>
                </c:pt>
                <c:pt idx="1586">
                  <c:v>0.52841553906590999</c:v>
                </c:pt>
                <c:pt idx="1587">
                  <c:v>0.52300305543430836</c:v>
                </c:pt>
                <c:pt idx="1588">
                  <c:v>0.52300305543430836</c:v>
                </c:pt>
                <c:pt idx="1589">
                  <c:v>0.52300305543430836</c:v>
                </c:pt>
                <c:pt idx="1590">
                  <c:v>0.52300305543430836</c:v>
                </c:pt>
                <c:pt idx="1591">
                  <c:v>0.52300305543430836</c:v>
                </c:pt>
                <c:pt idx="1592">
                  <c:v>0.52527280663465747</c:v>
                </c:pt>
                <c:pt idx="1593">
                  <c:v>0.52527280663465747</c:v>
                </c:pt>
                <c:pt idx="1594">
                  <c:v>0.52527280663465747</c:v>
                </c:pt>
                <c:pt idx="1595">
                  <c:v>0.52527280663465747</c:v>
                </c:pt>
                <c:pt idx="1596">
                  <c:v>0.52527280663465747</c:v>
                </c:pt>
                <c:pt idx="1597">
                  <c:v>0.52885202968136191</c:v>
                </c:pt>
                <c:pt idx="1598">
                  <c:v>0.52885202968136191</c:v>
                </c:pt>
                <c:pt idx="1599">
                  <c:v>0.52885202968136191</c:v>
                </c:pt>
                <c:pt idx="1600">
                  <c:v>0.52885202968136191</c:v>
                </c:pt>
                <c:pt idx="1601">
                  <c:v>0.52885202968136191</c:v>
                </c:pt>
                <c:pt idx="1602">
                  <c:v>0.53688345700567441</c:v>
                </c:pt>
                <c:pt idx="1603">
                  <c:v>0.53688345700567441</c:v>
                </c:pt>
                <c:pt idx="1604">
                  <c:v>0.53688345700567441</c:v>
                </c:pt>
                <c:pt idx="1605">
                  <c:v>0.53688345700567441</c:v>
                </c:pt>
                <c:pt idx="1606">
                  <c:v>0.53688345700567441</c:v>
                </c:pt>
                <c:pt idx="1607">
                  <c:v>0.53670886075949387</c:v>
                </c:pt>
                <c:pt idx="1608">
                  <c:v>0.53670886075949387</c:v>
                </c:pt>
                <c:pt idx="1609">
                  <c:v>0.53670886075949387</c:v>
                </c:pt>
                <c:pt idx="1610">
                  <c:v>0.53670886075949387</c:v>
                </c:pt>
                <c:pt idx="1611">
                  <c:v>0.53670886075949387</c:v>
                </c:pt>
                <c:pt idx="1612">
                  <c:v>0.58865124399825408</c:v>
                </c:pt>
                <c:pt idx="1613">
                  <c:v>0.58865124399825408</c:v>
                </c:pt>
                <c:pt idx="1614">
                  <c:v>0.58865124399825408</c:v>
                </c:pt>
                <c:pt idx="1615">
                  <c:v>0.58865124399825408</c:v>
                </c:pt>
                <c:pt idx="1616">
                  <c:v>0.58865124399825408</c:v>
                </c:pt>
                <c:pt idx="1617">
                  <c:v>0.57363596682671325</c:v>
                </c:pt>
                <c:pt idx="1618">
                  <c:v>0.57363596682671325</c:v>
                </c:pt>
                <c:pt idx="1619">
                  <c:v>0.57363596682671325</c:v>
                </c:pt>
                <c:pt idx="1620">
                  <c:v>0.57363596682671325</c:v>
                </c:pt>
                <c:pt idx="1621">
                  <c:v>0.57363596682671325</c:v>
                </c:pt>
                <c:pt idx="1622">
                  <c:v>0.56848537756438233</c:v>
                </c:pt>
                <c:pt idx="1623">
                  <c:v>0.56848537756438233</c:v>
                </c:pt>
                <c:pt idx="1624">
                  <c:v>0.56848537756438233</c:v>
                </c:pt>
                <c:pt idx="1625">
                  <c:v>0.56848537756438233</c:v>
                </c:pt>
                <c:pt idx="1626">
                  <c:v>0.56848537756438233</c:v>
                </c:pt>
                <c:pt idx="1627">
                  <c:v>0.56324749017896125</c:v>
                </c:pt>
                <c:pt idx="1628">
                  <c:v>0.56324749017896125</c:v>
                </c:pt>
                <c:pt idx="1629">
                  <c:v>0.56324749017896125</c:v>
                </c:pt>
                <c:pt idx="1630">
                  <c:v>0.56324749017896125</c:v>
                </c:pt>
                <c:pt idx="1631">
                  <c:v>0.56324749017896125</c:v>
                </c:pt>
                <c:pt idx="1632">
                  <c:v>0.55818419903972072</c:v>
                </c:pt>
                <c:pt idx="1633">
                  <c:v>0.55818419903972072</c:v>
                </c:pt>
                <c:pt idx="1634">
                  <c:v>0.55818419903972072</c:v>
                </c:pt>
                <c:pt idx="1635">
                  <c:v>0.55818419903972072</c:v>
                </c:pt>
                <c:pt idx="1636">
                  <c:v>0.55818419903972072</c:v>
                </c:pt>
                <c:pt idx="1637">
                  <c:v>0.59231776516804868</c:v>
                </c:pt>
                <c:pt idx="1638">
                  <c:v>0.59231776516804868</c:v>
                </c:pt>
                <c:pt idx="1639">
                  <c:v>0.59231776516804868</c:v>
                </c:pt>
                <c:pt idx="1640">
                  <c:v>0.59231776516804868</c:v>
                </c:pt>
                <c:pt idx="1641">
                  <c:v>0.59231776516804868</c:v>
                </c:pt>
                <c:pt idx="1642">
                  <c:v>0.56569183762549091</c:v>
                </c:pt>
                <c:pt idx="1643">
                  <c:v>0.56569183762549091</c:v>
                </c:pt>
                <c:pt idx="1644">
                  <c:v>0.56569183762549091</c:v>
                </c:pt>
                <c:pt idx="1645">
                  <c:v>0.56569183762549091</c:v>
                </c:pt>
                <c:pt idx="1646">
                  <c:v>0.56569183762549091</c:v>
                </c:pt>
                <c:pt idx="1647">
                  <c:v>0.57171540811872545</c:v>
                </c:pt>
                <c:pt idx="1648">
                  <c:v>0.57171540811872545</c:v>
                </c:pt>
                <c:pt idx="1649">
                  <c:v>0.57171540811872545</c:v>
                </c:pt>
                <c:pt idx="1650">
                  <c:v>0.57171540811872545</c:v>
                </c:pt>
                <c:pt idx="1651">
                  <c:v>0.57171540811872545</c:v>
                </c:pt>
                <c:pt idx="1652">
                  <c:v>0.56962025316455689</c:v>
                </c:pt>
                <c:pt idx="1653">
                  <c:v>0.56962025316455689</c:v>
                </c:pt>
                <c:pt idx="1654">
                  <c:v>0.56962025316455689</c:v>
                </c:pt>
                <c:pt idx="1655">
                  <c:v>0.56962025316455689</c:v>
                </c:pt>
                <c:pt idx="1656">
                  <c:v>0.56962025316455689</c:v>
                </c:pt>
                <c:pt idx="1657">
                  <c:v>0.5695329550414665</c:v>
                </c:pt>
                <c:pt idx="1658">
                  <c:v>0.5695329550414665</c:v>
                </c:pt>
                <c:pt idx="1659">
                  <c:v>0.5695329550414665</c:v>
                </c:pt>
                <c:pt idx="1660">
                  <c:v>0.5695329550414665</c:v>
                </c:pt>
                <c:pt idx="1661">
                  <c:v>0.5695329550414665</c:v>
                </c:pt>
                <c:pt idx="1662">
                  <c:v>0.58009602793539949</c:v>
                </c:pt>
                <c:pt idx="1663">
                  <c:v>0.58009602793539949</c:v>
                </c:pt>
                <c:pt idx="1664">
                  <c:v>0.58009602793539949</c:v>
                </c:pt>
                <c:pt idx="1665">
                  <c:v>0.58009602793539949</c:v>
                </c:pt>
                <c:pt idx="1666">
                  <c:v>0.58009602793539949</c:v>
                </c:pt>
                <c:pt idx="1667">
                  <c:v>0.57922304670449587</c:v>
                </c:pt>
                <c:pt idx="1668">
                  <c:v>0.57922304670449587</c:v>
                </c:pt>
                <c:pt idx="1669">
                  <c:v>0.57922304670449587</c:v>
                </c:pt>
                <c:pt idx="1670">
                  <c:v>0.57922304670449587</c:v>
                </c:pt>
                <c:pt idx="1671">
                  <c:v>0.57922304670449587</c:v>
                </c:pt>
                <c:pt idx="1672">
                  <c:v>0.57442164993452649</c:v>
                </c:pt>
                <c:pt idx="1673">
                  <c:v>0.57442164993452649</c:v>
                </c:pt>
                <c:pt idx="1674">
                  <c:v>0.57442164993452649</c:v>
                </c:pt>
                <c:pt idx="1675">
                  <c:v>0.57442164993452649</c:v>
                </c:pt>
                <c:pt idx="1676">
                  <c:v>0.57442164993452649</c:v>
                </c:pt>
                <c:pt idx="1677">
                  <c:v>0.59179397642950682</c:v>
                </c:pt>
                <c:pt idx="1678">
                  <c:v>0.59179397642950682</c:v>
                </c:pt>
                <c:pt idx="1679">
                  <c:v>0.59179397642950682</c:v>
                </c:pt>
                <c:pt idx="1680">
                  <c:v>0.59179397642950682</c:v>
                </c:pt>
                <c:pt idx="1681">
                  <c:v>0.59179397642950682</c:v>
                </c:pt>
                <c:pt idx="1682">
                  <c:v>0.60523788738542139</c:v>
                </c:pt>
                <c:pt idx="1683">
                  <c:v>0.60523788738542139</c:v>
                </c:pt>
                <c:pt idx="1684">
                  <c:v>0.60523788738542139</c:v>
                </c:pt>
                <c:pt idx="1685">
                  <c:v>0.60523788738542139</c:v>
                </c:pt>
                <c:pt idx="1686">
                  <c:v>0.60523788738542139</c:v>
                </c:pt>
                <c:pt idx="1687">
                  <c:v>0.62662592754255764</c:v>
                </c:pt>
                <c:pt idx="1688">
                  <c:v>0.62662592754255764</c:v>
                </c:pt>
                <c:pt idx="1689">
                  <c:v>0.62662592754255764</c:v>
                </c:pt>
                <c:pt idx="1690">
                  <c:v>0.62662592754255764</c:v>
                </c:pt>
                <c:pt idx="1691">
                  <c:v>0.62662592754255764</c:v>
                </c:pt>
                <c:pt idx="1692">
                  <c:v>0.61754692274116096</c:v>
                </c:pt>
                <c:pt idx="1693">
                  <c:v>0.61754692274116096</c:v>
                </c:pt>
                <c:pt idx="1694">
                  <c:v>0.61754692274116096</c:v>
                </c:pt>
                <c:pt idx="1695">
                  <c:v>0.61754692274116096</c:v>
                </c:pt>
                <c:pt idx="1696">
                  <c:v>0.61754692274116096</c:v>
                </c:pt>
                <c:pt idx="1697">
                  <c:v>0.62095154954168486</c:v>
                </c:pt>
                <c:pt idx="1698">
                  <c:v>0.62095154954168486</c:v>
                </c:pt>
                <c:pt idx="1699">
                  <c:v>0.62095154954168486</c:v>
                </c:pt>
                <c:pt idx="1700">
                  <c:v>0.62095154954168486</c:v>
                </c:pt>
                <c:pt idx="1701">
                  <c:v>0.62095154954168486</c:v>
                </c:pt>
                <c:pt idx="1702">
                  <c:v>0.62103884766477502</c:v>
                </c:pt>
                <c:pt idx="1703">
                  <c:v>0.62103884766477502</c:v>
                </c:pt>
                <c:pt idx="1704">
                  <c:v>0.62103884766477502</c:v>
                </c:pt>
                <c:pt idx="1705">
                  <c:v>0.62103884766477502</c:v>
                </c:pt>
                <c:pt idx="1706">
                  <c:v>0.62103884766477502</c:v>
                </c:pt>
                <c:pt idx="1707">
                  <c:v>0.60637276298559573</c:v>
                </c:pt>
                <c:pt idx="1708">
                  <c:v>0.60637276298559573</c:v>
                </c:pt>
                <c:pt idx="1709">
                  <c:v>0.60637276298559573</c:v>
                </c:pt>
                <c:pt idx="1710">
                  <c:v>0.60637276298559573</c:v>
                </c:pt>
                <c:pt idx="1711">
                  <c:v>0.60637276298559573</c:v>
                </c:pt>
                <c:pt idx="1712">
                  <c:v>0.6230467044958532</c:v>
                </c:pt>
                <c:pt idx="1713">
                  <c:v>0.6230467044958532</c:v>
                </c:pt>
                <c:pt idx="1714">
                  <c:v>0.6230467044958532</c:v>
                </c:pt>
                <c:pt idx="1715">
                  <c:v>0.6230467044958532</c:v>
                </c:pt>
                <c:pt idx="1716">
                  <c:v>0.6230467044958532</c:v>
                </c:pt>
                <c:pt idx="1717">
                  <c:v>0.61676123963334795</c:v>
                </c:pt>
                <c:pt idx="1718">
                  <c:v>0.61676123963334795</c:v>
                </c:pt>
                <c:pt idx="1719">
                  <c:v>0.61676123963334795</c:v>
                </c:pt>
                <c:pt idx="1720">
                  <c:v>0.61676123963334795</c:v>
                </c:pt>
                <c:pt idx="1721">
                  <c:v>0.61676123963334795</c:v>
                </c:pt>
                <c:pt idx="1722">
                  <c:v>0.62226102138803996</c:v>
                </c:pt>
                <c:pt idx="1723">
                  <c:v>0.62226102138803996</c:v>
                </c:pt>
                <c:pt idx="1724">
                  <c:v>0.62226102138803996</c:v>
                </c:pt>
                <c:pt idx="1725">
                  <c:v>0.62226102138803996</c:v>
                </c:pt>
                <c:pt idx="1726">
                  <c:v>0.62226102138803996</c:v>
                </c:pt>
                <c:pt idx="1727">
                  <c:v>0.61396769969445653</c:v>
                </c:pt>
                <c:pt idx="1728">
                  <c:v>0.61396769969445653</c:v>
                </c:pt>
                <c:pt idx="1729">
                  <c:v>0.61396769969445653</c:v>
                </c:pt>
                <c:pt idx="1730">
                  <c:v>0.61396769969445653</c:v>
                </c:pt>
                <c:pt idx="1731">
                  <c:v>0.61396769969445653</c:v>
                </c:pt>
                <c:pt idx="1732">
                  <c:v>0.6183326058489742</c:v>
                </c:pt>
                <c:pt idx="1733">
                  <c:v>0.6183326058489742</c:v>
                </c:pt>
                <c:pt idx="1734">
                  <c:v>0.6183326058489742</c:v>
                </c:pt>
                <c:pt idx="1735">
                  <c:v>0.6183326058489742</c:v>
                </c:pt>
                <c:pt idx="1736">
                  <c:v>0.6183326058489742</c:v>
                </c:pt>
                <c:pt idx="1737">
                  <c:v>0.61292012221737213</c:v>
                </c:pt>
                <c:pt idx="1738">
                  <c:v>0.61292012221737213</c:v>
                </c:pt>
                <c:pt idx="1739">
                  <c:v>0.61292012221737213</c:v>
                </c:pt>
                <c:pt idx="1740">
                  <c:v>0.61292012221737213</c:v>
                </c:pt>
                <c:pt idx="1741">
                  <c:v>0.61292012221737213</c:v>
                </c:pt>
                <c:pt idx="1742">
                  <c:v>0.6189436927106069</c:v>
                </c:pt>
                <c:pt idx="1743">
                  <c:v>0.6189436927106069</c:v>
                </c:pt>
                <c:pt idx="1744">
                  <c:v>0.6189436927106069</c:v>
                </c:pt>
                <c:pt idx="1745">
                  <c:v>0.6189436927106069</c:v>
                </c:pt>
                <c:pt idx="1746">
                  <c:v>0.6189436927106069</c:v>
                </c:pt>
                <c:pt idx="1747">
                  <c:v>0.65045831514622421</c:v>
                </c:pt>
                <c:pt idx="1748">
                  <c:v>0.65045831514622421</c:v>
                </c:pt>
                <c:pt idx="1749">
                  <c:v>0.65045831514622421</c:v>
                </c:pt>
                <c:pt idx="1750">
                  <c:v>0.65045831514622421</c:v>
                </c:pt>
                <c:pt idx="1751">
                  <c:v>0.65045831514622421</c:v>
                </c:pt>
                <c:pt idx="1752">
                  <c:v>0.66075949367088604</c:v>
                </c:pt>
                <c:pt idx="1753">
                  <c:v>0.66075949367088604</c:v>
                </c:pt>
                <c:pt idx="1754">
                  <c:v>0.66075949367088604</c:v>
                </c:pt>
                <c:pt idx="1755">
                  <c:v>0.66075949367088604</c:v>
                </c:pt>
                <c:pt idx="1756">
                  <c:v>0.66075949367088604</c:v>
                </c:pt>
                <c:pt idx="1757">
                  <c:v>0.67036228721082503</c:v>
                </c:pt>
                <c:pt idx="1758">
                  <c:v>0.67036228721082503</c:v>
                </c:pt>
                <c:pt idx="1759">
                  <c:v>0.67036228721082503</c:v>
                </c:pt>
                <c:pt idx="1760">
                  <c:v>0.67036228721082503</c:v>
                </c:pt>
                <c:pt idx="1761">
                  <c:v>0.67036228721082503</c:v>
                </c:pt>
                <c:pt idx="1762">
                  <c:v>0.65595809690091667</c:v>
                </c:pt>
                <c:pt idx="1763">
                  <c:v>0.65595809690091667</c:v>
                </c:pt>
                <c:pt idx="1764">
                  <c:v>0.65595809690091667</c:v>
                </c:pt>
                <c:pt idx="1765">
                  <c:v>0.65595809690091667</c:v>
                </c:pt>
                <c:pt idx="1766">
                  <c:v>0.65595809690091667</c:v>
                </c:pt>
                <c:pt idx="1767">
                  <c:v>0.66329113924050631</c:v>
                </c:pt>
                <c:pt idx="1768">
                  <c:v>0.66329113924050631</c:v>
                </c:pt>
                <c:pt idx="1769">
                  <c:v>0.66329113924050631</c:v>
                </c:pt>
                <c:pt idx="1770">
                  <c:v>0.66329113924050631</c:v>
                </c:pt>
                <c:pt idx="1771">
                  <c:v>0.66329113924050631</c:v>
                </c:pt>
                <c:pt idx="1772">
                  <c:v>0.66887821911828893</c:v>
                </c:pt>
                <c:pt idx="1773">
                  <c:v>0.66887821911828893</c:v>
                </c:pt>
                <c:pt idx="1774">
                  <c:v>0.66887821911828893</c:v>
                </c:pt>
                <c:pt idx="1775">
                  <c:v>0.66887821911828893</c:v>
                </c:pt>
                <c:pt idx="1776">
                  <c:v>0.66887821911828893</c:v>
                </c:pt>
                <c:pt idx="1777">
                  <c:v>0.65927542557835017</c:v>
                </c:pt>
                <c:pt idx="1778">
                  <c:v>0.65927542557835017</c:v>
                </c:pt>
                <c:pt idx="1779">
                  <c:v>0.65927542557835017</c:v>
                </c:pt>
                <c:pt idx="1780">
                  <c:v>0.65927542557835017</c:v>
                </c:pt>
                <c:pt idx="1781">
                  <c:v>0.65927542557835017</c:v>
                </c:pt>
                <c:pt idx="1782">
                  <c:v>0.6851156700130947</c:v>
                </c:pt>
                <c:pt idx="1783">
                  <c:v>0.6851156700130947</c:v>
                </c:pt>
                <c:pt idx="1784">
                  <c:v>0.6851156700130947</c:v>
                </c:pt>
                <c:pt idx="1785">
                  <c:v>0.6851156700130947</c:v>
                </c:pt>
                <c:pt idx="1786">
                  <c:v>0.6851156700130947</c:v>
                </c:pt>
                <c:pt idx="1787">
                  <c:v>0.65883893496289825</c:v>
                </c:pt>
                <c:pt idx="1788">
                  <c:v>0.65883893496289825</c:v>
                </c:pt>
                <c:pt idx="1789">
                  <c:v>0.65883893496289825</c:v>
                </c:pt>
                <c:pt idx="1790">
                  <c:v>0.65883893496289825</c:v>
                </c:pt>
                <c:pt idx="1791">
                  <c:v>0.65883893496289825</c:v>
                </c:pt>
                <c:pt idx="1792">
                  <c:v>0.67883020515058945</c:v>
                </c:pt>
                <c:pt idx="1793">
                  <c:v>0.67883020515058945</c:v>
                </c:pt>
                <c:pt idx="1794">
                  <c:v>0.67883020515058945</c:v>
                </c:pt>
                <c:pt idx="1795">
                  <c:v>0.67883020515058945</c:v>
                </c:pt>
                <c:pt idx="1796">
                  <c:v>0.67883020515058945</c:v>
                </c:pt>
                <c:pt idx="1797">
                  <c:v>0.67551287647315594</c:v>
                </c:pt>
                <c:pt idx="1798">
                  <c:v>0.67551287647315594</c:v>
                </c:pt>
                <c:pt idx="1799">
                  <c:v>0.67551287647315594</c:v>
                </c:pt>
                <c:pt idx="1800">
                  <c:v>0.67551287647315594</c:v>
                </c:pt>
                <c:pt idx="1801">
                  <c:v>0.67551287647315594</c:v>
                </c:pt>
                <c:pt idx="1802">
                  <c:v>0.66381492797904862</c:v>
                </c:pt>
                <c:pt idx="1803">
                  <c:v>0.66381492797904862</c:v>
                </c:pt>
                <c:pt idx="1804">
                  <c:v>0.66381492797904862</c:v>
                </c:pt>
                <c:pt idx="1805">
                  <c:v>0.66381492797904862</c:v>
                </c:pt>
                <c:pt idx="1806">
                  <c:v>0.66381492797904862</c:v>
                </c:pt>
                <c:pt idx="1807">
                  <c:v>0.69297250109122666</c:v>
                </c:pt>
                <c:pt idx="1808">
                  <c:v>0.69297250109122666</c:v>
                </c:pt>
                <c:pt idx="1809">
                  <c:v>0.69297250109122666</c:v>
                </c:pt>
                <c:pt idx="1810">
                  <c:v>0.69297250109122666</c:v>
                </c:pt>
                <c:pt idx="1811">
                  <c:v>0.69297250109122666</c:v>
                </c:pt>
                <c:pt idx="1812">
                  <c:v>0.69236141422959396</c:v>
                </c:pt>
                <c:pt idx="1813">
                  <c:v>0.69236141422959396</c:v>
                </c:pt>
                <c:pt idx="1814">
                  <c:v>0.69236141422959396</c:v>
                </c:pt>
                <c:pt idx="1815">
                  <c:v>0.69236141422959396</c:v>
                </c:pt>
                <c:pt idx="1816">
                  <c:v>0.69236141422959396</c:v>
                </c:pt>
                <c:pt idx="1817">
                  <c:v>0.7035355739851592</c:v>
                </c:pt>
                <c:pt idx="1818">
                  <c:v>0.7035355739851592</c:v>
                </c:pt>
                <c:pt idx="1819">
                  <c:v>0.7035355739851592</c:v>
                </c:pt>
                <c:pt idx="1820">
                  <c:v>0.7035355739851592</c:v>
                </c:pt>
                <c:pt idx="1821">
                  <c:v>0.7035355739851592</c:v>
                </c:pt>
                <c:pt idx="1822">
                  <c:v>0.69794849410737658</c:v>
                </c:pt>
                <c:pt idx="1823">
                  <c:v>0.69794849410737658</c:v>
                </c:pt>
                <c:pt idx="1824">
                  <c:v>0.69794849410737658</c:v>
                </c:pt>
                <c:pt idx="1825">
                  <c:v>0.69794849410737658</c:v>
                </c:pt>
                <c:pt idx="1826">
                  <c:v>0.69794849410737658</c:v>
                </c:pt>
                <c:pt idx="1827">
                  <c:v>0.70641641204714101</c:v>
                </c:pt>
                <c:pt idx="1828">
                  <c:v>0.70641641204714101</c:v>
                </c:pt>
                <c:pt idx="1829">
                  <c:v>0.70641641204714101</c:v>
                </c:pt>
                <c:pt idx="1830">
                  <c:v>0.70641641204714101</c:v>
                </c:pt>
                <c:pt idx="1831">
                  <c:v>0.70641641204714101</c:v>
                </c:pt>
                <c:pt idx="1832">
                  <c:v>0.72640768223483199</c:v>
                </c:pt>
                <c:pt idx="1833">
                  <c:v>0.72640768223483199</c:v>
                </c:pt>
                <c:pt idx="1834">
                  <c:v>0.72640768223483199</c:v>
                </c:pt>
                <c:pt idx="1835">
                  <c:v>0.72640768223483199</c:v>
                </c:pt>
                <c:pt idx="1836">
                  <c:v>0.72640768223483199</c:v>
                </c:pt>
                <c:pt idx="1837">
                  <c:v>0.71697948494107377</c:v>
                </c:pt>
                <c:pt idx="1838">
                  <c:v>0.71697948494107377</c:v>
                </c:pt>
                <c:pt idx="1839">
                  <c:v>0.71697948494107377</c:v>
                </c:pt>
                <c:pt idx="1840">
                  <c:v>0.71697948494107377</c:v>
                </c:pt>
                <c:pt idx="1841">
                  <c:v>0.71697948494107377</c:v>
                </c:pt>
                <c:pt idx="1842">
                  <c:v>0.71645569620253147</c:v>
                </c:pt>
                <c:pt idx="1843">
                  <c:v>0.71645569620253147</c:v>
                </c:pt>
                <c:pt idx="1844">
                  <c:v>0.71645569620253147</c:v>
                </c:pt>
                <c:pt idx="1845">
                  <c:v>0.71645569620253147</c:v>
                </c:pt>
                <c:pt idx="1846">
                  <c:v>0.71645569620253147</c:v>
                </c:pt>
                <c:pt idx="1847">
                  <c:v>0.73147097337407252</c:v>
                </c:pt>
                <c:pt idx="1848">
                  <c:v>0.73147097337407252</c:v>
                </c:pt>
                <c:pt idx="1849">
                  <c:v>0.73147097337407252</c:v>
                </c:pt>
                <c:pt idx="1850">
                  <c:v>0.73147097337407252</c:v>
                </c:pt>
                <c:pt idx="1851">
                  <c:v>0.73147097337407252</c:v>
                </c:pt>
                <c:pt idx="1852">
                  <c:v>0.73941510257529464</c:v>
                </c:pt>
                <c:pt idx="1853">
                  <c:v>0.73941510257529464</c:v>
                </c:pt>
                <c:pt idx="1854">
                  <c:v>0.73941510257529464</c:v>
                </c:pt>
                <c:pt idx="1855">
                  <c:v>0.73941510257529464</c:v>
                </c:pt>
                <c:pt idx="1856">
                  <c:v>0.73941510257529464</c:v>
                </c:pt>
                <c:pt idx="1857">
                  <c:v>0.77381056307289375</c:v>
                </c:pt>
                <c:pt idx="1858">
                  <c:v>0.77381056307289375</c:v>
                </c:pt>
                <c:pt idx="1859">
                  <c:v>0.77381056307289375</c:v>
                </c:pt>
                <c:pt idx="1860">
                  <c:v>0.77381056307289375</c:v>
                </c:pt>
                <c:pt idx="1861">
                  <c:v>0.77381056307289375</c:v>
                </c:pt>
                <c:pt idx="1862">
                  <c:v>0.76569183762549087</c:v>
                </c:pt>
                <c:pt idx="1863">
                  <c:v>0.76569183762549087</c:v>
                </c:pt>
                <c:pt idx="1864">
                  <c:v>0.76569183762549087</c:v>
                </c:pt>
                <c:pt idx="1865">
                  <c:v>0.76569183762549087</c:v>
                </c:pt>
                <c:pt idx="1866">
                  <c:v>0.76569183762549087</c:v>
                </c:pt>
                <c:pt idx="1867">
                  <c:v>0.77477084242688776</c:v>
                </c:pt>
                <c:pt idx="1868">
                  <c:v>0.77477084242688776</c:v>
                </c:pt>
                <c:pt idx="1869">
                  <c:v>0.77477084242688776</c:v>
                </c:pt>
                <c:pt idx="1870">
                  <c:v>0.77477084242688776</c:v>
                </c:pt>
                <c:pt idx="1871">
                  <c:v>0.77477084242688776</c:v>
                </c:pt>
                <c:pt idx="1872">
                  <c:v>0.7811436054124834</c:v>
                </c:pt>
                <c:pt idx="1873">
                  <c:v>0.7811436054124834</c:v>
                </c:pt>
                <c:pt idx="1874">
                  <c:v>0.7811436054124834</c:v>
                </c:pt>
                <c:pt idx="1875">
                  <c:v>0.7811436054124834</c:v>
                </c:pt>
                <c:pt idx="1876">
                  <c:v>0.7811436054124834</c:v>
                </c:pt>
                <c:pt idx="1877">
                  <c:v>0.76726320384111735</c:v>
                </c:pt>
                <c:pt idx="1878">
                  <c:v>0.76726320384111735</c:v>
                </c:pt>
                <c:pt idx="1879">
                  <c:v>0.76726320384111735</c:v>
                </c:pt>
                <c:pt idx="1880">
                  <c:v>0.76726320384111735</c:v>
                </c:pt>
                <c:pt idx="1881">
                  <c:v>0.76726320384111735</c:v>
                </c:pt>
                <c:pt idx="1882">
                  <c:v>0.77040593627237031</c:v>
                </c:pt>
                <c:pt idx="1883">
                  <c:v>0.77040593627237031</c:v>
                </c:pt>
                <c:pt idx="1884">
                  <c:v>0.77040593627237031</c:v>
                </c:pt>
                <c:pt idx="1885">
                  <c:v>0.77040593627237031</c:v>
                </c:pt>
                <c:pt idx="1886">
                  <c:v>0.77040593627237031</c:v>
                </c:pt>
                <c:pt idx="1887">
                  <c:v>0.7878655608904408</c:v>
                </c:pt>
                <c:pt idx="1888">
                  <c:v>0.7878655608904408</c:v>
                </c:pt>
                <c:pt idx="1889">
                  <c:v>0.7878655608904408</c:v>
                </c:pt>
                <c:pt idx="1890">
                  <c:v>0.7878655608904408</c:v>
                </c:pt>
                <c:pt idx="1891">
                  <c:v>0.7878655608904408</c:v>
                </c:pt>
                <c:pt idx="1892">
                  <c:v>0.79336534264513303</c:v>
                </c:pt>
                <c:pt idx="1893">
                  <c:v>0.79336534264513303</c:v>
                </c:pt>
                <c:pt idx="1894">
                  <c:v>0.79336534264513303</c:v>
                </c:pt>
                <c:pt idx="1895">
                  <c:v>0.79336534264513303</c:v>
                </c:pt>
                <c:pt idx="1896">
                  <c:v>0.79336534264513303</c:v>
                </c:pt>
                <c:pt idx="1897">
                  <c:v>0.76141422959406357</c:v>
                </c:pt>
                <c:pt idx="1898">
                  <c:v>0.76141422959406357</c:v>
                </c:pt>
                <c:pt idx="1899">
                  <c:v>0.76141422959406357</c:v>
                </c:pt>
                <c:pt idx="1900">
                  <c:v>0.76141422959406357</c:v>
                </c:pt>
                <c:pt idx="1901">
                  <c:v>0.76141422959406357</c:v>
                </c:pt>
                <c:pt idx="1902">
                  <c:v>0.75198603230030536</c:v>
                </c:pt>
                <c:pt idx="1903">
                  <c:v>0.75198603230030536</c:v>
                </c:pt>
                <c:pt idx="1904">
                  <c:v>0.75198603230030536</c:v>
                </c:pt>
                <c:pt idx="1905">
                  <c:v>0.75198603230030536</c:v>
                </c:pt>
                <c:pt idx="1906">
                  <c:v>0.75198603230030536</c:v>
                </c:pt>
                <c:pt idx="1907">
                  <c:v>0.75774770842426897</c:v>
                </c:pt>
                <c:pt idx="1908">
                  <c:v>0.75774770842426897</c:v>
                </c:pt>
                <c:pt idx="1909">
                  <c:v>0.75774770842426897</c:v>
                </c:pt>
                <c:pt idx="1910">
                  <c:v>0.75774770842426897</c:v>
                </c:pt>
                <c:pt idx="1911">
                  <c:v>0.75774770842426897</c:v>
                </c:pt>
                <c:pt idx="1912">
                  <c:v>0.79886512439982549</c:v>
                </c:pt>
                <c:pt idx="1913">
                  <c:v>0.79886512439982549</c:v>
                </c:pt>
                <c:pt idx="1914">
                  <c:v>0.79886512439982549</c:v>
                </c:pt>
                <c:pt idx="1915">
                  <c:v>0.79886512439982549</c:v>
                </c:pt>
                <c:pt idx="1916">
                  <c:v>0.79886512439982549</c:v>
                </c:pt>
                <c:pt idx="1917">
                  <c:v>0.77450894805761683</c:v>
                </c:pt>
                <c:pt idx="1918">
                  <c:v>0.77450894805761683</c:v>
                </c:pt>
                <c:pt idx="1919">
                  <c:v>0.77450894805761683</c:v>
                </c:pt>
                <c:pt idx="1920">
                  <c:v>0.77450894805761683</c:v>
                </c:pt>
                <c:pt idx="1921">
                  <c:v>0.77450894805761683</c:v>
                </c:pt>
                <c:pt idx="1922">
                  <c:v>0.76324749017896121</c:v>
                </c:pt>
                <c:pt idx="1923">
                  <c:v>0.76324749017896121</c:v>
                </c:pt>
                <c:pt idx="1924">
                  <c:v>0.76324749017896121</c:v>
                </c:pt>
                <c:pt idx="1925">
                  <c:v>0.76324749017896121</c:v>
                </c:pt>
                <c:pt idx="1926">
                  <c:v>0.76324749017896121</c:v>
                </c:pt>
                <c:pt idx="1927">
                  <c:v>0.77014404190309915</c:v>
                </c:pt>
                <c:pt idx="1928">
                  <c:v>0.77014404190309915</c:v>
                </c:pt>
                <c:pt idx="1929">
                  <c:v>0.77014404190309915</c:v>
                </c:pt>
                <c:pt idx="1930">
                  <c:v>0.77014404190309915</c:v>
                </c:pt>
                <c:pt idx="1931">
                  <c:v>0.77014404190309915</c:v>
                </c:pt>
                <c:pt idx="1932">
                  <c:v>0.77599301615015293</c:v>
                </c:pt>
                <c:pt idx="1933">
                  <c:v>0.77599301615015293</c:v>
                </c:pt>
                <c:pt idx="1934">
                  <c:v>0.77599301615015293</c:v>
                </c:pt>
                <c:pt idx="1935">
                  <c:v>0.77599301615015293</c:v>
                </c:pt>
                <c:pt idx="1936">
                  <c:v>0.77599301615015293</c:v>
                </c:pt>
                <c:pt idx="1937">
                  <c:v>0.75408118725447393</c:v>
                </c:pt>
                <c:pt idx="1938">
                  <c:v>0.75408118725447393</c:v>
                </c:pt>
                <c:pt idx="1939">
                  <c:v>0.75408118725447393</c:v>
                </c:pt>
                <c:pt idx="1940">
                  <c:v>0.75408118725447393</c:v>
                </c:pt>
                <c:pt idx="1941">
                  <c:v>0.75408118725447393</c:v>
                </c:pt>
                <c:pt idx="1942">
                  <c:v>0.7106940200785683</c:v>
                </c:pt>
                <c:pt idx="1943">
                  <c:v>0.7106940200785683</c:v>
                </c:pt>
                <c:pt idx="1944">
                  <c:v>0.7106940200785683</c:v>
                </c:pt>
                <c:pt idx="1945">
                  <c:v>0.7106940200785683</c:v>
                </c:pt>
                <c:pt idx="1946">
                  <c:v>0.7106940200785683</c:v>
                </c:pt>
                <c:pt idx="1947">
                  <c:v>0.74046268005237903</c:v>
                </c:pt>
                <c:pt idx="1948">
                  <c:v>0.74046268005237903</c:v>
                </c:pt>
                <c:pt idx="1949">
                  <c:v>0.74046268005237903</c:v>
                </c:pt>
                <c:pt idx="1950">
                  <c:v>0.74046268005237903</c:v>
                </c:pt>
                <c:pt idx="1951">
                  <c:v>0.74046268005237903</c:v>
                </c:pt>
                <c:pt idx="1952">
                  <c:v>0.76595373199476202</c:v>
                </c:pt>
                <c:pt idx="1953">
                  <c:v>0.76595373199476202</c:v>
                </c:pt>
                <c:pt idx="1954">
                  <c:v>0.76595373199476202</c:v>
                </c:pt>
                <c:pt idx="1955">
                  <c:v>0.76595373199476202</c:v>
                </c:pt>
                <c:pt idx="1956">
                  <c:v>0.76595373199476202</c:v>
                </c:pt>
                <c:pt idx="1957">
                  <c:v>0.73889131383675255</c:v>
                </c:pt>
                <c:pt idx="1958">
                  <c:v>0.73889131383675255</c:v>
                </c:pt>
                <c:pt idx="1959">
                  <c:v>0.73889131383675255</c:v>
                </c:pt>
                <c:pt idx="1960">
                  <c:v>0.73889131383675255</c:v>
                </c:pt>
                <c:pt idx="1961">
                  <c:v>0.73889131383675255</c:v>
                </c:pt>
                <c:pt idx="1962">
                  <c:v>0.75556525534701002</c:v>
                </c:pt>
                <c:pt idx="1963">
                  <c:v>0.75556525534701002</c:v>
                </c:pt>
                <c:pt idx="1964">
                  <c:v>0.75556525534701002</c:v>
                </c:pt>
                <c:pt idx="1965">
                  <c:v>0.75556525534701002</c:v>
                </c:pt>
                <c:pt idx="1966">
                  <c:v>0.75556525534701002</c:v>
                </c:pt>
                <c:pt idx="1967">
                  <c:v>0.74439109559144478</c:v>
                </c:pt>
                <c:pt idx="1968">
                  <c:v>0.74439109559144478</c:v>
                </c:pt>
                <c:pt idx="1969">
                  <c:v>0.74439109559144478</c:v>
                </c:pt>
                <c:pt idx="1970">
                  <c:v>0.74439109559144478</c:v>
                </c:pt>
                <c:pt idx="1971">
                  <c:v>0.74439109559144478</c:v>
                </c:pt>
                <c:pt idx="1972">
                  <c:v>0.71217808817110417</c:v>
                </c:pt>
                <c:pt idx="1973">
                  <c:v>0.71217808817110417</c:v>
                </c:pt>
                <c:pt idx="1974">
                  <c:v>0.71217808817110417</c:v>
                </c:pt>
                <c:pt idx="1975">
                  <c:v>0.71217808817110417</c:v>
                </c:pt>
                <c:pt idx="1976">
                  <c:v>0.71217808817110417</c:v>
                </c:pt>
                <c:pt idx="1977">
                  <c:v>0.71322566564818857</c:v>
                </c:pt>
                <c:pt idx="1978">
                  <c:v>0.71322566564818857</c:v>
                </c:pt>
                <c:pt idx="1979">
                  <c:v>0.71322566564818857</c:v>
                </c:pt>
                <c:pt idx="1980">
                  <c:v>0.71322566564818857</c:v>
                </c:pt>
                <c:pt idx="1981">
                  <c:v>0.71322566564818857</c:v>
                </c:pt>
                <c:pt idx="1982">
                  <c:v>0.71951113051069404</c:v>
                </c:pt>
                <c:pt idx="1983">
                  <c:v>0.71951113051069404</c:v>
                </c:pt>
                <c:pt idx="1984">
                  <c:v>0.71951113051069404</c:v>
                </c:pt>
                <c:pt idx="1985">
                  <c:v>0.71951113051069404</c:v>
                </c:pt>
                <c:pt idx="1986">
                  <c:v>0.71951113051069404</c:v>
                </c:pt>
                <c:pt idx="1987">
                  <c:v>0.72169358358795299</c:v>
                </c:pt>
                <c:pt idx="1988">
                  <c:v>0.72169358358795299</c:v>
                </c:pt>
                <c:pt idx="1989">
                  <c:v>0.72169358358795299</c:v>
                </c:pt>
                <c:pt idx="1990">
                  <c:v>0.72169358358795299</c:v>
                </c:pt>
                <c:pt idx="1991">
                  <c:v>0.72169358358795299</c:v>
                </c:pt>
                <c:pt idx="1992">
                  <c:v>0.73618507202095174</c:v>
                </c:pt>
                <c:pt idx="1993">
                  <c:v>0.73618507202095174</c:v>
                </c:pt>
                <c:pt idx="1994">
                  <c:v>0.73618507202095174</c:v>
                </c:pt>
                <c:pt idx="1995">
                  <c:v>0.73618507202095174</c:v>
                </c:pt>
                <c:pt idx="1996">
                  <c:v>0.73618507202095174</c:v>
                </c:pt>
                <c:pt idx="1997">
                  <c:v>0.73662156263640344</c:v>
                </c:pt>
                <c:pt idx="1998">
                  <c:v>0.73662156263640344</c:v>
                </c:pt>
                <c:pt idx="1999">
                  <c:v>0.73662156263640344</c:v>
                </c:pt>
                <c:pt idx="2000">
                  <c:v>0.73662156263640344</c:v>
                </c:pt>
                <c:pt idx="2001">
                  <c:v>0.73662156263640344</c:v>
                </c:pt>
                <c:pt idx="2002">
                  <c:v>0.70720209515495425</c:v>
                </c:pt>
                <c:pt idx="2003">
                  <c:v>0.70720209515495425</c:v>
                </c:pt>
                <c:pt idx="2004">
                  <c:v>0.70720209515495425</c:v>
                </c:pt>
                <c:pt idx="2005">
                  <c:v>0.70720209515495425</c:v>
                </c:pt>
                <c:pt idx="2006">
                  <c:v>0.70720209515495425</c:v>
                </c:pt>
                <c:pt idx="2007">
                  <c:v>0.70423395896988206</c:v>
                </c:pt>
                <c:pt idx="2008">
                  <c:v>0.70423395896988206</c:v>
                </c:pt>
                <c:pt idx="2009">
                  <c:v>0.70423395896988206</c:v>
                </c:pt>
                <c:pt idx="2010">
                  <c:v>0.70423395896988206</c:v>
                </c:pt>
                <c:pt idx="2011">
                  <c:v>0.70423395896988206</c:v>
                </c:pt>
                <c:pt idx="2012">
                  <c:v>0.7030990833697075</c:v>
                </c:pt>
                <c:pt idx="2013">
                  <c:v>0.7030990833697075</c:v>
                </c:pt>
                <c:pt idx="2014">
                  <c:v>0.7030990833697075</c:v>
                </c:pt>
                <c:pt idx="2015">
                  <c:v>0.7030990833697075</c:v>
                </c:pt>
                <c:pt idx="2016">
                  <c:v>0.7030990833697075</c:v>
                </c:pt>
                <c:pt idx="2017">
                  <c:v>0.72588389349628968</c:v>
                </c:pt>
                <c:pt idx="2018">
                  <c:v>0.72588389349628968</c:v>
                </c:pt>
                <c:pt idx="2019">
                  <c:v>0.72588389349628968</c:v>
                </c:pt>
                <c:pt idx="2020">
                  <c:v>0.72588389349628968</c:v>
                </c:pt>
                <c:pt idx="2021">
                  <c:v>0.72588389349628968</c:v>
                </c:pt>
                <c:pt idx="2022">
                  <c:v>0.70912265386294182</c:v>
                </c:pt>
                <c:pt idx="2023">
                  <c:v>0.70912265386294182</c:v>
                </c:pt>
                <c:pt idx="2024">
                  <c:v>0.70912265386294182</c:v>
                </c:pt>
                <c:pt idx="2025">
                  <c:v>0.70912265386294182</c:v>
                </c:pt>
                <c:pt idx="2026">
                  <c:v>0.70912265386294182</c:v>
                </c:pt>
                <c:pt idx="2027">
                  <c:v>0.72291575731121793</c:v>
                </c:pt>
                <c:pt idx="2028">
                  <c:v>0.72291575731121793</c:v>
                </c:pt>
                <c:pt idx="2029">
                  <c:v>0.72291575731121793</c:v>
                </c:pt>
                <c:pt idx="2030">
                  <c:v>0.72291575731121793</c:v>
                </c:pt>
                <c:pt idx="2031">
                  <c:v>0.72291575731121793</c:v>
                </c:pt>
                <c:pt idx="2032">
                  <c:v>0.68773461370580513</c:v>
                </c:pt>
                <c:pt idx="2033">
                  <c:v>0.68773461370580513</c:v>
                </c:pt>
                <c:pt idx="2034">
                  <c:v>0.68773461370580513</c:v>
                </c:pt>
                <c:pt idx="2035">
                  <c:v>0.68773461370580513</c:v>
                </c:pt>
                <c:pt idx="2036">
                  <c:v>0.68773461370580513</c:v>
                </c:pt>
                <c:pt idx="2037">
                  <c:v>0.71095591444783945</c:v>
                </c:pt>
                <c:pt idx="2038">
                  <c:v>0.71095591444783945</c:v>
                </c:pt>
                <c:pt idx="2039">
                  <c:v>0.71095591444783945</c:v>
                </c:pt>
                <c:pt idx="2040">
                  <c:v>0.71095591444783945</c:v>
                </c:pt>
                <c:pt idx="2041">
                  <c:v>0.71095591444783945</c:v>
                </c:pt>
                <c:pt idx="2042">
                  <c:v>0.73208206023570499</c:v>
                </c:pt>
                <c:pt idx="2043">
                  <c:v>0.73208206023570499</c:v>
                </c:pt>
                <c:pt idx="2044">
                  <c:v>0.73208206023570499</c:v>
                </c:pt>
                <c:pt idx="2045">
                  <c:v>0.73208206023570499</c:v>
                </c:pt>
                <c:pt idx="2046">
                  <c:v>0.73208206023570499</c:v>
                </c:pt>
                <c:pt idx="2047">
                  <c:v>0.67359231776516793</c:v>
                </c:pt>
                <c:pt idx="2048">
                  <c:v>0.67359231776516793</c:v>
                </c:pt>
                <c:pt idx="2049">
                  <c:v>0.67359231776516793</c:v>
                </c:pt>
                <c:pt idx="2050">
                  <c:v>0.67359231776516793</c:v>
                </c:pt>
                <c:pt idx="2051">
                  <c:v>0.67359231776516793</c:v>
                </c:pt>
                <c:pt idx="2052">
                  <c:v>0.71209079004801379</c:v>
                </c:pt>
                <c:pt idx="2053">
                  <c:v>0.71209079004801379</c:v>
                </c:pt>
                <c:pt idx="2054">
                  <c:v>0.71209079004801379</c:v>
                </c:pt>
                <c:pt idx="2055">
                  <c:v>0.71209079004801379</c:v>
                </c:pt>
                <c:pt idx="2056">
                  <c:v>0.71209079004801379</c:v>
                </c:pt>
                <c:pt idx="2057">
                  <c:v>0.71217808817110417</c:v>
                </c:pt>
                <c:pt idx="2058">
                  <c:v>0.71217808817110417</c:v>
                </c:pt>
                <c:pt idx="2059">
                  <c:v>0.71217808817110417</c:v>
                </c:pt>
                <c:pt idx="2060">
                  <c:v>0.71217808817110417</c:v>
                </c:pt>
                <c:pt idx="2061">
                  <c:v>0.71217808817110417</c:v>
                </c:pt>
                <c:pt idx="2062">
                  <c:v>0.72003491924923613</c:v>
                </c:pt>
                <c:pt idx="2063">
                  <c:v>0.72003491924923613</c:v>
                </c:pt>
                <c:pt idx="2064">
                  <c:v>0.72003491924923613</c:v>
                </c:pt>
                <c:pt idx="2065">
                  <c:v>0.72003491924923613</c:v>
                </c:pt>
                <c:pt idx="2066">
                  <c:v>0.72003491924923613</c:v>
                </c:pt>
                <c:pt idx="2067">
                  <c:v>0.6826713225665646</c:v>
                </c:pt>
                <c:pt idx="2068">
                  <c:v>0.6826713225665646</c:v>
                </c:pt>
                <c:pt idx="2069">
                  <c:v>0.6826713225665646</c:v>
                </c:pt>
                <c:pt idx="2070">
                  <c:v>0.6826713225665646</c:v>
                </c:pt>
                <c:pt idx="2071">
                  <c:v>0.6826713225665646</c:v>
                </c:pt>
                <c:pt idx="2072">
                  <c:v>0.71130510694020099</c:v>
                </c:pt>
                <c:pt idx="2073">
                  <c:v>0.71130510694020099</c:v>
                </c:pt>
                <c:pt idx="2074">
                  <c:v>0.71130510694020099</c:v>
                </c:pt>
                <c:pt idx="2075">
                  <c:v>0.71130510694020099</c:v>
                </c:pt>
                <c:pt idx="2076">
                  <c:v>0.71130510694020099</c:v>
                </c:pt>
                <c:pt idx="2077">
                  <c:v>0.69576604103011785</c:v>
                </c:pt>
                <c:pt idx="2078">
                  <c:v>0.69576604103011785</c:v>
                </c:pt>
                <c:pt idx="2079">
                  <c:v>0.69576604103011785</c:v>
                </c:pt>
                <c:pt idx="2080">
                  <c:v>0.69576604103011785</c:v>
                </c:pt>
                <c:pt idx="2081">
                  <c:v>0.69576604103011785</c:v>
                </c:pt>
                <c:pt idx="2082">
                  <c:v>0.69917066783064152</c:v>
                </c:pt>
                <c:pt idx="2083">
                  <c:v>0.69917066783064152</c:v>
                </c:pt>
                <c:pt idx="2084">
                  <c:v>0.69917066783064152</c:v>
                </c:pt>
                <c:pt idx="2085">
                  <c:v>0.69917066783064152</c:v>
                </c:pt>
                <c:pt idx="2086">
                  <c:v>0.69917066783064152</c:v>
                </c:pt>
                <c:pt idx="2087">
                  <c:v>0.68869489305979936</c:v>
                </c:pt>
                <c:pt idx="2088">
                  <c:v>0.68869489305979936</c:v>
                </c:pt>
                <c:pt idx="2089">
                  <c:v>0.68869489305979936</c:v>
                </c:pt>
                <c:pt idx="2090">
                  <c:v>0.68869489305979936</c:v>
                </c:pt>
                <c:pt idx="2091">
                  <c:v>0.68869489305979936</c:v>
                </c:pt>
                <c:pt idx="2092">
                  <c:v>0.66983849847228294</c:v>
                </c:pt>
                <c:pt idx="2093">
                  <c:v>0.66983849847228294</c:v>
                </c:pt>
                <c:pt idx="2094">
                  <c:v>0.66983849847228294</c:v>
                </c:pt>
                <c:pt idx="2095">
                  <c:v>0.66983849847228294</c:v>
                </c:pt>
                <c:pt idx="2096">
                  <c:v>0.66983849847228294</c:v>
                </c:pt>
                <c:pt idx="2097">
                  <c:v>0.69166302924487133</c:v>
                </c:pt>
                <c:pt idx="2098">
                  <c:v>0.69166302924487133</c:v>
                </c:pt>
                <c:pt idx="2099">
                  <c:v>0.69166302924487133</c:v>
                </c:pt>
                <c:pt idx="2100">
                  <c:v>0.69166302924487133</c:v>
                </c:pt>
                <c:pt idx="2101">
                  <c:v>0.69166302924487133</c:v>
                </c:pt>
                <c:pt idx="2102">
                  <c:v>0.70091663029244877</c:v>
                </c:pt>
                <c:pt idx="2103">
                  <c:v>0.70091663029244877</c:v>
                </c:pt>
                <c:pt idx="2104">
                  <c:v>0.70091663029244877</c:v>
                </c:pt>
                <c:pt idx="2105">
                  <c:v>0.70091663029244877</c:v>
                </c:pt>
                <c:pt idx="2106">
                  <c:v>0.70091663029244877</c:v>
                </c:pt>
                <c:pt idx="2107">
                  <c:v>0.68502837189000432</c:v>
                </c:pt>
                <c:pt idx="2108">
                  <c:v>0.68502837189000432</c:v>
                </c:pt>
                <c:pt idx="2109">
                  <c:v>0.68502837189000432</c:v>
                </c:pt>
                <c:pt idx="2110">
                  <c:v>0.68502837189000432</c:v>
                </c:pt>
                <c:pt idx="2111">
                  <c:v>0.68502837189000432</c:v>
                </c:pt>
                <c:pt idx="2112">
                  <c:v>0.7106940200785683</c:v>
                </c:pt>
                <c:pt idx="2113">
                  <c:v>0.7106940200785683</c:v>
                </c:pt>
                <c:pt idx="2114">
                  <c:v>0.7106940200785683</c:v>
                </c:pt>
                <c:pt idx="2115">
                  <c:v>0.7106940200785683</c:v>
                </c:pt>
                <c:pt idx="2116">
                  <c:v>0.7106940200785683</c:v>
                </c:pt>
                <c:pt idx="2117">
                  <c:v>0.70824967263203842</c:v>
                </c:pt>
                <c:pt idx="2118">
                  <c:v>0.70824967263203842</c:v>
                </c:pt>
                <c:pt idx="2119">
                  <c:v>0.70824967263203842</c:v>
                </c:pt>
                <c:pt idx="2120">
                  <c:v>0.70824967263203842</c:v>
                </c:pt>
                <c:pt idx="2121">
                  <c:v>0.70824967263203842</c:v>
                </c:pt>
                <c:pt idx="2122">
                  <c:v>0.70580532518550854</c:v>
                </c:pt>
                <c:pt idx="2123">
                  <c:v>0.70580532518550854</c:v>
                </c:pt>
                <c:pt idx="2124">
                  <c:v>0.70580532518550854</c:v>
                </c:pt>
                <c:pt idx="2125">
                  <c:v>0.70580532518550854</c:v>
                </c:pt>
                <c:pt idx="2126">
                  <c:v>0.70580532518550854</c:v>
                </c:pt>
                <c:pt idx="2127">
                  <c:v>0.72693147097337407</c:v>
                </c:pt>
                <c:pt idx="2128">
                  <c:v>0.72693147097337407</c:v>
                </c:pt>
                <c:pt idx="2129">
                  <c:v>0.72693147097337407</c:v>
                </c:pt>
                <c:pt idx="2130">
                  <c:v>0.72693147097337407</c:v>
                </c:pt>
                <c:pt idx="2131">
                  <c:v>0.72693147097337407</c:v>
                </c:pt>
                <c:pt idx="2132">
                  <c:v>0.70344827586206904</c:v>
                </c:pt>
                <c:pt idx="2133">
                  <c:v>0.70344827586206904</c:v>
                </c:pt>
                <c:pt idx="2134">
                  <c:v>0.70344827586206904</c:v>
                </c:pt>
                <c:pt idx="2135">
                  <c:v>0.70344827586206904</c:v>
                </c:pt>
                <c:pt idx="2136">
                  <c:v>0.70344827586206904</c:v>
                </c:pt>
                <c:pt idx="2137">
                  <c:v>0.6998690528153646</c:v>
                </c:pt>
                <c:pt idx="2138">
                  <c:v>0.6998690528153646</c:v>
                </c:pt>
                <c:pt idx="2139">
                  <c:v>0.6998690528153646</c:v>
                </c:pt>
                <c:pt idx="2140">
                  <c:v>0.6998690528153646</c:v>
                </c:pt>
                <c:pt idx="2141">
                  <c:v>0.6998690528153646</c:v>
                </c:pt>
                <c:pt idx="2142">
                  <c:v>0.6827586206896552</c:v>
                </c:pt>
                <c:pt idx="2143">
                  <c:v>0.6827586206896552</c:v>
                </c:pt>
                <c:pt idx="2144">
                  <c:v>0.6827586206896552</c:v>
                </c:pt>
                <c:pt idx="2145">
                  <c:v>0.6827586206896552</c:v>
                </c:pt>
                <c:pt idx="2146">
                  <c:v>0.6827586206896552</c:v>
                </c:pt>
                <c:pt idx="2147">
                  <c:v>0.67926669576604115</c:v>
                </c:pt>
                <c:pt idx="2148">
                  <c:v>0.67926669576604115</c:v>
                </c:pt>
                <c:pt idx="2149">
                  <c:v>0.67926669576604115</c:v>
                </c:pt>
                <c:pt idx="2150">
                  <c:v>0.67926669576604115</c:v>
                </c:pt>
                <c:pt idx="2151">
                  <c:v>0.67926669576604115</c:v>
                </c:pt>
                <c:pt idx="2152">
                  <c:v>0.67027498908773442</c:v>
                </c:pt>
                <c:pt idx="2153">
                  <c:v>0.67027498908773442</c:v>
                </c:pt>
                <c:pt idx="2154">
                  <c:v>0.67027498908773442</c:v>
                </c:pt>
                <c:pt idx="2155">
                  <c:v>0.67027498908773442</c:v>
                </c:pt>
                <c:pt idx="2156">
                  <c:v>0.67027498908773442</c:v>
                </c:pt>
                <c:pt idx="2157">
                  <c:v>0.67123526844172843</c:v>
                </c:pt>
                <c:pt idx="2158">
                  <c:v>0.67123526844172843</c:v>
                </c:pt>
                <c:pt idx="2159">
                  <c:v>0.67123526844172843</c:v>
                </c:pt>
                <c:pt idx="2160">
                  <c:v>0.67123526844172843</c:v>
                </c:pt>
                <c:pt idx="2161">
                  <c:v>0.67123526844172843</c:v>
                </c:pt>
                <c:pt idx="2162">
                  <c:v>0.67132256656481881</c:v>
                </c:pt>
                <c:pt idx="2163">
                  <c:v>0.67132256656481881</c:v>
                </c:pt>
                <c:pt idx="2164">
                  <c:v>0.67132256656481881</c:v>
                </c:pt>
                <c:pt idx="2165">
                  <c:v>0.67132256656481881</c:v>
                </c:pt>
                <c:pt idx="2166">
                  <c:v>0.67132256656481881</c:v>
                </c:pt>
                <c:pt idx="2167">
                  <c:v>0.6719336534264515</c:v>
                </c:pt>
                <c:pt idx="2168">
                  <c:v>0.6719336534264515</c:v>
                </c:pt>
                <c:pt idx="2169">
                  <c:v>0.6719336534264515</c:v>
                </c:pt>
                <c:pt idx="2170">
                  <c:v>0.6719336534264515</c:v>
                </c:pt>
                <c:pt idx="2171">
                  <c:v>0.6719336534264515</c:v>
                </c:pt>
                <c:pt idx="2172">
                  <c:v>0.69000436490615469</c:v>
                </c:pt>
                <c:pt idx="2173">
                  <c:v>0.69000436490615469</c:v>
                </c:pt>
                <c:pt idx="2174">
                  <c:v>0.69000436490615469</c:v>
                </c:pt>
                <c:pt idx="2175">
                  <c:v>0.69000436490615469</c:v>
                </c:pt>
                <c:pt idx="2176">
                  <c:v>0.69000436490615469</c:v>
                </c:pt>
                <c:pt idx="2177">
                  <c:v>0.66931470973374063</c:v>
                </c:pt>
                <c:pt idx="2178">
                  <c:v>0.66931470973374063</c:v>
                </c:pt>
                <c:pt idx="2179">
                  <c:v>0.66931470973374063</c:v>
                </c:pt>
                <c:pt idx="2180">
                  <c:v>0.66931470973374063</c:v>
                </c:pt>
                <c:pt idx="2181">
                  <c:v>0.66931470973374063</c:v>
                </c:pt>
                <c:pt idx="2182">
                  <c:v>0.67114797031863827</c:v>
                </c:pt>
                <c:pt idx="2183">
                  <c:v>0.67114797031863827</c:v>
                </c:pt>
                <c:pt idx="2184">
                  <c:v>0.67114797031863827</c:v>
                </c:pt>
                <c:pt idx="2185">
                  <c:v>0.67114797031863827</c:v>
                </c:pt>
                <c:pt idx="2186">
                  <c:v>0.67114797031863827</c:v>
                </c:pt>
                <c:pt idx="2187">
                  <c:v>0.68974247053688353</c:v>
                </c:pt>
                <c:pt idx="2188">
                  <c:v>0.68974247053688353</c:v>
                </c:pt>
                <c:pt idx="2189">
                  <c:v>0.68974247053688353</c:v>
                </c:pt>
                <c:pt idx="2190">
                  <c:v>0.68974247053688353</c:v>
                </c:pt>
                <c:pt idx="2191">
                  <c:v>0.68974247053688353</c:v>
                </c:pt>
                <c:pt idx="2192">
                  <c:v>0.68808380619816667</c:v>
                </c:pt>
                <c:pt idx="2193">
                  <c:v>0.68808380619816667</c:v>
                </c:pt>
                <c:pt idx="2194">
                  <c:v>0.68808380619816667</c:v>
                </c:pt>
                <c:pt idx="2195">
                  <c:v>0.68808380619816667</c:v>
                </c:pt>
                <c:pt idx="2196">
                  <c:v>0.68808380619816667</c:v>
                </c:pt>
                <c:pt idx="2197">
                  <c:v>0.70929725010912259</c:v>
                </c:pt>
                <c:pt idx="2198">
                  <c:v>0.70929725010912259</c:v>
                </c:pt>
                <c:pt idx="2199">
                  <c:v>0.70929725010912259</c:v>
                </c:pt>
                <c:pt idx="2200">
                  <c:v>0.70929725010912259</c:v>
                </c:pt>
                <c:pt idx="2201">
                  <c:v>0.70929725010912259</c:v>
                </c:pt>
                <c:pt idx="2202">
                  <c:v>0.70510694020078568</c:v>
                </c:pt>
                <c:pt idx="2203">
                  <c:v>0.70510694020078568</c:v>
                </c:pt>
                <c:pt idx="2204">
                  <c:v>0.70510694020078568</c:v>
                </c:pt>
                <c:pt idx="2205">
                  <c:v>0.70510694020078568</c:v>
                </c:pt>
                <c:pt idx="2206">
                  <c:v>0.70510694020078568</c:v>
                </c:pt>
                <c:pt idx="2207">
                  <c:v>0.70257529463116541</c:v>
                </c:pt>
                <c:pt idx="2208">
                  <c:v>0.70257529463116541</c:v>
                </c:pt>
                <c:pt idx="2209">
                  <c:v>0.70257529463116541</c:v>
                </c:pt>
                <c:pt idx="2210">
                  <c:v>0.70257529463116541</c:v>
                </c:pt>
                <c:pt idx="2211">
                  <c:v>0.70257529463116541</c:v>
                </c:pt>
                <c:pt idx="2212">
                  <c:v>0.70240069838498487</c:v>
                </c:pt>
                <c:pt idx="2213">
                  <c:v>0.70240069838498487</c:v>
                </c:pt>
                <c:pt idx="2214">
                  <c:v>0.70240069838498487</c:v>
                </c:pt>
                <c:pt idx="2215">
                  <c:v>0.70240069838498487</c:v>
                </c:pt>
                <c:pt idx="2216">
                  <c:v>0.70240069838498487</c:v>
                </c:pt>
                <c:pt idx="2217">
                  <c:v>0.70851156700130957</c:v>
                </c:pt>
                <c:pt idx="2218">
                  <c:v>0.70851156700130957</c:v>
                </c:pt>
                <c:pt idx="2219">
                  <c:v>0.70851156700130957</c:v>
                </c:pt>
                <c:pt idx="2220">
                  <c:v>0.70851156700130957</c:v>
                </c:pt>
                <c:pt idx="2221">
                  <c:v>0.70851156700130957</c:v>
                </c:pt>
                <c:pt idx="2222">
                  <c:v>0.69943256219991268</c:v>
                </c:pt>
                <c:pt idx="2223">
                  <c:v>0.69943256219991268</c:v>
                </c:pt>
                <c:pt idx="2224">
                  <c:v>0.69943256219991268</c:v>
                </c:pt>
                <c:pt idx="2225">
                  <c:v>0.69943256219991268</c:v>
                </c:pt>
                <c:pt idx="2226">
                  <c:v>0.69943256219991268</c:v>
                </c:pt>
                <c:pt idx="2227">
                  <c:v>0.70842426887821919</c:v>
                </c:pt>
                <c:pt idx="2228">
                  <c:v>0.70842426887821919</c:v>
                </c:pt>
                <c:pt idx="2229">
                  <c:v>0.70842426887821919</c:v>
                </c:pt>
                <c:pt idx="2230">
                  <c:v>0.70842426887821919</c:v>
                </c:pt>
                <c:pt idx="2231">
                  <c:v>0.70842426887821919</c:v>
                </c:pt>
                <c:pt idx="2232">
                  <c:v>0.71663029244871246</c:v>
                </c:pt>
                <c:pt idx="2233">
                  <c:v>0.71663029244871246</c:v>
                </c:pt>
                <c:pt idx="2234">
                  <c:v>0.71663029244871246</c:v>
                </c:pt>
                <c:pt idx="2235">
                  <c:v>0.71663029244871246</c:v>
                </c:pt>
                <c:pt idx="2236">
                  <c:v>0.71663029244871246</c:v>
                </c:pt>
                <c:pt idx="2237">
                  <c:v>0.70362287210824981</c:v>
                </c:pt>
                <c:pt idx="2238">
                  <c:v>0.70362287210824981</c:v>
                </c:pt>
                <c:pt idx="2239">
                  <c:v>0.70362287210824981</c:v>
                </c:pt>
                <c:pt idx="2240">
                  <c:v>0.70362287210824981</c:v>
                </c:pt>
                <c:pt idx="2241">
                  <c:v>0.70362287210824981</c:v>
                </c:pt>
                <c:pt idx="2242">
                  <c:v>0.7074639895242254</c:v>
                </c:pt>
                <c:pt idx="2243">
                  <c:v>0.7074639895242254</c:v>
                </c:pt>
                <c:pt idx="2244">
                  <c:v>0.7074639895242254</c:v>
                </c:pt>
                <c:pt idx="2245">
                  <c:v>0.7074639895242254</c:v>
                </c:pt>
                <c:pt idx="2246">
                  <c:v>0.7074639895242254</c:v>
                </c:pt>
                <c:pt idx="2247">
                  <c:v>0.71732867743343531</c:v>
                </c:pt>
                <c:pt idx="2248">
                  <c:v>0.71732867743343531</c:v>
                </c:pt>
                <c:pt idx="2249">
                  <c:v>0.71732867743343531</c:v>
                </c:pt>
                <c:pt idx="2250">
                  <c:v>0.71732867743343531</c:v>
                </c:pt>
                <c:pt idx="2251">
                  <c:v>0.71732867743343531</c:v>
                </c:pt>
                <c:pt idx="2252">
                  <c:v>0.70440855521606283</c:v>
                </c:pt>
                <c:pt idx="2253">
                  <c:v>0.70440855521606283</c:v>
                </c:pt>
                <c:pt idx="2254">
                  <c:v>0.70440855521606283</c:v>
                </c:pt>
                <c:pt idx="2255">
                  <c:v>0.70440855521606283</c:v>
                </c:pt>
                <c:pt idx="2256">
                  <c:v>0.70440855521606283</c:v>
                </c:pt>
                <c:pt idx="2257">
                  <c:v>0.70379746835443036</c:v>
                </c:pt>
                <c:pt idx="2258">
                  <c:v>0.70379746835443036</c:v>
                </c:pt>
                <c:pt idx="2259">
                  <c:v>0.70379746835443036</c:v>
                </c:pt>
                <c:pt idx="2260">
                  <c:v>0.70379746835443036</c:v>
                </c:pt>
                <c:pt idx="2261">
                  <c:v>0.70379746835443036</c:v>
                </c:pt>
                <c:pt idx="2262">
                  <c:v>0.69864687909209944</c:v>
                </c:pt>
                <c:pt idx="2263">
                  <c:v>0.69864687909209944</c:v>
                </c:pt>
                <c:pt idx="2264">
                  <c:v>0.69864687909209944</c:v>
                </c:pt>
                <c:pt idx="2265">
                  <c:v>0.69864687909209944</c:v>
                </c:pt>
                <c:pt idx="2266">
                  <c:v>0.69864687909209944</c:v>
                </c:pt>
                <c:pt idx="2267">
                  <c:v>0.70484504583151453</c:v>
                </c:pt>
                <c:pt idx="2268">
                  <c:v>0.70484504583151453</c:v>
                </c:pt>
                <c:pt idx="2269">
                  <c:v>0.70484504583151453</c:v>
                </c:pt>
                <c:pt idx="2270">
                  <c:v>0.70484504583151453</c:v>
                </c:pt>
                <c:pt idx="2271">
                  <c:v>0.70484504583151453</c:v>
                </c:pt>
                <c:pt idx="2272">
                  <c:v>0.7030990833697075</c:v>
                </c:pt>
                <c:pt idx="2273">
                  <c:v>0.7030990833697075</c:v>
                </c:pt>
                <c:pt idx="2274">
                  <c:v>0.7030990833697075</c:v>
                </c:pt>
                <c:pt idx="2275">
                  <c:v>0.7030990833697075</c:v>
                </c:pt>
                <c:pt idx="2276">
                  <c:v>0.7030990833697075</c:v>
                </c:pt>
                <c:pt idx="2277">
                  <c:v>0.71174159755565269</c:v>
                </c:pt>
                <c:pt idx="2278">
                  <c:v>0.71174159755565269</c:v>
                </c:pt>
                <c:pt idx="2279">
                  <c:v>0.71174159755565269</c:v>
                </c:pt>
                <c:pt idx="2280">
                  <c:v>0.71174159755565269</c:v>
                </c:pt>
                <c:pt idx="2281">
                  <c:v>0.71174159755565269</c:v>
                </c:pt>
                <c:pt idx="2282">
                  <c:v>0.6937581841990399</c:v>
                </c:pt>
                <c:pt idx="2283">
                  <c:v>0.6937581841990399</c:v>
                </c:pt>
                <c:pt idx="2284">
                  <c:v>0.6937581841990399</c:v>
                </c:pt>
                <c:pt idx="2285">
                  <c:v>0.6937581841990399</c:v>
                </c:pt>
                <c:pt idx="2286">
                  <c:v>0.6937581841990399</c:v>
                </c:pt>
                <c:pt idx="2287">
                  <c:v>0.69087734613705809</c:v>
                </c:pt>
                <c:pt idx="2288">
                  <c:v>0.69087734613705809</c:v>
                </c:pt>
                <c:pt idx="2289">
                  <c:v>0.69087734613705809</c:v>
                </c:pt>
                <c:pt idx="2290">
                  <c:v>0.69087734613705809</c:v>
                </c:pt>
                <c:pt idx="2291">
                  <c:v>0.69087734613705809</c:v>
                </c:pt>
                <c:pt idx="2292">
                  <c:v>0.71357485814055011</c:v>
                </c:pt>
                <c:pt idx="2293">
                  <c:v>0.71357485814055011</c:v>
                </c:pt>
                <c:pt idx="2294">
                  <c:v>0.71357485814055011</c:v>
                </c:pt>
                <c:pt idx="2295">
                  <c:v>0.71357485814055011</c:v>
                </c:pt>
                <c:pt idx="2296">
                  <c:v>0.71357485814055011</c:v>
                </c:pt>
                <c:pt idx="2297">
                  <c:v>0.70685290266259271</c:v>
                </c:pt>
                <c:pt idx="2298">
                  <c:v>0.70685290266259271</c:v>
                </c:pt>
                <c:pt idx="2299">
                  <c:v>0.70685290266259271</c:v>
                </c:pt>
                <c:pt idx="2300">
                  <c:v>0.70685290266259271</c:v>
                </c:pt>
                <c:pt idx="2301">
                  <c:v>0.70685290266259271</c:v>
                </c:pt>
                <c:pt idx="2302">
                  <c:v>0.70536883457005684</c:v>
                </c:pt>
                <c:pt idx="2303">
                  <c:v>0.70536883457005684</c:v>
                </c:pt>
                <c:pt idx="2304">
                  <c:v>0.70536883457005684</c:v>
                </c:pt>
                <c:pt idx="2305">
                  <c:v>0.70536883457005684</c:v>
                </c:pt>
                <c:pt idx="2306">
                  <c:v>0.70536883457005684</c:v>
                </c:pt>
                <c:pt idx="2307">
                  <c:v>0.70676560453950232</c:v>
                </c:pt>
                <c:pt idx="2308">
                  <c:v>0.70676560453950232</c:v>
                </c:pt>
                <c:pt idx="2309">
                  <c:v>0.70676560453950232</c:v>
                </c:pt>
                <c:pt idx="2310">
                  <c:v>0.70676560453950232</c:v>
                </c:pt>
                <c:pt idx="2311">
                  <c:v>0.70676560453950232</c:v>
                </c:pt>
                <c:pt idx="2312">
                  <c:v>0.70920995198603243</c:v>
                </c:pt>
                <c:pt idx="2313">
                  <c:v>0.70920995198603243</c:v>
                </c:pt>
                <c:pt idx="2314">
                  <c:v>0.70920995198603243</c:v>
                </c:pt>
                <c:pt idx="2315">
                  <c:v>0.70920995198603243</c:v>
                </c:pt>
                <c:pt idx="2316">
                  <c:v>0.70920995198603243</c:v>
                </c:pt>
                <c:pt idx="2317">
                  <c:v>0.7286774334351811</c:v>
                </c:pt>
                <c:pt idx="2318">
                  <c:v>0.7286774334351811</c:v>
                </c:pt>
                <c:pt idx="2319">
                  <c:v>0.7286774334351811</c:v>
                </c:pt>
                <c:pt idx="2320">
                  <c:v>0.7286774334351811</c:v>
                </c:pt>
                <c:pt idx="2321">
                  <c:v>0.7286774334351811</c:v>
                </c:pt>
                <c:pt idx="2322">
                  <c:v>0.72186817983413354</c:v>
                </c:pt>
                <c:pt idx="2323">
                  <c:v>0.72186817983413354</c:v>
                </c:pt>
                <c:pt idx="2324">
                  <c:v>0.72186817983413354</c:v>
                </c:pt>
                <c:pt idx="2325">
                  <c:v>0.72186817983413354</c:v>
                </c:pt>
                <c:pt idx="2326">
                  <c:v>0.72186817983413354</c:v>
                </c:pt>
                <c:pt idx="2327">
                  <c:v>0.71305106940200802</c:v>
                </c:pt>
                <c:pt idx="2328">
                  <c:v>0.71305106940200802</c:v>
                </c:pt>
                <c:pt idx="2329">
                  <c:v>0.71305106940200802</c:v>
                </c:pt>
                <c:pt idx="2330">
                  <c:v>0.71305106940200802</c:v>
                </c:pt>
                <c:pt idx="2331">
                  <c:v>0.71305106940200802</c:v>
                </c:pt>
                <c:pt idx="2332">
                  <c:v>0.70362287210824981</c:v>
                </c:pt>
                <c:pt idx="2333">
                  <c:v>0.70362287210824981</c:v>
                </c:pt>
                <c:pt idx="2334">
                  <c:v>0.70362287210824981</c:v>
                </c:pt>
                <c:pt idx="2335">
                  <c:v>0.70362287210824981</c:v>
                </c:pt>
                <c:pt idx="2336">
                  <c:v>0.70362287210824981</c:v>
                </c:pt>
                <c:pt idx="2337">
                  <c:v>0.70659100829332155</c:v>
                </c:pt>
                <c:pt idx="2338">
                  <c:v>0.70659100829332155</c:v>
                </c:pt>
                <c:pt idx="2339">
                  <c:v>0.70659100829332155</c:v>
                </c:pt>
                <c:pt idx="2340">
                  <c:v>0.70659100829332155</c:v>
                </c:pt>
                <c:pt idx="2341">
                  <c:v>0.70659100829332155</c:v>
                </c:pt>
                <c:pt idx="2342">
                  <c:v>0.70484504583151453</c:v>
                </c:pt>
                <c:pt idx="2343">
                  <c:v>0.70484504583151453</c:v>
                </c:pt>
                <c:pt idx="2344">
                  <c:v>0.70484504583151453</c:v>
                </c:pt>
                <c:pt idx="2345">
                  <c:v>0.70484504583151453</c:v>
                </c:pt>
                <c:pt idx="2346">
                  <c:v>0.70484504583151453</c:v>
                </c:pt>
                <c:pt idx="2347">
                  <c:v>0.70292448712352695</c:v>
                </c:pt>
                <c:pt idx="2348">
                  <c:v>0.70292448712352695</c:v>
                </c:pt>
                <c:pt idx="2349">
                  <c:v>0.70292448712352695</c:v>
                </c:pt>
                <c:pt idx="2350">
                  <c:v>0.70292448712352695</c:v>
                </c:pt>
                <c:pt idx="2351">
                  <c:v>0.70292448712352695</c:v>
                </c:pt>
                <c:pt idx="2352">
                  <c:v>0.70912265386294182</c:v>
                </c:pt>
                <c:pt idx="2353">
                  <c:v>0.70912265386294182</c:v>
                </c:pt>
                <c:pt idx="2354">
                  <c:v>0.70912265386294182</c:v>
                </c:pt>
                <c:pt idx="2355">
                  <c:v>0.70912265386294182</c:v>
                </c:pt>
                <c:pt idx="2356">
                  <c:v>0.70912265386294182</c:v>
                </c:pt>
                <c:pt idx="2357">
                  <c:v>0.72483631601920551</c:v>
                </c:pt>
                <c:pt idx="2358">
                  <c:v>0.72483631601920551</c:v>
                </c:pt>
                <c:pt idx="2359">
                  <c:v>0.72483631601920551</c:v>
                </c:pt>
                <c:pt idx="2360">
                  <c:v>0.72483631601920551</c:v>
                </c:pt>
                <c:pt idx="2361">
                  <c:v>0.72483631601920551</c:v>
                </c:pt>
                <c:pt idx="2362">
                  <c:v>0.68459188127455262</c:v>
                </c:pt>
                <c:pt idx="2363">
                  <c:v>0.68459188127455262</c:v>
                </c:pt>
                <c:pt idx="2364">
                  <c:v>0.68459188127455262</c:v>
                </c:pt>
                <c:pt idx="2365">
                  <c:v>0.68459188127455262</c:v>
                </c:pt>
                <c:pt idx="2366">
                  <c:v>0.68459188127455262</c:v>
                </c:pt>
                <c:pt idx="2367">
                  <c:v>0.73391532082060218</c:v>
                </c:pt>
                <c:pt idx="2368">
                  <c:v>0.73391532082060218</c:v>
                </c:pt>
                <c:pt idx="2369">
                  <c:v>0.73391532082060218</c:v>
                </c:pt>
                <c:pt idx="2370">
                  <c:v>0.73391532082060218</c:v>
                </c:pt>
                <c:pt idx="2371">
                  <c:v>0.73391532082060218</c:v>
                </c:pt>
                <c:pt idx="2372">
                  <c:v>0.70990833697075506</c:v>
                </c:pt>
                <c:pt idx="2373">
                  <c:v>0.70990833697075506</c:v>
                </c:pt>
                <c:pt idx="2374">
                  <c:v>0.70990833697075506</c:v>
                </c:pt>
                <c:pt idx="2375">
                  <c:v>0.70990833697075506</c:v>
                </c:pt>
                <c:pt idx="2376">
                  <c:v>0.70990833697075506</c:v>
                </c:pt>
                <c:pt idx="2377">
                  <c:v>0.73548668703622866</c:v>
                </c:pt>
                <c:pt idx="2378">
                  <c:v>0.73548668703622866</c:v>
                </c:pt>
                <c:pt idx="2379">
                  <c:v>0.73548668703622866</c:v>
                </c:pt>
                <c:pt idx="2380">
                  <c:v>0.73548668703622866</c:v>
                </c:pt>
                <c:pt idx="2381">
                  <c:v>0.73548668703622866</c:v>
                </c:pt>
                <c:pt idx="2382">
                  <c:v>0.72413793103448265</c:v>
                </c:pt>
                <c:pt idx="2383">
                  <c:v>0.72413793103448265</c:v>
                </c:pt>
                <c:pt idx="2384">
                  <c:v>0.72413793103448265</c:v>
                </c:pt>
                <c:pt idx="2385">
                  <c:v>0.72413793103448265</c:v>
                </c:pt>
                <c:pt idx="2386">
                  <c:v>0.72413793103448265</c:v>
                </c:pt>
                <c:pt idx="2387">
                  <c:v>0.72754255783500676</c:v>
                </c:pt>
                <c:pt idx="2388">
                  <c:v>0.72754255783500676</c:v>
                </c:pt>
                <c:pt idx="2389">
                  <c:v>0.72754255783500676</c:v>
                </c:pt>
                <c:pt idx="2390">
                  <c:v>0.72754255783500676</c:v>
                </c:pt>
                <c:pt idx="2391">
                  <c:v>0.72754255783500676</c:v>
                </c:pt>
                <c:pt idx="2392">
                  <c:v>0.72937581841990395</c:v>
                </c:pt>
                <c:pt idx="2393">
                  <c:v>0.72937581841990395</c:v>
                </c:pt>
                <c:pt idx="2394">
                  <c:v>0.72937581841990395</c:v>
                </c:pt>
                <c:pt idx="2395">
                  <c:v>0.72937581841990395</c:v>
                </c:pt>
                <c:pt idx="2396">
                  <c:v>0.72937581841990395</c:v>
                </c:pt>
                <c:pt idx="2397">
                  <c:v>0.73164556962025307</c:v>
                </c:pt>
                <c:pt idx="2398">
                  <c:v>0.73164556962025307</c:v>
                </c:pt>
                <c:pt idx="2399">
                  <c:v>0.73164556962025307</c:v>
                </c:pt>
                <c:pt idx="2400">
                  <c:v>0.73164556962025307</c:v>
                </c:pt>
                <c:pt idx="2401">
                  <c:v>0.73164556962025307</c:v>
                </c:pt>
                <c:pt idx="2402">
                  <c:v>0.71863814927979064</c:v>
                </c:pt>
                <c:pt idx="2403">
                  <c:v>0.71863814927979064</c:v>
                </c:pt>
                <c:pt idx="2404">
                  <c:v>0.71863814927979064</c:v>
                </c:pt>
                <c:pt idx="2405">
                  <c:v>0.71863814927979064</c:v>
                </c:pt>
                <c:pt idx="2406">
                  <c:v>0.71863814927979064</c:v>
                </c:pt>
                <c:pt idx="2407">
                  <c:v>0.70842426887821919</c:v>
                </c:pt>
                <c:pt idx="2408">
                  <c:v>0.70842426887821919</c:v>
                </c:pt>
                <c:pt idx="2409">
                  <c:v>0.70842426887821919</c:v>
                </c:pt>
                <c:pt idx="2410">
                  <c:v>0.70842426887821919</c:v>
                </c:pt>
                <c:pt idx="2411">
                  <c:v>0.70842426887821919</c:v>
                </c:pt>
                <c:pt idx="2412">
                  <c:v>0.71558271497162829</c:v>
                </c:pt>
                <c:pt idx="2413">
                  <c:v>0.71558271497162829</c:v>
                </c:pt>
                <c:pt idx="2414">
                  <c:v>0.71558271497162829</c:v>
                </c:pt>
                <c:pt idx="2415">
                  <c:v>0.71558271497162829</c:v>
                </c:pt>
                <c:pt idx="2416">
                  <c:v>0.71558271497162829</c:v>
                </c:pt>
                <c:pt idx="2417">
                  <c:v>0.71296377127891741</c:v>
                </c:pt>
                <c:pt idx="2418">
                  <c:v>0.71296377127891741</c:v>
                </c:pt>
                <c:pt idx="2419">
                  <c:v>0.71296377127891741</c:v>
                </c:pt>
                <c:pt idx="2420">
                  <c:v>0.71296377127891741</c:v>
                </c:pt>
                <c:pt idx="2421">
                  <c:v>0.71296377127891741</c:v>
                </c:pt>
                <c:pt idx="2422">
                  <c:v>0.72474901789611534</c:v>
                </c:pt>
                <c:pt idx="2423">
                  <c:v>0.72474901789611534</c:v>
                </c:pt>
                <c:pt idx="2424">
                  <c:v>0.72474901789611534</c:v>
                </c:pt>
                <c:pt idx="2425">
                  <c:v>0.72474901789611534</c:v>
                </c:pt>
                <c:pt idx="2426">
                  <c:v>0.72474901789611534</c:v>
                </c:pt>
                <c:pt idx="2427">
                  <c:v>0.7381929288520297</c:v>
                </c:pt>
                <c:pt idx="2428">
                  <c:v>0.7381929288520297</c:v>
                </c:pt>
                <c:pt idx="2429">
                  <c:v>0.7381929288520297</c:v>
                </c:pt>
                <c:pt idx="2430">
                  <c:v>0.7381929288520297</c:v>
                </c:pt>
                <c:pt idx="2431">
                  <c:v>0.7381929288520297</c:v>
                </c:pt>
                <c:pt idx="2432">
                  <c:v>0.73601047577477074</c:v>
                </c:pt>
                <c:pt idx="2433">
                  <c:v>0.73601047577477074</c:v>
                </c:pt>
                <c:pt idx="2434">
                  <c:v>0.73601047577477074</c:v>
                </c:pt>
                <c:pt idx="2435">
                  <c:v>0.73601047577477074</c:v>
                </c:pt>
                <c:pt idx="2436">
                  <c:v>0.73601047577477074</c:v>
                </c:pt>
                <c:pt idx="2437">
                  <c:v>0.71374945438673065</c:v>
                </c:pt>
                <c:pt idx="2438">
                  <c:v>0.71374945438673065</c:v>
                </c:pt>
                <c:pt idx="2439">
                  <c:v>0.71374945438673065</c:v>
                </c:pt>
                <c:pt idx="2440">
                  <c:v>0.71374945438673065</c:v>
                </c:pt>
                <c:pt idx="2441">
                  <c:v>0.71374945438673065</c:v>
                </c:pt>
                <c:pt idx="2442">
                  <c:v>0.74692274116106505</c:v>
                </c:pt>
                <c:pt idx="2443">
                  <c:v>0.74692274116106505</c:v>
                </c:pt>
                <c:pt idx="2444">
                  <c:v>0.74692274116106505</c:v>
                </c:pt>
                <c:pt idx="2445">
                  <c:v>0.74692274116106505</c:v>
                </c:pt>
                <c:pt idx="2446">
                  <c:v>0.74692274116106505</c:v>
                </c:pt>
                <c:pt idx="2447">
                  <c:v>0.72570929725010913</c:v>
                </c:pt>
                <c:pt idx="2448">
                  <c:v>0.72570929725010913</c:v>
                </c:pt>
                <c:pt idx="2449">
                  <c:v>0.72570929725010913</c:v>
                </c:pt>
                <c:pt idx="2450">
                  <c:v>0.72570929725010913</c:v>
                </c:pt>
                <c:pt idx="2451">
                  <c:v>0.72570929725010913</c:v>
                </c:pt>
                <c:pt idx="2452">
                  <c:v>0.70388476647752074</c:v>
                </c:pt>
                <c:pt idx="2453">
                  <c:v>0.70388476647752074</c:v>
                </c:pt>
                <c:pt idx="2454">
                  <c:v>0.70388476647752074</c:v>
                </c:pt>
                <c:pt idx="2455">
                  <c:v>0.70388476647752074</c:v>
                </c:pt>
                <c:pt idx="2456">
                  <c:v>0.70388476647752074</c:v>
                </c:pt>
                <c:pt idx="2457">
                  <c:v>0.69847228284591867</c:v>
                </c:pt>
                <c:pt idx="2458">
                  <c:v>0.69847228284591867</c:v>
                </c:pt>
                <c:pt idx="2459">
                  <c:v>0.69847228284591867</c:v>
                </c:pt>
                <c:pt idx="2460">
                  <c:v>0.69847228284591867</c:v>
                </c:pt>
                <c:pt idx="2461">
                  <c:v>0.69847228284591867</c:v>
                </c:pt>
                <c:pt idx="2462">
                  <c:v>0.71514622435617614</c:v>
                </c:pt>
                <c:pt idx="2463">
                  <c:v>0.71514622435617614</c:v>
                </c:pt>
                <c:pt idx="2464">
                  <c:v>0.71514622435617614</c:v>
                </c:pt>
                <c:pt idx="2465">
                  <c:v>0.71514622435617614</c:v>
                </c:pt>
                <c:pt idx="2466">
                  <c:v>0.71514622435617614</c:v>
                </c:pt>
                <c:pt idx="2467">
                  <c:v>0.7278044522042777</c:v>
                </c:pt>
                <c:pt idx="2468">
                  <c:v>0.7278044522042777</c:v>
                </c:pt>
                <c:pt idx="2469">
                  <c:v>0.7278044522042777</c:v>
                </c:pt>
                <c:pt idx="2470">
                  <c:v>0.7278044522042777</c:v>
                </c:pt>
                <c:pt idx="2471">
                  <c:v>0.7278044522042777</c:v>
                </c:pt>
                <c:pt idx="2472">
                  <c:v>0.70510694020078568</c:v>
                </c:pt>
                <c:pt idx="2473">
                  <c:v>0.70510694020078568</c:v>
                </c:pt>
                <c:pt idx="2474">
                  <c:v>0.70510694020078568</c:v>
                </c:pt>
                <c:pt idx="2475">
                  <c:v>0.70510694020078568</c:v>
                </c:pt>
                <c:pt idx="2476">
                  <c:v>0.70510694020078568</c:v>
                </c:pt>
                <c:pt idx="2477">
                  <c:v>0.71933653426451327</c:v>
                </c:pt>
                <c:pt idx="2478">
                  <c:v>0.71933653426451327</c:v>
                </c:pt>
                <c:pt idx="2479">
                  <c:v>0.71933653426451327</c:v>
                </c:pt>
                <c:pt idx="2480">
                  <c:v>0.71933653426451327</c:v>
                </c:pt>
                <c:pt idx="2481">
                  <c:v>0.71933653426451327</c:v>
                </c:pt>
                <c:pt idx="2482">
                  <c:v>0.7315582714971629</c:v>
                </c:pt>
                <c:pt idx="2483">
                  <c:v>0.7315582714971629</c:v>
                </c:pt>
                <c:pt idx="2484">
                  <c:v>0.7315582714971629</c:v>
                </c:pt>
                <c:pt idx="2485">
                  <c:v>0.7315582714971629</c:v>
                </c:pt>
                <c:pt idx="2486">
                  <c:v>0.7315582714971629</c:v>
                </c:pt>
                <c:pt idx="2487">
                  <c:v>0.73304233958969878</c:v>
                </c:pt>
                <c:pt idx="2488">
                  <c:v>0.73304233958969878</c:v>
                </c:pt>
                <c:pt idx="2489">
                  <c:v>0.73304233958969878</c:v>
                </c:pt>
                <c:pt idx="2490">
                  <c:v>0.73304233958969878</c:v>
                </c:pt>
                <c:pt idx="2491">
                  <c:v>0.73304233958969878</c:v>
                </c:pt>
                <c:pt idx="2492">
                  <c:v>0.73548668703622866</c:v>
                </c:pt>
                <c:pt idx="2493">
                  <c:v>0.73548668703622866</c:v>
                </c:pt>
                <c:pt idx="2494">
                  <c:v>0.73548668703622866</c:v>
                </c:pt>
                <c:pt idx="2495">
                  <c:v>0.73548668703622866</c:v>
                </c:pt>
                <c:pt idx="2496">
                  <c:v>0.73548668703622866</c:v>
                </c:pt>
                <c:pt idx="2497">
                  <c:v>0.73487560017459641</c:v>
                </c:pt>
                <c:pt idx="2498">
                  <c:v>0.73487560017459641</c:v>
                </c:pt>
                <c:pt idx="2499">
                  <c:v>0.73487560017459641</c:v>
                </c:pt>
                <c:pt idx="2500">
                  <c:v>0.73487560017459641</c:v>
                </c:pt>
                <c:pt idx="2501">
                  <c:v>0.73487560017459641</c:v>
                </c:pt>
                <c:pt idx="2502">
                  <c:v>0.7386294194674814</c:v>
                </c:pt>
                <c:pt idx="2503">
                  <c:v>0.7386294194674814</c:v>
                </c:pt>
                <c:pt idx="2504">
                  <c:v>0.7386294194674814</c:v>
                </c:pt>
                <c:pt idx="2505">
                  <c:v>0.7386294194674814</c:v>
                </c:pt>
                <c:pt idx="2506">
                  <c:v>0.7386294194674814</c:v>
                </c:pt>
                <c:pt idx="2507">
                  <c:v>0.76542994325621994</c:v>
                </c:pt>
                <c:pt idx="2508">
                  <c:v>0.76542994325621994</c:v>
                </c:pt>
                <c:pt idx="2509">
                  <c:v>0.76542994325621994</c:v>
                </c:pt>
                <c:pt idx="2510">
                  <c:v>0.76542994325621994</c:v>
                </c:pt>
                <c:pt idx="2511">
                  <c:v>0.76542994325621994</c:v>
                </c:pt>
                <c:pt idx="2512">
                  <c:v>0.74360541248363154</c:v>
                </c:pt>
                <c:pt idx="2513">
                  <c:v>0.74360541248363154</c:v>
                </c:pt>
                <c:pt idx="2514">
                  <c:v>0.74360541248363154</c:v>
                </c:pt>
                <c:pt idx="2515">
                  <c:v>0.74360541248363154</c:v>
                </c:pt>
                <c:pt idx="2516">
                  <c:v>0.74360541248363154</c:v>
                </c:pt>
                <c:pt idx="2517">
                  <c:v>0.74866870362287208</c:v>
                </c:pt>
                <c:pt idx="2518">
                  <c:v>0.74866870362287208</c:v>
                </c:pt>
                <c:pt idx="2519">
                  <c:v>0.74866870362287208</c:v>
                </c:pt>
                <c:pt idx="2520">
                  <c:v>0.74866870362287208</c:v>
                </c:pt>
                <c:pt idx="2521">
                  <c:v>0.74866870362287208</c:v>
                </c:pt>
                <c:pt idx="2522">
                  <c:v>0.74639895242252274</c:v>
                </c:pt>
                <c:pt idx="2523">
                  <c:v>0.74639895242252274</c:v>
                </c:pt>
                <c:pt idx="2524">
                  <c:v>0.74639895242252274</c:v>
                </c:pt>
                <c:pt idx="2525">
                  <c:v>0.74639895242252274</c:v>
                </c:pt>
                <c:pt idx="2526">
                  <c:v>0.74639895242252274</c:v>
                </c:pt>
                <c:pt idx="2527">
                  <c:v>0.78961152335224782</c:v>
                </c:pt>
                <c:pt idx="2528">
                  <c:v>0.78961152335224782</c:v>
                </c:pt>
                <c:pt idx="2529">
                  <c:v>0.78961152335224782</c:v>
                </c:pt>
                <c:pt idx="2530">
                  <c:v>0.78961152335224782</c:v>
                </c:pt>
                <c:pt idx="2531">
                  <c:v>0.78961152335224782</c:v>
                </c:pt>
                <c:pt idx="2532">
                  <c:v>0.80192055870798762</c:v>
                </c:pt>
                <c:pt idx="2533">
                  <c:v>0.80192055870798762</c:v>
                </c:pt>
                <c:pt idx="2534">
                  <c:v>0.80192055870798762</c:v>
                </c:pt>
                <c:pt idx="2535">
                  <c:v>0.80192055870798762</c:v>
                </c:pt>
                <c:pt idx="2536">
                  <c:v>0.80192055870798762</c:v>
                </c:pt>
                <c:pt idx="2537">
                  <c:v>0.78961152335224782</c:v>
                </c:pt>
                <c:pt idx="2538">
                  <c:v>0.78961152335224782</c:v>
                </c:pt>
                <c:pt idx="2539">
                  <c:v>0.78961152335224782</c:v>
                </c:pt>
                <c:pt idx="2540">
                  <c:v>0.78961152335224782</c:v>
                </c:pt>
                <c:pt idx="2541">
                  <c:v>0.78961152335224782</c:v>
                </c:pt>
                <c:pt idx="2542">
                  <c:v>0.79799214316892186</c:v>
                </c:pt>
                <c:pt idx="2543">
                  <c:v>0.79799214316892186</c:v>
                </c:pt>
                <c:pt idx="2544">
                  <c:v>0.79799214316892186</c:v>
                </c:pt>
                <c:pt idx="2545">
                  <c:v>0.79799214316892186</c:v>
                </c:pt>
                <c:pt idx="2546">
                  <c:v>0.79799214316892186</c:v>
                </c:pt>
                <c:pt idx="2547">
                  <c:v>0.80375381929288503</c:v>
                </c:pt>
                <c:pt idx="2548">
                  <c:v>0.80375381929288503</c:v>
                </c:pt>
                <c:pt idx="2549">
                  <c:v>0.80375381929288503</c:v>
                </c:pt>
                <c:pt idx="2550">
                  <c:v>0.80375381929288503</c:v>
                </c:pt>
                <c:pt idx="2551">
                  <c:v>0.80375381929288503</c:v>
                </c:pt>
                <c:pt idx="2552">
                  <c:v>0.82645133129637727</c:v>
                </c:pt>
                <c:pt idx="2553">
                  <c:v>0.82645133129637727</c:v>
                </c:pt>
                <c:pt idx="2554">
                  <c:v>0.82645133129637727</c:v>
                </c:pt>
                <c:pt idx="2555">
                  <c:v>0.82645133129637727</c:v>
                </c:pt>
                <c:pt idx="2556">
                  <c:v>0.82645133129637727</c:v>
                </c:pt>
                <c:pt idx="2557">
                  <c:v>0.82645133129637727</c:v>
                </c:pt>
                <c:pt idx="2558">
                  <c:v>0.82645133129637727</c:v>
                </c:pt>
                <c:pt idx="2559">
                  <c:v>0.82645133129637727</c:v>
                </c:pt>
                <c:pt idx="2560">
                  <c:v>0.82645133129637727</c:v>
                </c:pt>
                <c:pt idx="2561">
                  <c:v>0.82645133129637727</c:v>
                </c:pt>
                <c:pt idx="2562">
                  <c:v>0.82907027498908792</c:v>
                </c:pt>
                <c:pt idx="2563">
                  <c:v>0.82907027498908792</c:v>
                </c:pt>
                <c:pt idx="2564">
                  <c:v>0.82907027498908792</c:v>
                </c:pt>
                <c:pt idx="2565">
                  <c:v>0.82907027498908792</c:v>
                </c:pt>
                <c:pt idx="2566">
                  <c:v>0.82907027498908792</c:v>
                </c:pt>
                <c:pt idx="2567">
                  <c:v>0.83683980794412927</c:v>
                </c:pt>
                <c:pt idx="2568">
                  <c:v>0.83683980794412927</c:v>
                </c:pt>
                <c:pt idx="2569">
                  <c:v>0.83683980794412927</c:v>
                </c:pt>
                <c:pt idx="2570">
                  <c:v>0.83683980794412927</c:v>
                </c:pt>
                <c:pt idx="2571">
                  <c:v>0.83683980794412927</c:v>
                </c:pt>
                <c:pt idx="2572">
                  <c:v>0.85351374945438674</c:v>
                </c:pt>
                <c:pt idx="2573">
                  <c:v>0.85351374945438674</c:v>
                </c:pt>
                <c:pt idx="2574">
                  <c:v>0.85351374945438674</c:v>
                </c:pt>
                <c:pt idx="2575">
                  <c:v>0.85351374945438674</c:v>
                </c:pt>
                <c:pt idx="2576">
                  <c:v>0.85351374945438674</c:v>
                </c:pt>
                <c:pt idx="2577">
                  <c:v>0.82924487123526847</c:v>
                </c:pt>
                <c:pt idx="2578">
                  <c:v>0.82924487123526847</c:v>
                </c:pt>
                <c:pt idx="2579">
                  <c:v>0.82924487123526847</c:v>
                </c:pt>
                <c:pt idx="2580">
                  <c:v>0.82924487123526847</c:v>
                </c:pt>
                <c:pt idx="2581">
                  <c:v>0.82924487123526847</c:v>
                </c:pt>
                <c:pt idx="2582">
                  <c:v>0.83134002618943703</c:v>
                </c:pt>
                <c:pt idx="2583">
                  <c:v>0.83134002618943703</c:v>
                </c:pt>
                <c:pt idx="2584">
                  <c:v>0.83134002618943703</c:v>
                </c:pt>
                <c:pt idx="2585">
                  <c:v>0.83134002618943703</c:v>
                </c:pt>
                <c:pt idx="2586">
                  <c:v>0.83134002618943703</c:v>
                </c:pt>
                <c:pt idx="2587">
                  <c:v>0.83256219991270197</c:v>
                </c:pt>
                <c:pt idx="2588">
                  <c:v>0.83256219991270197</c:v>
                </c:pt>
                <c:pt idx="2589">
                  <c:v>0.83256219991270197</c:v>
                </c:pt>
                <c:pt idx="2590">
                  <c:v>0.83256219991270197</c:v>
                </c:pt>
                <c:pt idx="2591">
                  <c:v>0.83256219991270197</c:v>
                </c:pt>
                <c:pt idx="2592">
                  <c:v>0.82365779135748585</c:v>
                </c:pt>
                <c:pt idx="2593">
                  <c:v>0.82365779135748585</c:v>
                </c:pt>
                <c:pt idx="2594">
                  <c:v>0.82365779135748585</c:v>
                </c:pt>
                <c:pt idx="2595">
                  <c:v>0.82365779135748585</c:v>
                </c:pt>
                <c:pt idx="2596">
                  <c:v>0.82365779135748585</c:v>
                </c:pt>
                <c:pt idx="2597">
                  <c:v>0.84164120471409865</c:v>
                </c:pt>
                <c:pt idx="2598">
                  <c:v>0.84164120471409865</c:v>
                </c:pt>
                <c:pt idx="2599">
                  <c:v>0.84164120471409865</c:v>
                </c:pt>
                <c:pt idx="2600">
                  <c:v>0.84164120471409865</c:v>
                </c:pt>
                <c:pt idx="2601">
                  <c:v>0.84164120471409865</c:v>
                </c:pt>
                <c:pt idx="2602">
                  <c:v>0.8338716717590573</c:v>
                </c:pt>
                <c:pt idx="2603">
                  <c:v>0.8338716717590573</c:v>
                </c:pt>
                <c:pt idx="2604">
                  <c:v>0.8338716717590573</c:v>
                </c:pt>
                <c:pt idx="2605">
                  <c:v>0.8338716717590573</c:v>
                </c:pt>
                <c:pt idx="2606">
                  <c:v>0.8338716717590573</c:v>
                </c:pt>
                <c:pt idx="2607">
                  <c:v>0.8338716717590573</c:v>
                </c:pt>
                <c:pt idx="2608">
                  <c:v>0.8338716717590573</c:v>
                </c:pt>
                <c:pt idx="2609">
                  <c:v>0.8338716717590573</c:v>
                </c:pt>
                <c:pt idx="2610">
                  <c:v>-1</c:v>
                </c:pt>
                <c:pt idx="2611">
                  <c:v>-1</c:v>
                </c:pt>
                <c:pt idx="2612">
                  <c:v>-1</c:v>
                </c:pt>
                <c:pt idx="2613">
                  <c:v>-1</c:v>
                </c:pt>
                <c:pt idx="2614">
                  <c:v>-1</c:v>
                </c:pt>
                <c:pt idx="2615">
                  <c:v>-1</c:v>
                </c:pt>
                <c:pt idx="2616">
                  <c:v>-1</c:v>
                </c:pt>
                <c:pt idx="2617">
                  <c:v>-1</c:v>
                </c:pt>
                <c:pt idx="2618">
                  <c:v>-1</c:v>
                </c:pt>
                <c:pt idx="2619">
                  <c:v>-1</c:v>
                </c:pt>
                <c:pt idx="2620">
                  <c:v>-1</c:v>
                </c:pt>
                <c:pt idx="2621">
                  <c:v>-1</c:v>
                </c:pt>
                <c:pt idx="2622">
                  <c:v>-1</c:v>
                </c:pt>
                <c:pt idx="2623">
                  <c:v>-1</c:v>
                </c:pt>
                <c:pt idx="2624">
                  <c:v>-1</c:v>
                </c:pt>
                <c:pt idx="2625">
                  <c:v>-1</c:v>
                </c:pt>
                <c:pt idx="2626">
                  <c:v>-1</c:v>
                </c:pt>
                <c:pt idx="2627">
                  <c:v>-1</c:v>
                </c:pt>
                <c:pt idx="2628">
                  <c:v>-1</c:v>
                </c:pt>
                <c:pt idx="2629">
                  <c:v>-1</c:v>
                </c:pt>
                <c:pt idx="2630">
                  <c:v>-1</c:v>
                </c:pt>
                <c:pt idx="2631">
                  <c:v>-1</c:v>
                </c:pt>
                <c:pt idx="2632">
                  <c:v>-1</c:v>
                </c:pt>
                <c:pt idx="2633">
                  <c:v>-1</c:v>
                </c:pt>
                <c:pt idx="2634">
                  <c:v>-1</c:v>
                </c:pt>
                <c:pt idx="2635">
                  <c:v>-1</c:v>
                </c:pt>
                <c:pt idx="2636">
                  <c:v>-1</c:v>
                </c:pt>
                <c:pt idx="2637">
                  <c:v>-1</c:v>
                </c:pt>
                <c:pt idx="2638">
                  <c:v>-1</c:v>
                </c:pt>
                <c:pt idx="2639">
                  <c:v>-1</c:v>
                </c:pt>
              </c:numCache>
            </c:numRef>
          </c:val>
          <c:smooth val="0"/>
          <c:extLst>
            <c:ext xmlns:c16="http://schemas.microsoft.com/office/drawing/2014/chart" uri="{C3380CC4-5D6E-409C-BE32-E72D297353CC}">
              <c16:uniqueId val="{00000001-6C18-4B17-A434-8DAA5F9510F2}"/>
            </c:ext>
          </c:extLst>
        </c:ser>
        <c:dLbls>
          <c:showLegendKey val="0"/>
          <c:showVal val="0"/>
          <c:showCatName val="0"/>
          <c:showSerName val="0"/>
          <c:showPercent val="0"/>
          <c:showBubbleSize val="0"/>
        </c:dLbls>
        <c:smooth val="0"/>
        <c:axId val="1136789440"/>
        <c:axId val="729306592"/>
      </c:lineChart>
      <c:dateAx>
        <c:axId val="1136789440"/>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729306592"/>
        <c:crosses val="autoZero"/>
        <c:auto val="1"/>
        <c:lblOffset val="100"/>
        <c:baseTimeUnit val="days"/>
        <c:majorUnit val="2"/>
        <c:majorTimeUnit val="years"/>
      </c:dateAx>
      <c:valAx>
        <c:axId val="729306592"/>
        <c:scaling>
          <c:orientation val="minMax"/>
          <c:min val="-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crossAx val="1136789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Deutsche Bank Text" panose="020B0503020202030204" pitchFamily="34" charset="0"/>
          <a:ea typeface="Deutsche Bank Text" panose="020B0503020202030204" pitchFamily="34" charset="0"/>
          <a:cs typeface="Deutsche Bank Text" panose="020B0503020202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de-DE" sz="1000" b="0" i="0" u="none" strike="noStrike" baseline="0">
                <a:effectLst/>
              </a:rPr>
              <a:t>Erwarteter Einfluss generativer KI auf den Branchenumsatz in % des gesamten Branchenumsatzes</a:t>
            </a:r>
            <a:endParaRPr lang="en-US" sz="1000"/>
          </a:p>
        </c:rich>
      </c:tx>
      <c:layout>
        <c:manualLayout>
          <c:xMode val="edge"/>
          <c:yMode val="edge"/>
          <c:x val="0.14235967926689577"/>
          <c:y val="0.87799883790961353"/>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1678491219525395"/>
          <c:y val="0"/>
          <c:w val="0.63611314049661316"/>
          <c:h val="0.7604450671128099"/>
        </c:manualLayout>
      </c:layout>
      <c:barChart>
        <c:barDir val="bar"/>
        <c:grouping val="stacked"/>
        <c:varyColors val="0"/>
        <c:ser>
          <c:idx val="0"/>
          <c:order val="0"/>
          <c:tx>
            <c:strRef>
              <c:f>'Anticipated AI impact'!$C$2</c:f>
              <c:strCache>
                <c:ptCount val="1"/>
                <c:pt idx="0">
                  <c:v>Niedrige Projektio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ticipated AI impact'!$A$4:$A$14</c:f>
              <c:strCache>
                <c:ptCount val="11"/>
                <c:pt idx="0">
                  <c:v>High Tech</c:v>
                </c:pt>
                <c:pt idx="1">
                  <c:v>Banken</c:v>
                </c:pt>
                <c:pt idx="2">
                  <c:v>Medikamente &amp; Pharma</c:v>
                </c:pt>
                <c:pt idx="3">
                  <c:v>Bildung</c:v>
                </c:pt>
                <c:pt idx="4">
                  <c:v>Telekommunikation</c:v>
                </c:pt>
                <c:pt idx="5">
                  <c:v>Gesundheit</c:v>
                </c:pt>
                <c:pt idx="6">
                  <c:v>Medien und Entertainment</c:v>
                </c:pt>
                <c:pt idx="7">
                  <c:v>Versicherungen</c:v>
                </c:pt>
                <c:pt idx="8">
                  <c:v>Fortschrittliche Fertigung</c:v>
                </c:pt>
                <c:pt idx="9">
                  <c:v>Konsumgüter</c:v>
                </c:pt>
                <c:pt idx="10">
                  <c:v>Elektronik und Halbleiter</c:v>
                </c:pt>
              </c:strCache>
            </c:strRef>
          </c:cat>
          <c:val>
            <c:numRef>
              <c:f>'Anticipated AI impact'!$C$4:$C$14</c:f>
              <c:numCache>
                <c:formatCode>0.0%</c:formatCode>
                <c:ptCount val="11"/>
                <c:pt idx="0">
                  <c:v>4.8000000000000001E-2</c:v>
                </c:pt>
                <c:pt idx="1">
                  <c:v>2.7999999999999997E-2</c:v>
                </c:pt>
                <c:pt idx="2">
                  <c:v>2.6000000000000002E-2</c:v>
                </c:pt>
                <c:pt idx="3">
                  <c:v>2.2000000000000002E-2</c:v>
                </c:pt>
                <c:pt idx="4">
                  <c:v>2.3E-2</c:v>
                </c:pt>
                <c:pt idx="5">
                  <c:v>1.8000000000000002E-2</c:v>
                </c:pt>
                <c:pt idx="6">
                  <c:v>1.8000000000000002E-2</c:v>
                </c:pt>
                <c:pt idx="7">
                  <c:v>1.8000000000000002E-2</c:v>
                </c:pt>
                <c:pt idx="8">
                  <c:v>1.3999999999999999E-2</c:v>
                </c:pt>
                <c:pt idx="9">
                  <c:v>1.3999999999999999E-2</c:v>
                </c:pt>
                <c:pt idx="10">
                  <c:v>1.3000000000000001E-2</c:v>
                </c:pt>
              </c:numCache>
            </c:numRef>
          </c:val>
          <c:extLst>
            <c:ext xmlns:c16="http://schemas.microsoft.com/office/drawing/2014/chart" uri="{C3380CC4-5D6E-409C-BE32-E72D297353CC}">
              <c16:uniqueId val="{00000000-3EA2-40FA-8539-085684D72BEF}"/>
            </c:ext>
          </c:extLst>
        </c:ser>
        <c:ser>
          <c:idx val="1"/>
          <c:order val="1"/>
          <c:tx>
            <c:strRef>
              <c:f>'Anticipated AI impact'!$D$2</c:f>
              <c:strCache>
                <c:ptCount val="1"/>
                <c:pt idx="0">
                  <c:v>Hohe Projektion</c:v>
                </c:pt>
              </c:strCache>
            </c:strRef>
          </c:tx>
          <c:spPr>
            <a:solidFill>
              <a:schemeClr val="accent2"/>
            </a:solidFill>
            <a:ln>
              <a:noFill/>
            </a:ln>
            <a:effectLst/>
          </c:spPr>
          <c:invertIfNegative val="0"/>
          <c:dLbls>
            <c:dLbl>
              <c:idx val="0"/>
              <c:tx>
                <c:rich>
                  <a:bodyPr/>
                  <a:lstStyle/>
                  <a:p>
                    <a:fld id="{42F84047-53EE-4BB8-80BB-1FC39C5CE3E4}"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A2-40FA-8539-085684D72BEF}"/>
                </c:ext>
              </c:extLst>
            </c:dLbl>
            <c:dLbl>
              <c:idx val="1"/>
              <c:tx>
                <c:rich>
                  <a:bodyPr/>
                  <a:lstStyle/>
                  <a:p>
                    <a:fld id="{FFBDCF77-D2FE-4834-A7B8-6B5D76FD603A}"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A2-40FA-8539-085684D72BEF}"/>
                </c:ext>
              </c:extLst>
            </c:dLbl>
            <c:dLbl>
              <c:idx val="2"/>
              <c:tx>
                <c:rich>
                  <a:bodyPr/>
                  <a:lstStyle/>
                  <a:p>
                    <a:fld id="{5C0D2D65-F70E-4CC7-9594-9F84B12A4061}"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A2-40FA-8539-085684D72BEF}"/>
                </c:ext>
              </c:extLst>
            </c:dLbl>
            <c:dLbl>
              <c:idx val="3"/>
              <c:tx>
                <c:rich>
                  <a:bodyPr/>
                  <a:lstStyle/>
                  <a:p>
                    <a:fld id="{A8FC1B8B-6C61-4809-9CF4-35565CDD7352}"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A2-40FA-8539-085684D72BEF}"/>
                </c:ext>
              </c:extLst>
            </c:dLbl>
            <c:dLbl>
              <c:idx val="4"/>
              <c:tx>
                <c:rich>
                  <a:bodyPr/>
                  <a:lstStyle/>
                  <a:p>
                    <a:fld id="{C06505EB-AECB-44EE-A90B-C8A5D6E7EA05}"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A2-40FA-8539-085684D72BEF}"/>
                </c:ext>
              </c:extLst>
            </c:dLbl>
            <c:dLbl>
              <c:idx val="5"/>
              <c:tx>
                <c:rich>
                  <a:bodyPr/>
                  <a:lstStyle/>
                  <a:p>
                    <a:fld id="{133C7892-82D5-4594-A070-579FCEB259F8}"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A2-40FA-8539-085684D72BEF}"/>
                </c:ext>
              </c:extLst>
            </c:dLbl>
            <c:dLbl>
              <c:idx val="6"/>
              <c:tx>
                <c:rich>
                  <a:bodyPr/>
                  <a:lstStyle/>
                  <a:p>
                    <a:fld id="{0DB99CBA-30F4-4208-815A-FE2F301361A3}"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3EA2-40FA-8539-085684D72BEF}"/>
                </c:ext>
              </c:extLst>
            </c:dLbl>
            <c:dLbl>
              <c:idx val="7"/>
              <c:tx>
                <c:rich>
                  <a:bodyPr/>
                  <a:lstStyle/>
                  <a:p>
                    <a:fld id="{82149AE9-0FE2-4918-B11A-2FE300288ED5}"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3EA2-40FA-8539-085684D72BEF}"/>
                </c:ext>
              </c:extLst>
            </c:dLbl>
            <c:dLbl>
              <c:idx val="8"/>
              <c:tx>
                <c:rich>
                  <a:bodyPr/>
                  <a:lstStyle/>
                  <a:p>
                    <a:fld id="{3F039F46-149D-45B7-AFE5-A7FACEB642E2}"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3EA2-40FA-8539-085684D72BEF}"/>
                </c:ext>
              </c:extLst>
            </c:dLbl>
            <c:dLbl>
              <c:idx val="9"/>
              <c:tx>
                <c:rich>
                  <a:bodyPr/>
                  <a:lstStyle/>
                  <a:p>
                    <a:fld id="{728AC31E-FDD4-4FDE-972C-D52A02BC23D1}"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3EA2-40FA-8539-085684D72BEF}"/>
                </c:ext>
              </c:extLst>
            </c:dLbl>
            <c:dLbl>
              <c:idx val="10"/>
              <c:tx>
                <c:rich>
                  <a:bodyPr/>
                  <a:lstStyle/>
                  <a:p>
                    <a:fld id="{87C1E0D3-D48D-443D-819A-AC7B990BC4FA}" type="CELLRANGE">
                      <a:rPr lang="en-GB"/>
                      <a:pPr/>
                      <a:t>[CELLRANGE]</a:t>
                    </a:fld>
                    <a:endParaRPr lang="en-GB"/>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3EA2-40FA-8539-085684D72BEF}"/>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Anticipated AI impact'!$A$4:$A$14</c:f>
              <c:strCache>
                <c:ptCount val="11"/>
                <c:pt idx="0">
                  <c:v>High Tech</c:v>
                </c:pt>
                <c:pt idx="1">
                  <c:v>Banken</c:v>
                </c:pt>
                <c:pt idx="2">
                  <c:v>Medikamente &amp; Pharma</c:v>
                </c:pt>
                <c:pt idx="3">
                  <c:v>Bildung</c:v>
                </c:pt>
                <c:pt idx="4">
                  <c:v>Telekommunikation</c:v>
                </c:pt>
                <c:pt idx="5">
                  <c:v>Gesundheit</c:v>
                </c:pt>
                <c:pt idx="6">
                  <c:v>Medien und Entertainment</c:v>
                </c:pt>
                <c:pt idx="7">
                  <c:v>Versicherungen</c:v>
                </c:pt>
                <c:pt idx="8">
                  <c:v>Fortschrittliche Fertigung</c:v>
                </c:pt>
                <c:pt idx="9">
                  <c:v>Konsumgüter</c:v>
                </c:pt>
                <c:pt idx="10">
                  <c:v>Elektronik und Halbleiter</c:v>
                </c:pt>
              </c:strCache>
            </c:strRef>
          </c:cat>
          <c:val>
            <c:numRef>
              <c:f>'Anticipated AI impact'!$D$4:$D$14</c:f>
              <c:numCache>
                <c:formatCode>0.0%</c:formatCode>
                <c:ptCount val="11"/>
                <c:pt idx="0">
                  <c:v>4.4999999999999998E-2</c:v>
                </c:pt>
                <c:pt idx="1">
                  <c:v>1.9000000000000003E-2</c:v>
                </c:pt>
                <c:pt idx="2">
                  <c:v>1.8999999999999996E-2</c:v>
                </c:pt>
                <c:pt idx="3">
                  <c:v>1.7999999999999999E-2</c:v>
                </c:pt>
                <c:pt idx="4">
                  <c:v>1.3999999999999999E-2</c:v>
                </c:pt>
                <c:pt idx="5">
                  <c:v>1.3999999999999999E-2</c:v>
                </c:pt>
                <c:pt idx="6">
                  <c:v>1.2999999999999998E-2</c:v>
                </c:pt>
                <c:pt idx="7">
                  <c:v>9.9999999999999985E-3</c:v>
                </c:pt>
                <c:pt idx="8">
                  <c:v>1.0000000000000002E-2</c:v>
                </c:pt>
                <c:pt idx="9">
                  <c:v>9.0000000000000011E-3</c:v>
                </c:pt>
                <c:pt idx="10">
                  <c:v>9.9999999999999985E-3</c:v>
                </c:pt>
              </c:numCache>
            </c:numRef>
          </c:val>
          <c:extLst>
            <c:ext xmlns:c15="http://schemas.microsoft.com/office/drawing/2012/chart" uri="{02D57815-91ED-43cb-92C2-25804820EDAC}">
              <c15:datalabelsRange>
                <c15:f>'Anticipated AI impact'!$E$4:$E$14</c15:f>
                <c15:dlblRangeCache>
                  <c:ptCount val="11"/>
                  <c:pt idx="0">
                    <c:v>9,3%</c:v>
                  </c:pt>
                  <c:pt idx="1">
                    <c:v>4,7%</c:v>
                  </c:pt>
                  <c:pt idx="2">
                    <c:v>4,5%</c:v>
                  </c:pt>
                  <c:pt idx="3">
                    <c:v>4,0%</c:v>
                  </c:pt>
                  <c:pt idx="4">
                    <c:v>3,7%</c:v>
                  </c:pt>
                  <c:pt idx="5">
                    <c:v>3,2%</c:v>
                  </c:pt>
                  <c:pt idx="6">
                    <c:v>3,1%</c:v>
                  </c:pt>
                  <c:pt idx="7">
                    <c:v>2,8%</c:v>
                  </c:pt>
                  <c:pt idx="8">
                    <c:v>2,4%</c:v>
                  </c:pt>
                  <c:pt idx="9">
                    <c:v>2,3%</c:v>
                  </c:pt>
                  <c:pt idx="10">
                    <c:v>2,3%</c:v>
                  </c:pt>
                </c15:dlblRangeCache>
              </c15:datalabelsRange>
            </c:ext>
            <c:ext xmlns:c16="http://schemas.microsoft.com/office/drawing/2014/chart" uri="{C3380CC4-5D6E-409C-BE32-E72D297353CC}">
              <c16:uniqueId val="{0000000C-3EA2-40FA-8539-085684D72BEF}"/>
            </c:ext>
          </c:extLst>
        </c:ser>
        <c:dLbls>
          <c:dLblPos val="ctr"/>
          <c:showLegendKey val="0"/>
          <c:showVal val="1"/>
          <c:showCatName val="0"/>
          <c:showSerName val="0"/>
          <c:showPercent val="0"/>
          <c:showBubbleSize val="0"/>
        </c:dLbls>
        <c:gapWidth val="150"/>
        <c:overlap val="100"/>
        <c:axId val="887211551"/>
        <c:axId val="887208671"/>
      </c:barChart>
      <c:catAx>
        <c:axId val="88721155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887208671"/>
        <c:crosses val="autoZero"/>
        <c:auto val="1"/>
        <c:lblAlgn val="ctr"/>
        <c:lblOffset val="100"/>
        <c:noMultiLvlLbl val="0"/>
      </c:catAx>
      <c:valAx>
        <c:axId val="887208671"/>
        <c:scaling>
          <c:orientation val="minMax"/>
        </c:scaling>
        <c:delete val="1"/>
        <c:axPos val="t"/>
        <c:numFmt formatCode="0%" sourceLinked="0"/>
        <c:majorTickMark val="none"/>
        <c:minorTickMark val="none"/>
        <c:tickLblPos val="high"/>
        <c:crossAx val="887211551"/>
        <c:crosses val="autoZero"/>
        <c:crossBetween val="between"/>
      </c:valAx>
      <c:spPr>
        <a:noFill/>
        <a:ln>
          <a:noFill/>
        </a:ln>
        <a:effectLst/>
      </c:spPr>
    </c:plotArea>
    <c:legend>
      <c:legendPos val="b"/>
      <c:layout>
        <c:manualLayout>
          <c:xMode val="edge"/>
          <c:yMode val="edge"/>
          <c:x val="0.2473898494646932"/>
          <c:y val="0.78457950431410783"/>
          <c:w val="0.50522030107061355"/>
          <c:h val="7.657416783041841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B$8</cx:f>
        <cx:lvl ptCount="7">
          <cx:pt idx="0">IT</cx:pt>
          <cx:pt idx="1">Kommu-
nikation</cx:pt>
          <cx:pt idx="2">Andere</cx:pt>
          <cx:pt idx="3">Finanzen</cx:pt>
          <cx:pt idx="4">Zykl.
Konsum-
güter</cx:pt>
          <cx:pt idx="5">Basis-
konsum-
güter</cx:pt>
          <cx:pt idx="6">Gesund-
heit</cx:pt>
        </cx:lvl>
        <cx:lvl ptCount="7">
          <cx:pt idx="0">Tech-
nologie</cx:pt>
          <cx:pt idx="2">Andere</cx:pt>
          <cx:pt idx="3">Finanz-
sektor</cx:pt>
          <cx:pt idx="4">Konsum</cx:pt>
          <cx:pt idx="6">Demo-
graphie</cx:pt>
        </cx:lvl>
      </cx:strDim>
      <cx:numDim type="size">
        <cx:f>Sheet1!$C$2:$C$8</cx:f>
        <cx:lvl ptCount="7" formatCode="0%">
          <cx:pt idx="0">0.25</cx:pt>
          <cx:pt idx="1">0.080000000000000002</cx:pt>
          <cx:pt idx="2">0.23000000000000001</cx:pt>
          <cx:pt idx="3">0.17000000000000001</cx:pt>
          <cx:pt idx="4">0.11</cx:pt>
          <cx:pt idx="5">0.059999999999999998</cx:pt>
          <cx:pt idx="6">0.10000000000000001</cx:pt>
        </cx:lvl>
      </cx:numDim>
    </cx:data>
  </cx:chartData>
  <cx:chart>
    <cx:plotArea>
      <cx:plotAreaRegion>
        <cx:series layoutId="sunburst" uniqueId="{D98B45F8-C86B-4AC5-9D0D-22806D6F536D}">
          <cx:dataPt idx="3">
            <cx:spPr>
              <a:solidFill>
                <a:srgbClr val="E7E6E6"/>
              </a:solidFill>
            </cx:spPr>
          </cx:dataPt>
          <cx:dataPt idx="5">
            <cx:spPr>
              <a:solidFill>
                <a:srgbClr val="136286"/>
              </a:solidFill>
            </cx:spPr>
          </cx:dataPt>
          <cx:dataPt idx="7">
            <cx:spPr>
              <a:solidFill>
                <a:srgbClr val="5E9BC6"/>
              </a:solidFill>
            </cx:spPr>
          </cx:dataPt>
          <cx:dataPt idx="10">
            <cx:spPr>
              <a:solidFill>
                <a:srgbClr val="A4C8E1"/>
              </a:solidFill>
            </cx:spPr>
          </cx:dataPt>
          <cx:dataLabels pos="ctr">
            <cx:visibility seriesName="0" categoryName="1" value="1"/>
            <cx:separator>
</cx:separator>
            <cx:dataLabel idx="9">
              <cx:txPr>
                <a:bodyPr spcFirstLastPara="1" vertOverflow="ellipsis" horzOverflow="overflow" wrap="square" lIns="0" tIns="0" rIns="0" bIns="0" anchor="ctr" anchorCtr="1"/>
                <a:lstStyle/>
                <a:p>
                  <a:pPr algn="ctr" rtl="0">
                    <a:defRPr sz="650"/>
                  </a:pPr>
                  <a:r>
                    <a:rPr lang="en-US" sz="650" b="0" i="0" u="none" strike="noStrike" baseline="0">
                      <a:solidFill>
                        <a:prstClr val="white"/>
                      </a:solidFill>
                      <a:latin typeface="Deutsche Bank Text"/>
                    </a:rPr>
                    <a:t>Basis-
konsum-
güter
6%</a:t>
                  </a:r>
                </a:p>
              </cx:txPr>
              <cx:visibility seriesName="0" categoryName="1" value="1"/>
              <cx:separator>
</cx:separator>
            </cx:dataLabel>
            <cx:dataLabel idx="10">
              <cx:txPr>
                <a:bodyPr spcFirstLastPara="1" vertOverflow="ellipsis" horzOverflow="overflow" wrap="square" lIns="0" tIns="0" rIns="0" bIns="0" anchor="ctr" anchorCtr="1"/>
                <a:lstStyle/>
                <a:p>
                  <a:pPr algn="ctr" rtl="0">
                    <a:defRPr>
                      <a:solidFill>
                        <a:schemeClr val="bg1"/>
                      </a:solidFill>
                    </a:defRPr>
                  </a:pPr>
                  <a:r>
                    <a:rPr lang="en-US" sz="900" b="0" i="0" u="none" strike="noStrike" baseline="0">
                      <a:solidFill>
                        <a:schemeClr val="bg1"/>
                      </a:solidFill>
                      <a:latin typeface="Deutsche Bank Text"/>
                    </a:rPr>
                    <a:t>Demo-
graphie</a:t>
                  </a:r>
                </a:p>
              </cx:txPr>
              <cx:visibility seriesName="0" categoryName="1" value="1"/>
              <cx:separator>
</cx:separator>
            </cx:dataLabel>
            <cx:dataLabel idx="11">
              <cx:txPr>
                <a:bodyPr spcFirstLastPara="1" vertOverflow="ellipsis" horzOverflow="overflow" wrap="square" lIns="0" tIns="0" rIns="0" bIns="0" anchor="ctr" anchorCtr="1"/>
                <a:lstStyle/>
                <a:p>
                  <a:pPr algn="ctr" rtl="0">
                    <a:defRPr sz="900">
                      <a:solidFill>
                        <a:schemeClr val="bg1"/>
                      </a:solidFill>
                    </a:defRPr>
                  </a:pPr>
                  <a:r>
                    <a:rPr lang="en-US" sz="900" b="0" i="0" u="none" strike="noStrike" baseline="0">
                      <a:solidFill>
                        <a:schemeClr val="bg1"/>
                      </a:solidFill>
                      <a:latin typeface="Deutsche Bank Text"/>
                    </a:rPr>
                    <a:t>Gesund-
heit
10%</a:t>
                  </a:r>
                </a:p>
              </cx:txPr>
              <cx:visibility seriesName="0" categoryName="1" value="1"/>
              <cx:separator>
</cx:separator>
            </cx:dataLabel>
          </cx:dataLabels>
          <cx:dataId val="0"/>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9268</cdr:x>
      <cdr:y>0.19708</cdr:y>
    </cdr:from>
    <cdr:to>
      <cdr:x>0.89343</cdr:x>
      <cdr:y>0.27031</cdr:y>
    </cdr:to>
    <cdr:cxnSp macro="">
      <cdr:nvCxnSpPr>
        <cdr:cNvPr id="6" name="Gerade Verbindung mit Pfeil 5">
          <a:extLst xmlns:a="http://schemas.openxmlformats.org/drawingml/2006/main">
            <a:ext uri="{FF2B5EF4-FFF2-40B4-BE49-F238E27FC236}">
              <a16:creationId xmlns:a16="http://schemas.microsoft.com/office/drawing/2014/main" id="{5DE23EFF-56BE-6D4F-E7A2-FE607ACD1266}"/>
            </a:ext>
          </a:extLst>
        </cdr:cNvPr>
        <cdr:cNvCxnSpPr/>
      </cdr:nvCxnSpPr>
      <cdr:spPr>
        <a:xfrm xmlns:a="http://schemas.openxmlformats.org/drawingml/2006/main" flipV="1">
          <a:off x="11302943" y="1358599"/>
          <a:ext cx="9525" cy="504825"/>
        </a:xfrm>
        <a:prstGeom xmlns:a="http://schemas.openxmlformats.org/drawingml/2006/main" prst="straightConnector1">
          <a:avLst/>
        </a:prstGeom>
        <a:ln xmlns:a="http://schemas.openxmlformats.org/drawingml/2006/main" w="28575">
          <a:solidFill>
            <a:schemeClr val="accent5"/>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4352</cdr:x>
      <cdr:y>0.28377</cdr:y>
    </cdr:from>
    <cdr:to>
      <cdr:x>0.74352</cdr:x>
      <cdr:y>0.39055</cdr:y>
    </cdr:to>
    <cdr:cxnSp macro="">
      <cdr:nvCxnSpPr>
        <cdr:cNvPr id="8" name="Gerade Verbindung mit Pfeil 7">
          <a:extLst xmlns:a="http://schemas.openxmlformats.org/drawingml/2006/main">
            <a:ext uri="{FF2B5EF4-FFF2-40B4-BE49-F238E27FC236}">
              <a16:creationId xmlns:a16="http://schemas.microsoft.com/office/drawing/2014/main" id="{7D46C71C-003C-1235-03F4-6B5D93524BC1}"/>
            </a:ext>
          </a:extLst>
        </cdr:cNvPr>
        <cdr:cNvCxnSpPr/>
      </cdr:nvCxnSpPr>
      <cdr:spPr>
        <a:xfrm xmlns:a="http://schemas.openxmlformats.org/drawingml/2006/main" flipH="1" flipV="1">
          <a:off x="9414302" y="1956231"/>
          <a:ext cx="0" cy="736109"/>
        </a:xfrm>
        <a:prstGeom xmlns:a="http://schemas.openxmlformats.org/drawingml/2006/main" prst="straightConnector1">
          <a:avLst/>
        </a:prstGeom>
        <a:ln xmlns:a="http://schemas.openxmlformats.org/drawingml/2006/main" w="28575">
          <a:solidFill>
            <a:schemeClr val="accent2"/>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0775</cdr:x>
      <cdr:y>0.40257</cdr:y>
    </cdr:from>
    <cdr:to>
      <cdr:x>0.60775</cdr:x>
      <cdr:y>0.49918</cdr:y>
    </cdr:to>
    <cdr:cxnSp macro="">
      <cdr:nvCxnSpPr>
        <cdr:cNvPr id="9" name="Gerade Verbindung mit Pfeil 8">
          <a:extLst xmlns:a="http://schemas.openxmlformats.org/drawingml/2006/main">
            <a:ext uri="{FF2B5EF4-FFF2-40B4-BE49-F238E27FC236}">
              <a16:creationId xmlns:a16="http://schemas.microsoft.com/office/drawing/2014/main" id="{6FEC0774-14BF-B055-F9DA-03F80A26C747}"/>
            </a:ext>
          </a:extLst>
        </cdr:cNvPr>
        <cdr:cNvCxnSpPr/>
      </cdr:nvCxnSpPr>
      <cdr:spPr>
        <a:xfrm xmlns:a="http://schemas.openxmlformats.org/drawingml/2006/main" flipH="1" flipV="1">
          <a:off x="7695265" y="2775215"/>
          <a:ext cx="0" cy="666001"/>
        </a:xfrm>
        <a:prstGeom xmlns:a="http://schemas.openxmlformats.org/drawingml/2006/main" prst="straightConnector1">
          <a:avLst/>
        </a:prstGeom>
        <a:ln xmlns:a="http://schemas.openxmlformats.org/drawingml/2006/main" w="28575">
          <a:solidFill>
            <a:schemeClr val="tx2"/>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4818</cdr:x>
      <cdr:y>0.51811</cdr:y>
    </cdr:from>
    <cdr:to>
      <cdr:x>0.44818</cdr:x>
      <cdr:y>0.60964</cdr:y>
    </cdr:to>
    <cdr:cxnSp macro="">
      <cdr:nvCxnSpPr>
        <cdr:cNvPr id="10" name="Gerade Verbindung mit Pfeil 9">
          <a:extLst xmlns:a="http://schemas.openxmlformats.org/drawingml/2006/main">
            <a:ext uri="{FF2B5EF4-FFF2-40B4-BE49-F238E27FC236}">
              <a16:creationId xmlns:a16="http://schemas.microsoft.com/office/drawing/2014/main" id="{C26B17AD-34DE-E3DF-44D2-A2D08AE5CC46}"/>
            </a:ext>
          </a:extLst>
        </cdr:cNvPr>
        <cdr:cNvCxnSpPr/>
      </cdr:nvCxnSpPr>
      <cdr:spPr>
        <a:xfrm xmlns:a="http://schemas.openxmlformats.org/drawingml/2006/main" flipH="1" flipV="1">
          <a:off x="5674806" y="3571693"/>
          <a:ext cx="0" cy="630980"/>
        </a:xfrm>
        <a:prstGeom xmlns:a="http://schemas.openxmlformats.org/drawingml/2006/main" prst="straightConnector1">
          <a:avLst/>
        </a:prstGeom>
        <a:ln xmlns:a="http://schemas.openxmlformats.org/drawingml/2006/main" w="28575">
          <a:solidFill>
            <a:schemeClr val="accent3"/>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786</cdr:x>
      <cdr:y>0.62264</cdr:y>
    </cdr:from>
    <cdr:to>
      <cdr:x>0.28786</cdr:x>
      <cdr:y>0.7014</cdr:y>
    </cdr:to>
    <cdr:cxnSp macro="">
      <cdr:nvCxnSpPr>
        <cdr:cNvPr id="11" name="Gerade Verbindung mit Pfeil 10">
          <a:extLst xmlns:a="http://schemas.openxmlformats.org/drawingml/2006/main">
            <a:ext uri="{FF2B5EF4-FFF2-40B4-BE49-F238E27FC236}">
              <a16:creationId xmlns:a16="http://schemas.microsoft.com/office/drawing/2014/main" id="{C6E7CDFA-BD3C-2267-48DA-4C93235CF46E}"/>
            </a:ext>
          </a:extLst>
        </cdr:cNvPr>
        <cdr:cNvCxnSpPr/>
      </cdr:nvCxnSpPr>
      <cdr:spPr>
        <a:xfrm xmlns:a="http://schemas.openxmlformats.org/drawingml/2006/main" flipV="1">
          <a:off x="3644843" y="4292299"/>
          <a:ext cx="0" cy="542925"/>
        </a:xfrm>
        <a:prstGeom xmlns:a="http://schemas.openxmlformats.org/drawingml/2006/main" prst="straightConnector1">
          <a:avLst/>
        </a:prstGeom>
        <a:ln xmlns:a="http://schemas.openxmlformats.org/drawingml/2006/main" w="28575">
          <a:solidFill>
            <a:schemeClr val="accent5">
              <a:lumMod val="75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5245</cdr:x>
      <cdr:y>0.71936</cdr:y>
    </cdr:from>
    <cdr:to>
      <cdr:x>0.15245</cdr:x>
      <cdr:y>0.88516</cdr:y>
    </cdr:to>
    <cdr:cxnSp macro="">
      <cdr:nvCxnSpPr>
        <cdr:cNvPr id="12" name="Gerade Verbindung mit Pfeil 11">
          <a:extLst xmlns:a="http://schemas.openxmlformats.org/drawingml/2006/main">
            <a:ext uri="{FF2B5EF4-FFF2-40B4-BE49-F238E27FC236}">
              <a16:creationId xmlns:a16="http://schemas.microsoft.com/office/drawing/2014/main" id="{C6E7CDFA-BD3C-2267-48DA-4C93235CF46E}"/>
            </a:ext>
          </a:extLst>
        </cdr:cNvPr>
        <cdr:cNvCxnSpPr/>
      </cdr:nvCxnSpPr>
      <cdr:spPr>
        <a:xfrm xmlns:a="http://schemas.openxmlformats.org/drawingml/2006/main" flipV="1">
          <a:off x="1930343" y="4959049"/>
          <a:ext cx="0" cy="1143000"/>
        </a:xfrm>
        <a:prstGeom xmlns:a="http://schemas.openxmlformats.org/drawingml/2006/main" prst="straightConnector1">
          <a:avLst/>
        </a:prstGeom>
        <a:ln xmlns:a="http://schemas.openxmlformats.org/drawingml/2006/main" w="28575">
          <a:solidFill>
            <a:schemeClr val="accent5">
              <a:lumMod val="60000"/>
              <a:lumOff val="4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4862</cdr:x>
      <cdr:y>0.89948</cdr:y>
    </cdr:from>
    <cdr:to>
      <cdr:x>0.04862</cdr:x>
      <cdr:y>0.94016</cdr:y>
    </cdr:to>
    <cdr:cxnSp macro="">
      <cdr:nvCxnSpPr>
        <cdr:cNvPr id="13" name="Gerade Verbindung mit Pfeil 12">
          <a:extLst xmlns:a="http://schemas.openxmlformats.org/drawingml/2006/main">
            <a:ext uri="{FF2B5EF4-FFF2-40B4-BE49-F238E27FC236}">
              <a16:creationId xmlns:a16="http://schemas.microsoft.com/office/drawing/2014/main" id="{C6E7CDFA-BD3C-2267-48DA-4C93235CF46E}"/>
            </a:ext>
          </a:extLst>
        </cdr:cNvPr>
        <cdr:cNvCxnSpPr/>
      </cdr:nvCxnSpPr>
      <cdr:spPr>
        <a:xfrm xmlns:a="http://schemas.openxmlformats.org/drawingml/2006/main" flipH="1" flipV="1">
          <a:off x="615592" y="6200772"/>
          <a:ext cx="0" cy="280436"/>
        </a:xfrm>
        <a:prstGeom xmlns:a="http://schemas.openxmlformats.org/drawingml/2006/main" prst="straightConnector1">
          <a:avLst/>
        </a:prstGeom>
        <a:ln xmlns:a="http://schemas.openxmlformats.org/drawingml/2006/main" w="28575">
          <a:solidFill>
            <a:schemeClr val="accent2">
              <a:lumMod val="60000"/>
              <a:lumOff val="4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6867</cdr:x>
      <cdr:y>0.64665</cdr:y>
    </cdr:from>
    <cdr:to>
      <cdr:x>0.22994</cdr:x>
      <cdr:y>0.7014</cdr:y>
    </cdr:to>
    <cdr:sp macro="" textlink="">
      <cdr:nvSpPr>
        <cdr:cNvPr id="14" name="Rechteck 13">
          <a:extLst xmlns:a="http://schemas.openxmlformats.org/drawingml/2006/main">
            <a:ext uri="{FF2B5EF4-FFF2-40B4-BE49-F238E27FC236}">
              <a16:creationId xmlns:a16="http://schemas.microsoft.com/office/drawing/2014/main" id="{2908EF24-7B1E-149A-3ABE-888367CE26D3}"/>
            </a:ext>
          </a:extLst>
        </cdr:cNvPr>
        <cdr:cNvSpPr/>
      </cdr:nvSpPr>
      <cdr:spPr>
        <a:xfrm xmlns:a="http://schemas.openxmlformats.org/drawingml/2006/main">
          <a:off x="776288" y="2838451"/>
          <a:ext cx="1823090" cy="240302"/>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fld id="{A1BCD84F-0E54-41E9-88C5-A4445D7959E6}" type="TxLink">
            <a:rPr lang="en-US" sz="10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l"/>
            <a:t>+68,08%  (+5,33% jährlich)</a:t>
          </a:fld>
          <a:endParaRPr lang="de-DE"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21696</cdr:x>
      <cdr:y>0.54467</cdr:y>
    </cdr:from>
    <cdr:to>
      <cdr:x>0.37211</cdr:x>
      <cdr:y>0.59639</cdr:y>
    </cdr:to>
    <cdr:sp macro="" textlink="">
      <cdr:nvSpPr>
        <cdr:cNvPr id="15" name="Rechteck 14">
          <a:extLst xmlns:a="http://schemas.openxmlformats.org/drawingml/2006/main">
            <a:ext uri="{FF2B5EF4-FFF2-40B4-BE49-F238E27FC236}">
              <a16:creationId xmlns:a16="http://schemas.microsoft.com/office/drawing/2014/main" id="{F493D574-445C-29B5-BA58-B1DEE68E4927}"/>
            </a:ext>
          </a:extLst>
        </cdr:cNvPr>
        <cdr:cNvSpPr/>
      </cdr:nvSpPr>
      <cdr:spPr>
        <a:xfrm xmlns:a="http://schemas.openxmlformats.org/drawingml/2006/main">
          <a:off x="2452687" y="2390775"/>
          <a:ext cx="1753863" cy="227042"/>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fld id="{1028B0E3-45FA-407C-9AF9-8021445636A3}" type="TxLink">
            <a:rPr lang="en-US" sz="10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l"/>
            <a:t>+29,91%  (+2,65% jährlich)</a:t>
          </a:fld>
          <a:endParaRPr lang="de-DE"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37453</cdr:x>
      <cdr:y>0.43617</cdr:y>
    </cdr:from>
    <cdr:to>
      <cdr:x>0.52708</cdr:x>
      <cdr:y>0.49</cdr:y>
    </cdr:to>
    <cdr:sp macro="" textlink="">
      <cdr:nvSpPr>
        <cdr:cNvPr id="16" name="Rechteck 15">
          <a:extLst xmlns:a="http://schemas.openxmlformats.org/drawingml/2006/main">
            <a:ext uri="{FF2B5EF4-FFF2-40B4-BE49-F238E27FC236}">
              <a16:creationId xmlns:a16="http://schemas.microsoft.com/office/drawing/2014/main" id="{F493D574-445C-29B5-BA58-B1DEE68E4927}"/>
            </a:ext>
          </a:extLst>
        </cdr:cNvPr>
        <cdr:cNvSpPr/>
      </cdr:nvSpPr>
      <cdr:spPr>
        <a:xfrm xmlns:a="http://schemas.openxmlformats.org/drawingml/2006/main">
          <a:off x="4233862" y="1914525"/>
          <a:ext cx="1724560" cy="23630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fld id="{068F5042-F78B-46F7-B1C4-77B2A580BEF9}" type="TxLink">
            <a:rPr lang="en-US" sz="10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l"/>
            <a:t>+36,43%  (+3,16% jährlich)</a:t>
          </a:fld>
          <a:endParaRPr lang="de-DE"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5304</cdr:x>
      <cdr:y>0.3255</cdr:y>
    </cdr:from>
    <cdr:to>
      <cdr:x>0.68409</cdr:x>
      <cdr:y>0.3767</cdr:y>
    </cdr:to>
    <cdr:sp macro="" textlink="">
      <cdr:nvSpPr>
        <cdr:cNvPr id="17" name="Rechteck 16">
          <a:extLst xmlns:a="http://schemas.openxmlformats.org/drawingml/2006/main">
            <a:ext uri="{FF2B5EF4-FFF2-40B4-BE49-F238E27FC236}">
              <a16:creationId xmlns:a16="http://schemas.microsoft.com/office/drawing/2014/main" id="{F493D574-445C-29B5-BA58-B1DEE68E4927}"/>
            </a:ext>
          </a:extLst>
        </cdr:cNvPr>
        <cdr:cNvSpPr/>
      </cdr:nvSpPr>
      <cdr:spPr>
        <a:xfrm xmlns:a="http://schemas.openxmlformats.org/drawingml/2006/main">
          <a:off x="5995953" y="1428762"/>
          <a:ext cx="1737360" cy="22473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fld id="{886D5D05-810F-4284-9C2A-13D302D31F28}" type="TxLink">
            <a:rPr lang="en-US" sz="10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l"/>
            <a:t>+37,37%  (+3,23% jährlich)</a:t>
          </a:fld>
          <a:endParaRPr lang="de-DE"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67292</cdr:x>
      <cdr:y>0.22379</cdr:y>
    </cdr:from>
    <cdr:to>
      <cdr:x>0.82661</cdr:x>
      <cdr:y>0.25472</cdr:y>
    </cdr:to>
    <cdr:sp macro="" textlink="">
      <cdr:nvSpPr>
        <cdr:cNvPr id="18" name="Rechteck 17">
          <a:extLst xmlns:a="http://schemas.openxmlformats.org/drawingml/2006/main">
            <a:ext uri="{FF2B5EF4-FFF2-40B4-BE49-F238E27FC236}">
              <a16:creationId xmlns:a16="http://schemas.microsoft.com/office/drawing/2014/main" id="{F493D574-445C-29B5-BA58-B1DEE68E4927}"/>
            </a:ext>
          </a:extLst>
        </cdr:cNvPr>
        <cdr:cNvSpPr/>
      </cdr:nvSpPr>
      <cdr:spPr>
        <a:xfrm xmlns:a="http://schemas.openxmlformats.org/drawingml/2006/main">
          <a:off x="7607126" y="982313"/>
          <a:ext cx="1737360" cy="135765"/>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fld id="{CC831131-1F6D-49E2-B4F8-361790BDB267}" type="TxLink">
            <a:rPr lang="en-US" sz="10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l"/>
            <a:t>+36,08%  (+3,13% jährlich)</a:t>
          </a:fld>
          <a:endParaRPr lang="de-DE"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82069</cdr:x>
      <cdr:y>0.12504</cdr:y>
    </cdr:from>
    <cdr:to>
      <cdr:x>0.97438</cdr:x>
      <cdr:y>0.15839</cdr:y>
    </cdr:to>
    <cdr:sp macro="" textlink="">
      <cdr:nvSpPr>
        <cdr:cNvPr id="19" name="Rechteck 18">
          <a:extLst xmlns:a="http://schemas.openxmlformats.org/drawingml/2006/main">
            <a:ext uri="{FF2B5EF4-FFF2-40B4-BE49-F238E27FC236}">
              <a16:creationId xmlns:a16="http://schemas.microsoft.com/office/drawing/2014/main" id="{F493D574-445C-29B5-BA58-B1DEE68E4927}"/>
            </a:ext>
          </a:extLst>
        </cdr:cNvPr>
        <cdr:cNvSpPr/>
      </cdr:nvSpPr>
      <cdr:spPr>
        <a:xfrm xmlns:a="http://schemas.openxmlformats.org/drawingml/2006/main">
          <a:off x="9277570" y="548855"/>
          <a:ext cx="1737360" cy="146388"/>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fld id="{58EB3D7C-A078-4EAA-AF5F-89CF9FBE1D11}" type="TxLink">
            <a:rPr lang="en-US" sz="10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l"/>
            <a:t>+31,00%  (+2,74% jährlich)</a:t>
          </a:fld>
          <a:endParaRPr lang="de-DE"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cdr:x>
      <cdr:y>0.79681</cdr:y>
    </cdr:from>
    <cdr:to>
      <cdr:x>0.13662</cdr:x>
      <cdr:y>0.83761</cdr:y>
    </cdr:to>
    <cdr:sp macro="" textlink="">
      <cdr:nvSpPr>
        <cdr:cNvPr id="21" name="Rechteck 20">
          <a:extLst xmlns:a="http://schemas.openxmlformats.org/drawingml/2006/main">
            <a:ext uri="{FF2B5EF4-FFF2-40B4-BE49-F238E27FC236}">
              <a16:creationId xmlns:a16="http://schemas.microsoft.com/office/drawing/2014/main" id="{6B8E23F1-D129-E6D4-1264-DCF3F55BA714}"/>
            </a:ext>
          </a:extLst>
        </cdr:cNvPr>
        <cdr:cNvSpPr/>
      </cdr:nvSpPr>
      <cdr:spPr>
        <a:xfrm xmlns:a="http://schemas.openxmlformats.org/drawingml/2006/main">
          <a:off x="-442913" y="3497561"/>
          <a:ext cx="1544433" cy="17908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fld id="{8EEE4720-8235-4D4C-8B74-150BAA831172}" type="TxLink">
            <a:rPr lang="en-US" sz="10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l"/>
            <a:t>+15,00%  (+4,77% jährlich)</a:t>
          </a:fld>
          <a:endParaRPr lang="de-DE"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userShapes>
</file>

<file path=ppt/drawings/drawing10.xml><?xml version="1.0" encoding="utf-8"?>
<c:userShapes xmlns:c="http://schemas.openxmlformats.org/drawingml/2006/chart">
  <cdr:absSizeAnchor xmlns:cdr="http://schemas.openxmlformats.org/drawingml/2006/chartDrawing">
    <cdr:from>
      <cdr:x>0.01283</cdr:x>
      <cdr:y>0.01072</cdr:y>
    </cdr:from>
    <cdr:ext cx="3774459" cy="308275"/>
    <cdr:sp macro="" textlink="">
      <cdr:nvSpPr>
        <cdr:cNvPr id="25" name="Title_25">
          <a:extLst xmlns:a="http://schemas.openxmlformats.org/drawingml/2006/main">
            <a:ext uri="{FF2B5EF4-FFF2-40B4-BE49-F238E27FC236}">
              <a16:creationId xmlns:a16="http://schemas.microsoft.com/office/drawing/2014/main" id="{67021613-5663-BAB6-E542-FDD1370A0296}"/>
            </a:ext>
          </a:extLst>
        </cdr:cNvPr>
        <cdr:cNvSpPr txBox="1"/>
      </cdr:nvSpPr>
      <cdr:spPr>
        <a:xfrm xmlns:a="http://schemas.openxmlformats.org/drawingml/2006/main">
          <a:off x="50800" y="50800"/>
          <a:ext cx="3774459" cy="308275"/>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r>
            <a:rPr lang="en-GB" sz="1400" b="1" i="0" dirty="0">
              <a:solidFill>
                <a:srgbClr val="000000"/>
              </a:solidFill>
              <a:latin typeface="DeutscheBank" panose="020B0503020202030204" pitchFamily="34" charset="0"/>
            </a:rPr>
            <a:t>Inflations-</a:t>
          </a:r>
          <a:r>
            <a:rPr lang="en-GB" sz="1400" b="1" i="0" dirty="0" err="1">
              <a:solidFill>
                <a:srgbClr val="000000"/>
              </a:solidFill>
              <a:latin typeface="DeutscheBank" panose="020B0503020202030204" pitchFamily="34" charset="0"/>
            </a:rPr>
            <a:t>Ausblick</a:t>
          </a:r>
          <a:endParaRPr lang="en-GB" sz="1400" b="1" i="0" dirty="0">
            <a:solidFill>
              <a:srgbClr val="000000"/>
            </a:solidFill>
            <a:latin typeface="DeutscheBank" panose="020B0503020202030204" pitchFamily="34" charset="0"/>
          </a:endParaRPr>
        </a:p>
      </cdr:txBody>
    </cdr:sp>
  </cdr:absSizeAnchor>
  <cdr:relSizeAnchor xmlns:cdr="http://schemas.openxmlformats.org/drawingml/2006/chartDrawing">
    <cdr:from>
      <cdr:x>0.01283</cdr:x>
      <cdr:y>0.01161</cdr:y>
    </cdr:from>
    <cdr:to>
      <cdr:x>0.33355</cdr:x>
      <cdr:y>0.02321</cdr:y>
    </cdr:to>
    <cdr:sp macro="" textlink="">
      <cdr:nvSpPr>
        <cdr:cNvPr id="27" name="ReChartUniqueKey_27" hidden="1">
          <a:extLst xmlns:a="http://schemas.openxmlformats.org/drawingml/2006/main">
            <a:ext uri="{FF2B5EF4-FFF2-40B4-BE49-F238E27FC236}">
              <a16:creationId xmlns:a16="http://schemas.microsoft.com/office/drawing/2014/main" id="{FDE862B8-84B1-2EC7-F6B5-79D708A75273}"/>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F8-AF-67-14-DB-96-FE-E0-0D-9F-17-E2-23-62-A7-12</a:t>
          </a:r>
        </a:p>
      </cdr:txBody>
    </cdr:sp>
  </cdr:relSizeAnchor>
  <cdr:relSizeAnchor xmlns:cdr="http://schemas.openxmlformats.org/drawingml/2006/chartDrawing">
    <cdr:from>
      <cdr:x>0.01283</cdr:x>
      <cdr:y>0.01161</cdr:y>
    </cdr:from>
    <cdr:to>
      <cdr:x>0.33355</cdr:x>
      <cdr:y>0.02321</cdr:y>
    </cdr:to>
    <cdr:sp macro="" textlink="">
      <cdr:nvSpPr>
        <cdr:cNvPr id="28" name="ReChartMasterData_28" hidden="1">
          <a:extLst xmlns:a="http://schemas.openxmlformats.org/drawingml/2006/main">
            <a:ext uri="{FF2B5EF4-FFF2-40B4-BE49-F238E27FC236}">
              <a16:creationId xmlns:a16="http://schemas.microsoft.com/office/drawing/2014/main" id="{754C310F-365D-3149-9AC4-FD9B5FFC73B0}"/>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Bernhard - 2;1;;Excel;;False</a:t>
          </a:r>
        </a:p>
      </cdr:txBody>
    </cdr:sp>
  </cdr:relSizeAnchor>
  <cdr:relSizeAnchor xmlns:cdr="http://schemas.openxmlformats.org/drawingml/2006/chartDrawing">
    <cdr:from>
      <cdr:x>0.01283</cdr:x>
      <cdr:y>0.01161</cdr:y>
    </cdr:from>
    <cdr:to>
      <cdr:x>0.33355</cdr:x>
      <cdr:y>0.02321</cdr:y>
    </cdr:to>
    <cdr:sp macro="" textlink="">
      <cdr:nvSpPr>
        <cdr:cNvPr id="29" name="ReChartKeepFormats_29" hidden="1">
          <a:extLst xmlns:a="http://schemas.openxmlformats.org/drawingml/2006/main">
            <a:ext uri="{FF2B5EF4-FFF2-40B4-BE49-F238E27FC236}">
              <a16:creationId xmlns:a16="http://schemas.microsoft.com/office/drawing/2014/main" id="{B56FEBCA-7BF3-97D4-F61D-DCE3E8ED9A0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True</a:t>
          </a:r>
        </a:p>
      </cdr:txBody>
    </cdr:sp>
  </cdr:relSizeAnchor>
  <cdr:relSizeAnchor xmlns:cdr="http://schemas.openxmlformats.org/drawingml/2006/chartDrawing">
    <cdr:from>
      <cdr:x>0.01283</cdr:x>
      <cdr:y>0.01161</cdr:y>
    </cdr:from>
    <cdr:to>
      <cdr:x>0.33355</cdr:x>
      <cdr:y>0.02321</cdr:y>
    </cdr:to>
    <cdr:sp macro="" textlink="">
      <cdr:nvSpPr>
        <cdr:cNvPr id="30" name="ShowSeriesName_30" hidden="1">
          <a:extLst xmlns:a="http://schemas.openxmlformats.org/drawingml/2006/main">
            <a:ext uri="{FF2B5EF4-FFF2-40B4-BE49-F238E27FC236}">
              <a16:creationId xmlns:a16="http://schemas.microsoft.com/office/drawing/2014/main" id="{ADB7C5C8-323C-CDB0-CBC5-7C6B8EDC9CA9}"/>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0</a:t>
          </a:r>
        </a:p>
      </cdr:txBody>
    </cdr:sp>
  </cdr:relSizeAnchor>
  <cdr:relSizeAnchor xmlns:cdr="http://schemas.openxmlformats.org/drawingml/2006/chartDrawing">
    <cdr:from>
      <cdr:x>0.01283</cdr:x>
      <cdr:y>0.01161</cdr:y>
    </cdr:from>
    <cdr:to>
      <cdr:x>0.33355</cdr:x>
      <cdr:y>0.02321</cdr:y>
    </cdr:to>
    <cdr:sp macro="" textlink="">
      <cdr:nvSpPr>
        <cdr:cNvPr id="32" name="PlotBands_32" hidden="1">
          <a:extLst xmlns:a="http://schemas.openxmlformats.org/drawingml/2006/main">
            <a:ext uri="{FF2B5EF4-FFF2-40B4-BE49-F238E27FC236}">
              <a16:creationId xmlns:a16="http://schemas.microsoft.com/office/drawing/2014/main" id="{AF070C5C-1F68-B5B5-DD67-6B566129CC2C}"/>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200" dirty="0">
            <a:solidFill>
              <a:srgbClr val="FFFFFF"/>
            </a:solidFill>
            <a:latin typeface="DeutscheBank" panose="020B0503020202030204" pitchFamily="34" charset="0"/>
          </a:endParaRPr>
        </a:p>
      </cdr:txBody>
    </cdr:sp>
  </cdr:relSizeAnchor>
  <cdr:relSizeAnchor xmlns:cdr="http://schemas.openxmlformats.org/drawingml/2006/chartDrawing">
    <cdr:from>
      <cdr:x>0.01283</cdr:x>
      <cdr:y>0.01161</cdr:y>
    </cdr:from>
    <cdr:to>
      <cdr:x>0.33355</cdr:x>
      <cdr:y>0.02321</cdr:y>
    </cdr:to>
    <cdr:sp macro="" textlink="">
      <cdr:nvSpPr>
        <cdr:cNvPr id="33" name="ForecastMasterData_33" hidden="1">
          <a:extLst xmlns:a="http://schemas.openxmlformats.org/drawingml/2006/main">
            <a:ext uri="{FF2B5EF4-FFF2-40B4-BE49-F238E27FC236}">
              <a16:creationId xmlns:a16="http://schemas.microsoft.com/office/drawing/2014/main" id="{E05315BE-3917-7B0C-04F7-04CA0CD65C04}"/>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INDEX=106;STARTDATE:01.11.2024;ENDDATE:01.12.2026;</a:t>
          </a:r>
        </a:p>
      </cdr:txBody>
    </cdr:sp>
  </cdr:relSizeAnchor>
  <cdr:absSizeAnchor xmlns:cdr="http://schemas.openxmlformats.org/drawingml/2006/chartDrawing">
    <cdr:from>
      <cdr:x>0.01283</cdr:x>
      <cdr:y>0.92398</cdr:y>
    </cdr:from>
    <cdr:ext cx="3774459" cy="246061"/>
    <cdr:sp macro="" textlink="">
      <cdr:nvSpPr>
        <cdr:cNvPr id="34" name="Source_34">
          <a:extLst xmlns:a="http://schemas.openxmlformats.org/drawingml/2006/main">
            <a:ext uri="{FF2B5EF4-FFF2-40B4-BE49-F238E27FC236}">
              <a16:creationId xmlns:a16="http://schemas.microsoft.com/office/drawing/2014/main" id="{CB4A6D40-8ACE-B035-A03F-312C8F5C5D36}"/>
            </a:ext>
          </a:extLst>
        </cdr:cNvPr>
        <cdr:cNvSpPr txBox="1"/>
      </cdr:nvSpPr>
      <cdr:spPr>
        <a:xfrm xmlns:a="http://schemas.openxmlformats.org/drawingml/2006/main">
          <a:off x="50910" y="2990625"/>
          <a:ext cx="3774459" cy="246061"/>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pPr algn="l"/>
          <a:r>
            <a:rPr lang="en-GB" sz="1000" b="0" i="0" dirty="0">
              <a:solidFill>
                <a:srgbClr val="000000"/>
              </a:solidFill>
              <a:latin typeface="DeutscheBank" panose="020B0503020202030204" pitchFamily="34" charset="0"/>
            </a:rPr>
            <a:t>Quelle: Deutsche Bank, </a:t>
          </a:r>
          <a:r>
            <a:rPr lang="en-GB" sz="1000" b="0" i="0" dirty="0" err="1">
              <a:solidFill>
                <a:srgbClr val="000000"/>
              </a:solidFill>
              <a:latin typeface="DeutscheBank" panose="020B0503020202030204" pitchFamily="34" charset="0"/>
            </a:rPr>
            <a:t>Statistisches</a:t>
          </a:r>
          <a:r>
            <a:rPr lang="en-GB" sz="1000" b="0" i="0" dirty="0">
              <a:solidFill>
                <a:srgbClr val="000000"/>
              </a:solidFill>
              <a:latin typeface="DeutscheBank" panose="020B0503020202030204" pitchFamily="34" charset="0"/>
            </a:rPr>
            <a:t> </a:t>
          </a:r>
          <a:r>
            <a:rPr lang="en-GB" sz="1000" b="0" i="0" dirty="0" err="1">
              <a:solidFill>
                <a:srgbClr val="000000"/>
              </a:solidFill>
              <a:latin typeface="DeutscheBank" panose="020B0503020202030204" pitchFamily="34" charset="0"/>
            </a:rPr>
            <a:t>Bundesamt</a:t>
          </a:r>
          <a:endParaRPr lang="en-GB" sz="1000" b="0" i="0" dirty="0">
            <a:solidFill>
              <a:srgbClr val="000000"/>
            </a:solidFill>
            <a:latin typeface="DeutscheBank" panose="020B0503020202030204" pitchFamily="34" charset="0"/>
          </a:endParaRPr>
        </a:p>
      </cdr:txBody>
    </cdr:sp>
  </cdr:absSizeAnchor>
  <cdr:relSizeAnchor xmlns:cdr="http://schemas.openxmlformats.org/drawingml/2006/chartDrawing">
    <cdr:from>
      <cdr:x>0.81905</cdr:x>
      <cdr:y>0.10932</cdr:y>
    </cdr:from>
    <cdr:to>
      <cdr:x>0.99865</cdr:x>
      <cdr:y>0.65865</cdr:y>
    </cdr:to>
    <cdr:sp macro="" textlink="">
      <cdr:nvSpPr>
        <cdr:cNvPr id="35" name="FORECAST_35">
          <a:extLst xmlns:a="http://schemas.openxmlformats.org/drawingml/2006/main">
            <a:ext uri="{FF2B5EF4-FFF2-40B4-BE49-F238E27FC236}">
              <a16:creationId xmlns:a16="http://schemas.microsoft.com/office/drawing/2014/main" id="{3471B2C5-EFE5-CE64-98B5-21553E2BDE45}"/>
            </a:ext>
          </a:extLst>
        </cdr:cNvPr>
        <cdr:cNvSpPr/>
      </cdr:nvSpPr>
      <cdr:spPr>
        <a:xfrm xmlns:a="http://schemas.openxmlformats.org/drawingml/2006/main">
          <a:off x="3243326" y="518223"/>
          <a:ext cx="711200" cy="2604072"/>
        </a:xfrm>
        <a:prstGeom xmlns:a="http://schemas.openxmlformats.org/drawingml/2006/main" prst="rect">
          <a:avLst/>
        </a:prstGeom>
        <a:solidFill xmlns:a="http://schemas.openxmlformats.org/drawingml/2006/main">
          <a:srgbClr val="A4BCC2">
            <a:alpha val="25000"/>
          </a:srgbClr>
        </a:solidFill>
        <a:ln xmlns:a="http://schemas.openxmlformats.org/drawingml/2006/main" w="12700" cap="flat" cmpd="sng" algn="ctr">
          <a:noFill/>
          <a:prstDash val="solid"/>
          <a:miter lim="800000"/>
        </a:ln>
        <a:effectLst xmlns:a="http://schemas.openxmlformats.org/drawingml/2006/mai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1.xml><?xml version="1.0" encoding="utf-8"?>
<c:userShapes xmlns:c="http://schemas.openxmlformats.org/drawingml/2006/chart">
  <cdr:relSizeAnchor xmlns:cdr="http://schemas.openxmlformats.org/drawingml/2006/chartDrawing">
    <cdr:from>
      <cdr:x>0.07589</cdr:x>
      <cdr:y>0.50766</cdr:y>
    </cdr:from>
    <cdr:to>
      <cdr:x>0.93189</cdr:x>
      <cdr:y>0.75115</cdr:y>
    </cdr:to>
    <cdr:sp macro="" textlink="">
      <cdr:nvSpPr>
        <cdr:cNvPr id="2" name="Rectangle 1">
          <a:extLst xmlns:a="http://schemas.openxmlformats.org/drawingml/2006/main">
            <a:ext uri="{FF2B5EF4-FFF2-40B4-BE49-F238E27FC236}">
              <a16:creationId xmlns:a16="http://schemas.microsoft.com/office/drawing/2014/main" id="{24F447F7-6ACC-285C-06A9-CAC5DF45F045}"/>
            </a:ext>
          </a:extLst>
        </cdr:cNvPr>
        <cdr:cNvSpPr/>
      </cdr:nvSpPr>
      <cdr:spPr>
        <a:xfrm xmlns:a="http://schemas.openxmlformats.org/drawingml/2006/main">
          <a:off x="420700" y="1578769"/>
          <a:ext cx="4745279" cy="757238"/>
        </a:xfrm>
        <a:prstGeom xmlns:a="http://schemas.openxmlformats.org/drawingml/2006/main" prst="rect">
          <a:avLst/>
        </a:prstGeom>
        <a:solidFill xmlns:a="http://schemas.openxmlformats.org/drawingml/2006/main">
          <a:srgbClr val="FF9999">
            <a:alpha val="2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noFill/>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06354</cdr:x>
      <cdr:y>0.52535</cdr:y>
    </cdr:from>
    <cdr:to>
      <cdr:x>0.10847</cdr:x>
      <cdr:y>0.61548</cdr:y>
    </cdr:to>
    <cdr:sp macro="" textlink="">
      <cdr:nvSpPr>
        <cdr:cNvPr id="2" name="TextBox 1">
          <a:extLst xmlns:a="http://schemas.openxmlformats.org/drawingml/2006/main">
            <a:ext uri="{FF2B5EF4-FFF2-40B4-BE49-F238E27FC236}">
              <a16:creationId xmlns:a16="http://schemas.microsoft.com/office/drawing/2014/main" id="{27B41AFA-66E6-BDF2-D44F-DA7ACC0A03E1}"/>
            </a:ext>
          </a:extLst>
        </cdr:cNvPr>
        <cdr:cNvSpPr txBox="1"/>
      </cdr:nvSpPr>
      <cdr:spPr>
        <a:xfrm xmlns:a="http://schemas.openxmlformats.org/drawingml/2006/main">
          <a:off x="754380" y="3108960"/>
          <a:ext cx="533400" cy="533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02536</cdr:x>
      <cdr:y>0.43253</cdr:y>
    </cdr:from>
    <cdr:to>
      <cdr:x>0.1243</cdr:x>
      <cdr:y>0.59028</cdr:y>
    </cdr:to>
    <cdr:sp macro="" textlink="">
      <cdr:nvSpPr>
        <cdr:cNvPr id="3" name="TextBox 2">
          <a:extLst xmlns:a="http://schemas.openxmlformats.org/drawingml/2006/main">
            <a:ext uri="{FF2B5EF4-FFF2-40B4-BE49-F238E27FC236}">
              <a16:creationId xmlns:a16="http://schemas.microsoft.com/office/drawing/2014/main" id="{F96E15D1-2B7E-D69F-6E41-1DACD8405224}"/>
            </a:ext>
          </a:extLst>
        </cdr:cNvPr>
        <cdr:cNvSpPr txBox="1"/>
      </cdr:nvSpPr>
      <cdr:spPr>
        <a:xfrm xmlns:a="http://schemas.openxmlformats.org/drawingml/2006/main">
          <a:off x="140598" y="1186525"/>
          <a:ext cx="548440" cy="4327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fld id="{1D9D914C-5D62-4459-A75A-5233EABCF77C}"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24M  132%</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11316</cdr:x>
      <cdr:y>0.39916</cdr:y>
    </cdr:from>
    <cdr:to>
      <cdr:x>0.21227</cdr:x>
      <cdr:y>0.56761</cdr:y>
    </cdr:to>
    <cdr:sp macro="" textlink="">
      <cdr:nvSpPr>
        <cdr:cNvPr id="10" name="TextBox 1">
          <a:extLst xmlns:a="http://schemas.openxmlformats.org/drawingml/2006/main">
            <a:ext uri="{FF2B5EF4-FFF2-40B4-BE49-F238E27FC236}">
              <a16:creationId xmlns:a16="http://schemas.microsoft.com/office/drawing/2014/main" id="{30B40DE7-C47A-4A85-8261-14FDD12861DA}"/>
            </a:ext>
          </a:extLst>
        </cdr:cNvPr>
        <cdr:cNvSpPr txBox="1"/>
      </cdr:nvSpPr>
      <cdr:spPr>
        <a:xfrm xmlns:a="http://schemas.openxmlformats.org/drawingml/2006/main">
          <a:off x="627284" y="1094966"/>
          <a:ext cx="549433" cy="46209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3E3CAAAA-D318-4751-8C12-FF5F378E5E3C}"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50M  158%</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39439</cdr:x>
      <cdr:y>0.56333</cdr:y>
    </cdr:from>
    <cdr:to>
      <cdr:x>0.46134</cdr:x>
      <cdr:y>0.66722</cdr:y>
    </cdr:to>
    <cdr:sp macro="" textlink="">
      <cdr:nvSpPr>
        <cdr:cNvPr id="11"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2186319" y="1545333"/>
          <a:ext cx="371143" cy="28499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FFBC3F61-CE13-44EC-B3A8-6943304F14A5}" type="TxLink">
            <a:rPr lang="en-US" sz="700" b="0" i="0" u="none" strike="noStrike" smtClean="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32M  74%</a:t>
          </a:fld>
          <a:endParaRPr lang="en-US" sz="11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31777</cdr:x>
      <cdr:y>0.52568</cdr:y>
    </cdr:from>
    <cdr:to>
      <cdr:x>0.40498</cdr:x>
      <cdr:y>0.65487</cdr:y>
    </cdr:to>
    <cdr:sp macro="" textlink="">
      <cdr:nvSpPr>
        <cdr:cNvPr id="13"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1761580" y="1442048"/>
          <a:ext cx="483462" cy="35440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5FBACB97-3F14-42BA-8483-EC666420D7EA}"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44M  80%</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25726</cdr:x>
      <cdr:y>0.52963</cdr:y>
    </cdr:from>
    <cdr:to>
      <cdr:x>0.35742</cdr:x>
      <cdr:y>0.65093</cdr:y>
    </cdr:to>
    <cdr:sp macro="" textlink="">
      <cdr:nvSpPr>
        <cdr:cNvPr id="14"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1426133" y="1452872"/>
          <a:ext cx="555257" cy="33275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9DC9895D-F15A-44B6-93FB-B25E481EC754}"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50M  86%</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21229</cdr:x>
      <cdr:y>0.1831</cdr:y>
    </cdr:from>
    <cdr:to>
      <cdr:x>0.31454</cdr:x>
      <cdr:y>0.33237</cdr:y>
    </cdr:to>
    <cdr:sp macro="" textlink="">
      <cdr:nvSpPr>
        <cdr:cNvPr id="15"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1176825" y="502282"/>
          <a:ext cx="566821" cy="40947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05E68A99-F405-4185-B41E-FCA0A1612150}"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87M  267%</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93083</cdr:x>
      <cdr:y>0.60139</cdr:y>
    </cdr:from>
    <cdr:to>
      <cdr:x>0.99959</cdr:x>
      <cdr:y>0.71731</cdr:y>
    </cdr:to>
    <cdr:sp macro="" textlink="">
      <cdr:nvSpPr>
        <cdr:cNvPr id="16"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5160079" y="1649730"/>
          <a:ext cx="381183" cy="31799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C1F7DF80-B0FC-4C13-893A-AA7ACC845493}"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26M  67%</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90932</cdr:x>
      <cdr:y>0.48756</cdr:y>
    </cdr:from>
    <cdr:to>
      <cdr:x>0.98584</cdr:x>
      <cdr:y>0.59109</cdr:y>
    </cdr:to>
    <cdr:sp macro="" textlink="">
      <cdr:nvSpPr>
        <cdr:cNvPr id="17"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5040884" y="1337483"/>
          <a:ext cx="424177" cy="28398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90B1ED63-3E92-46CD-B069-A232FCA38EF1}"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22M  114%</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80567</cdr:x>
      <cdr:y>0.22748</cdr:y>
    </cdr:from>
    <cdr:to>
      <cdr:x>0.88455</cdr:x>
      <cdr:y>0.325</cdr:y>
    </cdr:to>
    <cdr:sp macro="" textlink="">
      <cdr:nvSpPr>
        <cdr:cNvPr id="18"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4466272" y="624022"/>
          <a:ext cx="437275" cy="26751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B1BEAE47-C3ED-43AD-9457-2F3AE1537C0D}"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133M  401%</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72869</cdr:x>
      <cdr:y>0.53406</cdr:y>
    </cdr:from>
    <cdr:to>
      <cdr:x>0.80476</cdr:x>
      <cdr:y>0.64649</cdr:y>
    </cdr:to>
    <cdr:sp macro="" textlink="">
      <cdr:nvSpPr>
        <cdr:cNvPr id="19"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4039552" y="1465041"/>
          <a:ext cx="421691" cy="30841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EC365D52-91E5-42EF-9227-DD8D9F800156}"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61M  101%</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61598</cdr:x>
      <cdr:y>0.15958</cdr:y>
    </cdr:from>
    <cdr:to>
      <cdr:x>0.71305</cdr:x>
      <cdr:y>0.25774</cdr:y>
    </cdr:to>
    <cdr:sp macro="" textlink="">
      <cdr:nvSpPr>
        <cdr:cNvPr id="21"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3414712" y="437758"/>
          <a:ext cx="538108" cy="26926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770667E3-8C65-417C-B80F-656588C5BD71}"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115M  417%</a:t>
          </a:fld>
          <a:endParaRPr lang="en-US" sz="11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54794</cdr:x>
      <cdr:y>0.31905</cdr:y>
    </cdr:from>
    <cdr:to>
      <cdr:x>0.62424</cdr:x>
      <cdr:y>0.4121</cdr:y>
    </cdr:to>
    <cdr:sp macro="" textlink="">
      <cdr:nvSpPr>
        <cdr:cNvPr id="22"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3037522" y="875220"/>
          <a:ext cx="422985" cy="25526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1665A3D8-B364-46E2-B1BF-9DDE357CC2C5}"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61M  229%</a:t>
          </a:fld>
          <a:endPar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48139</cdr:x>
      <cdr:y>0.59028</cdr:y>
    </cdr:from>
    <cdr:to>
      <cdr:x>0.55137</cdr:x>
      <cdr:y>0.70842</cdr:y>
    </cdr:to>
    <cdr:sp macro="" textlink="">
      <cdr:nvSpPr>
        <cdr:cNvPr id="23"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2668608" y="1619250"/>
          <a:ext cx="387963" cy="3240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B27F3CCA-0332-4945-8D09-C2291C59F138}"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35M  62%</a:t>
          </a:fld>
          <a:endParaRPr lang="en-US" sz="11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43737</cdr:x>
      <cdr:y>0.58024</cdr:y>
    </cdr:from>
    <cdr:to>
      <cdr:x>0.5122</cdr:x>
      <cdr:y>0.65267</cdr:y>
    </cdr:to>
    <cdr:sp macro="" textlink="">
      <cdr:nvSpPr>
        <cdr:cNvPr id="24" name="TextBox 1">
          <a:extLst xmlns:a="http://schemas.openxmlformats.org/drawingml/2006/main">
            <a:ext uri="{FF2B5EF4-FFF2-40B4-BE49-F238E27FC236}">
              <a16:creationId xmlns:a16="http://schemas.microsoft.com/office/drawing/2014/main" id="{EBBD1673-1B82-9C97-8E08-3315511482E6}"/>
            </a:ext>
          </a:extLst>
        </cdr:cNvPr>
        <cdr:cNvSpPr txBox="1"/>
      </cdr:nvSpPr>
      <cdr:spPr>
        <a:xfrm xmlns:a="http://schemas.openxmlformats.org/drawingml/2006/main">
          <a:off x="2424597" y="1591714"/>
          <a:ext cx="414805" cy="1986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fld id="{C4AB778F-1365-43DD-818D-AB47E439FA67}" type="TxLink">
            <a:rPr lang="en-US" sz="700" b="0" i="0" u="none" strike="noStrike">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pPr algn="ctr"/>
            <a:t>24M  73%</a:t>
          </a:fld>
          <a:endParaRPr lang="en-US" sz="11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endParaRPr>
        </a:p>
      </cdr:txBody>
    </cdr:sp>
  </cdr:relSizeAnchor>
  <cdr:relSizeAnchor xmlns:cdr="http://schemas.openxmlformats.org/drawingml/2006/chartDrawing">
    <cdr:from>
      <cdr:x>0.12199</cdr:x>
      <cdr:y>0</cdr:y>
    </cdr:from>
    <cdr:to>
      <cdr:x>0.81811</cdr:x>
      <cdr:y>0.06694</cdr:y>
    </cdr:to>
    <cdr:sp macro="" textlink="">
      <cdr:nvSpPr>
        <cdr:cNvPr id="25" name="TextBox 1">
          <a:extLst xmlns:a="http://schemas.openxmlformats.org/drawingml/2006/main">
            <a:ext uri="{FF2B5EF4-FFF2-40B4-BE49-F238E27FC236}">
              <a16:creationId xmlns:a16="http://schemas.microsoft.com/office/drawing/2014/main" id="{4FCE2A43-FB84-558A-B90B-D09B5C085A89}"/>
            </a:ext>
          </a:extLst>
        </cdr:cNvPr>
        <cdr:cNvSpPr txBox="1"/>
      </cdr:nvSpPr>
      <cdr:spPr>
        <a:xfrm xmlns:a="http://schemas.openxmlformats.org/drawingml/2006/main">
          <a:off x="676275" y="-1809750"/>
          <a:ext cx="3858976" cy="20817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t>Durchschnittliche Dauer der Bullenmärkte: 47 Monate</a:t>
          </a:r>
        </a:p>
      </cdr:txBody>
    </cdr:sp>
  </cdr:relSizeAnchor>
  <cdr:relSizeAnchor xmlns:cdr="http://schemas.openxmlformats.org/drawingml/2006/chartDrawing">
    <cdr:from>
      <cdr:x>0.14831</cdr:x>
      <cdr:y>0.04985</cdr:y>
    </cdr:from>
    <cdr:to>
      <cdr:x>0.86539</cdr:x>
      <cdr:y>0.12306</cdr:y>
    </cdr:to>
    <cdr:sp macro="" textlink="">
      <cdr:nvSpPr>
        <cdr:cNvPr id="26" name="TextBox 1">
          <a:extLst xmlns:a="http://schemas.openxmlformats.org/drawingml/2006/main">
            <a:ext uri="{FF2B5EF4-FFF2-40B4-BE49-F238E27FC236}">
              <a16:creationId xmlns:a16="http://schemas.microsoft.com/office/drawing/2014/main" id="{EFEC68F4-1E04-1B6E-5E91-CB9400094532}"/>
            </a:ext>
          </a:extLst>
        </cdr:cNvPr>
        <cdr:cNvSpPr txBox="1"/>
      </cdr:nvSpPr>
      <cdr:spPr>
        <a:xfrm xmlns:a="http://schemas.openxmlformats.org/drawingml/2006/main">
          <a:off x="822141" y="155033"/>
          <a:ext cx="3975169" cy="22767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000" dirty="0">
              <a:solidFill>
                <a:schemeClr val="tx1">
                  <a:lumMod val="75000"/>
                  <a:lumOff val="25000"/>
                </a:schemeClr>
              </a:solidFill>
              <a:latin typeface="Deutsche Bank Text" panose="020B0503020202030204" pitchFamily="34" charset="0"/>
              <a:ea typeface="Deutsche Bank Text" panose="020B0503020202030204" pitchFamily="34" charset="0"/>
              <a:cs typeface="Deutsche Bank Text" panose="020B0503020202030204" pitchFamily="34" charset="0"/>
            </a:rPr>
            <a:t>Durchschnittliche Wertentwicklung der Bullenmärkte: +137%</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0739</cdr:x>
      <cdr:y>0.80108</cdr:y>
    </cdr:to>
    <cdr:sp macro="" textlink="">
      <cdr:nvSpPr>
        <cdr:cNvPr id="2" name="Rectangle 1">
          <a:extLst xmlns:a="http://schemas.openxmlformats.org/drawingml/2006/main">
            <a:ext uri="{FF2B5EF4-FFF2-40B4-BE49-F238E27FC236}">
              <a16:creationId xmlns:a16="http://schemas.microsoft.com/office/drawing/2014/main" id="{B31B9988-BF21-D49E-9AC4-ABCAD04269A9}"/>
            </a:ext>
          </a:extLst>
        </cdr:cNvPr>
        <cdr:cNvSpPr/>
      </cdr:nvSpPr>
      <cdr:spPr bwMode="auto">
        <a:xfrm xmlns:a="http://schemas.openxmlformats.org/drawingml/2006/main" rot="16200000">
          <a:off x="-1117744" y="1040800"/>
          <a:ext cx="2491275" cy="409676"/>
        </a:xfrm>
        <a:prstGeom xmlns:a="http://schemas.openxmlformats.org/drawingml/2006/main" prst="rect">
          <a:avLst/>
        </a:prstGeom>
        <a:noFill xmlns:a="http://schemas.openxmlformats.org/drawingml/2006/main"/>
        <a:ln xmlns:a="http://schemas.openxmlformats.org/drawingml/2006/main" w="6350">
          <a:noFill/>
          <a:miter lim="800000"/>
          <a:headEnd/>
          <a:tailEnd/>
        </a:ln>
      </cdr:spPr>
      <cdr:txBody>
        <a:bodyPr xmlns:a="http://schemas.openxmlformats.org/drawingml/2006/main" wrap="square" lIns="100913" tIns="50457" rIns="100913" bIns="50457" rtlCol="0" anchor="ctr">
          <a:spAutoFit/>
        </a:bodyPr>
        <a:lstStyle xmlns:a="http://schemas.openxmlformats.org/drawingml/2006/main">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rtl="0">
            <a:defRPr sz="1200" b="0" i="0" u="none" strike="noStrike" kern="1200" spc="0" baseline="0">
              <a:solidFill>
                <a:prstClr val="black">
                  <a:lumMod val="65000"/>
                  <a:lumOff val="35000"/>
                </a:prstClr>
              </a:solidFill>
              <a:latin typeface="+mn-lt"/>
              <a:ea typeface="+mn-ea"/>
              <a:cs typeface="+mn-cs"/>
            </a:defRPr>
          </a:pPr>
          <a:r>
            <a:rPr lang="de-DE" sz="1000" noProof="0" dirty="0"/>
            <a:t>Von Family Offices</a:t>
          </a:r>
          <a:r>
            <a:rPr lang="de-DE" sz="1000" baseline="0" noProof="0" dirty="0"/>
            <a:t> verwaltetes Familienvermögen</a:t>
          </a:r>
          <a:r>
            <a:rPr lang="de-DE" sz="1000" noProof="0" dirty="0"/>
            <a:t> (Bio USD)</a:t>
          </a:r>
        </a:p>
      </cdr:txBody>
    </cdr:sp>
  </cdr:relSizeAnchor>
  <cdr:relSizeAnchor xmlns:cdr="http://schemas.openxmlformats.org/drawingml/2006/chartDrawing">
    <cdr:from>
      <cdr:x>0.93998</cdr:x>
      <cdr:y>0</cdr:y>
    </cdr:from>
    <cdr:to>
      <cdr:x>0.98612</cdr:x>
      <cdr:y>0.80108</cdr:y>
    </cdr:to>
    <cdr:sp macro="" textlink="">
      <cdr:nvSpPr>
        <cdr:cNvPr id="3" name="Rectangle 2">
          <a:extLst xmlns:a="http://schemas.openxmlformats.org/drawingml/2006/main">
            <a:ext uri="{FF2B5EF4-FFF2-40B4-BE49-F238E27FC236}">
              <a16:creationId xmlns:a16="http://schemas.microsoft.com/office/drawing/2014/main" id="{B01047D4-5CF8-4268-D499-B708B7413A61}"/>
            </a:ext>
          </a:extLst>
        </cdr:cNvPr>
        <cdr:cNvSpPr/>
      </cdr:nvSpPr>
      <cdr:spPr bwMode="auto">
        <a:xfrm xmlns:a="http://schemas.openxmlformats.org/drawingml/2006/main" rot="5400000">
          <a:off x="4093074" y="1117744"/>
          <a:ext cx="2491275" cy="255788"/>
        </a:xfrm>
        <a:prstGeom xmlns:a="http://schemas.openxmlformats.org/drawingml/2006/main" prst="rect">
          <a:avLst/>
        </a:prstGeom>
        <a:noFill xmlns:a="http://schemas.openxmlformats.org/drawingml/2006/main"/>
        <a:ln xmlns:a="http://schemas.openxmlformats.org/drawingml/2006/main" w="6350">
          <a:noFill/>
          <a:miter lim="800000"/>
          <a:headEnd/>
          <a:tailEnd/>
        </a:ln>
      </cdr:spPr>
      <cdr:txBody>
        <a:bodyPr xmlns:a="http://schemas.openxmlformats.org/drawingml/2006/main" wrap="square" lIns="100913" tIns="50457" rIns="100913" bIns="50457" rtlCol="0" anchor="ctr">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200" b="0" i="0" u="none" strike="noStrike" kern="1200" spc="0" baseline="0">
              <a:solidFill>
                <a:prstClr val="black">
                  <a:lumMod val="65000"/>
                  <a:lumOff val="35000"/>
                </a:prstClr>
              </a:solidFill>
              <a:latin typeface="+mn-lt"/>
              <a:ea typeface="+mn-ea"/>
              <a:cs typeface="+mn-cs"/>
            </a:defRPr>
          </a:pPr>
          <a:r>
            <a:rPr lang="de-DE" sz="1000" noProof="0" dirty="0"/>
            <a:t>Prozent p.a.</a:t>
          </a:r>
        </a:p>
      </cdr:txBody>
    </cdr:sp>
  </cdr:relSizeAnchor>
</c:userShapes>
</file>

<file path=ppt/drawings/drawing3.xml><?xml version="1.0" encoding="utf-8"?>
<c:userShapes xmlns:c="http://schemas.openxmlformats.org/drawingml/2006/chart">
  <cdr:relSizeAnchor xmlns:cdr="http://schemas.openxmlformats.org/drawingml/2006/chartDrawing">
    <cdr:from>
      <cdr:x>0.09739</cdr:x>
      <cdr:y>0.22734</cdr:y>
    </cdr:from>
    <cdr:to>
      <cdr:x>0.11405</cdr:x>
      <cdr:y>0.49876</cdr:y>
    </cdr:to>
    <cdr:sp macro="" textlink="">
      <cdr:nvSpPr>
        <cdr:cNvPr id="2" name="Rectangle 1">
          <a:extLst xmlns:a="http://schemas.openxmlformats.org/drawingml/2006/main">
            <a:ext uri="{FF2B5EF4-FFF2-40B4-BE49-F238E27FC236}">
              <a16:creationId xmlns:a16="http://schemas.microsoft.com/office/drawing/2014/main" id="{EC485138-3F71-92D8-0854-A635A103D435}"/>
            </a:ext>
          </a:extLst>
        </cdr:cNvPr>
        <cdr:cNvSpPr/>
      </cdr:nvSpPr>
      <cdr:spPr>
        <a:xfrm xmlns:a="http://schemas.openxmlformats.org/drawingml/2006/main" rot="16200000">
          <a:off x="164042" y="1082886"/>
          <a:ext cx="844064" cy="92333"/>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lIns="0" tIns="0" rIns="0" bIns="0" rtlCol="0" anchor="ctr">
          <a:spAutoFit/>
        </a:bodyPr>
        <a:lstStyle xmlns:a="http://schemas.openxmlformats.org/drawingml/2006/main">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de-DE" sz="600" b="1"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14-20 Mrd USD</a:t>
          </a:r>
        </a:p>
      </cdr:txBody>
    </cdr:sp>
  </cdr:relSizeAnchor>
</c:userShapes>
</file>

<file path=ppt/drawings/drawing4.xml><?xml version="1.0" encoding="utf-8"?>
<c:userShapes xmlns:c="http://schemas.openxmlformats.org/drawingml/2006/chart">
  <cdr:relSizeAnchor xmlns:cdr="http://schemas.openxmlformats.org/drawingml/2006/chartDrawing">
    <cdr:from>
      <cdr:x>0.42833</cdr:x>
      <cdr:y>0.36515</cdr:y>
    </cdr:from>
    <cdr:to>
      <cdr:x>0.82286</cdr:x>
      <cdr:y>0.44041</cdr:y>
    </cdr:to>
    <cdr:sp macro="" textlink="">
      <cdr:nvSpPr>
        <cdr:cNvPr id="3" name="AddText_1">
          <a:extLst xmlns:a="http://schemas.openxmlformats.org/drawingml/2006/main">
            <a:ext uri="{FF2B5EF4-FFF2-40B4-BE49-F238E27FC236}">
              <a16:creationId xmlns:a16="http://schemas.microsoft.com/office/drawing/2014/main" id="{1667FB49-EC87-8DD5-8980-C20E2D523AB3}"/>
            </a:ext>
          </a:extLst>
        </cdr:cNvPr>
        <cdr:cNvSpPr txBox="1"/>
      </cdr:nvSpPr>
      <cdr:spPr>
        <a:xfrm xmlns:a="http://schemas.openxmlformats.org/drawingml/2006/main">
          <a:off x="1703113" y="1408920"/>
          <a:ext cx="1568725" cy="290404"/>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square" rtlCol="0"/>
        <a:lstStyle xmlns:a="http://schemas.openxmlformats.org/drawingml/2006/main"/>
        <a:p xmlns:a="http://schemas.openxmlformats.org/drawingml/2006/main">
          <a:r>
            <a:rPr lang="en-GB" sz="1100" b="0" dirty="0">
              <a:solidFill>
                <a:srgbClr val="000000"/>
              </a:solidFill>
              <a:latin typeface="DeutscheBank" panose="020B0503020202030204" pitchFamily="34" charset="0"/>
            </a:rPr>
            <a:t>Trend 2014-19</a:t>
          </a:r>
        </a:p>
      </cdr:txBody>
    </cdr:sp>
  </cdr:relSizeAnchor>
  <cdr:relSizeAnchor xmlns:cdr="http://schemas.openxmlformats.org/drawingml/2006/chartDrawing">
    <cdr:from>
      <cdr:x>0.01283</cdr:x>
      <cdr:y>0.09205</cdr:y>
    </cdr:from>
    <cdr:to>
      <cdr:x>0.49084</cdr:x>
      <cdr:y>0.135</cdr:y>
    </cdr:to>
    <cdr:sp macro="" textlink="">
      <cdr:nvSpPr>
        <cdr:cNvPr id="21" name="YAxisLabel1_21">
          <a:extLst xmlns:a="http://schemas.openxmlformats.org/drawingml/2006/main">
            <a:ext uri="{FF2B5EF4-FFF2-40B4-BE49-F238E27FC236}">
              <a16:creationId xmlns:a16="http://schemas.microsoft.com/office/drawing/2014/main" id="{453742E5-AD76-806E-9218-87D4FEB973FE}"/>
            </a:ext>
          </a:extLst>
        </cdr:cNvPr>
        <cdr:cNvSpPr txBox="1"/>
      </cdr:nvSpPr>
      <cdr:spPr>
        <a:xfrm xmlns:a="http://schemas.openxmlformats.org/drawingml/2006/main">
          <a:off x="50800" y="381000"/>
          <a:ext cx="1892844" cy="177800"/>
        </a:xfrm>
        <a:prstGeom xmlns:a="http://schemas.openxmlformats.org/drawingml/2006/main" prst="rect">
          <a:avLst/>
        </a:prstGeom>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r>
            <a:rPr lang="en-GB" sz="1100" dirty="0" err="1">
              <a:solidFill>
                <a:srgbClr val="000000"/>
              </a:solidFill>
              <a:latin typeface="DeutscheBank" panose="020B0503020202030204" pitchFamily="34" charset="0"/>
            </a:rPr>
            <a:t>Reales</a:t>
          </a:r>
          <a:r>
            <a:rPr lang="en-GB" sz="1100" dirty="0">
              <a:solidFill>
                <a:srgbClr val="000000"/>
              </a:solidFill>
              <a:latin typeface="DeutscheBank" panose="020B0503020202030204" pitchFamily="34" charset="0"/>
            </a:rPr>
            <a:t> BIP, 2019 = 100</a:t>
          </a:r>
        </a:p>
      </cdr:txBody>
    </cdr:sp>
  </cdr:relSizeAnchor>
  <cdr:absSizeAnchor xmlns:cdr="http://schemas.openxmlformats.org/drawingml/2006/chartDrawing">
    <cdr:from>
      <cdr:x>0.01283</cdr:x>
      <cdr:y>0.01207</cdr:y>
    </cdr:from>
    <cdr:ext cx="3782225" cy="294132"/>
    <cdr:sp macro="" textlink="">
      <cdr:nvSpPr>
        <cdr:cNvPr id="22" name="Title_22">
          <a:extLst xmlns:a="http://schemas.openxmlformats.org/drawingml/2006/main">
            <a:ext uri="{FF2B5EF4-FFF2-40B4-BE49-F238E27FC236}">
              <a16:creationId xmlns:a16="http://schemas.microsoft.com/office/drawing/2014/main" id="{41FA0DFD-B336-D1B4-B46C-EB2E763E3372}"/>
            </a:ext>
          </a:extLst>
        </cdr:cNvPr>
        <cdr:cNvSpPr txBox="1"/>
      </cdr:nvSpPr>
      <cdr:spPr>
        <a:xfrm xmlns:a="http://schemas.openxmlformats.org/drawingml/2006/main">
          <a:off x="50800" y="50800"/>
          <a:ext cx="3782225" cy="294132"/>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r>
            <a:rPr lang="en-GB" sz="1400" b="1" i="0" dirty="0">
              <a:solidFill>
                <a:srgbClr val="000000"/>
              </a:solidFill>
              <a:latin typeface="DeutscheBank" panose="020B0503020202030204" pitchFamily="34" charset="0"/>
            </a:rPr>
            <a:t>Die </a:t>
          </a:r>
          <a:r>
            <a:rPr lang="en-GB" sz="1400" b="1" i="0" dirty="0" err="1">
              <a:solidFill>
                <a:srgbClr val="000000"/>
              </a:solidFill>
              <a:latin typeface="DeutscheBank" panose="020B0503020202030204" pitchFamily="34" charset="0"/>
            </a:rPr>
            <a:t>Wachstumslücke</a:t>
          </a:r>
          <a:r>
            <a:rPr lang="en-GB" sz="1400" b="1" i="0" dirty="0">
              <a:solidFill>
                <a:srgbClr val="000000"/>
              </a:solidFill>
              <a:latin typeface="DeutscheBank" panose="020B0503020202030204" pitchFamily="34" charset="0"/>
            </a:rPr>
            <a:t> </a:t>
          </a:r>
          <a:r>
            <a:rPr lang="en-GB" sz="1400" b="1" i="0" dirty="0" err="1">
              <a:solidFill>
                <a:srgbClr val="000000"/>
              </a:solidFill>
              <a:latin typeface="DeutscheBank" panose="020B0503020202030204" pitchFamily="34" charset="0"/>
            </a:rPr>
            <a:t>wächst</a:t>
          </a:r>
          <a:endParaRPr lang="en-GB" sz="1400" b="1" i="0" dirty="0">
            <a:solidFill>
              <a:srgbClr val="000000"/>
            </a:solidFill>
            <a:latin typeface="DeutscheBank" panose="020B0503020202030204" pitchFamily="34" charset="0"/>
          </a:endParaRPr>
        </a:p>
      </cdr:txBody>
    </cdr:sp>
  </cdr:absSizeAnchor>
  <cdr:relSizeAnchor xmlns:cdr="http://schemas.openxmlformats.org/drawingml/2006/chartDrawing">
    <cdr:from>
      <cdr:x>0.01283</cdr:x>
      <cdr:y>0.01317</cdr:y>
    </cdr:from>
    <cdr:to>
      <cdr:x>0.33355</cdr:x>
      <cdr:y>0.02633</cdr:y>
    </cdr:to>
    <cdr:sp macro="" textlink="">
      <cdr:nvSpPr>
        <cdr:cNvPr id="23" name="ReChartUniqueKey_23" hidden="1">
          <a:extLst xmlns:a="http://schemas.openxmlformats.org/drawingml/2006/main">
            <a:ext uri="{FF2B5EF4-FFF2-40B4-BE49-F238E27FC236}">
              <a16:creationId xmlns:a16="http://schemas.microsoft.com/office/drawing/2014/main" id="{8991AB88-96AD-41BC-8F31-430126DB15BE}"/>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35-D3-E0-46-A5-EF-89-A8-E8-47-25-33-4C-26-F1-AF</a:t>
          </a:r>
        </a:p>
      </cdr:txBody>
    </cdr:sp>
  </cdr:relSizeAnchor>
  <cdr:relSizeAnchor xmlns:cdr="http://schemas.openxmlformats.org/drawingml/2006/chartDrawing">
    <cdr:from>
      <cdr:x>0.01283</cdr:x>
      <cdr:y>0.01317</cdr:y>
    </cdr:from>
    <cdr:to>
      <cdr:x>0.33355</cdr:x>
      <cdr:y>0.02633</cdr:y>
    </cdr:to>
    <cdr:sp macro="" textlink="">
      <cdr:nvSpPr>
        <cdr:cNvPr id="24" name="ReChartMasterData_24" hidden="1">
          <a:extLst xmlns:a="http://schemas.openxmlformats.org/drawingml/2006/main">
            <a:ext uri="{FF2B5EF4-FFF2-40B4-BE49-F238E27FC236}">
              <a16:creationId xmlns:a16="http://schemas.microsoft.com/office/drawing/2014/main" id="{6AA854CF-49E9-8622-1120-D3766498C174}"/>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Bernhard - 2;1;;Excel;;False</a:t>
          </a:r>
        </a:p>
      </cdr:txBody>
    </cdr:sp>
  </cdr:relSizeAnchor>
  <cdr:relSizeAnchor xmlns:cdr="http://schemas.openxmlformats.org/drawingml/2006/chartDrawing">
    <cdr:from>
      <cdr:x>0.01283</cdr:x>
      <cdr:y>0.01317</cdr:y>
    </cdr:from>
    <cdr:to>
      <cdr:x>0.33355</cdr:x>
      <cdr:y>0.02633</cdr:y>
    </cdr:to>
    <cdr:sp macro="" textlink="">
      <cdr:nvSpPr>
        <cdr:cNvPr id="25" name="ReChartKeepFormats_25" hidden="1">
          <a:extLst xmlns:a="http://schemas.openxmlformats.org/drawingml/2006/main">
            <a:ext uri="{FF2B5EF4-FFF2-40B4-BE49-F238E27FC236}">
              <a16:creationId xmlns:a16="http://schemas.microsoft.com/office/drawing/2014/main" id="{9084E984-4184-1935-74DF-B4D341A309A9}"/>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False</a:t>
          </a:r>
        </a:p>
      </cdr:txBody>
    </cdr:sp>
  </cdr:relSizeAnchor>
  <cdr:relSizeAnchor xmlns:cdr="http://schemas.openxmlformats.org/drawingml/2006/chartDrawing">
    <cdr:from>
      <cdr:x>0.01283</cdr:x>
      <cdr:y>0.01317</cdr:y>
    </cdr:from>
    <cdr:to>
      <cdr:x>0.33355</cdr:x>
      <cdr:y>0.02633</cdr:y>
    </cdr:to>
    <cdr:sp macro="" textlink="">
      <cdr:nvSpPr>
        <cdr:cNvPr id="26" name="ShowSeriesName_26" hidden="1">
          <a:extLst xmlns:a="http://schemas.openxmlformats.org/drawingml/2006/main">
            <a:ext uri="{FF2B5EF4-FFF2-40B4-BE49-F238E27FC236}">
              <a16:creationId xmlns:a16="http://schemas.microsoft.com/office/drawing/2014/main" id="{86D23E17-2E44-E40A-1D7F-D6F5648ADE3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0</a:t>
          </a:r>
        </a:p>
      </cdr:txBody>
    </cdr:sp>
  </cdr:relSizeAnchor>
  <cdr:relSizeAnchor xmlns:cdr="http://schemas.openxmlformats.org/drawingml/2006/chartDrawing">
    <cdr:from>
      <cdr:x>0.01283</cdr:x>
      <cdr:y>0.01317</cdr:y>
    </cdr:from>
    <cdr:to>
      <cdr:x>0.33355</cdr:x>
      <cdr:y>0.02633</cdr:y>
    </cdr:to>
    <cdr:sp macro="" textlink="">
      <cdr:nvSpPr>
        <cdr:cNvPr id="27" name="PlotBands_27" hidden="1">
          <a:extLst xmlns:a="http://schemas.openxmlformats.org/drawingml/2006/main">
            <a:ext uri="{FF2B5EF4-FFF2-40B4-BE49-F238E27FC236}">
              <a16:creationId xmlns:a16="http://schemas.microsoft.com/office/drawing/2014/main" id="{32F50853-5900-F62C-A195-97D8EDBC9365}"/>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200" dirty="0">
            <a:solidFill>
              <a:srgbClr val="FFFFFF"/>
            </a:solidFill>
            <a:latin typeface="DeutscheBank" panose="020B0503020202030204" pitchFamily="34" charset="0"/>
          </a:endParaRPr>
        </a:p>
      </cdr:txBody>
    </cdr:sp>
  </cdr:relSizeAnchor>
  <cdr:relSizeAnchor xmlns:cdr="http://schemas.openxmlformats.org/drawingml/2006/chartDrawing">
    <cdr:from>
      <cdr:x>0.01283</cdr:x>
      <cdr:y>0.01317</cdr:y>
    </cdr:from>
    <cdr:to>
      <cdr:x>0.33355</cdr:x>
      <cdr:y>0.02633</cdr:y>
    </cdr:to>
    <cdr:sp macro="" textlink="">
      <cdr:nvSpPr>
        <cdr:cNvPr id="28" name="ForecastMasterData_28" hidden="1">
          <a:extLst xmlns:a="http://schemas.openxmlformats.org/drawingml/2006/main">
            <a:ext uri="{FF2B5EF4-FFF2-40B4-BE49-F238E27FC236}">
              <a16:creationId xmlns:a16="http://schemas.microsoft.com/office/drawing/2014/main" id="{009B3BB1-7940-200A-DAFD-85C65454D819}"/>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INDEX=0;STARTDATE:;ENDDATE:;</a:t>
          </a:r>
        </a:p>
      </cdr:txBody>
    </cdr:sp>
  </cdr:relSizeAnchor>
  <cdr:absSizeAnchor xmlns:cdr="http://schemas.openxmlformats.org/drawingml/2006/chartDrawing">
    <cdr:from>
      <cdr:x>0.01283</cdr:x>
      <cdr:y>0.95444</cdr:y>
    </cdr:from>
    <cdr:ext cx="3782225" cy="153668"/>
    <cdr:sp macro="" textlink="">
      <cdr:nvSpPr>
        <cdr:cNvPr id="29" name="Source_29">
          <a:extLst xmlns:a="http://schemas.openxmlformats.org/drawingml/2006/main">
            <a:ext uri="{FF2B5EF4-FFF2-40B4-BE49-F238E27FC236}">
              <a16:creationId xmlns:a16="http://schemas.microsoft.com/office/drawing/2014/main" id="{EFE46A52-2331-26A3-CA2B-F3F8E0E2CDF4}"/>
            </a:ext>
          </a:extLst>
        </cdr:cNvPr>
        <cdr:cNvSpPr txBox="1"/>
      </cdr:nvSpPr>
      <cdr:spPr>
        <a:xfrm xmlns:a="http://schemas.openxmlformats.org/drawingml/2006/main">
          <a:off x="50800" y="4017266"/>
          <a:ext cx="3782225" cy="153668"/>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pPr algn="l"/>
          <a:r>
            <a:rPr lang="en-GB" sz="1000" b="0" i="0" dirty="0">
              <a:solidFill>
                <a:srgbClr val="000000"/>
              </a:solidFill>
              <a:latin typeface="DeutscheBank" panose="020B0503020202030204" pitchFamily="34" charset="0"/>
            </a:rPr>
            <a:t>Quelle: Deutsche Bank, </a:t>
          </a:r>
          <a:r>
            <a:rPr lang="en-GB" sz="1000" b="0" i="0" dirty="0" err="1">
              <a:solidFill>
                <a:srgbClr val="000000"/>
              </a:solidFill>
              <a:latin typeface="DeutscheBank" panose="020B0503020202030204" pitchFamily="34" charset="0"/>
            </a:rPr>
            <a:t>Statistisches</a:t>
          </a:r>
          <a:r>
            <a:rPr lang="en-GB" sz="1000" b="0" i="0" dirty="0">
              <a:solidFill>
                <a:srgbClr val="000000"/>
              </a:solidFill>
              <a:latin typeface="DeutscheBank" panose="020B0503020202030204" pitchFamily="34" charset="0"/>
            </a:rPr>
            <a:t> </a:t>
          </a:r>
          <a:r>
            <a:rPr lang="en-GB" sz="1000" b="0" i="0" dirty="0" err="1">
              <a:solidFill>
                <a:srgbClr val="000000"/>
              </a:solidFill>
              <a:latin typeface="DeutscheBank" panose="020B0503020202030204" pitchFamily="34" charset="0"/>
            </a:rPr>
            <a:t>Bundesamt</a:t>
          </a:r>
          <a:endParaRPr lang="en-GB" sz="1000" b="0" i="0" dirty="0">
            <a:solidFill>
              <a:srgbClr val="000000"/>
            </a:solidFill>
            <a:latin typeface="DeutscheBank" panose="020B0503020202030204" pitchFamily="34" charset="0"/>
          </a:endParaRPr>
        </a:p>
      </cdr:txBody>
    </cdr:sp>
  </cdr:absSizeAnchor>
  <cdr:relSizeAnchor xmlns:cdr="http://schemas.openxmlformats.org/drawingml/2006/chartDrawing">
    <cdr:from>
      <cdr:x>0.82404</cdr:x>
      <cdr:y>0.16062</cdr:y>
    </cdr:from>
    <cdr:to>
      <cdr:x>1</cdr:x>
      <cdr:y>0.83938</cdr:y>
    </cdr:to>
    <cdr:sp macro="" textlink="">
      <cdr:nvSpPr>
        <cdr:cNvPr id="2" name="FORECAST_18">
          <a:extLst xmlns:a="http://schemas.openxmlformats.org/drawingml/2006/main">
            <a:ext uri="{FF2B5EF4-FFF2-40B4-BE49-F238E27FC236}">
              <a16:creationId xmlns:a16="http://schemas.microsoft.com/office/drawing/2014/main" id="{44F19A54-B8E8-F3A4-5DB8-092374DFE04E}"/>
            </a:ext>
          </a:extLst>
        </cdr:cNvPr>
        <cdr:cNvSpPr/>
      </cdr:nvSpPr>
      <cdr:spPr>
        <a:xfrm xmlns:a="http://schemas.openxmlformats.org/drawingml/2006/main">
          <a:off x="3276557" y="529217"/>
          <a:ext cx="699630" cy="2236308"/>
        </a:xfrm>
        <a:prstGeom xmlns:a="http://schemas.openxmlformats.org/drawingml/2006/main" prst="rect">
          <a:avLst/>
        </a:prstGeom>
        <a:solidFill xmlns:a="http://schemas.openxmlformats.org/drawingml/2006/main">
          <a:srgbClr val="A4BCC2">
            <a:alpha val="17000"/>
          </a:srgbClr>
        </a:solidFill>
        <a:ln xmlns:a="http://schemas.openxmlformats.org/drawingml/2006/main" w="12700" cap="flat" cmpd="sng" algn="ctr">
          <a:noFill/>
          <a:prstDash val="solid"/>
          <a:miter lim="800000"/>
        </a:ln>
        <a:effectLst xmlns:a="http://schemas.openxmlformats.org/drawingml/2006/mai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defPPr>
            <a:defRPr lang="de-DE"/>
          </a:defPPr>
          <a:lvl1pPr algn="l" defTabSz="685785" rtl="0" fontAlgn="base">
            <a:spcBef>
              <a:spcPct val="0"/>
            </a:spcBef>
            <a:spcAft>
              <a:spcPct val="0"/>
            </a:spcAft>
            <a:defRPr sz="1361" kern="1200">
              <a:solidFill>
                <a:schemeClr val="lt1"/>
              </a:solidFill>
              <a:latin typeface="+mn-lt"/>
              <a:ea typeface="+mn-ea"/>
              <a:cs typeface="+mn-cs"/>
            </a:defRPr>
          </a:lvl1pPr>
          <a:lvl2pPr marL="342353" indent="-31320" algn="l" defTabSz="685785" rtl="0" fontAlgn="base">
            <a:spcBef>
              <a:spcPct val="0"/>
            </a:spcBef>
            <a:spcAft>
              <a:spcPct val="0"/>
            </a:spcAft>
            <a:defRPr sz="1361" kern="1200">
              <a:solidFill>
                <a:schemeClr val="lt1"/>
              </a:solidFill>
              <a:latin typeface="+mn-lt"/>
              <a:ea typeface="+mn-ea"/>
              <a:cs typeface="+mn-cs"/>
            </a:defRPr>
          </a:lvl2pPr>
          <a:lvl3pPr marL="685785" indent="-63719" algn="l" defTabSz="685785" rtl="0" fontAlgn="base">
            <a:spcBef>
              <a:spcPct val="0"/>
            </a:spcBef>
            <a:spcAft>
              <a:spcPct val="0"/>
            </a:spcAft>
            <a:defRPr sz="1361" kern="1200">
              <a:solidFill>
                <a:schemeClr val="lt1"/>
              </a:solidFill>
              <a:latin typeface="+mn-lt"/>
              <a:ea typeface="+mn-ea"/>
              <a:cs typeface="+mn-cs"/>
            </a:defRPr>
          </a:lvl3pPr>
          <a:lvl4pPr marL="1029218" indent="-96118" algn="l" defTabSz="685785" rtl="0" fontAlgn="base">
            <a:spcBef>
              <a:spcPct val="0"/>
            </a:spcBef>
            <a:spcAft>
              <a:spcPct val="0"/>
            </a:spcAft>
            <a:defRPr sz="1361" kern="1200">
              <a:solidFill>
                <a:schemeClr val="lt1"/>
              </a:solidFill>
              <a:latin typeface="+mn-lt"/>
              <a:ea typeface="+mn-ea"/>
              <a:cs typeface="+mn-cs"/>
            </a:defRPr>
          </a:lvl4pPr>
          <a:lvl5pPr marL="1372650" indent="-128518" algn="l" defTabSz="685785" rtl="0" fontAlgn="base">
            <a:spcBef>
              <a:spcPct val="0"/>
            </a:spcBef>
            <a:spcAft>
              <a:spcPct val="0"/>
            </a:spcAft>
            <a:defRPr sz="1361" kern="1200">
              <a:solidFill>
                <a:schemeClr val="lt1"/>
              </a:solidFill>
              <a:latin typeface="+mn-lt"/>
              <a:ea typeface="+mn-ea"/>
              <a:cs typeface="+mn-cs"/>
            </a:defRPr>
          </a:lvl5pPr>
          <a:lvl6pPr marL="1555166" algn="l" defTabSz="622066" rtl="0" eaLnBrk="1" latinLnBrk="0" hangingPunct="1">
            <a:defRPr sz="1361" kern="1200">
              <a:solidFill>
                <a:schemeClr val="lt1"/>
              </a:solidFill>
              <a:latin typeface="+mn-lt"/>
              <a:ea typeface="+mn-ea"/>
              <a:cs typeface="+mn-cs"/>
            </a:defRPr>
          </a:lvl6pPr>
          <a:lvl7pPr marL="1866199" algn="l" defTabSz="622066" rtl="0" eaLnBrk="1" latinLnBrk="0" hangingPunct="1">
            <a:defRPr sz="1361" kern="1200">
              <a:solidFill>
                <a:schemeClr val="lt1"/>
              </a:solidFill>
              <a:latin typeface="+mn-lt"/>
              <a:ea typeface="+mn-ea"/>
              <a:cs typeface="+mn-cs"/>
            </a:defRPr>
          </a:lvl7pPr>
          <a:lvl8pPr marL="2177232" algn="l" defTabSz="622066" rtl="0" eaLnBrk="1" latinLnBrk="0" hangingPunct="1">
            <a:defRPr sz="1361" kern="1200">
              <a:solidFill>
                <a:schemeClr val="lt1"/>
              </a:solidFill>
              <a:latin typeface="+mn-lt"/>
              <a:ea typeface="+mn-ea"/>
              <a:cs typeface="+mn-cs"/>
            </a:defRPr>
          </a:lvl8pPr>
          <a:lvl9pPr marL="2488265" algn="l" defTabSz="622066" rtl="0" eaLnBrk="1" latinLnBrk="0" hangingPunct="1">
            <a:defRPr sz="1361" kern="1200">
              <a:solidFill>
                <a:schemeClr val="lt1"/>
              </a:solidFill>
              <a:latin typeface="+mn-lt"/>
              <a:ea typeface="+mn-ea"/>
              <a:cs typeface="+mn-cs"/>
            </a:defRPr>
          </a:lvl9pPr>
        </a:lstStyle>
        <a:p xmlns:a="http://schemas.openxmlformats.org/drawingml/2006/main">
          <a:endParaRPr lang="en-US"/>
        </a:p>
      </cdr:txBody>
    </cdr:sp>
  </cdr:relSizeAnchor>
</c:userShapes>
</file>

<file path=ppt/drawings/drawing5.xml><?xml version="1.0" encoding="utf-8"?>
<c:userShapes xmlns:c="http://schemas.openxmlformats.org/drawingml/2006/chart">
  <cdr:absSizeAnchor xmlns:cdr="http://schemas.openxmlformats.org/drawingml/2006/chartDrawing">
    <cdr:from>
      <cdr:x>0.01283</cdr:x>
      <cdr:y>0.01091</cdr:y>
    </cdr:from>
    <cdr:ext cx="3766693" cy="294131"/>
    <cdr:sp macro="" textlink="">
      <cdr:nvSpPr>
        <cdr:cNvPr id="15" name="Title_15">
          <a:extLst xmlns:a="http://schemas.openxmlformats.org/drawingml/2006/main">
            <a:ext uri="{FF2B5EF4-FFF2-40B4-BE49-F238E27FC236}">
              <a16:creationId xmlns:a16="http://schemas.microsoft.com/office/drawing/2014/main" id="{337FFFD3-2ABD-40E0-4333-05DC40B1461D}"/>
            </a:ext>
          </a:extLst>
        </cdr:cNvPr>
        <cdr:cNvSpPr txBox="1"/>
      </cdr:nvSpPr>
      <cdr:spPr>
        <a:xfrm xmlns:a="http://schemas.openxmlformats.org/drawingml/2006/main">
          <a:off x="50800" y="50800"/>
          <a:ext cx="3766693" cy="294131"/>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r>
            <a:rPr lang="en-GB" sz="1400" b="1" i="0" dirty="0">
              <a:solidFill>
                <a:srgbClr val="000000"/>
              </a:solidFill>
              <a:latin typeface="DeutscheBank" panose="020B0503020202030204" pitchFamily="34" charset="0"/>
            </a:rPr>
            <a:t>BIP-</a:t>
          </a:r>
          <a:r>
            <a:rPr lang="en-GB" sz="1400" b="1" i="0" dirty="0" err="1">
              <a:solidFill>
                <a:srgbClr val="000000"/>
              </a:solidFill>
              <a:latin typeface="DeutscheBank" panose="020B0503020202030204" pitchFamily="34" charset="0"/>
            </a:rPr>
            <a:t>Ausblick</a:t>
          </a:r>
          <a:endParaRPr lang="en-GB" sz="1600" b="1" i="0" dirty="0">
            <a:solidFill>
              <a:srgbClr val="000000"/>
            </a:solidFill>
            <a:latin typeface="DeutscheBank" panose="020B0503020202030204" pitchFamily="34" charset="0"/>
          </a:endParaRPr>
        </a:p>
      </cdr:txBody>
    </cdr:sp>
  </cdr:absSizeAnchor>
  <cdr:relSizeAnchor xmlns:cdr="http://schemas.openxmlformats.org/drawingml/2006/chartDrawing">
    <cdr:from>
      <cdr:x>0.01283</cdr:x>
      <cdr:y>0.01226</cdr:y>
    </cdr:from>
    <cdr:to>
      <cdr:x>0.33355</cdr:x>
      <cdr:y>0.02451</cdr:y>
    </cdr:to>
    <cdr:sp macro="" textlink="">
      <cdr:nvSpPr>
        <cdr:cNvPr id="16" name="ReChartUniqueKey_16" hidden="1">
          <a:extLst xmlns:a="http://schemas.openxmlformats.org/drawingml/2006/main">
            <a:ext uri="{FF2B5EF4-FFF2-40B4-BE49-F238E27FC236}">
              <a16:creationId xmlns:a16="http://schemas.microsoft.com/office/drawing/2014/main" id="{D68E0DEE-F3E0-2126-0A66-D8759D7930D1}"/>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29-F3-41-75-5B-71-CE-76-69-68-0F-4C-85-DC-BB-EE</a:t>
          </a:r>
        </a:p>
      </cdr:txBody>
    </cdr:sp>
  </cdr:relSizeAnchor>
  <cdr:relSizeAnchor xmlns:cdr="http://schemas.openxmlformats.org/drawingml/2006/chartDrawing">
    <cdr:from>
      <cdr:x>0.01283</cdr:x>
      <cdr:y>0.01226</cdr:y>
    </cdr:from>
    <cdr:to>
      <cdr:x>0.33355</cdr:x>
      <cdr:y>0.02451</cdr:y>
    </cdr:to>
    <cdr:sp macro="" textlink="">
      <cdr:nvSpPr>
        <cdr:cNvPr id="17" name="ReChartMasterData_17" hidden="1">
          <a:extLst xmlns:a="http://schemas.openxmlformats.org/drawingml/2006/main">
            <a:ext uri="{FF2B5EF4-FFF2-40B4-BE49-F238E27FC236}">
              <a16:creationId xmlns:a16="http://schemas.microsoft.com/office/drawing/2014/main" id="{23AF4AD4-0A7E-D886-83FA-3B6BC1CA7D7B}"/>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Bernhard - 2;2;;Excel;;False</a:t>
          </a:r>
        </a:p>
      </cdr:txBody>
    </cdr:sp>
  </cdr:relSizeAnchor>
  <cdr:relSizeAnchor xmlns:cdr="http://schemas.openxmlformats.org/drawingml/2006/chartDrawing">
    <cdr:from>
      <cdr:x>0.01283</cdr:x>
      <cdr:y>0.01226</cdr:y>
    </cdr:from>
    <cdr:to>
      <cdr:x>0.33355</cdr:x>
      <cdr:y>0.02451</cdr:y>
    </cdr:to>
    <cdr:sp macro="" textlink="">
      <cdr:nvSpPr>
        <cdr:cNvPr id="18" name="ReChartKeepFormats_18" hidden="1">
          <a:extLst xmlns:a="http://schemas.openxmlformats.org/drawingml/2006/main">
            <a:ext uri="{FF2B5EF4-FFF2-40B4-BE49-F238E27FC236}">
              <a16:creationId xmlns:a16="http://schemas.microsoft.com/office/drawing/2014/main" id="{C837012C-66E7-F499-A6B4-7F9DE697CDB4}"/>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False</a:t>
          </a:r>
        </a:p>
      </cdr:txBody>
    </cdr:sp>
  </cdr:relSizeAnchor>
  <cdr:relSizeAnchor xmlns:cdr="http://schemas.openxmlformats.org/drawingml/2006/chartDrawing">
    <cdr:from>
      <cdr:x>0.01283</cdr:x>
      <cdr:y>0.01226</cdr:y>
    </cdr:from>
    <cdr:to>
      <cdr:x>0.33355</cdr:x>
      <cdr:y>0.02451</cdr:y>
    </cdr:to>
    <cdr:sp macro="" textlink="">
      <cdr:nvSpPr>
        <cdr:cNvPr id="19" name="ShowSeriesName_19" hidden="1">
          <a:extLst xmlns:a="http://schemas.openxmlformats.org/drawingml/2006/main">
            <a:ext uri="{FF2B5EF4-FFF2-40B4-BE49-F238E27FC236}">
              <a16:creationId xmlns:a16="http://schemas.microsoft.com/office/drawing/2014/main" id="{E00ABDC0-2B23-1D53-C5E4-9576D135B734}"/>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0</a:t>
          </a:r>
        </a:p>
      </cdr:txBody>
    </cdr:sp>
  </cdr:relSizeAnchor>
  <cdr:relSizeAnchor xmlns:cdr="http://schemas.openxmlformats.org/drawingml/2006/chartDrawing">
    <cdr:from>
      <cdr:x>0.01283</cdr:x>
      <cdr:y>0.01226</cdr:y>
    </cdr:from>
    <cdr:to>
      <cdr:x>0.33355</cdr:x>
      <cdr:y>0.02451</cdr:y>
    </cdr:to>
    <cdr:sp macro="" textlink="">
      <cdr:nvSpPr>
        <cdr:cNvPr id="20" name="PlotBands_20" hidden="1">
          <a:extLst xmlns:a="http://schemas.openxmlformats.org/drawingml/2006/main">
            <a:ext uri="{FF2B5EF4-FFF2-40B4-BE49-F238E27FC236}">
              <a16:creationId xmlns:a16="http://schemas.microsoft.com/office/drawing/2014/main" id="{3EF27F55-FA0A-20B9-FFC9-9B87E5650B77}"/>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200" dirty="0">
            <a:solidFill>
              <a:srgbClr val="FFFFFF"/>
            </a:solidFill>
            <a:latin typeface="DeutscheBank" panose="020B0503020202030204" pitchFamily="34" charset="0"/>
          </a:endParaRPr>
        </a:p>
      </cdr:txBody>
    </cdr:sp>
  </cdr:relSizeAnchor>
  <cdr:relSizeAnchor xmlns:cdr="http://schemas.openxmlformats.org/drawingml/2006/chartDrawing">
    <cdr:from>
      <cdr:x>0.01283</cdr:x>
      <cdr:y>0.01226</cdr:y>
    </cdr:from>
    <cdr:to>
      <cdr:x>0.33355</cdr:x>
      <cdr:y>0.02451</cdr:y>
    </cdr:to>
    <cdr:sp macro="" textlink="">
      <cdr:nvSpPr>
        <cdr:cNvPr id="21" name="ForecastMasterData_21" hidden="1">
          <a:extLst xmlns:a="http://schemas.openxmlformats.org/drawingml/2006/main">
            <a:ext uri="{FF2B5EF4-FFF2-40B4-BE49-F238E27FC236}">
              <a16:creationId xmlns:a16="http://schemas.microsoft.com/office/drawing/2014/main" id="{392DB1C4-057E-8C4A-F8F5-2DA99C1E4CD3}"/>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INDEX=0;STARTDATE:;ENDDATE:;</a:t>
          </a:r>
        </a:p>
      </cdr:txBody>
    </cdr:sp>
  </cdr:relSizeAnchor>
  <cdr:absSizeAnchor xmlns:cdr="http://schemas.openxmlformats.org/drawingml/2006/chartDrawing">
    <cdr:from>
      <cdr:x>0.01283</cdr:x>
      <cdr:y>0.95883</cdr:y>
    </cdr:from>
    <cdr:ext cx="3766693" cy="153670"/>
    <cdr:sp macro="" textlink="">
      <cdr:nvSpPr>
        <cdr:cNvPr id="22" name="Source_22">
          <a:extLst xmlns:a="http://schemas.openxmlformats.org/drawingml/2006/main">
            <a:ext uri="{FF2B5EF4-FFF2-40B4-BE49-F238E27FC236}">
              <a16:creationId xmlns:a16="http://schemas.microsoft.com/office/drawing/2014/main" id="{0A2ABC59-6F5D-E7BA-9025-D58741648BD7}"/>
            </a:ext>
          </a:extLst>
        </cdr:cNvPr>
        <cdr:cNvSpPr txBox="1"/>
      </cdr:nvSpPr>
      <cdr:spPr>
        <a:xfrm xmlns:a="http://schemas.openxmlformats.org/drawingml/2006/main">
          <a:off x="50800" y="4466240"/>
          <a:ext cx="3766693" cy="153670"/>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pPr algn="l"/>
          <a:r>
            <a:rPr lang="en-GB" sz="1000" b="0" i="0" dirty="0">
              <a:solidFill>
                <a:srgbClr val="000000"/>
              </a:solidFill>
              <a:latin typeface="DeutscheBank" panose="020B0503020202030204" pitchFamily="34" charset="0"/>
            </a:rPr>
            <a:t>Quelle: Deutsche Bank, </a:t>
          </a:r>
          <a:r>
            <a:rPr lang="en-GB" sz="1000" b="0" i="0" dirty="0" err="1">
              <a:solidFill>
                <a:srgbClr val="000000"/>
              </a:solidFill>
              <a:latin typeface="DeutscheBank" panose="020B0503020202030204" pitchFamily="34" charset="0"/>
            </a:rPr>
            <a:t>Statistisches</a:t>
          </a:r>
          <a:r>
            <a:rPr lang="en-GB" sz="1000" b="0" i="0" dirty="0">
              <a:solidFill>
                <a:srgbClr val="000000"/>
              </a:solidFill>
              <a:latin typeface="DeutscheBank" panose="020B0503020202030204" pitchFamily="34" charset="0"/>
            </a:rPr>
            <a:t> </a:t>
          </a:r>
          <a:r>
            <a:rPr lang="en-GB" sz="1000" b="0" i="0" dirty="0" err="1">
              <a:solidFill>
                <a:srgbClr val="000000"/>
              </a:solidFill>
              <a:latin typeface="DeutscheBank" panose="020B0503020202030204" pitchFamily="34" charset="0"/>
            </a:rPr>
            <a:t>Bundesamt</a:t>
          </a:r>
          <a:endParaRPr lang="en-GB" sz="1000" b="0" i="0" dirty="0">
            <a:solidFill>
              <a:srgbClr val="000000"/>
            </a:solidFill>
            <a:latin typeface="DeutscheBank" panose="020B0503020202030204" pitchFamily="34" charset="0"/>
          </a:endParaRPr>
        </a:p>
      </cdr:txBody>
    </cdr:sp>
  </cdr:absSizeAnchor>
</c:userShapes>
</file>

<file path=ppt/drawings/drawing6.xml><?xml version="1.0" encoding="utf-8"?>
<c:userShapes xmlns:c="http://schemas.openxmlformats.org/drawingml/2006/chart">
  <cdr:absSizeAnchor xmlns:cdr="http://schemas.openxmlformats.org/drawingml/2006/chartDrawing">
    <cdr:from>
      <cdr:x>0.01283</cdr:x>
      <cdr:y>0.0119</cdr:y>
    </cdr:from>
    <cdr:ext cx="3782225" cy="294130"/>
    <cdr:sp macro="" textlink="">
      <cdr:nvSpPr>
        <cdr:cNvPr id="14" name="Title_14">
          <a:extLst xmlns:a="http://schemas.openxmlformats.org/drawingml/2006/main">
            <a:ext uri="{FF2B5EF4-FFF2-40B4-BE49-F238E27FC236}">
              <a16:creationId xmlns:a16="http://schemas.microsoft.com/office/drawing/2014/main" id="{DBAEE9D1-7D13-02B0-1275-699C6098FD22}"/>
            </a:ext>
          </a:extLst>
        </cdr:cNvPr>
        <cdr:cNvSpPr txBox="1"/>
      </cdr:nvSpPr>
      <cdr:spPr>
        <a:xfrm xmlns:a="http://schemas.openxmlformats.org/drawingml/2006/main">
          <a:off x="50800" y="50800"/>
          <a:ext cx="3782225" cy="294130"/>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r>
            <a:rPr lang="en-GB" sz="1400" b="1" i="0" dirty="0" err="1">
              <a:solidFill>
                <a:srgbClr val="000000"/>
              </a:solidFill>
              <a:latin typeface="DeutscheBank" panose="020B0503020202030204" pitchFamily="34" charset="0"/>
            </a:rPr>
            <a:t>Konsumlaune</a:t>
          </a:r>
          <a:r>
            <a:rPr lang="en-GB" sz="1400" b="1" i="0" dirty="0">
              <a:solidFill>
                <a:srgbClr val="000000"/>
              </a:solidFill>
              <a:latin typeface="DeutscheBank" panose="020B0503020202030204" pitchFamily="34" charset="0"/>
            </a:rPr>
            <a:t> </a:t>
          </a:r>
          <a:r>
            <a:rPr lang="en-GB" sz="1400" b="1" i="0" dirty="0" err="1">
              <a:solidFill>
                <a:srgbClr val="000000"/>
              </a:solidFill>
              <a:latin typeface="DeutscheBank" panose="020B0503020202030204" pitchFamily="34" charset="0"/>
            </a:rPr>
            <a:t>bleibt</a:t>
          </a:r>
          <a:r>
            <a:rPr lang="en-GB" sz="1400" b="1" i="0" dirty="0">
              <a:solidFill>
                <a:srgbClr val="000000"/>
              </a:solidFill>
              <a:latin typeface="DeutscheBank" panose="020B0503020202030204" pitchFamily="34" charset="0"/>
            </a:rPr>
            <a:t> </a:t>
          </a:r>
          <a:r>
            <a:rPr lang="en-GB" sz="1400" b="1" i="0" dirty="0" err="1">
              <a:solidFill>
                <a:srgbClr val="000000"/>
              </a:solidFill>
              <a:latin typeface="DeutscheBank" panose="020B0503020202030204" pitchFamily="34" charset="0"/>
            </a:rPr>
            <a:t>mau</a:t>
          </a:r>
          <a:endParaRPr lang="en-GB" sz="1400" b="1" i="0" dirty="0">
            <a:solidFill>
              <a:srgbClr val="000000"/>
            </a:solidFill>
            <a:latin typeface="DeutscheBank" panose="020B0503020202030204" pitchFamily="34" charset="0"/>
          </a:endParaRPr>
        </a:p>
      </cdr:txBody>
    </cdr:sp>
  </cdr:absSizeAnchor>
  <cdr:relSizeAnchor xmlns:cdr="http://schemas.openxmlformats.org/drawingml/2006/chartDrawing">
    <cdr:from>
      <cdr:x>0.01283</cdr:x>
      <cdr:y>0.01174</cdr:y>
    </cdr:from>
    <cdr:to>
      <cdr:x>0.33355</cdr:x>
      <cdr:y>0.02349</cdr:y>
    </cdr:to>
    <cdr:sp macro="" textlink="">
      <cdr:nvSpPr>
        <cdr:cNvPr id="2" name="ReChartUniqueKey_2" hidden="1">
          <a:extLst xmlns:a="http://schemas.openxmlformats.org/drawingml/2006/main">
            <a:ext uri="{FF2B5EF4-FFF2-40B4-BE49-F238E27FC236}">
              <a16:creationId xmlns:a16="http://schemas.microsoft.com/office/drawing/2014/main" id="{24617972-03D1-9E40-2E80-7CEC85BD6436}"/>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FC-9F-66-FA-60-03-92-0A-5F-1C-A1-6D-84-60-9F-F8</a:t>
          </a:r>
        </a:p>
      </cdr:txBody>
    </cdr:sp>
  </cdr:relSizeAnchor>
  <cdr:relSizeAnchor xmlns:cdr="http://schemas.openxmlformats.org/drawingml/2006/chartDrawing">
    <cdr:from>
      <cdr:x>0.01283</cdr:x>
      <cdr:y>0.01174</cdr:y>
    </cdr:from>
    <cdr:to>
      <cdr:x>0.33355</cdr:x>
      <cdr:y>0.02349</cdr:y>
    </cdr:to>
    <cdr:sp macro="" textlink="">
      <cdr:nvSpPr>
        <cdr:cNvPr id="3" name="ReChartMasterData_3" hidden="1">
          <a:extLst xmlns:a="http://schemas.openxmlformats.org/drawingml/2006/main">
            <a:ext uri="{FF2B5EF4-FFF2-40B4-BE49-F238E27FC236}">
              <a16:creationId xmlns:a16="http://schemas.microsoft.com/office/drawing/2014/main" id="{E04DE238-350F-BB70-0404-B6B2537187F3}"/>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Bernhard - 2;2;;Excel;;False</a:t>
          </a:r>
        </a:p>
      </cdr:txBody>
    </cdr:sp>
  </cdr:relSizeAnchor>
  <cdr:relSizeAnchor xmlns:cdr="http://schemas.openxmlformats.org/drawingml/2006/chartDrawing">
    <cdr:from>
      <cdr:x>0.01283</cdr:x>
      <cdr:y>0.01174</cdr:y>
    </cdr:from>
    <cdr:to>
      <cdr:x>0.33355</cdr:x>
      <cdr:y>0.02349</cdr:y>
    </cdr:to>
    <cdr:sp macro="" textlink="">
      <cdr:nvSpPr>
        <cdr:cNvPr id="4" name="ReChartKeepFormats_4" hidden="1">
          <a:extLst xmlns:a="http://schemas.openxmlformats.org/drawingml/2006/main">
            <a:ext uri="{FF2B5EF4-FFF2-40B4-BE49-F238E27FC236}">
              <a16:creationId xmlns:a16="http://schemas.microsoft.com/office/drawing/2014/main" id="{10338574-E269-A4BB-15AC-5956517453BE}"/>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False</a:t>
          </a:r>
        </a:p>
      </cdr:txBody>
    </cdr:sp>
  </cdr:relSizeAnchor>
  <cdr:relSizeAnchor xmlns:cdr="http://schemas.openxmlformats.org/drawingml/2006/chartDrawing">
    <cdr:from>
      <cdr:x>0.01283</cdr:x>
      <cdr:y>0.01174</cdr:y>
    </cdr:from>
    <cdr:to>
      <cdr:x>0.33355</cdr:x>
      <cdr:y>0.02349</cdr:y>
    </cdr:to>
    <cdr:sp macro="" textlink="">
      <cdr:nvSpPr>
        <cdr:cNvPr id="5" name="ShowSeriesName_5" hidden="1">
          <a:extLst xmlns:a="http://schemas.openxmlformats.org/drawingml/2006/main">
            <a:ext uri="{FF2B5EF4-FFF2-40B4-BE49-F238E27FC236}">
              <a16:creationId xmlns:a16="http://schemas.microsoft.com/office/drawing/2014/main" id="{FD0B767F-B109-C0D6-B21B-ED0CD40C238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0</a:t>
          </a:r>
        </a:p>
      </cdr:txBody>
    </cdr:sp>
  </cdr:relSizeAnchor>
  <cdr:relSizeAnchor xmlns:cdr="http://schemas.openxmlformats.org/drawingml/2006/chartDrawing">
    <cdr:from>
      <cdr:x>0.01283</cdr:x>
      <cdr:y>0.01174</cdr:y>
    </cdr:from>
    <cdr:to>
      <cdr:x>0.33355</cdr:x>
      <cdr:y>0.02349</cdr:y>
    </cdr:to>
    <cdr:sp macro="" textlink="">
      <cdr:nvSpPr>
        <cdr:cNvPr id="6" name="PlotBands_6" hidden="1">
          <a:extLst xmlns:a="http://schemas.openxmlformats.org/drawingml/2006/main">
            <a:ext uri="{FF2B5EF4-FFF2-40B4-BE49-F238E27FC236}">
              <a16:creationId xmlns:a16="http://schemas.microsoft.com/office/drawing/2014/main" id="{05DE02C7-7CBB-4D24-E733-97A696941E8F}"/>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200" dirty="0">
            <a:solidFill>
              <a:srgbClr val="FFFFFF"/>
            </a:solidFill>
            <a:latin typeface="DeutscheBank" panose="020B0503020202030204" pitchFamily="34" charset="0"/>
          </a:endParaRPr>
        </a:p>
      </cdr:txBody>
    </cdr:sp>
  </cdr:relSizeAnchor>
  <cdr:relSizeAnchor xmlns:cdr="http://schemas.openxmlformats.org/drawingml/2006/chartDrawing">
    <cdr:from>
      <cdr:x>0.01283</cdr:x>
      <cdr:y>0.01174</cdr:y>
    </cdr:from>
    <cdr:to>
      <cdr:x>0.33355</cdr:x>
      <cdr:y>0.02349</cdr:y>
    </cdr:to>
    <cdr:sp macro="" textlink="">
      <cdr:nvSpPr>
        <cdr:cNvPr id="7" name="ForecastMasterData_7" hidden="1">
          <a:extLst xmlns:a="http://schemas.openxmlformats.org/drawingml/2006/main">
            <a:ext uri="{FF2B5EF4-FFF2-40B4-BE49-F238E27FC236}">
              <a16:creationId xmlns:a16="http://schemas.microsoft.com/office/drawing/2014/main" id="{EF88A007-C028-2C01-7F17-209D24691D35}"/>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INDEX=0;STARTDATE:;ENDDATE:;</a:t>
          </a:r>
        </a:p>
      </cdr:txBody>
    </cdr:sp>
  </cdr:relSizeAnchor>
  <cdr:absSizeAnchor xmlns:cdr="http://schemas.openxmlformats.org/drawingml/2006/chartDrawing">
    <cdr:from>
      <cdr:x>0.01283</cdr:x>
      <cdr:y>0.95807</cdr:y>
    </cdr:from>
    <cdr:ext cx="3782225" cy="153667"/>
    <cdr:sp macro="" textlink="">
      <cdr:nvSpPr>
        <cdr:cNvPr id="8" name="Source_8">
          <a:extLst xmlns:a="http://schemas.openxmlformats.org/drawingml/2006/main">
            <a:ext uri="{FF2B5EF4-FFF2-40B4-BE49-F238E27FC236}">
              <a16:creationId xmlns:a16="http://schemas.microsoft.com/office/drawing/2014/main" id="{31157E38-0CD5-AC90-5739-92BC8C60C63E}"/>
            </a:ext>
          </a:extLst>
        </cdr:cNvPr>
        <cdr:cNvSpPr txBox="1"/>
      </cdr:nvSpPr>
      <cdr:spPr>
        <a:xfrm xmlns:a="http://schemas.openxmlformats.org/drawingml/2006/main">
          <a:off x="50800" y="4091056"/>
          <a:ext cx="3782225" cy="153667"/>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pPr algn="l"/>
          <a:r>
            <a:rPr lang="en-GB" sz="1000" b="0" i="0" dirty="0">
              <a:solidFill>
                <a:srgbClr val="000000"/>
              </a:solidFill>
              <a:latin typeface="DeutscheBank" panose="020B0503020202030204" pitchFamily="34" charset="0"/>
            </a:rPr>
            <a:t>Quelle: Deutsche Bank, </a:t>
          </a:r>
          <a:r>
            <a:rPr lang="en-GB" sz="1000" b="0" i="0" dirty="0" err="1">
              <a:solidFill>
                <a:srgbClr val="000000"/>
              </a:solidFill>
              <a:latin typeface="DeutscheBank" panose="020B0503020202030204" pitchFamily="34" charset="0"/>
            </a:rPr>
            <a:t>Statistisches</a:t>
          </a:r>
          <a:r>
            <a:rPr lang="en-GB" sz="1000" b="0" i="0" dirty="0">
              <a:solidFill>
                <a:srgbClr val="000000"/>
              </a:solidFill>
              <a:latin typeface="DeutscheBank" panose="020B0503020202030204" pitchFamily="34" charset="0"/>
            </a:rPr>
            <a:t> </a:t>
          </a:r>
          <a:r>
            <a:rPr lang="en-GB" sz="1000" b="0" i="0" dirty="0" err="1">
              <a:solidFill>
                <a:srgbClr val="000000"/>
              </a:solidFill>
              <a:latin typeface="DeutscheBank" panose="020B0503020202030204" pitchFamily="34" charset="0"/>
            </a:rPr>
            <a:t>Bundesamt</a:t>
          </a:r>
          <a:r>
            <a:rPr lang="en-GB" sz="1000" b="0" i="0" dirty="0">
              <a:solidFill>
                <a:srgbClr val="000000"/>
              </a:solidFill>
              <a:latin typeface="DeutscheBank" panose="020B0503020202030204" pitchFamily="34" charset="0"/>
            </a:rPr>
            <a:t>, Eurostat</a:t>
          </a:r>
        </a:p>
      </cdr:txBody>
    </cdr:sp>
  </cdr:absSizeAnchor>
</c:userShapes>
</file>

<file path=ppt/drawings/drawing7.xml><?xml version="1.0" encoding="utf-8"?>
<c:userShapes xmlns:c="http://schemas.openxmlformats.org/drawingml/2006/chart">
  <cdr:absSizeAnchor xmlns:cdr="http://schemas.openxmlformats.org/drawingml/2006/chartDrawing">
    <cdr:from>
      <cdr:x>0.01283</cdr:x>
      <cdr:y>0.01145</cdr:y>
    </cdr:from>
    <cdr:ext cx="3782225" cy="294132"/>
    <cdr:sp macro="" textlink="">
      <cdr:nvSpPr>
        <cdr:cNvPr id="14" name="Title_14">
          <a:extLst xmlns:a="http://schemas.openxmlformats.org/drawingml/2006/main">
            <a:ext uri="{FF2B5EF4-FFF2-40B4-BE49-F238E27FC236}">
              <a16:creationId xmlns:a16="http://schemas.microsoft.com/office/drawing/2014/main" id="{AD15DDC5-7A00-CF16-D777-BCB4B9610B5F}"/>
            </a:ext>
          </a:extLst>
        </cdr:cNvPr>
        <cdr:cNvSpPr txBox="1"/>
      </cdr:nvSpPr>
      <cdr:spPr>
        <a:xfrm xmlns:a="http://schemas.openxmlformats.org/drawingml/2006/main">
          <a:off x="50800" y="50800"/>
          <a:ext cx="3782225" cy="294132"/>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r>
            <a:rPr lang="en-GB" sz="1400" b="1" i="0" dirty="0" err="1">
              <a:solidFill>
                <a:srgbClr val="000000"/>
              </a:solidFill>
              <a:latin typeface="DeutscheBank" panose="020B0503020202030204" pitchFamily="34" charset="0"/>
            </a:rPr>
            <a:t>Investitionsschwäche</a:t>
          </a:r>
          <a:endParaRPr lang="en-GB" sz="1400" b="1" i="0" dirty="0">
            <a:solidFill>
              <a:srgbClr val="000000"/>
            </a:solidFill>
            <a:latin typeface="DeutscheBank" panose="020B0503020202030204" pitchFamily="34" charset="0"/>
          </a:endParaRPr>
        </a:p>
      </cdr:txBody>
    </cdr:sp>
  </cdr:absSizeAnchor>
  <cdr:relSizeAnchor xmlns:cdr="http://schemas.openxmlformats.org/drawingml/2006/chartDrawing">
    <cdr:from>
      <cdr:x>0.01283</cdr:x>
      <cdr:y>0.01286</cdr:y>
    </cdr:from>
    <cdr:to>
      <cdr:x>0.33355</cdr:x>
      <cdr:y>0.02571</cdr:y>
    </cdr:to>
    <cdr:sp macro="" textlink="">
      <cdr:nvSpPr>
        <cdr:cNvPr id="15" name="ReChartUniqueKey_15" hidden="1">
          <a:extLst xmlns:a="http://schemas.openxmlformats.org/drawingml/2006/main">
            <a:ext uri="{FF2B5EF4-FFF2-40B4-BE49-F238E27FC236}">
              <a16:creationId xmlns:a16="http://schemas.microsoft.com/office/drawing/2014/main" id="{6ED3AC59-3660-E076-11A9-9DCAC7BB4694}"/>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CC-31-FE-2E-E5-AB-40-4A-3B-2F-F6-93-42-55-C5-26</a:t>
          </a:r>
        </a:p>
      </cdr:txBody>
    </cdr:sp>
  </cdr:relSizeAnchor>
  <cdr:relSizeAnchor xmlns:cdr="http://schemas.openxmlformats.org/drawingml/2006/chartDrawing">
    <cdr:from>
      <cdr:x>0.01283</cdr:x>
      <cdr:y>0.01286</cdr:y>
    </cdr:from>
    <cdr:to>
      <cdr:x>0.33355</cdr:x>
      <cdr:y>0.02571</cdr:y>
    </cdr:to>
    <cdr:sp macro="" textlink="">
      <cdr:nvSpPr>
        <cdr:cNvPr id="16" name="ReChartMasterData_16" hidden="1">
          <a:extLst xmlns:a="http://schemas.openxmlformats.org/drawingml/2006/main">
            <a:ext uri="{FF2B5EF4-FFF2-40B4-BE49-F238E27FC236}">
              <a16:creationId xmlns:a16="http://schemas.microsoft.com/office/drawing/2014/main" id="{4CCDA80E-E767-A4A5-8C86-C051FF29A5C4}"/>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Bernhard - 2;2;;Excel;;False</a:t>
          </a:r>
        </a:p>
      </cdr:txBody>
    </cdr:sp>
  </cdr:relSizeAnchor>
  <cdr:relSizeAnchor xmlns:cdr="http://schemas.openxmlformats.org/drawingml/2006/chartDrawing">
    <cdr:from>
      <cdr:x>0.01283</cdr:x>
      <cdr:y>0.01286</cdr:y>
    </cdr:from>
    <cdr:to>
      <cdr:x>0.33355</cdr:x>
      <cdr:y>0.02571</cdr:y>
    </cdr:to>
    <cdr:sp macro="" textlink="">
      <cdr:nvSpPr>
        <cdr:cNvPr id="17" name="ReChartKeepFormats_17" hidden="1">
          <a:extLst xmlns:a="http://schemas.openxmlformats.org/drawingml/2006/main">
            <a:ext uri="{FF2B5EF4-FFF2-40B4-BE49-F238E27FC236}">
              <a16:creationId xmlns:a16="http://schemas.microsoft.com/office/drawing/2014/main" id="{458D7E6C-39AA-C40B-2631-4C5BDB1268E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False</a:t>
          </a:r>
        </a:p>
      </cdr:txBody>
    </cdr:sp>
  </cdr:relSizeAnchor>
  <cdr:relSizeAnchor xmlns:cdr="http://schemas.openxmlformats.org/drawingml/2006/chartDrawing">
    <cdr:from>
      <cdr:x>0.01283</cdr:x>
      <cdr:y>0.01286</cdr:y>
    </cdr:from>
    <cdr:to>
      <cdr:x>0.33355</cdr:x>
      <cdr:y>0.02571</cdr:y>
    </cdr:to>
    <cdr:sp macro="" textlink="">
      <cdr:nvSpPr>
        <cdr:cNvPr id="18" name="ShowSeriesName_18" hidden="1">
          <a:extLst xmlns:a="http://schemas.openxmlformats.org/drawingml/2006/main">
            <a:ext uri="{FF2B5EF4-FFF2-40B4-BE49-F238E27FC236}">
              <a16:creationId xmlns:a16="http://schemas.microsoft.com/office/drawing/2014/main" id="{29513D2F-CD3C-3B10-393D-19DDFEBBAD09}"/>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0</a:t>
          </a:r>
        </a:p>
      </cdr:txBody>
    </cdr:sp>
  </cdr:relSizeAnchor>
  <cdr:relSizeAnchor xmlns:cdr="http://schemas.openxmlformats.org/drawingml/2006/chartDrawing">
    <cdr:from>
      <cdr:x>0.01283</cdr:x>
      <cdr:y>0.01286</cdr:y>
    </cdr:from>
    <cdr:to>
      <cdr:x>0.33355</cdr:x>
      <cdr:y>0.02571</cdr:y>
    </cdr:to>
    <cdr:sp macro="" textlink="">
      <cdr:nvSpPr>
        <cdr:cNvPr id="19" name="PlotBands_19" hidden="1">
          <a:extLst xmlns:a="http://schemas.openxmlformats.org/drawingml/2006/main">
            <a:ext uri="{FF2B5EF4-FFF2-40B4-BE49-F238E27FC236}">
              <a16:creationId xmlns:a16="http://schemas.microsoft.com/office/drawing/2014/main" id="{42A14924-72D8-02B7-821A-46B2EB879EB9}"/>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200" dirty="0">
            <a:solidFill>
              <a:srgbClr val="FFFFFF"/>
            </a:solidFill>
            <a:latin typeface="DeutscheBank" panose="020B0503020202030204" pitchFamily="34" charset="0"/>
          </a:endParaRPr>
        </a:p>
      </cdr:txBody>
    </cdr:sp>
  </cdr:relSizeAnchor>
  <cdr:relSizeAnchor xmlns:cdr="http://schemas.openxmlformats.org/drawingml/2006/chartDrawing">
    <cdr:from>
      <cdr:x>0.01283</cdr:x>
      <cdr:y>0.01286</cdr:y>
    </cdr:from>
    <cdr:to>
      <cdr:x>0.33355</cdr:x>
      <cdr:y>0.02571</cdr:y>
    </cdr:to>
    <cdr:sp macro="" textlink="">
      <cdr:nvSpPr>
        <cdr:cNvPr id="20" name="ForecastMasterData_20" hidden="1">
          <a:extLst xmlns:a="http://schemas.openxmlformats.org/drawingml/2006/main">
            <a:ext uri="{FF2B5EF4-FFF2-40B4-BE49-F238E27FC236}">
              <a16:creationId xmlns:a16="http://schemas.microsoft.com/office/drawing/2014/main" id="{EBD7CA5C-A3A6-B016-BE0F-0A436AC885AE}"/>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INDEX=0;STARTDATE:;ENDDATE:;</a:t>
          </a:r>
        </a:p>
      </cdr:txBody>
    </cdr:sp>
  </cdr:relSizeAnchor>
  <cdr:absSizeAnchor xmlns:cdr="http://schemas.openxmlformats.org/drawingml/2006/chartDrawing">
    <cdr:from>
      <cdr:x>0.01283</cdr:x>
      <cdr:y>0.92465</cdr:y>
    </cdr:from>
    <cdr:ext cx="3782225" cy="246061"/>
    <cdr:sp macro="" textlink="">
      <cdr:nvSpPr>
        <cdr:cNvPr id="21" name="Source_21">
          <a:extLst xmlns:a="http://schemas.openxmlformats.org/drawingml/2006/main">
            <a:ext uri="{FF2B5EF4-FFF2-40B4-BE49-F238E27FC236}">
              <a16:creationId xmlns:a16="http://schemas.microsoft.com/office/drawing/2014/main" id="{F6875A18-E43F-3232-FAD8-449F569066AB}"/>
            </a:ext>
          </a:extLst>
        </cdr:cNvPr>
        <cdr:cNvSpPr txBox="1"/>
      </cdr:nvSpPr>
      <cdr:spPr>
        <a:xfrm xmlns:a="http://schemas.openxmlformats.org/drawingml/2006/main">
          <a:off x="51014" y="3019654"/>
          <a:ext cx="3782225" cy="246061"/>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pPr algn="l"/>
          <a:r>
            <a:rPr lang="en-GB" sz="1000" b="0" i="0" dirty="0">
              <a:solidFill>
                <a:srgbClr val="000000"/>
              </a:solidFill>
              <a:latin typeface="DeutscheBank" panose="020B0503020202030204" pitchFamily="34" charset="0"/>
            </a:rPr>
            <a:t>Quelle: Deutsche Bank, </a:t>
          </a:r>
          <a:r>
            <a:rPr lang="en-GB" sz="1000" b="0" i="0" dirty="0" err="1">
              <a:solidFill>
                <a:srgbClr val="000000"/>
              </a:solidFill>
              <a:latin typeface="DeutscheBank" panose="020B0503020202030204" pitchFamily="34" charset="0"/>
            </a:rPr>
            <a:t>Statistisches</a:t>
          </a:r>
          <a:r>
            <a:rPr lang="en-GB" sz="1000" b="0" i="0" dirty="0">
              <a:solidFill>
                <a:srgbClr val="000000"/>
              </a:solidFill>
              <a:latin typeface="DeutscheBank" panose="020B0503020202030204" pitchFamily="34" charset="0"/>
            </a:rPr>
            <a:t> </a:t>
          </a:r>
          <a:r>
            <a:rPr lang="en-GB" sz="1000" b="0" i="0" dirty="0" err="1">
              <a:solidFill>
                <a:srgbClr val="000000"/>
              </a:solidFill>
              <a:latin typeface="DeutscheBank" panose="020B0503020202030204" pitchFamily="34" charset="0"/>
            </a:rPr>
            <a:t>Bundesamt</a:t>
          </a:r>
          <a:r>
            <a:rPr lang="en-GB" sz="1000" b="0" i="0" dirty="0">
              <a:solidFill>
                <a:srgbClr val="000000"/>
              </a:solidFill>
              <a:latin typeface="DeutscheBank" panose="020B0503020202030204" pitchFamily="34" charset="0"/>
            </a:rPr>
            <a:t>, Ifo-</a:t>
          </a:r>
          <a:r>
            <a:rPr lang="en-GB" sz="1000" b="0" i="0" dirty="0" err="1">
              <a:solidFill>
                <a:srgbClr val="000000"/>
              </a:solidFill>
              <a:latin typeface="DeutscheBank" panose="020B0503020202030204" pitchFamily="34" charset="0"/>
            </a:rPr>
            <a:t>Institut</a:t>
          </a:r>
          <a:endParaRPr lang="en-GB" sz="1000" b="0" i="0" dirty="0">
            <a:solidFill>
              <a:srgbClr val="000000"/>
            </a:solidFill>
            <a:latin typeface="DeutscheBank" panose="020B0503020202030204" pitchFamily="34" charset="0"/>
          </a:endParaRPr>
        </a:p>
      </cdr:txBody>
    </cdr:sp>
  </cdr:absSizeAnchor>
</c:userShapes>
</file>

<file path=ppt/drawings/drawing8.xml><?xml version="1.0" encoding="utf-8"?>
<c:userShapes xmlns:c="http://schemas.openxmlformats.org/drawingml/2006/chart">
  <cdr:relSizeAnchor xmlns:cdr="http://schemas.openxmlformats.org/drawingml/2006/chartDrawing">
    <cdr:from>
      <cdr:x>0.09293</cdr:x>
      <cdr:y>0.11751</cdr:y>
    </cdr:from>
    <cdr:to>
      <cdr:x>0.56513</cdr:x>
      <cdr:y>0.16068</cdr:y>
    </cdr:to>
    <cdr:sp macro="" textlink="">
      <cdr:nvSpPr>
        <cdr:cNvPr id="22" name="YAxisLabel1_22">
          <a:extLst xmlns:a="http://schemas.openxmlformats.org/drawingml/2006/main">
            <a:ext uri="{FF2B5EF4-FFF2-40B4-BE49-F238E27FC236}">
              <a16:creationId xmlns:a16="http://schemas.microsoft.com/office/drawing/2014/main" id="{3EED1CA5-AC83-E10A-252E-A79092F9208D}"/>
            </a:ext>
          </a:extLst>
        </cdr:cNvPr>
        <cdr:cNvSpPr txBox="1"/>
      </cdr:nvSpPr>
      <cdr:spPr>
        <a:xfrm xmlns:a="http://schemas.openxmlformats.org/drawingml/2006/main">
          <a:off x="370001" y="433893"/>
          <a:ext cx="1880164" cy="159405"/>
        </a:xfrm>
        <a:prstGeom xmlns:a="http://schemas.openxmlformats.org/drawingml/2006/main" prst="rect">
          <a:avLst/>
        </a:prstGeom>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r>
            <a:rPr lang="en-GB" sz="1100" dirty="0">
              <a:solidFill>
                <a:srgbClr val="000000"/>
              </a:solidFill>
              <a:latin typeface="DeutscheBank" panose="020B0503020202030204" pitchFamily="34" charset="0"/>
            </a:rPr>
            <a:t>(z Wert)</a:t>
          </a:r>
        </a:p>
      </cdr:txBody>
    </cdr:sp>
  </cdr:relSizeAnchor>
  <cdr:absSizeAnchor xmlns:cdr="http://schemas.openxmlformats.org/drawingml/2006/chartDrawing">
    <cdr:from>
      <cdr:x>0.01273</cdr:x>
      <cdr:y>0.01214</cdr:y>
    </cdr:from>
    <cdr:ext cx="3838040" cy="294132"/>
    <cdr:sp macro="" textlink="">
      <cdr:nvSpPr>
        <cdr:cNvPr id="23" name="Title_23">
          <a:extLst xmlns:a="http://schemas.openxmlformats.org/drawingml/2006/main">
            <a:ext uri="{FF2B5EF4-FFF2-40B4-BE49-F238E27FC236}">
              <a16:creationId xmlns:a16="http://schemas.microsoft.com/office/drawing/2014/main" id="{AE57D849-7E57-348C-B8CB-DE37AB1E3EA0}"/>
            </a:ext>
          </a:extLst>
        </cdr:cNvPr>
        <cdr:cNvSpPr txBox="1"/>
      </cdr:nvSpPr>
      <cdr:spPr>
        <a:xfrm xmlns:a="http://schemas.openxmlformats.org/drawingml/2006/main">
          <a:off x="50800" y="50800"/>
          <a:ext cx="3838040" cy="294132"/>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r>
            <a:rPr lang="en-GB" sz="1400" b="1" i="0" dirty="0" err="1">
              <a:solidFill>
                <a:srgbClr val="000000"/>
              </a:solidFill>
              <a:latin typeface="DeutscheBank" panose="020B0503020202030204" pitchFamily="34" charset="0"/>
            </a:rPr>
            <a:t>Wirtschaftspolitische</a:t>
          </a:r>
          <a:r>
            <a:rPr lang="en-GB" sz="1400" b="1" i="0" dirty="0">
              <a:solidFill>
                <a:srgbClr val="000000"/>
              </a:solidFill>
              <a:latin typeface="DeutscheBank" panose="020B0503020202030204" pitchFamily="34" charset="0"/>
            </a:rPr>
            <a:t> </a:t>
          </a:r>
          <a:r>
            <a:rPr lang="en-GB" sz="1400" b="1" i="0" dirty="0" err="1">
              <a:solidFill>
                <a:srgbClr val="000000"/>
              </a:solidFill>
              <a:latin typeface="DeutscheBank" panose="020B0503020202030204" pitchFamily="34" charset="0"/>
            </a:rPr>
            <a:t>Unsicherheit</a:t>
          </a:r>
          <a:r>
            <a:rPr lang="en-GB" sz="1400" b="1" i="0" dirty="0">
              <a:solidFill>
                <a:srgbClr val="000000"/>
              </a:solidFill>
              <a:latin typeface="DeutscheBank" panose="020B0503020202030204" pitchFamily="34" charset="0"/>
            </a:rPr>
            <a:t> </a:t>
          </a:r>
        </a:p>
      </cdr:txBody>
    </cdr:sp>
  </cdr:absSizeAnchor>
  <cdr:relSizeAnchor xmlns:cdr="http://schemas.openxmlformats.org/drawingml/2006/chartDrawing">
    <cdr:from>
      <cdr:x>0.01273</cdr:x>
      <cdr:y>0.01323</cdr:y>
    </cdr:from>
    <cdr:to>
      <cdr:x>0.33093</cdr:x>
      <cdr:y>0.02647</cdr:y>
    </cdr:to>
    <cdr:sp macro="" textlink="">
      <cdr:nvSpPr>
        <cdr:cNvPr id="42" name="ReChartUniqueKey_42" hidden="1">
          <a:extLst xmlns:a="http://schemas.openxmlformats.org/drawingml/2006/main">
            <a:ext uri="{FF2B5EF4-FFF2-40B4-BE49-F238E27FC236}">
              <a16:creationId xmlns:a16="http://schemas.microsoft.com/office/drawing/2014/main" id="{A48094DC-613F-4713-CFD7-1D75F18FCF87}"/>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37-F3-55-2B-6B-93-C6-84-72-BB-D8-90-C6-F0-81-75</a:t>
          </a:r>
        </a:p>
      </cdr:txBody>
    </cdr:sp>
  </cdr:relSizeAnchor>
  <cdr:relSizeAnchor xmlns:cdr="http://schemas.openxmlformats.org/drawingml/2006/chartDrawing">
    <cdr:from>
      <cdr:x>0.01273</cdr:x>
      <cdr:y>0.01323</cdr:y>
    </cdr:from>
    <cdr:to>
      <cdr:x>0.33093</cdr:x>
      <cdr:y>0.02647</cdr:y>
    </cdr:to>
    <cdr:sp macro="" textlink="">
      <cdr:nvSpPr>
        <cdr:cNvPr id="43" name="ReChartMasterData_43" hidden="1">
          <a:extLst xmlns:a="http://schemas.openxmlformats.org/drawingml/2006/main">
            <a:ext uri="{FF2B5EF4-FFF2-40B4-BE49-F238E27FC236}">
              <a16:creationId xmlns:a16="http://schemas.microsoft.com/office/drawing/2014/main" id="{27939DA6-133E-FD43-922B-6B467A322433}"/>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Bernhard - 2;1;;Excel;;False</a:t>
          </a:r>
        </a:p>
      </cdr:txBody>
    </cdr:sp>
  </cdr:relSizeAnchor>
  <cdr:relSizeAnchor xmlns:cdr="http://schemas.openxmlformats.org/drawingml/2006/chartDrawing">
    <cdr:from>
      <cdr:x>0.01273</cdr:x>
      <cdr:y>0.01323</cdr:y>
    </cdr:from>
    <cdr:to>
      <cdr:x>0.33093</cdr:x>
      <cdr:y>0.02647</cdr:y>
    </cdr:to>
    <cdr:sp macro="" textlink="">
      <cdr:nvSpPr>
        <cdr:cNvPr id="44" name="ReChartKeepFormats_44" hidden="1">
          <a:extLst xmlns:a="http://schemas.openxmlformats.org/drawingml/2006/main">
            <a:ext uri="{FF2B5EF4-FFF2-40B4-BE49-F238E27FC236}">
              <a16:creationId xmlns:a16="http://schemas.microsoft.com/office/drawing/2014/main" id="{F048D2DC-C19E-216F-437C-E4BDD5DD51A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True</a:t>
          </a:r>
        </a:p>
      </cdr:txBody>
    </cdr:sp>
  </cdr:relSizeAnchor>
  <cdr:relSizeAnchor xmlns:cdr="http://schemas.openxmlformats.org/drawingml/2006/chartDrawing">
    <cdr:from>
      <cdr:x>0.01273</cdr:x>
      <cdr:y>0.01323</cdr:y>
    </cdr:from>
    <cdr:to>
      <cdr:x>0.33093</cdr:x>
      <cdr:y>0.02647</cdr:y>
    </cdr:to>
    <cdr:sp macro="" textlink="">
      <cdr:nvSpPr>
        <cdr:cNvPr id="45" name="ShowSeriesName_45" hidden="1">
          <a:extLst xmlns:a="http://schemas.openxmlformats.org/drawingml/2006/main">
            <a:ext uri="{FF2B5EF4-FFF2-40B4-BE49-F238E27FC236}">
              <a16:creationId xmlns:a16="http://schemas.microsoft.com/office/drawing/2014/main" id="{EDD31288-E611-34E6-10AB-F6ECEFE6B61F}"/>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0</a:t>
          </a:r>
        </a:p>
      </cdr:txBody>
    </cdr:sp>
  </cdr:relSizeAnchor>
  <cdr:relSizeAnchor xmlns:cdr="http://schemas.openxmlformats.org/drawingml/2006/chartDrawing">
    <cdr:from>
      <cdr:x>0.01273</cdr:x>
      <cdr:y>0.01323</cdr:y>
    </cdr:from>
    <cdr:to>
      <cdr:x>0.33093</cdr:x>
      <cdr:y>0.02647</cdr:y>
    </cdr:to>
    <cdr:sp macro="" textlink="">
      <cdr:nvSpPr>
        <cdr:cNvPr id="46" name="PlotBands_46" hidden="1">
          <a:extLst xmlns:a="http://schemas.openxmlformats.org/drawingml/2006/main">
            <a:ext uri="{FF2B5EF4-FFF2-40B4-BE49-F238E27FC236}">
              <a16:creationId xmlns:a16="http://schemas.microsoft.com/office/drawing/2014/main" id="{F36D8D0F-115F-0A0D-353B-8650BE737B76}"/>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200" dirty="0">
            <a:solidFill>
              <a:srgbClr val="FFFFFF"/>
            </a:solidFill>
            <a:latin typeface="DeutscheBank" panose="020B0503020202030204" pitchFamily="34" charset="0"/>
          </a:endParaRPr>
        </a:p>
      </cdr:txBody>
    </cdr:sp>
  </cdr:relSizeAnchor>
  <cdr:relSizeAnchor xmlns:cdr="http://schemas.openxmlformats.org/drawingml/2006/chartDrawing">
    <cdr:from>
      <cdr:x>0.01273</cdr:x>
      <cdr:y>0.01323</cdr:y>
    </cdr:from>
    <cdr:to>
      <cdr:x>0.33093</cdr:x>
      <cdr:y>0.02647</cdr:y>
    </cdr:to>
    <cdr:sp macro="" textlink="">
      <cdr:nvSpPr>
        <cdr:cNvPr id="47" name="ForecastMasterData_47" hidden="1">
          <a:extLst xmlns:a="http://schemas.openxmlformats.org/drawingml/2006/main">
            <a:ext uri="{FF2B5EF4-FFF2-40B4-BE49-F238E27FC236}">
              <a16:creationId xmlns:a16="http://schemas.microsoft.com/office/drawing/2014/main" id="{CC6F7ACA-2138-561B-F307-384AB899819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INDEX=0;STARTDATE:;ENDDATE:;</a:t>
          </a:r>
        </a:p>
      </cdr:txBody>
    </cdr:sp>
  </cdr:relSizeAnchor>
  <cdr:absSizeAnchor xmlns:cdr="http://schemas.openxmlformats.org/drawingml/2006/chartDrawing">
    <cdr:from>
      <cdr:x>0.01273</cdr:x>
      <cdr:y>0.92363</cdr:y>
    </cdr:from>
    <cdr:ext cx="3737082" cy="246062"/>
    <cdr:sp macro="" textlink="">
      <cdr:nvSpPr>
        <cdr:cNvPr id="48" name="Source_48">
          <a:extLst xmlns:a="http://schemas.openxmlformats.org/drawingml/2006/main">
            <a:ext uri="{FF2B5EF4-FFF2-40B4-BE49-F238E27FC236}">
              <a16:creationId xmlns:a16="http://schemas.microsoft.com/office/drawing/2014/main" id="{C79F25E2-6530-AE48-EADF-F7B964090F4A}"/>
            </a:ext>
          </a:extLst>
        </cdr:cNvPr>
        <cdr:cNvSpPr txBox="1"/>
      </cdr:nvSpPr>
      <cdr:spPr>
        <a:xfrm xmlns:a="http://schemas.openxmlformats.org/drawingml/2006/main">
          <a:off x="50687" y="2976110"/>
          <a:ext cx="3737082" cy="246062"/>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pPr algn="l"/>
          <a:r>
            <a:rPr lang="en-GB" sz="1000" b="0" i="0" dirty="0">
              <a:solidFill>
                <a:srgbClr val="000000"/>
              </a:solidFill>
              <a:latin typeface="DeutscheBank" panose="020B0503020202030204" pitchFamily="34" charset="0"/>
            </a:rPr>
            <a:t>Quelle: Deutsche Bank, Haver Analytics, policyuncertainty.com</a:t>
          </a:r>
        </a:p>
      </cdr:txBody>
    </cdr:sp>
  </cdr:absSizeAnchor>
</c:userShapes>
</file>

<file path=ppt/drawings/drawing9.xml><?xml version="1.0" encoding="utf-8"?>
<c:userShapes xmlns:c="http://schemas.openxmlformats.org/drawingml/2006/chart">
  <cdr:absSizeAnchor xmlns:cdr="http://schemas.openxmlformats.org/drawingml/2006/chartDrawing">
    <cdr:from>
      <cdr:x>0.01283</cdr:x>
      <cdr:y>0.01241</cdr:y>
    </cdr:from>
    <cdr:ext cx="3782225" cy="294132"/>
    <cdr:sp macro="" textlink="">
      <cdr:nvSpPr>
        <cdr:cNvPr id="14" name="Title_14">
          <a:extLst xmlns:a="http://schemas.openxmlformats.org/drawingml/2006/main">
            <a:ext uri="{FF2B5EF4-FFF2-40B4-BE49-F238E27FC236}">
              <a16:creationId xmlns:a16="http://schemas.microsoft.com/office/drawing/2014/main" id="{0331A217-96AA-F1D3-F5BE-0010706896C8}"/>
            </a:ext>
          </a:extLst>
        </cdr:cNvPr>
        <cdr:cNvSpPr txBox="1"/>
      </cdr:nvSpPr>
      <cdr:spPr>
        <a:xfrm xmlns:a="http://schemas.openxmlformats.org/drawingml/2006/main">
          <a:off x="50800" y="50800"/>
          <a:ext cx="3782225" cy="294132"/>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r>
            <a:rPr lang="de-DE" sz="1400" b="1" dirty="0">
              <a:solidFill>
                <a:srgbClr val="000000"/>
              </a:solidFill>
              <a:latin typeface="DeutscheBank" panose="020B0503020202030204" pitchFamily="34" charset="0"/>
            </a:rPr>
            <a:t>Schlechte Exportperformance</a:t>
          </a:r>
          <a:endParaRPr lang="en-GB" sz="1400" b="1" i="0" dirty="0">
            <a:solidFill>
              <a:srgbClr val="000000"/>
            </a:solidFill>
            <a:latin typeface="DeutscheBank" panose="020B0503020202030204" pitchFamily="34" charset="0"/>
          </a:endParaRPr>
        </a:p>
      </cdr:txBody>
    </cdr:sp>
  </cdr:absSizeAnchor>
  <cdr:relSizeAnchor xmlns:cdr="http://schemas.openxmlformats.org/drawingml/2006/chartDrawing">
    <cdr:from>
      <cdr:x>0.01283</cdr:x>
      <cdr:y>0.01379</cdr:y>
    </cdr:from>
    <cdr:to>
      <cdr:x>0.33355</cdr:x>
      <cdr:y>0.02757</cdr:y>
    </cdr:to>
    <cdr:sp macro="" textlink="">
      <cdr:nvSpPr>
        <cdr:cNvPr id="15" name="ReChartUniqueKey_15" hidden="1">
          <a:extLst xmlns:a="http://schemas.openxmlformats.org/drawingml/2006/main">
            <a:ext uri="{FF2B5EF4-FFF2-40B4-BE49-F238E27FC236}">
              <a16:creationId xmlns:a16="http://schemas.microsoft.com/office/drawing/2014/main" id="{13A4EBBD-26FE-21A0-FBBD-7607C3975215}"/>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F1-18-E7-C1-AD-DF-66-1D-3F-DC-E8-E6-33-A6-64-9A</a:t>
          </a:r>
        </a:p>
      </cdr:txBody>
    </cdr:sp>
  </cdr:relSizeAnchor>
  <cdr:relSizeAnchor xmlns:cdr="http://schemas.openxmlformats.org/drawingml/2006/chartDrawing">
    <cdr:from>
      <cdr:x>0.01283</cdr:x>
      <cdr:y>0.01379</cdr:y>
    </cdr:from>
    <cdr:to>
      <cdr:x>0.33355</cdr:x>
      <cdr:y>0.02757</cdr:y>
    </cdr:to>
    <cdr:sp macro="" textlink="">
      <cdr:nvSpPr>
        <cdr:cNvPr id="16" name="ReChartMasterData_16" hidden="1">
          <a:extLst xmlns:a="http://schemas.openxmlformats.org/drawingml/2006/main">
            <a:ext uri="{FF2B5EF4-FFF2-40B4-BE49-F238E27FC236}">
              <a16:creationId xmlns:a16="http://schemas.microsoft.com/office/drawing/2014/main" id="{5C63E7A4-ACFF-6334-26E5-4E4098744867}"/>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Bernhard - 2;2;;Excel;;False</a:t>
          </a:r>
        </a:p>
      </cdr:txBody>
    </cdr:sp>
  </cdr:relSizeAnchor>
  <cdr:relSizeAnchor xmlns:cdr="http://schemas.openxmlformats.org/drawingml/2006/chartDrawing">
    <cdr:from>
      <cdr:x>0.01283</cdr:x>
      <cdr:y>0.01379</cdr:y>
    </cdr:from>
    <cdr:to>
      <cdr:x>0.33355</cdr:x>
      <cdr:y>0.02757</cdr:y>
    </cdr:to>
    <cdr:sp macro="" textlink="">
      <cdr:nvSpPr>
        <cdr:cNvPr id="17" name="ReChartKeepFormats_17" hidden="1">
          <a:extLst xmlns:a="http://schemas.openxmlformats.org/drawingml/2006/main">
            <a:ext uri="{FF2B5EF4-FFF2-40B4-BE49-F238E27FC236}">
              <a16:creationId xmlns:a16="http://schemas.microsoft.com/office/drawing/2014/main" id="{BA6140FF-C628-76EB-DC6B-E44EFE85CD05}"/>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True</a:t>
          </a:r>
        </a:p>
      </cdr:txBody>
    </cdr:sp>
  </cdr:relSizeAnchor>
  <cdr:relSizeAnchor xmlns:cdr="http://schemas.openxmlformats.org/drawingml/2006/chartDrawing">
    <cdr:from>
      <cdr:x>0.01283</cdr:x>
      <cdr:y>0.01379</cdr:y>
    </cdr:from>
    <cdr:to>
      <cdr:x>0.33355</cdr:x>
      <cdr:y>0.02757</cdr:y>
    </cdr:to>
    <cdr:sp macro="" textlink="">
      <cdr:nvSpPr>
        <cdr:cNvPr id="18" name="ShowSeriesName_18" hidden="1">
          <a:extLst xmlns:a="http://schemas.openxmlformats.org/drawingml/2006/main">
            <a:ext uri="{FF2B5EF4-FFF2-40B4-BE49-F238E27FC236}">
              <a16:creationId xmlns:a16="http://schemas.microsoft.com/office/drawing/2014/main" id="{2A37A551-C35D-CD49-E809-4B91D480EAD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0</a:t>
          </a:r>
        </a:p>
      </cdr:txBody>
    </cdr:sp>
  </cdr:relSizeAnchor>
  <cdr:relSizeAnchor xmlns:cdr="http://schemas.openxmlformats.org/drawingml/2006/chartDrawing">
    <cdr:from>
      <cdr:x>0.01283</cdr:x>
      <cdr:y>0.01379</cdr:y>
    </cdr:from>
    <cdr:to>
      <cdr:x>0.33355</cdr:x>
      <cdr:y>0.02757</cdr:y>
    </cdr:to>
    <cdr:sp macro="" textlink="">
      <cdr:nvSpPr>
        <cdr:cNvPr id="19" name="PlotBands_19" hidden="1">
          <a:extLst xmlns:a="http://schemas.openxmlformats.org/drawingml/2006/main">
            <a:ext uri="{FF2B5EF4-FFF2-40B4-BE49-F238E27FC236}">
              <a16:creationId xmlns:a16="http://schemas.microsoft.com/office/drawing/2014/main" id="{667EF83C-080F-E70D-3058-E16AF01D11CE}"/>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200" dirty="0">
            <a:solidFill>
              <a:srgbClr val="FFFFFF"/>
            </a:solidFill>
            <a:latin typeface="DeutscheBank" panose="020B0503020202030204" pitchFamily="34" charset="0"/>
          </a:endParaRPr>
        </a:p>
      </cdr:txBody>
    </cdr:sp>
  </cdr:relSizeAnchor>
  <cdr:relSizeAnchor xmlns:cdr="http://schemas.openxmlformats.org/drawingml/2006/chartDrawing">
    <cdr:from>
      <cdr:x>0.01283</cdr:x>
      <cdr:y>0.01379</cdr:y>
    </cdr:from>
    <cdr:to>
      <cdr:x>0.33355</cdr:x>
      <cdr:y>0.02757</cdr:y>
    </cdr:to>
    <cdr:sp macro="" textlink="">
      <cdr:nvSpPr>
        <cdr:cNvPr id="20" name="ForecastMasterData_20" hidden="1">
          <a:extLst xmlns:a="http://schemas.openxmlformats.org/drawingml/2006/main">
            <a:ext uri="{FF2B5EF4-FFF2-40B4-BE49-F238E27FC236}">
              <a16:creationId xmlns:a16="http://schemas.microsoft.com/office/drawing/2014/main" id="{D64D75B1-001E-EF45-A4E6-4E80E17823BA}"/>
            </a:ext>
          </a:extLst>
        </cdr:cNvPr>
        <cdr:cNvSpPr txBox="1"/>
      </cdr:nvSpPr>
      <cdr:spPr>
        <a:xfrm xmlns:a="http://schemas.openxmlformats.org/drawingml/2006/main">
          <a:off x="50800" y="50800"/>
          <a:ext cx="1270000" cy="5080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r>
            <a:rPr lang="en-GB" sz="200" dirty="0">
              <a:solidFill>
                <a:srgbClr val="FFFFFF"/>
              </a:solidFill>
              <a:latin typeface="DeutscheBank" panose="020B0503020202030204" pitchFamily="34" charset="0"/>
            </a:rPr>
            <a:t>INDEX=0;STARTDATE:;ENDDATE:;</a:t>
          </a:r>
        </a:p>
      </cdr:txBody>
    </cdr:sp>
  </cdr:relSizeAnchor>
  <cdr:absSizeAnchor xmlns:cdr="http://schemas.openxmlformats.org/drawingml/2006/chartDrawing">
    <cdr:from>
      <cdr:x>0.01283</cdr:x>
      <cdr:y>0.92432</cdr:y>
    </cdr:from>
    <cdr:ext cx="3782225" cy="246062"/>
    <cdr:sp macro="" textlink="">
      <cdr:nvSpPr>
        <cdr:cNvPr id="21" name="Source_21">
          <a:extLst xmlns:a="http://schemas.openxmlformats.org/drawingml/2006/main">
            <a:ext uri="{FF2B5EF4-FFF2-40B4-BE49-F238E27FC236}">
              <a16:creationId xmlns:a16="http://schemas.microsoft.com/office/drawing/2014/main" id="{0B4B0B7B-DB96-ABEF-9E2D-4B871DA65323}"/>
            </a:ext>
          </a:extLst>
        </cdr:cNvPr>
        <cdr:cNvSpPr txBox="1"/>
      </cdr:nvSpPr>
      <cdr:spPr>
        <a:xfrm xmlns:a="http://schemas.openxmlformats.org/drawingml/2006/main">
          <a:off x="50538" y="3005138"/>
          <a:ext cx="3782225" cy="246062"/>
        </a:xfrm>
        <a:prstGeom xmlns:a="http://schemas.openxmlformats.org/drawingml/2006/main" prst="rect">
          <a:avLst/>
        </a:prstGeom>
      </cdr:spPr>
      <cdr:txBody>
        <a:bodyPr xmlns:a="http://schemas.openxmlformats.org/drawingml/2006/main" vertOverflow="clip" vert="horz" lIns="0" tIns="0" rIns="0" bIns="0" rtlCol="0"/>
        <a:lstStyle xmlns:a="http://schemas.openxmlformats.org/drawingml/2006/main"/>
        <a:p xmlns:a="http://schemas.openxmlformats.org/drawingml/2006/main">
          <a:pPr algn="l"/>
          <a:r>
            <a:rPr lang="en-GB" sz="1000" b="0" i="0" dirty="0">
              <a:solidFill>
                <a:srgbClr val="000000"/>
              </a:solidFill>
              <a:latin typeface="DeutscheBank" panose="020B0503020202030204" pitchFamily="34" charset="0"/>
            </a:rPr>
            <a:t>Quelle: Deutsche Bank, OECD</a:t>
          </a:r>
        </a:p>
      </cdr:txBody>
    </cdr:sp>
  </cdr:abs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BDC436-C9C4-6AE1-E98F-F6BAB39B8871}"/>
              </a:ext>
            </a:extLst>
          </p:cNvPr>
          <p:cNvSpPr>
            <a:spLocks noGrp="1"/>
          </p:cNvSpPr>
          <p:nvPr>
            <p:ph type="hdr" sz="quarter"/>
          </p:nvPr>
        </p:nvSpPr>
        <p:spPr>
          <a:xfrm>
            <a:off x="0" y="0"/>
            <a:ext cx="3169920" cy="481727"/>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D08080A0-1234-C011-CC13-4F14DB740ABE}"/>
              </a:ext>
            </a:extLst>
          </p:cNvPr>
          <p:cNvSpPr>
            <a:spLocks noGrp="1"/>
          </p:cNvSpPr>
          <p:nvPr>
            <p:ph type="dt" sz="quarter" idx="1"/>
          </p:nvPr>
        </p:nvSpPr>
        <p:spPr>
          <a:xfrm>
            <a:off x="4143588" y="0"/>
            <a:ext cx="3169920" cy="481727"/>
          </a:xfrm>
          <a:prstGeom prst="rect">
            <a:avLst/>
          </a:prstGeom>
        </p:spPr>
        <p:txBody>
          <a:bodyPr vert="horz" lIns="91440" tIns="45720" rIns="91440" bIns="45720" rtlCol="0"/>
          <a:lstStyle>
            <a:lvl1pPr algn="r">
              <a:defRPr sz="1200"/>
            </a:lvl1pPr>
          </a:lstStyle>
          <a:p>
            <a:fld id="{A12240DC-B67F-45EF-B21E-CEEEA74D0880}" type="datetimeFigureOut">
              <a:rPr lang="en-GB" smtClean="0"/>
              <a:t>28/11/2024</a:t>
            </a:fld>
            <a:endParaRPr lang="en-GB"/>
          </a:p>
        </p:txBody>
      </p:sp>
      <p:sp>
        <p:nvSpPr>
          <p:cNvPr id="4" name="Footer Placeholder 3">
            <a:extLst>
              <a:ext uri="{FF2B5EF4-FFF2-40B4-BE49-F238E27FC236}">
                <a16:creationId xmlns:a16="http://schemas.microsoft.com/office/drawing/2014/main" id="{BA4B8141-64D9-33EC-69FA-A66A6CA8EBA2}"/>
              </a:ext>
            </a:extLst>
          </p:cNvPr>
          <p:cNvSpPr>
            <a:spLocks noGrp="1"/>
          </p:cNvSpPr>
          <p:nvPr>
            <p:ph type="ftr" sz="quarter" idx="2"/>
          </p:nvPr>
        </p:nvSpPr>
        <p:spPr>
          <a:xfrm>
            <a:off x="0" y="9119474"/>
            <a:ext cx="3169920" cy="481726"/>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76300B1-31AF-73D3-0614-7D1B989CC551}"/>
              </a:ext>
            </a:extLst>
          </p:cNvPr>
          <p:cNvSpPr>
            <a:spLocks noGrp="1"/>
          </p:cNvSpPr>
          <p:nvPr>
            <p:ph type="sldNum" sz="quarter" idx="3"/>
          </p:nvPr>
        </p:nvSpPr>
        <p:spPr>
          <a:xfrm>
            <a:off x="4143588" y="9119474"/>
            <a:ext cx="3169920" cy="481726"/>
          </a:xfrm>
          <a:prstGeom prst="rect">
            <a:avLst/>
          </a:prstGeom>
        </p:spPr>
        <p:txBody>
          <a:bodyPr vert="horz" lIns="91440" tIns="45720" rIns="91440" bIns="45720" rtlCol="0" anchor="b"/>
          <a:lstStyle>
            <a:lvl1pPr algn="r">
              <a:defRPr sz="1200"/>
            </a:lvl1pPr>
          </a:lstStyle>
          <a:p>
            <a:fld id="{54866EB8-77B0-4CA3-95B1-441A0786D74D}" type="slidenum">
              <a:rPr lang="en-GB" smtClean="0"/>
              <a:t>‹#›</a:t>
            </a:fld>
            <a:endParaRPr lang="en-GB"/>
          </a:p>
        </p:txBody>
      </p:sp>
    </p:spTree>
    <p:extLst>
      <p:ext uri="{BB962C8B-B14F-4D97-AF65-F5344CB8AC3E}">
        <p14:creationId xmlns:p14="http://schemas.microsoft.com/office/powerpoint/2010/main" val="28758647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024" userDrawn="1">
          <p15:clr>
            <a:srgbClr val="F26B43"/>
          </p15:clr>
        </p15:guide>
        <p15:guide id="2" pos="230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1727"/>
          </a:xfrm>
          <a:prstGeom prst="rect">
            <a:avLst/>
          </a:prstGeom>
        </p:spPr>
        <p:txBody>
          <a:bodyPr vert="horz" lIns="91440" tIns="45720" rIns="91440" bIns="45720" rtlCol="0"/>
          <a:lstStyle>
            <a:lvl1pPr algn="l">
              <a:defRPr sz="1200">
                <a:latin typeface="DeutscheBank" panose="020B0503020202030204" pitchFamily="34" charset="0"/>
              </a:defRPr>
            </a:lvl1pPr>
          </a:lstStyle>
          <a:p>
            <a:endParaRPr lang="de-DE"/>
          </a:p>
        </p:txBody>
      </p:sp>
      <p:sp>
        <p:nvSpPr>
          <p:cNvPr id="3" name="Datumsplatzhalter 2"/>
          <p:cNvSpPr>
            <a:spLocks noGrp="1"/>
          </p:cNvSpPr>
          <p:nvPr>
            <p:ph type="dt" idx="1"/>
          </p:nvPr>
        </p:nvSpPr>
        <p:spPr>
          <a:xfrm>
            <a:off x="4143588" y="0"/>
            <a:ext cx="3169920" cy="481727"/>
          </a:xfrm>
          <a:prstGeom prst="rect">
            <a:avLst/>
          </a:prstGeom>
        </p:spPr>
        <p:txBody>
          <a:bodyPr vert="horz" lIns="91440" tIns="45720" rIns="91440" bIns="45720" rtlCol="0"/>
          <a:lstStyle>
            <a:lvl1pPr algn="r">
              <a:defRPr sz="1200">
                <a:latin typeface="DeutscheBank" panose="020B0503020202030204" pitchFamily="34" charset="0"/>
              </a:defRPr>
            </a:lvl1pPr>
          </a:lstStyle>
          <a:p>
            <a:fld id="{7FF89CBA-2DDB-465E-9E73-A7E716EBA98A}" type="datetimeFigureOut">
              <a:rPr lang="de-DE" smtClean="0"/>
              <a:pPr/>
              <a:t>28.11.2024</a:t>
            </a:fld>
            <a:endParaRPr lang="de-DE"/>
          </a:p>
        </p:txBody>
      </p:sp>
      <p:sp>
        <p:nvSpPr>
          <p:cNvPr id="4" name="Folienbildplatzhalt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31521" y="4620578"/>
            <a:ext cx="5852160" cy="3780473"/>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119474"/>
            <a:ext cx="3169920" cy="481726"/>
          </a:xfrm>
          <a:prstGeom prst="rect">
            <a:avLst/>
          </a:prstGeom>
        </p:spPr>
        <p:txBody>
          <a:bodyPr vert="horz" lIns="91440" tIns="45720" rIns="91440" bIns="45720" rtlCol="0" anchor="b"/>
          <a:lstStyle>
            <a:lvl1pPr algn="l">
              <a:defRPr sz="1200">
                <a:latin typeface="DeutscheBank" panose="020B0503020202030204" pitchFamily="34" charset="0"/>
              </a:defRPr>
            </a:lvl1pPr>
          </a:lstStyle>
          <a:p>
            <a:endParaRPr lang="de-DE"/>
          </a:p>
        </p:txBody>
      </p:sp>
      <p:sp>
        <p:nvSpPr>
          <p:cNvPr id="7" name="Foliennummernplatzhalter 6"/>
          <p:cNvSpPr>
            <a:spLocks noGrp="1"/>
          </p:cNvSpPr>
          <p:nvPr>
            <p:ph type="sldNum" sz="quarter" idx="5"/>
          </p:nvPr>
        </p:nvSpPr>
        <p:spPr>
          <a:xfrm>
            <a:off x="4143588" y="9119474"/>
            <a:ext cx="3169920" cy="481726"/>
          </a:xfrm>
          <a:prstGeom prst="rect">
            <a:avLst/>
          </a:prstGeom>
        </p:spPr>
        <p:txBody>
          <a:bodyPr vert="horz" lIns="91440" tIns="45720" rIns="91440" bIns="45720" rtlCol="0" anchor="b"/>
          <a:lstStyle>
            <a:lvl1pPr algn="r">
              <a:defRPr sz="1200">
                <a:latin typeface="DeutscheBank" panose="020B0503020202030204" pitchFamily="34" charset="0"/>
              </a:defRPr>
            </a:lvl1pPr>
          </a:lstStyle>
          <a:p>
            <a:fld id="{2BBFF2CA-3CF2-45E0-8F93-E0584FDB47C7}" type="slidenum">
              <a:rPr lang="de-DE" smtClean="0"/>
              <a:pPr/>
              <a:t>‹#›</a:t>
            </a:fld>
            <a:endParaRPr lang="de-DE"/>
          </a:p>
        </p:txBody>
      </p:sp>
    </p:spTree>
    <p:extLst>
      <p:ext uri="{BB962C8B-B14F-4D97-AF65-F5344CB8AC3E}">
        <p14:creationId xmlns:p14="http://schemas.microsoft.com/office/powerpoint/2010/main" val="4051328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DeutscheBank" panose="020B0503020202030204" pitchFamily="34" charset="0"/>
        <a:ea typeface="+mn-ea"/>
        <a:cs typeface="+mn-cs"/>
      </a:defRPr>
    </a:lvl1pPr>
    <a:lvl2pPr marL="457200" algn="l" defTabSz="914400" rtl="0" eaLnBrk="1" latinLnBrk="0" hangingPunct="1">
      <a:defRPr sz="1200" kern="1200">
        <a:solidFill>
          <a:schemeClr val="tx1"/>
        </a:solidFill>
        <a:latin typeface="DeutscheBank" panose="020B0503020202030204" pitchFamily="34" charset="0"/>
        <a:ea typeface="+mn-ea"/>
        <a:cs typeface="+mn-cs"/>
      </a:defRPr>
    </a:lvl2pPr>
    <a:lvl3pPr marL="914400" algn="l" defTabSz="914400" rtl="0" eaLnBrk="1" latinLnBrk="0" hangingPunct="1">
      <a:defRPr sz="1200" kern="1200">
        <a:solidFill>
          <a:schemeClr val="tx1"/>
        </a:solidFill>
        <a:latin typeface="DeutscheBank" panose="020B0503020202030204" pitchFamily="34" charset="0"/>
        <a:ea typeface="+mn-ea"/>
        <a:cs typeface="+mn-cs"/>
      </a:defRPr>
    </a:lvl3pPr>
    <a:lvl4pPr marL="1371600" algn="l" defTabSz="914400" rtl="0" eaLnBrk="1" latinLnBrk="0" hangingPunct="1">
      <a:defRPr sz="1200" kern="1200">
        <a:solidFill>
          <a:schemeClr val="tx1"/>
        </a:solidFill>
        <a:latin typeface="DeutscheBank" panose="020B0503020202030204" pitchFamily="34" charset="0"/>
        <a:ea typeface="+mn-ea"/>
        <a:cs typeface="+mn-cs"/>
      </a:defRPr>
    </a:lvl4pPr>
    <a:lvl5pPr marL="1828800" algn="l" defTabSz="914400" rtl="0" eaLnBrk="1" latinLnBrk="0" hangingPunct="1">
      <a:defRPr sz="1200" kern="1200">
        <a:solidFill>
          <a:schemeClr val="tx1"/>
        </a:solidFill>
        <a:latin typeface="DeutscheBank" panose="020B0503020202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24" userDrawn="1">
          <p15:clr>
            <a:srgbClr val="F26B43"/>
          </p15:clr>
        </p15:guide>
        <p15:guide id="2" pos="230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06400" y="696913"/>
            <a:ext cx="6197600" cy="34861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685785" rtl="0" eaLnBrk="1" fontAlgn="base" latinLnBrk="0" hangingPunct="1">
              <a:lnSpc>
                <a:spcPct val="100000"/>
              </a:lnSpc>
              <a:spcBef>
                <a:spcPct val="0"/>
              </a:spcBef>
              <a:spcAft>
                <a:spcPct val="0"/>
              </a:spcAft>
              <a:buClrTx/>
              <a:buSzTx/>
              <a:buFontTx/>
              <a:buNone/>
              <a:tabLst/>
              <a:defRPr/>
            </a:pPr>
            <a:fld id="{C5BDCC07-116E-44A3-8F3A-12365A52EE2D}" type="slidenum">
              <a:rPr kumimoji="0" lang="de-DE" sz="1200" b="0" i="0" u="none" strike="noStrike" kern="1200" cap="none" spc="0" normalizeH="0" baseline="0" noProof="0" smtClean="0">
                <a:ln>
                  <a:noFill/>
                </a:ln>
                <a:solidFill>
                  <a:prstClr val="black"/>
                </a:solidFill>
                <a:effectLst/>
                <a:uLnTx/>
                <a:uFillTx/>
                <a:latin typeface="Deutsche Bank Text" panose="020B0503020202030204" pitchFamily="34" charset="0"/>
                <a:ea typeface="+mn-ea"/>
                <a:cs typeface="Deutsche Bank Text" panose="020B0503020202030204" pitchFamily="34" charset="0"/>
              </a:rPr>
              <a:pPr marL="0" marR="0" lvl="0" indent="0" algn="r" defTabSz="685785" rtl="0" eaLnBrk="1" fontAlgn="base" latinLnBrk="0" hangingPunct="1">
                <a:lnSpc>
                  <a:spcPct val="100000"/>
                </a:lnSpc>
                <a:spcBef>
                  <a:spcPct val="0"/>
                </a:spcBef>
                <a:spcAft>
                  <a:spcPct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Deutsche Bank Text" panose="020B0503020202030204" pitchFamily="34" charset="0"/>
              <a:ea typeface="+mn-ea"/>
              <a:cs typeface="Deutsche Bank Text" panose="020B0503020202030204" pitchFamily="34" charset="0"/>
            </a:endParaRPr>
          </a:p>
        </p:txBody>
      </p:sp>
    </p:spTree>
    <p:extLst>
      <p:ext uri="{BB962C8B-B14F-4D97-AF65-F5344CB8AC3E}">
        <p14:creationId xmlns:p14="http://schemas.microsoft.com/office/powerpoint/2010/main" val="27920972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xml"/><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5.xml"/><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6.xml"/><Relationship Id="rId5" Type="http://schemas.openxmlformats.org/officeDocument/2006/relationships/image" Target="../media/image16.jpeg"/><Relationship Id="rId4" Type="http://schemas.openxmlformats.org/officeDocument/2006/relationships/image" Target="../media/image15.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4" Type="http://schemas.openxmlformats.org/officeDocument/2006/relationships/image" Target="../media/image15.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8.xml"/><Relationship Id="rId4" Type="http://schemas.openxmlformats.org/officeDocument/2006/relationships/image" Target="../media/image15.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4.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1 motif title frankfurt t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8FA4242E-64D2-6DD4-10DF-93B6F3134A42}"/>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3" name="Google Shape;12;p7" descr="Transparent expanding box on TAL photo background">
            <a:extLst>
              <a:ext uri="{FF2B5EF4-FFF2-40B4-BE49-F238E27FC236}">
                <a16:creationId xmlns:a16="http://schemas.microsoft.com/office/drawing/2014/main" id="{76CE3D7B-8605-1762-7ED1-9629B957A8E9}"/>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5" name="TextBox 19">
            <a:extLst>
              <a:ext uri="{FF2B5EF4-FFF2-40B4-BE49-F238E27FC236}">
                <a16:creationId xmlns:a16="http://schemas.microsoft.com/office/drawing/2014/main" id="{132A7FC4-30FB-346A-115D-EF7A139638EE}"/>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2" name="Textplatzhalter 3">
            <a:extLst>
              <a:ext uri="{FF2B5EF4-FFF2-40B4-BE49-F238E27FC236}">
                <a16:creationId xmlns:a16="http://schemas.microsoft.com/office/drawing/2014/main" id="{BF15021F-FC19-622B-89C0-0274527EFCBB}"/>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8" name="Textplatzhalter 4">
            <a:extLst>
              <a:ext uri="{FF2B5EF4-FFF2-40B4-BE49-F238E27FC236}">
                <a16:creationId xmlns:a16="http://schemas.microsoft.com/office/drawing/2014/main" id="{7A06200B-73E0-1988-C33F-C072CD686267}"/>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7" name="Text Placeholder 3">
            <a:extLst>
              <a:ext uri="{FF2B5EF4-FFF2-40B4-BE49-F238E27FC236}">
                <a16:creationId xmlns:a16="http://schemas.microsoft.com/office/drawing/2014/main" id="{CF3271D9-AD35-BFFC-209F-395A2BCE1CAC}"/>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4" name="Title 3">
            <a:extLst>
              <a:ext uri="{FF2B5EF4-FFF2-40B4-BE49-F238E27FC236}">
                <a16:creationId xmlns:a16="http://schemas.microsoft.com/office/drawing/2014/main" id="{D690028D-061F-F4FC-A11A-A7A21BF7E5A8}"/>
              </a:ext>
            </a:extLst>
          </p:cNvPr>
          <p:cNvSpPr>
            <a:spLocks noGrp="1"/>
          </p:cNvSpPr>
          <p:nvPr>
            <p:ph type="title" hasCustomPrompt="1"/>
          </p:nvPr>
        </p:nvSpPr>
        <p:spPr>
          <a:xfrm>
            <a:off x="972000" y="2142000"/>
            <a:ext cx="9590400" cy="14112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3375757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11 illustration octopu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224BB741-DA6A-F5D6-2C25-1A1717DAF252}"/>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3" name="Google Shape;12;p7" descr="Transparent expanding box on illustration of an octopus.">
            <a:extLst>
              <a:ext uri="{FF2B5EF4-FFF2-40B4-BE49-F238E27FC236}">
                <a16:creationId xmlns:a16="http://schemas.microsoft.com/office/drawing/2014/main" id="{51D9BDE6-98CA-0DCE-F030-4D8D992DAD99}"/>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5C56D948-8321-A395-3956-37F236D1344F}"/>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64C3C87C-64B7-8CF5-1B2A-4550603243E5}"/>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3" name="Textplatzhalter 4">
            <a:extLst>
              <a:ext uri="{FF2B5EF4-FFF2-40B4-BE49-F238E27FC236}">
                <a16:creationId xmlns:a16="http://schemas.microsoft.com/office/drawing/2014/main" id="{94DC80E7-63DB-EAE4-67D6-9737C429184B}"/>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4728FE35-9608-8606-4B52-064D7AD5AF6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2" name="Title 3">
            <a:extLst>
              <a:ext uri="{FF2B5EF4-FFF2-40B4-BE49-F238E27FC236}">
                <a16:creationId xmlns:a16="http://schemas.microsoft.com/office/drawing/2014/main" id="{30179E8B-EA16-AA66-7F4E-4C957F4C4D68}"/>
              </a:ext>
            </a:extLst>
          </p:cNvPr>
          <p:cNvSpPr>
            <a:spLocks noGrp="1"/>
          </p:cNvSpPr>
          <p:nvPr>
            <p:ph type="title" hasCustomPrompt="1"/>
          </p:nvPr>
        </p:nvSpPr>
        <p:spPr>
          <a:xfrm>
            <a:off x="972000" y="2142000"/>
            <a:ext cx="9590400" cy="14112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7817926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1 gradient title">
    <p:bg>
      <p:bgPr>
        <a:gradFill>
          <a:gsLst>
            <a:gs pos="0">
              <a:srgbClr val="16184E"/>
            </a:gs>
            <a:gs pos="100000">
              <a:srgbClr val="1E2A78"/>
            </a:gs>
          </a:gsLst>
          <a:lin ang="5400000" scaled="1"/>
        </a:grad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Blue gradient version of expanding box on reverse blue gradient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gradFill flip="none" rotWithShape="1">
            <a:gsLst>
              <a:gs pos="0">
                <a:srgbClr val="1E2A78"/>
              </a:gs>
              <a:gs pos="0">
                <a:srgbClr val="16184E"/>
              </a:gs>
              <a:gs pos="50000">
                <a:srgbClr val="1E2A78">
                  <a:shade val="67500"/>
                  <a:satMod val="115000"/>
                </a:srgbClr>
              </a:gs>
              <a:gs pos="100000">
                <a:srgbClr val="1E2A78"/>
              </a:gs>
            </a:gsLst>
            <a:lin ang="16200000" scaled="1"/>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6573847E-5F54-D144-882D-6F67FA998897}"/>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12F153E5-AF64-0894-D4D8-28F6E2A6A40F}"/>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3" name="Textplatzhalter 4">
            <a:extLst>
              <a:ext uri="{FF2B5EF4-FFF2-40B4-BE49-F238E27FC236}">
                <a16:creationId xmlns:a16="http://schemas.microsoft.com/office/drawing/2014/main" id="{6DA0373A-B9A5-B6B6-1D94-7A345168468A}"/>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F6FE19B5-80CB-5E2C-45A2-1FE7030DBBF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3" name="Title 3">
            <a:extLst>
              <a:ext uri="{FF2B5EF4-FFF2-40B4-BE49-F238E27FC236}">
                <a16:creationId xmlns:a16="http://schemas.microsoft.com/office/drawing/2014/main" id="{77EEF421-C671-D83C-8F7F-F982D4B3F71C}"/>
              </a:ext>
            </a:extLst>
          </p:cNvPr>
          <p:cNvSpPr>
            <a:spLocks noGrp="1"/>
          </p:cNvSpPr>
          <p:nvPr>
            <p:ph type="title" hasCustomPrompt="1"/>
          </p:nvPr>
        </p:nvSpPr>
        <p:spPr>
          <a:xfrm>
            <a:off x="972000" y="2142000"/>
            <a:ext cx="9590400" cy="14112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32661621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2 gradient title">
    <p:bg>
      <p:bgPr>
        <a:gradFill>
          <a:gsLst>
            <a:gs pos="0">
              <a:srgbClr val="16184E"/>
            </a:gs>
            <a:gs pos="100000">
              <a:srgbClr val="1E2A78"/>
            </a:gs>
          </a:gsLst>
          <a:lin ang="5400000" scaled="1"/>
        </a:grad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Blue gradient as expanding box on reverse blue gradient as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gradFill flip="none" rotWithShape="1">
            <a:gsLst>
              <a:gs pos="0">
                <a:srgbClr val="1E2A78"/>
              </a:gs>
              <a:gs pos="0">
                <a:srgbClr val="16184E"/>
              </a:gs>
              <a:gs pos="50000">
                <a:srgbClr val="1E2A78">
                  <a:shade val="67500"/>
                  <a:satMod val="115000"/>
                </a:srgbClr>
              </a:gs>
              <a:gs pos="100000">
                <a:srgbClr val="1E2A78"/>
              </a:gs>
            </a:gsLst>
            <a:lin ang="16200000" scaled="1"/>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6573847E-5F54-D144-882D-6F67FA998897}"/>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12F153E5-AF64-0894-D4D8-28F6E2A6A40F}"/>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6" name="Text Placeholder 3">
            <a:extLst>
              <a:ext uri="{FF2B5EF4-FFF2-40B4-BE49-F238E27FC236}">
                <a16:creationId xmlns:a16="http://schemas.microsoft.com/office/drawing/2014/main" id="{228091A2-14B2-287A-7B0B-9A555F24EC9A}"/>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5" name="Textplatzhalter 4">
            <a:extLst>
              <a:ext uri="{FF2B5EF4-FFF2-40B4-BE49-F238E27FC236}">
                <a16:creationId xmlns:a16="http://schemas.microsoft.com/office/drawing/2014/main" id="{713C1359-F9AF-8907-B3F2-ADFBE11017C7}"/>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F6FE19B5-80CB-5E2C-45A2-1FE7030DBBF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7" name="Title 3">
            <a:extLst>
              <a:ext uri="{FF2B5EF4-FFF2-40B4-BE49-F238E27FC236}">
                <a16:creationId xmlns:a16="http://schemas.microsoft.com/office/drawing/2014/main" id="{91F92B32-2DF5-E54D-4AF9-0EFFE08E364C}"/>
              </a:ext>
            </a:extLst>
          </p:cNvPr>
          <p:cNvSpPr>
            <a:spLocks noGrp="1"/>
          </p:cNvSpPr>
          <p:nvPr>
            <p:ph type="title" hasCustomPrompt="1"/>
          </p:nvPr>
        </p:nvSpPr>
        <p:spPr>
          <a:xfrm>
            <a:off x="972000" y="2919600"/>
            <a:ext cx="9590400" cy="6336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30289392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3 gradient title">
    <p:bg>
      <p:bgPr>
        <a:gradFill>
          <a:gsLst>
            <a:gs pos="0">
              <a:srgbClr val="16184E"/>
            </a:gs>
            <a:gs pos="100000">
              <a:srgbClr val="1E2A78"/>
            </a:gs>
          </a:gsLst>
          <a:lin ang="5400000" scaled="1"/>
        </a:grad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Blue gradient as expanding box on reverse blue gradient as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gradFill flip="none" rotWithShape="1">
            <a:gsLst>
              <a:gs pos="0">
                <a:srgbClr val="1E2A78"/>
              </a:gs>
              <a:gs pos="0">
                <a:srgbClr val="16184E"/>
              </a:gs>
              <a:gs pos="50000">
                <a:srgbClr val="1E2A78">
                  <a:shade val="67500"/>
                  <a:satMod val="115000"/>
                </a:srgbClr>
              </a:gs>
              <a:gs pos="100000">
                <a:srgbClr val="1E2A78"/>
              </a:gs>
            </a:gsLst>
            <a:lin ang="16200000" scaled="1"/>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6573847E-5F54-D144-882D-6F67FA998897}"/>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12F153E5-AF64-0894-D4D8-28F6E2A6A40F}"/>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6" name="Text Placeholder 3">
            <a:extLst>
              <a:ext uri="{FF2B5EF4-FFF2-40B4-BE49-F238E27FC236}">
                <a16:creationId xmlns:a16="http://schemas.microsoft.com/office/drawing/2014/main" id="{1C0D5023-699A-5F37-EC2C-15C210BF4BBE}"/>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5" name="Textplatzhalter 4">
            <a:extLst>
              <a:ext uri="{FF2B5EF4-FFF2-40B4-BE49-F238E27FC236}">
                <a16:creationId xmlns:a16="http://schemas.microsoft.com/office/drawing/2014/main" id="{C4983E33-77BD-6A9E-F61C-AB316D23C7B0}"/>
              </a:ext>
            </a:extLst>
          </p:cNvPr>
          <p:cNvSpPr>
            <a:spLocks noGrp="1"/>
          </p:cNvSpPr>
          <p:nvPr>
            <p:ph type="body" sz="quarter" idx="10" hasCustomPrompt="1"/>
          </p:nvPr>
        </p:nvSpPr>
        <p:spPr>
          <a:xfrm>
            <a:off x="971549" y="4101465"/>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F6FE19B5-80CB-5E2C-45A2-1FE7030DBBF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7" name="Title 3">
            <a:extLst>
              <a:ext uri="{FF2B5EF4-FFF2-40B4-BE49-F238E27FC236}">
                <a16:creationId xmlns:a16="http://schemas.microsoft.com/office/drawing/2014/main" id="{BDA270E6-3913-FC95-F67E-669EF16F2FE7}"/>
              </a:ext>
            </a:extLst>
          </p:cNvPr>
          <p:cNvSpPr>
            <a:spLocks noGrp="1"/>
          </p:cNvSpPr>
          <p:nvPr>
            <p:ph type="title" hasCustomPrompt="1"/>
          </p:nvPr>
        </p:nvSpPr>
        <p:spPr>
          <a:xfrm>
            <a:off x="972000" y="2919600"/>
            <a:ext cx="9590400" cy="1180800"/>
          </a:xfrm>
          <a:prstGeom prst="rect">
            <a:avLst/>
          </a:prstGeom>
        </p:spPr>
        <p:txBody>
          <a:bodyPr lIns="0" tIns="0" rIns="0" bIns="0" anchor="b" anchorCtr="0"/>
          <a:lstStyle>
            <a:lvl1pPr>
              <a:defRPr sz="4000" b="1">
                <a:solidFill>
                  <a:schemeClr val="bg1"/>
                </a:solidFill>
              </a:defRPr>
            </a:lvl1pPr>
          </a:lstStyle>
          <a:p>
            <a:r>
              <a:rPr lang="en-GB"/>
              <a:t>Click to edit </a:t>
            </a:r>
            <a:br>
              <a:rPr lang="en-GB"/>
            </a:br>
            <a:r>
              <a:rPr lang="en-GB"/>
              <a:t>longer headline</a:t>
            </a:r>
            <a:endParaRPr lang="de-DE"/>
          </a:p>
        </p:txBody>
      </p:sp>
    </p:spTree>
    <p:extLst>
      <p:ext uri="{BB962C8B-B14F-4D97-AF65-F5344CB8AC3E}">
        <p14:creationId xmlns:p14="http://schemas.microsoft.com/office/powerpoint/2010/main" val="5857858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1 logo-matrix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Variation of logo matrix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6573847E-5F54-D144-882D-6F67FA998897}"/>
              </a:ext>
            </a:extLst>
          </p:cNvPr>
          <p:cNvSpPr txBox="1"/>
          <p:nvPr userDrawn="1"/>
        </p:nvSpPr>
        <p:spPr bwMode="auto">
          <a:xfrm>
            <a:off x="960119" y="648000"/>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12F153E5-AF64-0894-D4D8-28F6E2A6A40F}"/>
              </a:ext>
            </a:extLst>
          </p:cNvPr>
          <p:cNvSpPr>
            <a:spLocks noGrp="1"/>
          </p:cNvSpPr>
          <p:nvPr>
            <p:ph type="body" sz="quarter" idx="14" hasCustomPrompt="1"/>
          </p:nvPr>
        </p:nvSpPr>
        <p:spPr>
          <a:xfrm>
            <a:off x="956061" y="835115"/>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6" name="Text Placeholder 3">
            <a:extLst>
              <a:ext uri="{FF2B5EF4-FFF2-40B4-BE49-F238E27FC236}">
                <a16:creationId xmlns:a16="http://schemas.microsoft.com/office/drawing/2014/main" id="{1C0D5023-699A-5F37-EC2C-15C210BF4BBE}"/>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5" name="Textplatzhalter 4">
            <a:extLst>
              <a:ext uri="{FF2B5EF4-FFF2-40B4-BE49-F238E27FC236}">
                <a16:creationId xmlns:a16="http://schemas.microsoft.com/office/drawing/2014/main" id="{C4983E33-77BD-6A9E-F61C-AB316D23C7B0}"/>
              </a:ext>
            </a:extLst>
          </p:cNvPr>
          <p:cNvSpPr>
            <a:spLocks noGrp="1"/>
          </p:cNvSpPr>
          <p:nvPr>
            <p:ph type="body" sz="quarter" idx="10" hasCustomPrompt="1"/>
          </p:nvPr>
        </p:nvSpPr>
        <p:spPr>
          <a:xfrm>
            <a:off x="971549" y="4101465"/>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F6FE19B5-80CB-5E2C-45A2-1FE7030DBBF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7" name="Title 3">
            <a:extLst>
              <a:ext uri="{FF2B5EF4-FFF2-40B4-BE49-F238E27FC236}">
                <a16:creationId xmlns:a16="http://schemas.microsoft.com/office/drawing/2014/main" id="{2B319DF0-7613-A8E4-3591-D9CF259A85B8}"/>
              </a:ext>
            </a:extLst>
          </p:cNvPr>
          <p:cNvSpPr>
            <a:spLocks noGrp="1"/>
          </p:cNvSpPr>
          <p:nvPr>
            <p:ph type="title" hasCustomPrompt="1"/>
          </p:nvPr>
        </p:nvSpPr>
        <p:spPr>
          <a:xfrm>
            <a:off x="972000" y="2919600"/>
            <a:ext cx="9590400" cy="1180800"/>
          </a:xfrm>
          <a:prstGeom prst="rect">
            <a:avLst/>
          </a:prstGeom>
        </p:spPr>
        <p:txBody>
          <a:bodyPr lIns="0" tIns="0" rIns="0" bIns="0" anchor="b" anchorCtr="0"/>
          <a:lstStyle>
            <a:lvl1pPr>
              <a:defRPr sz="4000" b="1">
                <a:solidFill>
                  <a:schemeClr val="bg1"/>
                </a:solidFill>
              </a:defRPr>
            </a:lvl1pPr>
          </a:lstStyle>
          <a:p>
            <a:r>
              <a:rPr lang="en-GB"/>
              <a:t>Click to edit </a:t>
            </a:r>
            <a:br>
              <a:rPr lang="en-GB"/>
            </a:br>
            <a:r>
              <a:rPr lang="en-GB"/>
              <a:t>longer headline</a:t>
            </a:r>
            <a:endParaRPr lang="de-DE"/>
          </a:p>
        </p:txBody>
      </p:sp>
    </p:spTree>
    <p:extLst>
      <p:ext uri="{BB962C8B-B14F-4D97-AF65-F5344CB8AC3E}">
        <p14:creationId xmlns:p14="http://schemas.microsoft.com/office/powerpoint/2010/main" val="15077495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2 logo-matrix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Variation of logo matrix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6573847E-5F54-D144-882D-6F67FA998897}"/>
              </a:ext>
            </a:extLst>
          </p:cNvPr>
          <p:cNvSpPr txBox="1"/>
          <p:nvPr userDrawn="1"/>
        </p:nvSpPr>
        <p:spPr bwMode="auto">
          <a:xfrm>
            <a:off x="960119" y="648000"/>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12F153E5-AF64-0894-D4D8-28F6E2A6A40F}"/>
              </a:ext>
            </a:extLst>
          </p:cNvPr>
          <p:cNvSpPr>
            <a:spLocks noGrp="1"/>
          </p:cNvSpPr>
          <p:nvPr>
            <p:ph type="body" sz="quarter" idx="14" hasCustomPrompt="1"/>
          </p:nvPr>
        </p:nvSpPr>
        <p:spPr>
          <a:xfrm>
            <a:off x="956061" y="835115"/>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6" name="Text Placeholder 3">
            <a:extLst>
              <a:ext uri="{FF2B5EF4-FFF2-40B4-BE49-F238E27FC236}">
                <a16:creationId xmlns:a16="http://schemas.microsoft.com/office/drawing/2014/main" id="{1C0D5023-699A-5F37-EC2C-15C210BF4BBE}"/>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5" name="Textplatzhalter 4">
            <a:extLst>
              <a:ext uri="{FF2B5EF4-FFF2-40B4-BE49-F238E27FC236}">
                <a16:creationId xmlns:a16="http://schemas.microsoft.com/office/drawing/2014/main" id="{C4983E33-77BD-6A9E-F61C-AB316D23C7B0}"/>
              </a:ext>
            </a:extLst>
          </p:cNvPr>
          <p:cNvSpPr>
            <a:spLocks noGrp="1"/>
          </p:cNvSpPr>
          <p:nvPr>
            <p:ph type="body" sz="quarter" idx="10" hasCustomPrompt="1"/>
          </p:nvPr>
        </p:nvSpPr>
        <p:spPr>
          <a:xfrm>
            <a:off x="971549" y="4101465"/>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F6FE19B5-80CB-5E2C-45A2-1FE7030DBBF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7" name="Title 3">
            <a:extLst>
              <a:ext uri="{FF2B5EF4-FFF2-40B4-BE49-F238E27FC236}">
                <a16:creationId xmlns:a16="http://schemas.microsoft.com/office/drawing/2014/main" id="{D89C7C28-0DEA-58BB-9BFA-9FAE00DA77F5}"/>
              </a:ext>
            </a:extLst>
          </p:cNvPr>
          <p:cNvSpPr>
            <a:spLocks noGrp="1"/>
          </p:cNvSpPr>
          <p:nvPr>
            <p:ph type="title" hasCustomPrompt="1"/>
          </p:nvPr>
        </p:nvSpPr>
        <p:spPr>
          <a:xfrm>
            <a:off x="972000" y="2919600"/>
            <a:ext cx="9590400" cy="1180800"/>
          </a:xfrm>
          <a:prstGeom prst="rect">
            <a:avLst/>
          </a:prstGeom>
        </p:spPr>
        <p:txBody>
          <a:bodyPr lIns="0" tIns="0" rIns="0" bIns="0" anchor="b" anchorCtr="0"/>
          <a:lstStyle>
            <a:lvl1pPr>
              <a:defRPr sz="4000" b="1">
                <a:solidFill>
                  <a:schemeClr val="bg1"/>
                </a:solidFill>
              </a:defRPr>
            </a:lvl1pPr>
          </a:lstStyle>
          <a:p>
            <a:r>
              <a:rPr lang="en-GB"/>
              <a:t>Click to edit </a:t>
            </a:r>
            <a:br>
              <a:rPr lang="en-GB"/>
            </a:br>
            <a:r>
              <a:rPr lang="en-GB"/>
              <a:t>longer headline</a:t>
            </a:r>
            <a:endParaRPr lang="de-DE"/>
          </a:p>
        </p:txBody>
      </p:sp>
    </p:spTree>
    <p:extLst>
      <p:ext uri="{BB962C8B-B14F-4D97-AF65-F5344CB8AC3E}">
        <p14:creationId xmlns:p14="http://schemas.microsoft.com/office/powerpoint/2010/main" val="26691625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3 logo-matrix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Variation of logo matrix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6573847E-5F54-D144-882D-6F67FA998897}"/>
              </a:ext>
            </a:extLst>
          </p:cNvPr>
          <p:cNvSpPr txBox="1"/>
          <p:nvPr userDrawn="1"/>
        </p:nvSpPr>
        <p:spPr bwMode="auto">
          <a:xfrm>
            <a:off x="960119" y="648000"/>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12F153E5-AF64-0894-D4D8-28F6E2A6A40F}"/>
              </a:ext>
            </a:extLst>
          </p:cNvPr>
          <p:cNvSpPr>
            <a:spLocks noGrp="1"/>
          </p:cNvSpPr>
          <p:nvPr>
            <p:ph type="body" sz="quarter" idx="14" hasCustomPrompt="1"/>
          </p:nvPr>
        </p:nvSpPr>
        <p:spPr>
          <a:xfrm>
            <a:off x="956061" y="835115"/>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6" name="Text Placeholder 3">
            <a:extLst>
              <a:ext uri="{FF2B5EF4-FFF2-40B4-BE49-F238E27FC236}">
                <a16:creationId xmlns:a16="http://schemas.microsoft.com/office/drawing/2014/main" id="{1C0D5023-699A-5F37-EC2C-15C210BF4BBE}"/>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5" name="Textplatzhalter 4">
            <a:extLst>
              <a:ext uri="{FF2B5EF4-FFF2-40B4-BE49-F238E27FC236}">
                <a16:creationId xmlns:a16="http://schemas.microsoft.com/office/drawing/2014/main" id="{C4983E33-77BD-6A9E-F61C-AB316D23C7B0}"/>
              </a:ext>
            </a:extLst>
          </p:cNvPr>
          <p:cNvSpPr>
            <a:spLocks noGrp="1"/>
          </p:cNvSpPr>
          <p:nvPr>
            <p:ph type="body" sz="quarter" idx="10" hasCustomPrompt="1"/>
          </p:nvPr>
        </p:nvSpPr>
        <p:spPr>
          <a:xfrm>
            <a:off x="971549" y="4101465"/>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F6FE19B5-80CB-5E2C-45A2-1FE7030DBBF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7" name="Title 3">
            <a:extLst>
              <a:ext uri="{FF2B5EF4-FFF2-40B4-BE49-F238E27FC236}">
                <a16:creationId xmlns:a16="http://schemas.microsoft.com/office/drawing/2014/main" id="{49089DEE-E314-73C3-4B93-C0783C2EAC1D}"/>
              </a:ext>
            </a:extLst>
          </p:cNvPr>
          <p:cNvSpPr>
            <a:spLocks noGrp="1"/>
          </p:cNvSpPr>
          <p:nvPr>
            <p:ph type="title" hasCustomPrompt="1"/>
          </p:nvPr>
        </p:nvSpPr>
        <p:spPr>
          <a:xfrm>
            <a:off x="972000" y="2919600"/>
            <a:ext cx="9590400" cy="1180800"/>
          </a:xfrm>
          <a:prstGeom prst="rect">
            <a:avLst/>
          </a:prstGeom>
        </p:spPr>
        <p:txBody>
          <a:bodyPr lIns="0" tIns="0" rIns="0" bIns="0" anchor="b" anchorCtr="0"/>
          <a:lstStyle>
            <a:lvl1pPr>
              <a:defRPr sz="4000" b="1">
                <a:solidFill>
                  <a:schemeClr val="bg1"/>
                </a:solidFill>
              </a:defRPr>
            </a:lvl1pPr>
          </a:lstStyle>
          <a:p>
            <a:r>
              <a:rPr lang="en-GB"/>
              <a:t>Click to edit </a:t>
            </a:r>
            <a:br>
              <a:rPr lang="en-GB"/>
            </a:br>
            <a:r>
              <a:rPr lang="en-GB"/>
              <a:t>longer headline</a:t>
            </a:r>
            <a:endParaRPr lang="de-DE"/>
          </a:p>
        </p:txBody>
      </p:sp>
    </p:spTree>
    <p:extLst>
      <p:ext uri="{BB962C8B-B14F-4D97-AF65-F5344CB8AC3E}">
        <p14:creationId xmlns:p14="http://schemas.microsoft.com/office/powerpoint/2010/main" val="15549327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1 bright title for printing">
    <p:bg>
      <p:bgRef idx="1001">
        <a:schemeClr val="bg1"/>
      </p:bgRef>
    </p:bg>
    <p:spTree>
      <p:nvGrpSpPr>
        <p:cNvPr id="1" name=""/>
        <p:cNvGrpSpPr/>
        <p:nvPr/>
      </p:nvGrpSpPr>
      <p:grpSpPr>
        <a:xfrm>
          <a:off x="0" y="0"/>
          <a:ext cx="0" cy="0"/>
          <a:chOff x="0" y="0"/>
          <a:chExt cx="0" cy="0"/>
        </a:xfrm>
      </p:grpSpPr>
      <p:sp>
        <p:nvSpPr>
          <p:cNvPr id="20" name="Freeform 4" descr="Deep Blue Deutsche Bank logo">
            <a:extLst>
              <a:ext uri="{FF2B5EF4-FFF2-40B4-BE49-F238E27FC236}">
                <a16:creationId xmlns:a16="http://schemas.microsoft.com/office/drawing/2014/main" id="{252E670B-5D14-7E88-D4E6-D46457DE4B5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1E2A78"/>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15" name="Google Shape;12;p7" descr="Thin blue outline as expanding box on white background">
            <a:extLst>
              <a:ext uri="{FF2B5EF4-FFF2-40B4-BE49-F238E27FC236}">
                <a16:creationId xmlns:a16="http://schemas.microsoft.com/office/drawing/2014/main" id="{230D18A4-E828-30D6-9ECB-D023709EA443}"/>
              </a:ext>
            </a:extLst>
          </p:cNvPr>
          <p:cNvSpPr/>
          <p:nvPr userDrawn="1"/>
        </p:nvSpPr>
        <p:spPr>
          <a:xfrm>
            <a:off x="646113" y="1296000"/>
            <a:ext cx="10248900" cy="4912713"/>
          </a:xfrm>
          <a:prstGeom prst="rect">
            <a:avLst/>
          </a:prstGeom>
          <a:noFill/>
          <a:ln>
            <a:solidFill>
              <a:srgbClr val="1E2A78"/>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Box 19">
            <a:extLst>
              <a:ext uri="{FF2B5EF4-FFF2-40B4-BE49-F238E27FC236}">
                <a16:creationId xmlns:a16="http://schemas.microsoft.com/office/drawing/2014/main" id="{AC07B1FB-7AE6-5DEA-3508-E03033A69EAA}"/>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rgbClr val="1E2A78"/>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rgbClr val="1E2A78"/>
              </a:solidFill>
              <a:latin typeface="+mn-lt"/>
              <a:ea typeface="DeutscheBank" panose="020B0503020202030204" pitchFamily="34" charset="0"/>
              <a:cs typeface="DeutscheBank" panose="020B0503020202030204" pitchFamily="34" charset="0"/>
            </a:endParaRPr>
          </a:p>
        </p:txBody>
      </p:sp>
      <p:sp>
        <p:nvSpPr>
          <p:cNvPr id="8" name="Textplatzhalter 3">
            <a:extLst>
              <a:ext uri="{FF2B5EF4-FFF2-40B4-BE49-F238E27FC236}">
                <a16:creationId xmlns:a16="http://schemas.microsoft.com/office/drawing/2014/main" id="{3CCE8A38-3E2D-5D3C-5EF7-71F98D942D00}"/>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rgbClr val="1E2A78"/>
                </a:solidFill>
              </a:defRPr>
            </a:lvl1pPr>
          </a:lstStyle>
          <a:p>
            <a:pPr lvl="0"/>
            <a:r>
              <a:rPr lang="en-GB" noProof="0"/>
              <a:t>Corporate Division</a:t>
            </a:r>
          </a:p>
        </p:txBody>
      </p:sp>
      <p:sp>
        <p:nvSpPr>
          <p:cNvPr id="6" name="Textplatzhalter 4">
            <a:extLst>
              <a:ext uri="{FF2B5EF4-FFF2-40B4-BE49-F238E27FC236}">
                <a16:creationId xmlns:a16="http://schemas.microsoft.com/office/drawing/2014/main" id="{4DAC2889-5D10-2A7B-1BB9-6DC45CD915FC}"/>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rgbClr val="1E2A78"/>
                </a:solidFill>
                <a:latin typeface="+mj-lt"/>
              </a:defRPr>
            </a:lvl1pPr>
          </a:lstStyle>
          <a:p>
            <a:pPr lvl="0"/>
            <a:r>
              <a:rPr lang="en-GB" noProof="0"/>
              <a:t>Click to edit subline</a:t>
            </a:r>
          </a:p>
        </p:txBody>
      </p:sp>
      <p:sp>
        <p:nvSpPr>
          <p:cNvPr id="5" name="Text Placeholder 3">
            <a:extLst>
              <a:ext uri="{FF2B5EF4-FFF2-40B4-BE49-F238E27FC236}">
                <a16:creationId xmlns:a16="http://schemas.microsoft.com/office/drawing/2014/main" id="{6FB18C2F-A982-20A5-7D12-F756E5414A91}"/>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rgbClr val="1E2A78"/>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2" name="Title 3">
            <a:extLst>
              <a:ext uri="{FF2B5EF4-FFF2-40B4-BE49-F238E27FC236}">
                <a16:creationId xmlns:a16="http://schemas.microsoft.com/office/drawing/2014/main" id="{BC93635B-3424-07F9-F4E1-A5A28AD9EDDD}"/>
              </a:ext>
            </a:extLst>
          </p:cNvPr>
          <p:cNvSpPr>
            <a:spLocks noGrp="1"/>
          </p:cNvSpPr>
          <p:nvPr>
            <p:ph type="title" hasCustomPrompt="1"/>
          </p:nvPr>
        </p:nvSpPr>
        <p:spPr>
          <a:xfrm>
            <a:off x="972000" y="2142000"/>
            <a:ext cx="9590400" cy="1411200"/>
          </a:xfrm>
          <a:prstGeom prst="rect">
            <a:avLst/>
          </a:prstGeom>
        </p:spPr>
        <p:txBody>
          <a:bodyPr lIns="0" tIns="0" rIns="0" bIns="0" anchor="b" anchorCtr="0"/>
          <a:lstStyle>
            <a:lvl1pPr>
              <a:defRPr sz="4000" b="1">
                <a:solidFill>
                  <a:schemeClr val="accent1"/>
                </a:solidFill>
              </a:defRPr>
            </a:lvl1pPr>
          </a:lstStyle>
          <a:p>
            <a:r>
              <a:rPr lang="en-GB"/>
              <a:t>Click to edit headline</a:t>
            </a:r>
            <a:endParaRPr lang="de-DE"/>
          </a:p>
        </p:txBody>
      </p:sp>
    </p:spTree>
    <p:extLst>
      <p:ext uri="{BB962C8B-B14F-4D97-AF65-F5344CB8AC3E}">
        <p14:creationId xmlns:p14="http://schemas.microsoft.com/office/powerpoint/2010/main" val="31295223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2 bright title for printing">
    <p:bg>
      <p:bgRef idx="1001">
        <a:schemeClr val="bg1"/>
      </p:bgRef>
    </p:bg>
    <p:spTree>
      <p:nvGrpSpPr>
        <p:cNvPr id="1" name=""/>
        <p:cNvGrpSpPr/>
        <p:nvPr/>
      </p:nvGrpSpPr>
      <p:grpSpPr>
        <a:xfrm>
          <a:off x="0" y="0"/>
          <a:ext cx="0" cy="0"/>
          <a:chOff x="0" y="0"/>
          <a:chExt cx="0" cy="0"/>
        </a:xfrm>
      </p:grpSpPr>
      <p:sp>
        <p:nvSpPr>
          <p:cNvPr id="20" name="Freeform 4" descr="Deep Blue Deutsche Bank logo">
            <a:extLst>
              <a:ext uri="{FF2B5EF4-FFF2-40B4-BE49-F238E27FC236}">
                <a16:creationId xmlns:a16="http://schemas.microsoft.com/office/drawing/2014/main" id="{252E670B-5D14-7E88-D4E6-D46457DE4B5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1E2A78"/>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15" name="Google Shape;12;p7" descr="Thin blue outline as expanding box in white background">
            <a:extLst>
              <a:ext uri="{FF2B5EF4-FFF2-40B4-BE49-F238E27FC236}">
                <a16:creationId xmlns:a16="http://schemas.microsoft.com/office/drawing/2014/main" id="{230D18A4-E828-30D6-9ECB-D023709EA443}"/>
              </a:ext>
            </a:extLst>
          </p:cNvPr>
          <p:cNvSpPr/>
          <p:nvPr userDrawn="1"/>
        </p:nvSpPr>
        <p:spPr>
          <a:xfrm>
            <a:off x="646113" y="1296000"/>
            <a:ext cx="10248900" cy="4912713"/>
          </a:xfrm>
          <a:prstGeom prst="rect">
            <a:avLst/>
          </a:prstGeom>
          <a:noFill/>
          <a:ln>
            <a:solidFill>
              <a:srgbClr val="1E2A78"/>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Box 19">
            <a:extLst>
              <a:ext uri="{FF2B5EF4-FFF2-40B4-BE49-F238E27FC236}">
                <a16:creationId xmlns:a16="http://schemas.microsoft.com/office/drawing/2014/main" id="{AC07B1FB-7AE6-5DEA-3508-E03033A69EAA}"/>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rgbClr val="1E2A78"/>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rgbClr val="1E2A78"/>
              </a:solidFill>
              <a:latin typeface="+mn-lt"/>
              <a:ea typeface="DeutscheBank" panose="020B0503020202030204" pitchFamily="34" charset="0"/>
              <a:cs typeface="DeutscheBank" panose="020B0503020202030204" pitchFamily="34" charset="0"/>
            </a:endParaRPr>
          </a:p>
        </p:txBody>
      </p:sp>
      <p:sp>
        <p:nvSpPr>
          <p:cNvPr id="8" name="Textplatzhalter 3">
            <a:extLst>
              <a:ext uri="{FF2B5EF4-FFF2-40B4-BE49-F238E27FC236}">
                <a16:creationId xmlns:a16="http://schemas.microsoft.com/office/drawing/2014/main" id="{3CCE8A38-3E2D-5D3C-5EF7-71F98D942D00}"/>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rgbClr val="1E2A78"/>
                </a:solidFill>
              </a:defRPr>
            </a:lvl1pPr>
          </a:lstStyle>
          <a:p>
            <a:pPr lvl="0"/>
            <a:r>
              <a:rPr lang="en-GB" noProof="0"/>
              <a:t>Corporate Division</a:t>
            </a:r>
          </a:p>
        </p:txBody>
      </p:sp>
      <p:sp>
        <p:nvSpPr>
          <p:cNvPr id="9" name="Text Placeholder 3">
            <a:extLst>
              <a:ext uri="{FF2B5EF4-FFF2-40B4-BE49-F238E27FC236}">
                <a16:creationId xmlns:a16="http://schemas.microsoft.com/office/drawing/2014/main" id="{EFB2D68C-CB72-01EF-9EB7-3717F73CD94B}"/>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rgbClr val="1E2A78"/>
                </a:solidFill>
                <a:ea typeface="DeutscheBank" panose="020B0503020202030204" pitchFamily="34" charset="0"/>
              </a:defRPr>
            </a:lvl1pPr>
          </a:lstStyle>
          <a:p>
            <a:pPr lvl="0"/>
            <a:r>
              <a:rPr lang="en-GB"/>
              <a:t>Click to edit topline</a:t>
            </a:r>
          </a:p>
        </p:txBody>
      </p:sp>
      <p:sp>
        <p:nvSpPr>
          <p:cNvPr id="7" name="Textplatzhalter 4">
            <a:extLst>
              <a:ext uri="{FF2B5EF4-FFF2-40B4-BE49-F238E27FC236}">
                <a16:creationId xmlns:a16="http://schemas.microsoft.com/office/drawing/2014/main" id="{A46CFD69-229D-A1AF-C4E1-308A15F08154}"/>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rgbClr val="1E2A78"/>
                </a:solidFill>
                <a:latin typeface="+mj-lt"/>
              </a:defRPr>
            </a:lvl1pPr>
          </a:lstStyle>
          <a:p>
            <a:pPr lvl="0"/>
            <a:r>
              <a:rPr lang="en-GB" noProof="0"/>
              <a:t>Click to edit subline</a:t>
            </a:r>
          </a:p>
        </p:txBody>
      </p:sp>
      <p:sp>
        <p:nvSpPr>
          <p:cNvPr id="5" name="Text Placeholder 3">
            <a:extLst>
              <a:ext uri="{FF2B5EF4-FFF2-40B4-BE49-F238E27FC236}">
                <a16:creationId xmlns:a16="http://schemas.microsoft.com/office/drawing/2014/main" id="{6FB18C2F-A982-20A5-7D12-F756E5414A91}"/>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rgbClr val="1E2A78"/>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4" name="Title 3">
            <a:extLst>
              <a:ext uri="{FF2B5EF4-FFF2-40B4-BE49-F238E27FC236}">
                <a16:creationId xmlns:a16="http://schemas.microsoft.com/office/drawing/2014/main" id="{BCB36DE8-268D-D70C-04EC-C7166643E9A1}"/>
              </a:ext>
            </a:extLst>
          </p:cNvPr>
          <p:cNvSpPr>
            <a:spLocks noGrp="1"/>
          </p:cNvSpPr>
          <p:nvPr>
            <p:ph type="title" hasCustomPrompt="1"/>
          </p:nvPr>
        </p:nvSpPr>
        <p:spPr>
          <a:xfrm>
            <a:off x="972000" y="2919600"/>
            <a:ext cx="9590400" cy="633600"/>
          </a:xfrm>
          <a:prstGeom prst="rect">
            <a:avLst/>
          </a:prstGeom>
        </p:spPr>
        <p:txBody>
          <a:bodyPr lIns="0" tIns="0" rIns="0" bIns="0" anchor="b" anchorCtr="0"/>
          <a:lstStyle>
            <a:lvl1pPr>
              <a:defRPr sz="4000" b="1">
                <a:solidFill>
                  <a:schemeClr val="accent1"/>
                </a:solidFill>
              </a:defRPr>
            </a:lvl1pPr>
          </a:lstStyle>
          <a:p>
            <a:r>
              <a:rPr lang="en-GB"/>
              <a:t>Click to edit headline</a:t>
            </a:r>
            <a:endParaRPr lang="de-DE"/>
          </a:p>
        </p:txBody>
      </p:sp>
    </p:spTree>
    <p:extLst>
      <p:ext uri="{BB962C8B-B14F-4D97-AF65-F5344CB8AC3E}">
        <p14:creationId xmlns:p14="http://schemas.microsoft.com/office/powerpoint/2010/main" val="21901730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3 bright title for printing">
    <p:bg>
      <p:bgRef idx="1001">
        <a:schemeClr val="bg1"/>
      </p:bgRef>
    </p:bg>
    <p:spTree>
      <p:nvGrpSpPr>
        <p:cNvPr id="1" name=""/>
        <p:cNvGrpSpPr/>
        <p:nvPr/>
      </p:nvGrpSpPr>
      <p:grpSpPr>
        <a:xfrm>
          <a:off x="0" y="0"/>
          <a:ext cx="0" cy="0"/>
          <a:chOff x="0" y="0"/>
          <a:chExt cx="0" cy="0"/>
        </a:xfrm>
      </p:grpSpPr>
      <p:sp>
        <p:nvSpPr>
          <p:cNvPr id="20" name="Freeform 4" descr="Deep Blue Deutsche Bank logo">
            <a:extLst>
              <a:ext uri="{FF2B5EF4-FFF2-40B4-BE49-F238E27FC236}">
                <a16:creationId xmlns:a16="http://schemas.microsoft.com/office/drawing/2014/main" id="{252E670B-5D14-7E88-D4E6-D46457DE4B5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1E2A78"/>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15" name="Google Shape;12;p7" descr="Thin blue outline as expanding box in white background">
            <a:extLst>
              <a:ext uri="{FF2B5EF4-FFF2-40B4-BE49-F238E27FC236}">
                <a16:creationId xmlns:a16="http://schemas.microsoft.com/office/drawing/2014/main" id="{230D18A4-E828-30D6-9ECB-D023709EA443}"/>
              </a:ext>
            </a:extLst>
          </p:cNvPr>
          <p:cNvSpPr/>
          <p:nvPr userDrawn="1"/>
        </p:nvSpPr>
        <p:spPr>
          <a:xfrm>
            <a:off x="646113" y="1296000"/>
            <a:ext cx="10248900" cy="4912713"/>
          </a:xfrm>
          <a:prstGeom prst="rect">
            <a:avLst/>
          </a:prstGeom>
          <a:noFill/>
          <a:ln>
            <a:solidFill>
              <a:srgbClr val="1E2A78"/>
            </a:solid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Box 19">
            <a:extLst>
              <a:ext uri="{FF2B5EF4-FFF2-40B4-BE49-F238E27FC236}">
                <a16:creationId xmlns:a16="http://schemas.microsoft.com/office/drawing/2014/main" id="{AC07B1FB-7AE6-5DEA-3508-E03033A69EAA}"/>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rgbClr val="1E2A78"/>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rgbClr val="1E2A78"/>
              </a:solidFill>
              <a:latin typeface="+mn-lt"/>
              <a:ea typeface="DeutscheBank" panose="020B0503020202030204" pitchFamily="34" charset="0"/>
              <a:cs typeface="DeutscheBank" panose="020B0503020202030204" pitchFamily="34" charset="0"/>
            </a:endParaRPr>
          </a:p>
        </p:txBody>
      </p:sp>
      <p:sp>
        <p:nvSpPr>
          <p:cNvPr id="9" name="Text Placeholder 3">
            <a:extLst>
              <a:ext uri="{FF2B5EF4-FFF2-40B4-BE49-F238E27FC236}">
                <a16:creationId xmlns:a16="http://schemas.microsoft.com/office/drawing/2014/main" id="{EFB2D68C-CB72-01EF-9EB7-3717F73CD94B}"/>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rgbClr val="1E2A78"/>
                </a:solidFill>
                <a:ea typeface="DeutscheBank" panose="020B0503020202030204" pitchFamily="34" charset="0"/>
              </a:defRPr>
            </a:lvl1pPr>
          </a:lstStyle>
          <a:p>
            <a:pPr lvl="0"/>
            <a:r>
              <a:rPr lang="en-GB"/>
              <a:t>Click to edit topline</a:t>
            </a:r>
          </a:p>
        </p:txBody>
      </p:sp>
      <p:sp>
        <p:nvSpPr>
          <p:cNvPr id="8" name="Textplatzhalter 3">
            <a:extLst>
              <a:ext uri="{FF2B5EF4-FFF2-40B4-BE49-F238E27FC236}">
                <a16:creationId xmlns:a16="http://schemas.microsoft.com/office/drawing/2014/main" id="{3CCE8A38-3E2D-5D3C-5EF7-71F98D942D00}"/>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rgbClr val="1E2A78"/>
                </a:solidFill>
              </a:defRPr>
            </a:lvl1pPr>
          </a:lstStyle>
          <a:p>
            <a:pPr lvl="0"/>
            <a:r>
              <a:rPr lang="en-GB" noProof="0"/>
              <a:t>Corporate Division</a:t>
            </a:r>
          </a:p>
        </p:txBody>
      </p:sp>
      <p:sp>
        <p:nvSpPr>
          <p:cNvPr id="7" name="Textplatzhalter 4">
            <a:extLst>
              <a:ext uri="{FF2B5EF4-FFF2-40B4-BE49-F238E27FC236}">
                <a16:creationId xmlns:a16="http://schemas.microsoft.com/office/drawing/2014/main" id="{A46CFD69-229D-A1AF-C4E1-308A15F08154}"/>
              </a:ext>
            </a:extLst>
          </p:cNvPr>
          <p:cNvSpPr>
            <a:spLocks noGrp="1"/>
          </p:cNvSpPr>
          <p:nvPr>
            <p:ph type="body" sz="quarter" idx="10" hasCustomPrompt="1"/>
          </p:nvPr>
        </p:nvSpPr>
        <p:spPr>
          <a:xfrm>
            <a:off x="971549" y="4101465"/>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rgbClr val="1E2A78"/>
                </a:solidFill>
                <a:latin typeface="+mj-lt"/>
              </a:defRPr>
            </a:lvl1pPr>
          </a:lstStyle>
          <a:p>
            <a:pPr lvl="0"/>
            <a:r>
              <a:rPr lang="en-GB" noProof="0"/>
              <a:t>Click to edit subline</a:t>
            </a:r>
          </a:p>
        </p:txBody>
      </p:sp>
      <p:sp>
        <p:nvSpPr>
          <p:cNvPr id="5" name="Text Placeholder 3">
            <a:extLst>
              <a:ext uri="{FF2B5EF4-FFF2-40B4-BE49-F238E27FC236}">
                <a16:creationId xmlns:a16="http://schemas.microsoft.com/office/drawing/2014/main" id="{6FB18C2F-A982-20A5-7D12-F756E5414A91}"/>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rgbClr val="1E2A78"/>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4" name="Title 3">
            <a:extLst>
              <a:ext uri="{FF2B5EF4-FFF2-40B4-BE49-F238E27FC236}">
                <a16:creationId xmlns:a16="http://schemas.microsoft.com/office/drawing/2014/main" id="{23B7BD55-6C29-0714-FAD8-A4E0D491FD49}"/>
              </a:ext>
            </a:extLst>
          </p:cNvPr>
          <p:cNvSpPr>
            <a:spLocks noGrp="1"/>
          </p:cNvSpPr>
          <p:nvPr>
            <p:ph type="title" hasCustomPrompt="1"/>
          </p:nvPr>
        </p:nvSpPr>
        <p:spPr>
          <a:xfrm>
            <a:off x="972000" y="2919600"/>
            <a:ext cx="9590400" cy="1180800"/>
          </a:xfrm>
          <a:prstGeom prst="rect">
            <a:avLst/>
          </a:prstGeom>
        </p:spPr>
        <p:txBody>
          <a:bodyPr lIns="0" tIns="0" rIns="0" bIns="0" anchor="b" anchorCtr="0"/>
          <a:lstStyle>
            <a:lvl1pPr>
              <a:defRPr sz="4000" b="1">
                <a:solidFill>
                  <a:schemeClr val="accent1"/>
                </a:solidFill>
              </a:defRPr>
            </a:lvl1pPr>
          </a:lstStyle>
          <a:p>
            <a:r>
              <a:rPr lang="en-GB"/>
              <a:t>Click to edit </a:t>
            </a:r>
            <a:br>
              <a:rPr lang="en-GB"/>
            </a:br>
            <a:r>
              <a:rPr lang="en-GB"/>
              <a:t>longer headline</a:t>
            </a:r>
            <a:endParaRPr lang="de-DE"/>
          </a:p>
        </p:txBody>
      </p:sp>
    </p:spTree>
    <p:extLst>
      <p:ext uri="{BB962C8B-B14F-4D97-AF65-F5344CB8AC3E}">
        <p14:creationId xmlns:p14="http://schemas.microsoft.com/office/powerpoint/2010/main" val="4541437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1.1.1 motif frankfurt tal without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8FA4242E-64D2-6DD4-10DF-93B6F3134A42}"/>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3" name="Google Shape;12;p7" descr="Transparent expanding box on TAL photo background">
            <a:extLst>
              <a:ext uri="{FF2B5EF4-FFF2-40B4-BE49-F238E27FC236}">
                <a16:creationId xmlns:a16="http://schemas.microsoft.com/office/drawing/2014/main" id="{76CE3D7B-8605-1762-7ED1-9629B957A8E9}"/>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5" name="TextBox 19">
            <a:extLst>
              <a:ext uri="{FF2B5EF4-FFF2-40B4-BE49-F238E27FC236}">
                <a16:creationId xmlns:a16="http://schemas.microsoft.com/office/drawing/2014/main" id="{132A7FC4-30FB-346A-115D-EF7A139638EE}"/>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2" name="Textplatzhalter 3">
            <a:extLst>
              <a:ext uri="{FF2B5EF4-FFF2-40B4-BE49-F238E27FC236}">
                <a16:creationId xmlns:a16="http://schemas.microsoft.com/office/drawing/2014/main" id="{BF15021F-FC19-622B-89C0-0274527EFCBB}"/>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8" name="Textplatzhalter 4">
            <a:extLst>
              <a:ext uri="{FF2B5EF4-FFF2-40B4-BE49-F238E27FC236}">
                <a16:creationId xmlns:a16="http://schemas.microsoft.com/office/drawing/2014/main" id="{7A06200B-73E0-1988-C33F-C072CD686267}"/>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dirty="0"/>
              <a:t>Click to edit subline</a:t>
            </a:r>
          </a:p>
        </p:txBody>
      </p:sp>
      <p:sp>
        <p:nvSpPr>
          <p:cNvPr id="7" name="Text Placeholder 3">
            <a:extLst>
              <a:ext uri="{FF2B5EF4-FFF2-40B4-BE49-F238E27FC236}">
                <a16:creationId xmlns:a16="http://schemas.microsoft.com/office/drawing/2014/main" id="{CF3271D9-AD35-BFFC-209F-395A2BCE1CAC}"/>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dirty="0"/>
              <a:t>Date, Location, S</a:t>
            </a:r>
            <a:r>
              <a:rPr lang="en-GB" dirty="0">
                <a:ea typeface="DeutscheBank" panose="020B0503020202030204" pitchFamily="34" charset="0"/>
              </a:rPr>
              <a:t>peaker name</a:t>
            </a:r>
            <a:endParaRPr lang="en-GB" dirty="0"/>
          </a:p>
        </p:txBody>
      </p:sp>
    </p:spTree>
    <p:extLst>
      <p:ext uri="{BB962C8B-B14F-4D97-AF65-F5344CB8AC3E}">
        <p14:creationId xmlns:p14="http://schemas.microsoft.com/office/powerpoint/2010/main" val="24451460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4.1 gradient chapter title">
    <p:bg>
      <p:bgPr>
        <a:gradFill>
          <a:gsLst>
            <a:gs pos="0">
              <a:srgbClr val="16184E"/>
            </a:gs>
            <a:gs pos="100000">
              <a:srgbClr val="1E2A78"/>
            </a:gs>
          </a:gsLst>
          <a:lin ang="5400000" scaled="1"/>
        </a:grad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Blue gradient as expanding box on reverse blue gradient as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gradFill flip="none" rotWithShape="1">
            <a:gsLst>
              <a:gs pos="0">
                <a:srgbClr val="1E2A78"/>
              </a:gs>
              <a:gs pos="0">
                <a:srgbClr val="16184E"/>
              </a:gs>
              <a:gs pos="50000">
                <a:srgbClr val="1E2A78">
                  <a:shade val="67500"/>
                  <a:satMod val="115000"/>
                </a:srgbClr>
              </a:gs>
              <a:gs pos="100000">
                <a:srgbClr val="1E2A78"/>
              </a:gs>
            </a:gsLst>
            <a:lin ang="16200000" scaled="1"/>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platzhalter 28">
            <a:extLst>
              <a:ext uri="{FF2B5EF4-FFF2-40B4-BE49-F238E27FC236}">
                <a16:creationId xmlns:a16="http://schemas.microsoft.com/office/drawing/2014/main" id="{A182C8B6-D103-DF9D-A77A-0C77717421B9}"/>
              </a:ext>
            </a:extLst>
          </p:cNvPr>
          <p:cNvSpPr>
            <a:spLocks noGrp="1"/>
          </p:cNvSpPr>
          <p:nvPr>
            <p:ph type="body" sz="quarter" idx="11" hasCustomPrompt="1"/>
          </p:nvPr>
        </p:nvSpPr>
        <p:spPr>
          <a:xfrm>
            <a:off x="971550" y="1617663"/>
            <a:ext cx="9599613" cy="2482850"/>
          </a:xfrm>
          <a:prstGeom prst="rect">
            <a:avLst/>
          </a:prstGeom>
        </p:spPr>
        <p:txBody>
          <a:bodyPr lIns="0" tIns="0" rIns="0" bIns="0" anchor="b" anchorCtr="0">
            <a:noAutofit/>
          </a:bodyPr>
          <a:lstStyle>
            <a:lvl1pPr>
              <a:defRPr sz="4000" b="0">
                <a:solidFill>
                  <a:srgbClr val="00A3E0"/>
                </a:solidFill>
              </a:defRPr>
            </a:lvl1pPr>
            <a:lvl2pPr>
              <a:defRPr sz="4000" b="1"/>
            </a:lvl2pPr>
          </a:lstStyle>
          <a:p>
            <a:pPr lvl="0"/>
            <a:r>
              <a:rPr lang="en-GB" noProof="0"/>
              <a:t>Click to edit topline</a:t>
            </a:r>
          </a:p>
          <a:p>
            <a:pPr lvl="1"/>
            <a:r>
              <a:rPr lang="en-GB" noProof="0"/>
              <a:t>Click to edit chapter headline</a:t>
            </a:r>
          </a:p>
        </p:txBody>
      </p:sp>
    </p:spTree>
    <p:extLst>
      <p:ext uri="{BB962C8B-B14F-4D97-AF65-F5344CB8AC3E}">
        <p14:creationId xmlns:p14="http://schemas.microsoft.com/office/powerpoint/2010/main" val="5186842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2 gradient chapter title">
    <p:bg>
      <p:bgPr>
        <a:solidFill>
          <a:schemeClr val="accent1"/>
        </a:solidFill>
        <a:effectLst/>
      </p:bgPr>
    </p:bg>
    <p:spTree>
      <p:nvGrpSpPr>
        <p:cNvPr id="1" name=""/>
        <p:cNvGrpSpPr/>
        <p:nvPr/>
      </p:nvGrpSpPr>
      <p:grpSpPr>
        <a:xfrm>
          <a:off x="0" y="0"/>
          <a:ext cx="0" cy="0"/>
          <a:chOff x="0" y="0"/>
          <a:chExt cx="0" cy="0"/>
        </a:xfrm>
      </p:grpSpPr>
      <p:sp>
        <p:nvSpPr>
          <p:cNvPr id="6" name="Freeform 4" descr="White Deutsche Bank logo">
            <a:extLst>
              <a:ext uri="{FF2B5EF4-FFF2-40B4-BE49-F238E27FC236}">
                <a16:creationId xmlns:a16="http://schemas.microsoft.com/office/drawing/2014/main" id="{D20F759C-E675-317A-5575-E6B3633F3CAB}"/>
              </a:ext>
            </a:extLst>
          </p:cNvPr>
          <p:cNvSpPr>
            <a:spLocks noChangeAspect="1" noEditPoints="1"/>
          </p:cNvSpPr>
          <p:nvPr userDrawn="1"/>
        </p:nvSpPr>
        <p:spPr bwMode="black">
          <a:xfrm>
            <a:off x="8409448" y="6474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mj-lt"/>
              <a:cs typeface="DeutscheBank" panose="020B0503020202030204" pitchFamily="34" charset="0"/>
            </a:endParaRPr>
          </a:p>
        </p:txBody>
      </p:sp>
      <p:sp>
        <p:nvSpPr>
          <p:cNvPr id="2" name="Google Shape;12;p7" descr="Narrow blue gradient as expanding box on deep blue background">
            <a:extLst>
              <a:ext uri="{FF2B5EF4-FFF2-40B4-BE49-F238E27FC236}">
                <a16:creationId xmlns:a16="http://schemas.microsoft.com/office/drawing/2014/main" id="{F04E87A9-E065-CB54-D554-7EC2EF386713}"/>
              </a:ext>
            </a:extLst>
          </p:cNvPr>
          <p:cNvSpPr/>
          <p:nvPr userDrawn="1"/>
        </p:nvSpPr>
        <p:spPr>
          <a:xfrm>
            <a:off x="3802743" y="1295400"/>
            <a:ext cx="4606705" cy="4912713"/>
          </a:xfrm>
          <a:prstGeom prst="rect">
            <a:avLst/>
          </a:prstGeom>
          <a:gradFill flip="none" rotWithShape="1">
            <a:gsLst>
              <a:gs pos="0">
                <a:srgbClr val="1E2A78"/>
              </a:gs>
              <a:gs pos="0">
                <a:srgbClr val="16184E"/>
              </a:gs>
              <a:gs pos="50000">
                <a:srgbClr val="1E2A78">
                  <a:shade val="67500"/>
                  <a:satMod val="115000"/>
                </a:srgbClr>
              </a:gs>
              <a:gs pos="100000">
                <a:srgbClr val="1E2A78"/>
              </a:gs>
            </a:gsLst>
            <a:lin ang="5400000" scaled="0"/>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platzhalter 28">
            <a:extLst>
              <a:ext uri="{FF2B5EF4-FFF2-40B4-BE49-F238E27FC236}">
                <a16:creationId xmlns:a16="http://schemas.microsoft.com/office/drawing/2014/main" id="{A182C8B6-D103-DF9D-A77A-0C77717421B9}"/>
              </a:ext>
            </a:extLst>
          </p:cNvPr>
          <p:cNvSpPr>
            <a:spLocks noGrp="1"/>
          </p:cNvSpPr>
          <p:nvPr>
            <p:ph type="body" sz="quarter" idx="11" hasCustomPrompt="1"/>
          </p:nvPr>
        </p:nvSpPr>
        <p:spPr>
          <a:xfrm>
            <a:off x="971550" y="1974850"/>
            <a:ext cx="9599613" cy="1577976"/>
          </a:xfrm>
          <a:prstGeom prst="rect">
            <a:avLst/>
          </a:prstGeom>
        </p:spPr>
        <p:txBody>
          <a:bodyPr lIns="0" tIns="0" rIns="0" bIns="0" anchor="b" anchorCtr="0">
            <a:noAutofit/>
          </a:bodyPr>
          <a:lstStyle>
            <a:lvl1pPr>
              <a:defRPr sz="2000" b="0">
                <a:solidFill>
                  <a:srgbClr val="00A3E0"/>
                </a:solidFill>
              </a:defRPr>
            </a:lvl1pPr>
            <a:lvl2pPr>
              <a:defRPr sz="4000" b="1"/>
            </a:lvl2pPr>
          </a:lstStyle>
          <a:p>
            <a:pPr lvl="0"/>
            <a:r>
              <a:rPr lang="en-GB" noProof="0"/>
              <a:t>Click to edit topline</a:t>
            </a:r>
          </a:p>
          <a:p>
            <a:pPr lvl="1"/>
            <a:r>
              <a:rPr lang="en-GB" noProof="0"/>
              <a:t>Click to edit chapter headline</a:t>
            </a:r>
          </a:p>
        </p:txBody>
      </p:sp>
    </p:spTree>
    <p:extLst>
      <p:ext uri="{BB962C8B-B14F-4D97-AF65-F5344CB8AC3E}">
        <p14:creationId xmlns:p14="http://schemas.microsoft.com/office/powerpoint/2010/main" val="40797909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3 gradient chapter title">
    <p:bg>
      <p:bgPr>
        <a:solidFill>
          <a:schemeClr val="accent1"/>
        </a:solidFill>
        <a:effectLst/>
      </p:bgPr>
    </p:bg>
    <p:spTree>
      <p:nvGrpSpPr>
        <p:cNvPr id="1" name=""/>
        <p:cNvGrpSpPr/>
        <p:nvPr/>
      </p:nvGrpSpPr>
      <p:grpSpPr>
        <a:xfrm>
          <a:off x="0" y="0"/>
          <a:ext cx="0" cy="0"/>
          <a:chOff x="0" y="0"/>
          <a:chExt cx="0" cy="0"/>
        </a:xfrm>
      </p:grpSpPr>
      <p:sp>
        <p:nvSpPr>
          <p:cNvPr id="6" name="Freeform 4" descr="White Deutsche Bank logo">
            <a:extLst>
              <a:ext uri="{FF2B5EF4-FFF2-40B4-BE49-F238E27FC236}">
                <a16:creationId xmlns:a16="http://schemas.microsoft.com/office/drawing/2014/main" id="{D20F759C-E675-317A-5575-E6B3633F3CAB}"/>
              </a:ext>
            </a:extLst>
          </p:cNvPr>
          <p:cNvSpPr>
            <a:spLocks noChangeAspect="1" noEditPoints="1"/>
          </p:cNvSpPr>
          <p:nvPr userDrawn="1"/>
        </p:nvSpPr>
        <p:spPr bwMode="black">
          <a:xfrm>
            <a:off x="8409448" y="6474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mj-lt"/>
              <a:cs typeface="DeutscheBank" panose="020B0503020202030204" pitchFamily="34" charset="0"/>
            </a:endParaRPr>
          </a:p>
        </p:txBody>
      </p:sp>
      <p:sp>
        <p:nvSpPr>
          <p:cNvPr id="2" name="Google Shape;12;p7" descr="Narrow reverse blue gradient as expanding box on deep blue background">
            <a:extLst>
              <a:ext uri="{FF2B5EF4-FFF2-40B4-BE49-F238E27FC236}">
                <a16:creationId xmlns:a16="http://schemas.microsoft.com/office/drawing/2014/main" id="{F04E87A9-E065-CB54-D554-7EC2EF386713}"/>
              </a:ext>
            </a:extLst>
          </p:cNvPr>
          <p:cNvSpPr/>
          <p:nvPr userDrawn="1"/>
        </p:nvSpPr>
        <p:spPr>
          <a:xfrm>
            <a:off x="3802743" y="1295400"/>
            <a:ext cx="4606705" cy="4912713"/>
          </a:xfrm>
          <a:prstGeom prst="rect">
            <a:avLst/>
          </a:prstGeom>
          <a:gradFill flip="none" rotWithShape="1">
            <a:gsLst>
              <a:gs pos="0">
                <a:srgbClr val="1E2A78"/>
              </a:gs>
              <a:gs pos="0">
                <a:srgbClr val="16184E"/>
              </a:gs>
              <a:gs pos="50000">
                <a:srgbClr val="1E2A78">
                  <a:shade val="67500"/>
                  <a:satMod val="115000"/>
                </a:srgbClr>
              </a:gs>
              <a:gs pos="100000">
                <a:srgbClr val="1E2A78"/>
              </a:gs>
            </a:gsLst>
            <a:lin ang="16200000" scaled="1"/>
            <a:tileRect/>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platzhalter 28">
            <a:extLst>
              <a:ext uri="{FF2B5EF4-FFF2-40B4-BE49-F238E27FC236}">
                <a16:creationId xmlns:a16="http://schemas.microsoft.com/office/drawing/2014/main" id="{A182C8B6-D103-DF9D-A77A-0C77717421B9}"/>
              </a:ext>
            </a:extLst>
          </p:cNvPr>
          <p:cNvSpPr>
            <a:spLocks noGrp="1"/>
          </p:cNvSpPr>
          <p:nvPr>
            <p:ph type="body" sz="quarter" idx="11" hasCustomPrompt="1"/>
          </p:nvPr>
        </p:nvSpPr>
        <p:spPr>
          <a:xfrm>
            <a:off x="971550" y="1974850"/>
            <a:ext cx="9599613" cy="1577976"/>
          </a:xfrm>
          <a:prstGeom prst="rect">
            <a:avLst/>
          </a:prstGeom>
        </p:spPr>
        <p:txBody>
          <a:bodyPr lIns="0" tIns="0" rIns="0" bIns="0" anchor="b" anchorCtr="0">
            <a:noAutofit/>
          </a:bodyPr>
          <a:lstStyle>
            <a:lvl1pPr>
              <a:defRPr sz="2000" b="0">
                <a:solidFill>
                  <a:srgbClr val="00A3E0"/>
                </a:solidFill>
              </a:defRPr>
            </a:lvl1pPr>
            <a:lvl2pPr>
              <a:defRPr sz="4000" b="1"/>
            </a:lvl2pPr>
          </a:lstStyle>
          <a:p>
            <a:pPr lvl="0"/>
            <a:r>
              <a:rPr lang="en-GB" noProof="0"/>
              <a:t>Click to edit topline</a:t>
            </a:r>
          </a:p>
          <a:p>
            <a:pPr lvl="1"/>
            <a:r>
              <a:rPr lang="en-GB" noProof="0"/>
              <a:t>Click to edit chapter headline</a:t>
            </a:r>
          </a:p>
        </p:txBody>
      </p:sp>
    </p:spTree>
    <p:extLst>
      <p:ext uri="{BB962C8B-B14F-4D97-AF65-F5344CB8AC3E}">
        <p14:creationId xmlns:p14="http://schemas.microsoft.com/office/powerpoint/2010/main" val="1461758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4 motif chapter title Frankfurt T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mj-lt"/>
              <a:cs typeface="DeutscheBank" panose="020B0503020202030204" pitchFamily="34" charset="0"/>
            </a:endParaRPr>
          </a:p>
        </p:txBody>
      </p:sp>
      <p:sp>
        <p:nvSpPr>
          <p:cNvPr id="2" name="Google Shape;12;p7" descr="Transparent expanding box on TAL photo background">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solidFill>
            <a:schemeClr val="accent1">
              <a:alpha val="7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platzhalter 28">
            <a:extLst>
              <a:ext uri="{FF2B5EF4-FFF2-40B4-BE49-F238E27FC236}">
                <a16:creationId xmlns:a16="http://schemas.microsoft.com/office/drawing/2014/main" id="{A182C8B6-D103-DF9D-A77A-0C77717421B9}"/>
              </a:ext>
            </a:extLst>
          </p:cNvPr>
          <p:cNvSpPr>
            <a:spLocks noGrp="1"/>
          </p:cNvSpPr>
          <p:nvPr>
            <p:ph type="body" sz="quarter" idx="11" hasCustomPrompt="1"/>
          </p:nvPr>
        </p:nvSpPr>
        <p:spPr>
          <a:xfrm>
            <a:off x="971550" y="1617663"/>
            <a:ext cx="9599613" cy="2482850"/>
          </a:xfrm>
          <a:prstGeom prst="rect">
            <a:avLst/>
          </a:prstGeom>
        </p:spPr>
        <p:txBody>
          <a:bodyPr lIns="0" tIns="0" rIns="0" bIns="0" anchor="b" anchorCtr="0">
            <a:noAutofit/>
          </a:bodyPr>
          <a:lstStyle>
            <a:lvl1pPr>
              <a:defRPr sz="4000" b="0">
                <a:solidFill>
                  <a:srgbClr val="00A3E0"/>
                </a:solidFill>
              </a:defRPr>
            </a:lvl1pPr>
            <a:lvl2pPr>
              <a:defRPr sz="4000" b="1"/>
            </a:lvl2pPr>
          </a:lstStyle>
          <a:p>
            <a:pPr lvl="0"/>
            <a:r>
              <a:rPr lang="en-GB" noProof="0"/>
              <a:t>Click to edit topline</a:t>
            </a:r>
          </a:p>
          <a:p>
            <a:pPr lvl="1"/>
            <a:r>
              <a:rPr lang="en-GB" noProof="0"/>
              <a:t>Click to edit chapter headline</a:t>
            </a:r>
          </a:p>
        </p:txBody>
      </p:sp>
    </p:spTree>
    <p:extLst>
      <p:ext uri="{BB962C8B-B14F-4D97-AF65-F5344CB8AC3E}">
        <p14:creationId xmlns:p14="http://schemas.microsoft.com/office/powerpoint/2010/main" val="35529731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4 motif chapter title bird perspectiv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A4AB4546-2D66-CD6D-4031-2AA2612DEEEC}"/>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mj-lt"/>
              <a:cs typeface="DeutscheBank" panose="020B0503020202030204" pitchFamily="34" charset="0"/>
            </a:endParaRPr>
          </a:p>
        </p:txBody>
      </p:sp>
      <p:sp>
        <p:nvSpPr>
          <p:cNvPr id="2" name="Google Shape;12;p7" descr="Transparent expanding box on birds view photo of ocean coast line">
            <a:extLst>
              <a:ext uri="{FF2B5EF4-FFF2-40B4-BE49-F238E27FC236}">
                <a16:creationId xmlns:a16="http://schemas.microsoft.com/office/drawing/2014/main" id="{F04E87A9-E065-CB54-D554-7EC2EF386713}"/>
              </a:ext>
            </a:extLst>
          </p:cNvPr>
          <p:cNvSpPr/>
          <p:nvPr userDrawn="1"/>
        </p:nvSpPr>
        <p:spPr>
          <a:xfrm>
            <a:off x="646113" y="1296000"/>
            <a:ext cx="10248899" cy="4912713"/>
          </a:xfrm>
          <a:prstGeom prst="rect">
            <a:avLst/>
          </a:prstGeom>
          <a:solidFill>
            <a:schemeClr val="accent1">
              <a:alpha val="7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platzhalter 28">
            <a:extLst>
              <a:ext uri="{FF2B5EF4-FFF2-40B4-BE49-F238E27FC236}">
                <a16:creationId xmlns:a16="http://schemas.microsoft.com/office/drawing/2014/main" id="{A182C8B6-D103-DF9D-A77A-0C77717421B9}"/>
              </a:ext>
            </a:extLst>
          </p:cNvPr>
          <p:cNvSpPr>
            <a:spLocks noGrp="1"/>
          </p:cNvSpPr>
          <p:nvPr>
            <p:ph type="body" sz="quarter" idx="11" hasCustomPrompt="1"/>
          </p:nvPr>
        </p:nvSpPr>
        <p:spPr>
          <a:xfrm>
            <a:off x="971550" y="1617663"/>
            <a:ext cx="9599613" cy="2482850"/>
          </a:xfrm>
          <a:prstGeom prst="rect">
            <a:avLst/>
          </a:prstGeom>
        </p:spPr>
        <p:txBody>
          <a:bodyPr lIns="0" tIns="0" rIns="0" bIns="0" anchor="b" anchorCtr="0">
            <a:noAutofit/>
          </a:bodyPr>
          <a:lstStyle>
            <a:lvl1pPr>
              <a:defRPr sz="4000" b="0">
                <a:solidFill>
                  <a:srgbClr val="00A3E0"/>
                </a:solidFill>
                <a:latin typeface="DeutscheBank Light" panose="020B0403020202030204" pitchFamily="34" charset="0"/>
                <a:ea typeface="DeutscheBank Light" panose="020B0403020202030204" pitchFamily="34" charset="0"/>
              </a:defRPr>
            </a:lvl1pPr>
            <a:lvl2pPr>
              <a:defRPr sz="4000" b="0">
                <a:latin typeface="DeutscheBank Medium" panose="020B0603020202030204" pitchFamily="34" charset="0"/>
                <a:ea typeface="DeutscheBank Medium" panose="020B0603020202030204" pitchFamily="34" charset="0"/>
              </a:defRPr>
            </a:lvl2pPr>
          </a:lstStyle>
          <a:p>
            <a:pPr lvl="0"/>
            <a:r>
              <a:rPr lang="en-GB" noProof="0"/>
              <a:t>Click to edit topline</a:t>
            </a:r>
          </a:p>
          <a:p>
            <a:pPr lvl="1"/>
            <a:r>
              <a:rPr lang="en-GB" noProof="0"/>
              <a:t>Click to edit chapter headline</a:t>
            </a:r>
          </a:p>
        </p:txBody>
      </p:sp>
    </p:spTree>
    <p:extLst>
      <p:ext uri="{BB962C8B-B14F-4D97-AF65-F5344CB8AC3E}">
        <p14:creationId xmlns:p14="http://schemas.microsoft.com/office/powerpoint/2010/main" val="10435681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1 table of contents">
    <p:spTree>
      <p:nvGrpSpPr>
        <p:cNvPr id="1" name=""/>
        <p:cNvGrpSpPr/>
        <p:nvPr/>
      </p:nvGrpSpPr>
      <p:grpSpPr>
        <a:xfrm>
          <a:off x="0" y="0"/>
          <a:ext cx="0" cy="0"/>
          <a:chOff x="0" y="0"/>
          <a:chExt cx="0" cy="0"/>
        </a:xfrm>
      </p:grpSpPr>
      <p:sp>
        <p:nvSpPr>
          <p:cNvPr id="8" name="Title Placeholder 12">
            <a:extLst>
              <a:ext uri="{FF2B5EF4-FFF2-40B4-BE49-F238E27FC236}">
                <a16:creationId xmlns:a16="http://schemas.microsoft.com/office/drawing/2014/main" id="{2634F715-CC4E-834F-CC2F-C0339A94BC3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lvl1pPr>
              <a:defRPr/>
            </a:lvl1pPr>
          </a:lstStyle>
          <a:p>
            <a:r>
              <a:rPr lang="en-GB" noProof="0"/>
              <a:t>Edit table of contents title</a:t>
            </a:r>
            <a:endParaRPr lang="en-GB"/>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442913" y="1376363"/>
            <a:ext cx="11304000" cy="4824412"/>
          </a:xfrm>
        </p:spPr>
        <p:txBody>
          <a:bodyPr numCol="2" spcCol="273600"/>
          <a:lstStyle>
            <a:lvl1pPr marL="359824" indent="-359824">
              <a:lnSpc>
                <a:spcPct val="100000"/>
              </a:lnSpc>
              <a:spcBef>
                <a:spcPts val="1600"/>
              </a:spcBef>
              <a:buFont typeface="+mj-lt"/>
              <a:buAutoNum type="arabicPeriod"/>
              <a:defRPr sz="1600" b="1">
                <a:solidFill>
                  <a:srgbClr val="1E2A78"/>
                </a:solidFill>
                <a:latin typeface="+mn-lt"/>
                <a:ea typeface="DeutscheBank Medium" panose="020B0603020202030204" pitchFamily="34" charset="0"/>
              </a:defRPr>
            </a:lvl1pPr>
            <a:lvl2pPr marL="720000" indent="-359824">
              <a:lnSpc>
                <a:spcPct val="100000"/>
              </a:lnSpc>
              <a:buFont typeface="+mj-lt"/>
              <a:buNone/>
              <a:tabLst>
                <a:tab pos="717533" algn="l"/>
                <a:tab pos="9567094" algn="r"/>
              </a:tabLst>
              <a:defRPr sz="1400" u="none">
                <a:solidFill>
                  <a:schemeClr val="tx1"/>
                </a:solidFill>
              </a:defRPr>
            </a:lvl2pPr>
          </a:lstStyle>
          <a:p>
            <a:pPr lvl="0"/>
            <a:r>
              <a:rPr lang="en-GB" noProof="0"/>
              <a:t>Chapter</a:t>
            </a:r>
          </a:p>
          <a:p>
            <a:pPr lvl="1"/>
            <a:r>
              <a:rPr lang="en-GB" noProof="0"/>
              <a:t>1.1	Sub-chapter	Page X</a:t>
            </a:r>
          </a:p>
          <a:p>
            <a:pPr lvl="1"/>
            <a:endParaRPr lang="en-GB" noProof="0"/>
          </a:p>
        </p:txBody>
      </p:sp>
      <p:sp>
        <p:nvSpPr>
          <p:cNvPr id="7" name="Foliennummernplatzhalter 1">
            <a:extLst>
              <a:ext uri="{FF2B5EF4-FFF2-40B4-BE49-F238E27FC236}">
                <a16:creationId xmlns:a16="http://schemas.microsoft.com/office/drawing/2014/main" id="{E9EA86EE-2AEA-799E-E9F1-45368B4E955D}"/>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
        <p:nvSpPr>
          <p:cNvPr id="2" name="Inhaltsplatzhalter 13">
            <a:extLst>
              <a:ext uri="{FF2B5EF4-FFF2-40B4-BE49-F238E27FC236}">
                <a16:creationId xmlns:a16="http://schemas.microsoft.com/office/drawing/2014/main" id="{3837223E-1A45-EE79-8119-D3C755846373}"/>
              </a:ext>
            </a:extLst>
          </p:cNvPr>
          <p:cNvSpPr>
            <a:spLocks noGrp="1"/>
          </p:cNvSpPr>
          <p:nvPr>
            <p:ph sz="quarter" idx="13" hasCustomPrompt="1"/>
          </p:nvPr>
        </p:nvSpPr>
        <p:spPr>
          <a:xfrm>
            <a:off x="442800" y="6199631"/>
            <a:ext cx="11304000" cy="152400"/>
          </a:xfrm>
        </p:spPr>
        <p:txBody>
          <a:bodyPr/>
          <a:lstStyle>
            <a:lvl1pPr>
              <a:lnSpc>
                <a:spcPct val="100000"/>
              </a:lnSpc>
              <a:defRPr sz="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Source:</a:t>
            </a:r>
          </a:p>
        </p:txBody>
      </p:sp>
    </p:spTree>
    <p:extLst>
      <p:ext uri="{BB962C8B-B14F-4D97-AF65-F5344CB8AC3E}">
        <p14:creationId xmlns:p14="http://schemas.microsoft.com/office/powerpoint/2010/main" val="3795977282"/>
      </p:ext>
    </p:extLst>
  </p:cSld>
  <p:clrMapOvr>
    <a:masterClrMapping/>
  </p:clrMapOvr>
  <p:transition>
    <p:wipe dir="r"/>
  </p:transition>
  <p:extLst>
    <p:ext uri="{DCECCB84-F9BA-43D5-87BE-67443E8EF086}">
      <p15:sldGuideLst xmlns:p15="http://schemas.microsoft.com/office/powerpoint/2012/main">
        <p15:guide id="2" pos="3931">
          <p15:clr>
            <a:srgbClr val="FBAE40"/>
          </p15:clr>
        </p15:guide>
        <p15:guide id="3" pos="374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1.2 table of contents">
    <p:spTree>
      <p:nvGrpSpPr>
        <p:cNvPr id="1" name=""/>
        <p:cNvGrpSpPr/>
        <p:nvPr/>
      </p:nvGrpSpPr>
      <p:grpSpPr>
        <a:xfrm>
          <a:off x="0" y="0"/>
          <a:ext cx="0" cy="0"/>
          <a:chOff x="0" y="0"/>
          <a:chExt cx="0" cy="0"/>
        </a:xfrm>
      </p:grpSpPr>
      <p:sp>
        <p:nvSpPr>
          <p:cNvPr id="6" name="Title Placeholder 12">
            <a:extLst>
              <a:ext uri="{FF2B5EF4-FFF2-40B4-BE49-F238E27FC236}">
                <a16:creationId xmlns:a16="http://schemas.microsoft.com/office/drawing/2014/main" id="{BF2C62E0-7245-BA85-4683-48199EADB770}"/>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lvl1pPr>
              <a:defRPr/>
            </a:lvl1pPr>
          </a:lstStyle>
          <a:p>
            <a:r>
              <a:rPr lang="en-GB" noProof="0"/>
              <a:t>Edit table of contents title</a:t>
            </a:r>
            <a:endParaRPr lang="en-GB"/>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442913" y="1376363"/>
            <a:ext cx="11304000" cy="4824412"/>
          </a:xfrm>
        </p:spPr>
        <p:txBody>
          <a:bodyPr numCol="2" spcCol="273600"/>
          <a:lstStyle>
            <a:lvl1pPr marL="360000" indent="-360000">
              <a:lnSpc>
                <a:spcPct val="100000"/>
              </a:lnSpc>
              <a:spcBef>
                <a:spcPts val="1600"/>
              </a:spcBef>
              <a:buFont typeface="+mj-lt"/>
              <a:buAutoNum type="arabicPeriod"/>
              <a:defRPr sz="1600" b="1">
                <a:solidFill>
                  <a:srgbClr val="1E2A78"/>
                </a:solidFill>
                <a:latin typeface="+mn-lt"/>
                <a:ea typeface="DeutscheBank Medium" panose="020B0603020202030204" pitchFamily="34" charset="0"/>
              </a:defRPr>
            </a:lvl1pPr>
            <a:lvl2pPr marL="720000" indent="-360000">
              <a:lnSpc>
                <a:spcPct val="100000"/>
              </a:lnSpc>
              <a:buFont typeface="+mj-lt"/>
              <a:buNone/>
              <a:tabLst>
                <a:tab pos="9567094" algn="r"/>
              </a:tabLst>
              <a:defRPr sz="1100" u="none">
                <a:solidFill>
                  <a:schemeClr val="tx1"/>
                </a:solidFill>
              </a:defRPr>
            </a:lvl2pPr>
            <a:lvl3pPr marL="720000" indent="0">
              <a:buNone/>
              <a:defRPr sz="1100">
                <a:solidFill>
                  <a:schemeClr val="tx1"/>
                </a:solidFill>
              </a:defRPr>
            </a:lvl3pPr>
            <a:lvl4pPr marL="358775" indent="0" algn="just">
              <a:buNone/>
              <a:defRPr sz="1100">
                <a:solidFill>
                  <a:srgbClr val="1E2A78"/>
                </a:solidFill>
              </a:defRPr>
            </a:lvl4pPr>
          </a:lstStyle>
          <a:p>
            <a:pPr lvl="0"/>
            <a:r>
              <a:rPr lang="en-GB" noProof="0"/>
              <a:t>Chapter</a:t>
            </a:r>
          </a:p>
          <a:p>
            <a:pPr lvl="1"/>
            <a:r>
              <a:rPr lang="en-GB" noProof="0"/>
              <a:t>1.1	Sub-chapter	Page X</a:t>
            </a:r>
          </a:p>
          <a:p>
            <a:pPr lvl="2"/>
            <a:r>
              <a:rPr lang="en-GB" noProof="0"/>
              <a:t>Sub-chapter details</a:t>
            </a:r>
          </a:p>
          <a:p>
            <a:pPr lvl="3"/>
            <a:r>
              <a:rPr lang="en-GB">
                <a:solidFill>
                  <a:srgbClr val="1E2A78"/>
                </a:solidFill>
              </a:rPr>
              <a:t>_______________________________________________________________________________</a:t>
            </a:r>
            <a:endParaRPr lang="en-GB" noProof="0"/>
          </a:p>
        </p:txBody>
      </p:sp>
      <p:sp>
        <p:nvSpPr>
          <p:cNvPr id="5" name="Foliennummernplatzhalter 1">
            <a:extLst>
              <a:ext uri="{FF2B5EF4-FFF2-40B4-BE49-F238E27FC236}">
                <a16:creationId xmlns:a16="http://schemas.microsoft.com/office/drawing/2014/main" id="{1749F51A-2B83-ACCE-75D5-84C9DB3EF42D}"/>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08378118"/>
      </p:ext>
    </p:extLst>
  </p:cSld>
  <p:clrMapOvr>
    <a:masterClrMapping/>
  </p:clrMapOvr>
  <p:transition>
    <p:wipe dir="r"/>
  </p:transition>
  <p:extLst>
    <p:ext uri="{DCECCB84-F9BA-43D5-87BE-67443E8EF086}">
      <p15:sldGuideLst xmlns:p15="http://schemas.microsoft.com/office/powerpoint/2012/main">
        <p15:guide id="2" pos="3749">
          <p15:clr>
            <a:srgbClr val="FBAE40"/>
          </p15:clr>
        </p15:guide>
        <p15:guide id="3" pos="393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2.1 content with 1 column">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9640929F-8E5F-5637-55F2-BA2BA82D863D}"/>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810512"/>
            <a:ext cx="11304000" cy="438912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4" name="Foliennummernplatzhalter 1">
            <a:extLst>
              <a:ext uri="{FF2B5EF4-FFF2-40B4-BE49-F238E27FC236}">
                <a16:creationId xmlns:a16="http://schemas.microsoft.com/office/drawing/2014/main" id="{8A2AC264-79FB-4261-431A-D13284993C8F}"/>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cxnSp>
        <p:nvCxnSpPr>
          <p:cNvPr id="2" name="Straight Connector 1">
            <a:extLst>
              <a:ext uri="{FF2B5EF4-FFF2-40B4-BE49-F238E27FC236}">
                <a16:creationId xmlns:a16="http://schemas.microsoft.com/office/drawing/2014/main" id="{1DC9987F-CFE0-0DA5-484A-2A5A128F2E07}"/>
              </a:ext>
            </a:extLst>
          </p:cNvPr>
          <p:cNvCxnSpPr>
            <a:cxnSpLocks/>
          </p:cNvCxnSpPr>
          <p:nvPr userDrawn="1"/>
        </p:nvCxnSpPr>
        <p:spPr>
          <a:xfrm>
            <a:off x="442800" y="1645920"/>
            <a:ext cx="11301984"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sp>
        <p:nvSpPr>
          <p:cNvPr id="3" name="Text Placeholder 11">
            <a:extLst>
              <a:ext uri="{FF2B5EF4-FFF2-40B4-BE49-F238E27FC236}">
                <a16:creationId xmlns:a16="http://schemas.microsoft.com/office/drawing/2014/main" id="{0EC5052E-5910-C775-A8CC-7AEF9A803F68}"/>
              </a:ext>
            </a:extLst>
          </p:cNvPr>
          <p:cNvSpPr>
            <a:spLocks noGrp="1"/>
          </p:cNvSpPr>
          <p:nvPr>
            <p:ph type="body" sz="quarter" idx="12" hasCustomPrompt="1"/>
          </p:nvPr>
        </p:nvSpPr>
        <p:spPr>
          <a:xfrm>
            <a:off x="438912" y="1371600"/>
            <a:ext cx="11301984" cy="246221"/>
          </a:xfrm>
        </p:spPr>
        <p:txBody>
          <a:bodyPr>
            <a:spAutoFit/>
          </a:bodyPr>
          <a:lstStyle>
            <a:lvl1pPr>
              <a:defRPr>
                <a:solidFill>
                  <a:srgbClr val="1E2A78"/>
                </a:solidFill>
              </a:defRPr>
            </a:lvl1pPr>
          </a:lstStyle>
          <a:p>
            <a:pPr lvl="0"/>
            <a:r>
              <a:rPr lang="de-DE"/>
              <a:t>Edit title</a:t>
            </a:r>
            <a:endParaRPr lang="en-US"/>
          </a:p>
        </p:txBody>
      </p:sp>
      <p:sp>
        <p:nvSpPr>
          <p:cNvPr id="6" name="Inhaltsplatzhalter 13">
            <a:extLst>
              <a:ext uri="{FF2B5EF4-FFF2-40B4-BE49-F238E27FC236}">
                <a16:creationId xmlns:a16="http://schemas.microsoft.com/office/drawing/2014/main" id="{1A7FE73F-A746-8293-E571-0CC46685307B}"/>
              </a:ext>
            </a:extLst>
          </p:cNvPr>
          <p:cNvSpPr>
            <a:spLocks noGrp="1"/>
          </p:cNvSpPr>
          <p:nvPr>
            <p:ph sz="quarter" idx="13" hasCustomPrompt="1"/>
          </p:nvPr>
        </p:nvSpPr>
        <p:spPr>
          <a:xfrm>
            <a:off x="442800" y="6199631"/>
            <a:ext cx="11304000" cy="152400"/>
          </a:xfrm>
        </p:spPr>
        <p:txBody>
          <a:bodyPr anchor="t"/>
          <a:lstStyle>
            <a:lvl1pPr>
              <a:lnSpc>
                <a:spcPct val="100000"/>
              </a:lnSpc>
              <a:defRPr sz="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Source:</a:t>
            </a:r>
          </a:p>
        </p:txBody>
      </p:sp>
    </p:spTree>
    <p:extLst>
      <p:ext uri="{BB962C8B-B14F-4D97-AF65-F5344CB8AC3E}">
        <p14:creationId xmlns:p14="http://schemas.microsoft.com/office/powerpoint/2010/main" val="103169634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2.2.1 content with 1 column">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9640929F-8E5F-5637-55F2-BA2BA82D863D}"/>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810512"/>
            <a:ext cx="11304000" cy="319462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4" name="Foliennummernplatzhalter 1">
            <a:extLst>
              <a:ext uri="{FF2B5EF4-FFF2-40B4-BE49-F238E27FC236}">
                <a16:creationId xmlns:a16="http://schemas.microsoft.com/office/drawing/2014/main" id="{8A2AC264-79FB-4261-431A-D13284993C8F}"/>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cxnSp>
        <p:nvCxnSpPr>
          <p:cNvPr id="2" name="Straight Connector 1">
            <a:extLst>
              <a:ext uri="{FF2B5EF4-FFF2-40B4-BE49-F238E27FC236}">
                <a16:creationId xmlns:a16="http://schemas.microsoft.com/office/drawing/2014/main" id="{1DC9987F-CFE0-0DA5-484A-2A5A128F2E07}"/>
              </a:ext>
            </a:extLst>
          </p:cNvPr>
          <p:cNvCxnSpPr>
            <a:cxnSpLocks/>
          </p:cNvCxnSpPr>
          <p:nvPr userDrawn="1"/>
        </p:nvCxnSpPr>
        <p:spPr>
          <a:xfrm>
            <a:off x="442800" y="1645920"/>
            <a:ext cx="11301984"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sp>
        <p:nvSpPr>
          <p:cNvPr id="3" name="Text Placeholder 11">
            <a:extLst>
              <a:ext uri="{FF2B5EF4-FFF2-40B4-BE49-F238E27FC236}">
                <a16:creationId xmlns:a16="http://schemas.microsoft.com/office/drawing/2014/main" id="{0EC5052E-5910-C775-A8CC-7AEF9A803F68}"/>
              </a:ext>
            </a:extLst>
          </p:cNvPr>
          <p:cNvSpPr>
            <a:spLocks noGrp="1"/>
          </p:cNvSpPr>
          <p:nvPr>
            <p:ph type="body" sz="quarter" idx="12" hasCustomPrompt="1"/>
          </p:nvPr>
        </p:nvSpPr>
        <p:spPr>
          <a:xfrm>
            <a:off x="438912" y="1371600"/>
            <a:ext cx="11301984" cy="246221"/>
          </a:xfrm>
        </p:spPr>
        <p:txBody>
          <a:bodyPr>
            <a:spAutoFit/>
          </a:bodyPr>
          <a:lstStyle>
            <a:lvl1pPr>
              <a:defRPr>
                <a:solidFill>
                  <a:srgbClr val="1E2A78"/>
                </a:solidFill>
              </a:defRPr>
            </a:lvl1pPr>
          </a:lstStyle>
          <a:p>
            <a:pPr lvl="0"/>
            <a:r>
              <a:rPr lang="de-DE"/>
              <a:t>Edit title</a:t>
            </a:r>
            <a:endParaRPr lang="en-US"/>
          </a:p>
        </p:txBody>
      </p:sp>
      <p:sp>
        <p:nvSpPr>
          <p:cNvPr id="6" name="Inhaltsplatzhalter 13">
            <a:extLst>
              <a:ext uri="{FF2B5EF4-FFF2-40B4-BE49-F238E27FC236}">
                <a16:creationId xmlns:a16="http://schemas.microsoft.com/office/drawing/2014/main" id="{1A7FE73F-A746-8293-E571-0CC46685307B}"/>
              </a:ext>
            </a:extLst>
          </p:cNvPr>
          <p:cNvSpPr>
            <a:spLocks noGrp="1"/>
          </p:cNvSpPr>
          <p:nvPr>
            <p:ph sz="quarter" idx="13" hasCustomPrompt="1"/>
          </p:nvPr>
        </p:nvSpPr>
        <p:spPr>
          <a:xfrm>
            <a:off x="442800" y="6199631"/>
            <a:ext cx="11304000" cy="152400"/>
          </a:xfrm>
        </p:spPr>
        <p:txBody>
          <a:bodyPr anchor="t"/>
          <a:lstStyle>
            <a:lvl1pPr>
              <a:lnSpc>
                <a:spcPct val="100000"/>
              </a:lnSpc>
              <a:defRPr sz="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Source:</a:t>
            </a:r>
          </a:p>
        </p:txBody>
      </p:sp>
      <p:sp>
        <p:nvSpPr>
          <p:cNvPr id="7" name="Inhaltsplatzhalter 13">
            <a:extLst>
              <a:ext uri="{FF2B5EF4-FFF2-40B4-BE49-F238E27FC236}">
                <a16:creationId xmlns:a16="http://schemas.microsoft.com/office/drawing/2014/main" id="{01738818-6999-9282-C8EA-E113B9670CE9}"/>
              </a:ext>
            </a:extLst>
          </p:cNvPr>
          <p:cNvSpPr>
            <a:spLocks noGrp="1"/>
          </p:cNvSpPr>
          <p:nvPr>
            <p:ph sz="quarter" idx="14" hasCustomPrompt="1"/>
          </p:nvPr>
        </p:nvSpPr>
        <p:spPr>
          <a:xfrm>
            <a:off x="442800" y="5170405"/>
            <a:ext cx="11304000" cy="914400"/>
          </a:xfrm>
        </p:spPr>
        <p:txBody>
          <a:bodyPr lIns="91440" tIns="91440" rIns="91440" bIns="9144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93535136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2.2 content with 2 columns">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808564"/>
            <a:ext cx="5544000" cy="43906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6205088" y="1810139"/>
            <a:ext cx="5544000" cy="439063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cxnSp>
        <p:nvCxnSpPr>
          <p:cNvPr id="3" name="Straight Connector 2">
            <a:extLst>
              <a:ext uri="{FF2B5EF4-FFF2-40B4-BE49-F238E27FC236}">
                <a16:creationId xmlns:a16="http://schemas.microsoft.com/office/drawing/2014/main" id="{6F47F1A3-98F2-4BC1-0FB9-3B3C0E0A4536}"/>
              </a:ext>
            </a:extLst>
          </p:cNvPr>
          <p:cNvCxnSpPr>
            <a:cxnSpLocks/>
          </p:cNvCxnSpPr>
          <p:nvPr userDrawn="1"/>
        </p:nvCxnSpPr>
        <p:spPr>
          <a:xfrm>
            <a:off x="442800" y="1645920"/>
            <a:ext cx="5541264"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1E12DD5-5872-C313-7D95-CDAEDB4F6F6E}"/>
              </a:ext>
            </a:extLst>
          </p:cNvPr>
          <p:cNvCxnSpPr>
            <a:cxnSpLocks/>
          </p:cNvCxnSpPr>
          <p:nvPr userDrawn="1"/>
        </p:nvCxnSpPr>
        <p:spPr>
          <a:xfrm>
            <a:off x="6207824" y="1645920"/>
            <a:ext cx="5541264"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sp>
        <p:nvSpPr>
          <p:cNvPr id="4" name="Text Placeholder 11">
            <a:extLst>
              <a:ext uri="{FF2B5EF4-FFF2-40B4-BE49-F238E27FC236}">
                <a16:creationId xmlns:a16="http://schemas.microsoft.com/office/drawing/2014/main" id="{15EEA972-1451-859C-0DB8-FC559A65842A}"/>
              </a:ext>
            </a:extLst>
          </p:cNvPr>
          <p:cNvSpPr>
            <a:spLocks noGrp="1"/>
          </p:cNvSpPr>
          <p:nvPr>
            <p:ph type="body" sz="quarter" idx="12" hasCustomPrompt="1"/>
          </p:nvPr>
        </p:nvSpPr>
        <p:spPr>
          <a:xfrm>
            <a:off x="438912" y="1371600"/>
            <a:ext cx="5541264" cy="246221"/>
          </a:xfrm>
        </p:spPr>
        <p:txBody>
          <a:bodyPr>
            <a:spAutoFit/>
          </a:bodyPr>
          <a:lstStyle>
            <a:lvl1pPr>
              <a:defRPr>
                <a:solidFill>
                  <a:srgbClr val="1E2A78"/>
                </a:solidFill>
              </a:defRPr>
            </a:lvl1pPr>
          </a:lstStyle>
          <a:p>
            <a:pPr lvl="0"/>
            <a:r>
              <a:rPr lang="de-DE"/>
              <a:t>Edit title</a:t>
            </a:r>
            <a:endParaRPr lang="en-US"/>
          </a:p>
        </p:txBody>
      </p:sp>
      <p:sp>
        <p:nvSpPr>
          <p:cNvPr id="10" name="Text Placeholder 11">
            <a:extLst>
              <a:ext uri="{FF2B5EF4-FFF2-40B4-BE49-F238E27FC236}">
                <a16:creationId xmlns:a16="http://schemas.microsoft.com/office/drawing/2014/main" id="{5219B5AE-8583-8391-8B5F-ABBB6E04ED41}"/>
              </a:ext>
            </a:extLst>
          </p:cNvPr>
          <p:cNvSpPr>
            <a:spLocks noGrp="1"/>
          </p:cNvSpPr>
          <p:nvPr>
            <p:ph type="body" sz="quarter" idx="13" hasCustomPrompt="1"/>
          </p:nvPr>
        </p:nvSpPr>
        <p:spPr>
          <a:xfrm>
            <a:off x="6208776" y="1371600"/>
            <a:ext cx="5541264" cy="246221"/>
          </a:xfrm>
        </p:spPr>
        <p:txBody>
          <a:bodyPr>
            <a:spAutoFit/>
          </a:bodyPr>
          <a:lstStyle>
            <a:lvl1pPr>
              <a:defRPr>
                <a:solidFill>
                  <a:srgbClr val="1E2A78"/>
                </a:solidFill>
              </a:defRPr>
            </a:lvl1pPr>
          </a:lstStyle>
          <a:p>
            <a:pPr lvl="0"/>
            <a:r>
              <a:rPr lang="de-DE"/>
              <a:t>Edit title</a:t>
            </a:r>
            <a:endParaRPr lang="en-US"/>
          </a:p>
        </p:txBody>
      </p:sp>
      <p:sp>
        <p:nvSpPr>
          <p:cNvPr id="8" name="Inhaltsplatzhalter 13">
            <a:extLst>
              <a:ext uri="{FF2B5EF4-FFF2-40B4-BE49-F238E27FC236}">
                <a16:creationId xmlns:a16="http://schemas.microsoft.com/office/drawing/2014/main" id="{2A44A11B-510E-5699-4F4C-AC7B826E317C}"/>
              </a:ext>
            </a:extLst>
          </p:cNvPr>
          <p:cNvSpPr>
            <a:spLocks noGrp="1"/>
          </p:cNvSpPr>
          <p:nvPr>
            <p:ph sz="quarter" idx="14" hasCustomPrompt="1"/>
          </p:nvPr>
        </p:nvSpPr>
        <p:spPr>
          <a:xfrm>
            <a:off x="442800" y="6199631"/>
            <a:ext cx="11304000" cy="152400"/>
          </a:xfrm>
        </p:spPr>
        <p:txBody>
          <a:bodyPr anchor="t"/>
          <a:lstStyle>
            <a:lvl1pPr>
              <a:lnSpc>
                <a:spcPct val="100000"/>
              </a:lnSpc>
              <a:defRPr sz="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Source:</a:t>
            </a:r>
          </a:p>
        </p:txBody>
      </p:sp>
    </p:spTree>
    <p:extLst>
      <p:ext uri="{BB962C8B-B14F-4D97-AF65-F5344CB8AC3E}">
        <p14:creationId xmlns:p14="http://schemas.microsoft.com/office/powerpoint/2010/main" val="2157524067"/>
      </p:ext>
    </p:extLst>
  </p:cSld>
  <p:clrMapOvr>
    <a:masterClrMapping/>
  </p:clrMapOvr>
  <p:transition>
    <p:wipe dir="r"/>
  </p:transition>
  <p:extLst>
    <p:ext uri="{DCECCB84-F9BA-43D5-87BE-67443E8EF086}">
      <p15:sldGuideLst xmlns:p15="http://schemas.microsoft.com/office/powerpoint/2012/main">
        <p15:guide id="1" pos="3908">
          <p15:clr>
            <a:srgbClr val="FBAE40"/>
          </p15:clr>
        </p15:guide>
        <p15:guide id="2" pos="377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1.2 motif title frankfurt t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BB1794BD-9BBF-B45D-D7B1-7A0B84F160C8}"/>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3" name="Google Shape;12;p7" descr="Transparent expanding box on TAL Towers photo background">
            <a:extLst>
              <a:ext uri="{FF2B5EF4-FFF2-40B4-BE49-F238E27FC236}">
                <a16:creationId xmlns:a16="http://schemas.microsoft.com/office/drawing/2014/main" id="{7CC9EC2C-EF73-6198-CFFB-7BD377623DA5}"/>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0DC4FC81-3777-0F9F-5BCA-7EF7677AEAA0}"/>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6" name="Textplatzhalter 3">
            <a:extLst>
              <a:ext uri="{FF2B5EF4-FFF2-40B4-BE49-F238E27FC236}">
                <a16:creationId xmlns:a16="http://schemas.microsoft.com/office/drawing/2014/main" id="{8C50329A-0947-D047-BAC2-6D5A78965D3C}"/>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3" name="Textplatzhalter 4">
            <a:extLst>
              <a:ext uri="{FF2B5EF4-FFF2-40B4-BE49-F238E27FC236}">
                <a16:creationId xmlns:a16="http://schemas.microsoft.com/office/drawing/2014/main" id="{66AAA56B-0F5C-DC1E-72EF-1BB29A7FDAF4}"/>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518D9B3B-F7BD-133D-B50B-B9227F6B2A0C}"/>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2" name="Title 3">
            <a:extLst>
              <a:ext uri="{FF2B5EF4-FFF2-40B4-BE49-F238E27FC236}">
                <a16:creationId xmlns:a16="http://schemas.microsoft.com/office/drawing/2014/main" id="{298C450E-CD83-D738-649E-5260C7D6A499}"/>
              </a:ext>
            </a:extLst>
          </p:cNvPr>
          <p:cNvSpPr>
            <a:spLocks noGrp="1"/>
          </p:cNvSpPr>
          <p:nvPr>
            <p:ph type="title" hasCustomPrompt="1"/>
          </p:nvPr>
        </p:nvSpPr>
        <p:spPr>
          <a:xfrm>
            <a:off x="972000" y="2142000"/>
            <a:ext cx="9590400" cy="14112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31076757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2.2.2 content with 2 columns">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808563"/>
            <a:ext cx="5544000" cy="310896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6205088" y="1810139"/>
            <a:ext cx="5544000" cy="310896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cxnSp>
        <p:nvCxnSpPr>
          <p:cNvPr id="3" name="Straight Connector 2">
            <a:extLst>
              <a:ext uri="{FF2B5EF4-FFF2-40B4-BE49-F238E27FC236}">
                <a16:creationId xmlns:a16="http://schemas.microsoft.com/office/drawing/2014/main" id="{6F47F1A3-98F2-4BC1-0FB9-3B3C0E0A4536}"/>
              </a:ext>
            </a:extLst>
          </p:cNvPr>
          <p:cNvCxnSpPr>
            <a:cxnSpLocks/>
          </p:cNvCxnSpPr>
          <p:nvPr userDrawn="1"/>
        </p:nvCxnSpPr>
        <p:spPr>
          <a:xfrm>
            <a:off x="442800" y="1645920"/>
            <a:ext cx="5541264"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51E12DD5-5872-C313-7D95-CDAEDB4F6F6E}"/>
              </a:ext>
            </a:extLst>
          </p:cNvPr>
          <p:cNvCxnSpPr>
            <a:cxnSpLocks/>
          </p:cNvCxnSpPr>
          <p:nvPr userDrawn="1"/>
        </p:nvCxnSpPr>
        <p:spPr>
          <a:xfrm>
            <a:off x="6207824" y="1645920"/>
            <a:ext cx="5541264"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sp>
        <p:nvSpPr>
          <p:cNvPr id="4" name="Inhaltsplatzhalter 13">
            <a:extLst>
              <a:ext uri="{FF2B5EF4-FFF2-40B4-BE49-F238E27FC236}">
                <a16:creationId xmlns:a16="http://schemas.microsoft.com/office/drawing/2014/main" id="{8909AD35-6B69-E1C2-3B00-D36CF02B1223}"/>
              </a:ext>
            </a:extLst>
          </p:cNvPr>
          <p:cNvSpPr>
            <a:spLocks noGrp="1"/>
          </p:cNvSpPr>
          <p:nvPr>
            <p:ph sz="quarter" idx="12" hasCustomPrompt="1"/>
          </p:nvPr>
        </p:nvSpPr>
        <p:spPr>
          <a:xfrm>
            <a:off x="442800" y="5170405"/>
            <a:ext cx="11304000" cy="914400"/>
          </a:xfrm>
        </p:spPr>
        <p:txBody>
          <a:bodyPr lIns="91440" tIns="91440" rIns="91440" bIns="9144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Inhaltsplatzhalter 13">
            <a:extLst>
              <a:ext uri="{FF2B5EF4-FFF2-40B4-BE49-F238E27FC236}">
                <a16:creationId xmlns:a16="http://schemas.microsoft.com/office/drawing/2014/main" id="{1642F490-5462-ED20-6ADB-8B24E7599048}"/>
              </a:ext>
            </a:extLst>
          </p:cNvPr>
          <p:cNvSpPr>
            <a:spLocks noGrp="1"/>
          </p:cNvSpPr>
          <p:nvPr>
            <p:ph sz="quarter" idx="13" hasCustomPrompt="1"/>
          </p:nvPr>
        </p:nvSpPr>
        <p:spPr>
          <a:xfrm>
            <a:off x="442800" y="6199631"/>
            <a:ext cx="11304000" cy="152400"/>
          </a:xfrm>
        </p:spPr>
        <p:txBody>
          <a:bodyPr anchor="t"/>
          <a:lstStyle>
            <a:lvl1pPr>
              <a:lnSpc>
                <a:spcPct val="100000"/>
              </a:lnSpc>
              <a:defRPr sz="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Source:</a:t>
            </a:r>
          </a:p>
        </p:txBody>
      </p:sp>
      <p:sp>
        <p:nvSpPr>
          <p:cNvPr id="11" name="Text Placeholder 11">
            <a:extLst>
              <a:ext uri="{FF2B5EF4-FFF2-40B4-BE49-F238E27FC236}">
                <a16:creationId xmlns:a16="http://schemas.microsoft.com/office/drawing/2014/main" id="{2BEADD38-0AD5-B9ED-F655-7500ED346FD8}"/>
              </a:ext>
            </a:extLst>
          </p:cNvPr>
          <p:cNvSpPr>
            <a:spLocks noGrp="1"/>
          </p:cNvSpPr>
          <p:nvPr>
            <p:ph type="body" sz="quarter" idx="14" hasCustomPrompt="1"/>
          </p:nvPr>
        </p:nvSpPr>
        <p:spPr>
          <a:xfrm>
            <a:off x="438912" y="1371600"/>
            <a:ext cx="5541264" cy="246221"/>
          </a:xfrm>
        </p:spPr>
        <p:txBody>
          <a:bodyPr>
            <a:spAutoFit/>
          </a:bodyPr>
          <a:lstStyle>
            <a:lvl1pPr>
              <a:defRPr>
                <a:solidFill>
                  <a:srgbClr val="1E2A78"/>
                </a:solidFill>
              </a:defRPr>
            </a:lvl1pPr>
          </a:lstStyle>
          <a:p>
            <a:pPr lvl="0"/>
            <a:r>
              <a:rPr lang="de-DE"/>
              <a:t>Edit title</a:t>
            </a:r>
            <a:endParaRPr lang="en-US"/>
          </a:p>
        </p:txBody>
      </p:sp>
      <p:sp>
        <p:nvSpPr>
          <p:cNvPr id="12" name="Text Placeholder 11">
            <a:extLst>
              <a:ext uri="{FF2B5EF4-FFF2-40B4-BE49-F238E27FC236}">
                <a16:creationId xmlns:a16="http://schemas.microsoft.com/office/drawing/2014/main" id="{11747EE5-A2AD-CB0E-7280-24E3DB20F641}"/>
              </a:ext>
            </a:extLst>
          </p:cNvPr>
          <p:cNvSpPr>
            <a:spLocks noGrp="1"/>
          </p:cNvSpPr>
          <p:nvPr>
            <p:ph type="body" sz="quarter" idx="15" hasCustomPrompt="1"/>
          </p:nvPr>
        </p:nvSpPr>
        <p:spPr>
          <a:xfrm>
            <a:off x="6208776" y="1371600"/>
            <a:ext cx="5541264" cy="246221"/>
          </a:xfrm>
        </p:spPr>
        <p:txBody>
          <a:bodyPr>
            <a:spAutoFit/>
          </a:bodyPr>
          <a:lstStyle>
            <a:lvl1pPr>
              <a:defRPr>
                <a:solidFill>
                  <a:srgbClr val="1E2A78"/>
                </a:solidFill>
              </a:defRPr>
            </a:lvl1pPr>
          </a:lstStyle>
          <a:p>
            <a:pPr lvl="0"/>
            <a:r>
              <a:rPr lang="de-DE"/>
              <a:t>Edit title</a:t>
            </a:r>
            <a:endParaRPr lang="en-US"/>
          </a:p>
        </p:txBody>
      </p:sp>
    </p:spTree>
    <p:extLst>
      <p:ext uri="{BB962C8B-B14F-4D97-AF65-F5344CB8AC3E}">
        <p14:creationId xmlns:p14="http://schemas.microsoft.com/office/powerpoint/2010/main" val="4257846352"/>
      </p:ext>
    </p:extLst>
  </p:cSld>
  <p:clrMapOvr>
    <a:masterClrMapping/>
  </p:clrMapOvr>
  <p:transition>
    <p:wipe dir="r"/>
  </p:transition>
  <p:extLst>
    <p:ext uri="{DCECCB84-F9BA-43D5-87BE-67443E8EF086}">
      <p15:sldGuideLst xmlns:p15="http://schemas.microsoft.com/office/powerpoint/2012/main">
        <p15:guide id="1" pos="3908">
          <p15:clr>
            <a:srgbClr val="FBAE40"/>
          </p15:clr>
        </p15:guide>
        <p15:guide id="2" pos="377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2.3 content with 3 columns">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AAEA86B8-DA77-DA29-8D8E-3132E6D1795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799" y="1808563"/>
            <a:ext cx="3636000" cy="439221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8" name="Inhaltsplatzhalter 13">
            <a:extLst>
              <a:ext uri="{FF2B5EF4-FFF2-40B4-BE49-F238E27FC236}">
                <a16:creationId xmlns:a16="http://schemas.microsoft.com/office/drawing/2014/main" id="{D34283E4-4B00-A561-763D-DF6E3E9A881D}"/>
              </a:ext>
            </a:extLst>
          </p:cNvPr>
          <p:cNvSpPr>
            <a:spLocks noGrp="1"/>
          </p:cNvSpPr>
          <p:nvPr>
            <p:ph sz="quarter" idx="11" hasCustomPrompt="1"/>
          </p:nvPr>
        </p:nvSpPr>
        <p:spPr>
          <a:xfrm>
            <a:off x="4278000" y="1808563"/>
            <a:ext cx="3636000" cy="43922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9" name="Inhaltsplatzhalter 13">
            <a:extLst>
              <a:ext uri="{FF2B5EF4-FFF2-40B4-BE49-F238E27FC236}">
                <a16:creationId xmlns:a16="http://schemas.microsoft.com/office/drawing/2014/main" id="{9A947CA2-EC95-FB51-AA32-495DF9A8C932}"/>
              </a:ext>
            </a:extLst>
          </p:cNvPr>
          <p:cNvSpPr>
            <a:spLocks noGrp="1"/>
          </p:cNvSpPr>
          <p:nvPr>
            <p:ph sz="quarter" idx="12" hasCustomPrompt="1"/>
          </p:nvPr>
        </p:nvSpPr>
        <p:spPr>
          <a:xfrm>
            <a:off x="8113088" y="1807400"/>
            <a:ext cx="3636000" cy="43922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2" name="Foliennummernplatzhalter 1">
            <a:extLst>
              <a:ext uri="{FF2B5EF4-FFF2-40B4-BE49-F238E27FC236}">
                <a16:creationId xmlns:a16="http://schemas.microsoft.com/office/drawing/2014/main" id="{6A4F6BE9-2084-AE4F-92DD-4DB1AA9AB0E3}"/>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cxnSp>
        <p:nvCxnSpPr>
          <p:cNvPr id="3" name="Straight Connector 2">
            <a:extLst>
              <a:ext uri="{FF2B5EF4-FFF2-40B4-BE49-F238E27FC236}">
                <a16:creationId xmlns:a16="http://schemas.microsoft.com/office/drawing/2014/main" id="{E5BD62E1-837A-3653-E198-1289268634E4}"/>
              </a:ext>
            </a:extLst>
          </p:cNvPr>
          <p:cNvCxnSpPr>
            <a:cxnSpLocks/>
          </p:cNvCxnSpPr>
          <p:nvPr userDrawn="1"/>
        </p:nvCxnSpPr>
        <p:spPr>
          <a:xfrm>
            <a:off x="442800" y="1645920"/>
            <a:ext cx="3636000"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3F5DF98-F57B-5815-2B64-84CE2F1C9EEB}"/>
              </a:ext>
            </a:extLst>
          </p:cNvPr>
          <p:cNvCxnSpPr>
            <a:cxnSpLocks/>
          </p:cNvCxnSpPr>
          <p:nvPr userDrawn="1"/>
        </p:nvCxnSpPr>
        <p:spPr>
          <a:xfrm>
            <a:off x="8112136" y="1645920"/>
            <a:ext cx="3636952"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sp>
        <p:nvSpPr>
          <p:cNvPr id="6" name="Text Placeholder 11">
            <a:extLst>
              <a:ext uri="{FF2B5EF4-FFF2-40B4-BE49-F238E27FC236}">
                <a16:creationId xmlns:a16="http://schemas.microsoft.com/office/drawing/2014/main" id="{E9A2772B-26B2-2632-3359-3055B3B27652}"/>
              </a:ext>
            </a:extLst>
          </p:cNvPr>
          <p:cNvSpPr>
            <a:spLocks noGrp="1"/>
          </p:cNvSpPr>
          <p:nvPr>
            <p:ph type="body" sz="quarter" idx="14" hasCustomPrompt="1"/>
          </p:nvPr>
        </p:nvSpPr>
        <p:spPr>
          <a:xfrm>
            <a:off x="438912" y="1371600"/>
            <a:ext cx="3636000" cy="246221"/>
          </a:xfrm>
        </p:spPr>
        <p:txBody>
          <a:bodyPr wrap="square">
            <a:spAutoFit/>
          </a:bodyPr>
          <a:lstStyle>
            <a:lvl1pPr>
              <a:defRPr>
                <a:solidFill>
                  <a:srgbClr val="1E2A78"/>
                </a:solidFill>
              </a:defRPr>
            </a:lvl1pPr>
          </a:lstStyle>
          <a:p>
            <a:pPr lvl="0"/>
            <a:r>
              <a:rPr lang="de-DE"/>
              <a:t>Edit title</a:t>
            </a:r>
            <a:endParaRPr lang="en-US"/>
          </a:p>
        </p:txBody>
      </p:sp>
      <p:sp>
        <p:nvSpPr>
          <p:cNvPr id="7" name="Text Placeholder 11">
            <a:extLst>
              <a:ext uri="{FF2B5EF4-FFF2-40B4-BE49-F238E27FC236}">
                <a16:creationId xmlns:a16="http://schemas.microsoft.com/office/drawing/2014/main" id="{26DE6994-00D6-1B1F-D501-5A8D6F7476C7}"/>
              </a:ext>
            </a:extLst>
          </p:cNvPr>
          <p:cNvSpPr>
            <a:spLocks noGrp="1"/>
          </p:cNvSpPr>
          <p:nvPr>
            <p:ph type="body" sz="quarter" idx="15" hasCustomPrompt="1"/>
          </p:nvPr>
        </p:nvSpPr>
        <p:spPr>
          <a:xfrm>
            <a:off x="8113088" y="1371600"/>
            <a:ext cx="3636952" cy="246221"/>
          </a:xfrm>
        </p:spPr>
        <p:txBody>
          <a:bodyPr wrap="square">
            <a:spAutoFit/>
          </a:bodyPr>
          <a:lstStyle>
            <a:lvl1pPr>
              <a:defRPr>
                <a:solidFill>
                  <a:srgbClr val="1E2A78"/>
                </a:solidFill>
              </a:defRPr>
            </a:lvl1pPr>
          </a:lstStyle>
          <a:p>
            <a:pPr lvl="0"/>
            <a:r>
              <a:rPr lang="de-DE"/>
              <a:t>Edit title</a:t>
            </a:r>
            <a:endParaRPr lang="en-US"/>
          </a:p>
        </p:txBody>
      </p:sp>
      <p:cxnSp>
        <p:nvCxnSpPr>
          <p:cNvPr id="12" name="Straight Connector 11">
            <a:extLst>
              <a:ext uri="{FF2B5EF4-FFF2-40B4-BE49-F238E27FC236}">
                <a16:creationId xmlns:a16="http://schemas.microsoft.com/office/drawing/2014/main" id="{5C13317F-401E-698E-A3C2-46CADE6F7A91}"/>
              </a:ext>
            </a:extLst>
          </p:cNvPr>
          <p:cNvCxnSpPr>
            <a:cxnSpLocks/>
          </p:cNvCxnSpPr>
          <p:nvPr userDrawn="1"/>
        </p:nvCxnSpPr>
        <p:spPr>
          <a:xfrm>
            <a:off x="4281888" y="1645920"/>
            <a:ext cx="3636000" cy="0"/>
          </a:xfrm>
          <a:prstGeom prst="line">
            <a:avLst/>
          </a:prstGeom>
          <a:ln w="5761">
            <a:solidFill>
              <a:srgbClr val="A7A8AA"/>
            </a:solidFill>
          </a:ln>
        </p:spPr>
        <p:style>
          <a:lnRef idx="1">
            <a:schemeClr val="accent1"/>
          </a:lnRef>
          <a:fillRef idx="0">
            <a:schemeClr val="accent1"/>
          </a:fillRef>
          <a:effectRef idx="0">
            <a:schemeClr val="accent1"/>
          </a:effectRef>
          <a:fontRef idx="minor">
            <a:schemeClr val="tx1"/>
          </a:fontRef>
        </p:style>
      </p:cxnSp>
      <p:sp>
        <p:nvSpPr>
          <p:cNvPr id="13" name="Text Placeholder 11">
            <a:extLst>
              <a:ext uri="{FF2B5EF4-FFF2-40B4-BE49-F238E27FC236}">
                <a16:creationId xmlns:a16="http://schemas.microsoft.com/office/drawing/2014/main" id="{67EB0120-D53B-EFA1-E451-C1C6D81F150F}"/>
              </a:ext>
            </a:extLst>
          </p:cNvPr>
          <p:cNvSpPr>
            <a:spLocks noGrp="1"/>
          </p:cNvSpPr>
          <p:nvPr>
            <p:ph type="body" sz="quarter" idx="16" hasCustomPrompt="1"/>
          </p:nvPr>
        </p:nvSpPr>
        <p:spPr>
          <a:xfrm>
            <a:off x="4278000" y="1371600"/>
            <a:ext cx="3636000" cy="246221"/>
          </a:xfrm>
        </p:spPr>
        <p:txBody>
          <a:bodyPr wrap="square">
            <a:spAutoFit/>
          </a:bodyPr>
          <a:lstStyle>
            <a:lvl1pPr>
              <a:defRPr>
                <a:solidFill>
                  <a:srgbClr val="1E2A78"/>
                </a:solidFill>
              </a:defRPr>
            </a:lvl1pPr>
          </a:lstStyle>
          <a:p>
            <a:pPr lvl="0"/>
            <a:r>
              <a:rPr lang="de-DE"/>
              <a:t>Edit title</a:t>
            </a:r>
            <a:endParaRPr lang="en-US"/>
          </a:p>
        </p:txBody>
      </p:sp>
      <p:sp>
        <p:nvSpPr>
          <p:cNvPr id="16" name="Inhaltsplatzhalter 13">
            <a:extLst>
              <a:ext uri="{FF2B5EF4-FFF2-40B4-BE49-F238E27FC236}">
                <a16:creationId xmlns:a16="http://schemas.microsoft.com/office/drawing/2014/main" id="{EE408860-B032-0CD4-F2CA-703D92703CB6}"/>
              </a:ext>
            </a:extLst>
          </p:cNvPr>
          <p:cNvSpPr>
            <a:spLocks noGrp="1"/>
          </p:cNvSpPr>
          <p:nvPr>
            <p:ph sz="quarter" idx="13" hasCustomPrompt="1"/>
          </p:nvPr>
        </p:nvSpPr>
        <p:spPr>
          <a:xfrm>
            <a:off x="442800" y="6199631"/>
            <a:ext cx="11304000" cy="152400"/>
          </a:xfrm>
        </p:spPr>
        <p:txBody>
          <a:bodyPr anchor="t"/>
          <a:lstStyle>
            <a:lvl1pPr>
              <a:lnSpc>
                <a:spcPct val="100000"/>
              </a:lnSpc>
              <a:defRPr sz="800"/>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Source:</a:t>
            </a:r>
          </a:p>
        </p:txBody>
      </p:sp>
    </p:spTree>
    <p:extLst>
      <p:ext uri="{BB962C8B-B14F-4D97-AF65-F5344CB8AC3E}">
        <p14:creationId xmlns:p14="http://schemas.microsoft.com/office/powerpoint/2010/main" val="220180315"/>
      </p:ext>
    </p:extLst>
  </p:cSld>
  <p:clrMapOvr>
    <a:masterClrMapping/>
  </p:clrMapOvr>
  <p:transition>
    <p:wipe dir="r"/>
  </p:transition>
  <p:extLst>
    <p:ext uri="{DCECCB84-F9BA-43D5-87BE-67443E8EF086}">
      <p15:sldGuideLst xmlns:p15="http://schemas.microsoft.com/office/powerpoint/2012/main">
        <p15:guide id="1" pos="2570">
          <p15:clr>
            <a:srgbClr val="FBAE40"/>
          </p15:clr>
        </p15:guide>
        <p15:guide id="2" pos="2695">
          <p15:clr>
            <a:srgbClr val="FBAE40"/>
          </p15:clr>
        </p15:guide>
        <p15:guide id="3" pos="4986">
          <p15:clr>
            <a:srgbClr val="FBAE40"/>
          </p15:clr>
        </p15:guide>
        <p15:guide id="4" pos="511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2.4 content with 4 columns">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AAEA86B8-DA77-DA29-8D8E-3132E6D1795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798" y="1376363"/>
            <a:ext cx="2700000" cy="4824412"/>
          </a:xfrm>
        </p:spPr>
        <p:txBody>
          <a:bodyPr/>
          <a:lstStyle>
            <a:lvl1pPr>
              <a:lnSpc>
                <a:spcPct val="100000"/>
              </a:lnSpc>
              <a:defRPr sz="1600">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3" name="Inhaltsplatzhalter 13">
            <a:extLst>
              <a:ext uri="{FF2B5EF4-FFF2-40B4-BE49-F238E27FC236}">
                <a16:creationId xmlns:a16="http://schemas.microsoft.com/office/drawing/2014/main" id="{00B870EA-5630-51E8-AFE3-51FF28A79089}"/>
              </a:ext>
            </a:extLst>
          </p:cNvPr>
          <p:cNvSpPr>
            <a:spLocks noGrp="1"/>
          </p:cNvSpPr>
          <p:nvPr>
            <p:ph sz="quarter" idx="11" hasCustomPrompt="1"/>
          </p:nvPr>
        </p:nvSpPr>
        <p:spPr>
          <a:xfrm>
            <a:off x="3311600"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4" name="Inhaltsplatzhalter 13">
            <a:extLst>
              <a:ext uri="{FF2B5EF4-FFF2-40B4-BE49-F238E27FC236}">
                <a16:creationId xmlns:a16="http://schemas.microsoft.com/office/drawing/2014/main" id="{B6F8313C-929F-7F67-1878-4D35B0A7573B}"/>
              </a:ext>
            </a:extLst>
          </p:cNvPr>
          <p:cNvSpPr>
            <a:spLocks noGrp="1"/>
          </p:cNvSpPr>
          <p:nvPr>
            <p:ph sz="quarter" idx="12" hasCustomPrompt="1"/>
          </p:nvPr>
        </p:nvSpPr>
        <p:spPr>
          <a:xfrm>
            <a:off x="6180402"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6" name="Inhaltsplatzhalter 13">
            <a:extLst>
              <a:ext uri="{FF2B5EF4-FFF2-40B4-BE49-F238E27FC236}">
                <a16:creationId xmlns:a16="http://schemas.microsoft.com/office/drawing/2014/main" id="{49F02B2D-62CC-D0EA-68FE-989BDC64638D}"/>
              </a:ext>
            </a:extLst>
          </p:cNvPr>
          <p:cNvSpPr>
            <a:spLocks noGrp="1"/>
          </p:cNvSpPr>
          <p:nvPr>
            <p:ph sz="quarter" idx="13" hasCustomPrompt="1"/>
          </p:nvPr>
        </p:nvSpPr>
        <p:spPr>
          <a:xfrm>
            <a:off x="9049204"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2" name="Foliennummernplatzhalter 1">
            <a:extLst>
              <a:ext uri="{FF2B5EF4-FFF2-40B4-BE49-F238E27FC236}">
                <a16:creationId xmlns:a16="http://schemas.microsoft.com/office/drawing/2014/main" id="{6A4F6BE9-2084-AE4F-92DD-4DB1AA9AB0E3}"/>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1364012869"/>
      </p:ext>
    </p:extLst>
  </p:cSld>
  <p:clrMapOvr>
    <a:masterClrMapping/>
  </p:clrMapOvr>
  <p:transition>
    <p:wipe dir="r"/>
  </p:transition>
  <p:extLst>
    <p:ext uri="{DCECCB84-F9BA-43D5-87BE-67443E8EF086}">
      <p15:sldGuideLst xmlns:p15="http://schemas.microsoft.com/office/powerpoint/2012/main">
        <p15:guide id="1" pos="1980">
          <p15:clr>
            <a:srgbClr val="FBAE40"/>
          </p15:clr>
        </p15:guide>
        <p15:guide id="2" pos="2085">
          <p15:clr>
            <a:srgbClr val="FBAE40"/>
          </p15:clr>
        </p15:guide>
        <p15:guide id="3" pos="3787">
          <p15:clr>
            <a:srgbClr val="FBAE40"/>
          </p15:clr>
        </p15:guide>
        <p15:guide id="4" pos="3892">
          <p15:clr>
            <a:srgbClr val="FBAE40"/>
          </p15:clr>
        </p15:guide>
        <p15:guide id="5" pos="5594">
          <p15:clr>
            <a:srgbClr val="FBAE40"/>
          </p15:clr>
        </p15:guide>
        <p15:guide id="6" pos="5700">
          <p15:clr>
            <a:srgbClr val="FBAE40"/>
          </p15:clr>
        </p15:guide>
        <p15:guide id="7" orient="horz">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2.5 content with 2 columns blue">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5BC59499-0986-436B-AB78-890859FEBD82}"/>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913" y="1376363"/>
            <a:ext cx="5544000" cy="4824000"/>
          </a:xfrm>
          <a:solidFill>
            <a:srgbClr val="E1F5FA"/>
          </a:solidFill>
        </p:spPr>
        <p:txBody>
          <a:bodyPr lIns="108000" tIns="108000" rIns="108000" bIns="108000"/>
          <a:lstStyle>
            <a:lvl1pPr>
              <a:lnSpc>
                <a:spcPct val="100000"/>
              </a:lnSpc>
              <a:defRPr>
                <a:solidFill>
                  <a:schemeClr val="tx1"/>
                </a:solidFill>
              </a:defRPr>
            </a:lvl1pPr>
            <a:lvl2pPr>
              <a:lnSpc>
                <a:spcPct val="100000"/>
              </a:lnSpc>
              <a:defRPr>
                <a:solidFill>
                  <a:srgbClr val="1E2A78"/>
                </a:solidFill>
              </a:defRPr>
            </a:lvl2pPr>
            <a:lvl3pPr>
              <a:lnSpc>
                <a:spcPct val="100000"/>
              </a:lnSpc>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6205089" y="1376363"/>
            <a:ext cx="5544000" cy="4824000"/>
          </a:xfrm>
          <a:solidFill>
            <a:srgbClr val="E1F5FA"/>
          </a:solidFill>
        </p:spPr>
        <p:txBody>
          <a:bodyPr lIns="108000" tIns="108000" rIns="108000" bIns="108000"/>
          <a:lstStyle>
            <a:lvl1pPr>
              <a:lnSpc>
                <a:spcPct val="100000"/>
              </a:lnSpc>
              <a:defRPr>
                <a:solidFill>
                  <a:schemeClr val="tx1"/>
                </a:solidFill>
              </a:defRPr>
            </a:lvl1pPr>
            <a:lvl2pPr>
              <a:lnSpc>
                <a:spcPct val="100000"/>
              </a:lnSpc>
              <a:defRPr>
                <a:solidFill>
                  <a:srgbClr val="1E2A78"/>
                </a:solidFill>
              </a:defRPr>
            </a:lvl2pPr>
            <a:lvl3pPr>
              <a:lnSpc>
                <a:spcPct val="100000"/>
              </a:lnSpc>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4" name="Foliennummernplatzhalter 1">
            <a:extLst>
              <a:ext uri="{FF2B5EF4-FFF2-40B4-BE49-F238E27FC236}">
                <a16:creationId xmlns:a16="http://schemas.microsoft.com/office/drawing/2014/main" id="{C1AE7E37-1CD9-34F9-9DF1-1211C17BCC4F}"/>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424389652"/>
      </p:ext>
    </p:extLst>
  </p:cSld>
  <p:clrMapOvr>
    <a:masterClrMapping/>
  </p:clrMapOvr>
  <p:transition>
    <p:wipe dir="r"/>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2.6 content with 2 columns blue">
    <p:spTree>
      <p:nvGrpSpPr>
        <p:cNvPr id="1" name=""/>
        <p:cNvGrpSpPr/>
        <p:nvPr/>
      </p:nvGrpSpPr>
      <p:grpSpPr>
        <a:xfrm>
          <a:off x="0" y="0"/>
          <a:ext cx="0" cy="0"/>
          <a:chOff x="0" y="0"/>
          <a:chExt cx="0" cy="0"/>
        </a:xfrm>
      </p:grpSpPr>
      <p:sp>
        <p:nvSpPr>
          <p:cNvPr id="10" name="Title Placeholder 12">
            <a:extLst>
              <a:ext uri="{FF2B5EF4-FFF2-40B4-BE49-F238E27FC236}">
                <a16:creationId xmlns:a16="http://schemas.microsoft.com/office/drawing/2014/main" id="{1C401325-EAB2-026D-7B64-ECC8E9394FD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5" name="Textplatzhalter 4">
            <a:extLst>
              <a:ext uri="{FF2B5EF4-FFF2-40B4-BE49-F238E27FC236}">
                <a16:creationId xmlns:a16="http://schemas.microsoft.com/office/drawing/2014/main" id="{5857D3E1-ED2A-BFB9-AD11-2FCA92D5B056}"/>
              </a:ext>
            </a:extLst>
          </p:cNvPr>
          <p:cNvSpPr>
            <a:spLocks noGrp="1"/>
          </p:cNvSpPr>
          <p:nvPr>
            <p:ph type="body" sz="quarter" idx="12" hasCustomPrompt="1"/>
          </p:nvPr>
        </p:nvSpPr>
        <p:spPr>
          <a:xfrm>
            <a:off x="442800" y="1376362"/>
            <a:ext cx="5544000" cy="432000"/>
          </a:xfrm>
          <a:solidFill>
            <a:srgbClr val="1E2A78"/>
          </a:solidFill>
        </p:spPr>
        <p:txBody>
          <a:bodyPr lIns="108000" anchor="ctr" anchorCtr="0"/>
          <a:lstStyle>
            <a:lvl1pPr>
              <a:defRPr>
                <a:solidFill>
                  <a:schemeClr val="bg1"/>
                </a:solidFill>
                <a:latin typeface="DeutscheBank Medium" panose="020B0603020202030204" pitchFamily="34" charset="0"/>
                <a:ea typeface="DeutscheBank Medium" panose="020B0603020202030204" pitchFamily="34" charset="0"/>
              </a:defRPr>
            </a:lvl1pPr>
          </a:lstStyle>
          <a:p>
            <a:pPr lvl="0"/>
            <a:r>
              <a:rPr lang="en-GB" noProof="0"/>
              <a:t>Edit headline</a:t>
            </a:r>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913" y="1880775"/>
            <a:ext cx="5544000" cy="4320000"/>
          </a:xfrm>
          <a:solidFill>
            <a:srgbClr val="E1F5FA"/>
          </a:solidFill>
        </p:spPr>
        <p:txBody>
          <a:bodyPr lIns="108000" tIns="108000" rIns="108000" bIns="108000"/>
          <a:lstStyle>
            <a:lvl1pPr>
              <a:lnSpc>
                <a:spcPct val="100000"/>
              </a:lnSpc>
              <a:defRPr>
                <a:solidFill>
                  <a:schemeClr val="tx1"/>
                </a:solidFill>
              </a:defRPr>
            </a:lvl1pPr>
            <a:lvl2pPr>
              <a:lnSpc>
                <a:spcPct val="100000"/>
              </a:lnSpc>
              <a:defRPr>
                <a:solidFill>
                  <a:srgbClr val="1E2A78"/>
                </a:solidFill>
              </a:defRPr>
            </a:lvl2pPr>
            <a:lvl3pPr>
              <a:lnSpc>
                <a:spcPct val="100000"/>
              </a:lnSpc>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12" name="Textplatzhalter 4">
            <a:extLst>
              <a:ext uri="{FF2B5EF4-FFF2-40B4-BE49-F238E27FC236}">
                <a16:creationId xmlns:a16="http://schemas.microsoft.com/office/drawing/2014/main" id="{91B9B683-5F09-FE3A-6909-D3EB2E1FF312}"/>
              </a:ext>
            </a:extLst>
          </p:cNvPr>
          <p:cNvSpPr>
            <a:spLocks noGrp="1"/>
          </p:cNvSpPr>
          <p:nvPr>
            <p:ph type="body" sz="quarter" idx="14" hasCustomPrompt="1"/>
          </p:nvPr>
        </p:nvSpPr>
        <p:spPr>
          <a:xfrm>
            <a:off x="6204974" y="1376363"/>
            <a:ext cx="5544000" cy="432000"/>
          </a:xfrm>
          <a:solidFill>
            <a:srgbClr val="1E2A78"/>
          </a:solidFill>
        </p:spPr>
        <p:txBody>
          <a:bodyPr lIns="108000" anchor="ctr" anchorCtr="0"/>
          <a:lstStyle>
            <a:lvl1pPr>
              <a:defRPr>
                <a:solidFill>
                  <a:schemeClr val="bg1"/>
                </a:solidFill>
                <a:latin typeface="DeutscheBank Medium" panose="020B0603020202030204" pitchFamily="34" charset="0"/>
                <a:ea typeface="DeutscheBank Medium" panose="020B0603020202030204" pitchFamily="34" charset="0"/>
              </a:defRPr>
            </a:lvl1pPr>
          </a:lstStyle>
          <a:p>
            <a:pPr lvl="0"/>
            <a:r>
              <a:rPr lang="en-GB" noProof="0"/>
              <a:t>Edit headline</a:t>
            </a:r>
          </a:p>
        </p:txBody>
      </p:sp>
      <p:sp>
        <p:nvSpPr>
          <p:cNvPr id="11" name="Inhaltsplatzhalter 13">
            <a:extLst>
              <a:ext uri="{FF2B5EF4-FFF2-40B4-BE49-F238E27FC236}">
                <a16:creationId xmlns:a16="http://schemas.microsoft.com/office/drawing/2014/main" id="{C96FE548-F103-E315-61C7-DA06E9B6F60B}"/>
              </a:ext>
            </a:extLst>
          </p:cNvPr>
          <p:cNvSpPr>
            <a:spLocks noGrp="1"/>
          </p:cNvSpPr>
          <p:nvPr>
            <p:ph sz="quarter" idx="13" hasCustomPrompt="1"/>
          </p:nvPr>
        </p:nvSpPr>
        <p:spPr>
          <a:xfrm>
            <a:off x="6205087" y="1880776"/>
            <a:ext cx="5544000" cy="4320000"/>
          </a:xfrm>
          <a:solidFill>
            <a:srgbClr val="E1F5FA"/>
          </a:solidFill>
        </p:spPr>
        <p:txBody>
          <a:bodyPr lIns="108000" tIns="108000" rIns="108000" bIns="108000"/>
          <a:lstStyle>
            <a:lvl1pPr>
              <a:lnSpc>
                <a:spcPct val="100000"/>
              </a:lnSpc>
              <a:defRPr>
                <a:solidFill>
                  <a:schemeClr val="tx1"/>
                </a:solidFill>
              </a:defRPr>
            </a:lvl1pPr>
            <a:lvl2pPr>
              <a:lnSpc>
                <a:spcPct val="100000"/>
              </a:lnSpc>
              <a:defRPr>
                <a:solidFill>
                  <a:srgbClr val="1E2A78"/>
                </a:solidFill>
              </a:defRPr>
            </a:lvl2pPr>
            <a:lvl3pPr>
              <a:lnSpc>
                <a:spcPct val="100000"/>
              </a:lnSpc>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9" name="Foliennummernplatzhalter 1">
            <a:extLst>
              <a:ext uri="{FF2B5EF4-FFF2-40B4-BE49-F238E27FC236}">
                <a16:creationId xmlns:a16="http://schemas.microsoft.com/office/drawing/2014/main" id="{8D06A17C-7EBE-E233-0C45-95B5D4303C88}"/>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450457042"/>
      </p:ext>
    </p:extLst>
  </p:cSld>
  <p:clrMapOvr>
    <a:masterClrMapping/>
  </p:clrMapOvr>
  <p:transition>
    <p:wipe dir="r"/>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2.10 content with 2 columns 2/3">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375200"/>
            <a:ext cx="3600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4261088" y="1375200"/>
            <a:ext cx="748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256110101"/>
      </p:ext>
    </p:extLst>
  </p:cSld>
  <p:clrMapOvr>
    <a:masterClrMapping/>
  </p:clrMapOvr>
  <p:transition>
    <p:wipe dir="r"/>
  </p:transition>
  <p:extLst>
    <p:ext uri="{DCECCB84-F9BA-43D5-87BE-67443E8EF086}">
      <p15:sldGuideLst xmlns:p15="http://schemas.microsoft.com/office/powerpoint/2012/main">
        <p15:guide id="1" pos="2683">
          <p15:clr>
            <a:srgbClr val="FBAE40"/>
          </p15:clr>
        </p15:guide>
        <p15:guide id="2" pos="254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2.11 content with 2 columns 3/2">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442912" y="1375200"/>
            <a:ext cx="748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8149088" y="1376775"/>
            <a:ext cx="3600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784424053"/>
      </p:ext>
    </p:extLst>
  </p:cSld>
  <p:clrMapOvr>
    <a:masterClrMapping/>
  </p:clrMapOvr>
  <p:transition>
    <p:wipe dir="r"/>
  </p:transition>
  <p:extLst>
    <p:ext uri="{DCECCB84-F9BA-43D5-87BE-67443E8EF086}">
      <p15:sldGuideLst xmlns:p15="http://schemas.microsoft.com/office/powerpoint/2012/main">
        <p15:guide id="1" pos="4997">
          <p15:clr>
            <a:srgbClr val="FBAE40"/>
          </p15:clr>
        </p15:guide>
        <p15:guide id="2" pos="513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3.1 slide title only">
    <p:spTree>
      <p:nvGrpSpPr>
        <p:cNvPr id="1" name=""/>
        <p:cNvGrpSpPr/>
        <p:nvPr/>
      </p:nvGrpSpPr>
      <p:grpSpPr>
        <a:xfrm>
          <a:off x="0" y="0"/>
          <a:ext cx="0" cy="0"/>
          <a:chOff x="0" y="0"/>
          <a:chExt cx="0" cy="0"/>
        </a:xfrm>
      </p:grpSpPr>
      <p:sp>
        <p:nvSpPr>
          <p:cNvPr id="4" name="Title Placeholder 12">
            <a:extLst>
              <a:ext uri="{FF2B5EF4-FFF2-40B4-BE49-F238E27FC236}">
                <a16:creationId xmlns:a16="http://schemas.microsoft.com/office/drawing/2014/main" id="{BD2F878F-F368-C908-AC1B-9248EC0612AA}"/>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2" name="Foliennummernplatzhalter 1">
            <a:extLst>
              <a:ext uri="{FF2B5EF4-FFF2-40B4-BE49-F238E27FC236}">
                <a16:creationId xmlns:a16="http://schemas.microsoft.com/office/drawing/2014/main" id="{CFE7F086-16AD-6F0D-E07A-F0D525D4B568}"/>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177373744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4.1 disclaimer">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C24D0E03-A666-0DAA-5143-8621A79A9BB7}"/>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4" name="Textplatzhalter 3">
            <a:extLst>
              <a:ext uri="{FF2B5EF4-FFF2-40B4-BE49-F238E27FC236}">
                <a16:creationId xmlns:a16="http://schemas.microsoft.com/office/drawing/2014/main" id="{1234A8AF-6BA9-11CB-30CE-F32AC5ED34A0}"/>
              </a:ext>
            </a:extLst>
          </p:cNvPr>
          <p:cNvSpPr>
            <a:spLocks noGrp="1"/>
          </p:cNvSpPr>
          <p:nvPr>
            <p:ph type="body" sz="quarter" idx="10" hasCustomPrompt="1"/>
          </p:nvPr>
        </p:nvSpPr>
        <p:spPr>
          <a:xfrm>
            <a:off x="442913" y="1376363"/>
            <a:ext cx="11306175" cy="4824412"/>
          </a:xfrm>
        </p:spPr>
        <p:txBody>
          <a:bodyPr/>
          <a:lstStyle>
            <a:lvl1pPr>
              <a:defRPr sz="1600">
                <a:solidFill>
                  <a:schemeClr val="tx1"/>
                </a:solidFill>
                <a:latin typeface="DeutscheBank Medium" panose="020B0603020202030204" pitchFamily="34" charset="0"/>
                <a:ea typeface="DeutscheBank Medium" panose="020B0603020202030204" pitchFamily="34" charset="0"/>
              </a:defRPr>
            </a:lvl1pPr>
            <a:lvl2pPr>
              <a:defRPr sz="1200">
                <a:solidFill>
                  <a:schemeClr val="tx1"/>
                </a:solidFill>
                <a:latin typeface="+mn-lt"/>
              </a:defRPr>
            </a:lvl2pPr>
            <a:lvl3pPr marL="0" indent="0">
              <a:buFont typeface="Arial" panose="020B0604020202020204" pitchFamily="34" charset="0"/>
              <a:buNone/>
              <a:defRPr sz="1000">
                <a:solidFill>
                  <a:schemeClr val="tx1"/>
                </a:solidFill>
                <a:latin typeface="+mn-lt"/>
              </a:defRPr>
            </a:lvl3pPr>
            <a:lvl4pPr marL="0" indent="0">
              <a:buFont typeface="Symbol" panose="05050102010706020507" pitchFamily="18" charset="2"/>
              <a:buNone/>
              <a:defRPr sz="800">
                <a:solidFill>
                  <a:schemeClr val="tx1"/>
                </a:solidFill>
              </a:defRPr>
            </a:lvl4pPr>
            <a:lvl5pPr marL="0" indent="0">
              <a:buNone/>
              <a:defRPr sz="800">
                <a:solidFill>
                  <a:schemeClr val="tx1"/>
                </a:solidFill>
                <a:latin typeface="+mn-lt"/>
              </a:defRPr>
            </a:lvl5pPr>
            <a:lvl6pPr marL="999802" indent="0">
              <a:buNone/>
              <a:defRPr/>
            </a:lvl6pPr>
          </a:lstStyle>
          <a:p>
            <a:pPr lvl="0"/>
            <a:r>
              <a:rPr lang="en-GB" noProof="0"/>
              <a:t>Edit Disclaimer text</a:t>
            </a:r>
          </a:p>
          <a:p>
            <a:pPr lvl="1"/>
            <a:r>
              <a:rPr lang="en-GB" noProof="0"/>
              <a:t>Second Level</a:t>
            </a:r>
          </a:p>
          <a:p>
            <a:pPr lvl="2"/>
            <a:r>
              <a:rPr lang="en-GB" sz="1000" noProof="0"/>
              <a:t>Third level</a:t>
            </a:r>
            <a:endParaRPr lang="en-GB" noProof="0"/>
          </a:p>
          <a:p>
            <a:pPr lvl="3"/>
            <a:r>
              <a:rPr lang="en-GB" noProof="0"/>
              <a:t>Fourth level</a:t>
            </a:r>
          </a:p>
        </p:txBody>
      </p:sp>
      <p:sp>
        <p:nvSpPr>
          <p:cNvPr id="2" name="Foliennummernplatzhalter 1">
            <a:extLst>
              <a:ext uri="{FF2B5EF4-FFF2-40B4-BE49-F238E27FC236}">
                <a16:creationId xmlns:a16="http://schemas.microsoft.com/office/drawing/2014/main" id="{893A111B-BD41-622A-D926-0CF2B24D98A7}"/>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099043892"/>
      </p:ext>
    </p:extLst>
  </p:cSld>
  <p:clrMapOvr>
    <a:masterClrMapping/>
  </p:clrMapOvr>
  <p:transition>
    <p:wipe dir="r"/>
  </p:transition>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1 table of contents">
    <p:spTree>
      <p:nvGrpSpPr>
        <p:cNvPr id="1" name=""/>
        <p:cNvGrpSpPr/>
        <p:nvPr/>
      </p:nvGrpSpPr>
      <p:grpSpPr>
        <a:xfrm>
          <a:off x="0" y="0"/>
          <a:ext cx="0" cy="0"/>
          <a:chOff x="0" y="0"/>
          <a:chExt cx="0" cy="0"/>
        </a:xfrm>
      </p:grpSpPr>
      <p:sp>
        <p:nvSpPr>
          <p:cNvPr id="8" name="Title Placeholder 12">
            <a:extLst>
              <a:ext uri="{FF2B5EF4-FFF2-40B4-BE49-F238E27FC236}">
                <a16:creationId xmlns:a16="http://schemas.microsoft.com/office/drawing/2014/main" id="{2634F715-CC4E-834F-CC2F-C0339A94BC3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lvl1pPr>
              <a:defRPr/>
            </a:lvl1pPr>
          </a:lstStyle>
          <a:p>
            <a:r>
              <a:rPr lang="en-GB" noProof="0"/>
              <a:t>Edit table of contents title</a:t>
            </a:r>
            <a:endParaRPr lang="en-GB"/>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442913" y="1376363"/>
            <a:ext cx="11304000" cy="4824412"/>
          </a:xfrm>
        </p:spPr>
        <p:txBody>
          <a:bodyPr numCol="2" spcCol="273600"/>
          <a:lstStyle>
            <a:lvl1pPr marL="359824" indent="-359824">
              <a:lnSpc>
                <a:spcPct val="100000"/>
              </a:lnSpc>
              <a:spcBef>
                <a:spcPts val="1600"/>
              </a:spcBef>
              <a:buFont typeface="+mj-lt"/>
              <a:buAutoNum type="arabicPeriod"/>
              <a:defRPr sz="1600" b="1">
                <a:solidFill>
                  <a:schemeClr val="accent2"/>
                </a:solidFill>
                <a:latin typeface="+mn-lt"/>
                <a:ea typeface="DeutscheBank Medium" panose="020B0603020202030204" pitchFamily="34" charset="0"/>
              </a:defRPr>
            </a:lvl1pPr>
            <a:lvl2pPr marL="720000" indent="-359824">
              <a:lnSpc>
                <a:spcPct val="100000"/>
              </a:lnSpc>
              <a:buFont typeface="+mj-lt"/>
              <a:buNone/>
              <a:tabLst>
                <a:tab pos="717533" algn="l"/>
                <a:tab pos="9567094" algn="r"/>
              </a:tabLst>
              <a:defRPr sz="1400" u="none">
                <a:solidFill>
                  <a:schemeClr val="tx1"/>
                </a:solidFill>
              </a:defRPr>
            </a:lvl2pPr>
          </a:lstStyle>
          <a:p>
            <a:pPr lvl="0"/>
            <a:r>
              <a:rPr lang="en-GB" noProof="0"/>
              <a:t>Chapter</a:t>
            </a:r>
          </a:p>
          <a:p>
            <a:pPr lvl="1"/>
            <a:r>
              <a:rPr lang="en-GB" noProof="0"/>
              <a:t>1.1	Sub-chapter	Page X</a:t>
            </a:r>
          </a:p>
          <a:p>
            <a:pPr lvl="1"/>
            <a:endParaRPr lang="en-GB" noProof="0"/>
          </a:p>
        </p:txBody>
      </p:sp>
      <p:sp>
        <p:nvSpPr>
          <p:cNvPr id="7" name="Foliennummernplatzhalter 1">
            <a:extLst>
              <a:ext uri="{FF2B5EF4-FFF2-40B4-BE49-F238E27FC236}">
                <a16:creationId xmlns:a16="http://schemas.microsoft.com/office/drawing/2014/main" id="{E9EA86EE-2AEA-799E-E9F1-45368B4E955D}"/>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501309281"/>
      </p:ext>
    </p:extLst>
  </p:cSld>
  <p:clrMapOvr>
    <a:masterClrMapping/>
  </p:clrMapOvr>
  <p:transition>
    <p:wipe dir="r"/>
  </p:transition>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1.3 motif title bird perspectiv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Freeform 4" descr="White Deutsche Bank logo">
            <a:extLst>
              <a:ext uri="{FF2B5EF4-FFF2-40B4-BE49-F238E27FC236}">
                <a16:creationId xmlns:a16="http://schemas.microsoft.com/office/drawing/2014/main" id="{C9D1FCF6-1ED7-AA0A-3FF2-4FFD23936375}"/>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8" name="Google Shape;12;p7" descr="Transparent expanding box on birds view photo of ocean coast line">
            <a:extLst>
              <a:ext uri="{FF2B5EF4-FFF2-40B4-BE49-F238E27FC236}">
                <a16:creationId xmlns:a16="http://schemas.microsoft.com/office/drawing/2014/main" id="{39EB900B-07EF-4524-84E5-79110FCF54C7}"/>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7" name="TextBox 19">
            <a:extLst>
              <a:ext uri="{FF2B5EF4-FFF2-40B4-BE49-F238E27FC236}">
                <a16:creationId xmlns:a16="http://schemas.microsoft.com/office/drawing/2014/main" id="{FC3AE89C-D3D0-D572-8DA5-A74E78A0928D}"/>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8" name="Textplatzhalter 3">
            <a:extLst>
              <a:ext uri="{FF2B5EF4-FFF2-40B4-BE49-F238E27FC236}">
                <a16:creationId xmlns:a16="http://schemas.microsoft.com/office/drawing/2014/main" id="{C951CAB1-2AC6-392C-0A0E-CF15E941FE98}"/>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7" name="Text Placeholder 3">
            <a:extLst>
              <a:ext uri="{FF2B5EF4-FFF2-40B4-BE49-F238E27FC236}">
                <a16:creationId xmlns:a16="http://schemas.microsoft.com/office/drawing/2014/main" id="{441A276B-E5B9-7DCF-1FA1-C7DFEA521AC1}"/>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15" name="Textplatzhalter 4">
            <a:extLst>
              <a:ext uri="{FF2B5EF4-FFF2-40B4-BE49-F238E27FC236}">
                <a16:creationId xmlns:a16="http://schemas.microsoft.com/office/drawing/2014/main" id="{D2F35550-4837-6A2D-E045-9AF39BFC4FBB}"/>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4" name="Text Placeholder 3">
            <a:extLst>
              <a:ext uri="{FF2B5EF4-FFF2-40B4-BE49-F238E27FC236}">
                <a16:creationId xmlns:a16="http://schemas.microsoft.com/office/drawing/2014/main" id="{B403D9FD-0310-834D-F7F5-FF6E9CD92823}"/>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3" name="Title 3">
            <a:extLst>
              <a:ext uri="{FF2B5EF4-FFF2-40B4-BE49-F238E27FC236}">
                <a16:creationId xmlns:a16="http://schemas.microsoft.com/office/drawing/2014/main" id="{70B7A131-2FE7-92F5-FCF7-D06AF8457BD0}"/>
              </a:ext>
            </a:extLst>
          </p:cNvPr>
          <p:cNvSpPr>
            <a:spLocks noGrp="1"/>
          </p:cNvSpPr>
          <p:nvPr>
            <p:ph type="title" hasCustomPrompt="1"/>
          </p:nvPr>
        </p:nvSpPr>
        <p:spPr>
          <a:xfrm>
            <a:off x="972000" y="2919600"/>
            <a:ext cx="9590400" cy="6336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40776467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1.2 table of contents">
    <p:spTree>
      <p:nvGrpSpPr>
        <p:cNvPr id="1" name=""/>
        <p:cNvGrpSpPr/>
        <p:nvPr/>
      </p:nvGrpSpPr>
      <p:grpSpPr>
        <a:xfrm>
          <a:off x="0" y="0"/>
          <a:ext cx="0" cy="0"/>
          <a:chOff x="0" y="0"/>
          <a:chExt cx="0" cy="0"/>
        </a:xfrm>
      </p:grpSpPr>
      <p:sp>
        <p:nvSpPr>
          <p:cNvPr id="6" name="Title Placeholder 12">
            <a:extLst>
              <a:ext uri="{FF2B5EF4-FFF2-40B4-BE49-F238E27FC236}">
                <a16:creationId xmlns:a16="http://schemas.microsoft.com/office/drawing/2014/main" id="{BF2C62E0-7245-BA85-4683-48199EADB770}"/>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lvl1pPr>
              <a:defRPr/>
            </a:lvl1pPr>
          </a:lstStyle>
          <a:p>
            <a:r>
              <a:rPr lang="en-GB" noProof="0"/>
              <a:t>Edit table of contents title</a:t>
            </a:r>
            <a:endParaRPr lang="en-GB"/>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442913" y="1376363"/>
            <a:ext cx="11304000" cy="4824412"/>
          </a:xfrm>
        </p:spPr>
        <p:txBody>
          <a:bodyPr numCol="2" spcCol="273600"/>
          <a:lstStyle>
            <a:lvl1pPr marL="360000" indent="-360000">
              <a:lnSpc>
                <a:spcPct val="100000"/>
              </a:lnSpc>
              <a:spcBef>
                <a:spcPts val="1600"/>
              </a:spcBef>
              <a:buFont typeface="+mj-lt"/>
              <a:buAutoNum type="arabicPeriod"/>
              <a:defRPr sz="1600" b="1">
                <a:solidFill>
                  <a:schemeClr val="accent2"/>
                </a:solidFill>
                <a:latin typeface="+mn-lt"/>
                <a:ea typeface="DeutscheBank Medium" panose="020B0603020202030204" pitchFamily="34" charset="0"/>
              </a:defRPr>
            </a:lvl1pPr>
            <a:lvl2pPr marL="720000" indent="-360000">
              <a:lnSpc>
                <a:spcPct val="100000"/>
              </a:lnSpc>
              <a:buFont typeface="+mj-lt"/>
              <a:buNone/>
              <a:tabLst>
                <a:tab pos="9567094" algn="r"/>
              </a:tabLst>
              <a:defRPr sz="1100" u="none">
                <a:solidFill>
                  <a:schemeClr val="tx1"/>
                </a:solidFill>
              </a:defRPr>
            </a:lvl2pPr>
            <a:lvl3pPr marL="720000" indent="0">
              <a:buNone/>
              <a:defRPr sz="1100">
                <a:solidFill>
                  <a:schemeClr val="tx1"/>
                </a:solidFill>
              </a:defRPr>
            </a:lvl3pPr>
            <a:lvl4pPr marL="358775" indent="0" algn="just">
              <a:buNone/>
              <a:defRPr sz="1100" u="none">
                <a:solidFill>
                  <a:schemeClr val="accent2"/>
                </a:solidFill>
              </a:defRPr>
            </a:lvl4pPr>
          </a:lstStyle>
          <a:p>
            <a:pPr lvl="0"/>
            <a:r>
              <a:rPr lang="en-GB" noProof="0"/>
              <a:t>Chapter</a:t>
            </a:r>
          </a:p>
          <a:p>
            <a:pPr lvl="1"/>
            <a:r>
              <a:rPr lang="en-GB" noProof="0"/>
              <a:t>1.1	Sub-chapter	Page X</a:t>
            </a:r>
          </a:p>
          <a:p>
            <a:pPr lvl="2"/>
            <a:r>
              <a:rPr lang="en-GB" noProof="0"/>
              <a:t>Sub-chapter details</a:t>
            </a:r>
          </a:p>
          <a:p>
            <a:pPr lvl="3"/>
            <a:r>
              <a:rPr lang="en-GB" noProof="0"/>
              <a:t>_______________________________________________________________________________</a:t>
            </a:r>
          </a:p>
        </p:txBody>
      </p:sp>
      <p:sp>
        <p:nvSpPr>
          <p:cNvPr id="5" name="Foliennummernplatzhalter 1">
            <a:extLst>
              <a:ext uri="{FF2B5EF4-FFF2-40B4-BE49-F238E27FC236}">
                <a16:creationId xmlns:a16="http://schemas.microsoft.com/office/drawing/2014/main" id="{1749F51A-2B83-ACCE-75D5-84C9DB3EF42D}"/>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497505656"/>
      </p:ext>
    </p:extLst>
  </p:cSld>
  <p:clrMapOvr>
    <a:masterClrMapping/>
  </p:clrMapOvr>
  <p:transition>
    <p:wipe dir="r"/>
  </p:transition>
  <p:extLst>
    <p:ext uri="{DCECCB84-F9BA-43D5-87BE-67443E8EF086}">
      <p15:sldGuideLst xmlns:p15="http://schemas.microsoft.com/office/powerpoint/2012/main">
        <p15:guide id="2" pos="3749" userDrawn="1">
          <p15:clr>
            <a:srgbClr val="FBAE40"/>
          </p15:clr>
        </p15:guide>
        <p15:guide id="3" pos="3931"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2.1 content with 1 column">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9640929F-8E5F-5637-55F2-BA2BA82D863D}"/>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376775"/>
            <a:ext cx="11304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4" name="Foliennummernplatzhalter 1">
            <a:extLst>
              <a:ext uri="{FF2B5EF4-FFF2-40B4-BE49-F238E27FC236}">
                <a16:creationId xmlns:a16="http://schemas.microsoft.com/office/drawing/2014/main" id="{8A2AC264-79FB-4261-431A-D13284993C8F}"/>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771570003"/>
      </p:ext>
    </p:extLst>
  </p:cSld>
  <p:clrMapOvr>
    <a:masterClrMapping/>
  </p:clrMapOvr>
  <p:transition>
    <p:wipe dir="r"/>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2.2 content with 2 columns">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375200"/>
            <a:ext cx="5544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6205088" y="1376775"/>
            <a:ext cx="5544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026440852"/>
      </p:ext>
    </p:extLst>
  </p:cSld>
  <p:clrMapOvr>
    <a:masterClrMapping/>
  </p:clrMapOvr>
  <p:transition>
    <p:wipe dir="r"/>
  </p:transition>
  <p:extLst>
    <p:ext uri="{DCECCB84-F9BA-43D5-87BE-67443E8EF086}">
      <p15:sldGuideLst xmlns:p15="http://schemas.microsoft.com/office/powerpoint/2012/main">
        <p15:guide id="1" pos="3908" userDrawn="1">
          <p15:clr>
            <a:srgbClr val="FBAE40"/>
          </p15:clr>
        </p15:guide>
        <p15:guide id="2" pos="3772"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3 content with 3 columns">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AAEA86B8-DA77-DA29-8D8E-3132E6D1795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799" y="1376363"/>
            <a:ext cx="3636000" cy="48244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8" name="Inhaltsplatzhalter 13">
            <a:extLst>
              <a:ext uri="{FF2B5EF4-FFF2-40B4-BE49-F238E27FC236}">
                <a16:creationId xmlns:a16="http://schemas.microsoft.com/office/drawing/2014/main" id="{D34283E4-4B00-A561-763D-DF6E3E9A881D}"/>
              </a:ext>
            </a:extLst>
          </p:cNvPr>
          <p:cNvSpPr>
            <a:spLocks noGrp="1"/>
          </p:cNvSpPr>
          <p:nvPr>
            <p:ph sz="quarter" idx="11" hasCustomPrompt="1"/>
          </p:nvPr>
        </p:nvSpPr>
        <p:spPr>
          <a:xfrm>
            <a:off x="4278000" y="1376363"/>
            <a:ext cx="3636000" cy="48244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9" name="Inhaltsplatzhalter 13">
            <a:extLst>
              <a:ext uri="{FF2B5EF4-FFF2-40B4-BE49-F238E27FC236}">
                <a16:creationId xmlns:a16="http://schemas.microsoft.com/office/drawing/2014/main" id="{9A947CA2-EC95-FB51-AA32-495DF9A8C932}"/>
              </a:ext>
            </a:extLst>
          </p:cNvPr>
          <p:cNvSpPr>
            <a:spLocks noGrp="1"/>
          </p:cNvSpPr>
          <p:nvPr>
            <p:ph sz="quarter" idx="12" hasCustomPrompt="1"/>
          </p:nvPr>
        </p:nvSpPr>
        <p:spPr>
          <a:xfrm>
            <a:off x="8113088" y="1375200"/>
            <a:ext cx="3636000" cy="48244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Foliennummernplatzhalter 1">
            <a:extLst>
              <a:ext uri="{FF2B5EF4-FFF2-40B4-BE49-F238E27FC236}">
                <a16:creationId xmlns:a16="http://schemas.microsoft.com/office/drawing/2014/main" id="{6A4F6BE9-2084-AE4F-92DD-4DB1AA9AB0E3}"/>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1985794677"/>
      </p:ext>
    </p:extLst>
  </p:cSld>
  <p:clrMapOvr>
    <a:masterClrMapping/>
  </p:clrMapOvr>
  <p:transition>
    <p:wipe dir="r"/>
  </p:transition>
  <p:extLst>
    <p:ext uri="{DCECCB84-F9BA-43D5-87BE-67443E8EF086}">
      <p15:sldGuideLst xmlns:p15="http://schemas.microsoft.com/office/powerpoint/2012/main">
        <p15:guide id="1" pos="2570" userDrawn="1">
          <p15:clr>
            <a:srgbClr val="FBAE40"/>
          </p15:clr>
        </p15:guide>
        <p15:guide id="2" pos="2695" userDrawn="1">
          <p15:clr>
            <a:srgbClr val="FBAE40"/>
          </p15:clr>
        </p15:guide>
        <p15:guide id="3" pos="4986" userDrawn="1">
          <p15:clr>
            <a:srgbClr val="FBAE40"/>
          </p15:clr>
        </p15:guide>
        <p15:guide id="4" pos="511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2.4 content with 4 columns">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AAEA86B8-DA77-DA29-8D8E-3132E6D1795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798" y="1376363"/>
            <a:ext cx="2700000" cy="4824412"/>
          </a:xfrm>
        </p:spPr>
        <p:txBody>
          <a:bodyPr/>
          <a:lstStyle>
            <a:lvl1pPr>
              <a:lnSpc>
                <a:spcPct val="100000"/>
              </a:lnSpc>
              <a:defRPr sz="1600">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3" name="Inhaltsplatzhalter 13">
            <a:extLst>
              <a:ext uri="{FF2B5EF4-FFF2-40B4-BE49-F238E27FC236}">
                <a16:creationId xmlns:a16="http://schemas.microsoft.com/office/drawing/2014/main" id="{00B870EA-5630-51E8-AFE3-51FF28A79089}"/>
              </a:ext>
            </a:extLst>
          </p:cNvPr>
          <p:cNvSpPr>
            <a:spLocks noGrp="1"/>
          </p:cNvSpPr>
          <p:nvPr>
            <p:ph sz="quarter" idx="11" hasCustomPrompt="1"/>
          </p:nvPr>
        </p:nvSpPr>
        <p:spPr>
          <a:xfrm>
            <a:off x="3311600"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4" name="Inhaltsplatzhalter 13">
            <a:extLst>
              <a:ext uri="{FF2B5EF4-FFF2-40B4-BE49-F238E27FC236}">
                <a16:creationId xmlns:a16="http://schemas.microsoft.com/office/drawing/2014/main" id="{B6F8313C-929F-7F67-1878-4D35B0A7573B}"/>
              </a:ext>
            </a:extLst>
          </p:cNvPr>
          <p:cNvSpPr>
            <a:spLocks noGrp="1"/>
          </p:cNvSpPr>
          <p:nvPr>
            <p:ph sz="quarter" idx="12" hasCustomPrompt="1"/>
          </p:nvPr>
        </p:nvSpPr>
        <p:spPr>
          <a:xfrm>
            <a:off x="6180402"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6" name="Inhaltsplatzhalter 13">
            <a:extLst>
              <a:ext uri="{FF2B5EF4-FFF2-40B4-BE49-F238E27FC236}">
                <a16:creationId xmlns:a16="http://schemas.microsoft.com/office/drawing/2014/main" id="{49F02B2D-62CC-D0EA-68FE-989BDC64638D}"/>
              </a:ext>
            </a:extLst>
          </p:cNvPr>
          <p:cNvSpPr>
            <a:spLocks noGrp="1"/>
          </p:cNvSpPr>
          <p:nvPr>
            <p:ph sz="quarter" idx="13" hasCustomPrompt="1"/>
          </p:nvPr>
        </p:nvSpPr>
        <p:spPr>
          <a:xfrm>
            <a:off x="9049204"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Foliennummernplatzhalter 1">
            <a:extLst>
              <a:ext uri="{FF2B5EF4-FFF2-40B4-BE49-F238E27FC236}">
                <a16:creationId xmlns:a16="http://schemas.microsoft.com/office/drawing/2014/main" id="{6A4F6BE9-2084-AE4F-92DD-4DB1AA9AB0E3}"/>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1838418985"/>
      </p:ext>
    </p:extLst>
  </p:cSld>
  <p:clrMapOvr>
    <a:masterClrMapping/>
  </p:clrMapOvr>
  <p:transition>
    <p:wipe dir="r"/>
  </p:transition>
  <p:extLst>
    <p:ext uri="{DCECCB84-F9BA-43D5-87BE-67443E8EF086}">
      <p15:sldGuideLst xmlns:p15="http://schemas.microsoft.com/office/powerpoint/2012/main">
        <p15:guide id="1" pos="1980" userDrawn="1">
          <p15:clr>
            <a:srgbClr val="FBAE40"/>
          </p15:clr>
        </p15:guide>
        <p15:guide id="2" pos="2085" userDrawn="1">
          <p15:clr>
            <a:srgbClr val="FBAE40"/>
          </p15:clr>
        </p15:guide>
        <p15:guide id="3" pos="3787" userDrawn="1">
          <p15:clr>
            <a:srgbClr val="FBAE40"/>
          </p15:clr>
        </p15:guide>
        <p15:guide id="4" pos="3892" userDrawn="1">
          <p15:clr>
            <a:srgbClr val="FBAE40"/>
          </p15:clr>
        </p15:guide>
        <p15:guide id="5" pos="5594" userDrawn="1">
          <p15:clr>
            <a:srgbClr val="FBAE40"/>
          </p15:clr>
        </p15:guide>
        <p15:guide id="6" pos="5700" userDrawn="1">
          <p15:clr>
            <a:srgbClr val="FBAE40"/>
          </p15:clr>
        </p15:guide>
        <p15:guide id="7" orient="horz"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2.5 content with 2 columns blue">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5BC59499-0986-436B-AB78-890859FEBD82}"/>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913" y="1376363"/>
            <a:ext cx="5544000" cy="4824000"/>
          </a:xfrm>
          <a:solidFill>
            <a:srgbClr val="00A3E0"/>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6205089" y="1376363"/>
            <a:ext cx="5544000" cy="4824000"/>
          </a:xfrm>
          <a:solidFill>
            <a:schemeClr val="accent2"/>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4" name="Foliennummernplatzhalter 1">
            <a:extLst>
              <a:ext uri="{FF2B5EF4-FFF2-40B4-BE49-F238E27FC236}">
                <a16:creationId xmlns:a16="http://schemas.microsoft.com/office/drawing/2014/main" id="{C1AE7E37-1CD9-34F9-9DF1-1211C17BCC4F}"/>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724077129"/>
      </p:ext>
    </p:extLst>
  </p:cSld>
  <p:clrMapOvr>
    <a:masterClrMapping/>
  </p:clrMapOvr>
  <p:transition>
    <p:wipe dir="r"/>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2.6 content with 2 columns blue">
    <p:spTree>
      <p:nvGrpSpPr>
        <p:cNvPr id="1" name=""/>
        <p:cNvGrpSpPr/>
        <p:nvPr/>
      </p:nvGrpSpPr>
      <p:grpSpPr>
        <a:xfrm>
          <a:off x="0" y="0"/>
          <a:ext cx="0" cy="0"/>
          <a:chOff x="0" y="0"/>
          <a:chExt cx="0" cy="0"/>
        </a:xfrm>
      </p:grpSpPr>
      <p:sp>
        <p:nvSpPr>
          <p:cNvPr id="10" name="Title Placeholder 12">
            <a:extLst>
              <a:ext uri="{FF2B5EF4-FFF2-40B4-BE49-F238E27FC236}">
                <a16:creationId xmlns:a16="http://schemas.microsoft.com/office/drawing/2014/main" id="{1C401325-EAB2-026D-7B64-ECC8E9394FD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5" name="Textplatzhalter 4">
            <a:extLst>
              <a:ext uri="{FF2B5EF4-FFF2-40B4-BE49-F238E27FC236}">
                <a16:creationId xmlns:a16="http://schemas.microsoft.com/office/drawing/2014/main" id="{5857D3E1-ED2A-BFB9-AD11-2FCA92D5B056}"/>
              </a:ext>
            </a:extLst>
          </p:cNvPr>
          <p:cNvSpPr>
            <a:spLocks noGrp="1"/>
          </p:cNvSpPr>
          <p:nvPr>
            <p:ph type="body" sz="quarter" idx="12" hasCustomPrompt="1"/>
          </p:nvPr>
        </p:nvSpPr>
        <p:spPr>
          <a:xfrm>
            <a:off x="442800" y="1376362"/>
            <a:ext cx="5544000" cy="432000"/>
          </a:xfrm>
          <a:solidFill>
            <a:srgbClr val="E1F5FA"/>
          </a:solidFill>
        </p:spPr>
        <p:txBody>
          <a:bodyPr lIns="108000" anchor="ctr" anchorCtr="0"/>
          <a:lstStyle>
            <a:lvl1pPr>
              <a:defRPr>
                <a:solidFill>
                  <a:schemeClr val="bg1"/>
                </a:solidFill>
                <a:latin typeface="DeutscheBank Medium" panose="020B0603020202030204" pitchFamily="34" charset="0"/>
                <a:ea typeface="DeutscheBank Medium" panose="020B0603020202030204" pitchFamily="34" charset="0"/>
              </a:defRPr>
            </a:lvl1pPr>
          </a:lstStyle>
          <a:p>
            <a:pPr lvl="0"/>
            <a:r>
              <a:rPr lang="en-GB" noProof="0"/>
              <a:t>Edit headline</a:t>
            </a:r>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913" y="1880775"/>
            <a:ext cx="5544000" cy="4320000"/>
          </a:xfrm>
          <a:solidFill>
            <a:srgbClr val="00A3E0"/>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12" name="Textplatzhalter 4">
            <a:extLst>
              <a:ext uri="{FF2B5EF4-FFF2-40B4-BE49-F238E27FC236}">
                <a16:creationId xmlns:a16="http://schemas.microsoft.com/office/drawing/2014/main" id="{91B9B683-5F09-FE3A-6909-D3EB2E1FF312}"/>
              </a:ext>
            </a:extLst>
          </p:cNvPr>
          <p:cNvSpPr>
            <a:spLocks noGrp="1"/>
          </p:cNvSpPr>
          <p:nvPr>
            <p:ph type="body" sz="quarter" idx="14" hasCustomPrompt="1"/>
          </p:nvPr>
        </p:nvSpPr>
        <p:spPr>
          <a:xfrm>
            <a:off x="6204974" y="1376363"/>
            <a:ext cx="5544000" cy="432000"/>
          </a:xfrm>
          <a:solidFill>
            <a:srgbClr val="E1F5FA"/>
          </a:solidFill>
        </p:spPr>
        <p:txBody>
          <a:bodyPr lIns="108000" anchor="ctr" anchorCtr="0"/>
          <a:lstStyle>
            <a:lvl1pPr>
              <a:defRPr>
                <a:solidFill>
                  <a:schemeClr val="bg1"/>
                </a:solidFill>
                <a:latin typeface="DeutscheBank Medium" panose="020B0603020202030204" pitchFamily="34" charset="0"/>
                <a:ea typeface="DeutscheBank Medium" panose="020B0603020202030204" pitchFamily="34" charset="0"/>
              </a:defRPr>
            </a:lvl1pPr>
          </a:lstStyle>
          <a:p>
            <a:pPr lvl="0"/>
            <a:r>
              <a:rPr lang="en-GB" noProof="0"/>
              <a:t>Edit headline</a:t>
            </a:r>
          </a:p>
        </p:txBody>
      </p:sp>
      <p:sp>
        <p:nvSpPr>
          <p:cNvPr id="11" name="Inhaltsplatzhalter 13">
            <a:extLst>
              <a:ext uri="{FF2B5EF4-FFF2-40B4-BE49-F238E27FC236}">
                <a16:creationId xmlns:a16="http://schemas.microsoft.com/office/drawing/2014/main" id="{C96FE548-F103-E315-61C7-DA06E9B6F60B}"/>
              </a:ext>
            </a:extLst>
          </p:cNvPr>
          <p:cNvSpPr>
            <a:spLocks noGrp="1"/>
          </p:cNvSpPr>
          <p:nvPr>
            <p:ph sz="quarter" idx="13" hasCustomPrompt="1"/>
          </p:nvPr>
        </p:nvSpPr>
        <p:spPr>
          <a:xfrm>
            <a:off x="6205087" y="1880776"/>
            <a:ext cx="5544000" cy="4320000"/>
          </a:xfrm>
          <a:solidFill>
            <a:srgbClr val="00A3E0"/>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9" name="Foliennummernplatzhalter 1">
            <a:extLst>
              <a:ext uri="{FF2B5EF4-FFF2-40B4-BE49-F238E27FC236}">
                <a16:creationId xmlns:a16="http://schemas.microsoft.com/office/drawing/2014/main" id="{8D06A17C-7EBE-E233-0C45-95B5D4303C88}"/>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783578016"/>
      </p:ext>
    </p:extLst>
  </p:cSld>
  <p:clrMapOvr>
    <a:masterClrMapping/>
  </p:clrMapOvr>
  <p:transition>
    <p:wipe dir="r"/>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2.10 content with 2 columns 2/3">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375200"/>
            <a:ext cx="3600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4261088" y="1375200"/>
            <a:ext cx="748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792454424"/>
      </p:ext>
    </p:extLst>
  </p:cSld>
  <p:clrMapOvr>
    <a:masterClrMapping/>
  </p:clrMapOvr>
  <p:transition>
    <p:wipe dir="r"/>
  </p:transition>
  <p:extLst>
    <p:ext uri="{DCECCB84-F9BA-43D5-87BE-67443E8EF086}">
      <p15:sldGuideLst xmlns:p15="http://schemas.microsoft.com/office/powerpoint/2012/main">
        <p15:guide id="1" pos="2683" userDrawn="1">
          <p15:clr>
            <a:srgbClr val="FBAE40"/>
          </p15:clr>
        </p15:guide>
        <p15:guide id="2" pos="2547"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2.11 content with 2 columns 3/2">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442912" y="1375200"/>
            <a:ext cx="748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8149088" y="1376775"/>
            <a:ext cx="3600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487289768"/>
      </p:ext>
    </p:extLst>
  </p:cSld>
  <p:clrMapOvr>
    <a:masterClrMapping/>
  </p:clrMapOvr>
  <p:transition>
    <p:wipe dir="r"/>
  </p:transition>
  <p:extLst>
    <p:ext uri="{DCECCB84-F9BA-43D5-87BE-67443E8EF086}">
      <p15:sldGuideLst xmlns:p15="http://schemas.microsoft.com/office/powerpoint/2012/main">
        <p15:guide id="1" pos="4997" userDrawn="1">
          <p15:clr>
            <a:srgbClr val="FBAE40"/>
          </p15:clr>
        </p15:guide>
        <p15:guide id="2" pos="5133"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3.1 headline only">
    <p:spTree>
      <p:nvGrpSpPr>
        <p:cNvPr id="1" name=""/>
        <p:cNvGrpSpPr/>
        <p:nvPr/>
      </p:nvGrpSpPr>
      <p:grpSpPr>
        <a:xfrm>
          <a:off x="0" y="0"/>
          <a:ext cx="0" cy="0"/>
          <a:chOff x="0" y="0"/>
          <a:chExt cx="0" cy="0"/>
        </a:xfrm>
      </p:grpSpPr>
      <p:sp>
        <p:nvSpPr>
          <p:cNvPr id="4" name="Title Placeholder 12">
            <a:extLst>
              <a:ext uri="{FF2B5EF4-FFF2-40B4-BE49-F238E27FC236}">
                <a16:creationId xmlns:a16="http://schemas.microsoft.com/office/drawing/2014/main" id="{BD2F878F-F368-C908-AC1B-9248EC0612AA}"/>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2" name="Foliennummernplatzhalter 1">
            <a:extLst>
              <a:ext uri="{FF2B5EF4-FFF2-40B4-BE49-F238E27FC236}">
                <a16:creationId xmlns:a16="http://schemas.microsoft.com/office/drawing/2014/main" id="{CFE7F086-16AD-6F0D-E07A-F0D525D4B568}"/>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4103195869"/>
      </p:ext>
    </p:extLst>
  </p:cSld>
  <p:clrMapOvr>
    <a:masterClrMapping/>
  </p:clrMapOvr>
  <p:transition>
    <p:wipe dir="r"/>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4 motif title diver under wa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Freeform 4" descr="White Deutsche Bank logo">
            <a:extLst>
              <a:ext uri="{FF2B5EF4-FFF2-40B4-BE49-F238E27FC236}">
                <a16:creationId xmlns:a16="http://schemas.microsoft.com/office/drawing/2014/main" id="{FCA1F587-411E-24A8-415C-7328CAD9E9F9}"/>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1" name="Google Shape;12;p7" descr="Transparent expanding box on underwater ocean photo with diver">
            <a:extLst>
              <a:ext uri="{FF2B5EF4-FFF2-40B4-BE49-F238E27FC236}">
                <a16:creationId xmlns:a16="http://schemas.microsoft.com/office/drawing/2014/main" id="{8496ECD9-D4F6-355F-9507-6E793B3B85B9}"/>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3" name="TextBox 19">
            <a:extLst>
              <a:ext uri="{FF2B5EF4-FFF2-40B4-BE49-F238E27FC236}">
                <a16:creationId xmlns:a16="http://schemas.microsoft.com/office/drawing/2014/main" id="{DACC0E25-E4DB-7B0A-C3F8-0182F92293FD}"/>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8" name="Textplatzhalter 3">
            <a:extLst>
              <a:ext uri="{FF2B5EF4-FFF2-40B4-BE49-F238E27FC236}">
                <a16:creationId xmlns:a16="http://schemas.microsoft.com/office/drawing/2014/main" id="{F1916B08-2F68-CDC5-1578-97E47FF3D966}"/>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6" name="Text Placeholder 3">
            <a:extLst>
              <a:ext uri="{FF2B5EF4-FFF2-40B4-BE49-F238E27FC236}">
                <a16:creationId xmlns:a16="http://schemas.microsoft.com/office/drawing/2014/main" id="{B1FBA7A4-3B03-6D58-2DB8-C596A3FB8C35}"/>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4" name="Textplatzhalter 4">
            <a:extLst>
              <a:ext uri="{FF2B5EF4-FFF2-40B4-BE49-F238E27FC236}">
                <a16:creationId xmlns:a16="http://schemas.microsoft.com/office/drawing/2014/main" id="{D1392A7D-1564-57AF-02C6-F781FE79019D}"/>
              </a:ext>
            </a:extLst>
          </p:cNvPr>
          <p:cNvSpPr>
            <a:spLocks noGrp="1"/>
          </p:cNvSpPr>
          <p:nvPr>
            <p:ph type="body" sz="quarter" idx="10" hasCustomPrompt="1"/>
          </p:nvPr>
        </p:nvSpPr>
        <p:spPr>
          <a:xfrm>
            <a:off x="971549" y="4101465"/>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5" name="Text Placeholder 3">
            <a:extLst>
              <a:ext uri="{FF2B5EF4-FFF2-40B4-BE49-F238E27FC236}">
                <a16:creationId xmlns:a16="http://schemas.microsoft.com/office/drawing/2014/main" id="{14CE22E3-D908-545D-605C-62E194C86D09}"/>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7" name="Title 3">
            <a:extLst>
              <a:ext uri="{FF2B5EF4-FFF2-40B4-BE49-F238E27FC236}">
                <a16:creationId xmlns:a16="http://schemas.microsoft.com/office/drawing/2014/main" id="{793C2D73-7B65-5747-3CB2-781FE3FE7348}"/>
              </a:ext>
            </a:extLst>
          </p:cNvPr>
          <p:cNvSpPr>
            <a:spLocks noGrp="1"/>
          </p:cNvSpPr>
          <p:nvPr>
            <p:ph type="title" hasCustomPrompt="1"/>
          </p:nvPr>
        </p:nvSpPr>
        <p:spPr>
          <a:xfrm>
            <a:off x="972000" y="2919600"/>
            <a:ext cx="9590400" cy="1180800"/>
          </a:xfrm>
          <a:prstGeom prst="rect">
            <a:avLst/>
          </a:prstGeom>
        </p:spPr>
        <p:txBody>
          <a:bodyPr lIns="0" tIns="0" rIns="0" bIns="0" anchor="b" anchorCtr="0"/>
          <a:lstStyle>
            <a:lvl1pPr>
              <a:defRPr sz="4000" b="1">
                <a:solidFill>
                  <a:schemeClr val="bg1"/>
                </a:solidFill>
              </a:defRPr>
            </a:lvl1pPr>
          </a:lstStyle>
          <a:p>
            <a:r>
              <a:rPr lang="en-GB"/>
              <a:t>Click to edit </a:t>
            </a:r>
            <a:br>
              <a:rPr lang="en-GB"/>
            </a:br>
            <a:r>
              <a:rPr lang="en-GB"/>
              <a:t>longer headline</a:t>
            </a:r>
            <a:endParaRPr lang="de-DE"/>
          </a:p>
        </p:txBody>
      </p:sp>
    </p:spTree>
    <p:extLst>
      <p:ext uri="{BB962C8B-B14F-4D97-AF65-F5344CB8AC3E}">
        <p14:creationId xmlns:p14="http://schemas.microsoft.com/office/powerpoint/2010/main" val="23444877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4.1 disclaimer">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C24D0E03-A666-0DAA-5143-8621A79A9BB7}"/>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4" name="Textplatzhalter 3">
            <a:extLst>
              <a:ext uri="{FF2B5EF4-FFF2-40B4-BE49-F238E27FC236}">
                <a16:creationId xmlns:a16="http://schemas.microsoft.com/office/drawing/2014/main" id="{1234A8AF-6BA9-11CB-30CE-F32AC5ED34A0}"/>
              </a:ext>
            </a:extLst>
          </p:cNvPr>
          <p:cNvSpPr>
            <a:spLocks noGrp="1"/>
          </p:cNvSpPr>
          <p:nvPr>
            <p:ph type="body" sz="quarter" idx="10" hasCustomPrompt="1"/>
          </p:nvPr>
        </p:nvSpPr>
        <p:spPr>
          <a:xfrm>
            <a:off x="442913" y="1376363"/>
            <a:ext cx="11306175" cy="4824412"/>
          </a:xfrm>
        </p:spPr>
        <p:txBody>
          <a:bodyPr/>
          <a:lstStyle>
            <a:lvl1pPr>
              <a:defRPr sz="1600">
                <a:solidFill>
                  <a:schemeClr val="tx1"/>
                </a:solidFill>
                <a:latin typeface="DeutscheBank Medium" panose="020B0603020202030204" pitchFamily="34" charset="0"/>
                <a:ea typeface="DeutscheBank Medium" panose="020B0603020202030204" pitchFamily="34" charset="0"/>
              </a:defRPr>
            </a:lvl1pPr>
            <a:lvl2pPr>
              <a:defRPr sz="1200">
                <a:solidFill>
                  <a:schemeClr val="tx1"/>
                </a:solidFill>
                <a:latin typeface="+mn-lt"/>
              </a:defRPr>
            </a:lvl2pPr>
            <a:lvl3pPr marL="0" indent="0">
              <a:buFont typeface="Arial" panose="020B0604020202020204" pitchFamily="34" charset="0"/>
              <a:buNone/>
              <a:defRPr sz="1000">
                <a:solidFill>
                  <a:schemeClr val="tx1"/>
                </a:solidFill>
                <a:latin typeface="+mn-lt"/>
              </a:defRPr>
            </a:lvl3pPr>
            <a:lvl4pPr marL="0" indent="0">
              <a:buFont typeface="Symbol" panose="05050102010706020507" pitchFamily="18" charset="2"/>
              <a:buNone/>
              <a:defRPr sz="800">
                <a:solidFill>
                  <a:schemeClr val="tx1"/>
                </a:solidFill>
              </a:defRPr>
            </a:lvl4pPr>
            <a:lvl5pPr marL="0" indent="0">
              <a:buNone/>
              <a:defRPr sz="800">
                <a:solidFill>
                  <a:schemeClr val="tx1"/>
                </a:solidFill>
                <a:latin typeface="+mn-lt"/>
              </a:defRPr>
            </a:lvl5pPr>
            <a:lvl6pPr marL="999802" indent="0">
              <a:buNone/>
              <a:defRPr/>
            </a:lvl6pPr>
          </a:lstStyle>
          <a:p>
            <a:pPr lvl="0"/>
            <a:r>
              <a:rPr lang="en-GB" noProof="0"/>
              <a:t>Edit Disclaimer text</a:t>
            </a:r>
          </a:p>
          <a:p>
            <a:pPr lvl="1"/>
            <a:r>
              <a:rPr lang="en-GB" noProof="0"/>
              <a:t>Second Level</a:t>
            </a:r>
          </a:p>
          <a:p>
            <a:pPr lvl="2"/>
            <a:r>
              <a:rPr lang="en-GB" sz="1000" noProof="0"/>
              <a:t>Third level</a:t>
            </a:r>
            <a:endParaRPr lang="en-GB" noProof="0"/>
          </a:p>
          <a:p>
            <a:pPr lvl="3"/>
            <a:r>
              <a:rPr lang="en-GB" noProof="0"/>
              <a:t>Fourth level</a:t>
            </a:r>
          </a:p>
        </p:txBody>
      </p:sp>
      <p:sp>
        <p:nvSpPr>
          <p:cNvPr id="2" name="Foliennummernplatzhalter 1">
            <a:extLst>
              <a:ext uri="{FF2B5EF4-FFF2-40B4-BE49-F238E27FC236}">
                <a16:creationId xmlns:a16="http://schemas.microsoft.com/office/drawing/2014/main" id="{893A111B-BD41-622A-D926-0CF2B24D98A7}"/>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4017683842"/>
      </p:ext>
    </p:extLst>
  </p:cSld>
  <p:clrMapOvr>
    <a:masterClrMapping/>
  </p:clrMapOvr>
  <p:transition>
    <p:wipe dir="r"/>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1.1 table of contents">
    <p:spTree>
      <p:nvGrpSpPr>
        <p:cNvPr id="1" name=""/>
        <p:cNvGrpSpPr/>
        <p:nvPr/>
      </p:nvGrpSpPr>
      <p:grpSpPr>
        <a:xfrm>
          <a:off x="0" y="0"/>
          <a:ext cx="0" cy="0"/>
          <a:chOff x="0" y="0"/>
          <a:chExt cx="0" cy="0"/>
        </a:xfrm>
      </p:grpSpPr>
      <p:sp>
        <p:nvSpPr>
          <p:cNvPr id="8" name="Title Placeholder 12">
            <a:extLst>
              <a:ext uri="{FF2B5EF4-FFF2-40B4-BE49-F238E27FC236}">
                <a16:creationId xmlns:a16="http://schemas.microsoft.com/office/drawing/2014/main" id="{2634F715-CC4E-834F-CC2F-C0339A94BC3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lvl1pPr>
              <a:defRPr/>
            </a:lvl1pPr>
          </a:lstStyle>
          <a:p>
            <a:r>
              <a:rPr lang="en-GB" noProof="0"/>
              <a:t>Edit table of contents title</a:t>
            </a:r>
            <a:endParaRPr lang="en-GB"/>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442913" y="1376363"/>
            <a:ext cx="11304000" cy="4824412"/>
          </a:xfrm>
        </p:spPr>
        <p:txBody>
          <a:bodyPr numCol="2" spcCol="273600"/>
          <a:lstStyle>
            <a:lvl1pPr marL="359824" indent="-359824">
              <a:lnSpc>
                <a:spcPct val="100000"/>
              </a:lnSpc>
              <a:spcBef>
                <a:spcPts val="1600"/>
              </a:spcBef>
              <a:buFont typeface="+mj-lt"/>
              <a:buAutoNum type="arabicPeriod"/>
              <a:defRPr sz="1600" b="1">
                <a:solidFill>
                  <a:schemeClr val="accent2"/>
                </a:solidFill>
                <a:latin typeface="+mn-lt"/>
                <a:ea typeface="DeutscheBank Medium" panose="020B0603020202030204" pitchFamily="34" charset="0"/>
              </a:defRPr>
            </a:lvl1pPr>
            <a:lvl2pPr marL="720000" indent="-359824">
              <a:lnSpc>
                <a:spcPct val="100000"/>
              </a:lnSpc>
              <a:buFont typeface="+mj-lt"/>
              <a:buNone/>
              <a:tabLst>
                <a:tab pos="717533" algn="l"/>
                <a:tab pos="9567094" algn="r"/>
              </a:tabLst>
              <a:defRPr sz="1400" u="none">
                <a:solidFill>
                  <a:schemeClr val="tx1"/>
                </a:solidFill>
              </a:defRPr>
            </a:lvl2pPr>
          </a:lstStyle>
          <a:p>
            <a:pPr lvl="0"/>
            <a:r>
              <a:rPr lang="en-GB" noProof="0"/>
              <a:t>Chapter</a:t>
            </a:r>
          </a:p>
          <a:p>
            <a:pPr lvl="1"/>
            <a:r>
              <a:rPr lang="en-GB" noProof="0"/>
              <a:t>1.1	Sub-chapter	Page X</a:t>
            </a:r>
          </a:p>
          <a:p>
            <a:pPr lvl="1"/>
            <a:endParaRPr lang="en-GB" noProof="0"/>
          </a:p>
        </p:txBody>
      </p:sp>
      <p:sp>
        <p:nvSpPr>
          <p:cNvPr id="7" name="Foliennummernplatzhalter 1">
            <a:extLst>
              <a:ext uri="{FF2B5EF4-FFF2-40B4-BE49-F238E27FC236}">
                <a16:creationId xmlns:a16="http://schemas.microsoft.com/office/drawing/2014/main" id="{E9EA86EE-2AEA-799E-E9F1-45368B4E955D}"/>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986102835"/>
      </p:ext>
    </p:extLst>
  </p:cSld>
  <p:clrMapOvr>
    <a:masterClrMapping/>
  </p:clrMapOvr>
  <p:transition>
    <p:wipe dir="r"/>
  </p:transition>
  <p:extLst>
    <p:ext uri="{DCECCB84-F9BA-43D5-87BE-67443E8EF086}">
      <p15:sldGuideLst xmlns:p15="http://schemas.microsoft.com/office/powerpoint/2012/main">
        <p15:guide id="2" pos="3931">
          <p15:clr>
            <a:srgbClr val="FBAE40"/>
          </p15:clr>
        </p15:guide>
        <p15:guide id="3" pos="374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1.2 table of contents">
    <p:spTree>
      <p:nvGrpSpPr>
        <p:cNvPr id="1" name=""/>
        <p:cNvGrpSpPr/>
        <p:nvPr/>
      </p:nvGrpSpPr>
      <p:grpSpPr>
        <a:xfrm>
          <a:off x="0" y="0"/>
          <a:ext cx="0" cy="0"/>
          <a:chOff x="0" y="0"/>
          <a:chExt cx="0" cy="0"/>
        </a:xfrm>
      </p:grpSpPr>
      <p:sp>
        <p:nvSpPr>
          <p:cNvPr id="6" name="Title Placeholder 12">
            <a:extLst>
              <a:ext uri="{FF2B5EF4-FFF2-40B4-BE49-F238E27FC236}">
                <a16:creationId xmlns:a16="http://schemas.microsoft.com/office/drawing/2014/main" id="{BF2C62E0-7245-BA85-4683-48199EADB770}"/>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lvl1pPr>
              <a:defRPr/>
            </a:lvl1pPr>
          </a:lstStyle>
          <a:p>
            <a:r>
              <a:rPr lang="en-GB" noProof="0"/>
              <a:t>Edit table of contents title</a:t>
            </a:r>
            <a:endParaRPr lang="en-GB"/>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442913" y="1376363"/>
            <a:ext cx="11304000" cy="4824412"/>
          </a:xfrm>
        </p:spPr>
        <p:txBody>
          <a:bodyPr numCol="2" spcCol="273600"/>
          <a:lstStyle>
            <a:lvl1pPr marL="360000" indent="-360000">
              <a:lnSpc>
                <a:spcPct val="100000"/>
              </a:lnSpc>
              <a:spcBef>
                <a:spcPts val="1600"/>
              </a:spcBef>
              <a:buFont typeface="+mj-lt"/>
              <a:buAutoNum type="arabicPeriod"/>
              <a:defRPr sz="1600" b="1">
                <a:solidFill>
                  <a:schemeClr val="accent2"/>
                </a:solidFill>
                <a:latin typeface="+mn-lt"/>
                <a:ea typeface="DeutscheBank Medium" panose="020B0603020202030204" pitchFamily="34" charset="0"/>
              </a:defRPr>
            </a:lvl1pPr>
            <a:lvl2pPr marL="720000" indent="-360000">
              <a:lnSpc>
                <a:spcPct val="100000"/>
              </a:lnSpc>
              <a:buFont typeface="+mj-lt"/>
              <a:buNone/>
              <a:tabLst>
                <a:tab pos="9567094" algn="r"/>
              </a:tabLst>
              <a:defRPr sz="1100" u="none">
                <a:solidFill>
                  <a:schemeClr val="tx1"/>
                </a:solidFill>
              </a:defRPr>
            </a:lvl2pPr>
            <a:lvl3pPr marL="720000" indent="0">
              <a:buNone/>
              <a:defRPr sz="1100">
                <a:solidFill>
                  <a:schemeClr val="tx1"/>
                </a:solidFill>
              </a:defRPr>
            </a:lvl3pPr>
            <a:lvl4pPr marL="358775" indent="0" algn="just">
              <a:buNone/>
              <a:defRPr sz="1100" u="none">
                <a:solidFill>
                  <a:schemeClr val="accent2"/>
                </a:solidFill>
              </a:defRPr>
            </a:lvl4pPr>
          </a:lstStyle>
          <a:p>
            <a:pPr lvl="0"/>
            <a:r>
              <a:rPr lang="en-GB" noProof="0"/>
              <a:t>Chapter</a:t>
            </a:r>
          </a:p>
          <a:p>
            <a:pPr lvl="1"/>
            <a:r>
              <a:rPr lang="en-GB" noProof="0"/>
              <a:t>1.1	Sub-chapter	Page X</a:t>
            </a:r>
          </a:p>
          <a:p>
            <a:pPr lvl="2"/>
            <a:r>
              <a:rPr lang="en-GB" noProof="0"/>
              <a:t>Sub-chapter details</a:t>
            </a:r>
          </a:p>
          <a:p>
            <a:pPr lvl="3"/>
            <a:r>
              <a:rPr lang="en-GB" noProof="0"/>
              <a:t>_______________________________________________________________________________</a:t>
            </a:r>
          </a:p>
        </p:txBody>
      </p:sp>
      <p:sp>
        <p:nvSpPr>
          <p:cNvPr id="5" name="Foliennummernplatzhalter 1">
            <a:extLst>
              <a:ext uri="{FF2B5EF4-FFF2-40B4-BE49-F238E27FC236}">
                <a16:creationId xmlns:a16="http://schemas.microsoft.com/office/drawing/2014/main" id="{1749F51A-2B83-ACCE-75D5-84C9DB3EF42D}"/>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249501916"/>
      </p:ext>
    </p:extLst>
  </p:cSld>
  <p:clrMapOvr>
    <a:masterClrMapping/>
  </p:clrMapOvr>
  <p:transition>
    <p:wipe dir="r"/>
  </p:transition>
  <p:extLst>
    <p:ext uri="{DCECCB84-F9BA-43D5-87BE-67443E8EF086}">
      <p15:sldGuideLst xmlns:p15="http://schemas.microsoft.com/office/powerpoint/2012/main">
        <p15:guide id="2" pos="3749">
          <p15:clr>
            <a:srgbClr val="FBAE40"/>
          </p15:clr>
        </p15:guide>
        <p15:guide id="3" pos="393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2.1 content with 1 column">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9640929F-8E5F-5637-55F2-BA2BA82D863D}"/>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376775"/>
            <a:ext cx="11304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4" name="Foliennummernplatzhalter 1">
            <a:extLst>
              <a:ext uri="{FF2B5EF4-FFF2-40B4-BE49-F238E27FC236}">
                <a16:creationId xmlns:a16="http://schemas.microsoft.com/office/drawing/2014/main" id="{8A2AC264-79FB-4261-431A-D13284993C8F}"/>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65965997"/>
      </p:ext>
    </p:extLst>
  </p:cSld>
  <p:clrMapOvr>
    <a:masterClrMapping/>
  </p:clrMapOvr>
  <p:transition>
    <p:wipe dir="r"/>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2.2 content with 2 columns">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375200"/>
            <a:ext cx="5544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6205088" y="1376775"/>
            <a:ext cx="5544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812778734"/>
      </p:ext>
    </p:extLst>
  </p:cSld>
  <p:clrMapOvr>
    <a:masterClrMapping/>
  </p:clrMapOvr>
  <p:transition>
    <p:wipe dir="r"/>
  </p:transition>
  <p:extLst>
    <p:ext uri="{DCECCB84-F9BA-43D5-87BE-67443E8EF086}">
      <p15:sldGuideLst xmlns:p15="http://schemas.microsoft.com/office/powerpoint/2012/main">
        <p15:guide id="1" pos="3908">
          <p15:clr>
            <a:srgbClr val="FBAE40"/>
          </p15:clr>
        </p15:guide>
        <p15:guide id="2" pos="377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2.3 content with 3 columns">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AAEA86B8-DA77-DA29-8D8E-3132E6D1795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799" y="1376363"/>
            <a:ext cx="3636000" cy="48244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8" name="Inhaltsplatzhalter 13">
            <a:extLst>
              <a:ext uri="{FF2B5EF4-FFF2-40B4-BE49-F238E27FC236}">
                <a16:creationId xmlns:a16="http://schemas.microsoft.com/office/drawing/2014/main" id="{D34283E4-4B00-A561-763D-DF6E3E9A881D}"/>
              </a:ext>
            </a:extLst>
          </p:cNvPr>
          <p:cNvSpPr>
            <a:spLocks noGrp="1"/>
          </p:cNvSpPr>
          <p:nvPr>
            <p:ph sz="quarter" idx="11" hasCustomPrompt="1"/>
          </p:nvPr>
        </p:nvSpPr>
        <p:spPr>
          <a:xfrm>
            <a:off x="4278000" y="1376363"/>
            <a:ext cx="3636000" cy="48244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9" name="Inhaltsplatzhalter 13">
            <a:extLst>
              <a:ext uri="{FF2B5EF4-FFF2-40B4-BE49-F238E27FC236}">
                <a16:creationId xmlns:a16="http://schemas.microsoft.com/office/drawing/2014/main" id="{9A947CA2-EC95-FB51-AA32-495DF9A8C932}"/>
              </a:ext>
            </a:extLst>
          </p:cNvPr>
          <p:cNvSpPr>
            <a:spLocks noGrp="1"/>
          </p:cNvSpPr>
          <p:nvPr>
            <p:ph sz="quarter" idx="12" hasCustomPrompt="1"/>
          </p:nvPr>
        </p:nvSpPr>
        <p:spPr>
          <a:xfrm>
            <a:off x="8113088" y="1375200"/>
            <a:ext cx="3636000" cy="482441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Foliennummernplatzhalter 1">
            <a:extLst>
              <a:ext uri="{FF2B5EF4-FFF2-40B4-BE49-F238E27FC236}">
                <a16:creationId xmlns:a16="http://schemas.microsoft.com/office/drawing/2014/main" id="{6A4F6BE9-2084-AE4F-92DD-4DB1AA9AB0E3}"/>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32249498"/>
      </p:ext>
    </p:extLst>
  </p:cSld>
  <p:clrMapOvr>
    <a:masterClrMapping/>
  </p:clrMapOvr>
  <p:transition>
    <p:wipe dir="r"/>
  </p:transition>
  <p:extLst>
    <p:ext uri="{DCECCB84-F9BA-43D5-87BE-67443E8EF086}">
      <p15:sldGuideLst xmlns:p15="http://schemas.microsoft.com/office/powerpoint/2012/main">
        <p15:guide id="1" pos="2570">
          <p15:clr>
            <a:srgbClr val="FBAE40"/>
          </p15:clr>
        </p15:guide>
        <p15:guide id="2" pos="2695">
          <p15:clr>
            <a:srgbClr val="FBAE40"/>
          </p15:clr>
        </p15:guide>
        <p15:guide id="3" pos="4986">
          <p15:clr>
            <a:srgbClr val="FBAE40"/>
          </p15:clr>
        </p15:guide>
        <p15:guide id="4" pos="511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2.4 content with 4 columns">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AAEA86B8-DA77-DA29-8D8E-3132E6D1795F}"/>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798" y="1376363"/>
            <a:ext cx="2700000" cy="4824412"/>
          </a:xfrm>
        </p:spPr>
        <p:txBody>
          <a:bodyPr/>
          <a:lstStyle>
            <a:lvl1pPr>
              <a:lnSpc>
                <a:spcPct val="100000"/>
              </a:lnSpc>
              <a:defRPr sz="1600">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3" name="Inhaltsplatzhalter 13">
            <a:extLst>
              <a:ext uri="{FF2B5EF4-FFF2-40B4-BE49-F238E27FC236}">
                <a16:creationId xmlns:a16="http://schemas.microsoft.com/office/drawing/2014/main" id="{00B870EA-5630-51E8-AFE3-51FF28A79089}"/>
              </a:ext>
            </a:extLst>
          </p:cNvPr>
          <p:cNvSpPr>
            <a:spLocks noGrp="1"/>
          </p:cNvSpPr>
          <p:nvPr>
            <p:ph sz="quarter" idx="11" hasCustomPrompt="1"/>
          </p:nvPr>
        </p:nvSpPr>
        <p:spPr>
          <a:xfrm>
            <a:off x="3311600"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4" name="Inhaltsplatzhalter 13">
            <a:extLst>
              <a:ext uri="{FF2B5EF4-FFF2-40B4-BE49-F238E27FC236}">
                <a16:creationId xmlns:a16="http://schemas.microsoft.com/office/drawing/2014/main" id="{B6F8313C-929F-7F67-1878-4D35B0A7573B}"/>
              </a:ext>
            </a:extLst>
          </p:cNvPr>
          <p:cNvSpPr>
            <a:spLocks noGrp="1"/>
          </p:cNvSpPr>
          <p:nvPr>
            <p:ph sz="quarter" idx="12" hasCustomPrompt="1"/>
          </p:nvPr>
        </p:nvSpPr>
        <p:spPr>
          <a:xfrm>
            <a:off x="6180402"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6" name="Inhaltsplatzhalter 13">
            <a:extLst>
              <a:ext uri="{FF2B5EF4-FFF2-40B4-BE49-F238E27FC236}">
                <a16:creationId xmlns:a16="http://schemas.microsoft.com/office/drawing/2014/main" id="{49F02B2D-62CC-D0EA-68FE-989BDC64638D}"/>
              </a:ext>
            </a:extLst>
          </p:cNvPr>
          <p:cNvSpPr>
            <a:spLocks noGrp="1"/>
          </p:cNvSpPr>
          <p:nvPr>
            <p:ph sz="quarter" idx="13" hasCustomPrompt="1"/>
          </p:nvPr>
        </p:nvSpPr>
        <p:spPr>
          <a:xfrm>
            <a:off x="9049204" y="1376363"/>
            <a:ext cx="2700000" cy="4824412"/>
          </a:xfrm>
        </p:spPr>
        <p:txBody>
          <a:bodyPr/>
          <a:lstStyle>
            <a:lvl1pPr>
              <a:lnSpc>
                <a:spcPct val="100000"/>
              </a:lnSpc>
              <a:defRPr>
                <a:solidFill>
                  <a:schemeClr val="tx1"/>
                </a:solidFill>
              </a:defRPr>
            </a:lvl1pPr>
            <a:lvl2pPr>
              <a:lnSpc>
                <a:spcPct val="100000"/>
              </a:lnSpc>
              <a:defRPr sz="1200">
                <a:solidFill>
                  <a:schemeClr val="tx1"/>
                </a:solidFill>
              </a:defRPr>
            </a:lvl2pPr>
            <a:lvl3pPr>
              <a:lnSpc>
                <a:spcPct val="100000"/>
              </a:lnSpc>
              <a:defRPr sz="1200">
                <a:solidFill>
                  <a:schemeClr val="tx1"/>
                </a:solidFill>
              </a:defRPr>
            </a:lvl3pPr>
            <a:lvl4pPr>
              <a:lnSpc>
                <a:spcPct val="100000"/>
              </a:lnSpc>
              <a:defRPr sz="1000">
                <a:solidFill>
                  <a:schemeClr val="tx1"/>
                </a:solidFill>
              </a:defRPr>
            </a:lvl4pPr>
            <a:lvl5pPr>
              <a:lnSpc>
                <a:spcPct val="100000"/>
              </a:lnSpc>
              <a:defRPr sz="800">
                <a:solidFill>
                  <a:schemeClr val="tx1"/>
                </a:solidFill>
              </a:defRPr>
            </a:lvl5pPr>
            <a:lvl6pPr>
              <a:defRPr>
                <a:solidFill>
                  <a:schemeClr val="tx1"/>
                </a:solidFill>
              </a:defRPr>
            </a:lvl6pPr>
            <a:lvl7pPr>
              <a:defRPr>
                <a:solidFill>
                  <a:schemeClr val="tx1"/>
                </a:solidFill>
              </a:defRPr>
            </a:lvl7pPr>
          </a:lstStyle>
          <a:p>
            <a:pPr lvl="0"/>
            <a:r>
              <a:rPr lang="en-GB" noProof="0"/>
              <a:t>Edit text or add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Foliennummernplatzhalter 1">
            <a:extLst>
              <a:ext uri="{FF2B5EF4-FFF2-40B4-BE49-F238E27FC236}">
                <a16:creationId xmlns:a16="http://schemas.microsoft.com/office/drawing/2014/main" id="{6A4F6BE9-2084-AE4F-92DD-4DB1AA9AB0E3}"/>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2654734944"/>
      </p:ext>
    </p:extLst>
  </p:cSld>
  <p:clrMapOvr>
    <a:masterClrMapping/>
  </p:clrMapOvr>
  <p:transition>
    <p:wipe dir="r"/>
  </p:transition>
  <p:extLst>
    <p:ext uri="{DCECCB84-F9BA-43D5-87BE-67443E8EF086}">
      <p15:sldGuideLst xmlns:p15="http://schemas.microsoft.com/office/powerpoint/2012/main">
        <p15:guide id="1" pos="1980">
          <p15:clr>
            <a:srgbClr val="FBAE40"/>
          </p15:clr>
        </p15:guide>
        <p15:guide id="2" pos="2085">
          <p15:clr>
            <a:srgbClr val="FBAE40"/>
          </p15:clr>
        </p15:guide>
        <p15:guide id="3" pos="3787">
          <p15:clr>
            <a:srgbClr val="FBAE40"/>
          </p15:clr>
        </p15:guide>
        <p15:guide id="4" pos="3892">
          <p15:clr>
            <a:srgbClr val="FBAE40"/>
          </p15:clr>
        </p15:guide>
        <p15:guide id="5" pos="5594">
          <p15:clr>
            <a:srgbClr val="FBAE40"/>
          </p15:clr>
        </p15:guide>
        <p15:guide id="6" pos="5700">
          <p15:clr>
            <a:srgbClr val="FBAE40"/>
          </p15:clr>
        </p15:guide>
        <p15:guide id="7" orient="horz">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2.5 content with 2 columns blue">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5BC59499-0986-436B-AB78-890859FEBD82}"/>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913" y="1376363"/>
            <a:ext cx="5544000" cy="4824000"/>
          </a:xfrm>
          <a:solidFill>
            <a:srgbClr val="00A3E0"/>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6205089" y="1376363"/>
            <a:ext cx="5544000" cy="4824000"/>
          </a:xfrm>
          <a:solidFill>
            <a:schemeClr val="accent2"/>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4" name="Foliennummernplatzhalter 1">
            <a:extLst>
              <a:ext uri="{FF2B5EF4-FFF2-40B4-BE49-F238E27FC236}">
                <a16:creationId xmlns:a16="http://schemas.microsoft.com/office/drawing/2014/main" id="{C1AE7E37-1CD9-34F9-9DF1-1211C17BCC4F}"/>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021337892"/>
      </p:ext>
    </p:extLst>
  </p:cSld>
  <p:clrMapOvr>
    <a:masterClrMapping/>
  </p:clrMapOvr>
  <p:transition>
    <p:wipe dir="r"/>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2.6 content with 2 columns blue">
    <p:spTree>
      <p:nvGrpSpPr>
        <p:cNvPr id="1" name=""/>
        <p:cNvGrpSpPr/>
        <p:nvPr/>
      </p:nvGrpSpPr>
      <p:grpSpPr>
        <a:xfrm>
          <a:off x="0" y="0"/>
          <a:ext cx="0" cy="0"/>
          <a:chOff x="0" y="0"/>
          <a:chExt cx="0" cy="0"/>
        </a:xfrm>
      </p:grpSpPr>
      <p:sp>
        <p:nvSpPr>
          <p:cNvPr id="10" name="Title Placeholder 12">
            <a:extLst>
              <a:ext uri="{FF2B5EF4-FFF2-40B4-BE49-F238E27FC236}">
                <a16:creationId xmlns:a16="http://schemas.microsoft.com/office/drawing/2014/main" id="{1C401325-EAB2-026D-7B64-ECC8E9394FD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5" name="Textplatzhalter 4">
            <a:extLst>
              <a:ext uri="{FF2B5EF4-FFF2-40B4-BE49-F238E27FC236}">
                <a16:creationId xmlns:a16="http://schemas.microsoft.com/office/drawing/2014/main" id="{5857D3E1-ED2A-BFB9-AD11-2FCA92D5B056}"/>
              </a:ext>
            </a:extLst>
          </p:cNvPr>
          <p:cNvSpPr>
            <a:spLocks noGrp="1"/>
          </p:cNvSpPr>
          <p:nvPr>
            <p:ph type="body" sz="quarter" idx="12" hasCustomPrompt="1"/>
          </p:nvPr>
        </p:nvSpPr>
        <p:spPr>
          <a:xfrm>
            <a:off x="442800" y="1376362"/>
            <a:ext cx="5544000" cy="432000"/>
          </a:xfrm>
          <a:solidFill>
            <a:srgbClr val="E1F5FA"/>
          </a:solidFill>
        </p:spPr>
        <p:txBody>
          <a:bodyPr lIns="108000" anchor="ctr" anchorCtr="0"/>
          <a:lstStyle>
            <a:lvl1pPr>
              <a:defRPr>
                <a:solidFill>
                  <a:schemeClr val="bg1"/>
                </a:solidFill>
                <a:latin typeface="DeutscheBank Medium" panose="020B0603020202030204" pitchFamily="34" charset="0"/>
                <a:ea typeface="DeutscheBank Medium" panose="020B0603020202030204" pitchFamily="34" charset="0"/>
              </a:defRPr>
            </a:lvl1pPr>
          </a:lstStyle>
          <a:p>
            <a:pPr lvl="0"/>
            <a:r>
              <a:rPr lang="en-GB" noProof="0"/>
              <a:t>Edit headline</a:t>
            </a:r>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913" y="1880775"/>
            <a:ext cx="5544000" cy="4320000"/>
          </a:xfrm>
          <a:solidFill>
            <a:srgbClr val="00A3E0"/>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12" name="Textplatzhalter 4">
            <a:extLst>
              <a:ext uri="{FF2B5EF4-FFF2-40B4-BE49-F238E27FC236}">
                <a16:creationId xmlns:a16="http://schemas.microsoft.com/office/drawing/2014/main" id="{91B9B683-5F09-FE3A-6909-D3EB2E1FF312}"/>
              </a:ext>
            </a:extLst>
          </p:cNvPr>
          <p:cNvSpPr>
            <a:spLocks noGrp="1"/>
          </p:cNvSpPr>
          <p:nvPr>
            <p:ph type="body" sz="quarter" idx="14" hasCustomPrompt="1"/>
          </p:nvPr>
        </p:nvSpPr>
        <p:spPr>
          <a:xfrm>
            <a:off x="6204974" y="1376363"/>
            <a:ext cx="5544000" cy="432000"/>
          </a:xfrm>
          <a:solidFill>
            <a:srgbClr val="E1F5FA"/>
          </a:solidFill>
        </p:spPr>
        <p:txBody>
          <a:bodyPr lIns="108000" anchor="ctr" anchorCtr="0"/>
          <a:lstStyle>
            <a:lvl1pPr>
              <a:defRPr>
                <a:solidFill>
                  <a:schemeClr val="bg1"/>
                </a:solidFill>
                <a:latin typeface="DeutscheBank Medium" panose="020B0603020202030204" pitchFamily="34" charset="0"/>
                <a:ea typeface="DeutscheBank Medium" panose="020B0603020202030204" pitchFamily="34" charset="0"/>
              </a:defRPr>
            </a:lvl1pPr>
          </a:lstStyle>
          <a:p>
            <a:pPr lvl="0"/>
            <a:r>
              <a:rPr lang="en-GB" noProof="0"/>
              <a:t>Edit headline</a:t>
            </a:r>
          </a:p>
        </p:txBody>
      </p:sp>
      <p:sp>
        <p:nvSpPr>
          <p:cNvPr id="11" name="Inhaltsplatzhalter 13">
            <a:extLst>
              <a:ext uri="{FF2B5EF4-FFF2-40B4-BE49-F238E27FC236}">
                <a16:creationId xmlns:a16="http://schemas.microsoft.com/office/drawing/2014/main" id="{C96FE548-F103-E315-61C7-DA06E9B6F60B}"/>
              </a:ext>
            </a:extLst>
          </p:cNvPr>
          <p:cNvSpPr>
            <a:spLocks noGrp="1"/>
          </p:cNvSpPr>
          <p:nvPr>
            <p:ph sz="quarter" idx="13" hasCustomPrompt="1"/>
          </p:nvPr>
        </p:nvSpPr>
        <p:spPr>
          <a:xfrm>
            <a:off x="6205087" y="1880776"/>
            <a:ext cx="5544000" cy="4320000"/>
          </a:xfrm>
          <a:solidFill>
            <a:srgbClr val="00A3E0"/>
          </a:solidFill>
        </p:spPr>
        <p:txBody>
          <a:bodyPr lIns="108000" tIns="108000" rIns="108000" bIns="108000"/>
          <a:lstStyle>
            <a:lvl1pPr>
              <a:lnSpc>
                <a:spcPct val="100000"/>
              </a:lnSpc>
              <a:defRPr>
                <a:solidFill>
                  <a:schemeClr val="bg1"/>
                </a:solidFill>
              </a:defRPr>
            </a:lvl1pPr>
            <a:lvl2pPr>
              <a:lnSpc>
                <a:spcPct val="100000"/>
              </a:lnSpc>
              <a:defRPr>
                <a:solidFill>
                  <a:schemeClr val="tx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9" name="Foliennummernplatzhalter 1">
            <a:extLst>
              <a:ext uri="{FF2B5EF4-FFF2-40B4-BE49-F238E27FC236}">
                <a16:creationId xmlns:a16="http://schemas.microsoft.com/office/drawing/2014/main" id="{8D06A17C-7EBE-E233-0C45-95B5D4303C88}"/>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186954868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2.10 content with 2 columns 2/3">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442800" y="1375200"/>
            <a:ext cx="3600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4261088" y="1375200"/>
            <a:ext cx="748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3098070391"/>
      </p:ext>
    </p:extLst>
  </p:cSld>
  <p:clrMapOvr>
    <a:masterClrMapping/>
  </p:clrMapOvr>
  <p:transition>
    <p:wipe dir="r"/>
  </p:transition>
  <p:extLst>
    <p:ext uri="{DCECCB84-F9BA-43D5-87BE-67443E8EF086}">
      <p15:sldGuideLst xmlns:p15="http://schemas.microsoft.com/office/powerpoint/2012/main">
        <p15:guide id="1" pos="2683">
          <p15:clr>
            <a:srgbClr val="FBAE40"/>
          </p15:clr>
        </p15:guide>
        <p15:guide id="2" pos="254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5 motif title garden meet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Freeform 4" descr="White Deutsche Bank logo">
            <a:extLst>
              <a:ext uri="{FF2B5EF4-FFF2-40B4-BE49-F238E27FC236}">
                <a16:creationId xmlns:a16="http://schemas.microsoft.com/office/drawing/2014/main" id="{E4112291-5A6C-40C4-F43A-411211879C52}"/>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2" name="Google Shape;12;p7" descr="Transparent expanding box on photo of a group of women talking in a nature setting">
            <a:extLst>
              <a:ext uri="{FF2B5EF4-FFF2-40B4-BE49-F238E27FC236}">
                <a16:creationId xmlns:a16="http://schemas.microsoft.com/office/drawing/2014/main" id="{0B5BBA37-CEBA-440A-A6A9-75B58BA78D71}"/>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10" name="TextBox 19">
            <a:extLst>
              <a:ext uri="{FF2B5EF4-FFF2-40B4-BE49-F238E27FC236}">
                <a16:creationId xmlns:a16="http://schemas.microsoft.com/office/drawing/2014/main" id="{604B905C-D6DF-78A0-C8C9-23C8D4B7FEE2}"/>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66DB1810-E4FA-7EE2-F913-2B8D656798AE}"/>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8" name="Text Placeholder 3">
            <a:extLst>
              <a:ext uri="{FF2B5EF4-FFF2-40B4-BE49-F238E27FC236}">
                <a16:creationId xmlns:a16="http://schemas.microsoft.com/office/drawing/2014/main" id="{2CA12BD2-01AE-4DA2-4806-F9F8F0FD98AE}"/>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17" name="Textplatzhalter 4">
            <a:extLst>
              <a:ext uri="{FF2B5EF4-FFF2-40B4-BE49-F238E27FC236}">
                <a16:creationId xmlns:a16="http://schemas.microsoft.com/office/drawing/2014/main" id="{9B7FFC08-685D-BA3C-D7C8-8D533A8AD366}"/>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EB7384FD-EA7D-AD3C-5845-14317EA4B345}"/>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3" name="Title 3">
            <a:extLst>
              <a:ext uri="{FF2B5EF4-FFF2-40B4-BE49-F238E27FC236}">
                <a16:creationId xmlns:a16="http://schemas.microsoft.com/office/drawing/2014/main" id="{C679CD00-3DD4-5282-727A-B6C265FF399B}"/>
              </a:ext>
            </a:extLst>
          </p:cNvPr>
          <p:cNvSpPr>
            <a:spLocks noGrp="1"/>
          </p:cNvSpPr>
          <p:nvPr>
            <p:ph type="title" hasCustomPrompt="1"/>
          </p:nvPr>
        </p:nvSpPr>
        <p:spPr>
          <a:xfrm>
            <a:off x="972000" y="2919600"/>
            <a:ext cx="9590400" cy="6336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8529127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2.11 content with 2 columns 3/2">
    <p:spTree>
      <p:nvGrpSpPr>
        <p:cNvPr id="1" name=""/>
        <p:cNvGrpSpPr/>
        <p:nvPr/>
      </p:nvGrpSpPr>
      <p:grpSpPr>
        <a:xfrm>
          <a:off x="0" y="0"/>
          <a:ext cx="0" cy="0"/>
          <a:chOff x="0" y="0"/>
          <a:chExt cx="0" cy="0"/>
        </a:xfrm>
      </p:grpSpPr>
      <p:sp>
        <p:nvSpPr>
          <p:cNvPr id="7" name="Title Placeholder 12">
            <a:extLst>
              <a:ext uri="{FF2B5EF4-FFF2-40B4-BE49-F238E27FC236}">
                <a16:creationId xmlns:a16="http://schemas.microsoft.com/office/drawing/2014/main" id="{BD5E0A89-8748-D2DF-7D8C-3A9579085791}"/>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2" name="Inhaltsplatzhalter 13">
            <a:extLst>
              <a:ext uri="{FF2B5EF4-FFF2-40B4-BE49-F238E27FC236}">
                <a16:creationId xmlns:a16="http://schemas.microsoft.com/office/drawing/2014/main" id="{54D13192-5D33-EA9A-E52F-CF35A0371181}"/>
              </a:ext>
            </a:extLst>
          </p:cNvPr>
          <p:cNvSpPr>
            <a:spLocks noGrp="1"/>
          </p:cNvSpPr>
          <p:nvPr>
            <p:ph sz="quarter" idx="11" hasCustomPrompt="1"/>
          </p:nvPr>
        </p:nvSpPr>
        <p:spPr>
          <a:xfrm>
            <a:off x="442912" y="1375200"/>
            <a:ext cx="7488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14" name="Inhaltsplatzhalter 13">
            <a:extLst>
              <a:ext uri="{FF2B5EF4-FFF2-40B4-BE49-F238E27FC236}">
                <a16:creationId xmlns:a16="http://schemas.microsoft.com/office/drawing/2014/main" id="{D3A92151-B6D0-8782-A8E4-6A94BC6E4793}"/>
              </a:ext>
            </a:extLst>
          </p:cNvPr>
          <p:cNvSpPr>
            <a:spLocks noGrp="1"/>
          </p:cNvSpPr>
          <p:nvPr>
            <p:ph sz="quarter" idx="10" hasCustomPrompt="1"/>
          </p:nvPr>
        </p:nvSpPr>
        <p:spPr>
          <a:xfrm>
            <a:off x="8149088" y="1376775"/>
            <a:ext cx="3600000" cy="48240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GB" noProof="0"/>
              <a:t>Edit text or add content eleme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Disclaimer text</a:t>
            </a:r>
          </a:p>
          <a:p>
            <a:pPr lvl="6"/>
            <a:r>
              <a:rPr lang="en-GB" noProof="0"/>
              <a:t>Disclaimer text</a:t>
            </a:r>
          </a:p>
        </p:txBody>
      </p:sp>
      <p:sp>
        <p:nvSpPr>
          <p:cNvPr id="5" name="Foliennummernplatzhalter 1">
            <a:extLst>
              <a:ext uri="{FF2B5EF4-FFF2-40B4-BE49-F238E27FC236}">
                <a16:creationId xmlns:a16="http://schemas.microsoft.com/office/drawing/2014/main" id="{AE4C46F8-BC41-AB6C-9CCA-DA25A7F09C02}"/>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1002063374"/>
      </p:ext>
    </p:extLst>
  </p:cSld>
  <p:clrMapOvr>
    <a:masterClrMapping/>
  </p:clrMapOvr>
  <p:transition>
    <p:wipe dir="r"/>
  </p:transition>
  <p:extLst>
    <p:ext uri="{DCECCB84-F9BA-43D5-87BE-67443E8EF086}">
      <p15:sldGuideLst xmlns:p15="http://schemas.microsoft.com/office/powerpoint/2012/main">
        <p15:guide id="1" pos="4997">
          <p15:clr>
            <a:srgbClr val="FBAE40"/>
          </p15:clr>
        </p15:guide>
        <p15:guide id="2" pos="513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3.1 headline only">
    <p:spTree>
      <p:nvGrpSpPr>
        <p:cNvPr id="1" name=""/>
        <p:cNvGrpSpPr/>
        <p:nvPr/>
      </p:nvGrpSpPr>
      <p:grpSpPr>
        <a:xfrm>
          <a:off x="0" y="0"/>
          <a:ext cx="0" cy="0"/>
          <a:chOff x="0" y="0"/>
          <a:chExt cx="0" cy="0"/>
        </a:xfrm>
      </p:grpSpPr>
      <p:sp>
        <p:nvSpPr>
          <p:cNvPr id="4" name="Title Placeholder 12">
            <a:extLst>
              <a:ext uri="{FF2B5EF4-FFF2-40B4-BE49-F238E27FC236}">
                <a16:creationId xmlns:a16="http://schemas.microsoft.com/office/drawing/2014/main" id="{BD2F878F-F368-C908-AC1B-9248EC0612AA}"/>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2" name="Foliennummernplatzhalter 1">
            <a:extLst>
              <a:ext uri="{FF2B5EF4-FFF2-40B4-BE49-F238E27FC236}">
                <a16:creationId xmlns:a16="http://schemas.microsoft.com/office/drawing/2014/main" id="{CFE7F086-16AD-6F0D-E07A-F0D525D4B568}"/>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860057056"/>
      </p:ext>
    </p:extLst>
  </p:cSld>
  <p:clrMapOvr>
    <a:masterClrMapping/>
  </p:clrMapOvr>
  <p:transition>
    <p:wipe dir="r"/>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4.1 disclaimer">
    <p:spTree>
      <p:nvGrpSpPr>
        <p:cNvPr id="1" name=""/>
        <p:cNvGrpSpPr/>
        <p:nvPr/>
      </p:nvGrpSpPr>
      <p:grpSpPr>
        <a:xfrm>
          <a:off x="0" y="0"/>
          <a:ext cx="0" cy="0"/>
          <a:chOff x="0" y="0"/>
          <a:chExt cx="0" cy="0"/>
        </a:xfrm>
      </p:grpSpPr>
      <p:sp>
        <p:nvSpPr>
          <p:cNvPr id="5" name="Title Placeholder 12">
            <a:extLst>
              <a:ext uri="{FF2B5EF4-FFF2-40B4-BE49-F238E27FC236}">
                <a16:creationId xmlns:a16="http://schemas.microsoft.com/office/drawing/2014/main" id="{C24D0E03-A666-0DAA-5143-8621A79A9BB7}"/>
              </a:ext>
            </a:extLst>
          </p:cNvPr>
          <p:cNvSpPr>
            <a:spLocks noGrp="1"/>
          </p:cNvSpPr>
          <p:nvPr>
            <p:ph type="title" hasCustomPrompt="1"/>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4" name="Textplatzhalter 3">
            <a:extLst>
              <a:ext uri="{FF2B5EF4-FFF2-40B4-BE49-F238E27FC236}">
                <a16:creationId xmlns:a16="http://schemas.microsoft.com/office/drawing/2014/main" id="{1234A8AF-6BA9-11CB-30CE-F32AC5ED34A0}"/>
              </a:ext>
            </a:extLst>
          </p:cNvPr>
          <p:cNvSpPr>
            <a:spLocks noGrp="1"/>
          </p:cNvSpPr>
          <p:nvPr>
            <p:ph type="body" sz="quarter" idx="10" hasCustomPrompt="1"/>
          </p:nvPr>
        </p:nvSpPr>
        <p:spPr>
          <a:xfrm>
            <a:off x="442913" y="1376363"/>
            <a:ext cx="11306175" cy="4824412"/>
          </a:xfrm>
        </p:spPr>
        <p:txBody>
          <a:bodyPr/>
          <a:lstStyle>
            <a:lvl1pPr>
              <a:defRPr sz="1600">
                <a:solidFill>
                  <a:schemeClr val="tx1"/>
                </a:solidFill>
                <a:latin typeface="DeutscheBank Medium" panose="020B0603020202030204" pitchFamily="34" charset="0"/>
                <a:ea typeface="DeutscheBank Medium" panose="020B0603020202030204" pitchFamily="34" charset="0"/>
              </a:defRPr>
            </a:lvl1pPr>
            <a:lvl2pPr>
              <a:defRPr sz="1200">
                <a:solidFill>
                  <a:schemeClr val="tx1"/>
                </a:solidFill>
                <a:latin typeface="+mn-lt"/>
              </a:defRPr>
            </a:lvl2pPr>
            <a:lvl3pPr marL="0" indent="0">
              <a:buFont typeface="Arial" panose="020B0604020202020204" pitchFamily="34" charset="0"/>
              <a:buNone/>
              <a:defRPr sz="1000">
                <a:solidFill>
                  <a:schemeClr val="tx1"/>
                </a:solidFill>
                <a:latin typeface="+mn-lt"/>
              </a:defRPr>
            </a:lvl3pPr>
            <a:lvl4pPr marL="0" indent="0">
              <a:buFont typeface="Symbol" panose="05050102010706020507" pitchFamily="18" charset="2"/>
              <a:buNone/>
              <a:defRPr sz="800">
                <a:solidFill>
                  <a:schemeClr val="tx1"/>
                </a:solidFill>
              </a:defRPr>
            </a:lvl4pPr>
            <a:lvl5pPr marL="0" indent="0">
              <a:buNone/>
              <a:defRPr sz="800">
                <a:solidFill>
                  <a:schemeClr val="tx1"/>
                </a:solidFill>
                <a:latin typeface="+mn-lt"/>
              </a:defRPr>
            </a:lvl5pPr>
            <a:lvl6pPr marL="999802" indent="0">
              <a:buNone/>
              <a:defRPr/>
            </a:lvl6pPr>
          </a:lstStyle>
          <a:p>
            <a:pPr lvl="0"/>
            <a:r>
              <a:rPr lang="en-GB" noProof="0"/>
              <a:t>Edit Disclaimer text</a:t>
            </a:r>
          </a:p>
          <a:p>
            <a:pPr lvl="1"/>
            <a:r>
              <a:rPr lang="en-GB" noProof="0"/>
              <a:t>Second Level</a:t>
            </a:r>
          </a:p>
          <a:p>
            <a:pPr lvl="2"/>
            <a:r>
              <a:rPr lang="en-GB" sz="1000" noProof="0"/>
              <a:t>Third level</a:t>
            </a:r>
            <a:endParaRPr lang="en-GB" noProof="0"/>
          </a:p>
          <a:p>
            <a:pPr lvl="3"/>
            <a:r>
              <a:rPr lang="en-GB" noProof="0"/>
              <a:t>Fourth level</a:t>
            </a:r>
          </a:p>
        </p:txBody>
      </p:sp>
      <p:sp>
        <p:nvSpPr>
          <p:cNvPr id="2" name="Foliennummernplatzhalter 1">
            <a:extLst>
              <a:ext uri="{FF2B5EF4-FFF2-40B4-BE49-F238E27FC236}">
                <a16:creationId xmlns:a16="http://schemas.microsoft.com/office/drawing/2014/main" id="{893A111B-BD41-622A-D926-0CF2B24D98A7}"/>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spTree>
    <p:extLst>
      <p:ext uri="{BB962C8B-B14F-4D97-AF65-F5344CB8AC3E}">
        <p14:creationId xmlns:p14="http://schemas.microsoft.com/office/powerpoint/2010/main" val="99899186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0.1 Titel mit zweizeiliger Überschri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AE452E4-3F92-403B-A7F9-0D2C230227E5}"/>
              </a:ext>
            </a:extLst>
          </p:cNvPr>
          <p:cNvGraphicFramePr>
            <a:graphicFrameLocks noChangeAspect="1"/>
          </p:cNvGraphicFramePr>
          <p:nvPr userDrawn="1">
            <p:custDataLst>
              <p:tags r:id="rId1"/>
            </p:custDataLst>
            <p:extLst>
              <p:ext uri="{D42A27DB-BD31-4B8C-83A1-F6EECF244321}">
                <p14:modId xmlns:p14="http://schemas.microsoft.com/office/powerpoint/2010/main" val="25322048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538" imgH="541" progId="TCLayout.ActiveDocument.1">
                  <p:embed/>
                </p:oleObj>
              </mc:Choice>
              <mc:Fallback>
                <p:oleObj name="think-cell Folie" r:id="rId3" imgW="538" imgH="541" progId="TCLayout.ActiveDocument.1">
                  <p:embed/>
                  <p:pic>
                    <p:nvPicPr>
                      <p:cNvPr id="2" name="Object 1" hidden="1">
                        <a:extLst>
                          <a:ext uri="{FF2B5EF4-FFF2-40B4-BE49-F238E27FC236}">
                            <a16:creationId xmlns:a16="http://schemas.microsoft.com/office/drawing/2014/main" id="{5AE452E4-3F92-403B-A7F9-0D2C230227E5}"/>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9" name="Picture 11">
            <a:extLst>
              <a:ext uri="{FF2B5EF4-FFF2-40B4-BE49-F238E27FC236}">
                <a16:creationId xmlns:a16="http://schemas.microsoft.com/office/drawing/2014/main" id="{0FFC889F-824D-4C40-89A4-237F59294301}"/>
              </a:ext>
            </a:extLst>
          </p:cNvPr>
          <p:cNvPicPr>
            <a:picLocks noChangeAspect="1"/>
          </p:cNvPicPr>
          <p:nvPr userDrawn="1"/>
        </p:nvPicPr>
        <p:blipFill>
          <a:blip r:embed="rId5"/>
          <a:srcRect/>
          <a:stretch/>
        </p:blipFill>
        <p:spPr>
          <a:xfrm>
            <a:off x="351" y="198"/>
            <a:ext cx="12191296" cy="6857604"/>
          </a:xfrm>
          <a:prstGeom prst="rect">
            <a:avLst/>
          </a:prstGeom>
        </p:spPr>
      </p:pic>
      <p:sp>
        <p:nvSpPr>
          <p:cNvPr id="11" name="TextBox 19">
            <a:extLst>
              <a:ext uri="{FF2B5EF4-FFF2-40B4-BE49-F238E27FC236}">
                <a16:creationId xmlns:a16="http://schemas.microsoft.com/office/drawing/2014/main" id="{44F59DB6-D708-46BE-9706-09FB4AF3E69D}"/>
              </a:ext>
            </a:extLst>
          </p:cNvPr>
          <p:cNvSpPr txBox="1"/>
          <p:nvPr userDrawn="1"/>
        </p:nvSpPr>
        <p:spPr bwMode="auto">
          <a:xfrm>
            <a:off x="644892" y="596763"/>
            <a:ext cx="5443200" cy="406101"/>
          </a:xfrm>
          <a:prstGeom prst="rect">
            <a:avLst/>
          </a:prstGeom>
          <a:noFill/>
        </p:spPr>
        <p:txBody>
          <a:bodyPr wrap="none" lIns="0" tIns="0" rIns="0" bIns="0">
            <a:noAutofit/>
          </a:bodyPr>
          <a:lstStyle/>
          <a:p>
            <a:pPr rtl="0">
              <a:lnSpc>
                <a:spcPct val="90000"/>
              </a:lnSpc>
              <a:defRPr/>
            </a:pPr>
            <a:r>
              <a:rPr lang="de-DE" sz="1400">
                <a:solidFill>
                  <a:schemeClr val="bg1"/>
                </a:solidFill>
                <a:latin typeface="+mn-lt"/>
                <a:ea typeface="Deutsche Bank Text" panose="020B0503020202030204" pitchFamily="34" charset="0"/>
                <a:cs typeface="Deutsche Bank Text" panose="020B0503020202030204" pitchFamily="34" charset="0"/>
              </a:rPr>
              <a:t>Deutsche Bank</a:t>
            </a:r>
          </a:p>
          <a:p>
            <a:pPr rtl="0">
              <a:lnSpc>
                <a:spcPct val="90000"/>
              </a:lnSpc>
              <a:defRPr/>
            </a:pPr>
            <a:r>
              <a:rPr lang="de-DE" sz="1400">
                <a:solidFill>
                  <a:srgbClr val="4AC9E3"/>
                </a:solidFill>
                <a:latin typeface="+mn-lt"/>
                <a:ea typeface="Deutsche Bank Text" panose="020B0503020202030204" pitchFamily="34" charset="0"/>
                <a:cs typeface="Deutsche Bank Text" panose="020B0503020202030204" pitchFamily="34" charset="0"/>
              </a:rPr>
              <a:t>Group Brand Communications</a:t>
            </a:r>
          </a:p>
        </p:txBody>
      </p:sp>
      <p:sp>
        <p:nvSpPr>
          <p:cNvPr id="14" name="Freeform 4">
            <a:extLst>
              <a:ext uri="{FF2B5EF4-FFF2-40B4-BE49-F238E27FC236}">
                <a16:creationId xmlns:a16="http://schemas.microsoft.com/office/drawing/2014/main" id="{9B512685-AA84-49E5-AB84-1791EBB87075}"/>
              </a:ext>
            </a:extLst>
          </p:cNvPr>
          <p:cNvSpPr>
            <a:spLocks noEditPoints="1"/>
          </p:cNvSpPr>
          <p:nvPr userDrawn="1"/>
        </p:nvSpPr>
        <p:spPr bwMode="black">
          <a:xfrm>
            <a:off x="10893121"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rtl="0">
              <a:defRPr/>
            </a:pPr>
            <a:endParaRPr lang="de-DE" sz="1809">
              <a:latin typeface="Deutsche Bank Text" panose="020B0503020202030204" pitchFamily="34" charset="0"/>
              <a:cs typeface="Deutsche Bank Text" panose="020B0503020202030204" pitchFamily="34" charset="0"/>
            </a:endParaRPr>
          </a:p>
        </p:txBody>
      </p:sp>
      <p:sp>
        <p:nvSpPr>
          <p:cNvPr id="31" name="Textplatzhalter 28">
            <a:extLst>
              <a:ext uri="{FF2B5EF4-FFF2-40B4-BE49-F238E27FC236}">
                <a16:creationId xmlns:a16="http://schemas.microsoft.com/office/drawing/2014/main" id="{DEF35365-DC64-40F5-8DD2-C0940989F322}"/>
              </a:ext>
            </a:extLst>
          </p:cNvPr>
          <p:cNvSpPr>
            <a:spLocks noGrp="1"/>
          </p:cNvSpPr>
          <p:nvPr>
            <p:ph type="body" sz="quarter" idx="12" hasCustomPrompt="1"/>
          </p:nvPr>
        </p:nvSpPr>
        <p:spPr>
          <a:xfrm>
            <a:off x="652802" y="4292555"/>
            <a:ext cx="3203205" cy="543508"/>
          </a:xfrm>
          <a:prstGeom prst="rect">
            <a:avLst/>
          </a:prstGeom>
        </p:spPr>
        <p:txBody>
          <a:bodyPr lIns="0" tIns="0" rIns="0" bIns="0" anchor="b" anchorCtr="0">
            <a:noAutofit/>
          </a:bodyPr>
          <a:lstStyle>
            <a:lvl1pPr marL="0" marR="0" indent="0" algn="l" defTabSz="1219170" rtl="0" eaLnBrk="1" fontAlgn="base" latinLnBrk="0" hangingPunct="1">
              <a:lnSpc>
                <a:spcPct val="90000"/>
              </a:lnSpc>
              <a:spcBef>
                <a:spcPts val="0"/>
              </a:spcBef>
              <a:spcAft>
                <a:spcPts val="0"/>
              </a:spcAft>
              <a:buClrTx/>
              <a:buSzTx/>
              <a:buFontTx/>
              <a:buNone/>
              <a:tabLst/>
              <a:defRPr sz="1800">
                <a:solidFill>
                  <a:srgbClr val="FFC845"/>
                </a:solidFill>
                <a:latin typeface="+mn-lt"/>
                <a:cs typeface="Deutsche Bank Text" panose="020B0503020202030204" pitchFamily="34" charset="0"/>
              </a:defRPr>
            </a:lvl1pPr>
          </a:lstStyle>
          <a:p>
            <a:pPr lvl="0"/>
            <a:r>
              <a:rPr lang="de-DE" noProof="1"/>
              <a:t>#PositiverBeitrag</a:t>
            </a:r>
          </a:p>
        </p:txBody>
      </p:sp>
      <p:sp>
        <p:nvSpPr>
          <p:cNvPr id="29" name="Textplatzhalter 28">
            <a:extLst>
              <a:ext uri="{FF2B5EF4-FFF2-40B4-BE49-F238E27FC236}">
                <a16:creationId xmlns:a16="http://schemas.microsoft.com/office/drawing/2014/main" id="{32811098-3698-4FDF-AA92-9463B68235BE}"/>
              </a:ext>
            </a:extLst>
          </p:cNvPr>
          <p:cNvSpPr>
            <a:spLocks noGrp="1"/>
          </p:cNvSpPr>
          <p:nvPr>
            <p:ph type="body" sz="quarter" idx="11" hasCustomPrompt="1"/>
          </p:nvPr>
        </p:nvSpPr>
        <p:spPr>
          <a:xfrm>
            <a:off x="652802" y="2529265"/>
            <a:ext cx="10888319" cy="569207"/>
          </a:xfrm>
          <a:prstGeom prst="rect">
            <a:avLst/>
          </a:prstGeom>
        </p:spPr>
        <p:txBody>
          <a:bodyPr lIns="0" tIns="0" rIns="0" bIns="0" anchor="b" anchorCtr="0">
            <a:noAutofit/>
          </a:bodyPr>
          <a:lstStyle>
            <a:lvl1pPr rtl="0">
              <a:defRPr sz="1600">
                <a:solidFill>
                  <a:schemeClr val="bg1"/>
                </a:solidFill>
              </a:defRPr>
            </a:lvl1pPr>
          </a:lstStyle>
          <a:p>
            <a:pPr lvl="0"/>
            <a:r>
              <a:rPr lang="de-DE" noProof="0" err="1"/>
              <a:t>Topline</a:t>
            </a:r>
            <a:r>
              <a:rPr lang="de-DE" noProof="0"/>
              <a:t> bearbeiten</a:t>
            </a:r>
          </a:p>
        </p:txBody>
      </p:sp>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619525" y="3313383"/>
            <a:ext cx="10881308" cy="1076485"/>
          </a:xfrm>
          <a:prstGeom prst="rect">
            <a:avLst/>
          </a:prstGeom>
        </p:spPr>
        <p:txBody>
          <a:bodyPr lIns="0" tIns="0" rIns="0" bIns="0" anchor="b" anchorCtr="0">
            <a:noAutofit/>
          </a:bodyPr>
          <a:lstStyle>
            <a:lvl1pPr rtl="0">
              <a:lnSpc>
                <a:spcPct val="90000"/>
              </a:lnSpc>
              <a:spcBef>
                <a:spcPts val="0"/>
              </a:spcBef>
              <a:spcAft>
                <a:spcPts val="0"/>
              </a:spcAft>
              <a:defRPr sz="3733">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de-DE" noProof="0"/>
              <a:t>Längere Überschrift über </a:t>
            </a:r>
            <a:br>
              <a:rPr lang="de-DE" noProof="0"/>
            </a:br>
            <a:r>
              <a:rPr lang="de-DE" noProof="0"/>
              <a:t>zwei Zeilen bearbeiten</a:t>
            </a:r>
          </a:p>
        </p:txBody>
      </p:sp>
    </p:spTree>
    <p:extLst>
      <p:ext uri="{BB962C8B-B14F-4D97-AF65-F5344CB8AC3E}">
        <p14:creationId xmlns:p14="http://schemas.microsoft.com/office/powerpoint/2010/main" val="758336095"/>
      </p:ext>
    </p:extLst>
  </p:cSld>
  <p:clrMapOvr>
    <a:masterClrMapping/>
  </p:clrMapOvr>
  <p:transition>
    <p:wipe dir="r"/>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2 Titel mit einzeiliger Überschri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41806EB-3B42-40E5-91D9-19D5495112E3}"/>
              </a:ext>
            </a:extLst>
          </p:cNvPr>
          <p:cNvGraphicFramePr>
            <a:graphicFrameLocks noChangeAspect="1"/>
          </p:cNvGraphicFramePr>
          <p:nvPr userDrawn="1">
            <p:custDataLst>
              <p:tags r:id="rId1"/>
            </p:custDataLst>
            <p:extLst>
              <p:ext uri="{D42A27DB-BD31-4B8C-83A1-F6EECF244321}">
                <p14:modId xmlns:p14="http://schemas.microsoft.com/office/powerpoint/2010/main" val="32966687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538" imgH="541" progId="TCLayout.ActiveDocument.1">
                  <p:embed/>
                </p:oleObj>
              </mc:Choice>
              <mc:Fallback>
                <p:oleObj name="think-cell Folie" r:id="rId3" imgW="538" imgH="541" progId="TCLayout.ActiveDocument.1">
                  <p:embed/>
                  <p:pic>
                    <p:nvPicPr>
                      <p:cNvPr id="2" name="Object 1" hidden="1">
                        <a:extLst>
                          <a:ext uri="{FF2B5EF4-FFF2-40B4-BE49-F238E27FC236}">
                            <a16:creationId xmlns:a16="http://schemas.microsoft.com/office/drawing/2014/main" id="{941806EB-3B42-40E5-91D9-19D5495112E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0ABED77C-B6C8-4DB9-926C-238589B4CE1F}"/>
              </a:ext>
            </a:extLst>
          </p:cNvPr>
          <p:cNvPicPr>
            <a:picLocks noChangeAspect="1"/>
          </p:cNvPicPr>
          <p:nvPr userDrawn="1"/>
        </p:nvPicPr>
        <p:blipFill>
          <a:blip r:embed="rId5"/>
          <a:srcRect/>
          <a:stretch/>
        </p:blipFill>
        <p:spPr>
          <a:xfrm>
            <a:off x="351" y="198"/>
            <a:ext cx="12191296" cy="6857604"/>
          </a:xfrm>
          <a:prstGeom prst="rect">
            <a:avLst/>
          </a:prstGeom>
        </p:spPr>
      </p:pic>
      <p:sp>
        <p:nvSpPr>
          <p:cNvPr id="17" name="TextBox 19">
            <a:extLst>
              <a:ext uri="{FF2B5EF4-FFF2-40B4-BE49-F238E27FC236}">
                <a16:creationId xmlns:a16="http://schemas.microsoft.com/office/drawing/2014/main" id="{FBC8F23C-BBD0-41C9-A1F2-34F7D25F56AF}"/>
              </a:ext>
            </a:extLst>
          </p:cNvPr>
          <p:cNvSpPr txBox="1"/>
          <p:nvPr userDrawn="1"/>
        </p:nvSpPr>
        <p:spPr bwMode="auto">
          <a:xfrm>
            <a:off x="644892" y="596763"/>
            <a:ext cx="5443200" cy="406101"/>
          </a:xfrm>
          <a:prstGeom prst="rect">
            <a:avLst/>
          </a:prstGeom>
          <a:noFill/>
        </p:spPr>
        <p:txBody>
          <a:bodyPr wrap="none" lIns="0" tIns="0" rIns="0" bIns="0">
            <a:noAutofit/>
          </a:bodyPr>
          <a:lstStyle/>
          <a:p>
            <a:pPr rtl="0">
              <a:lnSpc>
                <a:spcPct val="90000"/>
              </a:lnSpc>
              <a:defRPr/>
            </a:pPr>
            <a:r>
              <a:rPr lang="de-DE" sz="1400">
                <a:solidFill>
                  <a:schemeClr val="bg1"/>
                </a:solidFill>
                <a:latin typeface="+mn-lt"/>
                <a:ea typeface="Deutsche Bank Text" panose="020B0503020202030204" pitchFamily="34" charset="0"/>
                <a:cs typeface="Deutsche Bank Text" panose="020B0503020202030204" pitchFamily="34" charset="0"/>
              </a:rPr>
              <a:t>Deutsche Bank</a:t>
            </a:r>
          </a:p>
        </p:txBody>
      </p:sp>
      <p:sp>
        <p:nvSpPr>
          <p:cNvPr id="18" name="Freeform 4">
            <a:extLst>
              <a:ext uri="{FF2B5EF4-FFF2-40B4-BE49-F238E27FC236}">
                <a16:creationId xmlns:a16="http://schemas.microsoft.com/office/drawing/2014/main" id="{92DE6D80-E679-4528-8876-00EDFD81789D}"/>
              </a:ext>
            </a:extLst>
          </p:cNvPr>
          <p:cNvSpPr>
            <a:spLocks noEditPoints="1"/>
          </p:cNvSpPr>
          <p:nvPr userDrawn="1"/>
        </p:nvSpPr>
        <p:spPr bwMode="black">
          <a:xfrm>
            <a:off x="10893121"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rtl="0">
              <a:defRPr/>
            </a:pPr>
            <a:endParaRPr lang="de-DE" sz="1809">
              <a:latin typeface="Deutsche Bank Text" panose="020B0503020202030204" pitchFamily="34" charset="0"/>
              <a:cs typeface="Deutsche Bank Text" panose="020B0503020202030204" pitchFamily="34" charset="0"/>
            </a:endParaRPr>
          </a:p>
        </p:txBody>
      </p:sp>
      <p:sp>
        <p:nvSpPr>
          <p:cNvPr id="10" name="Textplatzhalter 28">
            <a:extLst>
              <a:ext uri="{FF2B5EF4-FFF2-40B4-BE49-F238E27FC236}">
                <a16:creationId xmlns:a16="http://schemas.microsoft.com/office/drawing/2014/main" id="{9237DCE4-8CD3-4A4A-888C-032A853DE6DC}"/>
              </a:ext>
            </a:extLst>
          </p:cNvPr>
          <p:cNvSpPr>
            <a:spLocks noGrp="1"/>
          </p:cNvSpPr>
          <p:nvPr>
            <p:ph type="body" sz="quarter" idx="12" hasCustomPrompt="1"/>
          </p:nvPr>
        </p:nvSpPr>
        <p:spPr>
          <a:xfrm>
            <a:off x="652852" y="4301607"/>
            <a:ext cx="3203205" cy="537816"/>
          </a:xfrm>
          <a:prstGeom prst="rect">
            <a:avLst/>
          </a:prstGeom>
        </p:spPr>
        <p:txBody>
          <a:bodyPr lIns="0" tIns="0" rIns="0" bIns="0" anchor="b" anchorCtr="0">
            <a:noAutofit/>
          </a:bodyPr>
          <a:lstStyle>
            <a:lvl1pPr marL="0" marR="0" indent="0" algn="l" defTabSz="1219170" rtl="0" eaLnBrk="1" fontAlgn="base" latinLnBrk="0" hangingPunct="1">
              <a:lnSpc>
                <a:spcPct val="90000"/>
              </a:lnSpc>
              <a:spcBef>
                <a:spcPts val="0"/>
              </a:spcBef>
              <a:spcAft>
                <a:spcPts val="0"/>
              </a:spcAft>
              <a:buClrTx/>
              <a:buSzTx/>
              <a:buFontTx/>
              <a:buNone/>
              <a:tabLst/>
              <a:defRPr sz="1800">
                <a:solidFill>
                  <a:srgbClr val="FFC845"/>
                </a:solidFill>
                <a:latin typeface="+mn-lt"/>
                <a:cs typeface="Deutsche Bank Text" panose="020B0503020202030204" pitchFamily="34" charset="0"/>
              </a:defRPr>
            </a:lvl1pPr>
          </a:lstStyle>
          <a:p>
            <a:pPr lvl="0"/>
            <a:r>
              <a:rPr lang="de-DE" noProof="1"/>
              <a:t>#PositiverBeitrag</a:t>
            </a:r>
          </a:p>
        </p:txBody>
      </p:sp>
      <p:sp>
        <p:nvSpPr>
          <p:cNvPr id="11" name="Textplatzhalter 28">
            <a:extLst>
              <a:ext uri="{FF2B5EF4-FFF2-40B4-BE49-F238E27FC236}">
                <a16:creationId xmlns:a16="http://schemas.microsoft.com/office/drawing/2014/main" id="{126BA6AF-C9CA-4230-85F4-078DBA224373}"/>
              </a:ext>
            </a:extLst>
          </p:cNvPr>
          <p:cNvSpPr>
            <a:spLocks noGrp="1"/>
          </p:cNvSpPr>
          <p:nvPr>
            <p:ph type="body" sz="quarter" idx="11" hasCustomPrompt="1"/>
          </p:nvPr>
        </p:nvSpPr>
        <p:spPr>
          <a:xfrm>
            <a:off x="652853" y="3037031"/>
            <a:ext cx="10887359" cy="569207"/>
          </a:xfrm>
          <a:prstGeom prst="rect">
            <a:avLst/>
          </a:prstGeom>
        </p:spPr>
        <p:txBody>
          <a:bodyPr lIns="0" tIns="0" rIns="0" bIns="0" anchor="b" anchorCtr="0">
            <a:noAutofit/>
          </a:bodyPr>
          <a:lstStyle>
            <a:lvl1pPr rtl="0">
              <a:defRPr sz="1600">
                <a:solidFill>
                  <a:schemeClr val="bg1"/>
                </a:solidFill>
              </a:defRPr>
            </a:lvl1pPr>
          </a:lstStyle>
          <a:p>
            <a:pPr lvl="0"/>
            <a:r>
              <a:rPr lang="de-DE" noProof="0" err="1"/>
              <a:t>Topline</a:t>
            </a:r>
            <a:r>
              <a:rPr lang="de-DE" noProof="0"/>
              <a:t> bearbeiten</a:t>
            </a:r>
          </a:p>
        </p:txBody>
      </p:sp>
      <p:sp>
        <p:nvSpPr>
          <p:cNvPr id="16" name="Textplatzhalter 4">
            <a:extLst>
              <a:ext uri="{FF2B5EF4-FFF2-40B4-BE49-F238E27FC236}">
                <a16:creationId xmlns:a16="http://schemas.microsoft.com/office/drawing/2014/main" id="{BEE01C15-9746-401B-9706-77C91966B902}"/>
              </a:ext>
            </a:extLst>
          </p:cNvPr>
          <p:cNvSpPr>
            <a:spLocks noGrp="1"/>
          </p:cNvSpPr>
          <p:nvPr>
            <p:ph type="body" sz="quarter" idx="10" hasCustomPrompt="1"/>
          </p:nvPr>
        </p:nvSpPr>
        <p:spPr>
          <a:xfrm>
            <a:off x="629101" y="3855412"/>
            <a:ext cx="10881308" cy="537816"/>
          </a:xfrm>
          <a:prstGeom prst="rect">
            <a:avLst/>
          </a:prstGeom>
        </p:spPr>
        <p:txBody>
          <a:bodyPr lIns="0" tIns="0" rIns="0" bIns="0" anchor="b" anchorCtr="0">
            <a:noAutofit/>
          </a:bodyPr>
          <a:lstStyle>
            <a:lvl1pPr rtl="0">
              <a:lnSpc>
                <a:spcPct val="90000"/>
              </a:lnSpc>
              <a:spcBef>
                <a:spcPts val="0"/>
              </a:spcBef>
              <a:spcAft>
                <a:spcPts val="0"/>
              </a:spcAft>
              <a:defRPr sz="3733">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de-DE" noProof="0"/>
              <a:t>Überschrift bearbeiten</a:t>
            </a:r>
          </a:p>
        </p:txBody>
      </p:sp>
      <p:sp>
        <p:nvSpPr>
          <p:cNvPr id="9" name="Text Placeholder 3">
            <a:extLst>
              <a:ext uri="{FF2B5EF4-FFF2-40B4-BE49-F238E27FC236}">
                <a16:creationId xmlns:a16="http://schemas.microsoft.com/office/drawing/2014/main" id="{EC9CD619-DA35-4619-9624-F091F4C5328C}"/>
              </a:ext>
            </a:extLst>
          </p:cNvPr>
          <p:cNvSpPr>
            <a:spLocks noGrp="1"/>
          </p:cNvSpPr>
          <p:nvPr>
            <p:ph type="body" sz="quarter" idx="13" hasCustomPrompt="1"/>
          </p:nvPr>
        </p:nvSpPr>
        <p:spPr>
          <a:xfrm>
            <a:off x="652852" y="5088236"/>
            <a:ext cx="10888320" cy="791864"/>
          </a:xfrm>
          <a:prstGeom prst="rect">
            <a:avLst/>
          </a:prstGeom>
        </p:spPr>
        <p:txBody>
          <a:bodyPr anchor="t" anchorCtr="0"/>
          <a:lstStyle>
            <a:lvl1pPr rtl="0">
              <a:defRPr sz="1600">
                <a:solidFill>
                  <a:schemeClr val="bg1"/>
                </a:solidFill>
              </a:defRPr>
            </a:lvl1pPr>
          </a:lstStyle>
          <a:p>
            <a:pPr lvl="0"/>
            <a:r>
              <a:rPr lang="de-DE" noProof="0"/>
              <a:t>Hier Zusatzinformationen platzieren,</a:t>
            </a:r>
            <a:br>
              <a:rPr lang="de-DE" noProof="0"/>
            </a:br>
            <a:r>
              <a:rPr lang="de-DE" noProof="0"/>
              <a:t>wie Sprecher, Ort und Datum</a:t>
            </a:r>
          </a:p>
        </p:txBody>
      </p:sp>
    </p:spTree>
    <p:extLst>
      <p:ext uri="{BB962C8B-B14F-4D97-AF65-F5344CB8AC3E}">
        <p14:creationId xmlns:p14="http://schemas.microsoft.com/office/powerpoint/2010/main" val="1506879913"/>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0.3 Titel mit Hinweistex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4C5D59-010C-47DD-8400-A23DB3E157F0}"/>
              </a:ext>
            </a:extLst>
          </p:cNvPr>
          <p:cNvGraphicFramePr>
            <a:graphicFrameLocks noChangeAspect="1"/>
          </p:cNvGraphicFramePr>
          <p:nvPr userDrawn="1">
            <p:custDataLst>
              <p:tags r:id="rId1"/>
            </p:custDataLst>
            <p:extLst>
              <p:ext uri="{D42A27DB-BD31-4B8C-83A1-F6EECF244321}">
                <p14:modId xmlns:p14="http://schemas.microsoft.com/office/powerpoint/2010/main" val="12456176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538" imgH="541" progId="TCLayout.ActiveDocument.1">
                  <p:embed/>
                </p:oleObj>
              </mc:Choice>
              <mc:Fallback>
                <p:oleObj name="think-cell Folie" r:id="rId3" imgW="538" imgH="541" progId="TCLayout.ActiveDocument.1">
                  <p:embed/>
                  <p:pic>
                    <p:nvPicPr>
                      <p:cNvPr id="2" name="Object 1" hidden="1">
                        <a:extLst>
                          <a:ext uri="{FF2B5EF4-FFF2-40B4-BE49-F238E27FC236}">
                            <a16:creationId xmlns:a16="http://schemas.microsoft.com/office/drawing/2014/main" id="{704C5D59-010C-47DD-8400-A23DB3E157F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8" name="Picture 11">
            <a:extLst>
              <a:ext uri="{FF2B5EF4-FFF2-40B4-BE49-F238E27FC236}">
                <a16:creationId xmlns:a16="http://schemas.microsoft.com/office/drawing/2014/main" id="{4347965A-D586-4466-B55C-4B7B6106D036}"/>
              </a:ext>
            </a:extLst>
          </p:cNvPr>
          <p:cNvPicPr>
            <a:picLocks noChangeAspect="1"/>
          </p:cNvPicPr>
          <p:nvPr userDrawn="1"/>
        </p:nvPicPr>
        <p:blipFill>
          <a:blip r:embed="rId5"/>
          <a:srcRect/>
          <a:stretch/>
        </p:blipFill>
        <p:spPr>
          <a:xfrm>
            <a:off x="351" y="198"/>
            <a:ext cx="12191296" cy="6857604"/>
          </a:xfrm>
          <a:prstGeom prst="rect">
            <a:avLst/>
          </a:prstGeom>
        </p:spPr>
      </p:pic>
      <p:sp>
        <p:nvSpPr>
          <p:cNvPr id="15" name="TextBox 19">
            <a:extLst>
              <a:ext uri="{FF2B5EF4-FFF2-40B4-BE49-F238E27FC236}">
                <a16:creationId xmlns:a16="http://schemas.microsoft.com/office/drawing/2014/main" id="{18902F03-0F5B-4017-918E-4FCFECE09BEE}"/>
              </a:ext>
            </a:extLst>
          </p:cNvPr>
          <p:cNvSpPr txBox="1"/>
          <p:nvPr userDrawn="1"/>
        </p:nvSpPr>
        <p:spPr bwMode="auto">
          <a:xfrm>
            <a:off x="644892" y="596763"/>
            <a:ext cx="5443200" cy="406101"/>
          </a:xfrm>
          <a:prstGeom prst="rect">
            <a:avLst/>
          </a:prstGeom>
          <a:noFill/>
        </p:spPr>
        <p:txBody>
          <a:bodyPr wrap="none" lIns="0" tIns="0" rIns="0" bIns="0">
            <a:noAutofit/>
          </a:bodyPr>
          <a:lstStyle/>
          <a:p>
            <a:pPr rtl="0">
              <a:lnSpc>
                <a:spcPct val="90000"/>
              </a:lnSpc>
              <a:defRPr/>
            </a:pPr>
            <a:r>
              <a:rPr lang="de-DE" sz="1400">
                <a:solidFill>
                  <a:schemeClr val="bg1"/>
                </a:solidFill>
                <a:latin typeface="+mn-lt"/>
                <a:ea typeface="Deutsche Bank Text" panose="020B0503020202030204" pitchFamily="34" charset="0"/>
                <a:cs typeface="Deutsche Bank Text" panose="020B0503020202030204" pitchFamily="34" charset="0"/>
              </a:rPr>
              <a:t>Deutsche Bank</a:t>
            </a:r>
          </a:p>
          <a:p>
            <a:pPr rtl="0">
              <a:lnSpc>
                <a:spcPct val="90000"/>
              </a:lnSpc>
              <a:defRPr/>
            </a:pPr>
            <a:r>
              <a:rPr lang="de-DE" sz="1400">
                <a:solidFill>
                  <a:srgbClr val="4AC9E3"/>
                </a:solidFill>
                <a:latin typeface="+mn-lt"/>
                <a:ea typeface="Deutsche Bank Text" panose="020B0503020202030204" pitchFamily="34" charset="0"/>
                <a:cs typeface="Deutsche Bank Text" panose="020B0503020202030204" pitchFamily="34" charset="0"/>
              </a:rPr>
              <a:t>Group Brand Communications</a:t>
            </a:r>
          </a:p>
        </p:txBody>
      </p:sp>
      <p:sp>
        <p:nvSpPr>
          <p:cNvPr id="16" name="Freeform 4">
            <a:extLst>
              <a:ext uri="{FF2B5EF4-FFF2-40B4-BE49-F238E27FC236}">
                <a16:creationId xmlns:a16="http://schemas.microsoft.com/office/drawing/2014/main" id="{AB17377C-82CD-4922-A013-FD9B17456207}"/>
              </a:ext>
            </a:extLst>
          </p:cNvPr>
          <p:cNvSpPr>
            <a:spLocks noEditPoints="1"/>
          </p:cNvSpPr>
          <p:nvPr userDrawn="1"/>
        </p:nvSpPr>
        <p:spPr bwMode="black">
          <a:xfrm>
            <a:off x="10893121"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rtl="0">
              <a:defRPr/>
            </a:pPr>
            <a:endParaRPr lang="de-DE" sz="1809">
              <a:latin typeface="Deutsche Bank Text" panose="020B0503020202030204" pitchFamily="34" charset="0"/>
              <a:cs typeface="Deutsche Bank Text" panose="020B0503020202030204" pitchFamily="34" charset="0"/>
            </a:endParaRPr>
          </a:p>
        </p:txBody>
      </p:sp>
      <p:sp>
        <p:nvSpPr>
          <p:cNvPr id="29" name="Textplatzhalter 28">
            <a:extLst>
              <a:ext uri="{FF2B5EF4-FFF2-40B4-BE49-F238E27FC236}">
                <a16:creationId xmlns:a16="http://schemas.microsoft.com/office/drawing/2014/main" id="{32811098-3698-4FDF-AA92-9463B68235BE}"/>
              </a:ext>
            </a:extLst>
          </p:cNvPr>
          <p:cNvSpPr>
            <a:spLocks noGrp="1"/>
          </p:cNvSpPr>
          <p:nvPr>
            <p:ph type="body" sz="quarter" idx="11" hasCustomPrompt="1"/>
          </p:nvPr>
        </p:nvSpPr>
        <p:spPr>
          <a:xfrm>
            <a:off x="5716123" y="2678553"/>
            <a:ext cx="2940772" cy="591003"/>
          </a:xfrm>
          <a:prstGeom prst="rect">
            <a:avLst/>
          </a:prstGeom>
          <a:solidFill>
            <a:srgbClr val="4AC9E3"/>
          </a:solidFill>
        </p:spPr>
        <p:txBody>
          <a:bodyPr lIns="90000" tIns="90000" rIns="90000" bIns="90000" anchor="t" anchorCtr="0">
            <a:noAutofit/>
          </a:bodyPr>
          <a:lstStyle>
            <a:lvl1pPr rtl="0">
              <a:spcBef>
                <a:spcPts val="0"/>
              </a:spcBef>
              <a:spcAft>
                <a:spcPts val="0"/>
              </a:spcAft>
              <a:defRPr sz="1333">
                <a:solidFill>
                  <a:schemeClr val="tx1"/>
                </a:solidFill>
              </a:defRPr>
            </a:lvl1pPr>
          </a:lstStyle>
          <a:p>
            <a:pPr lvl="0"/>
            <a:r>
              <a:rPr lang="de-DE" noProof="0"/>
              <a:t>Hinweistext bearbeiten</a:t>
            </a:r>
          </a:p>
        </p:txBody>
      </p:sp>
      <p:sp>
        <p:nvSpPr>
          <p:cNvPr id="12" name="Textplatzhalter 28">
            <a:extLst>
              <a:ext uri="{FF2B5EF4-FFF2-40B4-BE49-F238E27FC236}">
                <a16:creationId xmlns:a16="http://schemas.microsoft.com/office/drawing/2014/main" id="{DC4A4695-0050-42E3-8FA7-5A00C2B449B6}"/>
              </a:ext>
            </a:extLst>
          </p:cNvPr>
          <p:cNvSpPr>
            <a:spLocks noGrp="1"/>
          </p:cNvSpPr>
          <p:nvPr>
            <p:ph type="body" sz="quarter" idx="13" hasCustomPrompt="1"/>
          </p:nvPr>
        </p:nvSpPr>
        <p:spPr>
          <a:xfrm>
            <a:off x="1505207" y="4433753"/>
            <a:ext cx="3203205" cy="537816"/>
          </a:xfrm>
          <a:prstGeom prst="rect">
            <a:avLst/>
          </a:prstGeom>
        </p:spPr>
        <p:txBody>
          <a:bodyPr lIns="0" tIns="0" rIns="0" bIns="0" anchor="b" anchorCtr="0">
            <a:noAutofit/>
          </a:bodyPr>
          <a:lstStyle>
            <a:lvl1pPr marL="0" marR="0" indent="0" algn="l" defTabSz="1219170" rtl="0" eaLnBrk="1" fontAlgn="base" latinLnBrk="0" hangingPunct="1">
              <a:lnSpc>
                <a:spcPct val="90000"/>
              </a:lnSpc>
              <a:spcBef>
                <a:spcPts val="0"/>
              </a:spcBef>
              <a:spcAft>
                <a:spcPts val="0"/>
              </a:spcAft>
              <a:buClrTx/>
              <a:buSzTx/>
              <a:buFontTx/>
              <a:buNone/>
              <a:tabLst/>
              <a:defRPr sz="1800">
                <a:solidFill>
                  <a:srgbClr val="FFC845"/>
                </a:solidFill>
                <a:latin typeface="Deutsche Bank Text" panose="020B0503020202030204" pitchFamily="34" charset="0"/>
                <a:cs typeface="Deutsche Bank Text" panose="020B0503020202030204" pitchFamily="34" charset="0"/>
              </a:defRPr>
            </a:lvl1pPr>
          </a:lstStyle>
          <a:p>
            <a:pPr lvl="0"/>
            <a:r>
              <a:rPr lang="de-DE" noProof="1"/>
              <a:t>#PositiverBeitrag</a:t>
            </a:r>
          </a:p>
        </p:txBody>
      </p:sp>
      <p:sp>
        <p:nvSpPr>
          <p:cNvPr id="13" name="Textplatzhalter 4">
            <a:extLst>
              <a:ext uri="{FF2B5EF4-FFF2-40B4-BE49-F238E27FC236}">
                <a16:creationId xmlns:a16="http://schemas.microsoft.com/office/drawing/2014/main" id="{3E2BE777-D85C-43A1-895D-E593B723315C}"/>
              </a:ext>
            </a:extLst>
          </p:cNvPr>
          <p:cNvSpPr>
            <a:spLocks noGrp="1"/>
          </p:cNvSpPr>
          <p:nvPr>
            <p:ph type="body" sz="quarter" idx="14" hasCustomPrompt="1"/>
          </p:nvPr>
        </p:nvSpPr>
        <p:spPr>
          <a:xfrm>
            <a:off x="1504543" y="3356789"/>
            <a:ext cx="10037643" cy="1220049"/>
          </a:xfrm>
          <a:prstGeom prst="rect">
            <a:avLst/>
          </a:prstGeom>
        </p:spPr>
        <p:txBody>
          <a:bodyPr lIns="0" tIns="0" rIns="0" bIns="0" anchor="b" anchorCtr="0">
            <a:noAutofit/>
          </a:bodyPr>
          <a:lstStyle>
            <a:lvl1pPr rtl="0">
              <a:lnSpc>
                <a:spcPct val="80000"/>
              </a:lnSpc>
              <a:spcBef>
                <a:spcPts val="0"/>
              </a:spcBef>
              <a:spcAft>
                <a:spcPts val="0"/>
              </a:spcAft>
              <a:defRPr sz="3733">
                <a:solidFill>
                  <a:schemeClr val="bg1"/>
                </a:solidFill>
                <a:latin typeface="+mj-lt"/>
              </a:defRPr>
            </a:lvl1pPr>
          </a:lstStyle>
          <a:p>
            <a:pPr lvl="0"/>
            <a:r>
              <a:rPr lang="de-DE" noProof="0"/>
              <a:t>Überschrift bearbeiten</a:t>
            </a:r>
          </a:p>
        </p:txBody>
      </p:sp>
    </p:spTree>
    <p:extLst>
      <p:ext uri="{BB962C8B-B14F-4D97-AF65-F5344CB8AC3E}">
        <p14:creationId xmlns:p14="http://schemas.microsoft.com/office/powerpoint/2010/main" val="2918642542"/>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0.4 Titel mit zusätzlichen Informationen">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9FA39B-D2B7-48BE-B61E-7CCF5E01B821}"/>
              </a:ext>
            </a:extLst>
          </p:cNvPr>
          <p:cNvGraphicFramePr>
            <a:graphicFrameLocks noChangeAspect="1"/>
          </p:cNvGraphicFramePr>
          <p:nvPr userDrawn="1">
            <p:custDataLst>
              <p:tags r:id="rId1"/>
            </p:custDataLst>
            <p:extLst>
              <p:ext uri="{D42A27DB-BD31-4B8C-83A1-F6EECF244321}">
                <p14:modId xmlns:p14="http://schemas.microsoft.com/office/powerpoint/2010/main" val="376868968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538" imgH="541" progId="TCLayout.ActiveDocument.1">
                  <p:embed/>
                </p:oleObj>
              </mc:Choice>
              <mc:Fallback>
                <p:oleObj name="think-cell Folie" r:id="rId3" imgW="538" imgH="541" progId="TCLayout.ActiveDocument.1">
                  <p:embed/>
                  <p:pic>
                    <p:nvPicPr>
                      <p:cNvPr id="2" name="Object 1" hidden="1">
                        <a:extLst>
                          <a:ext uri="{FF2B5EF4-FFF2-40B4-BE49-F238E27FC236}">
                            <a16:creationId xmlns:a16="http://schemas.microsoft.com/office/drawing/2014/main" id="{4C9FA39B-D2B7-48BE-B61E-7CCF5E01B82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10" name="Picture 11">
            <a:extLst>
              <a:ext uri="{FF2B5EF4-FFF2-40B4-BE49-F238E27FC236}">
                <a16:creationId xmlns:a16="http://schemas.microsoft.com/office/drawing/2014/main" id="{D886B229-68D0-47A0-9F84-67425F18C7F7}"/>
              </a:ext>
            </a:extLst>
          </p:cNvPr>
          <p:cNvPicPr>
            <a:picLocks noChangeAspect="1"/>
          </p:cNvPicPr>
          <p:nvPr userDrawn="1"/>
        </p:nvPicPr>
        <p:blipFill>
          <a:blip r:embed="rId5"/>
          <a:srcRect/>
          <a:stretch/>
        </p:blipFill>
        <p:spPr>
          <a:xfrm>
            <a:off x="351" y="198"/>
            <a:ext cx="12191296" cy="6857604"/>
          </a:xfrm>
          <a:prstGeom prst="rect">
            <a:avLst/>
          </a:prstGeom>
        </p:spPr>
      </p:pic>
      <p:sp>
        <p:nvSpPr>
          <p:cNvPr id="15" name="TextBox 19">
            <a:extLst>
              <a:ext uri="{FF2B5EF4-FFF2-40B4-BE49-F238E27FC236}">
                <a16:creationId xmlns:a16="http://schemas.microsoft.com/office/drawing/2014/main" id="{0D647C4B-1307-4B6A-A006-759EE719BB88}"/>
              </a:ext>
            </a:extLst>
          </p:cNvPr>
          <p:cNvSpPr txBox="1"/>
          <p:nvPr userDrawn="1"/>
        </p:nvSpPr>
        <p:spPr bwMode="auto">
          <a:xfrm>
            <a:off x="644892" y="596763"/>
            <a:ext cx="5443200" cy="406101"/>
          </a:xfrm>
          <a:prstGeom prst="rect">
            <a:avLst/>
          </a:prstGeom>
          <a:noFill/>
        </p:spPr>
        <p:txBody>
          <a:bodyPr wrap="none" lIns="0" tIns="0" rIns="0" bIns="0">
            <a:noAutofit/>
          </a:bodyPr>
          <a:lstStyle/>
          <a:p>
            <a:pPr rtl="0">
              <a:lnSpc>
                <a:spcPct val="90000"/>
              </a:lnSpc>
              <a:defRPr/>
            </a:pPr>
            <a:r>
              <a:rPr lang="de-DE" sz="1400">
                <a:solidFill>
                  <a:schemeClr val="bg1"/>
                </a:solidFill>
                <a:latin typeface="+mn-lt"/>
                <a:ea typeface="Deutsche Bank Text" panose="020B0503020202030204" pitchFamily="34" charset="0"/>
                <a:cs typeface="Deutsche Bank Text" panose="020B0503020202030204" pitchFamily="34" charset="0"/>
              </a:rPr>
              <a:t>Deutsche Bank</a:t>
            </a:r>
          </a:p>
          <a:p>
            <a:pPr rtl="0">
              <a:lnSpc>
                <a:spcPct val="90000"/>
              </a:lnSpc>
              <a:defRPr/>
            </a:pPr>
            <a:r>
              <a:rPr lang="de-DE" sz="1400">
                <a:solidFill>
                  <a:srgbClr val="4AC9E3"/>
                </a:solidFill>
                <a:latin typeface="+mn-lt"/>
                <a:ea typeface="Deutsche Bank Text" panose="020B0503020202030204" pitchFamily="34" charset="0"/>
                <a:cs typeface="Deutsche Bank Text" panose="020B0503020202030204" pitchFamily="34" charset="0"/>
              </a:rPr>
              <a:t>Group Brand Communications</a:t>
            </a:r>
          </a:p>
        </p:txBody>
      </p:sp>
      <p:sp>
        <p:nvSpPr>
          <p:cNvPr id="13" name="Freeform 4">
            <a:extLst>
              <a:ext uri="{FF2B5EF4-FFF2-40B4-BE49-F238E27FC236}">
                <a16:creationId xmlns:a16="http://schemas.microsoft.com/office/drawing/2014/main" id="{2312CA89-3919-4C0B-975E-910C85A1CE44}"/>
              </a:ext>
            </a:extLst>
          </p:cNvPr>
          <p:cNvSpPr>
            <a:spLocks noEditPoints="1"/>
          </p:cNvSpPr>
          <p:nvPr userDrawn="1"/>
        </p:nvSpPr>
        <p:spPr bwMode="black">
          <a:xfrm>
            <a:off x="10893121"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rtl="0">
              <a:defRPr/>
            </a:pPr>
            <a:endParaRPr lang="de-DE" sz="1809">
              <a:latin typeface="Deutsche Bank Text" panose="020B0503020202030204" pitchFamily="34" charset="0"/>
              <a:cs typeface="Deutsche Bank Text" panose="020B0503020202030204" pitchFamily="34" charset="0"/>
            </a:endParaRPr>
          </a:p>
        </p:txBody>
      </p:sp>
      <p:sp>
        <p:nvSpPr>
          <p:cNvPr id="3" name="Text Placeholder 2">
            <a:extLst>
              <a:ext uri="{FF2B5EF4-FFF2-40B4-BE49-F238E27FC236}">
                <a16:creationId xmlns:a16="http://schemas.microsoft.com/office/drawing/2014/main" id="{48D08130-E34E-4BAF-A763-0359067A8987}"/>
              </a:ext>
            </a:extLst>
          </p:cNvPr>
          <p:cNvSpPr>
            <a:spLocks noGrp="1"/>
          </p:cNvSpPr>
          <p:nvPr>
            <p:ph type="body" sz="quarter" idx="14" hasCustomPrompt="1"/>
          </p:nvPr>
        </p:nvSpPr>
        <p:spPr>
          <a:xfrm>
            <a:off x="2245014" y="4023173"/>
            <a:ext cx="9294187" cy="1300457"/>
          </a:xfrm>
          <a:prstGeom prst="rect">
            <a:avLst/>
          </a:prstGeom>
        </p:spPr>
        <p:txBody>
          <a:bodyPr/>
          <a:lstStyle>
            <a:lvl1pPr rtl="0">
              <a:defRPr sz="1600">
                <a:solidFill>
                  <a:schemeClr val="bg1"/>
                </a:solidFill>
              </a:defRPr>
            </a:lvl1pPr>
          </a:lstStyle>
          <a:p>
            <a:pPr lvl="0"/>
            <a:r>
              <a:rPr lang="de-DE" noProof="0"/>
              <a:t>Hier Zusatzinformationen platzieren,</a:t>
            </a:r>
            <a:br>
              <a:rPr lang="de-DE" noProof="0"/>
            </a:br>
            <a:r>
              <a:rPr lang="de-DE" noProof="0"/>
              <a:t>wie Sprecher, Ort und Datum</a:t>
            </a:r>
          </a:p>
        </p:txBody>
      </p:sp>
      <p:sp>
        <p:nvSpPr>
          <p:cNvPr id="8" name="Textplatzhalter 28">
            <a:extLst>
              <a:ext uri="{FF2B5EF4-FFF2-40B4-BE49-F238E27FC236}">
                <a16:creationId xmlns:a16="http://schemas.microsoft.com/office/drawing/2014/main" id="{1DA4D0A2-4EBA-44BB-8BA3-7CBCD8845099}"/>
              </a:ext>
            </a:extLst>
          </p:cNvPr>
          <p:cNvSpPr>
            <a:spLocks noGrp="1"/>
          </p:cNvSpPr>
          <p:nvPr>
            <p:ph type="body" sz="quarter" idx="13" hasCustomPrompt="1"/>
          </p:nvPr>
        </p:nvSpPr>
        <p:spPr>
          <a:xfrm>
            <a:off x="2245014" y="2767893"/>
            <a:ext cx="3183273" cy="537816"/>
          </a:xfrm>
          <a:prstGeom prst="rect">
            <a:avLst/>
          </a:prstGeom>
        </p:spPr>
        <p:txBody>
          <a:bodyPr lIns="0" tIns="0" rIns="0" bIns="0" anchor="b" anchorCtr="0">
            <a:noAutofit/>
          </a:bodyPr>
          <a:lstStyle>
            <a:lvl1pPr marL="0" marR="0" indent="0" algn="l" defTabSz="1219170" rtl="0" eaLnBrk="1" fontAlgn="base" latinLnBrk="0" hangingPunct="1">
              <a:lnSpc>
                <a:spcPct val="90000"/>
              </a:lnSpc>
              <a:spcBef>
                <a:spcPts val="0"/>
              </a:spcBef>
              <a:spcAft>
                <a:spcPts val="0"/>
              </a:spcAft>
              <a:buClrTx/>
              <a:buSzTx/>
              <a:buFontTx/>
              <a:buNone/>
              <a:tabLst/>
              <a:defRPr sz="1800">
                <a:solidFill>
                  <a:srgbClr val="FFC845"/>
                </a:solidFill>
                <a:latin typeface="Deutsche Bank Text" panose="020B0503020202030204" pitchFamily="34" charset="0"/>
                <a:cs typeface="Deutsche Bank Text" panose="020B0503020202030204" pitchFamily="34" charset="0"/>
              </a:defRPr>
            </a:lvl1pPr>
          </a:lstStyle>
          <a:p>
            <a:pPr lvl="0"/>
            <a:r>
              <a:rPr lang="de-DE" noProof="1"/>
              <a:t>#PositiverBeitrag</a:t>
            </a:r>
          </a:p>
        </p:txBody>
      </p:sp>
      <p:sp>
        <p:nvSpPr>
          <p:cNvPr id="9" name="Textplatzhalter 4">
            <a:extLst>
              <a:ext uri="{FF2B5EF4-FFF2-40B4-BE49-F238E27FC236}">
                <a16:creationId xmlns:a16="http://schemas.microsoft.com/office/drawing/2014/main" id="{24C83A50-AE6F-434C-B2E6-686F938A92D8}"/>
              </a:ext>
            </a:extLst>
          </p:cNvPr>
          <p:cNvSpPr>
            <a:spLocks noGrp="1"/>
          </p:cNvSpPr>
          <p:nvPr>
            <p:ph type="body" sz="quarter" idx="15" hasCustomPrompt="1"/>
          </p:nvPr>
        </p:nvSpPr>
        <p:spPr>
          <a:xfrm>
            <a:off x="2244350" y="1923374"/>
            <a:ext cx="9294187" cy="987604"/>
          </a:xfrm>
          <a:prstGeom prst="rect">
            <a:avLst/>
          </a:prstGeom>
        </p:spPr>
        <p:txBody>
          <a:bodyPr lIns="0" tIns="0" rIns="0" bIns="0" anchor="b" anchorCtr="0">
            <a:noAutofit/>
          </a:bodyPr>
          <a:lstStyle>
            <a:lvl1pPr rtl="0">
              <a:lnSpc>
                <a:spcPct val="80000"/>
              </a:lnSpc>
              <a:spcBef>
                <a:spcPts val="0"/>
              </a:spcBef>
              <a:spcAft>
                <a:spcPts val="0"/>
              </a:spcAft>
              <a:defRPr sz="3733">
                <a:solidFill>
                  <a:schemeClr val="bg1"/>
                </a:solidFill>
                <a:latin typeface="+mj-lt"/>
              </a:defRPr>
            </a:lvl1pPr>
          </a:lstStyle>
          <a:p>
            <a:pPr lvl="0"/>
            <a:r>
              <a:rPr lang="de-DE" noProof="0"/>
              <a:t>Überschrift bearbeiten</a:t>
            </a:r>
          </a:p>
        </p:txBody>
      </p:sp>
    </p:spTree>
    <p:extLst>
      <p:ext uri="{BB962C8B-B14F-4D97-AF65-F5344CB8AC3E}">
        <p14:creationId xmlns:p14="http://schemas.microsoft.com/office/powerpoint/2010/main" val="2703452435"/>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0.5 Kapiteltite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D1DDA5-DDDE-457D-85E7-DBEB1775B762}"/>
              </a:ext>
            </a:extLst>
          </p:cNvPr>
          <p:cNvGraphicFramePr>
            <a:graphicFrameLocks noChangeAspect="1"/>
          </p:cNvGraphicFramePr>
          <p:nvPr userDrawn="1">
            <p:custDataLst>
              <p:tags r:id="rId1"/>
            </p:custDataLst>
            <p:extLst>
              <p:ext uri="{D42A27DB-BD31-4B8C-83A1-F6EECF244321}">
                <p14:modId xmlns:p14="http://schemas.microsoft.com/office/powerpoint/2010/main" val="379880666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538" imgH="541" progId="TCLayout.ActiveDocument.1">
                  <p:embed/>
                </p:oleObj>
              </mc:Choice>
              <mc:Fallback>
                <p:oleObj name="think-cell Folie" r:id="rId3" imgW="538" imgH="541" progId="TCLayout.ActiveDocument.1">
                  <p:embed/>
                  <p:pic>
                    <p:nvPicPr>
                      <p:cNvPr id="2" name="Object 1" hidden="1">
                        <a:extLst>
                          <a:ext uri="{FF2B5EF4-FFF2-40B4-BE49-F238E27FC236}">
                            <a16:creationId xmlns:a16="http://schemas.microsoft.com/office/drawing/2014/main" id="{8FD1DDA5-DDDE-457D-85E7-DBEB1775B76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7" name="Picture 11">
            <a:extLst>
              <a:ext uri="{FF2B5EF4-FFF2-40B4-BE49-F238E27FC236}">
                <a16:creationId xmlns:a16="http://schemas.microsoft.com/office/drawing/2014/main" id="{5A8C3B19-47DF-4909-9C5D-A019439681C7}"/>
              </a:ext>
            </a:extLst>
          </p:cNvPr>
          <p:cNvPicPr>
            <a:picLocks noChangeAspect="1"/>
          </p:cNvPicPr>
          <p:nvPr userDrawn="1"/>
        </p:nvPicPr>
        <p:blipFill>
          <a:blip r:embed="rId5"/>
          <a:srcRect/>
          <a:stretch/>
        </p:blipFill>
        <p:spPr>
          <a:xfrm>
            <a:off x="351" y="198"/>
            <a:ext cx="12191296" cy="6857604"/>
          </a:xfrm>
          <a:prstGeom prst="rect">
            <a:avLst/>
          </a:prstGeom>
        </p:spPr>
      </p:pic>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1505207" y="2636337"/>
            <a:ext cx="10033789" cy="1847633"/>
          </a:xfrm>
          <a:prstGeom prst="rect">
            <a:avLst/>
          </a:prstGeom>
        </p:spPr>
        <p:txBody>
          <a:bodyPr lIns="0" tIns="0" rIns="0" bIns="0" anchor="b" anchorCtr="0">
            <a:noAutofit/>
          </a:bodyPr>
          <a:lstStyle>
            <a:lvl1pPr rtl="0">
              <a:lnSpc>
                <a:spcPct val="90000"/>
              </a:lnSpc>
              <a:spcBef>
                <a:spcPts val="0"/>
              </a:spcBef>
              <a:spcAft>
                <a:spcPts val="0"/>
              </a:spcAft>
              <a:defRPr sz="3733">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de-DE" noProof="0"/>
              <a:t>Überschrift bearbeiten</a:t>
            </a:r>
          </a:p>
        </p:txBody>
      </p:sp>
      <p:sp>
        <p:nvSpPr>
          <p:cNvPr id="8" name="Freeform 4">
            <a:extLst>
              <a:ext uri="{FF2B5EF4-FFF2-40B4-BE49-F238E27FC236}">
                <a16:creationId xmlns:a16="http://schemas.microsoft.com/office/drawing/2014/main" id="{F842FF5F-DE9F-4AAB-ADDE-514692282E5A}"/>
              </a:ext>
            </a:extLst>
          </p:cNvPr>
          <p:cNvSpPr>
            <a:spLocks noEditPoints="1"/>
          </p:cNvSpPr>
          <p:nvPr userDrawn="1"/>
        </p:nvSpPr>
        <p:spPr bwMode="black">
          <a:xfrm>
            <a:off x="10893121"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rtl="0">
              <a:defRPr/>
            </a:pPr>
            <a:endParaRPr lang="de-DE" sz="1809">
              <a:latin typeface="Deutsche Bank Text" panose="020B0503020202030204" pitchFamily="34" charset="0"/>
              <a:cs typeface="Deutsche Bank Text" panose="020B0503020202030204" pitchFamily="34" charset="0"/>
            </a:endParaRPr>
          </a:p>
        </p:txBody>
      </p:sp>
    </p:spTree>
    <p:extLst>
      <p:ext uri="{BB962C8B-B14F-4D97-AF65-F5344CB8AC3E}">
        <p14:creationId xmlns:p14="http://schemas.microsoft.com/office/powerpoint/2010/main" val="1043151581"/>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 Inhaltsverzeichnis 1sp">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582868-0C71-4EC8-881D-014A990A2EB1}"/>
              </a:ext>
            </a:extLst>
          </p:cNvPr>
          <p:cNvGraphicFramePr>
            <a:graphicFrameLocks noChangeAspect="1"/>
          </p:cNvGraphicFramePr>
          <p:nvPr userDrawn="1">
            <p:custDataLst>
              <p:tags r:id="rId1"/>
            </p:custDataLst>
            <p:extLst>
              <p:ext uri="{D42A27DB-BD31-4B8C-83A1-F6EECF244321}">
                <p14:modId xmlns:p14="http://schemas.microsoft.com/office/powerpoint/2010/main" val="35671080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538" imgH="541" progId="TCLayout.ActiveDocument.1">
                  <p:embed/>
                </p:oleObj>
              </mc:Choice>
              <mc:Fallback>
                <p:oleObj name="think-cell Folie" r:id="rId3" imgW="538" imgH="541" progId="TCLayout.ActiveDocument.1">
                  <p:embed/>
                  <p:pic>
                    <p:nvPicPr>
                      <p:cNvPr id="3" name="Object 2" hidden="1">
                        <a:extLst>
                          <a:ext uri="{FF2B5EF4-FFF2-40B4-BE49-F238E27FC236}">
                            <a16:creationId xmlns:a16="http://schemas.microsoft.com/office/drawing/2014/main" id="{77582868-0C71-4EC8-881D-014A990A2EB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1" name="Freeform 4">
            <a:extLst>
              <a:ext uri="{FF2B5EF4-FFF2-40B4-BE49-F238E27FC236}">
                <a16:creationId xmlns:a16="http://schemas.microsoft.com/office/drawing/2014/main" id="{20C59E5F-3E88-4B08-8145-97A26D549804}"/>
              </a:ext>
            </a:extLst>
          </p:cNvPr>
          <p:cNvSpPr>
            <a:spLocks noEditPoints="1"/>
          </p:cNvSpPr>
          <p:nvPr userDrawn="1"/>
        </p:nvSpPr>
        <p:spPr bwMode="black">
          <a:xfrm>
            <a:off x="10894184"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a:lstStyle/>
          <a:p>
            <a:pPr rtl="0">
              <a:defRPr/>
            </a:pPr>
            <a:endParaRPr lang="de-DE" sz="1809" noProof="0">
              <a:latin typeface="Deutsche Bank Text" panose="020B0503020202030204" pitchFamily="34" charset="0"/>
              <a:cs typeface="Deutsche Bank Text" panose="020B0503020202030204" pitchFamily="34" charset="0"/>
            </a:endParaRPr>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651933" y="1797052"/>
            <a:ext cx="10890251" cy="4083049"/>
          </a:xfrm>
        </p:spPr>
        <p:txBody>
          <a:bodyPr/>
          <a:lstStyle>
            <a:lvl1pPr marL="357708" indent="-357708" rtl="0">
              <a:buFont typeface="+mj-lt"/>
              <a:buAutoNum type="arabicPeriod"/>
              <a:defRPr sz="1600"/>
            </a:lvl1pPr>
            <a:lvl2pPr marL="836063" indent="-478355" rtl="0">
              <a:buFont typeface="+mj-lt"/>
              <a:buNone/>
              <a:tabLst>
                <a:tab pos="9567094" algn="r"/>
              </a:tabLst>
              <a:defRPr sz="1333" u="sng"/>
            </a:lvl2pPr>
          </a:lstStyle>
          <a:p>
            <a:pPr lvl="0"/>
            <a:r>
              <a:rPr lang="de-DE"/>
              <a:t>Kapitel</a:t>
            </a:r>
          </a:p>
          <a:p>
            <a:pPr lvl="1"/>
            <a:r>
              <a:rPr lang="de-DE"/>
              <a:t>1.1	Unterkapitel	Seite X</a:t>
            </a:r>
          </a:p>
        </p:txBody>
      </p:sp>
      <p:sp>
        <p:nvSpPr>
          <p:cNvPr id="8" name="Foliennummernplatzhalter 1">
            <a:extLst>
              <a:ext uri="{FF2B5EF4-FFF2-40B4-BE49-F238E27FC236}">
                <a16:creationId xmlns:a16="http://schemas.microsoft.com/office/drawing/2014/main" id="{4D67E789-8482-4261-A960-C1B33C9792E6}"/>
              </a:ext>
            </a:extLst>
          </p:cNvPr>
          <p:cNvSpPr>
            <a:spLocks noGrp="1"/>
          </p:cNvSpPr>
          <p:nvPr>
            <p:ph type="sldNum" sz="quarter" idx="4"/>
          </p:nvPr>
        </p:nvSpPr>
        <p:spPr>
          <a:xfrm>
            <a:off x="10889082" y="6203952"/>
            <a:ext cx="653103" cy="328083"/>
          </a:xfrm>
          <a:prstGeom prst="rect">
            <a:avLst/>
          </a:prstGeom>
        </p:spPr>
        <p:txBody>
          <a:bodyPr vert="horz" lIns="0" tIns="61200" rIns="0" bIns="0" rtlCol="0" anchor="t" anchorCtr="0"/>
          <a:lstStyle>
            <a:lvl1pPr algn="r" rtl="0">
              <a:lnSpc>
                <a:spcPts val="1067"/>
              </a:lnSpc>
              <a:defRPr sz="933">
                <a:solidFill>
                  <a:schemeClr val="tx1"/>
                </a:solidFill>
                <a:latin typeface="+mn-lt"/>
                <a:ea typeface="Deutsche Bank Text" panose="020B0503020202030204" pitchFamily="34" charset="0"/>
                <a:cs typeface="Deutsche Bank Text" panose="020B0503020202030204" pitchFamily="34" charset="0"/>
              </a:defRPr>
            </a:lvl1pPr>
          </a:lstStyle>
          <a:p>
            <a:fld id="{D71DA9FD-6EF8-4CC5-AF9B-B6159B5B937C}" type="slidenum">
              <a:rPr lang="de-DE" smtClean="0"/>
              <a:pPr/>
              <a:t>‹#›</a:t>
            </a:fld>
            <a:endParaRPr lang="de-DE"/>
          </a:p>
        </p:txBody>
      </p:sp>
      <p:sp>
        <p:nvSpPr>
          <p:cNvPr id="9" name="Title Placeholder 4">
            <a:extLst>
              <a:ext uri="{FF2B5EF4-FFF2-40B4-BE49-F238E27FC236}">
                <a16:creationId xmlns:a16="http://schemas.microsoft.com/office/drawing/2014/main" id="{316AC555-1E08-4834-A4C5-209423AC1BF8}"/>
              </a:ext>
            </a:extLst>
          </p:cNvPr>
          <p:cNvSpPr>
            <a:spLocks noGrp="1"/>
          </p:cNvSpPr>
          <p:nvPr>
            <p:ph type="title" hasCustomPrompt="1"/>
          </p:nvPr>
        </p:nvSpPr>
        <p:spPr>
          <a:xfrm>
            <a:off x="614400" y="610889"/>
            <a:ext cx="9561024" cy="790055"/>
          </a:xfrm>
          <a:prstGeom prst="rect">
            <a:avLst/>
          </a:prstGeom>
        </p:spPr>
        <p:txBody>
          <a:bodyPr vert="horz" lIns="0" tIns="0" rIns="0" bIns="0" rtlCol="0" anchor="t" anchorCtr="0">
            <a:noAutofit/>
          </a:bodyPr>
          <a:lstStyle>
            <a:lvl1pPr rtl="0">
              <a:defRPr>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r>
              <a:rPr lang="de-DE" noProof="0"/>
              <a:t>Titelmasterformat durch Klicken bearbeiten</a:t>
            </a:r>
          </a:p>
        </p:txBody>
      </p:sp>
    </p:spTree>
    <p:extLst>
      <p:ext uri="{BB962C8B-B14F-4D97-AF65-F5344CB8AC3E}">
        <p14:creationId xmlns:p14="http://schemas.microsoft.com/office/powerpoint/2010/main" val="327179288"/>
      </p:ext>
    </p:extLst>
  </p:cSld>
  <p:clrMapOvr>
    <a:masterClrMapping/>
  </p:clrMapOvr>
  <p:transition>
    <p:wipe dir="r"/>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 Inhaltsverzeichnis 2sp">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F9E1C5-B447-44F2-A267-E81B263DE449}"/>
              </a:ext>
            </a:extLst>
          </p:cNvPr>
          <p:cNvGraphicFramePr>
            <a:graphicFrameLocks noChangeAspect="1"/>
          </p:cNvGraphicFramePr>
          <p:nvPr userDrawn="1">
            <p:custDataLst>
              <p:tags r:id="rId1"/>
            </p:custDataLst>
            <p:extLst>
              <p:ext uri="{D42A27DB-BD31-4B8C-83A1-F6EECF244321}">
                <p14:modId xmlns:p14="http://schemas.microsoft.com/office/powerpoint/2010/main" val="42065629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538" imgH="541" progId="TCLayout.ActiveDocument.1">
                  <p:embed/>
                </p:oleObj>
              </mc:Choice>
              <mc:Fallback>
                <p:oleObj name="think-cell Folie" r:id="rId3" imgW="538" imgH="541" progId="TCLayout.ActiveDocument.1">
                  <p:embed/>
                  <p:pic>
                    <p:nvPicPr>
                      <p:cNvPr id="3" name="Object 2" hidden="1">
                        <a:extLst>
                          <a:ext uri="{FF2B5EF4-FFF2-40B4-BE49-F238E27FC236}">
                            <a16:creationId xmlns:a16="http://schemas.microsoft.com/office/drawing/2014/main" id="{70F9E1C5-B447-44F2-A267-E81B263DE4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1" name="Freeform 4">
            <a:extLst>
              <a:ext uri="{FF2B5EF4-FFF2-40B4-BE49-F238E27FC236}">
                <a16:creationId xmlns:a16="http://schemas.microsoft.com/office/drawing/2014/main" id="{20C59E5F-3E88-4B08-8145-97A26D549804}"/>
              </a:ext>
            </a:extLst>
          </p:cNvPr>
          <p:cNvSpPr>
            <a:spLocks noEditPoints="1"/>
          </p:cNvSpPr>
          <p:nvPr userDrawn="1"/>
        </p:nvSpPr>
        <p:spPr bwMode="black">
          <a:xfrm>
            <a:off x="10894184"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a:lstStyle/>
          <a:p>
            <a:pPr rtl="0">
              <a:defRPr/>
            </a:pPr>
            <a:endParaRPr lang="de-DE" sz="1809" noProof="0">
              <a:latin typeface="Deutsche Bank Text" panose="020B0503020202030204" pitchFamily="34" charset="0"/>
              <a:cs typeface="Deutsche Bank Text" panose="020B0503020202030204" pitchFamily="34" charset="0"/>
            </a:endParaRPr>
          </a:p>
        </p:txBody>
      </p:sp>
      <p:sp>
        <p:nvSpPr>
          <p:cNvPr id="4" name="Textplatzhalter 3">
            <a:extLst>
              <a:ext uri="{FF2B5EF4-FFF2-40B4-BE49-F238E27FC236}">
                <a16:creationId xmlns:a16="http://schemas.microsoft.com/office/drawing/2014/main" id="{0CAC88D1-244E-446D-8A03-B95B1977963B}"/>
              </a:ext>
            </a:extLst>
          </p:cNvPr>
          <p:cNvSpPr>
            <a:spLocks noGrp="1"/>
          </p:cNvSpPr>
          <p:nvPr>
            <p:ph type="body" sz="quarter" idx="23" hasCustomPrompt="1"/>
          </p:nvPr>
        </p:nvSpPr>
        <p:spPr>
          <a:xfrm>
            <a:off x="651933" y="1797052"/>
            <a:ext cx="10890251" cy="4083049"/>
          </a:xfrm>
        </p:spPr>
        <p:txBody>
          <a:bodyPr numCol="2" spcCol="360000"/>
          <a:lstStyle>
            <a:lvl1pPr marL="357708" indent="-357708" rtl="0">
              <a:buFont typeface="+mj-lt"/>
              <a:buAutoNum type="arabicPeriod"/>
              <a:defRPr sz="1600"/>
            </a:lvl1pPr>
            <a:lvl2pPr marL="836063" indent="-478355" rtl="0">
              <a:buFont typeface="+mj-lt"/>
              <a:buNone/>
              <a:tabLst>
                <a:tab pos="5207870" algn="r"/>
              </a:tabLst>
              <a:defRPr sz="1333" u="sng"/>
            </a:lvl2pPr>
          </a:lstStyle>
          <a:p>
            <a:pPr lvl="0"/>
            <a:r>
              <a:rPr lang="de-DE"/>
              <a:t>Kapitel</a:t>
            </a:r>
          </a:p>
          <a:p>
            <a:pPr lvl="1"/>
            <a:r>
              <a:rPr lang="de-DE"/>
              <a:t>1.1	Unterkapitel	Seite X</a:t>
            </a:r>
          </a:p>
        </p:txBody>
      </p:sp>
      <p:sp>
        <p:nvSpPr>
          <p:cNvPr id="8" name="Foliennummernplatzhalter 1">
            <a:extLst>
              <a:ext uri="{FF2B5EF4-FFF2-40B4-BE49-F238E27FC236}">
                <a16:creationId xmlns:a16="http://schemas.microsoft.com/office/drawing/2014/main" id="{09FC0E68-C44F-42C8-A0DD-AD7F06E6C245}"/>
              </a:ext>
            </a:extLst>
          </p:cNvPr>
          <p:cNvSpPr>
            <a:spLocks noGrp="1"/>
          </p:cNvSpPr>
          <p:nvPr>
            <p:ph type="sldNum" sz="quarter" idx="4"/>
          </p:nvPr>
        </p:nvSpPr>
        <p:spPr>
          <a:xfrm>
            <a:off x="10889082" y="6203952"/>
            <a:ext cx="653103" cy="328083"/>
          </a:xfrm>
          <a:prstGeom prst="rect">
            <a:avLst/>
          </a:prstGeom>
        </p:spPr>
        <p:txBody>
          <a:bodyPr vert="horz" lIns="0" tIns="61200" rIns="0" bIns="0" rtlCol="0" anchor="t" anchorCtr="0"/>
          <a:lstStyle>
            <a:lvl1pPr algn="r" rtl="0">
              <a:lnSpc>
                <a:spcPts val="1067"/>
              </a:lnSpc>
              <a:defRPr sz="933">
                <a:solidFill>
                  <a:schemeClr val="tx1"/>
                </a:solidFill>
                <a:latin typeface="+mn-lt"/>
                <a:ea typeface="Deutsche Bank Text" panose="020B0503020202030204" pitchFamily="34" charset="0"/>
                <a:cs typeface="Deutsche Bank Text" panose="020B0503020202030204" pitchFamily="34" charset="0"/>
              </a:defRPr>
            </a:lvl1pPr>
          </a:lstStyle>
          <a:p>
            <a:fld id="{D71DA9FD-6EF8-4CC5-AF9B-B6159B5B937C}" type="slidenum">
              <a:rPr lang="de-DE" smtClean="0"/>
              <a:pPr/>
              <a:t>‹#›</a:t>
            </a:fld>
            <a:endParaRPr lang="de-DE"/>
          </a:p>
        </p:txBody>
      </p:sp>
      <p:sp>
        <p:nvSpPr>
          <p:cNvPr id="9" name="Title Placeholder 4">
            <a:extLst>
              <a:ext uri="{FF2B5EF4-FFF2-40B4-BE49-F238E27FC236}">
                <a16:creationId xmlns:a16="http://schemas.microsoft.com/office/drawing/2014/main" id="{5AC8B490-2903-4BE8-B657-CB8826134F3B}"/>
              </a:ext>
            </a:extLst>
          </p:cNvPr>
          <p:cNvSpPr>
            <a:spLocks noGrp="1"/>
          </p:cNvSpPr>
          <p:nvPr>
            <p:ph type="title" hasCustomPrompt="1"/>
          </p:nvPr>
        </p:nvSpPr>
        <p:spPr>
          <a:xfrm>
            <a:off x="614400" y="610889"/>
            <a:ext cx="9561024" cy="790055"/>
          </a:xfrm>
          <a:prstGeom prst="rect">
            <a:avLst/>
          </a:prstGeom>
        </p:spPr>
        <p:txBody>
          <a:bodyPr vert="horz" lIns="0" tIns="0" rIns="0" bIns="0" rtlCol="0" anchor="t" anchorCtr="0">
            <a:noAutofit/>
          </a:bodyPr>
          <a:lstStyle>
            <a:lvl1pPr rtl="0">
              <a:defRPr>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r>
              <a:rPr lang="de-DE" noProof="0"/>
              <a:t>Titelmasterformat durch Klicken bearbeiten</a:t>
            </a:r>
          </a:p>
        </p:txBody>
      </p:sp>
    </p:spTree>
    <p:extLst>
      <p:ext uri="{BB962C8B-B14F-4D97-AF65-F5344CB8AC3E}">
        <p14:creationId xmlns:p14="http://schemas.microsoft.com/office/powerpoint/2010/main" val="65549732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6 motif title wind turbi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3C4CF131-37F6-E677-AF62-F012401841E5}"/>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3" name="Google Shape;12;p7" descr="Transparent expanding box on photo of two workers standing on top of a wind turbine looking into a wind turbine park">
            <a:extLst>
              <a:ext uri="{FF2B5EF4-FFF2-40B4-BE49-F238E27FC236}">
                <a16:creationId xmlns:a16="http://schemas.microsoft.com/office/drawing/2014/main" id="{EE540776-C9B4-E813-DEA5-C5E5312097C2}"/>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EA8AD77D-DCA7-2EEC-2822-2C7B8A558616}"/>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293E3C6B-3D30-0858-ABCD-9F5F3E7C7D93}"/>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8" name="Text Placeholder 3">
            <a:extLst>
              <a:ext uri="{FF2B5EF4-FFF2-40B4-BE49-F238E27FC236}">
                <a16:creationId xmlns:a16="http://schemas.microsoft.com/office/drawing/2014/main" id="{BD301BD3-8AC6-8D1B-A62B-51A01CEB6A55}"/>
              </a:ext>
            </a:extLst>
          </p:cNvPr>
          <p:cNvSpPr>
            <a:spLocks noGrp="1"/>
          </p:cNvSpPr>
          <p:nvPr>
            <p:ph type="body" sz="quarter" idx="15" hasCustomPrompt="1"/>
          </p:nvPr>
        </p:nvSpPr>
        <p:spPr>
          <a:xfrm>
            <a:off x="971550" y="2379461"/>
            <a:ext cx="9591985" cy="540557"/>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Click to edit topline</a:t>
            </a:r>
          </a:p>
        </p:txBody>
      </p:sp>
      <p:sp>
        <p:nvSpPr>
          <p:cNvPr id="17" name="Textplatzhalter 4">
            <a:extLst>
              <a:ext uri="{FF2B5EF4-FFF2-40B4-BE49-F238E27FC236}">
                <a16:creationId xmlns:a16="http://schemas.microsoft.com/office/drawing/2014/main" id="{11449137-CDE3-D9F2-316E-30FB7A2E466C}"/>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3A41769A-DD5F-E3E7-2327-DDC370A0011A}"/>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2" name="Title 3">
            <a:extLst>
              <a:ext uri="{FF2B5EF4-FFF2-40B4-BE49-F238E27FC236}">
                <a16:creationId xmlns:a16="http://schemas.microsoft.com/office/drawing/2014/main" id="{054F5B16-8611-1480-2222-B58FE367F0F6}"/>
              </a:ext>
            </a:extLst>
          </p:cNvPr>
          <p:cNvSpPr>
            <a:spLocks noGrp="1"/>
          </p:cNvSpPr>
          <p:nvPr>
            <p:ph type="title" hasCustomPrompt="1"/>
          </p:nvPr>
        </p:nvSpPr>
        <p:spPr>
          <a:xfrm>
            <a:off x="972000" y="2919600"/>
            <a:ext cx="9590400" cy="6336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33724988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2 Nur Überschri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3A78C4-FC74-4B3B-ABBF-456E866C69CA}"/>
              </a:ext>
            </a:extLst>
          </p:cNvPr>
          <p:cNvGraphicFramePr>
            <a:graphicFrameLocks noChangeAspect="1"/>
          </p:cNvGraphicFramePr>
          <p:nvPr userDrawn="1">
            <p:custDataLst>
              <p:tags r:id="rId1"/>
            </p:custDataLst>
            <p:extLst>
              <p:ext uri="{D42A27DB-BD31-4B8C-83A1-F6EECF244321}">
                <p14:modId xmlns:p14="http://schemas.microsoft.com/office/powerpoint/2010/main" val="425920943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3" imgH="318" progId="TCLayout.ActiveDocument.1">
                  <p:embed/>
                </p:oleObj>
              </mc:Choice>
              <mc:Fallback>
                <p:oleObj name="think-cell Folie" r:id="rId3" imgW="353" imgH="318" progId="TCLayout.ActiveDocument.1">
                  <p:embed/>
                  <p:pic>
                    <p:nvPicPr>
                      <p:cNvPr id="3" name="Object 2" hidden="1">
                        <a:extLst>
                          <a:ext uri="{FF2B5EF4-FFF2-40B4-BE49-F238E27FC236}">
                            <a16:creationId xmlns:a16="http://schemas.microsoft.com/office/drawing/2014/main" id="{AE3A78C4-FC74-4B3B-ABBF-456E866C69C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4" name="Freeform 4">
            <a:extLst>
              <a:ext uri="{FF2B5EF4-FFF2-40B4-BE49-F238E27FC236}">
                <a16:creationId xmlns:a16="http://schemas.microsoft.com/office/drawing/2014/main" id="{E20FE986-5AF7-49D6-AC38-E4A3E23D8E05}"/>
              </a:ext>
            </a:extLst>
          </p:cNvPr>
          <p:cNvSpPr>
            <a:spLocks noEditPoints="1"/>
          </p:cNvSpPr>
          <p:nvPr userDrawn="1"/>
        </p:nvSpPr>
        <p:spPr bwMode="black">
          <a:xfrm>
            <a:off x="10894184" y="6477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a:lstStyle/>
          <a:p>
            <a:pPr rtl="0">
              <a:defRPr/>
            </a:pPr>
            <a:endParaRPr lang="de-DE" sz="1809" noProof="0">
              <a:latin typeface="Deutsche Bank Text" panose="020B0503020202030204" pitchFamily="34" charset="0"/>
              <a:cs typeface="Deutsche Bank Text" panose="020B0503020202030204" pitchFamily="34" charset="0"/>
            </a:endParaRPr>
          </a:p>
        </p:txBody>
      </p:sp>
      <p:sp>
        <p:nvSpPr>
          <p:cNvPr id="7" name="Foliennummernplatzhalter 1">
            <a:extLst>
              <a:ext uri="{FF2B5EF4-FFF2-40B4-BE49-F238E27FC236}">
                <a16:creationId xmlns:a16="http://schemas.microsoft.com/office/drawing/2014/main" id="{6FE54D6E-3951-45E1-986E-D3C4DE3CA79C}"/>
              </a:ext>
            </a:extLst>
          </p:cNvPr>
          <p:cNvSpPr>
            <a:spLocks noGrp="1"/>
          </p:cNvSpPr>
          <p:nvPr>
            <p:ph type="sldNum" sz="quarter" idx="4"/>
          </p:nvPr>
        </p:nvSpPr>
        <p:spPr>
          <a:xfrm>
            <a:off x="10889082" y="6203952"/>
            <a:ext cx="653103" cy="328083"/>
          </a:xfrm>
          <a:prstGeom prst="rect">
            <a:avLst/>
          </a:prstGeom>
        </p:spPr>
        <p:txBody>
          <a:bodyPr vert="horz" lIns="0" tIns="61200" rIns="0" bIns="0" rtlCol="0" anchor="t" anchorCtr="0"/>
          <a:lstStyle>
            <a:lvl1pPr algn="r" rtl="0">
              <a:lnSpc>
                <a:spcPts val="1067"/>
              </a:lnSpc>
              <a:defRPr sz="933">
                <a:solidFill>
                  <a:schemeClr val="tx1"/>
                </a:solidFill>
                <a:latin typeface="+mn-lt"/>
                <a:ea typeface="Deutsche Bank Text" panose="020B0503020202030204" pitchFamily="34" charset="0"/>
                <a:cs typeface="Deutsche Bank Text" panose="020B0503020202030204" pitchFamily="34" charset="0"/>
              </a:defRPr>
            </a:lvl1pPr>
          </a:lstStyle>
          <a:p>
            <a:fld id="{D71DA9FD-6EF8-4CC5-AF9B-B6159B5B937C}" type="slidenum">
              <a:rPr lang="de-DE" smtClean="0"/>
              <a:pPr/>
              <a:t>‹#›</a:t>
            </a:fld>
            <a:endParaRPr lang="de-DE"/>
          </a:p>
        </p:txBody>
      </p:sp>
      <p:sp>
        <p:nvSpPr>
          <p:cNvPr id="8" name="Title Placeholder 4">
            <a:extLst>
              <a:ext uri="{FF2B5EF4-FFF2-40B4-BE49-F238E27FC236}">
                <a16:creationId xmlns:a16="http://schemas.microsoft.com/office/drawing/2014/main" id="{D0A1CD02-9B02-4313-9307-3497B6351BEC}"/>
              </a:ext>
            </a:extLst>
          </p:cNvPr>
          <p:cNvSpPr>
            <a:spLocks noGrp="1"/>
          </p:cNvSpPr>
          <p:nvPr>
            <p:ph type="title" hasCustomPrompt="1"/>
          </p:nvPr>
        </p:nvSpPr>
        <p:spPr>
          <a:xfrm>
            <a:off x="614400" y="610889"/>
            <a:ext cx="9561024" cy="790055"/>
          </a:xfrm>
          <a:prstGeom prst="rect">
            <a:avLst/>
          </a:prstGeom>
        </p:spPr>
        <p:txBody>
          <a:bodyPr vert="horz" lIns="0" tIns="0" rIns="0" bIns="0" rtlCol="0" anchor="t" anchorCtr="0">
            <a:noAutofit/>
          </a:bodyPr>
          <a:lstStyle>
            <a:lvl1pPr rtl="0">
              <a:defRPr>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r>
              <a:rPr lang="de-DE" noProof="0"/>
              <a:t>Titelmasterformat durch Klicken bearbeiten</a:t>
            </a:r>
          </a:p>
        </p:txBody>
      </p:sp>
    </p:spTree>
    <p:extLst>
      <p:ext uri="{BB962C8B-B14F-4D97-AF65-F5344CB8AC3E}">
        <p14:creationId xmlns:p14="http://schemas.microsoft.com/office/powerpoint/2010/main" val="2574195746"/>
      </p:ext>
    </p:extLst>
  </p:cSld>
  <p:clrMapOvr>
    <a:masterClrMapping/>
  </p:clrMapOvr>
  <p:transition>
    <p:wipe dir="r"/>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One Content - content title only">
    <p:spTree>
      <p:nvGrpSpPr>
        <p:cNvPr id="1" name=""/>
        <p:cNvGrpSpPr/>
        <p:nvPr/>
      </p:nvGrpSpPr>
      <p:grpSpPr>
        <a:xfrm>
          <a:off x="0" y="0"/>
          <a:ext cx="0" cy="0"/>
          <a:chOff x="0" y="0"/>
          <a:chExt cx="0" cy="0"/>
        </a:xfrm>
      </p:grpSpPr>
      <p:sp>
        <p:nvSpPr>
          <p:cNvPr id="8" name="TextBox 13"/>
          <p:cNvSpPr txBox="1"/>
          <p:nvPr userDrawn="1"/>
        </p:nvSpPr>
        <p:spPr bwMode="auto">
          <a:xfrm>
            <a:off x="11" y="6523994"/>
            <a:ext cx="489886" cy="335493"/>
          </a:xfrm>
          <a:prstGeom prst="rect">
            <a:avLst/>
          </a:prstGeom>
          <a:noFill/>
        </p:spPr>
        <p:txBody>
          <a:bodyPr wrap="none" lIns="485084" tIns="0" rIns="0" bIns="208359" anchor="b">
            <a:spAutoFit/>
          </a:bodyPr>
          <a:lstStyle/>
          <a:p>
            <a:pPr>
              <a:defRPr/>
            </a:pPr>
            <a:endParaRPr lang="en-US" sz="813">
              <a:solidFill>
                <a:srgbClr val="0092D0"/>
              </a:solidFill>
              <a:latin typeface="+mn-lt"/>
              <a:cs typeface="+mn-cs"/>
            </a:endParaRPr>
          </a:p>
        </p:txBody>
      </p:sp>
      <p:sp>
        <p:nvSpPr>
          <p:cNvPr id="11" name="Freeform 4"/>
          <p:cNvSpPr>
            <a:spLocks noChangeAspect="1" noEditPoints="1"/>
          </p:cNvSpPr>
          <p:nvPr userDrawn="1"/>
        </p:nvSpPr>
        <p:spPr bwMode="black">
          <a:xfrm>
            <a:off x="11105983" y="488113"/>
            <a:ext cx="653005" cy="65112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rgbClr val="0018A8"/>
          </a:solidFill>
          <a:ln w="9525">
            <a:noFill/>
            <a:round/>
            <a:headEnd/>
            <a:tailEnd/>
          </a:ln>
        </p:spPr>
        <p:txBody>
          <a:bodyPr lIns="82193" tIns="41093" rIns="82193" bIns="41093"/>
          <a:lstStyle/>
          <a:p>
            <a:pPr>
              <a:defRPr/>
            </a:pPr>
            <a:endParaRPr lang="en-US" sz="1808"/>
          </a:p>
        </p:txBody>
      </p:sp>
      <p:sp>
        <p:nvSpPr>
          <p:cNvPr id="14" name="Slide Number Placeholder 7"/>
          <p:cNvSpPr>
            <a:spLocks noGrp="1"/>
          </p:cNvSpPr>
          <p:nvPr>
            <p:ph type="sldNum" sz="quarter" idx="21"/>
          </p:nvPr>
        </p:nvSpPr>
        <p:spPr/>
        <p:txBody>
          <a:bodyPr/>
          <a:lstStyle>
            <a:lvl1pPr>
              <a:defRPr/>
            </a:lvl1pPr>
          </a:lstStyle>
          <a:p>
            <a:pPr>
              <a:defRPr/>
            </a:pPr>
            <a:fld id="{2A7BD8E3-5974-4C0E-9140-06BA4F42A58B}" type="slidenum">
              <a:rPr lang="en-US"/>
              <a:pPr>
                <a:defRPr/>
              </a:pPr>
              <a:t>‹#›</a:t>
            </a:fld>
            <a:endParaRPr lang="en-US"/>
          </a:p>
        </p:txBody>
      </p:sp>
      <p:sp>
        <p:nvSpPr>
          <p:cNvPr id="9" name="Titel 8">
            <a:extLst>
              <a:ext uri="{FF2B5EF4-FFF2-40B4-BE49-F238E27FC236}">
                <a16:creationId xmlns:a16="http://schemas.microsoft.com/office/drawing/2014/main" id="{58184CAD-7E0E-43E9-95C8-025C063DA057}"/>
              </a:ext>
            </a:extLst>
          </p:cNvPr>
          <p:cNvSpPr>
            <a:spLocks noGrp="1"/>
          </p:cNvSpPr>
          <p:nvPr>
            <p:ph type="title"/>
          </p:nvPr>
        </p:nvSpPr>
        <p:spPr>
          <a:xfrm>
            <a:off x="651095" y="595849"/>
            <a:ext cx="10236824" cy="684795"/>
          </a:xfrm>
        </p:spPr>
        <p:txBody>
          <a:bodyPr/>
          <a:lstStyle>
            <a:lvl1pPr>
              <a:defRPr>
                <a:solidFill>
                  <a:srgbClr val="193296"/>
                </a:solidFill>
              </a:defRPr>
            </a:lvl1pPr>
          </a:lstStyle>
          <a:p>
            <a:r>
              <a:rPr lang="en-US" noProof="0" err="1"/>
              <a:t>Mastertitelformat</a:t>
            </a:r>
            <a:r>
              <a:rPr lang="en-US" noProof="0"/>
              <a:t> </a:t>
            </a:r>
            <a:r>
              <a:rPr lang="en-US" noProof="0" err="1"/>
              <a:t>bearbeiten</a:t>
            </a:r>
            <a:endParaRPr lang="en-US" noProof="0"/>
          </a:p>
        </p:txBody>
      </p:sp>
      <p:sp>
        <p:nvSpPr>
          <p:cNvPr id="17" name="Content Placeholder 2">
            <a:extLst>
              <a:ext uri="{FF2B5EF4-FFF2-40B4-BE49-F238E27FC236}">
                <a16:creationId xmlns:a16="http://schemas.microsoft.com/office/drawing/2014/main" id="{7D19209A-ECF5-4A06-8628-C98D543217CF}"/>
              </a:ext>
            </a:extLst>
          </p:cNvPr>
          <p:cNvSpPr>
            <a:spLocks noGrp="1"/>
          </p:cNvSpPr>
          <p:nvPr>
            <p:ph sz="half" idx="1"/>
          </p:nvPr>
        </p:nvSpPr>
        <p:spPr>
          <a:xfrm>
            <a:off x="651766" y="1564003"/>
            <a:ext cx="5226465" cy="4287624"/>
          </a:xfrm>
          <a:noFill/>
          <a:ln w="9525" algn="ctr">
            <a:noFill/>
            <a:miter lim="800000"/>
            <a:headEnd/>
            <a:tailEnd/>
          </a:ln>
          <a:effectLst/>
        </p:spPr>
        <p:txBody>
          <a:bodyPr/>
          <a:lstStyle>
            <a:lvl1pPr marL="0" indent="0" algn="l" rtl="0" fontAlgn="base">
              <a:defRPr lang="en-US" sz="1808" b="0" baseline="0" smtClean="0">
                <a:solidFill>
                  <a:srgbClr val="0092D0"/>
                </a:solidFill>
                <a:latin typeface="+mn-lt"/>
                <a:ea typeface="+mn-ea"/>
                <a:cs typeface="+mn-cs"/>
              </a:defRPr>
            </a:lvl1pPr>
            <a:lvl2pPr algn="l" rtl="0" fontAlgn="base">
              <a:defRPr lang="en-US" sz="1808" b="0" baseline="0" smtClean="0">
                <a:solidFill>
                  <a:schemeClr val="tx1"/>
                </a:solidFill>
                <a:latin typeface="+mn-lt"/>
                <a:ea typeface="+mn-ea"/>
                <a:cs typeface="+mn-cs"/>
              </a:defRPr>
            </a:lvl2pPr>
            <a:lvl3pPr algn="l" rtl="0" fontAlgn="base">
              <a:defRPr lang="en-US" sz="1808" b="0" baseline="0" smtClean="0">
                <a:solidFill>
                  <a:schemeClr val="tx1"/>
                </a:solidFill>
                <a:latin typeface="+mn-lt"/>
                <a:ea typeface="+mn-ea"/>
                <a:cs typeface="+mn-cs"/>
              </a:defRPr>
            </a:lvl3pPr>
            <a:lvl4pPr algn="l" rtl="0" fontAlgn="base">
              <a:defRPr lang="en-US" sz="1356" b="0" baseline="0" smtClean="0">
                <a:solidFill>
                  <a:schemeClr val="tx1"/>
                </a:solidFill>
                <a:latin typeface="+mn-lt"/>
                <a:ea typeface="+mn-ea"/>
                <a:cs typeface="+mn-cs"/>
              </a:defRPr>
            </a:lvl4pPr>
            <a:lvl5pPr algn="l" rtl="0" fontAlgn="base">
              <a:defRPr lang="en-US" sz="1356" b="0" baseline="0">
                <a:solidFill>
                  <a:schemeClr val="tx1"/>
                </a:solidFill>
                <a:latin typeface="+mn-lt"/>
                <a:ea typeface="+mn-ea"/>
                <a:cs typeface="+mn-cs"/>
              </a:defRPr>
            </a:lvl5pPr>
            <a:lvl6pPr>
              <a:defRPr sz="1808"/>
            </a:lvl6pPr>
            <a:lvl7pPr>
              <a:defRPr sz="1808"/>
            </a:lvl7pPr>
            <a:lvl8pPr>
              <a:defRPr sz="1808"/>
            </a:lvl8pPr>
            <a:lvl9pPr>
              <a:defRPr sz="1808"/>
            </a:lvl9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8" name="Content Placeholder 3">
            <a:extLst>
              <a:ext uri="{FF2B5EF4-FFF2-40B4-BE49-F238E27FC236}">
                <a16:creationId xmlns:a16="http://schemas.microsoft.com/office/drawing/2014/main" id="{61E109C6-7B2F-481D-888C-54D014EBFBC2}"/>
              </a:ext>
            </a:extLst>
          </p:cNvPr>
          <p:cNvSpPr>
            <a:spLocks noGrp="1"/>
          </p:cNvSpPr>
          <p:nvPr>
            <p:ph sz="half" idx="2"/>
          </p:nvPr>
        </p:nvSpPr>
        <p:spPr>
          <a:xfrm>
            <a:off x="6315318" y="1562689"/>
            <a:ext cx="5226465" cy="4287624"/>
          </a:xfrm>
          <a:noFill/>
          <a:ln w="9525" algn="ctr">
            <a:noFill/>
            <a:miter lim="800000"/>
            <a:headEnd/>
            <a:tailEnd/>
          </a:ln>
          <a:effectLst/>
        </p:spPr>
        <p:txBody>
          <a:bodyPr/>
          <a:lstStyle>
            <a:lvl1pPr marL="0" indent="0" algn="l" rtl="0" fontAlgn="base">
              <a:defRPr lang="en-US" sz="1808" b="0" baseline="0" smtClean="0">
                <a:solidFill>
                  <a:srgbClr val="0092D0"/>
                </a:solidFill>
                <a:latin typeface="+mn-lt"/>
                <a:ea typeface="+mn-ea"/>
                <a:cs typeface="+mn-cs"/>
              </a:defRPr>
            </a:lvl1pPr>
            <a:lvl2pPr algn="l" rtl="0" fontAlgn="base">
              <a:defRPr lang="en-US" sz="1808" b="0" baseline="0" smtClean="0">
                <a:solidFill>
                  <a:schemeClr val="tx1"/>
                </a:solidFill>
                <a:latin typeface="+mn-lt"/>
                <a:ea typeface="+mn-ea"/>
                <a:cs typeface="+mn-cs"/>
              </a:defRPr>
            </a:lvl2pPr>
            <a:lvl3pPr algn="l" rtl="0" fontAlgn="base">
              <a:defRPr lang="en-US" sz="1808" b="0" baseline="0" smtClean="0">
                <a:solidFill>
                  <a:schemeClr val="tx1"/>
                </a:solidFill>
                <a:latin typeface="+mn-lt"/>
                <a:ea typeface="+mn-ea"/>
                <a:cs typeface="+mn-cs"/>
              </a:defRPr>
            </a:lvl3pPr>
            <a:lvl4pPr algn="l" rtl="0" fontAlgn="base">
              <a:defRPr lang="en-US" sz="1356" b="0" baseline="0" smtClean="0">
                <a:solidFill>
                  <a:schemeClr val="tx1"/>
                </a:solidFill>
                <a:latin typeface="+mn-lt"/>
                <a:ea typeface="+mn-ea"/>
                <a:cs typeface="+mn-cs"/>
              </a:defRPr>
            </a:lvl4pPr>
            <a:lvl5pPr algn="l" rtl="0" fontAlgn="base">
              <a:defRPr lang="en-US" sz="1356" b="0" baseline="0">
                <a:solidFill>
                  <a:schemeClr val="tx1"/>
                </a:solidFill>
                <a:latin typeface="+mn-lt"/>
                <a:ea typeface="+mn-ea"/>
                <a:cs typeface="+mn-cs"/>
              </a:defRPr>
            </a:lvl5pPr>
            <a:lvl6pPr>
              <a:defRPr sz="1808"/>
            </a:lvl6pPr>
            <a:lvl7pPr>
              <a:defRPr sz="1808"/>
            </a:lvl7pPr>
            <a:lvl8pPr>
              <a:defRPr sz="1808"/>
            </a:lvl8pPr>
            <a:lvl9pPr>
              <a:defRPr sz="1808"/>
            </a:lvl9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3162328430"/>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7 motif title truck dri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224BB741-DA6A-F5D6-2C25-1A1717DAF252}"/>
              </a:ext>
            </a:extLst>
          </p:cNvPr>
          <p:cNvSpPr>
            <a:spLocks noChangeAspect="1" noEditPoints="1"/>
          </p:cNvSpPr>
          <p:nvPr userDrawn="1"/>
        </p:nvSpPr>
        <p:spPr bwMode="black">
          <a:xfrm>
            <a:off x="10896000" y="648000"/>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3" name="Google Shape;12;p7" descr="Transparent expanding box on photo of truck driver entering his truck in front of a scenic background">
            <a:extLst>
              <a:ext uri="{FF2B5EF4-FFF2-40B4-BE49-F238E27FC236}">
                <a16:creationId xmlns:a16="http://schemas.microsoft.com/office/drawing/2014/main" id="{51D9BDE6-98CA-0DCE-F030-4D8D992DAD99}"/>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5C56D948-8321-A395-3956-37F236D1344F}"/>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64C3C87C-64B7-8CF5-1B2A-4550603243E5}"/>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3" name="Textplatzhalter 4">
            <a:extLst>
              <a:ext uri="{FF2B5EF4-FFF2-40B4-BE49-F238E27FC236}">
                <a16:creationId xmlns:a16="http://schemas.microsoft.com/office/drawing/2014/main" id="{94DC80E7-63DB-EAE4-67D6-9737C429184B}"/>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4728FE35-9608-8606-4B52-064D7AD5AF6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2" name="Title 3">
            <a:extLst>
              <a:ext uri="{FF2B5EF4-FFF2-40B4-BE49-F238E27FC236}">
                <a16:creationId xmlns:a16="http://schemas.microsoft.com/office/drawing/2014/main" id="{999F58F0-35A4-6B74-A5F9-65D349C4A93E}"/>
              </a:ext>
            </a:extLst>
          </p:cNvPr>
          <p:cNvSpPr>
            <a:spLocks noGrp="1"/>
          </p:cNvSpPr>
          <p:nvPr>
            <p:ph type="title" hasCustomPrompt="1"/>
          </p:nvPr>
        </p:nvSpPr>
        <p:spPr>
          <a:xfrm>
            <a:off x="972000" y="2142000"/>
            <a:ext cx="9590400" cy="14112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16470509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10 illustration t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Freeform 4" descr="White Deutsche Bank logo">
            <a:extLst>
              <a:ext uri="{FF2B5EF4-FFF2-40B4-BE49-F238E27FC236}">
                <a16:creationId xmlns:a16="http://schemas.microsoft.com/office/drawing/2014/main" id="{224BB741-DA6A-F5D6-2C25-1A1717DAF252}"/>
              </a:ext>
            </a:extLst>
          </p:cNvPr>
          <p:cNvSpPr>
            <a:spLocks noChangeAspect="1" noEditPoints="1"/>
          </p:cNvSpPr>
          <p:nvPr userDrawn="1"/>
        </p:nvSpPr>
        <p:spPr bwMode="black">
          <a:xfrm>
            <a:off x="10896000" y="650369"/>
            <a:ext cx="648000" cy="648000"/>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GB" sz="1809">
              <a:latin typeface="DeutscheBank" panose="020B0503020202030204" pitchFamily="34" charset="0"/>
              <a:cs typeface="DeutscheBank" panose="020B0503020202030204" pitchFamily="34" charset="0"/>
            </a:endParaRPr>
          </a:p>
        </p:txBody>
      </p:sp>
      <p:sp>
        <p:nvSpPr>
          <p:cNvPr id="3" name="Google Shape;12;p7" descr="Transparent expanding box on illustration of Freankfurt Taunusanlage Deutsche Bank Towers.">
            <a:extLst>
              <a:ext uri="{FF2B5EF4-FFF2-40B4-BE49-F238E27FC236}">
                <a16:creationId xmlns:a16="http://schemas.microsoft.com/office/drawing/2014/main" id="{51D9BDE6-98CA-0DCE-F030-4D8D992DAD99}"/>
              </a:ext>
            </a:extLst>
          </p:cNvPr>
          <p:cNvSpPr/>
          <p:nvPr userDrawn="1"/>
        </p:nvSpPr>
        <p:spPr>
          <a:xfrm>
            <a:off x="646113" y="1296000"/>
            <a:ext cx="10248900" cy="4912713"/>
          </a:xfrm>
          <a:prstGeom prst="rect">
            <a:avLst/>
          </a:prstGeom>
          <a:solidFill>
            <a:srgbClr val="1E2A78">
              <a:alpha val="7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DeutscheBank" panose="020B0503020202030204" pitchFamily="34" charset="0"/>
              <a:ea typeface="DeutscheBank" panose="020B0503020202030204" pitchFamily="34" charset="0"/>
              <a:cs typeface="DeutscheBank" panose="020B0503020202030204" pitchFamily="34" charset="0"/>
              <a:sym typeface="Calibri"/>
            </a:endParaRPr>
          </a:p>
        </p:txBody>
      </p:sp>
      <p:sp>
        <p:nvSpPr>
          <p:cNvPr id="4" name="TextBox 19">
            <a:extLst>
              <a:ext uri="{FF2B5EF4-FFF2-40B4-BE49-F238E27FC236}">
                <a16:creationId xmlns:a16="http://schemas.microsoft.com/office/drawing/2014/main" id="{5C56D948-8321-A395-3956-37F236D1344F}"/>
              </a:ext>
            </a:extLst>
          </p:cNvPr>
          <p:cNvSpPr txBox="1"/>
          <p:nvPr userDrawn="1"/>
        </p:nvSpPr>
        <p:spPr bwMode="auto">
          <a:xfrm>
            <a:off x="960119" y="1617664"/>
            <a:ext cx="1435840" cy="168696"/>
          </a:xfrm>
          <a:prstGeom prst="rect">
            <a:avLst/>
          </a:prstGeom>
          <a:noFill/>
        </p:spPr>
        <p:txBody>
          <a:bodyPr wrap="none" lIns="0" tIns="0" rIns="0" bIns="0">
            <a:noAutofit/>
          </a:bodyPr>
          <a:lstStyle/>
          <a:p>
            <a:pPr>
              <a:lnSpc>
                <a:spcPts val="1600"/>
              </a:lnSpc>
              <a:defRPr/>
            </a:pPr>
            <a:r>
              <a:rPr lang="en-GB" sz="1600" b="1">
                <a:solidFill>
                  <a:schemeClr val="bg1"/>
                </a:solidFill>
                <a:latin typeface="DeutscheBank" panose="020B0503020202030204" pitchFamily="34" charset="0"/>
                <a:ea typeface="DeutscheBank" panose="020B0503020202030204" pitchFamily="34" charset="0"/>
                <a:cs typeface="DeutscheBank" panose="020B0503020202030204" pitchFamily="34" charset="0"/>
              </a:rPr>
              <a:t>Deutsche Bank</a:t>
            </a:r>
            <a:endParaRPr lang="en-GB" sz="1600">
              <a:solidFill>
                <a:schemeClr val="bg1"/>
              </a:solidFill>
              <a:latin typeface="+mn-lt"/>
              <a:ea typeface="DeutscheBank" panose="020B0503020202030204" pitchFamily="34" charset="0"/>
              <a:cs typeface="DeutscheBank" panose="020B0503020202030204" pitchFamily="34" charset="0"/>
            </a:endParaRPr>
          </a:p>
        </p:txBody>
      </p:sp>
      <p:sp>
        <p:nvSpPr>
          <p:cNvPr id="15" name="Textplatzhalter 3">
            <a:extLst>
              <a:ext uri="{FF2B5EF4-FFF2-40B4-BE49-F238E27FC236}">
                <a16:creationId xmlns:a16="http://schemas.microsoft.com/office/drawing/2014/main" id="{64C3C87C-64B7-8CF5-1B2A-4550603243E5}"/>
              </a:ext>
            </a:extLst>
          </p:cNvPr>
          <p:cNvSpPr>
            <a:spLocks noGrp="1"/>
          </p:cNvSpPr>
          <p:nvPr>
            <p:ph type="body" sz="quarter" idx="14" hasCustomPrompt="1"/>
          </p:nvPr>
        </p:nvSpPr>
        <p:spPr>
          <a:xfrm>
            <a:off x="956061" y="1804779"/>
            <a:ext cx="5139366" cy="231150"/>
          </a:xfrm>
          <a:prstGeom prst="rect">
            <a:avLst/>
          </a:prstGeom>
        </p:spPr>
        <p:txBody>
          <a:bodyPr lIns="0" tIns="0" rIns="0" bIns="0"/>
          <a:lstStyle>
            <a:lvl1pPr>
              <a:defRPr sz="1600" b="0">
                <a:solidFill>
                  <a:schemeClr val="bg1"/>
                </a:solidFill>
              </a:defRPr>
            </a:lvl1pPr>
          </a:lstStyle>
          <a:p>
            <a:pPr lvl="0"/>
            <a:r>
              <a:rPr lang="en-GB" noProof="0"/>
              <a:t>Corporate Division</a:t>
            </a:r>
          </a:p>
        </p:txBody>
      </p:sp>
      <p:sp>
        <p:nvSpPr>
          <p:cNvPr id="13" name="Textplatzhalter 4">
            <a:extLst>
              <a:ext uri="{FF2B5EF4-FFF2-40B4-BE49-F238E27FC236}">
                <a16:creationId xmlns:a16="http://schemas.microsoft.com/office/drawing/2014/main" id="{94DC80E7-63DB-EAE4-67D6-9737C429184B}"/>
              </a:ext>
            </a:extLst>
          </p:cNvPr>
          <p:cNvSpPr>
            <a:spLocks noGrp="1"/>
          </p:cNvSpPr>
          <p:nvPr>
            <p:ph type="body" sz="quarter" idx="10" hasCustomPrompt="1"/>
          </p:nvPr>
        </p:nvSpPr>
        <p:spPr>
          <a:xfrm>
            <a:off x="971550" y="3551873"/>
            <a:ext cx="9591986" cy="1167812"/>
          </a:xfrm>
          <a:prstGeom prst="rect">
            <a:avLst/>
          </a:prstGeom>
        </p:spPr>
        <p:txBody>
          <a:bodyPr lIns="0" tIns="108000" rIns="0" bIns="0" anchor="t" anchorCtr="0">
            <a:noAutofit/>
          </a:bodyPr>
          <a:lstStyle>
            <a:lvl1pPr>
              <a:lnSpc>
                <a:spcPct val="90000"/>
              </a:lnSpc>
              <a:spcBef>
                <a:spcPts val="0"/>
              </a:spcBef>
              <a:spcAft>
                <a:spcPts val="0"/>
              </a:spcAft>
              <a:defRPr sz="2000" b="0">
                <a:solidFill>
                  <a:schemeClr val="bg1"/>
                </a:solidFill>
                <a:latin typeface="+mj-lt"/>
              </a:defRPr>
            </a:lvl1pPr>
          </a:lstStyle>
          <a:p>
            <a:pPr lvl="0"/>
            <a:r>
              <a:rPr lang="en-GB" noProof="0"/>
              <a:t>Click to edit subline</a:t>
            </a:r>
          </a:p>
        </p:txBody>
      </p:sp>
      <p:sp>
        <p:nvSpPr>
          <p:cNvPr id="12" name="Text Placeholder 3">
            <a:extLst>
              <a:ext uri="{FF2B5EF4-FFF2-40B4-BE49-F238E27FC236}">
                <a16:creationId xmlns:a16="http://schemas.microsoft.com/office/drawing/2014/main" id="{4728FE35-9608-8606-4B52-064D7AD5AF62}"/>
              </a:ext>
            </a:extLst>
          </p:cNvPr>
          <p:cNvSpPr>
            <a:spLocks noGrp="1"/>
          </p:cNvSpPr>
          <p:nvPr>
            <p:ph type="body" sz="quarter" idx="13" hasCustomPrompt="1"/>
          </p:nvPr>
        </p:nvSpPr>
        <p:spPr>
          <a:xfrm>
            <a:off x="971550" y="5567258"/>
            <a:ext cx="9591985" cy="317605"/>
          </a:xfrm>
          <a:prstGeom prst="rect">
            <a:avLst/>
          </a:prstGeom>
        </p:spPr>
        <p:txBody>
          <a:bodyPr lIns="0" tIns="0" rIns="0" bIns="0" anchor="b" anchorCtr="0"/>
          <a:lstStyle>
            <a:lvl1pPr>
              <a:spcBef>
                <a:spcPts val="0"/>
              </a:spcBef>
              <a:defRPr sz="1200" b="0">
                <a:solidFill>
                  <a:schemeClr val="bg1"/>
                </a:solidFill>
                <a:ea typeface="DeutscheBank" panose="020B0503020202030204" pitchFamily="34" charset="0"/>
              </a:defRPr>
            </a:lvl1pPr>
          </a:lstStyle>
          <a:p>
            <a:pPr lvl="0"/>
            <a:r>
              <a:rPr lang="en-GB"/>
              <a:t>Date, Location, S</a:t>
            </a:r>
            <a:r>
              <a:rPr lang="en-GB">
                <a:ea typeface="DeutscheBank" panose="020B0503020202030204" pitchFamily="34" charset="0"/>
              </a:rPr>
              <a:t>peaker name</a:t>
            </a:r>
            <a:endParaRPr lang="en-GB"/>
          </a:p>
        </p:txBody>
      </p:sp>
      <p:sp>
        <p:nvSpPr>
          <p:cNvPr id="2" name="Title 3">
            <a:extLst>
              <a:ext uri="{FF2B5EF4-FFF2-40B4-BE49-F238E27FC236}">
                <a16:creationId xmlns:a16="http://schemas.microsoft.com/office/drawing/2014/main" id="{65B1ED29-136D-A647-5908-A0662E28B072}"/>
              </a:ext>
            </a:extLst>
          </p:cNvPr>
          <p:cNvSpPr>
            <a:spLocks noGrp="1"/>
          </p:cNvSpPr>
          <p:nvPr>
            <p:ph type="title" hasCustomPrompt="1"/>
          </p:nvPr>
        </p:nvSpPr>
        <p:spPr>
          <a:xfrm>
            <a:off x="972000" y="2142000"/>
            <a:ext cx="9590400" cy="1411200"/>
          </a:xfrm>
          <a:prstGeom prst="rect">
            <a:avLst/>
          </a:prstGeom>
        </p:spPr>
        <p:txBody>
          <a:bodyPr lIns="0" tIns="0" rIns="0" bIns="0" anchor="b" anchorCtr="0"/>
          <a:lstStyle>
            <a:lvl1pPr>
              <a:defRPr sz="4000" b="1">
                <a:solidFill>
                  <a:schemeClr val="bg1"/>
                </a:solidFill>
              </a:defRPr>
            </a:lvl1pPr>
          </a:lstStyle>
          <a:p>
            <a:r>
              <a:rPr lang="en-GB"/>
              <a:t>Click to edit headline</a:t>
            </a:r>
            <a:endParaRPr lang="de-DE"/>
          </a:p>
        </p:txBody>
      </p:sp>
    </p:spTree>
    <p:extLst>
      <p:ext uri="{BB962C8B-B14F-4D97-AF65-F5344CB8AC3E}">
        <p14:creationId xmlns:p14="http://schemas.microsoft.com/office/powerpoint/2010/main" val="19456947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13.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2.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3.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1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4.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1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4.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1.xml"/><Relationship Id="rId5" Type="http://schemas.openxmlformats.org/officeDocument/2006/relationships/slideLayout" Target="../slideLayouts/slideLayout67.xml"/><Relationship Id="rId10" Type="http://schemas.openxmlformats.org/officeDocument/2006/relationships/theme" Target="../theme/theme5.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E2A78"/>
        </a:solidFill>
        <a:effectLst/>
      </p:bgPr>
    </p:bg>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4E9DBA84-73A5-4600-CBF3-26EC1A500554}"/>
              </a:ext>
            </a:extLst>
          </p:cNvPr>
          <p:cNvSpPr>
            <a:spLocks noGrp="1"/>
          </p:cNvSpPr>
          <p:nvPr>
            <p:ph type="body" idx="1"/>
          </p:nvPr>
        </p:nvSpPr>
        <p:spPr>
          <a:xfrm>
            <a:off x="971550" y="1617664"/>
            <a:ext cx="9599614" cy="4267200"/>
          </a:xfrm>
          <a:prstGeom prst="rect">
            <a:avLst/>
          </a:prstGeom>
        </p:spPr>
        <p:txBody>
          <a:bodyPr vert="horz" lIns="0" tIns="0" rIns="0" bIns="0" rtlCol="0">
            <a:noAutofit/>
          </a:bodyPr>
          <a:lstStyle/>
          <a:p>
            <a:pPr lvl="0"/>
            <a:r>
              <a:rPr lang="en-GB" noProof="0"/>
              <a:t>Edit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MSIPCMContentMarking" descr="{&quot;HashCode&quot;:-1864096203,&quot;Placement&quot;:&quot;Footer&quot;,&quot;Top&quot;:519.343,&quot;Left&quot;:469.7333,&quot;SlideWidth&quot;:960,&quot;SlideHeight&quot;:540}">
            <a:extLst>
              <a:ext uri="{FF2B5EF4-FFF2-40B4-BE49-F238E27FC236}">
                <a16:creationId xmlns:a16="http://schemas.microsoft.com/office/drawing/2014/main" id="{905A196F-D942-F1DF-3EA7-E8757C0679B8}"/>
              </a:ext>
            </a:extLst>
          </p:cNvPr>
          <p:cNvSpPr txBox="1"/>
          <p:nvPr userDrawn="1"/>
        </p:nvSpPr>
        <p:spPr>
          <a:xfrm>
            <a:off x="5965613" y="6595656"/>
            <a:ext cx="260773"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 </a:t>
            </a:r>
          </a:p>
        </p:txBody>
      </p:sp>
    </p:spTree>
    <p:extLst>
      <p:ext uri="{BB962C8B-B14F-4D97-AF65-F5344CB8AC3E}">
        <p14:creationId xmlns:p14="http://schemas.microsoft.com/office/powerpoint/2010/main" val="1917592416"/>
      </p:ext>
    </p:extLst>
  </p:cSld>
  <p:clrMap bg1="lt1" tx1="dk1" bg2="lt2" tx2="dk2" accent1="accent1" accent2="accent2" accent3="accent3" accent4="accent4" accent5="accent5" accent6="accent6" hlink="hlink" folHlink="folHlink"/>
  <p:sldLayoutIdLst>
    <p:sldLayoutId id="2147483670" r:id="rId1"/>
    <p:sldLayoutId id="2147483728" r:id="rId2"/>
    <p:sldLayoutId id="2147483669" r:id="rId3"/>
    <p:sldLayoutId id="2147483649" r:id="rId4"/>
    <p:sldLayoutId id="2147483650" r:id="rId5"/>
    <p:sldLayoutId id="2147483667" r:id="rId6"/>
    <p:sldLayoutId id="2147483668" r:id="rId7"/>
    <p:sldLayoutId id="2147483672" r:id="rId8"/>
    <p:sldLayoutId id="2147483687" r:id="rId9"/>
    <p:sldLayoutId id="2147483688" r:id="rId10"/>
    <p:sldLayoutId id="2147483671" r:id="rId11"/>
    <p:sldLayoutId id="2147483675" r:id="rId12"/>
    <p:sldLayoutId id="2147483676" r:id="rId13"/>
    <p:sldLayoutId id="2147483677" r:id="rId14"/>
    <p:sldLayoutId id="2147483678" r:id="rId15"/>
    <p:sldLayoutId id="2147483679" r:id="rId16"/>
    <p:sldLayoutId id="2147483651" r:id="rId17"/>
    <p:sldLayoutId id="2147483673" r:id="rId18"/>
    <p:sldLayoutId id="2147483674" r:id="rId19"/>
    <p:sldLayoutId id="2147483681" r:id="rId20"/>
    <p:sldLayoutId id="2147483680" r:id="rId21"/>
    <p:sldLayoutId id="2147483682" r:id="rId22"/>
    <p:sldLayoutId id="2147483683" r:id="rId23"/>
    <p:sldLayoutId id="2147483684" r:id="rId2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buFont typeface="Arial" panose="020B0604020202020204" pitchFamily="34" charset="0"/>
        <a:buNone/>
        <a:defRPr sz="4000" b="1" kern="1200">
          <a:solidFill>
            <a:schemeClr val="bg1"/>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100000"/>
        </a:lnSpc>
        <a:spcBef>
          <a:spcPts val="0"/>
        </a:spcBef>
        <a:buFont typeface="Arial" panose="020B0604020202020204" pitchFamily="34" charset="0"/>
        <a:buNone/>
        <a:defRPr sz="1600" kern="1200">
          <a:solidFill>
            <a:schemeClr val="bg1"/>
          </a:solidFill>
          <a:latin typeface="+mn-lt"/>
          <a:ea typeface="+mn-ea"/>
          <a:cs typeface="+mn-cs"/>
        </a:defRPr>
      </a:lvl3pPr>
      <a:lvl4pPr marL="0" indent="0" algn="l" defTabSz="914400" rtl="0" eaLnBrk="1" latinLnBrk="0" hangingPunct="1">
        <a:lnSpc>
          <a:spcPct val="100000"/>
        </a:lnSpc>
        <a:spcBef>
          <a:spcPts val="0"/>
        </a:spcBef>
        <a:buFont typeface="Arial" panose="020B0604020202020204" pitchFamily="34" charset="0"/>
        <a:buNone/>
        <a:defRPr sz="1200" kern="1200">
          <a:solidFill>
            <a:schemeClr val="bg1"/>
          </a:solidFill>
          <a:latin typeface="+mn-lt"/>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7" userDrawn="1">
          <p15:clr>
            <a:srgbClr val="F26B43"/>
          </p15:clr>
        </p15:guide>
        <p15:guide id="2" pos="3840" userDrawn="1">
          <p15:clr>
            <a:srgbClr val="F26B43"/>
          </p15:clr>
        </p15:guide>
        <p15:guide id="3" pos="407" userDrawn="1">
          <p15:clr>
            <a:srgbClr val="F26B43"/>
          </p15:clr>
        </p15:guide>
        <p15:guide id="4" pos="7271" userDrawn="1">
          <p15:clr>
            <a:srgbClr val="F26B43"/>
          </p15:clr>
        </p15:guide>
        <p15:guide id="5" orient="horz" pos="3911" userDrawn="1">
          <p15:clr>
            <a:srgbClr val="F26B43"/>
          </p15:clr>
        </p15:guide>
        <p15:guide id="6" orient="horz" pos="3707" userDrawn="1">
          <p15:clr>
            <a:srgbClr val="F26B43"/>
          </p15:clr>
        </p15:guide>
        <p15:guide id="7" pos="612" userDrawn="1">
          <p15:clr>
            <a:srgbClr val="F26B43"/>
          </p15:clr>
        </p15:guide>
        <p15:guide id="8" orient="horz" pos="1019" userDrawn="1">
          <p15:clr>
            <a:srgbClr val="F26B43"/>
          </p15:clr>
        </p15:guide>
        <p15:guide id="9" orient="horz" pos="816" userDrawn="1">
          <p15:clr>
            <a:srgbClr val="F26B43"/>
          </p15:clr>
        </p15:guide>
        <p15:guide id="10" pos="6863" userDrawn="1">
          <p15:clr>
            <a:srgbClr val="F26B43"/>
          </p15:clr>
        </p15:guide>
        <p15:guide id="11" pos="6659" userDrawn="1">
          <p15:clr>
            <a:srgbClr val="F26B43"/>
          </p15:clr>
        </p15:guide>
        <p15:guide id="12" orient="horz" pos="12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2">
            <a:extLst>
              <a:ext uri="{FF2B5EF4-FFF2-40B4-BE49-F238E27FC236}">
                <a16:creationId xmlns:a16="http://schemas.microsoft.com/office/drawing/2014/main" id="{6D0F29C5-DBFE-A152-158C-D0CDDDF0A14C}"/>
              </a:ext>
            </a:extLst>
          </p:cNvPr>
          <p:cNvSpPr>
            <a:spLocks noGrp="1"/>
          </p:cNvSpPr>
          <p:nvPr>
            <p:ph type="title"/>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2" name="Grafik 9" descr="Blue Deutsche Bank logo">
            <a:extLst>
              <a:ext uri="{FF2B5EF4-FFF2-40B4-BE49-F238E27FC236}">
                <a16:creationId xmlns:a16="http://schemas.microsoft.com/office/drawing/2014/main" id="{B29001C1-63DA-2119-A100-853E4B7B6C6E}"/>
              </a:ext>
            </a:extLst>
          </p:cNvPr>
          <p:cNvSpPr>
            <a:spLocks noChangeAspect="1"/>
          </p:cNvSpPr>
          <p:nvPr userDrawn="1"/>
        </p:nvSpPr>
        <p:spPr>
          <a:xfrm>
            <a:off x="11282400" y="441325"/>
            <a:ext cx="468000" cy="468000"/>
          </a:xfrm>
          <a:custGeom>
            <a:avLst/>
            <a:gdLst>
              <a:gd name="connsiteX0" fmla="*/ 385667 w 2699994"/>
              <a:gd name="connsiteY0" fmla="*/ 2314346 h 2700004"/>
              <a:gd name="connsiteX1" fmla="*/ 2314146 w 2699994"/>
              <a:gd name="connsiteY1" fmla="*/ 2314346 h 2700004"/>
              <a:gd name="connsiteX2" fmla="*/ 2314146 w 2699994"/>
              <a:gd name="connsiteY2" fmla="*/ 385658 h 2700004"/>
              <a:gd name="connsiteX3" fmla="*/ 385667 w 2699994"/>
              <a:gd name="connsiteY3" fmla="*/ 385658 h 2700004"/>
              <a:gd name="connsiteX4" fmla="*/ 385667 w 2699994"/>
              <a:gd name="connsiteY4" fmla="*/ 2314346 h 2700004"/>
              <a:gd name="connsiteX5" fmla="*/ 0 w 2699994"/>
              <a:gd name="connsiteY5" fmla="*/ 0 h 2700004"/>
              <a:gd name="connsiteX6" fmla="*/ 2699995 w 2699994"/>
              <a:gd name="connsiteY6" fmla="*/ 0 h 2700004"/>
              <a:gd name="connsiteX7" fmla="*/ 2699995 w 2699994"/>
              <a:gd name="connsiteY7" fmla="*/ 2700004 h 2700004"/>
              <a:gd name="connsiteX8" fmla="*/ 0 w 2699994"/>
              <a:gd name="connsiteY8" fmla="*/ 2700004 h 2700004"/>
              <a:gd name="connsiteX9" fmla="*/ 0 w 2699994"/>
              <a:gd name="connsiteY9" fmla="*/ 0 h 2700004"/>
              <a:gd name="connsiteX10" fmla="*/ 582549 w 2699994"/>
              <a:gd name="connsiteY10" fmla="*/ 2051971 h 2700004"/>
              <a:gd name="connsiteX11" fmla="*/ 1635709 w 2699994"/>
              <a:gd name="connsiteY11" fmla="*/ 648033 h 2700004"/>
              <a:gd name="connsiteX12" fmla="*/ 2117874 w 2699994"/>
              <a:gd name="connsiteY12" fmla="*/ 648033 h 2700004"/>
              <a:gd name="connsiteX13" fmla="*/ 1064714 w 2699994"/>
              <a:gd name="connsiteY13" fmla="*/ 2051971 h 2700004"/>
              <a:gd name="connsiteX14" fmla="*/ 582549 w 2699994"/>
              <a:gd name="connsiteY14" fmla="*/ 2051971 h 270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9994" h="2700004">
                <a:moveTo>
                  <a:pt x="385667" y="2314346"/>
                </a:moveTo>
                <a:lnTo>
                  <a:pt x="2314146" y="2314346"/>
                </a:lnTo>
                <a:lnTo>
                  <a:pt x="2314146" y="385658"/>
                </a:lnTo>
                <a:lnTo>
                  <a:pt x="385667" y="385658"/>
                </a:lnTo>
                <a:lnTo>
                  <a:pt x="385667" y="2314346"/>
                </a:lnTo>
                <a:close/>
                <a:moveTo>
                  <a:pt x="0" y="0"/>
                </a:moveTo>
                <a:lnTo>
                  <a:pt x="2699995" y="0"/>
                </a:lnTo>
                <a:lnTo>
                  <a:pt x="2699995" y="2700004"/>
                </a:lnTo>
                <a:lnTo>
                  <a:pt x="0" y="2700004"/>
                </a:lnTo>
                <a:lnTo>
                  <a:pt x="0" y="0"/>
                </a:lnTo>
                <a:close/>
                <a:moveTo>
                  <a:pt x="582549" y="2051971"/>
                </a:moveTo>
                <a:lnTo>
                  <a:pt x="1635709" y="648033"/>
                </a:lnTo>
                <a:lnTo>
                  <a:pt x="2117874" y="648033"/>
                </a:lnTo>
                <a:lnTo>
                  <a:pt x="1064714" y="2051971"/>
                </a:lnTo>
                <a:lnTo>
                  <a:pt x="582549" y="2051971"/>
                </a:lnTo>
              </a:path>
            </a:pathLst>
          </a:custGeom>
          <a:solidFill>
            <a:srgbClr val="1E2A78"/>
          </a:solidFill>
          <a:ln w="9525" cap="flat">
            <a:noFill/>
            <a:prstDash val="solid"/>
            <a:miter/>
          </a:ln>
        </p:spPr>
        <p:txBody>
          <a:bodyPr rtlCol="0" anchor="ctr"/>
          <a:lstStyle/>
          <a:p>
            <a:endParaRPr lang="de-DE" sz="2400">
              <a:latin typeface="+mn-lt"/>
              <a:cs typeface="DeutscheBank" panose="020B0503020202030204" pitchFamily="34" charset="0"/>
            </a:endParaRPr>
          </a:p>
        </p:txBody>
      </p:sp>
      <p:sp>
        <p:nvSpPr>
          <p:cNvPr id="4" name="Text Placeholder 3">
            <a:extLst>
              <a:ext uri="{FF2B5EF4-FFF2-40B4-BE49-F238E27FC236}">
                <a16:creationId xmlns:a16="http://schemas.microsoft.com/office/drawing/2014/main" id="{EE665C97-7830-49FC-9697-6D19DA821767}"/>
              </a:ext>
            </a:extLst>
          </p:cNvPr>
          <p:cNvSpPr>
            <a:spLocks noGrp="1"/>
          </p:cNvSpPr>
          <p:nvPr>
            <p:ph type="body" idx="1"/>
          </p:nvPr>
        </p:nvSpPr>
        <p:spPr>
          <a:xfrm>
            <a:off x="442913" y="1376363"/>
            <a:ext cx="11304000" cy="4824412"/>
          </a:xfrm>
          <a:prstGeom prst="rect">
            <a:avLst/>
          </a:prstGeom>
        </p:spPr>
        <p:txBody>
          <a:bodyPr vert="horz" lIns="0" tIns="0" rIns="0" bIns="0" rtlCol="0">
            <a:noAutofit/>
          </a:body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10" name="Foliennummernplatzhalter 1">
            <a:extLst>
              <a:ext uri="{FF2B5EF4-FFF2-40B4-BE49-F238E27FC236}">
                <a16:creationId xmlns:a16="http://schemas.microsoft.com/office/drawing/2014/main" id="{ADE4BABC-7071-E9E0-45F3-3EBF1391CA25}"/>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grpSp>
        <p:nvGrpSpPr>
          <p:cNvPr id="14" name="Gruppieren 1">
            <a:extLst>
              <a:ext uri="{FF2B5EF4-FFF2-40B4-BE49-F238E27FC236}">
                <a16:creationId xmlns:a16="http://schemas.microsoft.com/office/drawing/2014/main" id="{904306EA-0136-6E97-C30E-4D6C7145BB77}"/>
              </a:ext>
            </a:extLst>
          </p:cNvPr>
          <p:cNvGrpSpPr/>
          <p:nvPr userDrawn="1"/>
        </p:nvGrpSpPr>
        <p:grpSpPr>
          <a:xfrm>
            <a:off x="12369686" y="1346597"/>
            <a:ext cx="1548000" cy="4854178"/>
            <a:chOff x="12287533" y="1235484"/>
            <a:chExt cx="1958255" cy="5040446"/>
          </a:xfrm>
        </p:grpSpPr>
        <p:grpSp>
          <p:nvGrpSpPr>
            <p:cNvPr id="15" name="Gruppieren 3">
              <a:extLst>
                <a:ext uri="{FF2B5EF4-FFF2-40B4-BE49-F238E27FC236}">
                  <a16:creationId xmlns:a16="http://schemas.microsoft.com/office/drawing/2014/main" id="{F1F123E5-3127-32F8-6D05-132F2A024976}"/>
                </a:ext>
              </a:extLst>
            </p:cNvPr>
            <p:cNvGrpSpPr/>
            <p:nvPr/>
          </p:nvGrpSpPr>
          <p:grpSpPr>
            <a:xfrm>
              <a:off x="12287533" y="1431070"/>
              <a:ext cx="936000" cy="3373620"/>
              <a:chOff x="-2148144" y="1465073"/>
              <a:chExt cx="1031711" cy="3373620"/>
            </a:xfrm>
          </p:grpSpPr>
          <p:sp>
            <p:nvSpPr>
              <p:cNvPr id="29" name="Rechteck 6">
                <a:extLst>
                  <a:ext uri="{FF2B5EF4-FFF2-40B4-BE49-F238E27FC236}">
                    <a16:creationId xmlns:a16="http://schemas.microsoft.com/office/drawing/2014/main" id="{2B771153-D429-9D3A-BCEC-C97F1B1A705B}"/>
                  </a:ext>
                </a:extLst>
              </p:cNvPr>
              <p:cNvSpPr>
                <a:spLocks/>
              </p:cNvSpPr>
              <p:nvPr/>
            </p:nvSpPr>
            <p:spPr>
              <a:xfrm>
                <a:off x="-2148144" y="1465073"/>
                <a:ext cx="1021762" cy="431139"/>
              </a:xfrm>
              <a:prstGeom prst="rect">
                <a:avLst/>
              </a:prstGeom>
              <a:solidFill>
                <a:srgbClr val="1E2A7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rgbClr val="FFFFFF"/>
                    </a:solidFill>
                    <a:effectLst/>
                    <a:uLnTx/>
                    <a:uFillTx/>
                    <a:ea typeface="+mn-ea"/>
                    <a:cs typeface="+mn-cs"/>
                    <a:sym typeface="Arial"/>
                  </a:rPr>
                  <a:t>Deep Blue</a:t>
                </a:r>
                <a:br>
                  <a:rPr kumimoji="0" lang="de-DE" sz="600" b="0" i="0" u="none" strike="noStrike" kern="0" cap="none" spc="0" normalizeH="0" baseline="0" noProof="0">
                    <a:ln>
                      <a:noFill/>
                    </a:ln>
                    <a:solidFill>
                      <a:srgbClr val="FFFFFF"/>
                    </a:solidFill>
                    <a:effectLst/>
                    <a:uLnTx/>
                    <a:uFillTx/>
                    <a:ea typeface="+mn-ea"/>
                    <a:cs typeface="+mn-cs"/>
                    <a:sym typeface="Arial"/>
                  </a:rPr>
                </a:br>
                <a:r>
                  <a:rPr kumimoji="0" lang="de-DE" sz="600" b="0" i="0" u="none" strike="noStrike" kern="0" cap="none" spc="0" normalizeH="0" baseline="0" noProof="0">
                    <a:ln>
                      <a:noFill/>
                    </a:ln>
                    <a:solidFill>
                      <a:srgbClr val="FFFFFF"/>
                    </a:solidFill>
                    <a:effectLst/>
                    <a:uLnTx/>
                    <a:uFillTx/>
                    <a:ea typeface="+mn-ea"/>
                    <a:cs typeface="+mn-cs"/>
                    <a:sym typeface="Arial"/>
                  </a:rPr>
                  <a:t>30|42|120</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p:txBody>
          </p:sp>
          <p:sp>
            <p:nvSpPr>
              <p:cNvPr id="30" name="Rechteck 7">
                <a:extLst>
                  <a:ext uri="{FF2B5EF4-FFF2-40B4-BE49-F238E27FC236}">
                    <a16:creationId xmlns:a16="http://schemas.microsoft.com/office/drawing/2014/main" id="{DCEC44BE-7608-9D1F-B4CE-BA950A08362D}"/>
                  </a:ext>
                </a:extLst>
              </p:cNvPr>
              <p:cNvSpPr>
                <a:spLocks/>
              </p:cNvSpPr>
              <p:nvPr/>
            </p:nvSpPr>
            <p:spPr>
              <a:xfrm>
                <a:off x="-2146099" y="1955486"/>
                <a:ext cx="1021762" cy="431139"/>
              </a:xfrm>
              <a:prstGeom prst="rect">
                <a:avLst/>
              </a:prstGeom>
              <a:solidFill>
                <a:srgbClr val="16184E"/>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rgbClr val="FFFFFF"/>
                    </a:solidFill>
                    <a:effectLst/>
                    <a:uLnTx/>
                    <a:uFillTx/>
                    <a:ea typeface="+mn-ea"/>
                    <a:cs typeface="+mn-cs"/>
                    <a:sym typeface="Arial"/>
                  </a:rPr>
                  <a:t>Dark Blue</a:t>
                </a:r>
                <a:br>
                  <a:rPr kumimoji="0" lang="de-DE" sz="600" b="0" i="0" u="none" strike="noStrike" kern="0" cap="none" spc="0" normalizeH="0" baseline="0" noProof="0">
                    <a:ln>
                      <a:noFill/>
                    </a:ln>
                    <a:solidFill>
                      <a:srgbClr val="FFFFFF"/>
                    </a:solidFill>
                    <a:effectLst/>
                    <a:uLnTx/>
                    <a:uFillTx/>
                    <a:ea typeface="+mn-ea"/>
                    <a:cs typeface="+mn-cs"/>
                    <a:sym typeface="Arial"/>
                  </a:rPr>
                </a:br>
                <a:r>
                  <a:rPr kumimoji="0" lang="de-DE" sz="600" b="0" i="0" u="none" strike="noStrike" kern="0" cap="none" spc="0" normalizeH="0" baseline="0" noProof="0">
                    <a:ln>
                      <a:noFill/>
                    </a:ln>
                    <a:solidFill>
                      <a:srgbClr val="FFFFFF"/>
                    </a:solidFill>
                    <a:effectLst/>
                    <a:uLnTx/>
                    <a:uFillTx/>
                    <a:ea typeface="+mn-ea"/>
                    <a:cs typeface="+mn-cs"/>
                    <a:sym typeface="Arial"/>
                  </a:rPr>
                  <a:t>22|24|78</a:t>
                </a:r>
                <a:br>
                  <a:rPr kumimoji="0" lang="de-DE" sz="600" b="0" i="0" u="none" strike="noStrike" kern="0" cap="none" spc="0" normalizeH="0" baseline="0" noProof="0">
                    <a:ln>
                      <a:noFill/>
                    </a:ln>
                    <a:solidFill>
                      <a:srgbClr val="FFFFFF"/>
                    </a:solidFill>
                    <a:effectLst/>
                    <a:uLnTx/>
                    <a:uFillTx/>
                    <a:ea typeface="+mn-ea"/>
                    <a:cs typeface="+mn-cs"/>
                    <a:sym typeface="Arial"/>
                  </a:rPr>
                </a:br>
                <a:br>
                  <a:rPr kumimoji="0" lang="de-DE" sz="600" b="0" i="0" u="none" strike="noStrike" kern="0" cap="none" spc="0" normalizeH="0" baseline="0" noProof="0">
                    <a:ln>
                      <a:noFill/>
                    </a:ln>
                    <a:solidFill>
                      <a:srgbClr val="FFFFFF"/>
                    </a:solidFill>
                    <a:effectLst/>
                    <a:uLnTx/>
                    <a:uFillTx/>
                    <a:ea typeface="+mn-ea"/>
                    <a:cs typeface="+mn-cs"/>
                    <a:sym typeface="Arial"/>
                  </a:rPr>
                </a:b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p:txBody>
          </p:sp>
          <p:sp>
            <p:nvSpPr>
              <p:cNvPr id="31" name="Rechteck 8">
                <a:extLst>
                  <a:ext uri="{FF2B5EF4-FFF2-40B4-BE49-F238E27FC236}">
                    <a16:creationId xmlns:a16="http://schemas.microsoft.com/office/drawing/2014/main" id="{3601D507-A556-0D70-8D54-23AB4AC8840E}"/>
                  </a:ext>
                </a:extLst>
              </p:cNvPr>
              <p:cNvSpPr>
                <a:spLocks/>
              </p:cNvSpPr>
              <p:nvPr/>
            </p:nvSpPr>
            <p:spPr>
              <a:xfrm>
                <a:off x="-2146099" y="2445900"/>
                <a:ext cx="1021762" cy="431139"/>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chemeClr val="tx1"/>
                    </a:solidFill>
                    <a:effectLst/>
                    <a:uLnTx/>
                    <a:uFillTx/>
                    <a:ea typeface="+mn-ea"/>
                    <a:cs typeface="+mn-cs"/>
                    <a:sym typeface="Arial"/>
                  </a:rPr>
                  <a:t>Bright Blue</a:t>
                </a:r>
                <a:br>
                  <a:rPr kumimoji="0" lang="de-DE" sz="600" b="0" i="0" u="none" strike="noStrike" kern="0" cap="none" spc="0" normalizeH="0" baseline="0" noProof="0">
                    <a:ln>
                      <a:noFill/>
                    </a:ln>
                    <a:solidFill>
                      <a:schemeClr val="tx1"/>
                    </a:solidFill>
                    <a:effectLst/>
                    <a:uLnTx/>
                    <a:uFillTx/>
                    <a:ea typeface="+mn-ea"/>
                    <a:cs typeface="+mn-cs"/>
                    <a:sym typeface="Arial"/>
                  </a:rPr>
                </a:br>
                <a:r>
                  <a:rPr kumimoji="0" lang="de-DE" sz="600" b="0" i="0" u="none" strike="noStrike" kern="0" cap="none" spc="0" normalizeH="0" baseline="0" noProof="0">
                    <a:ln>
                      <a:noFill/>
                    </a:ln>
                    <a:solidFill>
                      <a:schemeClr val="tx1"/>
                    </a:solidFill>
                    <a:effectLst/>
                    <a:uLnTx/>
                    <a:uFillTx/>
                    <a:ea typeface="+mn-ea"/>
                    <a:cs typeface="+mn-cs"/>
                    <a:sym typeface="Arial"/>
                  </a:rPr>
                  <a:t>0|163|224</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br>
                  <a:rPr kumimoji="0" lang="de-DE" sz="600" b="0" i="0" u="none" strike="noStrike" kern="0" cap="none" spc="0" normalizeH="0" baseline="0" noProof="0">
                    <a:ln>
                      <a:noFill/>
                    </a:ln>
                    <a:solidFill>
                      <a:schemeClr val="tx1"/>
                    </a:solidFill>
                    <a:effectLst/>
                    <a:uLnTx/>
                    <a:uFillTx/>
                    <a:ea typeface="+mn-ea"/>
                    <a:cs typeface="+mn-cs"/>
                    <a:sym typeface="Arial"/>
                  </a:rPr>
                </a:b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p:txBody>
          </p:sp>
          <p:sp>
            <p:nvSpPr>
              <p:cNvPr id="32" name="Rechteck 9">
                <a:extLst>
                  <a:ext uri="{FF2B5EF4-FFF2-40B4-BE49-F238E27FC236}">
                    <a16:creationId xmlns:a16="http://schemas.microsoft.com/office/drawing/2014/main" id="{1824343C-F0CF-9E2F-72EE-714DD47E39F5}"/>
                  </a:ext>
                </a:extLst>
              </p:cNvPr>
              <p:cNvSpPr>
                <a:spLocks/>
              </p:cNvSpPr>
              <p:nvPr/>
            </p:nvSpPr>
            <p:spPr>
              <a:xfrm>
                <a:off x="-2146099" y="2936314"/>
                <a:ext cx="1021762" cy="431139"/>
              </a:xfrm>
              <a:prstGeom prst="rect">
                <a:avLst/>
              </a:prstGeom>
              <a:solidFill>
                <a:srgbClr val="00D1F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Vibrant Cya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0|209|255</a:t>
                </a:r>
              </a:p>
            </p:txBody>
          </p:sp>
          <p:sp>
            <p:nvSpPr>
              <p:cNvPr id="33" name="Rechteck 10">
                <a:extLst>
                  <a:ext uri="{FF2B5EF4-FFF2-40B4-BE49-F238E27FC236}">
                    <a16:creationId xmlns:a16="http://schemas.microsoft.com/office/drawing/2014/main" id="{C88D2EA6-2F85-7392-BBC3-7AF69EECB641}"/>
                  </a:ext>
                </a:extLst>
              </p:cNvPr>
              <p:cNvSpPr>
                <a:spLocks/>
              </p:cNvSpPr>
              <p:nvPr/>
            </p:nvSpPr>
            <p:spPr>
              <a:xfrm>
                <a:off x="-2144049" y="3426727"/>
                <a:ext cx="1021762" cy="431139"/>
              </a:xfrm>
              <a:prstGeom prst="rect">
                <a:avLst/>
              </a:prstGeom>
              <a:solidFill>
                <a:srgbClr val="CCEDF9"/>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Bright Blue 20%</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204|237|249</a:t>
                </a:r>
              </a:p>
            </p:txBody>
          </p:sp>
          <p:sp>
            <p:nvSpPr>
              <p:cNvPr id="34" name="Rechteck 20">
                <a:extLst>
                  <a:ext uri="{FF2B5EF4-FFF2-40B4-BE49-F238E27FC236}">
                    <a16:creationId xmlns:a16="http://schemas.microsoft.com/office/drawing/2014/main" id="{088A45AB-5793-82D4-D560-43684AD9002D}"/>
                  </a:ext>
                </a:extLst>
              </p:cNvPr>
              <p:cNvSpPr>
                <a:spLocks/>
              </p:cNvSpPr>
              <p:nvPr/>
            </p:nvSpPr>
            <p:spPr>
              <a:xfrm>
                <a:off x="-2140245" y="3917139"/>
                <a:ext cx="1021762" cy="431139"/>
              </a:xfrm>
              <a:prstGeom prst="rect">
                <a:avLst/>
              </a:prstGeom>
              <a:solidFill>
                <a:srgbClr val="E1F5FA"/>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Bright Blue 10%</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225|245|250</a:t>
                </a:r>
              </a:p>
            </p:txBody>
          </p:sp>
          <p:sp>
            <p:nvSpPr>
              <p:cNvPr id="35" name="Rechteck 10">
                <a:extLst>
                  <a:ext uri="{FF2B5EF4-FFF2-40B4-BE49-F238E27FC236}">
                    <a16:creationId xmlns:a16="http://schemas.microsoft.com/office/drawing/2014/main" id="{661B7027-BD3B-70C7-A376-18998B9D8A48}"/>
                  </a:ext>
                </a:extLst>
              </p:cNvPr>
              <p:cNvSpPr>
                <a:spLocks/>
              </p:cNvSpPr>
              <p:nvPr/>
            </p:nvSpPr>
            <p:spPr>
              <a:xfrm>
                <a:off x="-2138195" y="4407554"/>
                <a:ext cx="1021762" cy="431139"/>
              </a:xfrm>
              <a:prstGeom prst="rect">
                <a:avLst/>
              </a:prstGeom>
              <a:solidFill>
                <a:srgbClr val="EDF1F7"/>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Gre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337|241|247</a:t>
                </a:r>
              </a:p>
            </p:txBody>
          </p:sp>
        </p:grpSp>
        <p:sp>
          <p:nvSpPr>
            <p:cNvPr id="16" name="TwoC_TitleL">
              <a:extLst>
                <a:ext uri="{FF2B5EF4-FFF2-40B4-BE49-F238E27FC236}">
                  <a16:creationId xmlns:a16="http://schemas.microsoft.com/office/drawing/2014/main" id="{A3682A6A-1DF2-8CC8-4147-D1F5503C6320}"/>
                </a:ext>
              </a:extLst>
            </p:cNvPr>
            <p:cNvSpPr txBox="1">
              <a:spLocks noChangeArrowheads="1"/>
            </p:cNvSpPr>
            <p:nvPr/>
          </p:nvSpPr>
          <p:spPr bwMode="auto">
            <a:xfrm>
              <a:off x="12287533" y="1235484"/>
              <a:ext cx="936000" cy="161583"/>
            </a:xfrm>
            <a:prstGeom prst="rect">
              <a:avLst/>
            </a:prstGeom>
            <a:noFill/>
            <a:ln w="12700">
              <a:noFill/>
              <a:miter lim="800000"/>
              <a:headEnd/>
              <a:tailEnd/>
            </a:ln>
          </p:spPr>
          <p:txBody>
            <a:bodyPr wrap="square" lIns="0" tIns="0" rIns="0" bIns="0" anchor="t" anchorCtr="0">
              <a:prstTxWarp prst="textNoShape">
                <a:avLst/>
              </a:prstTxWarp>
              <a:spAutoFit/>
            </a:bodyPr>
            <a:lstStyle/>
            <a:p>
              <a:r>
                <a:rPr lang="en-GB" sz="1050" b="1">
                  <a:solidFill>
                    <a:srgbClr val="1E2A78"/>
                  </a:solidFill>
                  <a:latin typeface="+mn-lt"/>
                  <a:ea typeface="DeutscheBank" panose="020B0503020202030204" pitchFamily="34" charset="0"/>
                  <a:cs typeface="DeutscheBank" panose="020B0503020202030204" pitchFamily="34" charset="0"/>
                </a:rPr>
                <a:t>Primary</a:t>
              </a:r>
            </a:p>
          </p:txBody>
        </p:sp>
        <p:grpSp>
          <p:nvGrpSpPr>
            <p:cNvPr id="17" name="Gruppieren 6">
              <a:extLst>
                <a:ext uri="{FF2B5EF4-FFF2-40B4-BE49-F238E27FC236}">
                  <a16:creationId xmlns:a16="http://schemas.microsoft.com/office/drawing/2014/main" id="{9BB88AF4-035D-0E19-8501-CF7A3BC5963E}"/>
                </a:ext>
              </a:extLst>
            </p:cNvPr>
            <p:cNvGrpSpPr/>
            <p:nvPr/>
          </p:nvGrpSpPr>
          <p:grpSpPr>
            <a:xfrm>
              <a:off x="13309787" y="1431070"/>
              <a:ext cx="936000" cy="4844860"/>
              <a:chOff x="1033061" y="2220734"/>
              <a:chExt cx="1020455" cy="11436844"/>
            </a:xfrm>
          </p:grpSpPr>
          <p:sp>
            <p:nvSpPr>
              <p:cNvPr id="19" name="Rectangle 13">
                <a:extLst>
                  <a:ext uri="{FF2B5EF4-FFF2-40B4-BE49-F238E27FC236}">
                    <a16:creationId xmlns:a16="http://schemas.microsoft.com/office/drawing/2014/main" id="{DAD3A84F-919D-6ED3-A7FE-C9B2601D53B9}"/>
                  </a:ext>
                </a:extLst>
              </p:cNvPr>
              <p:cNvSpPr>
                <a:spLocks noChangeArrowheads="1"/>
              </p:cNvSpPr>
              <p:nvPr/>
            </p:nvSpPr>
            <p:spPr bwMode="ltGray">
              <a:xfrm>
                <a:off x="1036912" y="6852509"/>
                <a:ext cx="1016604" cy="1016602"/>
              </a:xfrm>
              <a:prstGeom prst="rect">
                <a:avLst/>
              </a:prstGeom>
              <a:solidFill>
                <a:srgbClr val="A1AC05"/>
              </a:solidFill>
              <a:ln w="12700">
                <a:noFill/>
                <a:round/>
                <a:headEnd/>
                <a:tailEnd/>
              </a:ln>
            </p:spPr>
            <p:txBody>
              <a:bodyPr wrap="none" lIns="72000" tIns="72000" rIns="72000" bIns="72000" anchor="t" anchorCtr="0"/>
              <a:lstStyle/>
              <a:p>
                <a:pPr eaLnBrk="0" hangingPunct="0"/>
                <a:r>
                  <a:rPr lang="en-GB" sz="600">
                    <a:cs typeface="DeutscheBank" panose="020B0503020202030204" pitchFamily="34" charset="0"/>
                  </a:rPr>
                  <a:t>Autumn Green</a:t>
                </a:r>
              </a:p>
              <a:p>
                <a:r>
                  <a:rPr lang="en-GB" sz="600">
                    <a:ea typeface="DeutscheBank" panose="020B0503020202030204" pitchFamily="34" charset="0"/>
                    <a:cs typeface="DeutscheBank" panose="020B0503020202030204" pitchFamily="34" charset="0"/>
                  </a:rPr>
                  <a:t>16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7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5</a:t>
                </a:r>
              </a:p>
            </p:txBody>
          </p:sp>
          <p:sp>
            <p:nvSpPr>
              <p:cNvPr id="20" name="Rectangle 19">
                <a:extLst>
                  <a:ext uri="{FF2B5EF4-FFF2-40B4-BE49-F238E27FC236}">
                    <a16:creationId xmlns:a16="http://schemas.microsoft.com/office/drawing/2014/main" id="{853B43AA-4E4B-E08C-5D8B-09B45AA0FCF2}"/>
                  </a:ext>
                </a:extLst>
              </p:cNvPr>
              <p:cNvSpPr>
                <a:spLocks noChangeArrowheads="1"/>
              </p:cNvSpPr>
              <p:nvPr/>
            </p:nvSpPr>
            <p:spPr bwMode="ltGray">
              <a:xfrm>
                <a:off x="1036912" y="2220734"/>
                <a:ext cx="1016604" cy="1016602"/>
              </a:xfrm>
              <a:prstGeom prst="rect">
                <a:avLst/>
              </a:prstGeom>
              <a:solidFill>
                <a:srgbClr val="3BB8B8"/>
              </a:solidFill>
              <a:ln w="12700">
                <a:noFill/>
                <a:round/>
                <a:headEnd/>
                <a:tailEnd/>
              </a:ln>
            </p:spPr>
            <p:txBody>
              <a:bodyPr wrap="none" lIns="72000" tIns="72000" rIns="72000" bIns="72000" anchor="t" anchorCtr="0"/>
              <a:lstStyle/>
              <a:p>
                <a:r>
                  <a:rPr lang="en-GB" sz="600">
                    <a:cs typeface="DeutscheBank" panose="020B0503020202030204" pitchFamily="34" charset="0"/>
                  </a:rPr>
                  <a:t>Turquoise</a:t>
                </a:r>
              </a:p>
              <a:p>
                <a:r>
                  <a:rPr lang="en-GB" sz="600">
                    <a:ea typeface="DeutscheBank" panose="020B0503020202030204" pitchFamily="34" charset="0"/>
                    <a:cs typeface="DeutscheBank" panose="020B0503020202030204" pitchFamily="34" charset="0"/>
                  </a:rPr>
                  <a:t>59</a:t>
                </a:r>
                <a:r>
                  <a:rPr kumimoji="0" lang="de-DE" sz="600" b="0" i="0" u="none" strike="noStrike" kern="0" cap="none" spc="0" normalizeH="0" baseline="0" noProof="0">
                    <a:ln>
                      <a:noFill/>
                    </a:ln>
                    <a:effectLst/>
                    <a:uLnTx/>
                    <a:uFillTx/>
                    <a:ea typeface="+mn-ea"/>
                    <a:cs typeface="+mn-cs"/>
                    <a:sym typeface="Arial"/>
                  </a:rPr>
                  <a:t>|</a:t>
                </a:r>
                <a:r>
                  <a:rPr kumimoji="0" lang="en-GB" sz="600" b="0" i="0" u="none" strike="noStrike" kern="0" cap="none" spc="0" normalizeH="0" baseline="0" noProof="0">
                    <a:ln>
                      <a:noFill/>
                    </a:ln>
                    <a:effectLst/>
                    <a:uLnTx/>
                    <a:uFillTx/>
                    <a:ea typeface="DeutscheBank" panose="020B0503020202030204" pitchFamily="34" charset="0"/>
                    <a:cs typeface="DeutscheBank" panose="020B0503020202030204" pitchFamily="34" charset="0"/>
                    <a:sym typeface="Arial"/>
                  </a:rPr>
                  <a:t>184</a:t>
                </a:r>
                <a:r>
                  <a:rPr kumimoji="0" lang="de-DE" sz="600" b="0" i="0" u="none" strike="noStrike" kern="0" cap="none" spc="0" normalizeH="0" baseline="0" noProof="0">
                    <a:ln>
                      <a:noFill/>
                    </a:ln>
                    <a:effectLst/>
                    <a:uLnTx/>
                    <a:uFillTx/>
                    <a:ea typeface="+mn-ea"/>
                    <a:cs typeface="+mn-cs"/>
                    <a:sym typeface="Arial"/>
                  </a:rPr>
                  <a:t>|</a:t>
                </a:r>
                <a:r>
                  <a:rPr kumimoji="0" lang="en-GB" sz="600" b="0" i="0" u="none" strike="noStrike" kern="0" cap="none" spc="0" normalizeH="0" baseline="0" noProof="0">
                    <a:ln>
                      <a:noFill/>
                    </a:ln>
                    <a:effectLst/>
                    <a:uLnTx/>
                    <a:uFillTx/>
                    <a:ea typeface="DeutscheBank" panose="020B0503020202030204" pitchFamily="34" charset="0"/>
                    <a:cs typeface="DeutscheBank" panose="020B0503020202030204" pitchFamily="34" charset="0"/>
                    <a:sym typeface="Arial"/>
                  </a:rPr>
                  <a:t>184</a:t>
                </a:r>
                <a:endParaRPr lang="en-GB" sz="600">
                  <a:ea typeface="DeutscheBank" panose="020B0503020202030204" pitchFamily="34" charset="0"/>
                  <a:cs typeface="DeutscheBank" panose="020B0503020202030204" pitchFamily="34" charset="0"/>
                </a:endParaRPr>
              </a:p>
            </p:txBody>
          </p:sp>
          <p:sp>
            <p:nvSpPr>
              <p:cNvPr id="21" name="Rectangle 20">
                <a:extLst>
                  <a:ext uri="{FF2B5EF4-FFF2-40B4-BE49-F238E27FC236}">
                    <a16:creationId xmlns:a16="http://schemas.microsoft.com/office/drawing/2014/main" id="{A246BBC3-3E4E-9E1D-502E-B8524263D8B7}"/>
                  </a:ext>
                </a:extLst>
              </p:cNvPr>
              <p:cNvSpPr>
                <a:spLocks noChangeArrowheads="1"/>
              </p:cNvSpPr>
              <p:nvPr/>
            </p:nvSpPr>
            <p:spPr bwMode="ltGray">
              <a:xfrm>
                <a:off x="1036912" y="3378677"/>
                <a:ext cx="1016604" cy="1016602"/>
              </a:xfrm>
              <a:prstGeom prst="rect">
                <a:avLst/>
              </a:prstGeom>
              <a:solidFill>
                <a:srgbClr val="24778D"/>
              </a:solidFill>
              <a:ln w="12700">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Petrol</a:t>
                </a:r>
              </a:p>
              <a:p>
                <a:r>
                  <a:rPr lang="en-GB" sz="600">
                    <a:solidFill>
                      <a:schemeClr val="bg1"/>
                    </a:solidFill>
                    <a:ea typeface="DeutscheBank" panose="020B0503020202030204" pitchFamily="34" charset="0"/>
                    <a:cs typeface="DeutscheBank" panose="020B0503020202030204" pitchFamily="34" charset="0"/>
                  </a:rPr>
                  <a:t>36</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119</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141</a:t>
                </a:r>
              </a:p>
            </p:txBody>
          </p:sp>
          <p:sp>
            <p:nvSpPr>
              <p:cNvPr id="22" name="Rectangle 21">
                <a:extLst>
                  <a:ext uri="{FF2B5EF4-FFF2-40B4-BE49-F238E27FC236}">
                    <a16:creationId xmlns:a16="http://schemas.microsoft.com/office/drawing/2014/main" id="{F211E62A-EAEE-A25E-DD42-030AEDFEEA04}"/>
                  </a:ext>
                </a:extLst>
              </p:cNvPr>
              <p:cNvSpPr>
                <a:spLocks noChangeArrowheads="1"/>
              </p:cNvSpPr>
              <p:nvPr/>
            </p:nvSpPr>
            <p:spPr bwMode="ltGray">
              <a:xfrm>
                <a:off x="1036912" y="4536621"/>
                <a:ext cx="1016604" cy="1016602"/>
              </a:xfrm>
              <a:prstGeom prst="rect">
                <a:avLst/>
              </a:prstGeom>
              <a:solidFill>
                <a:srgbClr val="25A62D"/>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ummer Green</a:t>
                </a:r>
              </a:p>
              <a:p>
                <a:pPr>
                  <a:defRPr/>
                </a:pPr>
                <a:r>
                  <a:rPr lang="en-GB" sz="600">
                    <a:ea typeface="DeutscheBank" panose="020B0503020202030204" pitchFamily="34" charset="0"/>
                    <a:cs typeface="DeutscheBank" panose="020B0503020202030204" pitchFamily="34" charset="0"/>
                  </a:rPr>
                  <a:t>37</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66</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45</a:t>
                </a:r>
              </a:p>
            </p:txBody>
          </p:sp>
          <p:sp>
            <p:nvSpPr>
              <p:cNvPr id="23" name="Rectangle 22">
                <a:extLst>
                  <a:ext uri="{FF2B5EF4-FFF2-40B4-BE49-F238E27FC236}">
                    <a16:creationId xmlns:a16="http://schemas.microsoft.com/office/drawing/2014/main" id="{D7A9A3C3-3DF5-7913-2AE9-1A0CEDB37BF9}"/>
                  </a:ext>
                </a:extLst>
              </p:cNvPr>
              <p:cNvSpPr>
                <a:spLocks noChangeArrowheads="1"/>
              </p:cNvSpPr>
              <p:nvPr/>
            </p:nvSpPr>
            <p:spPr bwMode="ltGray">
              <a:xfrm>
                <a:off x="1036912" y="5694565"/>
                <a:ext cx="1016604" cy="1016602"/>
              </a:xfrm>
              <a:prstGeom prst="rect">
                <a:avLst/>
              </a:prstGeom>
              <a:solidFill>
                <a:srgbClr val="C9DD03"/>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pring Green</a:t>
                </a:r>
              </a:p>
              <a:p>
                <a:pPr>
                  <a:defRPr/>
                </a:pPr>
                <a:r>
                  <a:rPr lang="en-GB" sz="600">
                    <a:ea typeface="DeutscheBank" panose="020B0503020202030204" pitchFamily="34" charset="0"/>
                    <a:cs typeface="DeutscheBank" panose="020B0503020202030204" pitchFamily="34" charset="0"/>
                  </a:rPr>
                  <a:t>20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22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3</a:t>
                </a:r>
              </a:p>
            </p:txBody>
          </p:sp>
          <p:sp>
            <p:nvSpPr>
              <p:cNvPr id="24" name="Rectangle 23">
                <a:extLst>
                  <a:ext uri="{FF2B5EF4-FFF2-40B4-BE49-F238E27FC236}">
                    <a16:creationId xmlns:a16="http://schemas.microsoft.com/office/drawing/2014/main" id="{BC5D5942-C101-22CE-4B60-986EF90710F8}"/>
                  </a:ext>
                </a:extLst>
              </p:cNvPr>
              <p:cNvSpPr>
                <a:spLocks noChangeArrowheads="1"/>
              </p:cNvSpPr>
              <p:nvPr/>
            </p:nvSpPr>
            <p:spPr bwMode="ltGray">
              <a:xfrm>
                <a:off x="1033061" y="8010455"/>
                <a:ext cx="1016604" cy="1016602"/>
              </a:xfrm>
              <a:prstGeom prst="rect">
                <a:avLst/>
              </a:prstGeom>
              <a:solidFill>
                <a:srgbClr val="FFE600"/>
              </a:solidFill>
              <a:ln w="12700">
                <a:noFill/>
                <a:round/>
                <a:headEnd/>
                <a:tailEnd/>
              </a:ln>
            </p:spPr>
            <p:txBody>
              <a:bodyPr wrap="none" lIns="72000" tIns="72000" rIns="72000" bIns="72000" anchor="t" anchorCtr="0"/>
              <a:lstStyle/>
              <a:p>
                <a:pPr eaLnBrk="0" hangingPunct="0"/>
                <a:r>
                  <a:rPr lang="en-GB" sz="600">
                    <a:cs typeface="DeutscheBank" panose="020B0503020202030204" pitchFamily="34" charset="0"/>
                  </a:rPr>
                  <a:t>Lucent Yellow</a:t>
                </a:r>
              </a:p>
              <a:p>
                <a:r>
                  <a:rPr lang="en-GB" sz="600">
                    <a:ea typeface="DeutscheBank" panose="020B0503020202030204" pitchFamily="34" charset="0"/>
                    <a:cs typeface="DeutscheBank" panose="020B0503020202030204" pitchFamily="34" charset="0"/>
                  </a:rPr>
                  <a:t>255</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230</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0</a:t>
                </a:r>
              </a:p>
            </p:txBody>
          </p:sp>
          <p:sp>
            <p:nvSpPr>
              <p:cNvPr id="25" name="Rectangle 24">
                <a:extLst>
                  <a:ext uri="{FF2B5EF4-FFF2-40B4-BE49-F238E27FC236}">
                    <a16:creationId xmlns:a16="http://schemas.microsoft.com/office/drawing/2014/main" id="{80C413D5-C557-BD32-CBA0-2F05FEBACBE4}"/>
                  </a:ext>
                </a:extLst>
              </p:cNvPr>
              <p:cNvSpPr>
                <a:spLocks noChangeArrowheads="1"/>
              </p:cNvSpPr>
              <p:nvPr/>
            </p:nvSpPr>
            <p:spPr bwMode="ltGray">
              <a:xfrm>
                <a:off x="1036912" y="9168401"/>
                <a:ext cx="1016604" cy="1016602"/>
              </a:xfrm>
              <a:prstGeom prst="rect">
                <a:avLst/>
              </a:prstGeom>
              <a:solidFill>
                <a:srgbClr val="F28011"/>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undown Orange</a:t>
                </a:r>
              </a:p>
              <a:p>
                <a:pPr>
                  <a:defRPr/>
                </a:pPr>
                <a:r>
                  <a:rPr lang="en-GB" sz="600">
                    <a:ea typeface="DeutscheBank" panose="020B0503020202030204" pitchFamily="34" charset="0"/>
                    <a:cs typeface="DeutscheBank" panose="020B0503020202030204" pitchFamily="34" charset="0"/>
                  </a:rPr>
                  <a:t>24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28</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7</a:t>
                </a:r>
              </a:p>
            </p:txBody>
          </p:sp>
          <p:sp>
            <p:nvSpPr>
              <p:cNvPr id="26" name="Rectangle 14">
                <a:extLst>
                  <a:ext uri="{FF2B5EF4-FFF2-40B4-BE49-F238E27FC236}">
                    <a16:creationId xmlns:a16="http://schemas.microsoft.com/office/drawing/2014/main" id="{C50E1FD2-BF78-A4CC-9747-BBE07CCC5CE2}"/>
                  </a:ext>
                </a:extLst>
              </p:cNvPr>
              <p:cNvSpPr>
                <a:spLocks noChangeArrowheads="1"/>
              </p:cNvSpPr>
              <p:nvPr/>
            </p:nvSpPr>
            <p:spPr bwMode="ltGray">
              <a:xfrm>
                <a:off x="1033061" y="10326343"/>
                <a:ext cx="1016604" cy="1016602"/>
              </a:xfrm>
              <a:prstGeom prst="rect">
                <a:avLst/>
              </a:prstGeom>
              <a:solidFill>
                <a:srgbClr val="E7001D"/>
              </a:solidFill>
              <a:ln w="12700">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Bright Red</a:t>
                </a:r>
              </a:p>
              <a:p>
                <a:r>
                  <a:rPr lang="en-GB" sz="600">
                    <a:solidFill>
                      <a:schemeClr val="bg1"/>
                    </a:solidFill>
                    <a:ea typeface="DeutscheBank" panose="020B0503020202030204" pitchFamily="34" charset="0"/>
                    <a:cs typeface="DeutscheBank" panose="020B0503020202030204" pitchFamily="34" charset="0"/>
                  </a:rPr>
                  <a:t>231</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0</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29</a:t>
                </a:r>
              </a:p>
            </p:txBody>
          </p:sp>
          <p:sp>
            <p:nvSpPr>
              <p:cNvPr id="27" name="Rectangle 15">
                <a:extLst>
                  <a:ext uri="{FF2B5EF4-FFF2-40B4-BE49-F238E27FC236}">
                    <a16:creationId xmlns:a16="http://schemas.microsoft.com/office/drawing/2014/main" id="{A46EFB85-31A7-CA69-C074-1D6EC3AB3A80}"/>
                  </a:ext>
                </a:extLst>
              </p:cNvPr>
              <p:cNvSpPr>
                <a:spLocks noChangeArrowheads="1"/>
              </p:cNvSpPr>
              <p:nvPr/>
            </p:nvSpPr>
            <p:spPr bwMode="ltGray">
              <a:xfrm>
                <a:off x="1036912" y="11484289"/>
                <a:ext cx="1016604" cy="1016602"/>
              </a:xfrm>
              <a:prstGeom prst="rect">
                <a:avLst/>
              </a:prstGeom>
              <a:solidFill>
                <a:srgbClr val="C18EBD"/>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Light Violet</a:t>
                </a:r>
              </a:p>
              <a:p>
                <a:pPr>
                  <a:defRPr/>
                </a:pPr>
                <a:r>
                  <a:rPr lang="en-GB" sz="600">
                    <a:ea typeface="DeutscheBank" panose="020B0503020202030204" pitchFamily="34" charset="0"/>
                    <a:cs typeface="DeutscheBank" panose="020B0503020202030204" pitchFamily="34" charset="0"/>
                  </a:rPr>
                  <a:t>193</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4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89</a:t>
                </a:r>
              </a:p>
            </p:txBody>
          </p:sp>
          <p:sp>
            <p:nvSpPr>
              <p:cNvPr id="28" name="Rectangle 15">
                <a:extLst>
                  <a:ext uri="{FF2B5EF4-FFF2-40B4-BE49-F238E27FC236}">
                    <a16:creationId xmlns:a16="http://schemas.microsoft.com/office/drawing/2014/main" id="{039AF90F-C455-670F-AEAA-059D696EDF59}"/>
                  </a:ext>
                </a:extLst>
              </p:cNvPr>
              <p:cNvSpPr>
                <a:spLocks noChangeArrowheads="1"/>
              </p:cNvSpPr>
              <p:nvPr/>
            </p:nvSpPr>
            <p:spPr bwMode="ltGray">
              <a:xfrm>
                <a:off x="1033061" y="12640976"/>
                <a:ext cx="1016604" cy="1016602"/>
              </a:xfrm>
              <a:prstGeom prst="rect">
                <a:avLst/>
              </a:prstGeom>
              <a:solidFill>
                <a:srgbClr val="452061"/>
              </a:solidFill>
              <a:ln w="12700" algn="ctr">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Night Violet</a:t>
                </a:r>
              </a:p>
              <a:p>
                <a:pPr>
                  <a:defRPr/>
                </a:pPr>
                <a:r>
                  <a:rPr lang="en-GB" sz="600">
                    <a:solidFill>
                      <a:schemeClr val="bg1"/>
                    </a:solidFill>
                    <a:ea typeface="DeutscheBank" panose="020B0503020202030204" pitchFamily="34" charset="0"/>
                    <a:cs typeface="DeutscheBank" panose="020B0503020202030204" pitchFamily="34" charset="0"/>
                  </a:rPr>
                  <a:t>69</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32</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97</a:t>
                </a:r>
              </a:p>
            </p:txBody>
          </p:sp>
        </p:grpSp>
        <p:sp>
          <p:nvSpPr>
            <p:cNvPr id="18" name="TwoC_TitleL">
              <a:extLst>
                <a:ext uri="{FF2B5EF4-FFF2-40B4-BE49-F238E27FC236}">
                  <a16:creationId xmlns:a16="http://schemas.microsoft.com/office/drawing/2014/main" id="{211085AF-9FFB-E8B7-4172-BF8292A1BFA9}"/>
                </a:ext>
              </a:extLst>
            </p:cNvPr>
            <p:cNvSpPr txBox="1">
              <a:spLocks noChangeArrowheads="1"/>
            </p:cNvSpPr>
            <p:nvPr/>
          </p:nvSpPr>
          <p:spPr bwMode="auto">
            <a:xfrm>
              <a:off x="13309788" y="1235484"/>
              <a:ext cx="936000" cy="161583"/>
            </a:xfrm>
            <a:prstGeom prst="rect">
              <a:avLst/>
            </a:prstGeom>
            <a:noFill/>
            <a:ln w="12700">
              <a:noFill/>
              <a:miter lim="800000"/>
              <a:headEnd/>
              <a:tailEnd/>
            </a:ln>
          </p:spPr>
          <p:txBody>
            <a:bodyPr wrap="square" lIns="0" tIns="0" rIns="0" bIns="0" anchor="t" anchorCtr="0">
              <a:prstTxWarp prst="textNoShape">
                <a:avLst/>
              </a:prstTxWarp>
              <a:spAutoFit/>
            </a:bodyPr>
            <a:lstStyle/>
            <a:p>
              <a:r>
                <a:rPr lang="en-GB" sz="1050" b="1">
                  <a:solidFill>
                    <a:srgbClr val="1E2A78"/>
                  </a:solidFill>
                  <a:latin typeface="+mn-lt"/>
                  <a:ea typeface="DeutscheBank" panose="020B0503020202030204" pitchFamily="34" charset="0"/>
                  <a:cs typeface="DeutscheBank" panose="020B0503020202030204" pitchFamily="34" charset="0"/>
                </a:rPr>
                <a:t>Accent</a:t>
              </a:r>
            </a:p>
          </p:txBody>
        </p:sp>
      </p:grpSp>
      <p:sp>
        <p:nvSpPr>
          <p:cNvPr id="5" name="TextBox 4">
            <a:extLst>
              <a:ext uri="{FF2B5EF4-FFF2-40B4-BE49-F238E27FC236}">
                <a16:creationId xmlns:a16="http://schemas.microsoft.com/office/drawing/2014/main" id="{20BD469C-8146-3CF3-3B21-86360B11357D}"/>
              </a:ext>
            </a:extLst>
          </p:cNvPr>
          <p:cNvSpPr txBox="1"/>
          <p:nvPr userDrawn="1"/>
        </p:nvSpPr>
        <p:spPr>
          <a:xfrm>
            <a:off x="1576929" y="6388537"/>
            <a:ext cx="9704160" cy="448841"/>
          </a:xfrm>
          <a:prstGeom prst="rect">
            <a:avLst/>
          </a:prstGeom>
          <a:noFill/>
        </p:spPr>
        <p:txBody>
          <a:bodyPr wrap="square" lIns="0" tIns="0" rIns="0" bIns="0" rtlCol="0">
            <a:spAutoFit/>
          </a:bodyPr>
          <a:lstStyle/>
          <a:p>
            <a:pPr marL="0" marR="0" lvl="0" indent="0" algn="l" defTabSz="1009132" rtl="0" eaLnBrk="1" fontAlgn="auto" latinLnBrk="0" hangingPunct="1">
              <a:lnSpc>
                <a:spcPts val="720"/>
              </a:lnSpc>
              <a:spcBef>
                <a:spcPct val="0"/>
              </a:spcBef>
              <a:spcAft>
                <a:spcPct val="0"/>
              </a:spcAft>
              <a:buClrTx/>
              <a:buSzTx/>
              <a:buFontTx/>
              <a:buNone/>
              <a:defRPr/>
            </a:pPr>
            <a:r>
              <a:rPr lang="de-DE" sz="700" b="0" i="0" u="none" strike="noStrike" kern="1200" baseline="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rPr>
              <a:t>In Europa, dem Nahen Osten und Afrika sowie im Asien-Pazifik-Raum gelten diese Unterlagen als Marketing-Material, nicht aber in den USA. Es kann keine Zusicherung dahingehend abgegeben werden, dass eine Prognose oder ein Ziel erreicht werden kann. Prognosen basieren auf Annahmen, Schätzungen, Meinungen und hypothetischen Modellen oder Analysen, die sich als unzutreffend erweisen können. Die bisherige Wertentwicklung lässt keine Rückschlüsse auf die künftige Wertentwicklung zu. Die Wertentwicklung bezieht sich auf einen Nominalwert, der auf Kursgewinnen/-verlusten beruht und die Inflation nicht berücksichtigt. Die Inflation wirkt sich negativ auf die Kaufkraft dieses nominalen Geldwerts aus. Je nach aktuellem Inflationsniveau kann dies zu einem realen Wertverlust führen, selbst wenn die nominale Wertentwicklung der Anlage positiv ist. Investitionen sind mit Risiken verbunden. Der Wert von Anlagen kann sowohl fallen als auch steigen, und Sie erhalten nicht zwangsläufig zu jedem Zeitpunkt den ursprünglich angelegten Betrag zurück. Ihr Kapital ist Risiko ausgesetzt.</a:t>
            </a:r>
          </a:p>
        </p:txBody>
      </p:sp>
      <p:sp>
        <p:nvSpPr>
          <p:cNvPr id="9" name="MSIPCMContentMarking" descr="{&quot;HashCode&quot;:-1864096203,&quot;Placement&quot;:&quot;Footer&quot;,&quot;Top&quot;:519.343,&quot;Left&quot;:469.7333,&quot;SlideWidth&quot;:960,&quot;SlideHeight&quot;:540}">
            <a:extLst>
              <a:ext uri="{FF2B5EF4-FFF2-40B4-BE49-F238E27FC236}">
                <a16:creationId xmlns:a16="http://schemas.microsoft.com/office/drawing/2014/main" id="{42F26A6D-FF9B-4E57-B4AC-14CFFC40F652}"/>
              </a:ext>
            </a:extLst>
          </p:cNvPr>
          <p:cNvSpPr txBox="1"/>
          <p:nvPr userDrawn="1"/>
        </p:nvSpPr>
        <p:spPr bwMode="ltGray">
          <a:xfrm>
            <a:off x="5965613" y="6595656"/>
            <a:ext cx="260773" cy="262344"/>
          </a:xfrm>
          <a:prstGeom prst="rect">
            <a:avLst/>
          </a:prstGeom>
          <a:noFill/>
          <a:ln w="6350">
            <a:noFill/>
            <a:miter lim="800000"/>
            <a:headEnd/>
            <a:tailEnd/>
          </a:ln>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 </a:t>
            </a:r>
          </a:p>
        </p:txBody>
      </p:sp>
      <p:pic>
        <p:nvPicPr>
          <p:cNvPr id="6" name="Picture 6" descr="Text&#10;&#10;Description automatically generated">
            <a:extLst>
              <a:ext uri="{FF2B5EF4-FFF2-40B4-BE49-F238E27FC236}">
                <a16:creationId xmlns:a16="http://schemas.microsoft.com/office/drawing/2014/main" id="{3090D39F-3D3D-5F89-1FB1-19FBFE839EFE}"/>
              </a:ext>
            </a:extLst>
          </p:cNvPr>
          <p:cNvPicPr>
            <a:picLocks noChangeAspect="1"/>
          </p:cNvPicPr>
          <p:nvPr userDrawn="1"/>
        </p:nvPicPr>
        <p:blipFill>
          <a:blip r:embed="rId16"/>
          <a:srcRect l="7908" t="22838" r="8009" b="23833"/>
          <a:stretch>
            <a:fillRect/>
          </a:stretch>
        </p:blipFill>
        <p:spPr>
          <a:xfrm>
            <a:off x="442912" y="6459200"/>
            <a:ext cx="1073310" cy="201600"/>
          </a:xfrm>
          <a:prstGeom prst="rect">
            <a:avLst/>
          </a:prstGeom>
        </p:spPr>
      </p:pic>
    </p:spTree>
    <p:extLst>
      <p:ext uri="{BB962C8B-B14F-4D97-AF65-F5344CB8AC3E}">
        <p14:creationId xmlns:p14="http://schemas.microsoft.com/office/powerpoint/2010/main" val="2502069921"/>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6" r:id="rId3"/>
    <p:sldLayoutId id="2147483717" r:id="rId4"/>
    <p:sldLayoutId id="2147483657" r:id="rId5"/>
    <p:sldLayoutId id="2147483715" r:id="rId6"/>
    <p:sldLayoutId id="2147483659" r:id="rId7"/>
    <p:sldLayoutId id="2147483666" r:id="rId8"/>
    <p:sldLayoutId id="2147483661" r:id="rId9"/>
    <p:sldLayoutId id="2147483662" r:id="rId10"/>
    <p:sldLayoutId id="2147483685" r:id="rId11"/>
    <p:sldLayoutId id="2147483686" r:id="rId12"/>
    <p:sldLayoutId id="2147483663" r:id="rId13"/>
    <p:sldLayoutId id="2147483665" r:id="rId14"/>
  </p:sldLayoutIdLst>
  <p:transition>
    <p:wipe dir="r"/>
  </p:transition>
  <p:hf hdr="0" ftr="0" dt="0"/>
  <p:txStyles>
    <p:titleStyle>
      <a:lvl1pPr algn="l" rtl="0" eaLnBrk="1" fontAlgn="base" hangingPunct="1">
        <a:lnSpc>
          <a:spcPct val="90000"/>
        </a:lnSpc>
        <a:spcBef>
          <a:spcPct val="0"/>
        </a:spcBef>
        <a:spcAft>
          <a:spcPct val="0"/>
        </a:spcAft>
        <a:tabLst/>
        <a:defRPr sz="1900" b="1" kern="1200" baseline="0">
          <a:solidFill>
            <a:srgbClr val="1E2A78"/>
          </a:solidFill>
          <a:latin typeface="+mj-lt"/>
          <a:ea typeface="DeutscheBank" panose="020B0503020202030204" pitchFamily="34" charset="0"/>
          <a:cs typeface="DeutscheBank" panose="020B0503020202030204" pitchFamily="34" charset="0"/>
        </a:defRPr>
      </a:lvl1pPr>
      <a:lvl2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5pPr>
      <a:lvl6pPr marL="456327" algn="l" rtl="0" eaLnBrk="1" fontAlgn="base" hangingPunct="1">
        <a:lnSpc>
          <a:spcPct val="90000"/>
        </a:lnSpc>
        <a:spcBef>
          <a:spcPct val="0"/>
        </a:spcBef>
        <a:spcAft>
          <a:spcPct val="0"/>
        </a:spcAft>
        <a:tabLst>
          <a:tab pos="665477" algn="l"/>
        </a:tabLst>
        <a:defRPr sz="2352" b="1">
          <a:solidFill>
            <a:schemeClr val="tx1"/>
          </a:solidFill>
          <a:latin typeface="Arial" charset="0"/>
        </a:defRPr>
      </a:lvl6pPr>
      <a:lvl7pPr marL="912655" algn="l" rtl="0" eaLnBrk="1" fontAlgn="base" hangingPunct="1">
        <a:lnSpc>
          <a:spcPct val="90000"/>
        </a:lnSpc>
        <a:spcBef>
          <a:spcPct val="0"/>
        </a:spcBef>
        <a:spcAft>
          <a:spcPct val="0"/>
        </a:spcAft>
        <a:tabLst>
          <a:tab pos="665477" algn="l"/>
        </a:tabLst>
        <a:defRPr sz="2352" b="1">
          <a:solidFill>
            <a:schemeClr val="tx1"/>
          </a:solidFill>
          <a:latin typeface="Arial" charset="0"/>
        </a:defRPr>
      </a:lvl7pPr>
      <a:lvl8pPr marL="1368982" algn="l" rtl="0" eaLnBrk="1" fontAlgn="base" hangingPunct="1">
        <a:lnSpc>
          <a:spcPct val="90000"/>
        </a:lnSpc>
        <a:spcBef>
          <a:spcPct val="0"/>
        </a:spcBef>
        <a:spcAft>
          <a:spcPct val="0"/>
        </a:spcAft>
        <a:tabLst>
          <a:tab pos="665477" algn="l"/>
        </a:tabLst>
        <a:defRPr sz="2352" b="1">
          <a:solidFill>
            <a:schemeClr val="tx1"/>
          </a:solidFill>
          <a:latin typeface="Arial" charset="0"/>
        </a:defRPr>
      </a:lvl8pPr>
      <a:lvl9pPr marL="1825306" algn="l" rtl="0" eaLnBrk="1" fontAlgn="base" hangingPunct="1">
        <a:lnSpc>
          <a:spcPct val="90000"/>
        </a:lnSpc>
        <a:spcBef>
          <a:spcPct val="0"/>
        </a:spcBef>
        <a:spcAft>
          <a:spcPct val="0"/>
        </a:spcAft>
        <a:tabLst>
          <a:tab pos="665477" algn="l"/>
        </a:tabLst>
        <a:defRPr sz="2352" b="1">
          <a:solidFill>
            <a:schemeClr val="tx1"/>
          </a:solidFill>
          <a:latin typeface="Arial" charset="0"/>
        </a:defRPr>
      </a:lvl9pPr>
    </p:titleStyle>
    <p:body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p:bodyStyle>
    <p:otherStyle>
      <a:defPPr>
        <a:defRPr lang="de-DE"/>
      </a:defPPr>
      <a:lvl1pPr marL="0" algn="l" defTabSz="912655" rtl="0" eaLnBrk="1" latinLnBrk="0" hangingPunct="1">
        <a:defRPr sz="1809" kern="1200">
          <a:solidFill>
            <a:schemeClr val="tx1"/>
          </a:solidFill>
          <a:latin typeface="+mn-lt"/>
          <a:ea typeface="+mn-ea"/>
          <a:cs typeface="+mn-cs"/>
        </a:defRPr>
      </a:lvl1pPr>
      <a:lvl2pPr marL="456327" algn="l" defTabSz="912655" rtl="0" eaLnBrk="1" latinLnBrk="0" hangingPunct="1">
        <a:defRPr sz="1809" kern="1200">
          <a:solidFill>
            <a:schemeClr val="tx1"/>
          </a:solidFill>
          <a:latin typeface="+mn-lt"/>
          <a:ea typeface="+mn-ea"/>
          <a:cs typeface="+mn-cs"/>
        </a:defRPr>
      </a:lvl2pPr>
      <a:lvl3pPr marL="912655" algn="l" defTabSz="912655" rtl="0" eaLnBrk="1" latinLnBrk="0" hangingPunct="1">
        <a:defRPr sz="1809" kern="1200">
          <a:solidFill>
            <a:schemeClr val="tx1"/>
          </a:solidFill>
          <a:latin typeface="+mn-lt"/>
          <a:ea typeface="+mn-ea"/>
          <a:cs typeface="+mn-cs"/>
        </a:defRPr>
      </a:lvl3pPr>
      <a:lvl4pPr marL="1368982" algn="l" defTabSz="912655" rtl="0" eaLnBrk="1" latinLnBrk="0" hangingPunct="1">
        <a:defRPr sz="1809" kern="1200">
          <a:solidFill>
            <a:schemeClr val="tx1"/>
          </a:solidFill>
          <a:latin typeface="+mn-lt"/>
          <a:ea typeface="+mn-ea"/>
          <a:cs typeface="+mn-cs"/>
        </a:defRPr>
      </a:lvl4pPr>
      <a:lvl5pPr marL="1825306" algn="l" defTabSz="912655" rtl="0" eaLnBrk="1" latinLnBrk="0" hangingPunct="1">
        <a:defRPr sz="1809" kern="1200">
          <a:solidFill>
            <a:schemeClr val="tx1"/>
          </a:solidFill>
          <a:latin typeface="+mn-lt"/>
          <a:ea typeface="+mn-ea"/>
          <a:cs typeface="+mn-cs"/>
        </a:defRPr>
      </a:lvl5pPr>
      <a:lvl6pPr marL="2281635" algn="l" defTabSz="912655" rtl="0" eaLnBrk="1" latinLnBrk="0" hangingPunct="1">
        <a:defRPr sz="1809" kern="1200">
          <a:solidFill>
            <a:schemeClr val="tx1"/>
          </a:solidFill>
          <a:latin typeface="+mn-lt"/>
          <a:ea typeface="+mn-ea"/>
          <a:cs typeface="+mn-cs"/>
        </a:defRPr>
      </a:lvl6pPr>
      <a:lvl7pPr marL="2737962" algn="l" defTabSz="912655" rtl="0" eaLnBrk="1" latinLnBrk="0" hangingPunct="1">
        <a:defRPr sz="1809" kern="1200">
          <a:solidFill>
            <a:schemeClr val="tx1"/>
          </a:solidFill>
          <a:latin typeface="+mn-lt"/>
          <a:ea typeface="+mn-ea"/>
          <a:cs typeface="+mn-cs"/>
        </a:defRPr>
      </a:lvl7pPr>
      <a:lvl8pPr marL="3194288" algn="l" defTabSz="912655" rtl="0" eaLnBrk="1" latinLnBrk="0" hangingPunct="1">
        <a:defRPr sz="1809" kern="1200">
          <a:solidFill>
            <a:schemeClr val="tx1"/>
          </a:solidFill>
          <a:latin typeface="+mn-lt"/>
          <a:ea typeface="+mn-ea"/>
          <a:cs typeface="+mn-cs"/>
        </a:defRPr>
      </a:lvl8pPr>
      <a:lvl9pPr marL="3650615" algn="l" defTabSz="912655" rtl="0" eaLnBrk="1" latinLnBrk="0" hangingPunct="1">
        <a:defRPr sz="1809"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7401">
          <p15:clr>
            <a:srgbClr val="F26B43"/>
          </p15:clr>
        </p15:guide>
        <p15:guide id="13" orient="horz" pos="278">
          <p15:clr>
            <a:srgbClr val="F26B43"/>
          </p15:clr>
        </p15:guide>
        <p15:guide id="17" orient="horz" pos="572">
          <p15:clr>
            <a:srgbClr val="F26B43"/>
          </p15:clr>
        </p15:guide>
        <p15:guide id="18" orient="horz" pos="4042">
          <p15:clr>
            <a:srgbClr val="F26B43"/>
          </p15:clr>
        </p15:guide>
        <p15:guide id="21" orient="horz" pos="3906">
          <p15:clr>
            <a:srgbClr val="F26B43"/>
          </p15:clr>
        </p15:guide>
        <p15:guide id="23" orient="horz" pos="867">
          <p15:clr>
            <a:srgbClr val="F26B43"/>
          </p15:clr>
        </p15:guide>
        <p15:guide id="24" pos="3840">
          <p15:clr>
            <a:srgbClr val="F26B43"/>
          </p15:clr>
        </p15:guide>
        <p15:guide id="25" orient="horz" pos="2387">
          <p15:clr>
            <a:srgbClr val="F26B43"/>
          </p15:clr>
        </p15:guide>
        <p15:guide id="26" pos="27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13" name="Title Placeholder 12">
            <a:extLst>
              <a:ext uri="{FF2B5EF4-FFF2-40B4-BE49-F238E27FC236}">
                <a16:creationId xmlns:a16="http://schemas.microsoft.com/office/drawing/2014/main" id="{6D0F29C5-DBFE-A152-158C-D0CDDDF0A14C}"/>
              </a:ext>
            </a:extLst>
          </p:cNvPr>
          <p:cNvSpPr>
            <a:spLocks noGrp="1"/>
          </p:cNvSpPr>
          <p:nvPr>
            <p:ph type="title"/>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2" name="Grafik 9" descr="Blue Deutsche Bank logo">
            <a:extLst>
              <a:ext uri="{FF2B5EF4-FFF2-40B4-BE49-F238E27FC236}">
                <a16:creationId xmlns:a16="http://schemas.microsoft.com/office/drawing/2014/main" id="{B29001C1-63DA-2119-A100-853E4B7B6C6E}"/>
              </a:ext>
            </a:extLst>
          </p:cNvPr>
          <p:cNvSpPr>
            <a:spLocks noChangeAspect="1"/>
          </p:cNvSpPr>
          <p:nvPr userDrawn="1"/>
        </p:nvSpPr>
        <p:spPr>
          <a:xfrm>
            <a:off x="11282400" y="441325"/>
            <a:ext cx="468000" cy="468000"/>
          </a:xfrm>
          <a:custGeom>
            <a:avLst/>
            <a:gdLst>
              <a:gd name="connsiteX0" fmla="*/ 385667 w 2699994"/>
              <a:gd name="connsiteY0" fmla="*/ 2314346 h 2700004"/>
              <a:gd name="connsiteX1" fmla="*/ 2314146 w 2699994"/>
              <a:gd name="connsiteY1" fmla="*/ 2314346 h 2700004"/>
              <a:gd name="connsiteX2" fmla="*/ 2314146 w 2699994"/>
              <a:gd name="connsiteY2" fmla="*/ 385658 h 2700004"/>
              <a:gd name="connsiteX3" fmla="*/ 385667 w 2699994"/>
              <a:gd name="connsiteY3" fmla="*/ 385658 h 2700004"/>
              <a:gd name="connsiteX4" fmla="*/ 385667 w 2699994"/>
              <a:gd name="connsiteY4" fmla="*/ 2314346 h 2700004"/>
              <a:gd name="connsiteX5" fmla="*/ 0 w 2699994"/>
              <a:gd name="connsiteY5" fmla="*/ 0 h 2700004"/>
              <a:gd name="connsiteX6" fmla="*/ 2699995 w 2699994"/>
              <a:gd name="connsiteY6" fmla="*/ 0 h 2700004"/>
              <a:gd name="connsiteX7" fmla="*/ 2699995 w 2699994"/>
              <a:gd name="connsiteY7" fmla="*/ 2700004 h 2700004"/>
              <a:gd name="connsiteX8" fmla="*/ 0 w 2699994"/>
              <a:gd name="connsiteY8" fmla="*/ 2700004 h 2700004"/>
              <a:gd name="connsiteX9" fmla="*/ 0 w 2699994"/>
              <a:gd name="connsiteY9" fmla="*/ 0 h 2700004"/>
              <a:gd name="connsiteX10" fmla="*/ 582549 w 2699994"/>
              <a:gd name="connsiteY10" fmla="*/ 2051971 h 2700004"/>
              <a:gd name="connsiteX11" fmla="*/ 1635709 w 2699994"/>
              <a:gd name="connsiteY11" fmla="*/ 648033 h 2700004"/>
              <a:gd name="connsiteX12" fmla="*/ 2117874 w 2699994"/>
              <a:gd name="connsiteY12" fmla="*/ 648033 h 2700004"/>
              <a:gd name="connsiteX13" fmla="*/ 1064714 w 2699994"/>
              <a:gd name="connsiteY13" fmla="*/ 2051971 h 2700004"/>
              <a:gd name="connsiteX14" fmla="*/ 582549 w 2699994"/>
              <a:gd name="connsiteY14" fmla="*/ 2051971 h 270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9994" h="2700004">
                <a:moveTo>
                  <a:pt x="385667" y="2314346"/>
                </a:moveTo>
                <a:lnTo>
                  <a:pt x="2314146" y="2314346"/>
                </a:lnTo>
                <a:lnTo>
                  <a:pt x="2314146" y="385658"/>
                </a:lnTo>
                <a:lnTo>
                  <a:pt x="385667" y="385658"/>
                </a:lnTo>
                <a:lnTo>
                  <a:pt x="385667" y="2314346"/>
                </a:lnTo>
                <a:close/>
                <a:moveTo>
                  <a:pt x="0" y="0"/>
                </a:moveTo>
                <a:lnTo>
                  <a:pt x="2699995" y="0"/>
                </a:lnTo>
                <a:lnTo>
                  <a:pt x="2699995" y="2700004"/>
                </a:lnTo>
                <a:lnTo>
                  <a:pt x="0" y="2700004"/>
                </a:lnTo>
                <a:lnTo>
                  <a:pt x="0" y="0"/>
                </a:lnTo>
                <a:close/>
                <a:moveTo>
                  <a:pt x="582549" y="2051971"/>
                </a:moveTo>
                <a:lnTo>
                  <a:pt x="1635709" y="648033"/>
                </a:lnTo>
                <a:lnTo>
                  <a:pt x="2117874" y="648033"/>
                </a:lnTo>
                <a:lnTo>
                  <a:pt x="1064714" y="2051971"/>
                </a:lnTo>
                <a:lnTo>
                  <a:pt x="582549" y="2051971"/>
                </a:lnTo>
              </a:path>
            </a:pathLst>
          </a:custGeom>
          <a:solidFill>
            <a:schemeClr val="tx1"/>
          </a:solidFill>
          <a:ln w="9525" cap="flat">
            <a:noFill/>
            <a:prstDash val="solid"/>
            <a:miter/>
          </a:ln>
        </p:spPr>
        <p:txBody>
          <a:bodyPr rtlCol="0" anchor="ctr"/>
          <a:lstStyle/>
          <a:p>
            <a:endParaRPr lang="de-DE" sz="2400">
              <a:latin typeface="+mn-lt"/>
              <a:cs typeface="DeutscheBank" panose="020B0503020202030204" pitchFamily="34" charset="0"/>
            </a:endParaRPr>
          </a:p>
        </p:txBody>
      </p:sp>
      <p:sp>
        <p:nvSpPr>
          <p:cNvPr id="4" name="Text Placeholder 3">
            <a:extLst>
              <a:ext uri="{FF2B5EF4-FFF2-40B4-BE49-F238E27FC236}">
                <a16:creationId xmlns:a16="http://schemas.microsoft.com/office/drawing/2014/main" id="{EE665C97-7830-49FC-9697-6D19DA821767}"/>
              </a:ext>
            </a:extLst>
          </p:cNvPr>
          <p:cNvSpPr>
            <a:spLocks noGrp="1"/>
          </p:cNvSpPr>
          <p:nvPr>
            <p:ph type="body" idx="1"/>
          </p:nvPr>
        </p:nvSpPr>
        <p:spPr>
          <a:xfrm>
            <a:off x="442913" y="1376363"/>
            <a:ext cx="11304000" cy="4824412"/>
          </a:xfrm>
          <a:prstGeom prst="rect">
            <a:avLst/>
          </a:prstGeom>
        </p:spPr>
        <p:txBody>
          <a:bodyPr vert="horz" lIns="0" tIns="0" rIns="0" bIns="0" rtlCol="0">
            <a:noAutofit/>
          </a:body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10" name="Foliennummernplatzhalter 1">
            <a:extLst>
              <a:ext uri="{FF2B5EF4-FFF2-40B4-BE49-F238E27FC236}">
                <a16:creationId xmlns:a16="http://schemas.microsoft.com/office/drawing/2014/main" id="{ADE4BABC-7071-E9E0-45F3-3EBF1391CA25}"/>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grpSp>
        <p:nvGrpSpPr>
          <p:cNvPr id="14" name="Gruppieren 1">
            <a:extLst>
              <a:ext uri="{FF2B5EF4-FFF2-40B4-BE49-F238E27FC236}">
                <a16:creationId xmlns:a16="http://schemas.microsoft.com/office/drawing/2014/main" id="{904306EA-0136-6E97-C30E-4D6C7145BB77}"/>
              </a:ext>
            </a:extLst>
          </p:cNvPr>
          <p:cNvGrpSpPr/>
          <p:nvPr userDrawn="1"/>
        </p:nvGrpSpPr>
        <p:grpSpPr>
          <a:xfrm>
            <a:off x="12369686" y="1346597"/>
            <a:ext cx="1548000" cy="4854178"/>
            <a:chOff x="12287533" y="1235484"/>
            <a:chExt cx="1958255" cy="5040446"/>
          </a:xfrm>
        </p:grpSpPr>
        <p:grpSp>
          <p:nvGrpSpPr>
            <p:cNvPr id="15" name="Gruppieren 3">
              <a:extLst>
                <a:ext uri="{FF2B5EF4-FFF2-40B4-BE49-F238E27FC236}">
                  <a16:creationId xmlns:a16="http://schemas.microsoft.com/office/drawing/2014/main" id="{F1F123E5-3127-32F8-6D05-132F2A024976}"/>
                </a:ext>
              </a:extLst>
            </p:cNvPr>
            <p:cNvGrpSpPr/>
            <p:nvPr/>
          </p:nvGrpSpPr>
          <p:grpSpPr>
            <a:xfrm>
              <a:off x="12287533" y="1431070"/>
              <a:ext cx="936000" cy="3373620"/>
              <a:chOff x="-2148144" y="1465073"/>
              <a:chExt cx="1031711" cy="3373620"/>
            </a:xfrm>
          </p:grpSpPr>
          <p:sp>
            <p:nvSpPr>
              <p:cNvPr id="29" name="Rechteck 6">
                <a:extLst>
                  <a:ext uri="{FF2B5EF4-FFF2-40B4-BE49-F238E27FC236}">
                    <a16:creationId xmlns:a16="http://schemas.microsoft.com/office/drawing/2014/main" id="{2B771153-D429-9D3A-BCEC-C97F1B1A705B}"/>
                  </a:ext>
                </a:extLst>
              </p:cNvPr>
              <p:cNvSpPr>
                <a:spLocks/>
              </p:cNvSpPr>
              <p:nvPr/>
            </p:nvSpPr>
            <p:spPr>
              <a:xfrm>
                <a:off x="-2148144" y="1465073"/>
                <a:ext cx="1021762" cy="431139"/>
              </a:xfrm>
              <a:prstGeom prst="rect">
                <a:avLst/>
              </a:prstGeom>
              <a:solidFill>
                <a:srgbClr val="1E2A7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rgbClr val="FFFFFF"/>
                    </a:solidFill>
                    <a:effectLst/>
                    <a:uLnTx/>
                    <a:uFillTx/>
                    <a:ea typeface="+mn-ea"/>
                    <a:cs typeface="+mn-cs"/>
                    <a:sym typeface="Arial"/>
                  </a:rPr>
                  <a:t>Deep Blue</a:t>
                </a:r>
                <a:br>
                  <a:rPr kumimoji="0" lang="de-DE" sz="600" b="0" i="0" u="none" strike="noStrike" kern="0" cap="none" spc="0" normalizeH="0" baseline="0" noProof="0">
                    <a:ln>
                      <a:noFill/>
                    </a:ln>
                    <a:solidFill>
                      <a:srgbClr val="FFFFFF"/>
                    </a:solidFill>
                    <a:effectLst/>
                    <a:uLnTx/>
                    <a:uFillTx/>
                    <a:ea typeface="+mn-ea"/>
                    <a:cs typeface="+mn-cs"/>
                    <a:sym typeface="Arial"/>
                  </a:rPr>
                </a:br>
                <a:r>
                  <a:rPr kumimoji="0" lang="de-DE" sz="600" b="0" i="0" u="none" strike="noStrike" kern="0" cap="none" spc="0" normalizeH="0" baseline="0" noProof="0">
                    <a:ln>
                      <a:noFill/>
                    </a:ln>
                    <a:solidFill>
                      <a:srgbClr val="FFFFFF"/>
                    </a:solidFill>
                    <a:effectLst/>
                    <a:uLnTx/>
                    <a:uFillTx/>
                    <a:ea typeface="+mn-ea"/>
                    <a:cs typeface="+mn-cs"/>
                    <a:sym typeface="Arial"/>
                  </a:rPr>
                  <a:t>30|42|120</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p:txBody>
          </p:sp>
          <p:sp>
            <p:nvSpPr>
              <p:cNvPr id="30" name="Rechteck 7">
                <a:extLst>
                  <a:ext uri="{FF2B5EF4-FFF2-40B4-BE49-F238E27FC236}">
                    <a16:creationId xmlns:a16="http://schemas.microsoft.com/office/drawing/2014/main" id="{DCEC44BE-7608-9D1F-B4CE-BA950A08362D}"/>
                  </a:ext>
                </a:extLst>
              </p:cNvPr>
              <p:cNvSpPr>
                <a:spLocks/>
              </p:cNvSpPr>
              <p:nvPr/>
            </p:nvSpPr>
            <p:spPr>
              <a:xfrm>
                <a:off x="-2146099" y="1955486"/>
                <a:ext cx="1021762" cy="431139"/>
              </a:xfrm>
              <a:prstGeom prst="rect">
                <a:avLst/>
              </a:prstGeom>
              <a:solidFill>
                <a:srgbClr val="16184E"/>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rgbClr val="FFFFFF"/>
                    </a:solidFill>
                    <a:effectLst/>
                    <a:uLnTx/>
                    <a:uFillTx/>
                    <a:ea typeface="+mn-ea"/>
                    <a:cs typeface="+mn-cs"/>
                    <a:sym typeface="Arial"/>
                  </a:rPr>
                  <a:t>Dark Blue</a:t>
                </a:r>
                <a:br>
                  <a:rPr kumimoji="0" lang="de-DE" sz="600" b="0" i="0" u="none" strike="noStrike" kern="0" cap="none" spc="0" normalizeH="0" baseline="0" noProof="0">
                    <a:ln>
                      <a:noFill/>
                    </a:ln>
                    <a:solidFill>
                      <a:srgbClr val="FFFFFF"/>
                    </a:solidFill>
                    <a:effectLst/>
                    <a:uLnTx/>
                    <a:uFillTx/>
                    <a:ea typeface="+mn-ea"/>
                    <a:cs typeface="+mn-cs"/>
                    <a:sym typeface="Arial"/>
                  </a:rPr>
                </a:br>
                <a:r>
                  <a:rPr kumimoji="0" lang="de-DE" sz="600" b="0" i="0" u="none" strike="noStrike" kern="0" cap="none" spc="0" normalizeH="0" baseline="0" noProof="0">
                    <a:ln>
                      <a:noFill/>
                    </a:ln>
                    <a:solidFill>
                      <a:srgbClr val="FFFFFF"/>
                    </a:solidFill>
                    <a:effectLst/>
                    <a:uLnTx/>
                    <a:uFillTx/>
                    <a:ea typeface="+mn-ea"/>
                    <a:cs typeface="+mn-cs"/>
                    <a:sym typeface="Arial"/>
                  </a:rPr>
                  <a:t>22|24|78</a:t>
                </a:r>
                <a:br>
                  <a:rPr kumimoji="0" lang="de-DE" sz="600" b="0" i="0" u="none" strike="noStrike" kern="0" cap="none" spc="0" normalizeH="0" baseline="0" noProof="0">
                    <a:ln>
                      <a:noFill/>
                    </a:ln>
                    <a:solidFill>
                      <a:srgbClr val="FFFFFF"/>
                    </a:solidFill>
                    <a:effectLst/>
                    <a:uLnTx/>
                    <a:uFillTx/>
                    <a:ea typeface="+mn-ea"/>
                    <a:cs typeface="+mn-cs"/>
                    <a:sym typeface="Arial"/>
                  </a:rPr>
                </a:br>
                <a:br>
                  <a:rPr kumimoji="0" lang="de-DE" sz="600" b="0" i="0" u="none" strike="noStrike" kern="0" cap="none" spc="0" normalizeH="0" baseline="0" noProof="0">
                    <a:ln>
                      <a:noFill/>
                    </a:ln>
                    <a:solidFill>
                      <a:srgbClr val="FFFFFF"/>
                    </a:solidFill>
                    <a:effectLst/>
                    <a:uLnTx/>
                    <a:uFillTx/>
                    <a:ea typeface="+mn-ea"/>
                    <a:cs typeface="+mn-cs"/>
                    <a:sym typeface="Arial"/>
                  </a:rPr>
                </a:b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p:txBody>
          </p:sp>
          <p:sp>
            <p:nvSpPr>
              <p:cNvPr id="31" name="Rechteck 8">
                <a:extLst>
                  <a:ext uri="{FF2B5EF4-FFF2-40B4-BE49-F238E27FC236}">
                    <a16:creationId xmlns:a16="http://schemas.microsoft.com/office/drawing/2014/main" id="{3601D507-A556-0D70-8D54-23AB4AC8840E}"/>
                  </a:ext>
                </a:extLst>
              </p:cNvPr>
              <p:cNvSpPr>
                <a:spLocks/>
              </p:cNvSpPr>
              <p:nvPr/>
            </p:nvSpPr>
            <p:spPr>
              <a:xfrm>
                <a:off x="-2146099" y="2445900"/>
                <a:ext cx="1021762" cy="431139"/>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chemeClr val="tx1"/>
                    </a:solidFill>
                    <a:effectLst/>
                    <a:uLnTx/>
                    <a:uFillTx/>
                    <a:ea typeface="+mn-ea"/>
                    <a:cs typeface="+mn-cs"/>
                    <a:sym typeface="Arial"/>
                  </a:rPr>
                  <a:t>Bright Blue</a:t>
                </a:r>
                <a:br>
                  <a:rPr kumimoji="0" lang="de-DE" sz="600" b="0" i="0" u="none" strike="noStrike" kern="0" cap="none" spc="0" normalizeH="0" baseline="0" noProof="0">
                    <a:ln>
                      <a:noFill/>
                    </a:ln>
                    <a:solidFill>
                      <a:schemeClr val="tx1"/>
                    </a:solidFill>
                    <a:effectLst/>
                    <a:uLnTx/>
                    <a:uFillTx/>
                    <a:ea typeface="+mn-ea"/>
                    <a:cs typeface="+mn-cs"/>
                    <a:sym typeface="Arial"/>
                  </a:rPr>
                </a:br>
                <a:r>
                  <a:rPr kumimoji="0" lang="de-DE" sz="600" b="0" i="0" u="none" strike="noStrike" kern="0" cap="none" spc="0" normalizeH="0" baseline="0" noProof="0">
                    <a:ln>
                      <a:noFill/>
                    </a:ln>
                    <a:solidFill>
                      <a:schemeClr val="tx1"/>
                    </a:solidFill>
                    <a:effectLst/>
                    <a:uLnTx/>
                    <a:uFillTx/>
                    <a:ea typeface="+mn-ea"/>
                    <a:cs typeface="+mn-cs"/>
                    <a:sym typeface="Arial"/>
                  </a:rPr>
                  <a:t>0|163|224</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br>
                  <a:rPr kumimoji="0" lang="de-DE" sz="600" b="0" i="0" u="none" strike="noStrike" kern="0" cap="none" spc="0" normalizeH="0" baseline="0" noProof="0">
                    <a:ln>
                      <a:noFill/>
                    </a:ln>
                    <a:solidFill>
                      <a:schemeClr val="tx1"/>
                    </a:solidFill>
                    <a:effectLst/>
                    <a:uLnTx/>
                    <a:uFillTx/>
                    <a:ea typeface="+mn-ea"/>
                    <a:cs typeface="+mn-cs"/>
                    <a:sym typeface="Arial"/>
                  </a:rPr>
                </a:b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p:txBody>
          </p:sp>
          <p:sp>
            <p:nvSpPr>
              <p:cNvPr id="32" name="Rechteck 9">
                <a:extLst>
                  <a:ext uri="{FF2B5EF4-FFF2-40B4-BE49-F238E27FC236}">
                    <a16:creationId xmlns:a16="http://schemas.microsoft.com/office/drawing/2014/main" id="{1824343C-F0CF-9E2F-72EE-714DD47E39F5}"/>
                  </a:ext>
                </a:extLst>
              </p:cNvPr>
              <p:cNvSpPr>
                <a:spLocks/>
              </p:cNvSpPr>
              <p:nvPr/>
            </p:nvSpPr>
            <p:spPr>
              <a:xfrm>
                <a:off x="-2146099" y="2936314"/>
                <a:ext cx="1021762" cy="431139"/>
              </a:xfrm>
              <a:prstGeom prst="rect">
                <a:avLst/>
              </a:prstGeom>
              <a:solidFill>
                <a:srgbClr val="00D1F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Vibrant Cya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0|209|255</a:t>
                </a:r>
              </a:p>
            </p:txBody>
          </p:sp>
          <p:sp>
            <p:nvSpPr>
              <p:cNvPr id="33" name="Rechteck 10">
                <a:extLst>
                  <a:ext uri="{FF2B5EF4-FFF2-40B4-BE49-F238E27FC236}">
                    <a16:creationId xmlns:a16="http://schemas.microsoft.com/office/drawing/2014/main" id="{C88D2EA6-2F85-7392-BBC3-7AF69EECB641}"/>
                  </a:ext>
                </a:extLst>
              </p:cNvPr>
              <p:cNvSpPr>
                <a:spLocks/>
              </p:cNvSpPr>
              <p:nvPr/>
            </p:nvSpPr>
            <p:spPr>
              <a:xfrm>
                <a:off x="-2144049" y="3426727"/>
                <a:ext cx="1021762" cy="431139"/>
              </a:xfrm>
              <a:prstGeom prst="rect">
                <a:avLst/>
              </a:prstGeom>
              <a:solidFill>
                <a:srgbClr val="CCEDF9"/>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Bright Blue 20%</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204|237|249</a:t>
                </a:r>
              </a:p>
            </p:txBody>
          </p:sp>
          <p:sp>
            <p:nvSpPr>
              <p:cNvPr id="34" name="Rechteck 20">
                <a:extLst>
                  <a:ext uri="{FF2B5EF4-FFF2-40B4-BE49-F238E27FC236}">
                    <a16:creationId xmlns:a16="http://schemas.microsoft.com/office/drawing/2014/main" id="{088A45AB-5793-82D4-D560-43684AD9002D}"/>
                  </a:ext>
                </a:extLst>
              </p:cNvPr>
              <p:cNvSpPr>
                <a:spLocks/>
              </p:cNvSpPr>
              <p:nvPr/>
            </p:nvSpPr>
            <p:spPr>
              <a:xfrm>
                <a:off x="-2140245" y="3917139"/>
                <a:ext cx="1021762" cy="431139"/>
              </a:xfrm>
              <a:prstGeom prst="rect">
                <a:avLst/>
              </a:prstGeom>
              <a:solidFill>
                <a:srgbClr val="E1F5FA"/>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Bright Blue 10%</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225|245|250</a:t>
                </a:r>
              </a:p>
            </p:txBody>
          </p:sp>
          <p:sp>
            <p:nvSpPr>
              <p:cNvPr id="35" name="Rechteck 10">
                <a:extLst>
                  <a:ext uri="{FF2B5EF4-FFF2-40B4-BE49-F238E27FC236}">
                    <a16:creationId xmlns:a16="http://schemas.microsoft.com/office/drawing/2014/main" id="{661B7027-BD3B-70C7-A376-18998B9D8A48}"/>
                  </a:ext>
                </a:extLst>
              </p:cNvPr>
              <p:cNvSpPr>
                <a:spLocks/>
              </p:cNvSpPr>
              <p:nvPr/>
            </p:nvSpPr>
            <p:spPr>
              <a:xfrm>
                <a:off x="-2138195" y="4407554"/>
                <a:ext cx="1021762" cy="431139"/>
              </a:xfrm>
              <a:prstGeom prst="rect">
                <a:avLst/>
              </a:prstGeom>
              <a:solidFill>
                <a:srgbClr val="EDF1F7"/>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Gre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337|241|247</a:t>
                </a:r>
              </a:p>
            </p:txBody>
          </p:sp>
        </p:grpSp>
        <p:sp>
          <p:nvSpPr>
            <p:cNvPr id="16" name="TwoC_TitleL">
              <a:extLst>
                <a:ext uri="{FF2B5EF4-FFF2-40B4-BE49-F238E27FC236}">
                  <a16:creationId xmlns:a16="http://schemas.microsoft.com/office/drawing/2014/main" id="{A3682A6A-1DF2-8CC8-4147-D1F5503C6320}"/>
                </a:ext>
              </a:extLst>
            </p:cNvPr>
            <p:cNvSpPr txBox="1">
              <a:spLocks noChangeArrowheads="1"/>
            </p:cNvSpPr>
            <p:nvPr/>
          </p:nvSpPr>
          <p:spPr bwMode="auto">
            <a:xfrm>
              <a:off x="12287533" y="1235484"/>
              <a:ext cx="936000" cy="161583"/>
            </a:xfrm>
            <a:prstGeom prst="rect">
              <a:avLst/>
            </a:prstGeom>
            <a:noFill/>
            <a:ln w="12700">
              <a:noFill/>
              <a:miter lim="800000"/>
              <a:headEnd/>
              <a:tailEnd/>
            </a:ln>
          </p:spPr>
          <p:txBody>
            <a:bodyPr wrap="square" lIns="0" tIns="0" rIns="0" bIns="0" anchor="t" anchorCtr="0">
              <a:prstTxWarp prst="textNoShape">
                <a:avLst/>
              </a:prstTxWarp>
              <a:spAutoFit/>
            </a:bodyPr>
            <a:lstStyle/>
            <a:p>
              <a:r>
                <a:rPr lang="en-GB" sz="1050" b="1">
                  <a:solidFill>
                    <a:srgbClr val="1E2A78"/>
                  </a:solidFill>
                  <a:latin typeface="+mn-lt"/>
                  <a:ea typeface="DeutscheBank" panose="020B0503020202030204" pitchFamily="34" charset="0"/>
                  <a:cs typeface="DeutscheBank" panose="020B0503020202030204" pitchFamily="34" charset="0"/>
                </a:rPr>
                <a:t>Primary</a:t>
              </a:r>
            </a:p>
          </p:txBody>
        </p:sp>
        <p:grpSp>
          <p:nvGrpSpPr>
            <p:cNvPr id="17" name="Gruppieren 6">
              <a:extLst>
                <a:ext uri="{FF2B5EF4-FFF2-40B4-BE49-F238E27FC236}">
                  <a16:creationId xmlns:a16="http://schemas.microsoft.com/office/drawing/2014/main" id="{9BB88AF4-035D-0E19-8501-CF7A3BC5963E}"/>
                </a:ext>
              </a:extLst>
            </p:cNvPr>
            <p:cNvGrpSpPr/>
            <p:nvPr/>
          </p:nvGrpSpPr>
          <p:grpSpPr>
            <a:xfrm>
              <a:off x="13309787" y="1431070"/>
              <a:ext cx="936000" cy="4844860"/>
              <a:chOff x="1033061" y="2220734"/>
              <a:chExt cx="1020455" cy="11436844"/>
            </a:xfrm>
          </p:grpSpPr>
          <p:sp>
            <p:nvSpPr>
              <p:cNvPr id="19" name="Rectangle 13">
                <a:extLst>
                  <a:ext uri="{FF2B5EF4-FFF2-40B4-BE49-F238E27FC236}">
                    <a16:creationId xmlns:a16="http://schemas.microsoft.com/office/drawing/2014/main" id="{DAD3A84F-919D-6ED3-A7FE-C9B2601D53B9}"/>
                  </a:ext>
                </a:extLst>
              </p:cNvPr>
              <p:cNvSpPr>
                <a:spLocks noChangeArrowheads="1"/>
              </p:cNvSpPr>
              <p:nvPr/>
            </p:nvSpPr>
            <p:spPr bwMode="ltGray">
              <a:xfrm>
                <a:off x="1036912" y="6852509"/>
                <a:ext cx="1016604" cy="1016602"/>
              </a:xfrm>
              <a:prstGeom prst="rect">
                <a:avLst/>
              </a:prstGeom>
              <a:solidFill>
                <a:srgbClr val="A1AC05"/>
              </a:solidFill>
              <a:ln w="12700">
                <a:noFill/>
                <a:round/>
                <a:headEnd/>
                <a:tailEnd/>
              </a:ln>
            </p:spPr>
            <p:txBody>
              <a:bodyPr wrap="none" lIns="72000" tIns="72000" rIns="72000" bIns="72000" anchor="t" anchorCtr="0"/>
              <a:lstStyle/>
              <a:p>
                <a:pPr eaLnBrk="0" hangingPunct="0"/>
                <a:r>
                  <a:rPr lang="en-GB" sz="600">
                    <a:cs typeface="DeutscheBank" panose="020B0503020202030204" pitchFamily="34" charset="0"/>
                  </a:rPr>
                  <a:t>Autumn Green</a:t>
                </a:r>
              </a:p>
              <a:p>
                <a:r>
                  <a:rPr lang="en-GB" sz="600">
                    <a:ea typeface="DeutscheBank" panose="020B0503020202030204" pitchFamily="34" charset="0"/>
                    <a:cs typeface="DeutscheBank" panose="020B0503020202030204" pitchFamily="34" charset="0"/>
                  </a:rPr>
                  <a:t>16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7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5</a:t>
                </a:r>
              </a:p>
            </p:txBody>
          </p:sp>
          <p:sp>
            <p:nvSpPr>
              <p:cNvPr id="20" name="Rectangle 19">
                <a:extLst>
                  <a:ext uri="{FF2B5EF4-FFF2-40B4-BE49-F238E27FC236}">
                    <a16:creationId xmlns:a16="http://schemas.microsoft.com/office/drawing/2014/main" id="{853B43AA-4E4B-E08C-5D8B-09B45AA0FCF2}"/>
                  </a:ext>
                </a:extLst>
              </p:cNvPr>
              <p:cNvSpPr>
                <a:spLocks noChangeArrowheads="1"/>
              </p:cNvSpPr>
              <p:nvPr/>
            </p:nvSpPr>
            <p:spPr bwMode="ltGray">
              <a:xfrm>
                <a:off x="1036912" y="2220734"/>
                <a:ext cx="1016604" cy="1016602"/>
              </a:xfrm>
              <a:prstGeom prst="rect">
                <a:avLst/>
              </a:prstGeom>
              <a:solidFill>
                <a:srgbClr val="3BB8B8"/>
              </a:solidFill>
              <a:ln w="12700">
                <a:noFill/>
                <a:round/>
                <a:headEnd/>
                <a:tailEnd/>
              </a:ln>
            </p:spPr>
            <p:txBody>
              <a:bodyPr wrap="none" lIns="72000" tIns="72000" rIns="72000" bIns="72000" anchor="t" anchorCtr="0"/>
              <a:lstStyle/>
              <a:p>
                <a:r>
                  <a:rPr lang="en-GB" sz="600">
                    <a:cs typeface="DeutscheBank" panose="020B0503020202030204" pitchFamily="34" charset="0"/>
                  </a:rPr>
                  <a:t>Turquoise</a:t>
                </a:r>
              </a:p>
              <a:p>
                <a:r>
                  <a:rPr lang="en-GB" sz="600">
                    <a:ea typeface="DeutscheBank" panose="020B0503020202030204" pitchFamily="34" charset="0"/>
                    <a:cs typeface="DeutscheBank" panose="020B0503020202030204" pitchFamily="34" charset="0"/>
                  </a:rPr>
                  <a:t>59</a:t>
                </a:r>
                <a:r>
                  <a:rPr kumimoji="0" lang="de-DE" sz="600" b="0" i="0" u="none" strike="noStrike" kern="0" cap="none" spc="0" normalizeH="0" baseline="0" noProof="0">
                    <a:ln>
                      <a:noFill/>
                    </a:ln>
                    <a:effectLst/>
                    <a:uLnTx/>
                    <a:uFillTx/>
                    <a:ea typeface="+mn-ea"/>
                    <a:cs typeface="+mn-cs"/>
                    <a:sym typeface="Arial"/>
                  </a:rPr>
                  <a:t>|</a:t>
                </a:r>
                <a:r>
                  <a:rPr kumimoji="0" lang="en-GB" sz="600" b="0" i="0" u="none" strike="noStrike" kern="0" cap="none" spc="0" normalizeH="0" baseline="0" noProof="0">
                    <a:ln>
                      <a:noFill/>
                    </a:ln>
                    <a:effectLst/>
                    <a:uLnTx/>
                    <a:uFillTx/>
                    <a:ea typeface="DeutscheBank" panose="020B0503020202030204" pitchFamily="34" charset="0"/>
                    <a:cs typeface="DeutscheBank" panose="020B0503020202030204" pitchFamily="34" charset="0"/>
                    <a:sym typeface="Arial"/>
                  </a:rPr>
                  <a:t>184</a:t>
                </a:r>
                <a:r>
                  <a:rPr kumimoji="0" lang="de-DE" sz="600" b="0" i="0" u="none" strike="noStrike" kern="0" cap="none" spc="0" normalizeH="0" baseline="0" noProof="0">
                    <a:ln>
                      <a:noFill/>
                    </a:ln>
                    <a:effectLst/>
                    <a:uLnTx/>
                    <a:uFillTx/>
                    <a:ea typeface="+mn-ea"/>
                    <a:cs typeface="+mn-cs"/>
                    <a:sym typeface="Arial"/>
                  </a:rPr>
                  <a:t>|</a:t>
                </a:r>
                <a:r>
                  <a:rPr kumimoji="0" lang="en-GB" sz="600" b="0" i="0" u="none" strike="noStrike" kern="0" cap="none" spc="0" normalizeH="0" baseline="0" noProof="0">
                    <a:ln>
                      <a:noFill/>
                    </a:ln>
                    <a:effectLst/>
                    <a:uLnTx/>
                    <a:uFillTx/>
                    <a:ea typeface="DeutscheBank" panose="020B0503020202030204" pitchFamily="34" charset="0"/>
                    <a:cs typeface="DeutscheBank" panose="020B0503020202030204" pitchFamily="34" charset="0"/>
                    <a:sym typeface="Arial"/>
                  </a:rPr>
                  <a:t>184</a:t>
                </a:r>
                <a:endParaRPr lang="en-GB" sz="600">
                  <a:ea typeface="DeutscheBank" panose="020B0503020202030204" pitchFamily="34" charset="0"/>
                  <a:cs typeface="DeutscheBank" panose="020B0503020202030204" pitchFamily="34" charset="0"/>
                </a:endParaRPr>
              </a:p>
            </p:txBody>
          </p:sp>
          <p:sp>
            <p:nvSpPr>
              <p:cNvPr id="21" name="Rectangle 20">
                <a:extLst>
                  <a:ext uri="{FF2B5EF4-FFF2-40B4-BE49-F238E27FC236}">
                    <a16:creationId xmlns:a16="http://schemas.microsoft.com/office/drawing/2014/main" id="{A246BBC3-3E4E-9E1D-502E-B8524263D8B7}"/>
                  </a:ext>
                </a:extLst>
              </p:cNvPr>
              <p:cNvSpPr>
                <a:spLocks noChangeArrowheads="1"/>
              </p:cNvSpPr>
              <p:nvPr/>
            </p:nvSpPr>
            <p:spPr bwMode="ltGray">
              <a:xfrm>
                <a:off x="1036912" y="3378677"/>
                <a:ext cx="1016604" cy="1016602"/>
              </a:xfrm>
              <a:prstGeom prst="rect">
                <a:avLst/>
              </a:prstGeom>
              <a:solidFill>
                <a:srgbClr val="24778D"/>
              </a:solidFill>
              <a:ln w="12700">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Petrol</a:t>
                </a:r>
              </a:p>
              <a:p>
                <a:r>
                  <a:rPr lang="en-GB" sz="600">
                    <a:solidFill>
                      <a:schemeClr val="bg1"/>
                    </a:solidFill>
                    <a:ea typeface="DeutscheBank" panose="020B0503020202030204" pitchFamily="34" charset="0"/>
                    <a:cs typeface="DeutscheBank" panose="020B0503020202030204" pitchFamily="34" charset="0"/>
                  </a:rPr>
                  <a:t>36</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119</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141</a:t>
                </a:r>
              </a:p>
            </p:txBody>
          </p:sp>
          <p:sp>
            <p:nvSpPr>
              <p:cNvPr id="22" name="Rectangle 21">
                <a:extLst>
                  <a:ext uri="{FF2B5EF4-FFF2-40B4-BE49-F238E27FC236}">
                    <a16:creationId xmlns:a16="http://schemas.microsoft.com/office/drawing/2014/main" id="{F211E62A-EAEE-A25E-DD42-030AEDFEEA04}"/>
                  </a:ext>
                </a:extLst>
              </p:cNvPr>
              <p:cNvSpPr>
                <a:spLocks noChangeArrowheads="1"/>
              </p:cNvSpPr>
              <p:nvPr/>
            </p:nvSpPr>
            <p:spPr bwMode="ltGray">
              <a:xfrm>
                <a:off x="1036912" y="4536621"/>
                <a:ext cx="1016604" cy="1016602"/>
              </a:xfrm>
              <a:prstGeom prst="rect">
                <a:avLst/>
              </a:prstGeom>
              <a:solidFill>
                <a:srgbClr val="25A62D"/>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ummer Green</a:t>
                </a:r>
              </a:p>
              <a:p>
                <a:pPr>
                  <a:defRPr/>
                </a:pPr>
                <a:r>
                  <a:rPr lang="en-GB" sz="600">
                    <a:ea typeface="DeutscheBank" panose="020B0503020202030204" pitchFamily="34" charset="0"/>
                    <a:cs typeface="DeutscheBank" panose="020B0503020202030204" pitchFamily="34" charset="0"/>
                  </a:rPr>
                  <a:t>37</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66</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45</a:t>
                </a:r>
              </a:p>
            </p:txBody>
          </p:sp>
          <p:sp>
            <p:nvSpPr>
              <p:cNvPr id="23" name="Rectangle 22">
                <a:extLst>
                  <a:ext uri="{FF2B5EF4-FFF2-40B4-BE49-F238E27FC236}">
                    <a16:creationId xmlns:a16="http://schemas.microsoft.com/office/drawing/2014/main" id="{D7A9A3C3-3DF5-7913-2AE9-1A0CEDB37BF9}"/>
                  </a:ext>
                </a:extLst>
              </p:cNvPr>
              <p:cNvSpPr>
                <a:spLocks noChangeArrowheads="1"/>
              </p:cNvSpPr>
              <p:nvPr/>
            </p:nvSpPr>
            <p:spPr bwMode="ltGray">
              <a:xfrm>
                <a:off x="1036912" y="5694565"/>
                <a:ext cx="1016604" cy="1016602"/>
              </a:xfrm>
              <a:prstGeom prst="rect">
                <a:avLst/>
              </a:prstGeom>
              <a:solidFill>
                <a:srgbClr val="C9DD03"/>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pring Green</a:t>
                </a:r>
              </a:p>
              <a:p>
                <a:pPr>
                  <a:defRPr/>
                </a:pPr>
                <a:r>
                  <a:rPr lang="en-GB" sz="600">
                    <a:ea typeface="DeutscheBank" panose="020B0503020202030204" pitchFamily="34" charset="0"/>
                    <a:cs typeface="DeutscheBank" panose="020B0503020202030204" pitchFamily="34" charset="0"/>
                  </a:rPr>
                  <a:t>20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22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3</a:t>
                </a:r>
              </a:p>
            </p:txBody>
          </p:sp>
          <p:sp>
            <p:nvSpPr>
              <p:cNvPr id="24" name="Rectangle 23">
                <a:extLst>
                  <a:ext uri="{FF2B5EF4-FFF2-40B4-BE49-F238E27FC236}">
                    <a16:creationId xmlns:a16="http://schemas.microsoft.com/office/drawing/2014/main" id="{BC5D5942-C101-22CE-4B60-986EF90710F8}"/>
                  </a:ext>
                </a:extLst>
              </p:cNvPr>
              <p:cNvSpPr>
                <a:spLocks noChangeArrowheads="1"/>
              </p:cNvSpPr>
              <p:nvPr/>
            </p:nvSpPr>
            <p:spPr bwMode="ltGray">
              <a:xfrm>
                <a:off x="1033061" y="8010455"/>
                <a:ext cx="1016604" cy="1016602"/>
              </a:xfrm>
              <a:prstGeom prst="rect">
                <a:avLst/>
              </a:prstGeom>
              <a:solidFill>
                <a:srgbClr val="FFE600"/>
              </a:solidFill>
              <a:ln w="12700">
                <a:noFill/>
                <a:round/>
                <a:headEnd/>
                <a:tailEnd/>
              </a:ln>
            </p:spPr>
            <p:txBody>
              <a:bodyPr wrap="none" lIns="72000" tIns="72000" rIns="72000" bIns="72000" anchor="t" anchorCtr="0"/>
              <a:lstStyle/>
              <a:p>
                <a:pPr eaLnBrk="0" hangingPunct="0"/>
                <a:r>
                  <a:rPr lang="en-GB" sz="600">
                    <a:cs typeface="DeutscheBank" panose="020B0503020202030204" pitchFamily="34" charset="0"/>
                  </a:rPr>
                  <a:t>Lucent Yellow</a:t>
                </a:r>
              </a:p>
              <a:p>
                <a:r>
                  <a:rPr lang="en-GB" sz="600">
                    <a:ea typeface="DeutscheBank" panose="020B0503020202030204" pitchFamily="34" charset="0"/>
                    <a:cs typeface="DeutscheBank" panose="020B0503020202030204" pitchFamily="34" charset="0"/>
                  </a:rPr>
                  <a:t>255</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230</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0</a:t>
                </a:r>
              </a:p>
            </p:txBody>
          </p:sp>
          <p:sp>
            <p:nvSpPr>
              <p:cNvPr id="25" name="Rectangle 24">
                <a:extLst>
                  <a:ext uri="{FF2B5EF4-FFF2-40B4-BE49-F238E27FC236}">
                    <a16:creationId xmlns:a16="http://schemas.microsoft.com/office/drawing/2014/main" id="{80C413D5-C557-BD32-CBA0-2F05FEBACBE4}"/>
                  </a:ext>
                </a:extLst>
              </p:cNvPr>
              <p:cNvSpPr>
                <a:spLocks noChangeArrowheads="1"/>
              </p:cNvSpPr>
              <p:nvPr/>
            </p:nvSpPr>
            <p:spPr bwMode="ltGray">
              <a:xfrm>
                <a:off x="1036912" y="9168401"/>
                <a:ext cx="1016604" cy="1016602"/>
              </a:xfrm>
              <a:prstGeom prst="rect">
                <a:avLst/>
              </a:prstGeom>
              <a:solidFill>
                <a:srgbClr val="F28011"/>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undown Orange</a:t>
                </a:r>
              </a:p>
              <a:p>
                <a:pPr>
                  <a:defRPr/>
                </a:pPr>
                <a:r>
                  <a:rPr lang="en-GB" sz="600">
                    <a:ea typeface="DeutscheBank" panose="020B0503020202030204" pitchFamily="34" charset="0"/>
                    <a:cs typeface="DeutscheBank" panose="020B0503020202030204" pitchFamily="34" charset="0"/>
                  </a:rPr>
                  <a:t>24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28</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7</a:t>
                </a:r>
              </a:p>
            </p:txBody>
          </p:sp>
          <p:sp>
            <p:nvSpPr>
              <p:cNvPr id="26" name="Rectangle 14">
                <a:extLst>
                  <a:ext uri="{FF2B5EF4-FFF2-40B4-BE49-F238E27FC236}">
                    <a16:creationId xmlns:a16="http://schemas.microsoft.com/office/drawing/2014/main" id="{C50E1FD2-BF78-A4CC-9747-BBE07CCC5CE2}"/>
                  </a:ext>
                </a:extLst>
              </p:cNvPr>
              <p:cNvSpPr>
                <a:spLocks noChangeArrowheads="1"/>
              </p:cNvSpPr>
              <p:nvPr/>
            </p:nvSpPr>
            <p:spPr bwMode="ltGray">
              <a:xfrm>
                <a:off x="1033061" y="10326343"/>
                <a:ext cx="1016604" cy="1016602"/>
              </a:xfrm>
              <a:prstGeom prst="rect">
                <a:avLst/>
              </a:prstGeom>
              <a:solidFill>
                <a:srgbClr val="E7001D"/>
              </a:solidFill>
              <a:ln w="12700">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Bright Red</a:t>
                </a:r>
              </a:p>
              <a:p>
                <a:r>
                  <a:rPr lang="en-GB" sz="600">
                    <a:solidFill>
                      <a:schemeClr val="bg1"/>
                    </a:solidFill>
                    <a:ea typeface="DeutscheBank" panose="020B0503020202030204" pitchFamily="34" charset="0"/>
                    <a:cs typeface="DeutscheBank" panose="020B0503020202030204" pitchFamily="34" charset="0"/>
                  </a:rPr>
                  <a:t>231</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0</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29</a:t>
                </a:r>
              </a:p>
            </p:txBody>
          </p:sp>
          <p:sp>
            <p:nvSpPr>
              <p:cNvPr id="27" name="Rectangle 15">
                <a:extLst>
                  <a:ext uri="{FF2B5EF4-FFF2-40B4-BE49-F238E27FC236}">
                    <a16:creationId xmlns:a16="http://schemas.microsoft.com/office/drawing/2014/main" id="{A46EFB85-31A7-CA69-C074-1D6EC3AB3A80}"/>
                  </a:ext>
                </a:extLst>
              </p:cNvPr>
              <p:cNvSpPr>
                <a:spLocks noChangeArrowheads="1"/>
              </p:cNvSpPr>
              <p:nvPr/>
            </p:nvSpPr>
            <p:spPr bwMode="ltGray">
              <a:xfrm>
                <a:off x="1036912" y="11484289"/>
                <a:ext cx="1016604" cy="1016602"/>
              </a:xfrm>
              <a:prstGeom prst="rect">
                <a:avLst/>
              </a:prstGeom>
              <a:solidFill>
                <a:srgbClr val="C18EBD"/>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Light Violet</a:t>
                </a:r>
              </a:p>
              <a:p>
                <a:pPr>
                  <a:defRPr/>
                </a:pPr>
                <a:r>
                  <a:rPr lang="en-GB" sz="600">
                    <a:ea typeface="DeutscheBank" panose="020B0503020202030204" pitchFamily="34" charset="0"/>
                    <a:cs typeface="DeutscheBank" panose="020B0503020202030204" pitchFamily="34" charset="0"/>
                  </a:rPr>
                  <a:t>193</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4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89</a:t>
                </a:r>
              </a:p>
            </p:txBody>
          </p:sp>
          <p:sp>
            <p:nvSpPr>
              <p:cNvPr id="28" name="Rectangle 15">
                <a:extLst>
                  <a:ext uri="{FF2B5EF4-FFF2-40B4-BE49-F238E27FC236}">
                    <a16:creationId xmlns:a16="http://schemas.microsoft.com/office/drawing/2014/main" id="{039AF90F-C455-670F-AEAA-059D696EDF59}"/>
                  </a:ext>
                </a:extLst>
              </p:cNvPr>
              <p:cNvSpPr>
                <a:spLocks noChangeArrowheads="1"/>
              </p:cNvSpPr>
              <p:nvPr/>
            </p:nvSpPr>
            <p:spPr bwMode="ltGray">
              <a:xfrm>
                <a:off x="1033061" y="12640976"/>
                <a:ext cx="1016604" cy="1016602"/>
              </a:xfrm>
              <a:prstGeom prst="rect">
                <a:avLst/>
              </a:prstGeom>
              <a:solidFill>
                <a:srgbClr val="452061"/>
              </a:solidFill>
              <a:ln w="12700" algn="ctr">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Night Violet</a:t>
                </a:r>
              </a:p>
              <a:p>
                <a:pPr>
                  <a:defRPr/>
                </a:pPr>
                <a:r>
                  <a:rPr lang="en-GB" sz="600">
                    <a:solidFill>
                      <a:schemeClr val="bg1"/>
                    </a:solidFill>
                    <a:ea typeface="DeutscheBank" panose="020B0503020202030204" pitchFamily="34" charset="0"/>
                    <a:cs typeface="DeutscheBank" panose="020B0503020202030204" pitchFamily="34" charset="0"/>
                  </a:rPr>
                  <a:t>69</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32</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97</a:t>
                </a:r>
              </a:p>
            </p:txBody>
          </p:sp>
        </p:grpSp>
        <p:sp>
          <p:nvSpPr>
            <p:cNvPr id="18" name="TwoC_TitleL">
              <a:extLst>
                <a:ext uri="{FF2B5EF4-FFF2-40B4-BE49-F238E27FC236}">
                  <a16:creationId xmlns:a16="http://schemas.microsoft.com/office/drawing/2014/main" id="{211085AF-9FFB-E8B7-4172-BF8292A1BFA9}"/>
                </a:ext>
              </a:extLst>
            </p:cNvPr>
            <p:cNvSpPr txBox="1">
              <a:spLocks noChangeArrowheads="1"/>
            </p:cNvSpPr>
            <p:nvPr/>
          </p:nvSpPr>
          <p:spPr bwMode="auto">
            <a:xfrm>
              <a:off x="13309788" y="1235484"/>
              <a:ext cx="936000" cy="161583"/>
            </a:xfrm>
            <a:prstGeom prst="rect">
              <a:avLst/>
            </a:prstGeom>
            <a:noFill/>
            <a:ln w="12700">
              <a:noFill/>
              <a:miter lim="800000"/>
              <a:headEnd/>
              <a:tailEnd/>
            </a:ln>
          </p:spPr>
          <p:txBody>
            <a:bodyPr wrap="square" lIns="0" tIns="0" rIns="0" bIns="0" anchor="t" anchorCtr="0">
              <a:prstTxWarp prst="textNoShape">
                <a:avLst/>
              </a:prstTxWarp>
              <a:spAutoFit/>
            </a:bodyPr>
            <a:lstStyle/>
            <a:p>
              <a:r>
                <a:rPr lang="en-GB" sz="1050" b="1">
                  <a:solidFill>
                    <a:srgbClr val="1E2A78"/>
                  </a:solidFill>
                  <a:latin typeface="+mn-lt"/>
                  <a:ea typeface="DeutscheBank" panose="020B0503020202030204" pitchFamily="34" charset="0"/>
                  <a:cs typeface="DeutscheBank" panose="020B0503020202030204" pitchFamily="34" charset="0"/>
                </a:rPr>
                <a:t>Accent</a:t>
              </a:r>
            </a:p>
          </p:txBody>
        </p:sp>
      </p:grpSp>
      <p:sp>
        <p:nvSpPr>
          <p:cNvPr id="2" name="TextBox 1">
            <a:extLst>
              <a:ext uri="{FF2B5EF4-FFF2-40B4-BE49-F238E27FC236}">
                <a16:creationId xmlns:a16="http://schemas.microsoft.com/office/drawing/2014/main" id="{2B05180E-CFA2-4806-E94C-50758C221C29}"/>
              </a:ext>
            </a:extLst>
          </p:cNvPr>
          <p:cNvSpPr txBox="1"/>
          <p:nvPr userDrawn="1"/>
        </p:nvSpPr>
        <p:spPr>
          <a:xfrm>
            <a:off x="1601282" y="6370017"/>
            <a:ext cx="10026885" cy="451277"/>
          </a:xfrm>
          <a:prstGeom prst="rect">
            <a:avLst/>
          </a:prstGeom>
          <a:noFill/>
        </p:spPr>
        <p:txBody>
          <a:bodyPr wrap="square" lIns="0" tIns="0" rIns="0" bIns="0" rtlCol="0">
            <a:spAutoFit/>
          </a:bodyPr>
          <a:lstStyle/>
          <a:p>
            <a:pPr marL="0" marR="0" lvl="0" indent="0" algn="l" defTabSz="1009132" rtl="0" eaLnBrk="1" fontAlgn="auto" latinLnBrk="0" hangingPunct="1">
              <a:lnSpc>
                <a:spcPts val="720"/>
              </a:lnSpc>
              <a:spcBef>
                <a:spcPct val="0"/>
              </a:spcBef>
              <a:spcAft>
                <a:spcPct val="0"/>
              </a:spcAft>
              <a:buClrTx/>
              <a:buSzTx/>
              <a:buFontTx/>
              <a:buNone/>
              <a:defRPr/>
            </a:pPr>
            <a:r>
              <a:rPr lang="en-US" sz="800" b="0" i="0" u="none" strike="noStrike" kern="1200" baseline="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rPr>
              <a:t>In Europe, Middle East and Africa as well as marketing material, but this is not the case in the U.S. No assurance can be given that any forecast or target can be achieved. Forecasts are based on assumptions, estimates, opinions and hypothetical models which may prove to be incorrect. Past performance is not indicative of future </a:t>
            </a:r>
            <a:r>
              <a:rPr lang="en-US" sz="800" b="0" i="0" u="none" strike="noStrike" kern="1200" baseline="0" err="1">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rPr>
              <a:t>returnsin</a:t>
            </a:r>
            <a:r>
              <a:rPr lang="en-US" sz="800" b="0" i="0" u="none" strike="noStrike" kern="1200" baseline="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rPr>
              <a:t> Asia Pacific this material is considered. Performance refers to a nominal value based on price gains/losses and does not take into account inflation. Inflation will have a negative impact on the purchasing power of this nominal monetary value. Depending on the current level of inflation, this may lead to a real loss in value, even if the nominal performance of the investment is positive. Investments come with risk. The value of an investment can fall as well as rise and you might not get back the amount originally invested at any point in time. Your capital may be at risk.</a:t>
            </a:r>
          </a:p>
        </p:txBody>
      </p:sp>
      <p:pic>
        <p:nvPicPr>
          <p:cNvPr id="3" name="Picture 2" descr="Text&#10;&#10;Description automatically generated">
            <a:extLst>
              <a:ext uri="{FF2B5EF4-FFF2-40B4-BE49-F238E27FC236}">
                <a16:creationId xmlns:a16="http://schemas.microsoft.com/office/drawing/2014/main" id="{8A52C5D3-60DB-2696-BD10-A22661A5A046}"/>
              </a:ext>
            </a:extLst>
          </p:cNvPr>
          <p:cNvPicPr>
            <a:picLocks noChangeAspect="1"/>
          </p:cNvPicPr>
          <p:nvPr userDrawn="1"/>
        </p:nvPicPr>
        <p:blipFill>
          <a:blip r:embed="rId14">
            <a:lum bright="70000" contrast="-70000"/>
          </a:blip>
          <a:srcRect l="7908" t="22838" r="8009" b="23833"/>
          <a:stretch>
            <a:fillRect/>
          </a:stretch>
        </p:blipFill>
        <p:spPr>
          <a:xfrm>
            <a:off x="442912" y="6459200"/>
            <a:ext cx="1073310" cy="201600"/>
          </a:xfrm>
          <a:prstGeom prst="rect">
            <a:avLst/>
          </a:prstGeom>
        </p:spPr>
      </p:pic>
      <p:sp>
        <p:nvSpPr>
          <p:cNvPr id="7" name="MSIPCMContentMarking" descr="{&quot;HashCode&quot;:-1864096203,&quot;Placement&quot;:&quot;Footer&quot;,&quot;Top&quot;:519.343,&quot;Left&quot;:469.7333,&quot;SlideWidth&quot;:960,&quot;SlideHeight&quot;:540}">
            <a:extLst>
              <a:ext uri="{FF2B5EF4-FFF2-40B4-BE49-F238E27FC236}">
                <a16:creationId xmlns:a16="http://schemas.microsoft.com/office/drawing/2014/main" id="{52C6B868-20BC-6947-E8AD-3B9CF9257E55}"/>
              </a:ext>
            </a:extLst>
          </p:cNvPr>
          <p:cNvSpPr txBox="1"/>
          <p:nvPr userDrawn="1"/>
        </p:nvSpPr>
        <p:spPr bwMode="ltGray">
          <a:xfrm>
            <a:off x="5965613" y="6595656"/>
            <a:ext cx="260773" cy="262344"/>
          </a:xfrm>
          <a:prstGeom prst="rect">
            <a:avLst/>
          </a:prstGeom>
          <a:noFill/>
          <a:ln w="6350">
            <a:noFill/>
            <a:miter lim="800000"/>
            <a:headEnd/>
            <a:tailEnd/>
          </a:ln>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 </a:t>
            </a:r>
            <a:endParaRPr lang="en-GB"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1943698964"/>
      </p:ext>
    </p:extLst>
  </p:cSld>
  <p:clrMap bg1="dk1" tx1="lt1" bg2="dk2" tx2="lt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transition>
    <p:wipe dir="r"/>
  </p:transition>
  <p:hf hdr="0" ftr="0" dt="0"/>
  <p:txStyles>
    <p:titleStyle>
      <a:lvl1pPr algn="l" rtl="0" eaLnBrk="1" fontAlgn="base" hangingPunct="1">
        <a:lnSpc>
          <a:spcPct val="90000"/>
        </a:lnSpc>
        <a:spcBef>
          <a:spcPct val="0"/>
        </a:spcBef>
        <a:spcAft>
          <a:spcPct val="0"/>
        </a:spcAft>
        <a:tabLst/>
        <a:defRPr sz="1900" b="1" kern="1200" baseline="0">
          <a:solidFill>
            <a:schemeClr val="tx1"/>
          </a:solidFill>
          <a:latin typeface="+mj-lt"/>
          <a:ea typeface="DeutscheBank" panose="020B0503020202030204" pitchFamily="34" charset="0"/>
          <a:cs typeface="DeutscheBank" panose="020B0503020202030204" pitchFamily="34" charset="0"/>
        </a:defRPr>
      </a:lvl1pPr>
      <a:lvl2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5pPr>
      <a:lvl6pPr marL="456327" algn="l" rtl="0" eaLnBrk="1" fontAlgn="base" hangingPunct="1">
        <a:lnSpc>
          <a:spcPct val="90000"/>
        </a:lnSpc>
        <a:spcBef>
          <a:spcPct val="0"/>
        </a:spcBef>
        <a:spcAft>
          <a:spcPct val="0"/>
        </a:spcAft>
        <a:tabLst>
          <a:tab pos="665477" algn="l"/>
        </a:tabLst>
        <a:defRPr sz="2352" b="1">
          <a:solidFill>
            <a:schemeClr val="tx1"/>
          </a:solidFill>
          <a:latin typeface="Arial" charset="0"/>
        </a:defRPr>
      </a:lvl6pPr>
      <a:lvl7pPr marL="912655" algn="l" rtl="0" eaLnBrk="1" fontAlgn="base" hangingPunct="1">
        <a:lnSpc>
          <a:spcPct val="90000"/>
        </a:lnSpc>
        <a:spcBef>
          <a:spcPct val="0"/>
        </a:spcBef>
        <a:spcAft>
          <a:spcPct val="0"/>
        </a:spcAft>
        <a:tabLst>
          <a:tab pos="665477" algn="l"/>
        </a:tabLst>
        <a:defRPr sz="2352" b="1">
          <a:solidFill>
            <a:schemeClr val="tx1"/>
          </a:solidFill>
          <a:latin typeface="Arial" charset="0"/>
        </a:defRPr>
      </a:lvl7pPr>
      <a:lvl8pPr marL="1368982" algn="l" rtl="0" eaLnBrk="1" fontAlgn="base" hangingPunct="1">
        <a:lnSpc>
          <a:spcPct val="90000"/>
        </a:lnSpc>
        <a:spcBef>
          <a:spcPct val="0"/>
        </a:spcBef>
        <a:spcAft>
          <a:spcPct val="0"/>
        </a:spcAft>
        <a:tabLst>
          <a:tab pos="665477" algn="l"/>
        </a:tabLst>
        <a:defRPr sz="2352" b="1">
          <a:solidFill>
            <a:schemeClr val="tx1"/>
          </a:solidFill>
          <a:latin typeface="Arial" charset="0"/>
        </a:defRPr>
      </a:lvl8pPr>
      <a:lvl9pPr marL="1825306" algn="l" rtl="0" eaLnBrk="1" fontAlgn="base" hangingPunct="1">
        <a:lnSpc>
          <a:spcPct val="90000"/>
        </a:lnSpc>
        <a:spcBef>
          <a:spcPct val="0"/>
        </a:spcBef>
        <a:spcAft>
          <a:spcPct val="0"/>
        </a:spcAft>
        <a:tabLst>
          <a:tab pos="665477" algn="l"/>
        </a:tabLst>
        <a:defRPr sz="2352" b="1">
          <a:solidFill>
            <a:schemeClr val="tx1"/>
          </a:solidFill>
          <a:latin typeface="Arial" charset="0"/>
        </a:defRPr>
      </a:lvl9pPr>
    </p:titleStyle>
    <p:body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chemeClr val="accent2"/>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p:bodyStyle>
    <p:otherStyle>
      <a:defPPr>
        <a:defRPr lang="de-DE"/>
      </a:defPPr>
      <a:lvl1pPr marL="0" algn="l" defTabSz="912655" rtl="0" eaLnBrk="1" latinLnBrk="0" hangingPunct="1">
        <a:defRPr sz="1809" kern="1200">
          <a:solidFill>
            <a:schemeClr val="tx1"/>
          </a:solidFill>
          <a:latin typeface="+mn-lt"/>
          <a:ea typeface="+mn-ea"/>
          <a:cs typeface="+mn-cs"/>
        </a:defRPr>
      </a:lvl1pPr>
      <a:lvl2pPr marL="456327" algn="l" defTabSz="912655" rtl="0" eaLnBrk="1" latinLnBrk="0" hangingPunct="1">
        <a:defRPr sz="1809" kern="1200">
          <a:solidFill>
            <a:schemeClr val="tx1"/>
          </a:solidFill>
          <a:latin typeface="+mn-lt"/>
          <a:ea typeface="+mn-ea"/>
          <a:cs typeface="+mn-cs"/>
        </a:defRPr>
      </a:lvl2pPr>
      <a:lvl3pPr marL="912655" algn="l" defTabSz="912655" rtl="0" eaLnBrk="1" latinLnBrk="0" hangingPunct="1">
        <a:defRPr sz="1809" kern="1200">
          <a:solidFill>
            <a:schemeClr val="tx1"/>
          </a:solidFill>
          <a:latin typeface="+mn-lt"/>
          <a:ea typeface="+mn-ea"/>
          <a:cs typeface="+mn-cs"/>
        </a:defRPr>
      </a:lvl3pPr>
      <a:lvl4pPr marL="1368982" algn="l" defTabSz="912655" rtl="0" eaLnBrk="1" latinLnBrk="0" hangingPunct="1">
        <a:defRPr sz="1809" kern="1200">
          <a:solidFill>
            <a:schemeClr val="tx1"/>
          </a:solidFill>
          <a:latin typeface="+mn-lt"/>
          <a:ea typeface="+mn-ea"/>
          <a:cs typeface="+mn-cs"/>
        </a:defRPr>
      </a:lvl4pPr>
      <a:lvl5pPr marL="1825306" algn="l" defTabSz="912655" rtl="0" eaLnBrk="1" latinLnBrk="0" hangingPunct="1">
        <a:defRPr sz="1809" kern="1200">
          <a:solidFill>
            <a:schemeClr val="tx1"/>
          </a:solidFill>
          <a:latin typeface="+mn-lt"/>
          <a:ea typeface="+mn-ea"/>
          <a:cs typeface="+mn-cs"/>
        </a:defRPr>
      </a:lvl5pPr>
      <a:lvl6pPr marL="2281635" algn="l" defTabSz="912655" rtl="0" eaLnBrk="1" latinLnBrk="0" hangingPunct="1">
        <a:defRPr sz="1809" kern="1200">
          <a:solidFill>
            <a:schemeClr val="tx1"/>
          </a:solidFill>
          <a:latin typeface="+mn-lt"/>
          <a:ea typeface="+mn-ea"/>
          <a:cs typeface="+mn-cs"/>
        </a:defRPr>
      </a:lvl6pPr>
      <a:lvl7pPr marL="2737962" algn="l" defTabSz="912655" rtl="0" eaLnBrk="1" latinLnBrk="0" hangingPunct="1">
        <a:defRPr sz="1809" kern="1200">
          <a:solidFill>
            <a:schemeClr val="tx1"/>
          </a:solidFill>
          <a:latin typeface="+mn-lt"/>
          <a:ea typeface="+mn-ea"/>
          <a:cs typeface="+mn-cs"/>
        </a:defRPr>
      </a:lvl7pPr>
      <a:lvl8pPr marL="3194288" algn="l" defTabSz="912655" rtl="0" eaLnBrk="1" latinLnBrk="0" hangingPunct="1">
        <a:defRPr sz="1809" kern="1200">
          <a:solidFill>
            <a:schemeClr val="tx1"/>
          </a:solidFill>
          <a:latin typeface="+mn-lt"/>
          <a:ea typeface="+mn-ea"/>
          <a:cs typeface="+mn-cs"/>
        </a:defRPr>
      </a:lvl8pPr>
      <a:lvl9pPr marL="3650615" algn="l" defTabSz="912655" rtl="0" eaLnBrk="1" latinLnBrk="0" hangingPunct="1">
        <a:defRPr sz="1809"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7401" userDrawn="1">
          <p15:clr>
            <a:srgbClr val="F26B43"/>
          </p15:clr>
        </p15:guide>
        <p15:guide id="13" orient="horz" pos="278" userDrawn="1">
          <p15:clr>
            <a:srgbClr val="F26B43"/>
          </p15:clr>
        </p15:guide>
        <p15:guide id="17" orient="horz" pos="572" userDrawn="1">
          <p15:clr>
            <a:srgbClr val="F26B43"/>
          </p15:clr>
        </p15:guide>
        <p15:guide id="18" orient="horz" pos="4042" userDrawn="1">
          <p15:clr>
            <a:srgbClr val="F26B43"/>
          </p15:clr>
        </p15:guide>
        <p15:guide id="21" orient="horz" pos="3906" userDrawn="1">
          <p15:clr>
            <a:srgbClr val="F26B43"/>
          </p15:clr>
        </p15:guide>
        <p15:guide id="23" orient="horz" pos="867" userDrawn="1">
          <p15:clr>
            <a:srgbClr val="F26B43"/>
          </p15:clr>
        </p15:guide>
        <p15:guide id="24" pos="3840" userDrawn="1">
          <p15:clr>
            <a:srgbClr val="F26B43"/>
          </p15:clr>
        </p15:guide>
        <p15:guide id="25" orient="horz" pos="2387" userDrawn="1">
          <p15:clr>
            <a:srgbClr val="F26B43"/>
          </p15:clr>
        </p15:guide>
        <p15:guide id="26" pos="27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9C5AC6B-C286-1BE2-86C9-8E36D76D122D}"/>
              </a:ext>
            </a:extLst>
          </p:cNvPr>
          <p:cNvSpPr txBox="1"/>
          <p:nvPr userDrawn="1"/>
        </p:nvSpPr>
        <p:spPr>
          <a:xfrm>
            <a:off x="1601282" y="6370017"/>
            <a:ext cx="10026885" cy="451277"/>
          </a:xfrm>
          <a:prstGeom prst="rect">
            <a:avLst/>
          </a:prstGeom>
          <a:noFill/>
        </p:spPr>
        <p:txBody>
          <a:bodyPr wrap="square" lIns="0" tIns="0" rIns="0" bIns="0" rtlCol="0">
            <a:spAutoFit/>
          </a:bodyPr>
          <a:lstStyle/>
          <a:p>
            <a:pPr marL="0" marR="0" lvl="0" indent="0" algn="l" defTabSz="1009132" rtl="0" eaLnBrk="1" fontAlgn="auto" latinLnBrk="0" hangingPunct="1">
              <a:lnSpc>
                <a:spcPts val="720"/>
              </a:lnSpc>
              <a:spcBef>
                <a:spcPct val="0"/>
              </a:spcBef>
              <a:spcAft>
                <a:spcPct val="0"/>
              </a:spcAft>
              <a:buClrTx/>
              <a:buSzTx/>
              <a:buFontTx/>
              <a:buNone/>
              <a:defRPr/>
            </a:pPr>
            <a:r>
              <a:rPr lang="en-US" sz="800" b="0" i="0" u="none" strike="noStrike" kern="1200" baseline="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rPr>
              <a:t>In Europe, Middle East and Africa as well as marketing material, but this is not the case in the U.S. No assurance can be given that any forecast or target can be achieved. Forecasts are based on assumptions, estimates, opinions and hypothetical models which may prove to be incorrect. Past performance is not indicative of future </a:t>
            </a:r>
            <a:r>
              <a:rPr lang="en-US" sz="800" b="0" i="0" u="none" strike="noStrike" kern="1200" baseline="0" err="1">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rPr>
              <a:t>returnsin</a:t>
            </a:r>
            <a:r>
              <a:rPr lang="en-US" sz="800" b="0" i="0" u="none" strike="noStrike" kern="1200" baseline="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rPr>
              <a:t> Asia Pacific this material is considered. Performance refers to a nominal value based on price gains/losses and does not take into account inflation. Inflation will have a negative impact on the purchasing power of this nominal monetary value. Depending on the current level of inflation, this may lead to a real loss in value, even if the nominal performance of the investment is positive. Investments come with risk. The value of an investment can fall as well as rise and you might not get back the amount originally invested at any point in time. Your capital may be at risk.</a:t>
            </a:r>
          </a:p>
        </p:txBody>
      </p:sp>
      <p:sp>
        <p:nvSpPr>
          <p:cNvPr id="13" name="Title Placeholder 12">
            <a:extLst>
              <a:ext uri="{FF2B5EF4-FFF2-40B4-BE49-F238E27FC236}">
                <a16:creationId xmlns:a16="http://schemas.microsoft.com/office/drawing/2014/main" id="{6D0F29C5-DBFE-A152-158C-D0CDDDF0A14C}"/>
              </a:ext>
            </a:extLst>
          </p:cNvPr>
          <p:cNvSpPr>
            <a:spLocks noGrp="1"/>
          </p:cNvSpPr>
          <p:nvPr>
            <p:ph type="title"/>
          </p:nvPr>
        </p:nvSpPr>
        <p:spPr>
          <a:xfrm>
            <a:off x="442912" y="442800"/>
            <a:ext cx="10332000" cy="468000"/>
          </a:xfrm>
          <a:prstGeom prst="rect">
            <a:avLst/>
          </a:prstGeom>
        </p:spPr>
        <p:txBody>
          <a:bodyPr vert="horz" lIns="0" tIns="0" rIns="0" bIns="0" rtlCol="0" anchor="t" anchorCtr="0">
            <a:noAutofit/>
          </a:bodyPr>
          <a:lstStyle/>
          <a:p>
            <a:r>
              <a:rPr lang="en-GB" noProof="0"/>
              <a:t>Edit title</a:t>
            </a:r>
            <a:endParaRPr lang="en-GB"/>
          </a:p>
        </p:txBody>
      </p:sp>
      <p:sp>
        <p:nvSpPr>
          <p:cNvPr id="12" name="Grafik 9" descr="Blue Deutsche Bank logo">
            <a:extLst>
              <a:ext uri="{FF2B5EF4-FFF2-40B4-BE49-F238E27FC236}">
                <a16:creationId xmlns:a16="http://schemas.microsoft.com/office/drawing/2014/main" id="{B29001C1-63DA-2119-A100-853E4B7B6C6E}"/>
              </a:ext>
            </a:extLst>
          </p:cNvPr>
          <p:cNvSpPr>
            <a:spLocks noChangeAspect="1"/>
          </p:cNvSpPr>
          <p:nvPr userDrawn="1"/>
        </p:nvSpPr>
        <p:spPr>
          <a:xfrm>
            <a:off x="11282400" y="441325"/>
            <a:ext cx="468000" cy="468000"/>
          </a:xfrm>
          <a:custGeom>
            <a:avLst/>
            <a:gdLst>
              <a:gd name="connsiteX0" fmla="*/ 385667 w 2699994"/>
              <a:gd name="connsiteY0" fmla="*/ 2314346 h 2700004"/>
              <a:gd name="connsiteX1" fmla="*/ 2314146 w 2699994"/>
              <a:gd name="connsiteY1" fmla="*/ 2314346 h 2700004"/>
              <a:gd name="connsiteX2" fmla="*/ 2314146 w 2699994"/>
              <a:gd name="connsiteY2" fmla="*/ 385658 h 2700004"/>
              <a:gd name="connsiteX3" fmla="*/ 385667 w 2699994"/>
              <a:gd name="connsiteY3" fmla="*/ 385658 h 2700004"/>
              <a:gd name="connsiteX4" fmla="*/ 385667 w 2699994"/>
              <a:gd name="connsiteY4" fmla="*/ 2314346 h 2700004"/>
              <a:gd name="connsiteX5" fmla="*/ 0 w 2699994"/>
              <a:gd name="connsiteY5" fmla="*/ 0 h 2700004"/>
              <a:gd name="connsiteX6" fmla="*/ 2699995 w 2699994"/>
              <a:gd name="connsiteY6" fmla="*/ 0 h 2700004"/>
              <a:gd name="connsiteX7" fmla="*/ 2699995 w 2699994"/>
              <a:gd name="connsiteY7" fmla="*/ 2700004 h 2700004"/>
              <a:gd name="connsiteX8" fmla="*/ 0 w 2699994"/>
              <a:gd name="connsiteY8" fmla="*/ 2700004 h 2700004"/>
              <a:gd name="connsiteX9" fmla="*/ 0 w 2699994"/>
              <a:gd name="connsiteY9" fmla="*/ 0 h 2700004"/>
              <a:gd name="connsiteX10" fmla="*/ 582549 w 2699994"/>
              <a:gd name="connsiteY10" fmla="*/ 2051971 h 2700004"/>
              <a:gd name="connsiteX11" fmla="*/ 1635709 w 2699994"/>
              <a:gd name="connsiteY11" fmla="*/ 648033 h 2700004"/>
              <a:gd name="connsiteX12" fmla="*/ 2117874 w 2699994"/>
              <a:gd name="connsiteY12" fmla="*/ 648033 h 2700004"/>
              <a:gd name="connsiteX13" fmla="*/ 1064714 w 2699994"/>
              <a:gd name="connsiteY13" fmla="*/ 2051971 h 2700004"/>
              <a:gd name="connsiteX14" fmla="*/ 582549 w 2699994"/>
              <a:gd name="connsiteY14" fmla="*/ 2051971 h 270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9994" h="2700004">
                <a:moveTo>
                  <a:pt x="385667" y="2314346"/>
                </a:moveTo>
                <a:lnTo>
                  <a:pt x="2314146" y="2314346"/>
                </a:lnTo>
                <a:lnTo>
                  <a:pt x="2314146" y="385658"/>
                </a:lnTo>
                <a:lnTo>
                  <a:pt x="385667" y="385658"/>
                </a:lnTo>
                <a:lnTo>
                  <a:pt x="385667" y="2314346"/>
                </a:lnTo>
                <a:close/>
                <a:moveTo>
                  <a:pt x="0" y="0"/>
                </a:moveTo>
                <a:lnTo>
                  <a:pt x="2699995" y="0"/>
                </a:lnTo>
                <a:lnTo>
                  <a:pt x="2699995" y="2700004"/>
                </a:lnTo>
                <a:lnTo>
                  <a:pt x="0" y="2700004"/>
                </a:lnTo>
                <a:lnTo>
                  <a:pt x="0" y="0"/>
                </a:lnTo>
                <a:close/>
                <a:moveTo>
                  <a:pt x="582549" y="2051971"/>
                </a:moveTo>
                <a:lnTo>
                  <a:pt x="1635709" y="648033"/>
                </a:lnTo>
                <a:lnTo>
                  <a:pt x="2117874" y="648033"/>
                </a:lnTo>
                <a:lnTo>
                  <a:pt x="1064714" y="2051971"/>
                </a:lnTo>
                <a:lnTo>
                  <a:pt x="582549" y="2051971"/>
                </a:lnTo>
              </a:path>
            </a:pathLst>
          </a:custGeom>
          <a:solidFill>
            <a:schemeClr val="tx1"/>
          </a:solidFill>
          <a:ln w="9525" cap="flat">
            <a:noFill/>
            <a:prstDash val="solid"/>
            <a:miter/>
          </a:ln>
        </p:spPr>
        <p:txBody>
          <a:bodyPr rtlCol="0" anchor="ctr"/>
          <a:lstStyle/>
          <a:p>
            <a:endParaRPr lang="de-DE" sz="2400">
              <a:latin typeface="+mn-lt"/>
              <a:cs typeface="DeutscheBank" panose="020B0503020202030204" pitchFamily="34" charset="0"/>
            </a:endParaRPr>
          </a:p>
        </p:txBody>
      </p:sp>
      <p:sp>
        <p:nvSpPr>
          <p:cNvPr id="4" name="Text Placeholder 3">
            <a:extLst>
              <a:ext uri="{FF2B5EF4-FFF2-40B4-BE49-F238E27FC236}">
                <a16:creationId xmlns:a16="http://schemas.microsoft.com/office/drawing/2014/main" id="{EE665C97-7830-49FC-9697-6D19DA821767}"/>
              </a:ext>
            </a:extLst>
          </p:cNvPr>
          <p:cNvSpPr>
            <a:spLocks noGrp="1"/>
          </p:cNvSpPr>
          <p:nvPr>
            <p:ph type="body" idx="1"/>
          </p:nvPr>
        </p:nvSpPr>
        <p:spPr>
          <a:xfrm>
            <a:off x="442913" y="1376363"/>
            <a:ext cx="11304000" cy="4824412"/>
          </a:xfrm>
          <a:prstGeom prst="rect">
            <a:avLst/>
          </a:prstGeom>
        </p:spPr>
        <p:txBody>
          <a:bodyPr vert="horz" lIns="0" tIns="0" rIns="0" bIns="0" rtlCol="0">
            <a:noAutofit/>
          </a:bodyPr>
          <a:lstStyle/>
          <a:p>
            <a:pPr lvl="0"/>
            <a:r>
              <a:rPr lang="en-GB" noProof="0"/>
              <a:t>Edit text or add objec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Footnote text</a:t>
            </a:r>
          </a:p>
          <a:p>
            <a:pPr lvl="6"/>
            <a:r>
              <a:rPr lang="en-GB" noProof="0"/>
              <a:t>Footnote text</a:t>
            </a:r>
          </a:p>
        </p:txBody>
      </p:sp>
      <p:sp>
        <p:nvSpPr>
          <p:cNvPr id="10" name="Foliennummernplatzhalter 1">
            <a:extLst>
              <a:ext uri="{FF2B5EF4-FFF2-40B4-BE49-F238E27FC236}">
                <a16:creationId xmlns:a16="http://schemas.microsoft.com/office/drawing/2014/main" id="{ADE4BABC-7071-E9E0-45F3-3EBF1391CA25}"/>
              </a:ext>
            </a:extLst>
          </p:cNvPr>
          <p:cNvSpPr>
            <a:spLocks noGrp="1"/>
          </p:cNvSpPr>
          <p:nvPr>
            <p:ph type="sldNum" sz="quarter" idx="4"/>
          </p:nvPr>
        </p:nvSpPr>
        <p:spPr>
          <a:xfrm>
            <a:off x="11281088" y="6416675"/>
            <a:ext cx="468000" cy="144000"/>
          </a:xfrm>
          <a:prstGeom prst="rect">
            <a:avLst/>
          </a:prstGeom>
        </p:spPr>
        <p:txBody>
          <a:bodyPr vert="horz" wrap="none" lIns="0" tIns="0" rIns="0" bIns="0" rtlCol="0" anchor="t" anchorCtr="0">
            <a:noAutofit/>
          </a:bodyPr>
          <a:lstStyle>
            <a:lvl1pPr algn="r">
              <a:lnSpc>
                <a:spcPts val="1067"/>
              </a:lnSpc>
              <a:defRPr sz="1000">
                <a:solidFill>
                  <a:schemeClr val="tx1"/>
                </a:solidFill>
                <a:latin typeface="+mn-lt"/>
                <a:ea typeface="DeutscheBank" panose="020B0503020202030204" pitchFamily="34" charset="0"/>
                <a:cs typeface="DeutscheBank" panose="020B0503020202030204" pitchFamily="34" charset="0"/>
              </a:defRPr>
            </a:lvl1pPr>
          </a:lstStyle>
          <a:p>
            <a:fld id="{D71DA9FD-6EF8-4CC5-AF9B-B6159B5B937C}" type="slidenum">
              <a:rPr lang="en-GB" noProof="1" smtClean="0"/>
              <a:pPr/>
              <a:t>‹#›</a:t>
            </a:fld>
            <a:endParaRPr lang="en-GB" noProof="1"/>
          </a:p>
        </p:txBody>
      </p:sp>
      <p:grpSp>
        <p:nvGrpSpPr>
          <p:cNvPr id="14" name="Gruppieren 1">
            <a:extLst>
              <a:ext uri="{FF2B5EF4-FFF2-40B4-BE49-F238E27FC236}">
                <a16:creationId xmlns:a16="http://schemas.microsoft.com/office/drawing/2014/main" id="{904306EA-0136-6E97-C30E-4D6C7145BB77}"/>
              </a:ext>
            </a:extLst>
          </p:cNvPr>
          <p:cNvGrpSpPr/>
          <p:nvPr userDrawn="1"/>
        </p:nvGrpSpPr>
        <p:grpSpPr>
          <a:xfrm>
            <a:off x="12369686" y="1346597"/>
            <a:ext cx="1548000" cy="4854178"/>
            <a:chOff x="12287533" y="1235484"/>
            <a:chExt cx="1958255" cy="5040446"/>
          </a:xfrm>
        </p:grpSpPr>
        <p:grpSp>
          <p:nvGrpSpPr>
            <p:cNvPr id="15" name="Gruppieren 3">
              <a:extLst>
                <a:ext uri="{FF2B5EF4-FFF2-40B4-BE49-F238E27FC236}">
                  <a16:creationId xmlns:a16="http://schemas.microsoft.com/office/drawing/2014/main" id="{F1F123E5-3127-32F8-6D05-132F2A024976}"/>
                </a:ext>
              </a:extLst>
            </p:cNvPr>
            <p:cNvGrpSpPr/>
            <p:nvPr/>
          </p:nvGrpSpPr>
          <p:grpSpPr>
            <a:xfrm>
              <a:off x="12287533" y="1431070"/>
              <a:ext cx="936000" cy="3373620"/>
              <a:chOff x="-2148144" y="1465073"/>
              <a:chExt cx="1031711" cy="3373620"/>
            </a:xfrm>
          </p:grpSpPr>
          <p:sp>
            <p:nvSpPr>
              <p:cNvPr id="29" name="Rechteck 6">
                <a:extLst>
                  <a:ext uri="{FF2B5EF4-FFF2-40B4-BE49-F238E27FC236}">
                    <a16:creationId xmlns:a16="http://schemas.microsoft.com/office/drawing/2014/main" id="{2B771153-D429-9D3A-BCEC-C97F1B1A705B}"/>
                  </a:ext>
                </a:extLst>
              </p:cNvPr>
              <p:cNvSpPr>
                <a:spLocks/>
              </p:cNvSpPr>
              <p:nvPr/>
            </p:nvSpPr>
            <p:spPr>
              <a:xfrm>
                <a:off x="-2148144" y="1465073"/>
                <a:ext cx="1021762" cy="431139"/>
              </a:xfrm>
              <a:prstGeom prst="rect">
                <a:avLst/>
              </a:prstGeom>
              <a:solidFill>
                <a:srgbClr val="1E2A7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rgbClr val="FFFFFF"/>
                    </a:solidFill>
                    <a:effectLst/>
                    <a:uLnTx/>
                    <a:uFillTx/>
                    <a:ea typeface="+mn-ea"/>
                    <a:cs typeface="+mn-cs"/>
                    <a:sym typeface="Arial"/>
                  </a:rPr>
                  <a:t>Deep Blue</a:t>
                </a:r>
                <a:br>
                  <a:rPr kumimoji="0" lang="de-DE" sz="600" b="0" i="0" u="none" strike="noStrike" kern="0" cap="none" spc="0" normalizeH="0" baseline="0" noProof="0">
                    <a:ln>
                      <a:noFill/>
                    </a:ln>
                    <a:solidFill>
                      <a:srgbClr val="FFFFFF"/>
                    </a:solidFill>
                    <a:effectLst/>
                    <a:uLnTx/>
                    <a:uFillTx/>
                    <a:ea typeface="+mn-ea"/>
                    <a:cs typeface="+mn-cs"/>
                    <a:sym typeface="Arial"/>
                  </a:rPr>
                </a:br>
                <a:r>
                  <a:rPr kumimoji="0" lang="de-DE" sz="600" b="0" i="0" u="none" strike="noStrike" kern="0" cap="none" spc="0" normalizeH="0" baseline="0" noProof="0">
                    <a:ln>
                      <a:noFill/>
                    </a:ln>
                    <a:solidFill>
                      <a:srgbClr val="FFFFFF"/>
                    </a:solidFill>
                    <a:effectLst/>
                    <a:uLnTx/>
                    <a:uFillTx/>
                    <a:ea typeface="+mn-ea"/>
                    <a:cs typeface="+mn-cs"/>
                    <a:sym typeface="Arial"/>
                  </a:rPr>
                  <a:t>30|42|120</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p:txBody>
          </p:sp>
          <p:sp>
            <p:nvSpPr>
              <p:cNvPr id="30" name="Rechteck 7">
                <a:extLst>
                  <a:ext uri="{FF2B5EF4-FFF2-40B4-BE49-F238E27FC236}">
                    <a16:creationId xmlns:a16="http://schemas.microsoft.com/office/drawing/2014/main" id="{DCEC44BE-7608-9D1F-B4CE-BA950A08362D}"/>
                  </a:ext>
                </a:extLst>
              </p:cNvPr>
              <p:cNvSpPr>
                <a:spLocks/>
              </p:cNvSpPr>
              <p:nvPr/>
            </p:nvSpPr>
            <p:spPr>
              <a:xfrm>
                <a:off x="-2146099" y="1955486"/>
                <a:ext cx="1021762" cy="431139"/>
              </a:xfrm>
              <a:prstGeom prst="rect">
                <a:avLst/>
              </a:prstGeom>
              <a:solidFill>
                <a:srgbClr val="16184E"/>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rgbClr val="FFFFFF"/>
                    </a:solidFill>
                    <a:effectLst/>
                    <a:uLnTx/>
                    <a:uFillTx/>
                    <a:ea typeface="+mn-ea"/>
                    <a:cs typeface="+mn-cs"/>
                    <a:sym typeface="Arial"/>
                  </a:rPr>
                  <a:t>Dark Blue</a:t>
                </a:r>
                <a:br>
                  <a:rPr kumimoji="0" lang="de-DE" sz="600" b="0" i="0" u="none" strike="noStrike" kern="0" cap="none" spc="0" normalizeH="0" baseline="0" noProof="0">
                    <a:ln>
                      <a:noFill/>
                    </a:ln>
                    <a:solidFill>
                      <a:srgbClr val="FFFFFF"/>
                    </a:solidFill>
                    <a:effectLst/>
                    <a:uLnTx/>
                    <a:uFillTx/>
                    <a:ea typeface="+mn-ea"/>
                    <a:cs typeface="+mn-cs"/>
                    <a:sym typeface="Arial"/>
                  </a:rPr>
                </a:br>
                <a:r>
                  <a:rPr kumimoji="0" lang="de-DE" sz="600" b="0" i="0" u="none" strike="noStrike" kern="0" cap="none" spc="0" normalizeH="0" baseline="0" noProof="0">
                    <a:ln>
                      <a:noFill/>
                    </a:ln>
                    <a:solidFill>
                      <a:srgbClr val="FFFFFF"/>
                    </a:solidFill>
                    <a:effectLst/>
                    <a:uLnTx/>
                    <a:uFillTx/>
                    <a:ea typeface="+mn-ea"/>
                    <a:cs typeface="+mn-cs"/>
                    <a:sym typeface="Arial"/>
                  </a:rPr>
                  <a:t>22|24|78</a:t>
                </a:r>
                <a:br>
                  <a:rPr kumimoji="0" lang="de-DE" sz="600" b="0" i="0" u="none" strike="noStrike" kern="0" cap="none" spc="0" normalizeH="0" baseline="0" noProof="0">
                    <a:ln>
                      <a:noFill/>
                    </a:ln>
                    <a:solidFill>
                      <a:srgbClr val="FFFFFF"/>
                    </a:solidFill>
                    <a:effectLst/>
                    <a:uLnTx/>
                    <a:uFillTx/>
                    <a:ea typeface="+mn-ea"/>
                    <a:cs typeface="+mn-cs"/>
                    <a:sym typeface="Arial"/>
                  </a:rPr>
                </a:br>
                <a:br>
                  <a:rPr kumimoji="0" lang="de-DE" sz="600" b="0" i="0" u="none" strike="noStrike" kern="0" cap="none" spc="0" normalizeH="0" baseline="0" noProof="0">
                    <a:ln>
                      <a:noFill/>
                    </a:ln>
                    <a:solidFill>
                      <a:srgbClr val="FFFFFF"/>
                    </a:solidFill>
                    <a:effectLst/>
                    <a:uLnTx/>
                    <a:uFillTx/>
                    <a:ea typeface="+mn-ea"/>
                    <a:cs typeface="+mn-cs"/>
                    <a:sym typeface="Arial"/>
                  </a:rPr>
                </a:b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rgbClr val="FFFFFF"/>
                  </a:solidFill>
                  <a:effectLst/>
                  <a:uLnTx/>
                  <a:uFillTx/>
                  <a:ea typeface="+mn-ea"/>
                  <a:cs typeface="+mn-cs"/>
                  <a:sym typeface="Arial"/>
                </a:endParaRPr>
              </a:p>
            </p:txBody>
          </p:sp>
          <p:sp>
            <p:nvSpPr>
              <p:cNvPr id="31" name="Rechteck 8">
                <a:extLst>
                  <a:ext uri="{FF2B5EF4-FFF2-40B4-BE49-F238E27FC236}">
                    <a16:creationId xmlns:a16="http://schemas.microsoft.com/office/drawing/2014/main" id="{3601D507-A556-0D70-8D54-23AB4AC8840E}"/>
                  </a:ext>
                </a:extLst>
              </p:cNvPr>
              <p:cNvSpPr>
                <a:spLocks/>
              </p:cNvSpPr>
              <p:nvPr/>
            </p:nvSpPr>
            <p:spPr>
              <a:xfrm>
                <a:off x="-2146099" y="2445900"/>
                <a:ext cx="1021762" cy="431139"/>
              </a:xfrm>
              <a:prstGeom prst="rect">
                <a:avLst/>
              </a:prstGeom>
              <a:solidFill>
                <a:srgbClr val="00A3E0"/>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600" b="0" i="0" u="none" strike="noStrike" kern="0" cap="none" spc="0" normalizeH="0" baseline="0" noProof="0">
                    <a:ln>
                      <a:noFill/>
                    </a:ln>
                    <a:solidFill>
                      <a:schemeClr val="tx1"/>
                    </a:solidFill>
                    <a:effectLst/>
                    <a:uLnTx/>
                    <a:uFillTx/>
                    <a:ea typeface="+mn-ea"/>
                    <a:cs typeface="+mn-cs"/>
                    <a:sym typeface="Arial"/>
                  </a:rPr>
                  <a:t>Bright Blue</a:t>
                </a:r>
                <a:br>
                  <a:rPr kumimoji="0" lang="de-DE" sz="600" b="0" i="0" u="none" strike="noStrike" kern="0" cap="none" spc="0" normalizeH="0" baseline="0" noProof="0">
                    <a:ln>
                      <a:noFill/>
                    </a:ln>
                    <a:solidFill>
                      <a:schemeClr val="tx1"/>
                    </a:solidFill>
                    <a:effectLst/>
                    <a:uLnTx/>
                    <a:uFillTx/>
                    <a:ea typeface="+mn-ea"/>
                    <a:cs typeface="+mn-cs"/>
                    <a:sym typeface="Arial"/>
                  </a:rPr>
                </a:br>
                <a:r>
                  <a:rPr kumimoji="0" lang="de-DE" sz="600" b="0" i="0" u="none" strike="noStrike" kern="0" cap="none" spc="0" normalizeH="0" baseline="0" noProof="0">
                    <a:ln>
                      <a:noFill/>
                    </a:ln>
                    <a:solidFill>
                      <a:schemeClr val="tx1"/>
                    </a:solidFill>
                    <a:effectLst/>
                    <a:uLnTx/>
                    <a:uFillTx/>
                    <a:ea typeface="+mn-ea"/>
                    <a:cs typeface="+mn-cs"/>
                    <a:sym typeface="Arial"/>
                  </a:rPr>
                  <a:t>0|163|224</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br>
                  <a:rPr kumimoji="0" lang="de-DE" sz="600" b="0" i="0" u="none" strike="noStrike" kern="0" cap="none" spc="0" normalizeH="0" baseline="0" noProof="0">
                    <a:ln>
                      <a:noFill/>
                    </a:ln>
                    <a:solidFill>
                      <a:schemeClr val="tx1"/>
                    </a:solidFill>
                    <a:effectLst/>
                    <a:uLnTx/>
                    <a:uFillTx/>
                    <a:ea typeface="+mn-ea"/>
                    <a:cs typeface="+mn-cs"/>
                    <a:sym typeface="Arial"/>
                  </a:rPr>
                </a:b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600" b="0" i="0" u="none" strike="noStrike" kern="0" cap="none" spc="0" normalizeH="0" baseline="0" noProof="0">
                  <a:ln>
                    <a:noFill/>
                  </a:ln>
                  <a:solidFill>
                    <a:schemeClr val="tx1"/>
                  </a:solidFill>
                  <a:effectLst/>
                  <a:uLnTx/>
                  <a:uFillTx/>
                  <a:ea typeface="+mn-ea"/>
                  <a:cs typeface="+mn-cs"/>
                  <a:sym typeface="Arial"/>
                </a:endParaRPr>
              </a:p>
            </p:txBody>
          </p:sp>
          <p:sp>
            <p:nvSpPr>
              <p:cNvPr id="32" name="Rechteck 9">
                <a:extLst>
                  <a:ext uri="{FF2B5EF4-FFF2-40B4-BE49-F238E27FC236}">
                    <a16:creationId xmlns:a16="http://schemas.microsoft.com/office/drawing/2014/main" id="{1824343C-F0CF-9E2F-72EE-714DD47E39F5}"/>
                  </a:ext>
                </a:extLst>
              </p:cNvPr>
              <p:cNvSpPr>
                <a:spLocks/>
              </p:cNvSpPr>
              <p:nvPr/>
            </p:nvSpPr>
            <p:spPr>
              <a:xfrm>
                <a:off x="-2146099" y="2936314"/>
                <a:ext cx="1021762" cy="431139"/>
              </a:xfrm>
              <a:prstGeom prst="rect">
                <a:avLst/>
              </a:prstGeom>
              <a:solidFill>
                <a:srgbClr val="00D1F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Vibrant Cyan</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0|209|255</a:t>
                </a:r>
              </a:p>
            </p:txBody>
          </p:sp>
          <p:sp>
            <p:nvSpPr>
              <p:cNvPr id="33" name="Rechteck 10">
                <a:extLst>
                  <a:ext uri="{FF2B5EF4-FFF2-40B4-BE49-F238E27FC236}">
                    <a16:creationId xmlns:a16="http://schemas.microsoft.com/office/drawing/2014/main" id="{C88D2EA6-2F85-7392-BBC3-7AF69EECB641}"/>
                  </a:ext>
                </a:extLst>
              </p:cNvPr>
              <p:cNvSpPr>
                <a:spLocks/>
              </p:cNvSpPr>
              <p:nvPr/>
            </p:nvSpPr>
            <p:spPr>
              <a:xfrm>
                <a:off x="-2144049" y="3426727"/>
                <a:ext cx="1021762" cy="431139"/>
              </a:xfrm>
              <a:prstGeom prst="rect">
                <a:avLst/>
              </a:prstGeom>
              <a:solidFill>
                <a:srgbClr val="CCEDF9"/>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Bright Blue 20%</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204|237|249</a:t>
                </a:r>
              </a:p>
            </p:txBody>
          </p:sp>
          <p:sp>
            <p:nvSpPr>
              <p:cNvPr id="34" name="Rechteck 20">
                <a:extLst>
                  <a:ext uri="{FF2B5EF4-FFF2-40B4-BE49-F238E27FC236}">
                    <a16:creationId xmlns:a16="http://schemas.microsoft.com/office/drawing/2014/main" id="{088A45AB-5793-82D4-D560-43684AD9002D}"/>
                  </a:ext>
                </a:extLst>
              </p:cNvPr>
              <p:cNvSpPr>
                <a:spLocks/>
              </p:cNvSpPr>
              <p:nvPr/>
            </p:nvSpPr>
            <p:spPr>
              <a:xfrm>
                <a:off x="-2140245" y="3917139"/>
                <a:ext cx="1021762" cy="431139"/>
              </a:xfrm>
              <a:prstGeom prst="rect">
                <a:avLst/>
              </a:prstGeom>
              <a:solidFill>
                <a:srgbClr val="E1F5FA"/>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Bright Blue 10%</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225|245|250</a:t>
                </a:r>
              </a:p>
            </p:txBody>
          </p:sp>
          <p:sp>
            <p:nvSpPr>
              <p:cNvPr id="35" name="Rechteck 10">
                <a:extLst>
                  <a:ext uri="{FF2B5EF4-FFF2-40B4-BE49-F238E27FC236}">
                    <a16:creationId xmlns:a16="http://schemas.microsoft.com/office/drawing/2014/main" id="{661B7027-BD3B-70C7-A376-18998B9D8A48}"/>
                  </a:ext>
                </a:extLst>
              </p:cNvPr>
              <p:cNvSpPr>
                <a:spLocks/>
              </p:cNvSpPr>
              <p:nvPr/>
            </p:nvSpPr>
            <p:spPr>
              <a:xfrm>
                <a:off x="-2138195" y="4407554"/>
                <a:ext cx="1021762" cy="431139"/>
              </a:xfrm>
              <a:prstGeom prst="rect">
                <a:avLst/>
              </a:prstGeom>
              <a:solidFill>
                <a:srgbClr val="EDF1F7"/>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Grey</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chemeClr val="tx1"/>
                    </a:solidFill>
                    <a:effectLst/>
                    <a:uLnTx/>
                    <a:uFillTx/>
                    <a:ea typeface="+mn-ea"/>
                    <a:cs typeface="+mn-cs"/>
                    <a:sym typeface="Arial"/>
                  </a:rPr>
                  <a:t>337|241|247</a:t>
                </a:r>
              </a:p>
            </p:txBody>
          </p:sp>
        </p:grpSp>
        <p:sp>
          <p:nvSpPr>
            <p:cNvPr id="16" name="TwoC_TitleL">
              <a:extLst>
                <a:ext uri="{FF2B5EF4-FFF2-40B4-BE49-F238E27FC236}">
                  <a16:creationId xmlns:a16="http://schemas.microsoft.com/office/drawing/2014/main" id="{A3682A6A-1DF2-8CC8-4147-D1F5503C6320}"/>
                </a:ext>
              </a:extLst>
            </p:cNvPr>
            <p:cNvSpPr txBox="1">
              <a:spLocks noChangeArrowheads="1"/>
            </p:cNvSpPr>
            <p:nvPr/>
          </p:nvSpPr>
          <p:spPr bwMode="auto">
            <a:xfrm>
              <a:off x="12287533" y="1235484"/>
              <a:ext cx="936000" cy="161583"/>
            </a:xfrm>
            <a:prstGeom prst="rect">
              <a:avLst/>
            </a:prstGeom>
            <a:noFill/>
            <a:ln w="12700">
              <a:noFill/>
              <a:miter lim="800000"/>
              <a:headEnd/>
              <a:tailEnd/>
            </a:ln>
          </p:spPr>
          <p:txBody>
            <a:bodyPr wrap="square" lIns="0" tIns="0" rIns="0" bIns="0" anchor="t" anchorCtr="0">
              <a:prstTxWarp prst="textNoShape">
                <a:avLst/>
              </a:prstTxWarp>
              <a:spAutoFit/>
            </a:bodyPr>
            <a:lstStyle/>
            <a:p>
              <a:r>
                <a:rPr lang="en-GB" sz="1050" b="1">
                  <a:solidFill>
                    <a:srgbClr val="1E2A78"/>
                  </a:solidFill>
                  <a:latin typeface="+mn-lt"/>
                  <a:ea typeface="DeutscheBank" panose="020B0503020202030204" pitchFamily="34" charset="0"/>
                  <a:cs typeface="DeutscheBank" panose="020B0503020202030204" pitchFamily="34" charset="0"/>
                </a:rPr>
                <a:t>Primary</a:t>
              </a:r>
            </a:p>
          </p:txBody>
        </p:sp>
        <p:grpSp>
          <p:nvGrpSpPr>
            <p:cNvPr id="17" name="Gruppieren 6">
              <a:extLst>
                <a:ext uri="{FF2B5EF4-FFF2-40B4-BE49-F238E27FC236}">
                  <a16:creationId xmlns:a16="http://schemas.microsoft.com/office/drawing/2014/main" id="{9BB88AF4-035D-0E19-8501-CF7A3BC5963E}"/>
                </a:ext>
              </a:extLst>
            </p:cNvPr>
            <p:cNvGrpSpPr/>
            <p:nvPr/>
          </p:nvGrpSpPr>
          <p:grpSpPr>
            <a:xfrm>
              <a:off x="13309787" y="1431070"/>
              <a:ext cx="936000" cy="4844860"/>
              <a:chOff x="1033061" y="2220734"/>
              <a:chExt cx="1020455" cy="11436844"/>
            </a:xfrm>
          </p:grpSpPr>
          <p:sp>
            <p:nvSpPr>
              <p:cNvPr id="19" name="Rectangle 13">
                <a:extLst>
                  <a:ext uri="{FF2B5EF4-FFF2-40B4-BE49-F238E27FC236}">
                    <a16:creationId xmlns:a16="http://schemas.microsoft.com/office/drawing/2014/main" id="{DAD3A84F-919D-6ED3-A7FE-C9B2601D53B9}"/>
                  </a:ext>
                </a:extLst>
              </p:cNvPr>
              <p:cNvSpPr>
                <a:spLocks noChangeArrowheads="1"/>
              </p:cNvSpPr>
              <p:nvPr/>
            </p:nvSpPr>
            <p:spPr bwMode="ltGray">
              <a:xfrm>
                <a:off x="1036912" y="6852509"/>
                <a:ext cx="1016604" cy="1016602"/>
              </a:xfrm>
              <a:prstGeom prst="rect">
                <a:avLst/>
              </a:prstGeom>
              <a:solidFill>
                <a:srgbClr val="A1AC05"/>
              </a:solidFill>
              <a:ln w="12700">
                <a:noFill/>
                <a:round/>
                <a:headEnd/>
                <a:tailEnd/>
              </a:ln>
            </p:spPr>
            <p:txBody>
              <a:bodyPr wrap="none" lIns="72000" tIns="72000" rIns="72000" bIns="72000" anchor="t" anchorCtr="0"/>
              <a:lstStyle/>
              <a:p>
                <a:pPr eaLnBrk="0" hangingPunct="0"/>
                <a:r>
                  <a:rPr lang="en-GB" sz="600">
                    <a:cs typeface="DeutscheBank" panose="020B0503020202030204" pitchFamily="34" charset="0"/>
                  </a:rPr>
                  <a:t>Autumn Green</a:t>
                </a:r>
              </a:p>
              <a:p>
                <a:r>
                  <a:rPr lang="en-GB" sz="600">
                    <a:ea typeface="DeutscheBank" panose="020B0503020202030204" pitchFamily="34" charset="0"/>
                    <a:cs typeface="DeutscheBank" panose="020B0503020202030204" pitchFamily="34" charset="0"/>
                  </a:rPr>
                  <a:t>16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7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5</a:t>
                </a:r>
              </a:p>
            </p:txBody>
          </p:sp>
          <p:sp>
            <p:nvSpPr>
              <p:cNvPr id="20" name="Rectangle 19">
                <a:extLst>
                  <a:ext uri="{FF2B5EF4-FFF2-40B4-BE49-F238E27FC236}">
                    <a16:creationId xmlns:a16="http://schemas.microsoft.com/office/drawing/2014/main" id="{853B43AA-4E4B-E08C-5D8B-09B45AA0FCF2}"/>
                  </a:ext>
                </a:extLst>
              </p:cNvPr>
              <p:cNvSpPr>
                <a:spLocks noChangeArrowheads="1"/>
              </p:cNvSpPr>
              <p:nvPr/>
            </p:nvSpPr>
            <p:spPr bwMode="ltGray">
              <a:xfrm>
                <a:off x="1036912" y="2220734"/>
                <a:ext cx="1016604" cy="1016602"/>
              </a:xfrm>
              <a:prstGeom prst="rect">
                <a:avLst/>
              </a:prstGeom>
              <a:solidFill>
                <a:srgbClr val="3BB8B8"/>
              </a:solidFill>
              <a:ln w="12700">
                <a:noFill/>
                <a:round/>
                <a:headEnd/>
                <a:tailEnd/>
              </a:ln>
            </p:spPr>
            <p:txBody>
              <a:bodyPr wrap="none" lIns="72000" tIns="72000" rIns="72000" bIns="72000" anchor="t" anchorCtr="0"/>
              <a:lstStyle/>
              <a:p>
                <a:r>
                  <a:rPr lang="en-GB" sz="600">
                    <a:cs typeface="DeutscheBank" panose="020B0503020202030204" pitchFamily="34" charset="0"/>
                  </a:rPr>
                  <a:t>Turquoise</a:t>
                </a:r>
              </a:p>
              <a:p>
                <a:r>
                  <a:rPr lang="en-GB" sz="600">
                    <a:ea typeface="DeutscheBank" panose="020B0503020202030204" pitchFamily="34" charset="0"/>
                    <a:cs typeface="DeutscheBank" panose="020B0503020202030204" pitchFamily="34" charset="0"/>
                  </a:rPr>
                  <a:t>59</a:t>
                </a:r>
                <a:r>
                  <a:rPr kumimoji="0" lang="de-DE" sz="600" b="0" i="0" u="none" strike="noStrike" kern="0" cap="none" spc="0" normalizeH="0" baseline="0" noProof="0">
                    <a:ln>
                      <a:noFill/>
                    </a:ln>
                    <a:effectLst/>
                    <a:uLnTx/>
                    <a:uFillTx/>
                    <a:ea typeface="+mn-ea"/>
                    <a:cs typeface="+mn-cs"/>
                    <a:sym typeface="Arial"/>
                  </a:rPr>
                  <a:t>|</a:t>
                </a:r>
                <a:r>
                  <a:rPr kumimoji="0" lang="en-GB" sz="600" b="0" i="0" u="none" strike="noStrike" kern="0" cap="none" spc="0" normalizeH="0" baseline="0" noProof="0">
                    <a:ln>
                      <a:noFill/>
                    </a:ln>
                    <a:effectLst/>
                    <a:uLnTx/>
                    <a:uFillTx/>
                    <a:ea typeface="DeutscheBank" panose="020B0503020202030204" pitchFamily="34" charset="0"/>
                    <a:cs typeface="DeutscheBank" panose="020B0503020202030204" pitchFamily="34" charset="0"/>
                    <a:sym typeface="Arial"/>
                  </a:rPr>
                  <a:t>184</a:t>
                </a:r>
                <a:r>
                  <a:rPr kumimoji="0" lang="de-DE" sz="600" b="0" i="0" u="none" strike="noStrike" kern="0" cap="none" spc="0" normalizeH="0" baseline="0" noProof="0">
                    <a:ln>
                      <a:noFill/>
                    </a:ln>
                    <a:effectLst/>
                    <a:uLnTx/>
                    <a:uFillTx/>
                    <a:ea typeface="+mn-ea"/>
                    <a:cs typeface="+mn-cs"/>
                    <a:sym typeface="Arial"/>
                  </a:rPr>
                  <a:t>|</a:t>
                </a:r>
                <a:r>
                  <a:rPr kumimoji="0" lang="en-GB" sz="600" b="0" i="0" u="none" strike="noStrike" kern="0" cap="none" spc="0" normalizeH="0" baseline="0" noProof="0">
                    <a:ln>
                      <a:noFill/>
                    </a:ln>
                    <a:effectLst/>
                    <a:uLnTx/>
                    <a:uFillTx/>
                    <a:ea typeface="DeutscheBank" panose="020B0503020202030204" pitchFamily="34" charset="0"/>
                    <a:cs typeface="DeutscheBank" panose="020B0503020202030204" pitchFamily="34" charset="0"/>
                    <a:sym typeface="Arial"/>
                  </a:rPr>
                  <a:t>184</a:t>
                </a:r>
                <a:endParaRPr lang="en-GB" sz="600">
                  <a:ea typeface="DeutscheBank" panose="020B0503020202030204" pitchFamily="34" charset="0"/>
                  <a:cs typeface="DeutscheBank" panose="020B0503020202030204" pitchFamily="34" charset="0"/>
                </a:endParaRPr>
              </a:p>
            </p:txBody>
          </p:sp>
          <p:sp>
            <p:nvSpPr>
              <p:cNvPr id="21" name="Rectangle 20">
                <a:extLst>
                  <a:ext uri="{FF2B5EF4-FFF2-40B4-BE49-F238E27FC236}">
                    <a16:creationId xmlns:a16="http://schemas.microsoft.com/office/drawing/2014/main" id="{A246BBC3-3E4E-9E1D-502E-B8524263D8B7}"/>
                  </a:ext>
                </a:extLst>
              </p:cNvPr>
              <p:cNvSpPr>
                <a:spLocks noChangeArrowheads="1"/>
              </p:cNvSpPr>
              <p:nvPr/>
            </p:nvSpPr>
            <p:spPr bwMode="ltGray">
              <a:xfrm>
                <a:off x="1036912" y="3378677"/>
                <a:ext cx="1016604" cy="1016602"/>
              </a:xfrm>
              <a:prstGeom prst="rect">
                <a:avLst/>
              </a:prstGeom>
              <a:solidFill>
                <a:srgbClr val="24778D"/>
              </a:solidFill>
              <a:ln w="12700">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Petrol</a:t>
                </a:r>
              </a:p>
              <a:p>
                <a:r>
                  <a:rPr lang="en-GB" sz="600">
                    <a:solidFill>
                      <a:schemeClr val="bg1"/>
                    </a:solidFill>
                    <a:ea typeface="DeutscheBank" panose="020B0503020202030204" pitchFamily="34" charset="0"/>
                    <a:cs typeface="DeutscheBank" panose="020B0503020202030204" pitchFamily="34" charset="0"/>
                  </a:rPr>
                  <a:t>36</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119</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141</a:t>
                </a:r>
              </a:p>
            </p:txBody>
          </p:sp>
          <p:sp>
            <p:nvSpPr>
              <p:cNvPr id="22" name="Rectangle 21">
                <a:extLst>
                  <a:ext uri="{FF2B5EF4-FFF2-40B4-BE49-F238E27FC236}">
                    <a16:creationId xmlns:a16="http://schemas.microsoft.com/office/drawing/2014/main" id="{F211E62A-EAEE-A25E-DD42-030AEDFEEA04}"/>
                  </a:ext>
                </a:extLst>
              </p:cNvPr>
              <p:cNvSpPr>
                <a:spLocks noChangeArrowheads="1"/>
              </p:cNvSpPr>
              <p:nvPr/>
            </p:nvSpPr>
            <p:spPr bwMode="ltGray">
              <a:xfrm>
                <a:off x="1036912" y="4536621"/>
                <a:ext cx="1016604" cy="1016602"/>
              </a:xfrm>
              <a:prstGeom prst="rect">
                <a:avLst/>
              </a:prstGeom>
              <a:solidFill>
                <a:srgbClr val="25A62D"/>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ummer Green</a:t>
                </a:r>
              </a:p>
              <a:p>
                <a:pPr>
                  <a:defRPr/>
                </a:pPr>
                <a:r>
                  <a:rPr lang="en-GB" sz="600">
                    <a:ea typeface="DeutscheBank" panose="020B0503020202030204" pitchFamily="34" charset="0"/>
                    <a:cs typeface="DeutscheBank" panose="020B0503020202030204" pitchFamily="34" charset="0"/>
                  </a:rPr>
                  <a:t>37</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66</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45</a:t>
                </a:r>
              </a:p>
            </p:txBody>
          </p:sp>
          <p:sp>
            <p:nvSpPr>
              <p:cNvPr id="23" name="Rectangle 22">
                <a:extLst>
                  <a:ext uri="{FF2B5EF4-FFF2-40B4-BE49-F238E27FC236}">
                    <a16:creationId xmlns:a16="http://schemas.microsoft.com/office/drawing/2014/main" id="{D7A9A3C3-3DF5-7913-2AE9-1A0CEDB37BF9}"/>
                  </a:ext>
                </a:extLst>
              </p:cNvPr>
              <p:cNvSpPr>
                <a:spLocks noChangeArrowheads="1"/>
              </p:cNvSpPr>
              <p:nvPr/>
            </p:nvSpPr>
            <p:spPr bwMode="ltGray">
              <a:xfrm>
                <a:off x="1036912" y="5694565"/>
                <a:ext cx="1016604" cy="1016602"/>
              </a:xfrm>
              <a:prstGeom prst="rect">
                <a:avLst/>
              </a:prstGeom>
              <a:solidFill>
                <a:srgbClr val="C9DD03"/>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pring Green</a:t>
                </a:r>
              </a:p>
              <a:p>
                <a:pPr>
                  <a:defRPr/>
                </a:pPr>
                <a:r>
                  <a:rPr lang="en-GB" sz="600">
                    <a:ea typeface="DeutscheBank" panose="020B0503020202030204" pitchFamily="34" charset="0"/>
                    <a:cs typeface="DeutscheBank" panose="020B0503020202030204" pitchFamily="34" charset="0"/>
                  </a:rPr>
                  <a:t>20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221</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3</a:t>
                </a:r>
              </a:p>
            </p:txBody>
          </p:sp>
          <p:sp>
            <p:nvSpPr>
              <p:cNvPr id="24" name="Rectangle 23">
                <a:extLst>
                  <a:ext uri="{FF2B5EF4-FFF2-40B4-BE49-F238E27FC236}">
                    <a16:creationId xmlns:a16="http://schemas.microsoft.com/office/drawing/2014/main" id="{BC5D5942-C101-22CE-4B60-986EF90710F8}"/>
                  </a:ext>
                </a:extLst>
              </p:cNvPr>
              <p:cNvSpPr>
                <a:spLocks noChangeArrowheads="1"/>
              </p:cNvSpPr>
              <p:nvPr/>
            </p:nvSpPr>
            <p:spPr bwMode="ltGray">
              <a:xfrm>
                <a:off x="1033061" y="8010455"/>
                <a:ext cx="1016604" cy="1016602"/>
              </a:xfrm>
              <a:prstGeom prst="rect">
                <a:avLst/>
              </a:prstGeom>
              <a:solidFill>
                <a:srgbClr val="FFE600"/>
              </a:solidFill>
              <a:ln w="12700">
                <a:noFill/>
                <a:round/>
                <a:headEnd/>
                <a:tailEnd/>
              </a:ln>
            </p:spPr>
            <p:txBody>
              <a:bodyPr wrap="none" lIns="72000" tIns="72000" rIns="72000" bIns="72000" anchor="t" anchorCtr="0"/>
              <a:lstStyle/>
              <a:p>
                <a:pPr eaLnBrk="0" hangingPunct="0"/>
                <a:r>
                  <a:rPr lang="en-GB" sz="600">
                    <a:cs typeface="DeutscheBank" panose="020B0503020202030204" pitchFamily="34" charset="0"/>
                  </a:rPr>
                  <a:t>Lucent Yellow</a:t>
                </a:r>
              </a:p>
              <a:p>
                <a:r>
                  <a:rPr lang="en-GB" sz="600">
                    <a:ea typeface="DeutscheBank" panose="020B0503020202030204" pitchFamily="34" charset="0"/>
                    <a:cs typeface="DeutscheBank" panose="020B0503020202030204" pitchFamily="34" charset="0"/>
                  </a:rPr>
                  <a:t>255</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230</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0</a:t>
                </a:r>
              </a:p>
            </p:txBody>
          </p:sp>
          <p:sp>
            <p:nvSpPr>
              <p:cNvPr id="25" name="Rectangle 24">
                <a:extLst>
                  <a:ext uri="{FF2B5EF4-FFF2-40B4-BE49-F238E27FC236}">
                    <a16:creationId xmlns:a16="http://schemas.microsoft.com/office/drawing/2014/main" id="{80C413D5-C557-BD32-CBA0-2F05FEBACBE4}"/>
                  </a:ext>
                </a:extLst>
              </p:cNvPr>
              <p:cNvSpPr>
                <a:spLocks noChangeArrowheads="1"/>
              </p:cNvSpPr>
              <p:nvPr/>
            </p:nvSpPr>
            <p:spPr bwMode="ltGray">
              <a:xfrm>
                <a:off x="1036912" y="9168401"/>
                <a:ext cx="1016604" cy="1016602"/>
              </a:xfrm>
              <a:prstGeom prst="rect">
                <a:avLst/>
              </a:prstGeom>
              <a:solidFill>
                <a:srgbClr val="F28011"/>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Sundown Orange</a:t>
                </a:r>
              </a:p>
              <a:p>
                <a:pPr>
                  <a:defRPr/>
                </a:pPr>
                <a:r>
                  <a:rPr lang="en-GB" sz="600">
                    <a:ea typeface="DeutscheBank" panose="020B0503020202030204" pitchFamily="34" charset="0"/>
                    <a:cs typeface="DeutscheBank" panose="020B0503020202030204" pitchFamily="34" charset="0"/>
                  </a:rPr>
                  <a:t>24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28</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7</a:t>
                </a:r>
              </a:p>
            </p:txBody>
          </p:sp>
          <p:sp>
            <p:nvSpPr>
              <p:cNvPr id="26" name="Rectangle 14">
                <a:extLst>
                  <a:ext uri="{FF2B5EF4-FFF2-40B4-BE49-F238E27FC236}">
                    <a16:creationId xmlns:a16="http://schemas.microsoft.com/office/drawing/2014/main" id="{C50E1FD2-BF78-A4CC-9747-BBE07CCC5CE2}"/>
                  </a:ext>
                </a:extLst>
              </p:cNvPr>
              <p:cNvSpPr>
                <a:spLocks noChangeArrowheads="1"/>
              </p:cNvSpPr>
              <p:nvPr/>
            </p:nvSpPr>
            <p:spPr bwMode="ltGray">
              <a:xfrm>
                <a:off x="1033061" y="10326343"/>
                <a:ext cx="1016604" cy="1016602"/>
              </a:xfrm>
              <a:prstGeom prst="rect">
                <a:avLst/>
              </a:prstGeom>
              <a:solidFill>
                <a:srgbClr val="E7001D"/>
              </a:solidFill>
              <a:ln w="12700">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Bright Red</a:t>
                </a:r>
              </a:p>
              <a:p>
                <a:r>
                  <a:rPr lang="en-GB" sz="600">
                    <a:solidFill>
                      <a:schemeClr val="bg1"/>
                    </a:solidFill>
                    <a:ea typeface="DeutscheBank" panose="020B0503020202030204" pitchFamily="34" charset="0"/>
                    <a:cs typeface="DeutscheBank" panose="020B0503020202030204" pitchFamily="34" charset="0"/>
                  </a:rPr>
                  <a:t>231</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0</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29</a:t>
                </a:r>
              </a:p>
            </p:txBody>
          </p:sp>
          <p:sp>
            <p:nvSpPr>
              <p:cNvPr id="27" name="Rectangle 15">
                <a:extLst>
                  <a:ext uri="{FF2B5EF4-FFF2-40B4-BE49-F238E27FC236}">
                    <a16:creationId xmlns:a16="http://schemas.microsoft.com/office/drawing/2014/main" id="{A46EFB85-31A7-CA69-C074-1D6EC3AB3A80}"/>
                  </a:ext>
                </a:extLst>
              </p:cNvPr>
              <p:cNvSpPr>
                <a:spLocks noChangeArrowheads="1"/>
              </p:cNvSpPr>
              <p:nvPr/>
            </p:nvSpPr>
            <p:spPr bwMode="ltGray">
              <a:xfrm>
                <a:off x="1036912" y="11484289"/>
                <a:ext cx="1016604" cy="1016602"/>
              </a:xfrm>
              <a:prstGeom prst="rect">
                <a:avLst/>
              </a:prstGeom>
              <a:solidFill>
                <a:srgbClr val="C18EBD"/>
              </a:solidFill>
              <a:ln w="12700" algn="ctr">
                <a:noFill/>
                <a:round/>
                <a:headEnd/>
                <a:tailEnd/>
              </a:ln>
            </p:spPr>
            <p:txBody>
              <a:bodyPr wrap="none" lIns="72000" tIns="72000" rIns="72000" bIns="72000" anchor="t" anchorCtr="0"/>
              <a:lstStyle/>
              <a:p>
                <a:pPr eaLnBrk="0" hangingPunct="0"/>
                <a:r>
                  <a:rPr lang="en-GB" sz="600">
                    <a:cs typeface="DeutscheBank" panose="020B0503020202030204" pitchFamily="34" charset="0"/>
                  </a:rPr>
                  <a:t>Light Violet</a:t>
                </a:r>
              </a:p>
              <a:p>
                <a:pPr>
                  <a:defRPr/>
                </a:pPr>
                <a:r>
                  <a:rPr lang="en-GB" sz="600">
                    <a:ea typeface="DeutscheBank" panose="020B0503020202030204" pitchFamily="34" charset="0"/>
                    <a:cs typeface="DeutscheBank" panose="020B0503020202030204" pitchFamily="34" charset="0"/>
                  </a:rPr>
                  <a:t>193</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42</a:t>
                </a:r>
                <a:r>
                  <a:rPr kumimoji="0" lang="de-DE" sz="600" b="0" i="0" u="none" strike="noStrike" kern="0" cap="none" spc="0" normalizeH="0" baseline="0" noProof="0">
                    <a:ln>
                      <a:noFill/>
                    </a:ln>
                    <a:effectLst/>
                    <a:uLnTx/>
                    <a:uFillTx/>
                    <a:ea typeface="+mn-ea"/>
                    <a:cs typeface="+mn-cs"/>
                    <a:sym typeface="Arial"/>
                  </a:rPr>
                  <a:t>|</a:t>
                </a:r>
                <a:r>
                  <a:rPr lang="en-GB" sz="600">
                    <a:ea typeface="DeutscheBank" panose="020B0503020202030204" pitchFamily="34" charset="0"/>
                    <a:cs typeface="DeutscheBank" panose="020B0503020202030204" pitchFamily="34" charset="0"/>
                  </a:rPr>
                  <a:t>189</a:t>
                </a:r>
              </a:p>
            </p:txBody>
          </p:sp>
          <p:sp>
            <p:nvSpPr>
              <p:cNvPr id="28" name="Rectangle 15">
                <a:extLst>
                  <a:ext uri="{FF2B5EF4-FFF2-40B4-BE49-F238E27FC236}">
                    <a16:creationId xmlns:a16="http://schemas.microsoft.com/office/drawing/2014/main" id="{039AF90F-C455-670F-AEAA-059D696EDF59}"/>
                  </a:ext>
                </a:extLst>
              </p:cNvPr>
              <p:cNvSpPr>
                <a:spLocks noChangeArrowheads="1"/>
              </p:cNvSpPr>
              <p:nvPr/>
            </p:nvSpPr>
            <p:spPr bwMode="ltGray">
              <a:xfrm>
                <a:off x="1033061" y="12640976"/>
                <a:ext cx="1016604" cy="1016602"/>
              </a:xfrm>
              <a:prstGeom prst="rect">
                <a:avLst/>
              </a:prstGeom>
              <a:solidFill>
                <a:srgbClr val="452061"/>
              </a:solidFill>
              <a:ln w="12700" algn="ctr">
                <a:noFill/>
                <a:round/>
                <a:headEnd/>
                <a:tailEnd/>
              </a:ln>
            </p:spPr>
            <p:txBody>
              <a:bodyPr wrap="none" lIns="72000" tIns="72000" rIns="72000" bIns="72000" anchor="t" anchorCtr="0"/>
              <a:lstStyle/>
              <a:p>
                <a:pPr eaLnBrk="0" hangingPunct="0"/>
                <a:r>
                  <a:rPr lang="en-GB" sz="600">
                    <a:solidFill>
                      <a:schemeClr val="bg1"/>
                    </a:solidFill>
                    <a:cs typeface="DeutscheBank" panose="020B0503020202030204" pitchFamily="34" charset="0"/>
                  </a:rPr>
                  <a:t>Night Violet</a:t>
                </a:r>
              </a:p>
              <a:p>
                <a:pPr>
                  <a:defRPr/>
                </a:pPr>
                <a:r>
                  <a:rPr lang="en-GB" sz="600">
                    <a:solidFill>
                      <a:schemeClr val="bg1"/>
                    </a:solidFill>
                    <a:ea typeface="DeutscheBank" panose="020B0503020202030204" pitchFamily="34" charset="0"/>
                    <a:cs typeface="DeutscheBank" panose="020B0503020202030204" pitchFamily="34" charset="0"/>
                  </a:rPr>
                  <a:t>69</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32</a:t>
                </a:r>
                <a:r>
                  <a:rPr kumimoji="0" lang="de-DE" sz="600" b="0" i="0" u="none" strike="noStrike" kern="0" cap="none" spc="0" normalizeH="0" baseline="0" noProof="0">
                    <a:ln>
                      <a:noFill/>
                    </a:ln>
                    <a:solidFill>
                      <a:schemeClr val="bg1"/>
                    </a:solidFill>
                    <a:effectLst/>
                    <a:uLnTx/>
                    <a:uFillTx/>
                    <a:ea typeface="+mn-ea"/>
                    <a:cs typeface="+mn-cs"/>
                    <a:sym typeface="Arial"/>
                  </a:rPr>
                  <a:t>|</a:t>
                </a:r>
                <a:r>
                  <a:rPr lang="en-GB" sz="600">
                    <a:solidFill>
                      <a:schemeClr val="bg1"/>
                    </a:solidFill>
                    <a:ea typeface="DeutscheBank" panose="020B0503020202030204" pitchFamily="34" charset="0"/>
                    <a:cs typeface="DeutscheBank" panose="020B0503020202030204" pitchFamily="34" charset="0"/>
                  </a:rPr>
                  <a:t>97</a:t>
                </a:r>
              </a:p>
            </p:txBody>
          </p:sp>
        </p:grpSp>
        <p:sp>
          <p:nvSpPr>
            <p:cNvPr id="18" name="TwoC_TitleL">
              <a:extLst>
                <a:ext uri="{FF2B5EF4-FFF2-40B4-BE49-F238E27FC236}">
                  <a16:creationId xmlns:a16="http://schemas.microsoft.com/office/drawing/2014/main" id="{211085AF-9FFB-E8B7-4172-BF8292A1BFA9}"/>
                </a:ext>
              </a:extLst>
            </p:cNvPr>
            <p:cNvSpPr txBox="1">
              <a:spLocks noChangeArrowheads="1"/>
            </p:cNvSpPr>
            <p:nvPr/>
          </p:nvSpPr>
          <p:spPr bwMode="auto">
            <a:xfrm>
              <a:off x="13309788" y="1235484"/>
              <a:ext cx="936000" cy="161583"/>
            </a:xfrm>
            <a:prstGeom prst="rect">
              <a:avLst/>
            </a:prstGeom>
            <a:noFill/>
            <a:ln w="12700">
              <a:noFill/>
              <a:miter lim="800000"/>
              <a:headEnd/>
              <a:tailEnd/>
            </a:ln>
          </p:spPr>
          <p:txBody>
            <a:bodyPr wrap="square" lIns="0" tIns="0" rIns="0" bIns="0" anchor="t" anchorCtr="0">
              <a:prstTxWarp prst="textNoShape">
                <a:avLst/>
              </a:prstTxWarp>
              <a:spAutoFit/>
            </a:bodyPr>
            <a:lstStyle/>
            <a:p>
              <a:r>
                <a:rPr lang="en-GB" sz="1050" b="1">
                  <a:solidFill>
                    <a:srgbClr val="1E2A78"/>
                  </a:solidFill>
                  <a:latin typeface="+mn-lt"/>
                  <a:ea typeface="DeutscheBank" panose="020B0503020202030204" pitchFamily="34" charset="0"/>
                  <a:cs typeface="DeutscheBank" panose="020B0503020202030204" pitchFamily="34" charset="0"/>
                </a:rPr>
                <a:t>Accent</a:t>
              </a:r>
            </a:p>
          </p:txBody>
        </p:sp>
      </p:grpSp>
      <p:pic>
        <p:nvPicPr>
          <p:cNvPr id="3" name="Picture 2" descr="Text&#10;&#10;Description automatically generated">
            <a:extLst>
              <a:ext uri="{FF2B5EF4-FFF2-40B4-BE49-F238E27FC236}">
                <a16:creationId xmlns:a16="http://schemas.microsoft.com/office/drawing/2014/main" id="{955F0090-3CCC-ECF4-8EDE-0B1AA1340512}"/>
              </a:ext>
            </a:extLst>
          </p:cNvPr>
          <p:cNvPicPr>
            <a:picLocks noChangeAspect="1"/>
          </p:cNvPicPr>
          <p:nvPr userDrawn="1"/>
        </p:nvPicPr>
        <p:blipFill>
          <a:blip r:embed="rId14">
            <a:lum bright="70000" contrast="-70000"/>
          </a:blip>
          <a:srcRect l="7908" t="22838" r="8009" b="23833"/>
          <a:stretch>
            <a:fillRect/>
          </a:stretch>
        </p:blipFill>
        <p:spPr>
          <a:xfrm>
            <a:off x="442912" y="6459200"/>
            <a:ext cx="1073310" cy="201600"/>
          </a:xfrm>
          <a:prstGeom prst="rect">
            <a:avLst/>
          </a:prstGeom>
        </p:spPr>
      </p:pic>
      <p:sp>
        <p:nvSpPr>
          <p:cNvPr id="2" name="MSIPCMContentMarking" descr="{&quot;HashCode&quot;:-1864096203,&quot;Placement&quot;:&quot;Footer&quot;,&quot;Top&quot;:519.343,&quot;Left&quot;:469.7333,&quot;SlideWidth&quot;:960,&quot;SlideHeight&quot;:540}">
            <a:extLst>
              <a:ext uri="{FF2B5EF4-FFF2-40B4-BE49-F238E27FC236}">
                <a16:creationId xmlns:a16="http://schemas.microsoft.com/office/drawing/2014/main" id="{F8A464BB-E052-2E48-FBA5-5021402B1BB5}"/>
              </a:ext>
            </a:extLst>
          </p:cNvPr>
          <p:cNvSpPr txBox="1"/>
          <p:nvPr userDrawn="1"/>
        </p:nvSpPr>
        <p:spPr bwMode="ltGray">
          <a:xfrm>
            <a:off x="5965613" y="6595656"/>
            <a:ext cx="260773" cy="262344"/>
          </a:xfrm>
          <a:prstGeom prst="rect">
            <a:avLst/>
          </a:prstGeom>
          <a:noFill/>
          <a:ln w="6350">
            <a:noFill/>
            <a:miter lim="800000"/>
            <a:headEnd/>
            <a:tailEnd/>
          </a:ln>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 </a:t>
            </a:r>
            <a:endParaRPr lang="en-GB" sz="1000" err="1">
              <a:solidFill>
                <a:srgbClr val="000000"/>
              </a:solidFill>
              <a:latin typeface="Calibri" panose="020F0502020204030204" pitchFamily="34" charset="0"/>
            </a:endParaRPr>
          </a:p>
        </p:txBody>
      </p:sp>
    </p:spTree>
    <p:extLst>
      <p:ext uri="{BB962C8B-B14F-4D97-AF65-F5344CB8AC3E}">
        <p14:creationId xmlns:p14="http://schemas.microsoft.com/office/powerpoint/2010/main" val="1966000925"/>
      </p:ext>
    </p:extLst>
  </p:cSld>
  <p:clrMap bg1="dk1" tx1="lt1" bg2="dk2" tx2="lt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transition>
    <p:wipe dir="r"/>
  </p:transition>
  <p:hf hdr="0" ftr="0" dt="0"/>
  <p:txStyles>
    <p:titleStyle>
      <a:lvl1pPr algn="l" rtl="0" eaLnBrk="1" fontAlgn="base" hangingPunct="1">
        <a:lnSpc>
          <a:spcPct val="90000"/>
        </a:lnSpc>
        <a:spcBef>
          <a:spcPct val="0"/>
        </a:spcBef>
        <a:spcAft>
          <a:spcPct val="0"/>
        </a:spcAft>
        <a:tabLst/>
        <a:defRPr sz="1900" b="1" kern="1200" baseline="0">
          <a:solidFill>
            <a:schemeClr val="tx1"/>
          </a:solidFill>
          <a:latin typeface="+mj-lt"/>
          <a:ea typeface="DeutscheBank" panose="020B0503020202030204" pitchFamily="34" charset="0"/>
          <a:cs typeface="DeutscheBank" panose="020B0503020202030204" pitchFamily="34" charset="0"/>
        </a:defRPr>
      </a:lvl1pPr>
      <a:lvl2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5pPr>
      <a:lvl6pPr marL="456327" algn="l" rtl="0" eaLnBrk="1" fontAlgn="base" hangingPunct="1">
        <a:lnSpc>
          <a:spcPct val="90000"/>
        </a:lnSpc>
        <a:spcBef>
          <a:spcPct val="0"/>
        </a:spcBef>
        <a:spcAft>
          <a:spcPct val="0"/>
        </a:spcAft>
        <a:tabLst>
          <a:tab pos="665477" algn="l"/>
        </a:tabLst>
        <a:defRPr sz="2352" b="1">
          <a:solidFill>
            <a:schemeClr val="tx1"/>
          </a:solidFill>
          <a:latin typeface="Arial" charset="0"/>
        </a:defRPr>
      </a:lvl6pPr>
      <a:lvl7pPr marL="912655" algn="l" rtl="0" eaLnBrk="1" fontAlgn="base" hangingPunct="1">
        <a:lnSpc>
          <a:spcPct val="90000"/>
        </a:lnSpc>
        <a:spcBef>
          <a:spcPct val="0"/>
        </a:spcBef>
        <a:spcAft>
          <a:spcPct val="0"/>
        </a:spcAft>
        <a:tabLst>
          <a:tab pos="665477" algn="l"/>
        </a:tabLst>
        <a:defRPr sz="2352" b="1">
          <a:solidFill>
            <a:schemeClr val="tx1"/>
          </a:solidFill>
          <a:latin typeface="Arial" charset="0"/>
        </a:defRPr>
      </a:lvl7pPr>
      <a:lvl8pPr marL="1368982" algn="l" rtl="0" eaLnBrk="1" fontAlgn="base" hangingPunct="1">
        <a:lnSpc>
          <a:spcPct val="90000"/>
        </a:lnSpc>
        <a:spcBef>
          <a:spcPct val="0"/>
        </a:spcBef>
        <a:spcAft>
          <a:spcPct val="0"/>
        </a:spcAft>
        <a:tabLst>
          <a:tab pos="665477" algn="l"/>
        </a:tabLst>
        <a:defRPr sz="2352" b="1">
          <a:solidFill>
            <a:schemeClr val="tx1"/>
          </a:solidFill>
          <a:latin typeface="Arial" charset="0"/>
        </a:defRPr>
      </a:lvl8pPr>
      <a:lvl9pPr marL="1825306" algn="l" rtl="0" eaLnBrk="1" fontAlgn="base" hangingPunct="1">
        <a:lnSpc>
          <a:spcPct val="90000"/>
        </a:lnSpc>
        <a:spcBef>
          <a:spcPct val="0"/>
        </a:spcBef>
        <a:spcAft>
          <a:spcPct val="0"/>
        </a:spcAft>
        <a:tabLst>
          <a:tab pos="665477" algn="l"/>
        </a:tabLst>
        <a:defRPr sz="2352" b="1">
          <a:solidFill>
            <a:schemeClr val="tx1"/>
          </a:solidFill>
          <a:latin typeface="Arial" charset="0"/>
        </a:defRPr>
      </a:lvl9pPr>
    </p:titleStyle>
    <p:body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chemeClr val="accent2"/>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p:bodyStyle>
    <p:otherStyle>
      <a:defPPr>
        <a:defRPr lang="de-DE"/>
      </a:defPPr>
      <a:lvl1pPr marL="0" algn="l" defTabSz="912655" rtl="0" eaLnBrk="1" latinLnBrk="0" hangingPunct="1">
        <a:defRPr sz="1809" kern="1200">
          <a:solidFill>
            <a:schemeClr val="tx1"/>
          </a:solidFill>
          <a:latin typeface="+mn-lt"/>
          <a:ea typeface="+mn-ea"/>
          <a:cs typeface="+mn-cs"/>
        </a:defRPr>
      </a:lvl1pPr>
      <a:lvl2pPr marL="456327" algn="l" defTabSz="912655" rtl="0" eaLnBrk="1" latinLnBrk="0" hangingPunct="1">
        <a:defRPr sz="1809" kern="1200">
          <a:solidFill>
            <a:schemeClr val="tx1"/>
          </a:solidFill>
          <a:latin typeface="+mn-lt"/>
          <a:ea typeface="+mn-ea"/>
          <a:cs typeface="+mn-cs"/>
        </a:defRPr>
      </a:lvl2pPr>
      <a:lvl3pPr marL="912655" algn="l" defTabSz="912655" rtl="0" eaLnBrk="1" latinLnBrk="0" hangingPunct="1">
        <a:defRPr sz="1809" kern="1200">
          <a:solidFill>
            <a:schemeClr val="tx1"/>
          </a:solidFill>
          <a:latin typeface="+mn-lt"/>
          <a:ea typeface="+mn-ea"/>
          <a:cs typeface="+mn-cs"/>
        </a:defRPr>
      </a:lvl3pPr>
      <a:lvl4pPr marL="1368982" algn="l" defTabSz="912655" rtl="0" eaLnBrk="1" latinLnBrk="0" hangingPunct="1">
        <a:defRPr sz="1809" kern="1200">
          <a:solidFill>
            <a:schemeClr val="tx1"/>
          </a:solidFill>
          <a:latin typeface="+mn-lt"/>
          <a:ea typeface="+mn-ea"/>
          <a:cs typeface="+mn-cs"/>
        </a:defRPr>
      </a:lvl4pPr>
      <a:lvl5pPr marL="1825306" algn="l" defTabSz="912655" rtl="0" eaLnBrk="1" latinLnBrk="0" hangingPunct="1">
        <a:defRPr sz="1809" kern="1200">
          <a:solidFill>
            <a:schemeClr val="tx1"/>
          </a:solidFill>
          <a:latin typeface="+mn-lt"/>
          <a:ea typeface="+mn-ea"/>
          <a:cs typeface="+mn-cs"/>
        </a:defRPr>
      </a:lvl5pPr>
      <a:lvl6pPr marL="2281635" algn="l" defTabSz="912655" rtl="0" eaLnBrk="1" latinLnBrk="0" hangingPunct="1">
        <a:defRPr sz="1809" kern="1200">
          <a:solidFill>
            <a:schemeClr val="tx1"/>
          </a:solidFill>
          <a:latin typeface="+mn-lt"/>
          <a:ea typeface="+mn-ea"/>
          <a:cs typeface="+mn-cs"/>
        </a:defRPr>
      </a:lvl6pPr>
      <a:lvl7pPr marL="2737962" algn="l" defTabSz="912655" rtl="0" eaLnBrk="1" latinLnBrk="0" hangingPunct="1">
        <a:defRPr sz="1809" kern="1200">
          <a:solidFill>
            <a:schemeClr val="tx1"/>
          </a:solidFill>
          <a:latin typeface="+mn-lt"/>
          <a:ea typeface="+mn-ea"/>
          <a:cs typeface="+mn-cs"/>
        </a:defRPr>
      </a:lvl7pPr>
      <a:lvl8pPr marL="3194288" algn="l" defTabSz="912655" rtl="0" eaLnBrk="1" latinLnBrk="0" hangingPunct="1">
        <a:defRPr sz="1809" kern="1200">
          <a:solidFill>
            <a:schemeClr val="tx1"/>
          </a:solidFill>
          <a:latin typeface="+mn-lt"/>
          <a:ea typeface="+mn-ea"/>
          <a:cs typeface="+mn-cs"/>
        </a:defRPr>
      </a:lvl8pPr>
      <a:lvl9pPr marL="3650615" algn="l" defTabSz="912655" rtl="0" eaLnBrk="1" latinLnBrk="0" hangingPunct="1">
        <a:defRPr sz="1809"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7401">
          <p15:clr>
            <a:srgbClr val="F26B43"/>
          </p15:clr>
        </p15:guide>
        <p15:guide id="13" orient="horz" pos="278">
          <p15:clr>
            <a:srgbClr val="F26B43"/>
          </p15:clr>
        </p15:guide>
        <p15:guide id="17" orient="horz" pos="572">
          <p15:clr>
            <a:srgbClr val="F26B43"/>
          </p15:clr>
        </p15:guide>
        <p15:guide id="18" orient="horz" pos="4042">
          <p15:clr>
            <a:srgbClr val="F26B43"/>
          </p15:clr>
        </p15:guide>
        <p15:guide id="21" orient="horz" pos="3906">
          <p15:clr>
            <a:srgbClr val="F26B43"/>
          </p15:clr>
        </p15:guide>
        <p15:guide id="23" orient="horz" pos="867">
          <p15:clr>
            <a:srgbClr val="F26B43"/>
          </p15:clr>
        </p15:guide>
        <p15:guide id="24" pos="3840">
          <p15:clr>
            <a:srgbClr val="F26B43"/>
          </p15:clr>
        </p15:guide>
        <p15:guide id="25" orient="horz" pos="2387">
          <p15:clr>
            <a:srgbClr val="F26B43"/>
          </p15:clr>
        </p15:guide>
        <p15:guide id="26" pos="27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8268F8-287B-4F2D-B31D-AB35C02F8F01}"/>
              </a:ext>
            </a:extLst>
          </p:cNvPr>
          <p:cNvGraphicFramePr>
            <a:graphicFrameLocks noChangeAspect="1"/>
          </p:cNvGraphicFramePr>
          <p:nvPr userDrawn="1">
            <p:custDataLst>
              <p:tags r:id="rId11"/>
            </p:custDataLst>
            <p:extLst>
              <p:ext uri="{D42A27DB-BD31-4B8C-83A1-F6EECF244321}">
                <p14:modId xmlns:p14="http://schemas.microsoft.com/office/powerpoint/2010/main" val="4887318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2" imgW="353" imgH="318" progId="TCLayout.ActiveDocument.1">
                  <p:embed/>
                </p:oleObj>
              </mc:Choice>
              <mc:Fallback>
                <p:oleObj name="think-cell Folie" r:id="rId12" imgW="353" imgH="318" progId="TCLayout.ActiveDocument.1">
                  <p:embed/>
                  <p:pic>
                    <p:nvPicPr>
                      <p:cNvPr id="10" name="Object 9" hidden="1">
                        <a:extLst>
                          <a:ext uri="{FF2B5EF4-FFF2-40B4-BE49-F238E27FC236}">
                            <a16:creationId xmlns:a16="http://schemas.microsoft.com/office/drawing/2014/main" id="{E58268F8-287B-4F2D-B31D-AB35C02F8F01}"/>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B5B9FD7A-E47D-464F-908E-0A898F0994C7}"/>
              </a:ext>
            </a:extLst>
          </p:cNvPr>
          <p:cNvSpPr>
            <a:spLocks noGrp="1"/>
          </p:cNvSpPr>
          <p:nvPr>
            <p:ph type="sldNum" sz="quarter" idx="4"/>
          </p:nvPr>
        </p:nvSpPr>
        <p:spPr>
          <a:xfrm>
            <a:off x="10889082" y="6203952"/>
            <a:ext cx="653103" cy="328083"/>
          </a:xfrm>
          <a:prstGeom prst="rect">
            <a:avLst/>
          </a:prstGeom>
        </p:spPr>
        <p:txBody>
          <a:bodyPr vert="horz" lIns="0" tIns="61200" rIns="0" bIns="0" rtlCol="0" anchor="t" anchorCtr="0"/>
          <a:lstStyle>
            <a:lvl1pPr algn="r" rtl="0">
              <a:lnSpc>
                <a:spcPts val="1067"/>
              </a:lnSpc>
              <a:defRPr sz="1333">
                <a:solidFill>
                  <a:schemeClr val="tx1"/>
                </a:solidFill>
                <a:latin typeface="+mn-lt"/>
                <a:ea typeface="Deutsche Bank Text" panose="020B0503020202030204" pitchFamily="34" charset="0"/>
                <a:cs typeface="Deutsche Bank Text" panose="020B0503020202030204" pitchFamily="34" charset="0"/>
              </a:defRPr>
            </a:lvl1pPr>
          </a:lstStyle>
          <a:p>
            <a:fld id="{D71DA9FD-6EF8-4CC5-AF9B-B6159B5B937C}" type="slidenum">
              <a:rPr lang="de-DE" smtClean="0"/>
              <a:pPr/>
              <a:t>‹#›</a:t>
            </a:fld>
            <a:endParaRPr lang="de-DE"/>
          </a:p>
        </p:txBody>
      </p:sp>
      <p:sp>
        <p:nvSpPr>
          <p:cNvPr id="4" name="Text Placeholder 3">
            <a:extLst>
              <a:ext uri="{FF2B5EF4-FFF2-40B4-BE49-F238E27FC236}">
                <a16:creationId xmlns:a16="http://schemas.microsoft.com/office/drawing/2014/main" id="{EE665C97-7830-49FC-9697-6D19DA821767}"/>
              </a:ext>
            </a:extLst>
          </p:cNvPr>
          <p:cNvSpPr>
            <a:spLocks noGrp="1"/>
          </p:cNvSpPr>
          <p:nvPr>
            <p:ph type="body" idx="1"/>
          </p:nvPr>
        </p:nvSpPr>
        <p:spPr>
          <a:xfrm>
            <a:off x="649816" y="1797051"/>
            <a:ext cx="10892368" cy="4080933"/>
          </a:xfrm>
          <a:prstGeom prst="rect">
            <a:avLst/>
          </a:prstGeom>
        </p:spPr>
        <p:txBody>
          <a:bodyPr vert="horz" lIns="0" tIns="0" rIns="0" bIns="0" rtlCol="0">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Title Placeholder 4">
            <a:extLst>
              <a:ext uri="{FF2B5EF4-FFF2-40B4-BE49-F238E27FC236}">
                <a16:creationId xmlns:a16="http://schemas.microsoft.com/office/drawing/2014/main" id="{429F3B1B-8104-4CBB-A285-B4B3ADCCECFD}"/>
              </a:ext>
            </a:extLst>
          </p:cNvPr>
          <p:cNvSpPr>
            <a:spLocks noGrp="1"/>
          </p:cNvSpPr>
          <p:nvPr>
            <p:ph type="title"/>
          </p:nvPr>
        </p:nvSpPr>
        <p:spPr>
          <a:xfrm>
            <a:off x="614400" y="610889"/>
            <a:ext cx="9561024" cy="790055"/>
          </a:xfrm>
          <a:prstGeom prst="rect">
            <a:avLst/>
          </a:prstGeom>
        </p:spPr>
        <p:txBody>
          <a:bodyPr vert="horz" lIns="0" tIns="0" rIns="0" bIns="0" rtlCol="0" anchor="t" anchorCtr="0">
            <a:noAutofit/>
          </a:bodyPr>
          <a:lstStyle/>
          <a:p>
            <a:r>
              <a:rPr lang="de-DE" noProof="0"/>
              <a:t>Titelmasterformat bearbeiten</a:t>
            </a:r>
          </a:p>
        </p:txBody>
      </p:sp>
      <p:sp>
        <p:nvSpPr>
          <p:cNvPr id="6" name="Rechteck 5">
            <a:extLst>
              <a:ext uri="{FF2B5EF4-FFF2-40B4-BE49-F238E27FC236}">
                <a16:creationId xmlns:a16="http://schemas.microsoft.com/office/drawing/2014/main" id="{76EDBBC0-08FC-4FF5-93D8-319C27CD84CB}"/>
              </a:ext>
            </a:extLst>
          </p:cNvPr>
          <p:cNvSpPr/>
          <p:nvPr userDrawn="1"/>
        </p:nvSpPr>
        <p:spPr>
          <a:xfrm>
            <a:off x="648001" y="6203952"/>
            <a:ext cx="2397817" cy="328083"/>
          </a:xfrm>
          <a:prstGeom prst="rect">
            <a:avLst/>
          </a:prstGeom>
        </p:spPr>
        <p:txBody>
          <a:bodyPr wrap="square" lIns="0" tIns="81388" rIns="0" bIns="0" anchor="ctr">
            <a:noAutofit/>
          </a:bodyPr>
          <a:lstStyle/>
          <a:p>
            <a:pPr marL="0" indent="0" rtl="0">
              <a:lnSpc>
                <a:spcPts val="1067"/>
              </a:lnSpc>
              <a:defRPr/>
            </a:pPr>
            <a:r>
              <a:rPr lang="de-DE" sz="1600" noProof="0">
                <a:solidFill>
                  <a:srgbClr val="0018A8"/>
                </a:solidFill>
                <a:latin typeface="+mn-lt"/>
                <a:ea typeface="Deutsche Bank Text" panose="020B0503020202030204" pitchFamily="34" charset="0"/>
                <a:cs typeface="Deutsche Bank Text" panose="020B0503020202030204" pitchFamily="34" charset="0"/>
              </a:rPr>
              <a:t>Deutsche Bank</a:t>
            </a:r>
          </a:p>
        </p:txBody>
      </p:sp>
      <p:sp>
        <p:nvSpPr>
          <p:cNvPr id="8" name="MSIPCMContentMarking" descr="{&quot;HashCode&quot;:-1864096203,&quot;Placement&quot;:&quot;Footer&quot;,&quot;Top&quot;:384.343,&quot;Left&quot;:349.7333,&quot;SlideWidth&quot;:720,&quot;SlideHeight&quot;:405}">
            <a:extLst>
              <a:ext uri="{FF2B5EF4-FFF2-40B4-BE49-F238E27FC236}">
                <a16:creationId xmlns:a16="http://schemas.microsoft.com/office/drawing/2014/main" id="{FE2A40AC-99AB-4818-8E33-9D7A3CECBEAF}"/>
              </a:ext>
            </a:extLst>
          </p:cNvPr>
          <p:cNvSpPr txBox="1"/>
          <p:nvPr userDrawn="1"/>
        </p:nvSpPr>
        <p:spPr bwMode="ltGray">
          <a:xfrm>
            <a:off x="5922152" y="6580544"/>
            <a:ext cx="347697" cy="205121"/>
          </a:xfrm>
          <a:prstGeom prst="rect">
            <a:avLst/>
          </a:prstGeom>
          <a:noFill/>
          <a:ln w="6350">
            <a:noFill/>
            <a:miter lim="800000"/>
            <a:headEnd/>
            <a:tailEnd/>
          </a:ln>
        </p:spPr>
        <p:txBody>
          <a:bodyPr vert="horz" wrap="square" lIns="0" tIns="0" rIns="0" bIns="0" rtlCol="0" anchor="ctr" anchorCtr="1">
            <a:spAutoFit/>
          </a:bodyPr>
          <a:lstStyle/>
          <a:p>
            <a:pPr algn="ctr" rtl="0" eaLnBrk="0" hangingPunct="0">
              <a:spcBef>
                <a:spcPct val="0"/>
              </a:spcBef>
              <a:spcAft>
                <a:spcPct val="0"/>
              </a:spcAft>
            </a:pPr>
            <a:r>
              <a:rPr lang="de-DE" sz="1333">
                <a:solidFill>
                  <a:srgbClr val="000000"/>
                </a:solidFill>
                <a:latin typeface="Calibri" panose="020F0502020204030204" pitchFamily="34" charset="0"/>
              </a:rPr>
              <a:t> </a:t>
            </a:r>
          </a:p>
        </p:txBody>
      </p:sp>
    </p:spTree>
    <p:extLst>
      <p:ext uri="{BB962C8B-B14F-4D97-AF65-F5344CB8AC3E}">
        <p14:creationId xmlns:p14="http://schemas.microsoft.com/office/powerpoint/2010/main" val="59407678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Lst>
  <p:transition>
    <p:wipe dir="r"/>
  </p:transition>
  <p:hf hdr="0" ftr="0" dt="0"/>
  <p:txStyles>
    <p:titleStyle>
      <a:lvl1pPr algn="l" rtl="0" eaLnBrk="1" fontAlgn="base" hangingPunct="1">
        <a:lnSpc>
          <a:spcPct val="90000"/>
        </a:lnSpc>
        <a:spcBef>
          <a:spcPct val="0"/>
        </a:spcBef>
        <a:spcAft>
          <a:spcPct val="0"/>
        </a:spcAft>
        <a:tabLst/>
        <a:defRPr sz="3200" kern="1200" baseline="0">
          <a:solidFill>
            <a:schemeClr val="tx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vl2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352">
          <a:solidFill>
            <a:schemeClr val="tx1"/>
          </a:solidFill>
          <a:latin typeface="Arial" charset="0"/>
          <a:ea typeface="ＭＳ Ｐゴシック" pitchFamily="34" charset="-128"/>
          <a:cs typeface="ＭＳ Ｐゴシック" pitchFamily="-109" charset="-128"/>
        </a:defRPr>
      </a:lvl5pPr>
      <a:lvl6pPr marL="456327" algn="l" rtl="0" eaLnBrk="1" fontAlgn="base" hangingPunct="1">
        <a:lnSpc>
          <a:spcPct val="90000"/>
        </a:lnSpc>
        <a:spcBef>
          <a:spcPct val="0"/>
        </a:spcBef>
        <a:spcAft>
          <a:spcPct val="0"/>
        </a:spcAft>
        <a:tabLst>
          <a:tab pos="665477" algn="l"/>
        </a:tabLst>
        <a:defRPr sz="2352" b="1">
          <a:solidFill>
            <a:schemeClr val="tx1"/>
          </a:solidFill>
          <a:latin typeface="Arial" charset="0"/>
        </a:defRPr>
      </a:lvl6pPr>
      <a:lvl7pPr marL="912655" algn="l" rtl="0" eaLnBrk="1" fontAlgn="base" hangingPunct="1">
        <a:lnSpc>
          <a:spcPct val="90000"/>
        </a:lnSpc>
        <a:spcBef>
          <a:spcPct val="0"/>
        </a:spcBef>
        <a:spcAft>
          <a:spcPct val="0"/>
        </a:spcAft>
        <a:tabLst>
          <a:tab pos="665477" algn="l"/>
        </a:tabLst>
        <a:defRPr sz="2352" b="1">
          <a:solidFill>
            <a:schemeClr val="tx1"/>
          </a:solidFill>
          <a:latin typeface="Arial" charset="0"/>
        </a:defRPr>
      </a:lvl7pPr>
      <a:lvl8pPr marL="1368982" algn="l" rtl="0" eaLnBrk="1" fontAlgn="base" hangingPunct="1">
        <a:lnSpc>
          <a:spcPct val="90000"/>
        </a:lnSpc>
        <a:spcBef>
          <a:spcPct val="0"/>
        </a:spcBef>
        <a:spcAft>
          <a:spcPct val="0"/>
        </a:spcAft>
        <a:tabLst>
          <a:tab pos="665477" algn="l"/>
        </a:tabLst>
        <a:defRPr sz="2352" b="1">
          <a:solidFill>
            <a:schemeClr val="tx1"/>
          </a:solidFill>
          <a:latin typeface="Arial" charset="0"/>
        </a:defRPr>
      </a:lvl8pPr>
      <a:lvl9pPr marL="1825306" algn="l" rtl="0" eaLnBrk="1" fontAlgn="base" hangingPunct="1">
        <a:lnSpc>
          <a:spcPct val="90000"/>
        </a:lnSpc>
        <a:spcBef>
          <a:spcPct val="0"/>
        </a:spcBef>
        <a:spcAft>
          <a:spcPct val="0"/>
        </a:spcAft>
        <a:tabLst>
          <a:tab pos="665477" algn="l"/>
        </a:tabLst>
        <a:defRPr sz="2352" b="1">
          <a:solidFill>
            <a:schemeClr val="tx1"/>
          </a:solidFill>
          <a:latin typeface="Arial" charset="0"/>
        </a:defRPr>
      </a:lvl9pPr>
    </p:titleStyle>
    <p:bodyStyle>
      <a:lvl1pPr algn="l" rtl="0" eaLnBrk="1" fontAlgn="base" hangingPunct="1">
        <a:lnSpc>
          <a:spcPct val="100000"/>
        </a:lnSpc>
        <a:spcBef>
          <a:spcPts val="133"/>
        </a:spcBef>
        <a:spcAft>
          <a:spcPts val="133"/>
        </a:spcAft>
        <a:defRPr sz="1996" kern="1200" baseline="0">
          <a:solidFill>
            <a:srgbClr val="00A3E0"/>
          </a:solidFill>
          <a:latin typeface="+mn-lt"/>
          <a:ea typeface="ＭＳ Ｐゴシック" pitchFamily="-109" charset="-128"/>
          <a:cs typeface="ＭＳ Ｐゴシック" pitchFamily="-109" charset="-128"/>
        </a:defRPr>
      </a:lvl1pPr>
      <a:lvl2pPr algn="l" rtl="0" eaLnBrk="1" fontAlgn="base" hangingPunct="1">
        <a:lnSpc>
          <a:spcPct val="100000"/>
        </a:lnSpc>
        <a:spcBef>
          <a:spcPts val="133"/>
        </a:spcBef>
        <a:spcAft>
          <a:spcPts val="133"/>
        </a:spcAft>
        <a:defRPr sz="1996" kern="1200" baseline="0">
          <a:solidFill>
            <a:schemeClr val="tx1"/>
          </a:solidFill>
          <a:latin typeface="+mn-lt"/>
          <a:ea typeface="ＭＳ Ｐゴシック" pitchFamily="-109" charset="-128"/>
        </a:defRPr>
      </a:lvl2pPr>
      <a:lvl3pPr marL="404875" indent="-400569" algn="l" rtl="0" eaLnBrk="1" fontAlgn="base" hangingPunct="1">
        <a:lnSpc>
          <a:spcPct val="100000"/>
        </a:lnSpc>
        <a:spcBef>
          <a:spcPts val="133"/>
        </a:spcBef>
        <a:spcAft>
          <a:spcPts val="133"/>
        </a:spcAft>
        <a:buFont typeface="Arial" charset="0"/>
        <a:buChar char="—"/>
        <a:defRPr sz="1996" kern="1200" baseline="0">
          <a:solidFill>
            <a:schemeClr val="tx1"/>
          </a:solidFill>
          <a:latin typeface="+mn-lt"/>
          <a:ea typeface="Deutsche Bank Text" panose="020B0503020202030204" pitchFamily="34" charset="0"/>
          <a:cs typeface="Deutsche Bank Text" panose="020B0503020202030204" pitchFamily="34" charset="0"/>
        </a:defRPr>
      </a:lvl3pPr>
      <a:lvl4pPr marL="812269" indent="-403254" algn="l" rtl="0" eaLnBrk="1" fontAlgn="base" hangingPunct="1">
        <a:lnSpc>
          <a:spcPct val="100000"/>
        </a:lnSpc>
        <a:spcBef>
          <a:spcPts val="133"/>
        </a:spcBef>
        <a:spcAft>
          <a:spcPts val="133"/>
        </a:spcAft>
        <a:buFont typeface="Arial" charset="0"/>
        <a:buChar char="—"/>
        <a:defRPr sz="1600" kern="1200" baseline="0">
          <a:solidFill>
            <a:schemeClr val="tx1"/>
          </a:solidFill>
          <a:latin typeface="+mn-lt"/>
          <a:ea typeface="ＭＳ Ｐゴシック" pitchFamily="-109" charset="-128"/>
        </a:defRPr>
      </a:lvl4pPr>
      <a:lvl5pPr marL="1139193" indent="-329804" algn="l" rtl="0" eaLnBrk="1" fontAlgn="base" hangingPunct="1">
        <a:lnSpc>
          <a:spcPct val="100000"/>
        </a:lnSpc>
        <a:spcBef>
          <a:spcPts val="133"/>
        </a:spcBef>
        <a:spcAft>
          <a:spcPts val="133"/>
        </a:spcAft>
        <a:buFont typeface="Arial" charset="0"/>
        <a:buChar char="—"/>
        <a:defRPr sz="1333" kern="1200" baseline="0">
          <a:solidFill>
            <a:schemeClr val="tx1"/>
          </a:solidFill>
          <a:latin typeface="+mn-lt"/>
          <a:ea typeface="ＭＳ Ｐゴシック" pitchFamily="-109" charset="-128"/>
        </a:defRPr>
      </a:lvl5pPr>
      <a:lvl6pPr marL="1177263"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6pPr>
      <a:lvl7pPr marL="1633587"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p:bodyStyle>
    <p:otherStyle>
      <a:defPPr>
        <a:defRPr lang="de-DE"/>
      </a:defPPr>
      <a:lvl1pPr marL="0" algn="l" defTabSz="912655" rtl="0" eaLnBrk="1" latinLnBrk="0" hangingPunct="1">
        <a:defRPr sz="1809" kern="1200">
          <a:solidFill>
            <a:schemeClr val="tx1"/>
          </a:solidFill>
          <a:latin typeface="+mn-lt"/>
          <a:ea typeface="+mn-ea"/>
          <a:cs typeface="+mn-cs"/>
        </a:defRPr>
      </a:lvl1pPr>
      <a:lvl2pPr marL="456327" algn="l" defTabSz="912655" rtl="0" eaLnBrk="1" latinLnBrk="0" hangingPunct="1">
        <a:defRPr sz="1809" kern="1200">
          <a:solidFill>
            <a:schemeClr val="tx1"/>
          </a:solidFill>
          <a:latin typeface="+mn-lt"/>
          <a:ea typeface="+mn-ea"/>
          <a:cs typeface="+mn-cs"/>
        </a:defRPr>
      </a:lvl2pPr>
      <a:lvl3pPr marL="912655" algn="l" defTabSz="912655" rtl="0" eaLnBrk="1" latinLnBrk="0" hangingPunct="1">
        <a:defRPr sz="1809" kern="1200">
          <a:solidFill>
            <a:schemeClr val="tx1"/>
          </a:solidFill>
          <a:latin typeface="+mn-lt"/>
          <a:ea typeface="+mn-ea"/>
          <a:cs typeface="+mn-cs"/>
        </a:defRPr>
      </a:lvl3pPr>
      <a:lvl4pPr marL="1368982" algn="l" defTabSz="912655" rtl="0" eaLnBrk="1" latinLnBrk="0" hangingPunct="1">
        <a:defRPr sz="1809" kern="1200">
          <a:solidFill>
            <a:schemeClr val="tx1"/>
          </a:solidFill>
          <a:latin typeface="+mn-lt"/>
          <a:ea typeface="+mn-ea"/>
          <a:cs typeface="+mn-cs"/>
        </a:defRPr>
      </a:lvl4pPr>
      <a:lvl5pPr marL="1825306" algn="l" defTabSz="912655" rtl="0" eaLnBrk="1" latinLnBrk="0" hangingPunct="1">
        <a:defRPr sz="1809" kern="1200">
          <a:solidFill>
            <a:schemeClr val="tx1"/>
          </a:solidFill>
          <a:latin typeface="+mn-lt"/>
          <a:ea typeface="+mn-ea"/>
          <a:cs typeface="+mn-cs"/>
        </a:defRPr>
      </a:lvl5pPr>
      <a:lvl6pPr marL="2281635" algn="l" defTabSz="912655" rtl="0" eaLnBrk="1" latinLnBrk="0" hangingPunct="1">
        <a:defRPr sz="1809" kern="1200">
          <a:solidFill>
            <a:schemeClr val="tx1"/>
          </a:solidFill>
          <a:latin typeface="+mn-lt"/>
          <a:ea typeface="+mn-ea"/>
          <a:cs typeface="+mn-cs"/>
        </a:defRPr>
      </a:lvl6pPr>
      <a:lvl7pPr marL="2737962" algn="l" defTabSz="912655" rtl="0" eaLnBrk="1" latinLnBrk="0" hangingPunct="1">
        <a:defRPr sz="1809" kern="1200">
          <a:solidFill>
            <a:schemeClr val="tx1"/>
          </a:solidFill>
          <a:latin typeface="+mn-lt"/>
          <a:ea typeface="+mn-ea"/>
          <a:cs typeface="+mn-cs"/>
        </a:defRPr>
      </a:lvl7pPr>
      <a:lvl8pPr marL="3194288" algn="l" defTabSz="912655" rtl="0" eaLnBrk="1" latinLnBrk="0" hangingPunct="1">
        <a:defRPr sz="1809" kern="1200">
          <a:solidFill>
            <a:schemeClr val="tx1"/>
          </a:solidFill>
          <a:latin typeface="+mn-lt"/>
          <a:ea typeface="+mn-ea"/>
          <a:cs typeface="+mn-cs"/>
        </a:defRPr>
      </a:lvl8pPr>
      <a:lvl9pPr marL="3650615" algn="l" defTabSz="912655" rtl="0" eaLnBrk="1" latinLnBrk="0" hangingPunct="1">
        <a:defRPr sz="1809"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5455">
          <p15:clr>
            <a:srgbClr val="F26B43"/>
          </p15:clr>
        </p15:guide>
        <p15:guide id="12" pos="306">
          <p15:clr>
            <a:srgbClr val="F26B43"/>
          </p15:clr>
        </p15:guide>
        <p15:guide id="13" orient="horz" pos="306">
          <p15:clr>
            <a:srgbClr val="F26B43"/>
          </p15:clr>
        </p15:guide>
        <p15:guide id="14" orient="horz" pos="2778">
          <p15:clr>
            <a:srgbClr val="F26B43"/>
          </p15:clr>
        </p15:guide>
        <p15:guide id="16" orient="horz" pos="2930">
          <p15:clr>
            <a:srgbClr val="F26B43"/>
          </p15:clr>
        </p15:guide>
        <p15:guide id="17" orient="horz" pos="849">
          <p15:clr>
            <a:srgbClr val="F26B43"/>
          </p15:clr>
        </p15:guide>
        <p15:guide id="18" orient="horz" pos="3086">
          <p15:clr>
            <a:srgbClr val="F26B43"/>
          </p15:clr>
        </p15:guide>
        <p15:guide id="19" pos="288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30.xml"/><Relationship Id="rId1" Type="http://schemas.openxmlformats.org/officeDocument/2006/relationships/tags" Target="../tags/tag13.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4.xml"/><Relationship Id="rId1" Type="http://schemas.openxmlformats.org/officeDocument/2006/relationships/tags" Target="../tags/tag14.xml"/><Relationship Id="rId5" Type="http://schemas.openxmlformats.org/officeDocument/2006/relationships/image" Target="../media/image15.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1.xml"/></Relationships>
</file>

<file path=ppt/slides/_rels/slide15.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1.xml"/></Relationships>
</file>

<file path=ppt/slides/_rels/slide16.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1.xml"/></Relationships>
</file>

<file path=ppt/slides/_rels/slide17.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36.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package" Target="../embeddings/Microsoft_Excel_Worksheet1.xlsx"/><Relationship Id="rId5" Type="http://schemas.openxmlformats.org/officeDocument/2006/relationships/chart" Target="../charts/chart23.xml"/><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slideLayout" Target="../slideLayouts/slideLayout30.xml"/><Relationship Id="rId1" Type="http://schemas.openxmlformats.org/officeDocument/2006/relationships/tags" Target="../tags/tag17.xml"/><Relationship Id="rId4" Type="http://schemas.openxmlformats.org/officeDocument/2006/relationships/chart" Target="../charts/chart25.xml"/></Relationships>
</file>

<file path=ppt/slides/_rels/slide24.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slideLayout" Target="../slideLayouts/slideLayout30.xml"/><Relationship Id="rId1" Type="http://schemas.openxmlformats.org/officeDocument/2006/relationships/tags" Target="../tags/tag18.xml"/><Relationship Id="rId5" Type="http://schemas.openxmlformats.org/officeDocument/2006/relationships/image" Target="../media/image37.png"/><Relationship Id="rId4" Type="http://schemas.openxmlformats.org/officeDocument/2006/relationships/chart" Target="../charts/chart2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chart" Target="../charts/chart32.xml"/><Relationship Id="rId4" Type="http://schemas.openxmlformats.org/officeDocument/2006/relationships/chart" Target="../charts/chart3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chart" Target="../charts/chart34.xml"/><Relationship Id="rId4" Type="http://schemas.openxmlformats.org/officeDocument/2006/relationships/chart" Target="../charts/chart33.xml"/></Relationships>
</file>

<file path=ppt/slides/_rels/slide2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slideLayout" Target="../slideLayouts/slideLayout30.xml"/><Relationship Id="rId1" Type="http://schemas.openxmlformats.org/officeDocument/2006/relationships/tags" Target="../tags/tag25.xml"/><Relationship Id="rId4" Type="http://schemas.openxmlformats.org/officeDocument/2006/relationships/chart" Target="../charts/chart36.xml"/></Relationships>
</file>

<file path=ppt/slides/_rels/slide29.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slideLayout" Target="../slideLayouts/slideLayout30.xml"/><Relationship Id="rId1" Type="http://schemas.openxmlformats.org/officeDocument/2006/relationships/tags" Target="../tags/tag26.xml"/><Relationship Id="rId6" Type="http://schemas.openxmlformats.org/officeDocument/2006/relationships/chart" Target="../charts/chart37.xml"/><Relationship Id="rId5" Type="http://schemas.openxmlformats.org/officeDocument/2006/relationships/image" Target="../media/image39.png"/><Relationship Id="rId4" Type="http://schemas.openxmlformats.org/officeDocument/2006/relationships/image" Target="../media/image38.emf"/></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8.svg"/><Relationship Id="rId7" Type="http://schemas.openxmlformats.org/officeDocument/2006/relationships/image" Target="../media/image22.svg"/><Relationship Id="rId12" Type="http://schemas.openxmlformats.org/officeDocument/2006/relationships/chart" Target="../charts/chart1.xml"/><Relationship Id="rId17" Type="http://schemas.openxmlformats.org/officeDocument/2006/relationships/image" Target="../media/image31.png"/><Relationship Id="rId2" Type="http://schemas.openxmlformats.org/officeDocument/2006/relationships/image" Target="../media/image17.png"/><Relationship Id="rId16" Type="http://schemas.openxmlformats.org/officeDocument/2006/relationships/image" Target="../media/image30.svg"/><Relationship Id="rId1" Type="http://schemas.openxmlformats.org/officeDocument/2006/relationships/slideLayout" Target="../slideLayouts/slideLayout27.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29.png"/><Relationship Id="rId10" Type="http://schemas.openxmlformats.org/officeDocument/2006/relationships/image" Target="../media/image25.png"/><Relationship Id="rId19" Type="http://schemas.openxmlformats.org/officeDocument/2006/relationships/image" Target="../media/image33.pn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8.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hyperlink" Target="http://www.bundesbank.de/" TargetMode="Externa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31.xml"/><Relationship Id="rId1" Type="http://schemas.openxmlformats.org/officeDocument/2006/relationships/tags" Target="../tags/tag10.xml"/><Relationship Id="rId5" Type="http://schemas.openxmlformats.org/officeDocument/2006/relationships/chart" Target="../charts/chart6.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microsoft.com/office/2014/relationships/chartEx" Target="../charts/chartEx1.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27.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30.xml"/><Relationship Id="rId1" Type="http://schemas.openxmlformats.org/officeDocument/2006/relationships/tags" Target="../tags/tag12.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2FE573C-EB3E-70D5-A2C7-30F99F256DF1}"/>
              </a:ext>
            </a:extLst>
          </p:cNvPr>
          <p:cNvSpPr>
            <a:spLocks noGrp="1"/>
          </p:cNvSpPr>
          <p:nvPr>
            <p:ph type="title"/>
          </p:nvPr>
        </p:nvSpPr>
        <p:spPr>
          <a:xfrm>
            <a:off x="972000" y="2200939"/>
            <a:ext cx="9590400" cy="1086443"/>
          </a:xfrm>
        </p:spPr>
        <p:txBody>
          <a:bodyPr/>
          <a:lstStyle/>
          <a:p>
            <a:r>
              <a:rPr lang="de-DE" dirty="0"/>
              <a:t>Medienkonferenz –   Kapitalmarktausblick 2025</a:t>
            </a:r>
          </a:p>
        </p:txBody>
      </p:sp>
      <p:sp>
        <p:nvSpPr>
          <p:cNvPr id="9" name="Textplatzhalter 8">
            <a:extLst>
              <a:ext uri="{FF2B5EF4-FFF2-40B4-BE49-F238E27FC236}">
                <a16:creationId xmlns:a16="http://schemas.microsoft.com/office/drawing/2014/main" id="{7F77F3E3-2628-80EF-66B0-42FADEDF663B}"/>
              </a:ext>
            </a:extLst>
          </p:cNvPr>
          <p:cNvSpPr>
            <a:spLocks noGrp="1"/>
          </p:cNvSpPr>
          <p:nvPr>
            <p:ph type="body" sz="quarter" idx="10"/>
          </p:nvPr>
        </p:nvSpPr>
        <p:spPr>
          <a:xfrm>
            <a:off x="971550" y="3339218"/>
            <a:ext cx="9591986" cy="1167812"/>
          </a:xfrm>
        </p:spPr>
        <p:txBody>
          <a:bodyPr/>
          <a:lstStyle/>
          <a:p>
            <a:r>
              <a:rPr lang="de-DE" sz="2400" dirty="0"/>
              <a:t>Christian Nolting</a:t>
            </a:r>
          </a:p>
          <a:p>
            <a:r>
              <a:rPr lang="de-DE" dirty="0"/>
              <a:t>Globaler Chief Investment Officer</a:t>
            </a:r>
          </a:p>
          <a:p>
            <a:endParaRPr lang="de-DE" sz="2400" dirty="0"/>
          </a:p>
          <a:p>
            <a:r>
              <a:rPr lang="de-DE" sz="2400" dirty="0"/>
              <a:t>Dr. Robin Winkler</a:t>
            </a:r>
          </a:p>
          <a:p>
            <a:r>
              <a:rPr lang="de-DE" dirty="0"/>
              <a:t>Chefvolkswirt Deutschland </a:t>
            </a:r>
          </a:p>
          <a:p>
            <a:endParaRPr lang="de-DE" sz="2400" dirty="0"/>
          </a:p>
          <a:p>
            <a:r>
              <a:rPr lang="de-DE" sz="2400" dirty="0"/>
              <a:t>Dr. Ulrich Stephan</a:t>
            </a:r>
          </a:p>
          <a:p>
            <a:r>
              <a:rPr lang="de-DE" dirty="0"/>
              <a:t>Chief Investment Officer für Deutschland</a:t>
            </a:r>
          </a:p>
        </p:txBody>
      </p:sp>
    </p:spTree>
    <p:extLst>
      <p:ext uri="{BB962C8B-B14F-4D97-AF65-F5344CB8AC3E}">
        <p14:creationId xmlns:p14="http://schemas.microsoft.com/office/powerpoint/2010/main" val="3826073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FC4C2-7215-4A3B-E895-24494FCBB6C8}"/>
              </a:ext>
              <a:ext uri="{C183D7F6-B498-43B3-948B-1728B52AA6E4}">
                <adec:decorative xmlns:adec="http://schemas.microsoft.com/office/drawing/2017/decorative" val="1"/>
              </a:ext>
            </a:extLst>
          </p:cNvPr>
          <p:cNvSpPr>
            <a:spLocks noGrp="1"/>
          </p:cNvSpPr>
          <p:nvPr>
            <p:ph type="title"/>
          </p:nvPr>
        </p:nvSpPr>
        <p:spPr/>
        <p:txBody>
          <a:bodyPr/>
          <a:lstStyle/>
          <a:p>
            <a:r>
              <a:rPr lang="de-DE" noProof="1"/>
              <a:t>Konsum – Wachsende Weltwirtschaft &amp; Wohlstand, etablierte und neue Verbraucher</a:t>
            </a:r>
          </a:p>
        </p:txBody>
      </p:sp>
      <p:sp>
        <p:nvSpPr>
          <p:cNvPr id="6" name="Text Placeholder 5">
            <a:extLst>
              <a:ext uri="{FF2B5EF4-FFF2-40B4-BE49-F238E27FC236}">
                <a16:creationId xmlns:a16="http://schemas.microsoft.com/office/drawing/2014/main" id="{9C9C6E2C-43F3-2811-5F31-E975C3C6FF08}"/>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a:t>Vermögenswachstum – USA, Europa &amp; Asien</a:t>
            </a:r>
          </a:p>
        </p:txBody>
      </p:sp>
      <p:graphicFrame>
        <p:nvGraphicFramePr>
          <p:cNvPr id="23" name="Content Placeholder 19">
            <a:extLst>
              <a:ext uri="{FF2B5EF4-FFF2-40B4-BE49-F238E27FC236}">
                <a16:creationId xmlns:a16="http://schemas.microsoft.com/office/drawing/2014/main" id="{8A8A1534-DFA6-E87B-4A9C-595A0A668B7E}"/>
              </a:ext>
              <a:ext uri="{C183D7F6-B498-43B3-948B-1728B52AA6E4}">
                <adec:decorative xmlns:adec="http://schemas.microsoft.com/office/drawing/2017/decorative" val="1"/>
              </a:ext>
            </a:extLst>
          </p:cNvPr>
          <p:cNvGraphicFramePr>
            <a:graphicFrameLocks noGrp="1"/>
          </p:cNvGraphicFramePr>
          <p:nvPr>
            <p:ph sz="quarter" idx="10"/>
            <p:custDataLst>
              <p:tags r:id="rId1"/>
            </p:custDataLst>
            <p:extLst>
              <p:ext uri="{D42A27DB-BD31-4B8C-83A1-F6EECF244321}">
                <p14:modId xmlns:p14="http://schemas.microsoft.com/office/powerpoint/2010/main" val="3846562654"/>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a:extLst>
              <a:ext uri="{FF2B5EF4-FFF2-40B4-BE49-F238E27FC236}">
                <a16:creationId xmlns:a16="http://schemas.microsoft.com/office/drawing/2014/main" id="{FED5BF64-DCC7-7E3C-876B-CBCCBF358C75}"/>
              </a:ext>
              <a:ext uri="{C183D7F6-B498-43B3-948B-1728B52AA6E4}">
                <adec:decorative xmlns:adec="http://schemas.microsoft.com/office/drawing/2017/decorative" val="1"/>
              </a:ext>
            </a:extLst>
          </p:cNvPr>
          <p:cNvSpPr>
            <a:spLocks noGrp="1"/>
          </p:cNvSpPr>
          <p:nvPr>
            <p:ph type="body" sz="quarter" idx="15"/>
          </p:nvPr>
        </p:nvSpPr>
        <p:spPr>
          <a:xfrm>
            <a:off x="6208776" y="1371600"/>
            <a:ext cx="5678424" cy="492443"/>
          </a:xfrm>
        </p:spPr>
        <p:txBody>
          <a:bodyPr/>
          <a:lstStyle/>
          <a:p>
            <a:r>
              <a:rPr lang="de-DE"/>
              <a:t>Aufstieg der Mittelschicht – China &amp; Indien legen deutlich zu</a:t>
            </a:r>
          </a:p>
        </p:txBody>
      </p:sp>
      <p:sp>
        <p:nvSpPr>
          <p:cNvPr id="25" name="TextBox 24">
            <a:extLst>
              <a:ext uri="{FF2B5EF4-FFF2-40B4-BE49-F238E27FC236}">
                <a16:creationId xmlns:a16="http://schemas.microsoft.com/office/drawing/2014/main" id="{801C25E6-46F0-7252-1FCB-D9A40EE681D3}"/>
              </a:ext>
              <a:ext uri="{C183D7F6-B498-43B3-948B-1728B52AA6E4}">
                <adec:decorative xmlns:adec="http://schemas.microsoft.com/office/drawing/2017/decorative" val="1"/>
              </a:ext>
            </a:extLst>
          </p:cNvPr>
          <p:cNvSpPr txBox="1"/>
          <p:nvPr/>
        </p:nvSpPr>
        <p:spPr>
          <a:xfrm>
            <a:off x="6215063" y="1854462"/>
            <a:ext cx="5538101" cy="246221"/>
          </a:xfrm>
          <a:prstGeom prst="rect">
            <a:avLst/>
          </a:prstGeom>
          <a:noFill/>
        </p:spPr>
        <p:txBody>
          <a:bodyPr wrap="square" rtlCol="0">
            <a:spAutoFit/>
          </a:bodyPr>
          <a:lstStyle/>
          <a:p>
            <a:pPr algn="ctr"/>
            <a:r>
              <a:rPr lang="de-DE" sz="1000">
                <a:solidFill>
                  <a:srgbClr val="000000">
                    <a:lumMod val="65000"/>
                    <a:lumOff val="35000"/>
                  </a:srgbClr>
                </a:solidFill>
                <a:latin typeface="Deutsche Bank Text" panose="020B0503020202030204" pitchFamily="34" charset="0"/>
                <a:ea typeface="Deutsche Bank Text" panose="020B0503020202030204" pitchFamily="34" charset="0"/>
                <a:cs typeface="Deutsche Bank Text" panose="020B0503020202030204" pitchFamily="34" charset="0"/>
              </a:rPr>
              <a:t>Anteil am globalen Konsum der Mittelschicht, 2000-2050</a:t>
            </a:r>
          </a:p>
        </p:txBody>
      </p:sp>
      <p:pic>
        <p:nvPicPr>
          <p:cNvPr id="24" name="Content Placeholder 23">
            <a:extLst>
              <a:ext uri="{FF2B5EF4-FFF2-40B4-BE49-F238E27FC236}">
                <a16:creationId xmlns:a16="http://schemas.microsoft.com/office/drawing/2014/main" id="{200BF22B-4BA2-FE92-3008-17968E99DCD2}"/>
              </a:ext>
              <a:ext uri="{C183D7F6-B498-43B3-948B-1728B52AA6E4}">
                <adec:decorative xmlns:adec="http://schemas.microsoft.com/office/drawing/2017/decorative" val="1"/>
              </a:ext>
            </a:extLst>
          </p:cNvPr>
          <p:cNvPicPr>
            <a:picLocks noGrp="1" noChangeAspect="1"/>
          </p:cNvPicPr>
          <p:nvPr>
            <p:ph sz="quarter" idx="11"/>
          </p:nvPr>
        </p:nvPicPr>
        <p:blipFill rotWithShape="1">
          <a:blip r:embed="rId4"/>
          <a:srcRect t="13370" r="15951"/>
          <a:stretch/>
        </p:blipFill>
        <p:spPr>
          <a:xfrm>
            <a:off x="6205538" y="2076748"/>
            <a:ext cx="4969223" cy="2841327"/>
          </a:xfrm>
          <a:prstGeom prst="rect">
            <a:avLst/>
          </a:prstGeom>
        </p:spPr>
      </p:pic>
      <p:sp>
        <p:nvSpPr>
          <p:cNvPr id="8" name="Rectangle 7">
            <a:extLst>
              <a:ext uri="{FF2B5EF4-FFF2-40B4-BE49-F238E27FC236}">
                <a16:creationId xmlns:a16="http://schemas.microsoft.com/office/drawing/2014/main" id="{4643529F-2F4D-AADC-D516-4A882698630F}"/>
              </a:ext>
              <a:ext uri="{C183D7F6-B498-43B3-948B-1728B52AA6E4}">
                <adec:decorative xmlns:adec="http://schemas.microsoft.com/office/drawing/2017/decorative" val="1"/>
              </a:ext>
            </a:extLst>
          </p:cNvPr>
          <p:cNvSpPr/>
          <p:nvPr/>
        </p:nvSpPr>
        <p:spPr bwMode="auto">
          <a:xfrm>
            <a:off x="11104764" y="2308813"/>
            <a:ext cx="640080" cy="225010"/>
          </a:xfrm>
          <a:prstGeom prst="rect">
            <a:avLst/>
          </a:prstGeom>
          <a:noFill/>
          <a:ln w="6350">
            <a:noFill/>
            <a:miter lim="800000"/>
            <a:headEnd/>
            <a:tailEnd/>
          </a:ln>
        </p:spPr>
        <p:txBody>
          <a:bodyPr wrap="square" lIns="100913" tIns="50457" rIns="100913" bIns="50457"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200" b="0" i="0" u="none" strike="noStrike" kern="1200" spc="0" baseline="0">
                <a:solidFill>
                  <a:prstClr val="black">
                    <a:lumMod val="65000"/>
                    <a:lumOff val="35000"/>
                  </a:prstClr>
                </a:solidFill>
                <a:latin typeface="+mn-lt"/>
                <a:ea typeface="+mn-ea"/>
                <a:cs typeface="+mn-cs"/>
              </a:defRPr>
            </a:pPr>
            <a:r>
              <a:rPr lang="de-DE" sz="800" noProof="0"/>
              <a:t>Sonstige</a:t>
            </a:r>
          </a:p>
        </p:txBody>
      </p:sp>
      <p:sp>
        <p:nvSpPr>
          <p:cNvPr id="9" name="Rectangle 8">
            <a:extLst>
              <a:ext uri="{FF2B5EF4-FFF2-40B4-BE49-F238E27FC236}">
                <a16:creationId xmlns:a16="http://schemas.microsoft.com/office/drawing/2014/main" id="{489F0CC3-E1C4-8969-E194-307748BCCD86}"/>
              </a:ext>
              <a:ext uri="{C183D7F6-B498-43B3-948B-1728B52AA6E4}">
                <adec:decorative xmlns:adec="http://schemas.microsoft.com/office/drawing/2017/decorative" val="1"/>
              </a:ext>
            </a:extLst>
          </p:cNvPr>
          <p:cNvSpPr/>
          <p:nvPr/>
        </p:nvSpPr>
        <p:spPr bwMode="auto">
          <a:xfrm>
            <a:off x="11113084" y="2575598"/>
            <a:ext cx="640080" cy="225010"/>
          </a:xfrm>
          <a:prstGeom prst="rect">
            <a:avLst/>
          </a:prstGeom>
          <a:noFill/>
          <a:ln w="6350">
            <a:noFill/>
            <a:miter lim="800000"/>
            <a:headEnd/>
            <a:tailEnd/>
          </a:ln>
        </p:spPr>
        <p:txBody>
          <a:bodyPr wrap="square" lIns="100913" tIns="50457" rIns="100913" bIns="50457"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200" b="0" i="0" u="none" strike="noStrike" kern="1200" spc="0" baseline="0">
                <a:solidFill>
                  <a:prstClr val="black">
                    <a:lumMod val="65000"/>
                    <a:lumOff val="35000"/>
                  </a:prstClr>
                </a:solidFill>
                <a:latin typeface="+mn-lt"/>
                <a:ea typeface="+mn-ea"/>
                <a:cs typeface="+mn-cs"/>
              </a:defRPr>
            </a:pPr>
            <a:r>
              <a:rPr lang="de-DE" sz="800" noProof="0"/>
              <a:t>EU</a:t>
            </a:r>
          </a:p>
        </p:txBody>
      </p:sp>
      <p:sp>
        <p:nvSpPr>
          <p:cNvPr id="10" name="Rectangle 9">
            <a:extLst>
              <a:ext uri="{FF2B5EF4-FFF2-40B4-BE49-F238E27FC236}">
                <a16:creationId xmlns:a16="http://schemas.microsoft.com/office/drawing/2014/main" id="{35BE2E3C-CBED-4072-F9AF-59E55D751302}"/>
              </a:ext>
              <a:ext uri="{C183D7F6-B498-43B3-948B-1728B52AA6E4}">
                <adec:decorative xmlns:adec="http://schemas.microsoft.com/office/drawing/2017/decorative" val="1"/>
              </a:ext>
            </a:extLst>
          </p:cNvPr>
          <p:cNvSpPr/>
          <p:nvPr/>
        </p:nvSpPr>
        <p:spPr bwMode="auto">
          <a:xfrm>
            <a:off x="11113084" y="2697823"/>
            <a:ext cx="640080" cy="225010"/>
          </a:xfrm>
          <a:prstGeom prst="rect">
            <a:avLst/>
          </a:prstGeom>
          <a:noFill/>
          <a:ln w="6350">
            <a:noFill/>
            <a:miter lim="800000"/>
            <a:headEnd/>
            <a:tailEnd/>
          </a:ln>
        </p:spPr>
        <p:txBody>
          <a:bodyPr wrap="square" lIns="100913" tIns="50457" rIns="100913" bIns="50457"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200" b="0" i="0" u="none" strike="noStrike" kern="1200" spc="0" baseline="0">
                <a:solidFill>
                  <a:prstClr val="black">
                    <a:lumMod val="65000"/>
                    <a:lumOff val="35000"/>
                  </a:prstClr>
                </a:solidFill>
                <a:latin typeface="+mn-lt"/>
                <a:ea typeface="+mn-ea"/>
                <a:cs typeface="+mn-cs"/>
              </a:defRPr>
            </a:pPr>
            <a:r>
              <a:rPr lang="de-DE" sz="800" noProof="0"/>
              <a:t>USA</a:t>
            </a:r>
          </a:p>
        </p:txBody>
      </p:sp>
      <p:sp>
        <p:nvSpPr>
          <p:cNvPr id="11" name="Rectangle 10">
            <a:extLst>
              <a:ext uri="{FF2B5EF4-FFF2-40B4-BE49-F238E27FC236}">
                <a16:creationId xmlns:a16="http://schemas.microsoft.com/office/drawing/2014/main" id="{2F30B88D-649A-67B7-3A4C-A1122EBF8142}"/>
              </a:ext>
              <a:ext uri="{C183D7F6-B498-43B3-948B-1728B52AA6E4}">
                <adec:decorative xmlns:adec="http://schemas.microsoft.com/office/drawing/2017/decorative" val="1"/>
              </a:ext>
            </a:extLst>
          </p:cNvPr>
          <p:cNvSpPr/>
          <p:nvPr/>
        </p:nvSpPr>
        <p:spPr bwMode="auto">
          <a:xfrm>
            <a:off x="11113084" y="2801934"/>
            <a:ext cx="640080" cy="225010"/>
          </a:xfrm>
          <a:prstGeom prst="rect">
            <a:avLst/>
          </a:prstGeom>
          <a:noFill/>
          <a:ln w="6350">
            <a:noFill/>
            <a:miter lim="800000"/>
            <a:headEnd/>
            <a:tailEnd/>
          </a:ln>
        </p:spPr>
        <p:txBody>
          <a:bodyPr wrap="square" lIns="100913" tIns="50457" rIns="100913" bIns="50457"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200" b="0" i="0" u="none" strike="noStrike" kern="1200" spc="0" baseline="0">
                <a:solidFill>
                  <a:prstClr val="black">
                    <a:lumMod val="65000"/>
                    <a:lumOff val="35000"/>
                  </a:prstClr>
                </a:solidFill>
                <a:latin typeface="+mn-lt"/>
                <a:ea typeface="+mn-ea"/>
                <a:cs typeface="+mn-cs"/>
              </a:defRPr>
            </a:pPr>
            <a:r>
              <a:rPr lang="de-DE" sz="800" noProof="0"/>
              <a:t>Japan</a:t>
            </a:r>
          </a:p>
        </p:txBody>
      </p:sp>
      <p:sp>
        <p:nvSpPr>
          <p:cNvPr id="12" name="Rectangle 11">
            <a:extLst>
              <a:ext uri="{FF2B5EF4-FFF2-40B4-BE49-F238E27FC236}">
                <a16:creationId xmlns:a16="http://schemas.microsoft.com/office/drawing/2014/main" id="{5CFBACE4-BACD-0567-3F70-F8DE8CEDE745}"/>
              </a:ext>
              <a:ext uri="{C183D7F6-B498-43B3-948B-1728B52AA6E4}">
                <adec:decorative xmlns:adec="http://schemas.microsoft.com/office/drawing/2017/decorative" val="1"/>
              </a:ext>
            </a:extLst>
          </p:cNvPr>
          <p:cNvSpPr/>
          <p:nvPr/>
        </p:nvSpPr>
        <p:spPr bwMode="auto">
          <a:xfrm>
            <a:off x="11113084" y="2936163"/>
            <a:ext cx="640080" cy="348121"/>
          </a:xfrm>
          <a:prstGeom prst="rect">
            <a:avLst/>
          </a:prstGeom>
          <a:noFill/>
          <a:ln w="6350">
            <a:noFill/>
            <a:miter lim="800000"/>
            <a:headEnd/>
            <a:tailEnd/>
          </a:ln>
        </p:spPr>
        <p:txBody>
          <a:bodyPr wrap="square" lIns="100913" tIns="50457" rIns="100913" bIns="50457"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200" b="0" i="0" u="none" strike="noStrike" kern="1200" spc="0" baseline="0">
                <a:solidFill>
                  <a:prstClr val="black">
                    <a:lumMod val="65000"/>
                    <a:lumOff val="35000"/>
                  </a:prstClr>
                </a:solidFill>
                <a:latin typeface="+mn-lt"/>
                <a:ea typeface="+mn-ea"/>
                <a:cs typeface="+mn-cs"/>
              </a:defRPr>
            </a:pPr>
            <a:r>
              <a:rPr lang="de-DE" sz="800" noProof="0"/>
              <a:t>Sonstige Asien</a:t>
            </a:r>
          </a:p>
        </p:txBody>
      </p:sp>
      <p:sp>
        <p:nvSpPr>
          <p:cNvPr id="13" name="Rectangle 12">
            <a:extLst>
              <a:ext uri="{FF2B5EF4-FFF2-40B4-BE49-F238E27FC236}">
                <a16:creationId xmlns:a16="http://schemas.microsoft.com/office/drawing/2014/main" id="{FF6DC8FA-906F-6D0E-9155-872F03A73EF8}"/>
              </a:ext>
              <a:ext uri="{C183D7F6-B498-43B3-948B-1728B52AA6E4}">
                <adec:decorative xmlns:adec="http://schemas.microsoft.com/office/drawing/2017/decorative" val="1"/>
              </a:ext>
            </a:extLst>
          </p:cNvPr>
          <p:cNvSpPr/>
          <p:nvPr/>
        </p:nvSpPr>
        <p:spPr bwMode="auto">
          <a:xfrm>
            <a:off x="11097522" y="3492760"/>
            <a:ext cx="640080" cy="225010"/>
          </a:xfrm>
          <a:prstGeom prst="rect">
            <a:avLst/>
          </a:prstGeom>
          <a:noFill/>
          <a:ln w="6350">
            <a:noFill/>
            <a:miter lim="800000"/>
            <a:headEnd/>
            <a:tailEnd/>
          </a:ln>
        </p:spPr>
        <p:txBody>
          <a:bodyPr wrap="square" lIns="100913" tIns="50457" rIns="100913" bIns="50457"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200" b="0" i="0" u="none" strike="noStrike" kern="1200" spc="0" baseline="0">
                <a:solidFill>
                  <a:prstClr val="black">
                    <a:lumMod val="65000"/>
                    <a:lumOff val="35000"/>
                  </a:prstClr>
                </a:solidFill>
                <a:latin typeface="+mn-lt"/>
                <a:ea typeface="+mn-ea"/>
                <a:cs typeface="+mn-cs"/>
              </a:defRPr>
            </a:pPr>
            <a:r>
              <a:rPr lang="de-DE" sz="800" noProof="0"/>
              <a:t>Indien</a:t>
            </a:r>
          </a:p>
        </p:txBody>
      </p:sp>
      <p:sp>
        <p:nvSpPr>
          <p:cNvPr id="14" name="Rectangle 13">
            <a:extLst>
              <a:ext uri="{FF2B5EF4-FFF2-40B4-BE49-F238E27FC236}">
                <a16:creationId xmlns:a16="http://schemas.microsoft.com/office/drawing/2014/main" id="{6CD66C53-8EF8-12F3-BBD9-9B266FBB7A6B}"/>
              </a:ext>
              <a:ext uri="{C183D7F6-B498-43B3-948B-1728B52AA6E4}">
                <adec:decorative xmlns:adec="http://schemas.microsoft.com/office/drawing/2017/decorative" val="1"/>
              </a:ext>
            </a:extLst>
          </p:cNvPr>
          <p:cNvSpPr/>
          <p:nvPr/>
        </p:nvSpPr>
        <p:spPr bwMode="auto">
          <a:xfrm>
            <a:off x="11097522" y="4098292"/>
            <a:ext cx="640080" cy="225010"/>
          </a:xfrm>
          <a:prstGeom prst="rect">
            <a:avLst/>
          </a:prstGeom>
          <a:noFill/>
          <a:ln w="6350">
            <a:noFill/>
            <a:miter lim="800000"/>
            <a:headEnd/>
            <a:tailEnd/>
          </a:ln>
        </p:spPr>
        <p:txBody>
          <a:bodyPr wrap="square" lIns="100913" tIns="50457" rIns="100913" bIns="50457"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200" b="0" i="0" u="none" strike="noStrike" kern="1200" spc="0" baseline="0">
                <a:solidFill>
                  <a:prstClr val="black">
                    <a:lumMod val="65000"/>
                    <a:lumOff val="35000"/>
                  </a:prstClr>
                </a:solidFill>
                <a:latin typeface="+mn-lt"/>
                <a:ea typeface="+mn-ea"/>
                <a:cs typeface="+mn-cs"/>
              </a:defRPr>
            </a:pPr>
            <a:r>
              <a:rPr lang="de-DE" sz="800" noProof="0"/>
              <a:t>China</a:t>
            </a:r>
          </a:p>
        </p:txBody>
      </p:sp>
      <p:sp>
        <p:nvSpPr>
          <p:cNvPr id="3" name="Content Placeholder 21">
            <a:extLst>
              <a:ext uri="{FF2B5EF4-FFF2-40B4-BE49-F238E27FC236}">
                <a16:creationId xmlns:a16="http://schemas.microsoft.com/office/drawing/2014/main" id="{5B0E70B7-E1B5-101D-4DF5-53B8CC355490}"/>
              </a:ext>
              <a:ext uri="{C183D7F6-B498-43B3-948B-1728B52AA6E4}">
                <adec:decorative xmlns:adec="http://schemas.microsoft.com/office/drawing/2017/decorative" val="1"/>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Robuster US-Konsum dank verbesserten Verbrauchervertrauens, Einkommenswachstums &amp; Vermögenseffekten</a:t>
            </a:r>
          </a:p>
          <a:p>
            <a:pPr marL="285750" indent="-285750">
              <a:spcAft>
                <a:spcPts val="600"/>
              </a:spcAft>
              <a:buFont typeface="Arial" panose="020B0604020202020204" pitchFamily="34" charset="0"/>
              <a:buChar char="•"/>
            </a:pPr>
            <a:r>
              <a:rPr lang="de-DE"/>
              <a:t>Europa mit Aufholpotenzial, steigende Löhne &amp; reales Einkommenswachstum vs. schwaches Verbrauchervertrauen</a:t>
            </a:r>
          </a:p>
          <a:p>
            <a:pPr marL="285750" indent="-285750">
              <a:spcAft>
                <a:spcPts val="600"/>
              </a:spcAft>
              <a:buFont typeface="Arial" panose="020B0604020202020204" pitchFamily="34" charset="0"/>
              <a:buChar char="•"/>
            </a:pPr>
            <a:r>
              <a:rPr lang="de-DE"/>
              <a:t>Langfristiges Konsumwachstum in Asien, starkes Wachstum der Mittelschicht</a:t>
            </a:r>
          </a:p>
        </p:txBody>
      </p:sp>
      <p:sp>
        <p:nvSpPr>
          <p:cNvPr id="17" name="Inhaltsplatzhalter 16">
            <a:extLst>
              <a:ext uri="{FF2B5EF4-FFF2-40B4-BE49-F238E27FC236}">
                <a16:creationId xmlns:a16="http://schemas.microsoft.com/office/drawing/2014/main" id="{BE8EC977-2B81-99FA-24AE-2E264E1D19D3}"/>
              </a:ext>
              <a:ext uri="{C183D7F6-B498-43B3-948B-1728B52AA6E4}">
                <adec:decorative xmlns:adec="http://schemas.microsoft.com/office/drawing/2017/decorative" val="1"/>
              </a:ext>
            </a:extLst>
          </p:cNvPr>
          <p:cNvSpPr>
            <a:spLocks noGrp="1"/>
          </p:cNvSpPr>
          <p:nvPr>
            <p:ph sz="quarter" idx="13"/>
          </p:nvPr>
        </p:nvSpPr>
        <p:spPr/>
        <p:txBody>
          <a:bodyPr/>
          <a:lstStyle/>
          <a:p>
            <a:r>
              <a:rPr lang="de-DE"/>
              <a:t>Quelle: Deloitte, OECD, Deutsche Bank AG. Stand: 26.11.2024.</a:t>
            </a:r>
          </a:p>
          <a:p>
            <a:endParaRPr lang="de-DE"/>
          </a:p>
        </p:txBody>
      </p:sp>
      <p:sp>
        <p:nvSpPr>
          <p:cNvPr id="5" name="Slide Number Placeholder 4">
            <a:extLst>
              <a:ext uri="{FF2B5EF4-FFF2-40B4-BE49-F238E27FC236}">
                <a16:creationId xmlns:a16="http://schemas.microsoft.com/office/drawing/2014/main" id="{592AAE03-86CD-C90C-9CCC-968E68C97DE8}"/>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10</a:t>
            </a:fld>
            <a:endParaRPr lang="de-DE" noProof="1"/>
          </a:p>
        </p:txBody>
      </p:sp>
    </p:spTree>
    <p:extLst>
      <p:ext uri="{BB962C8B-B14F-4D97-AF65-F5344CB8AC3E}">
        <p14:creationId xmlns:p14="http://schemas.microsoft.com/office/powerpoint/2010/main" val="3072820036"/>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ntent Placeholder 20">
            <a:extLst>
              <a:ext uri="{FF2B5EF4-FFF2-40B4-BE49-F238E27FC236}">
                <a16:creationId xmlns:a16="http://schemas.microsoft.com/office/drawing/2014/main" id="{33D4F34C-4501-415A-8EC3-098D6B4A931A}"/>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1072161828"/>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179FC4C2-7215-4A3B-E895-24494FCBB6C8}"/>
              </a:ext>
              <a:ext uri="{C183D7F6-B498-43B3-948B-1728B52AA6E4}">
                <adec:decorative xmlns:adec="http://schemas.microsoft.com/office/drawing/2017/decorative" val="1"/>
              </a:ext>
            </a:extLst>
          </p:cNvPr>
          <p:cNvSpPr>
            <a:spLocks noGrp="1"/>
          </p:cNvSpPr>
          <p:nvPr>
            <p:ph type="title"/>
          </p:nvPr>
        </p:nvSpPr>
        <p:spPr/>
        <p:txBody>
          <a:bodyPr/>
          <a:lstStyle/>
          <a:p>
            <a:r>
              <a:rPr lang="de-DE"/>
              <a:t>Technologie – Schlüssel zum Wachstum, US-Unternehmen dominieren am Weltaktienmarkt </a:t>
            </a:r>
          </a:p>
        </p:txBody>
      </p:sp>
      <p:sp>
        <p:nvSpPr>
          <p:cNvPr id="6" name="Text Placeholder 5">
            <a:extLst>
              <a:ext uri="{FF2B5EF4-FFF2-40B4-BE49-F238E27FC236}">
                <a16:creationId xmlns:a16="http://schemas.microsoft.com/office/drawing/2014/main" id="{9C9C6E2C-43F3-2811-5F31-E975C3C6FF08}"/>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a:t>Wachstumsmärkte – Tech dominiert Umsatzpotenzial</a:t>
            </a:r>
          </a:p>
        </p:txBody>
      </p:sp>
      <p:sp>
        <p:nvSpPr>
          <p:cNvPr id="8" name="Rectangle 7">
            <a:extLst>
              <a:ext uri="{FF2B5EF4-FFF2-40B4-BE49-F238E27FC236}">
                <a16:creationId xmlns:a16="http://schemas.microsoft.com/office/drawing/2014/main" id="{223E2C1D-89F4-4126-BB10-4DCEF6D19007}"/>
              </a:ext>
              <a:ext uri="{C183D7F6-B498-43B3-948B-1728B52AA6E4}">
                <adec:decorative xmlns:adec="http://schemas.microsoft.com/office/drawing/2017/decorative" val="1"/>
              </a:ext>
            </a:extLst>
          </p:cNvPr>
          <p:cNvSpPr/>
          <p:nvPr/>
        </p:nvSpPr>
        <p:spPr bwMode="auto">
          <a:xfrm>
            <a:off x="962026" y="1880333"/>
            <a:ext cx="137160" cy="158017"/>
          </a:xfrm>
          <a:prstGeom prst="rect">
            <a:avLst/>
          </a:prstGeom>
          <a:solidFill>
            <a:srgbClr val="136286"/>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en-US" err="1">
              <a:solidFill>
                <a:srgbClr val="FFFFFF"/>
              </a:solidFill>
              <a:latin typeface="+mn-lt"/>
            </a:endParaRPr>
          </a:p>
        </p:txBody>
      </p:sp>
      <p:sp>
        <p:nvSpPr>
          <p:cNvPr id="4" name="Rectangle 3">
            <a:extLst>
              <a:ext uri="{FF2B5EF4-FFF2-40B4-BE49-F238E27FC236}">
                <a16:creationId xmlns:a16="http://schemas.microsoft.com/office/drawing/2014/main" id="{07277E45-29A7-C2EC-0E8F-93CFB1E695B6}"/>
              </a:ext>
              <a:ext uri="{C183D7F6-B498-43B3-948B-1728B52AA6E4}">
                <adec:decorative xmlns:adec="http://schemas.microsoft.com/office/drawing/2017/decorative" val="1"/>
              </a:ext>
            </a:extLst>
          </p:cNvPr>
          <p:cNvSpPr/>
          <p:nvPr/>
        </p:nvSpPr>
        <p:spPr bwMode="auto">
          <a:xfrm rot="2205094">
            <a:off x="894208" y="1984439"/>
            <a:ext cx="274320" cy="91440"/>
          </a:xfrm>
          <a:prstGeom prst="rect">
            <a:avLst/>
          </a:prstGeom>
          <a:solidFill>
            <a:schemeClr val="bg1"/>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7" name="Text Placeholder 6">
            <a:extLst>
              <a:ext uri="{FF2B5EF4-FFF2-40B4-BE49-F238E27FC236}">
                <a16:creationId xmlns:a16="http://schemas.microsoft.com/office/drawing/2014/main" id="{FED5BF64-DCC7-7E3C-876B-CBCCBF358C75}"/>
              </a:ext>
              <a:ext uri="{C183D7F6-B498-43B3-948B-1728B52AA6E4}">
                <adec:decorative xmlns:adec="http://schemas.microsoft.com/office/drawing/2017/decorative" val="1"/>
              </a:ext>
            </a:extLst>
          </p:cNvPr>
          <p:cNvSpPr>
            <a:spLocks noGrp="1"/>
          </p:cNvSpPr>
          <p:nvPr>
            <p:ph type="body" sz="quarter" idx="15"/>
          </p:nvPr>
        </p:nvSpPr>
        <p:spPr/>
        <p:txBody>
          <a:bodyPr/>
          <a:lstStyle/>
          <a:p>
            <a:r>
              <a:rPr lang="de-DE"/>
              <a:t>IT-Gewinne – Weiteres Wachstum wahrscheinlich</a:t>
            </a:r>
          </a:p>
        </p:txBody>
      </p:sp>
      <p:graphicFrame>
        <p:nvGraphicFramePr>
          <p:cNvPr id="10" name="Content Placeholder 9">
            <a:extLst>
              <a:ext uri="{FF2B5EF4-FFF2-40B4-BE49-F238E27FC236}">
                <a16:creationId xmlns:a16="http://schemas.microsoft.com/office/drawing/2014/main" id="{10D09B83-68FF-4A2E-A79B-2556E65D98B2}"/>
              </a:ext>
              <a:ext uri="{C183D7F6-B498-43B3-948B-1728B52AA6E4}">
                <adec:decorative xmlns:adec="http://schemas.microsoft.com/office/drawing/2017/decorative" val="1"/>
              </a:ext>
            </a:extLst>
          </p:cNvPr>
          <p:cNvGraphicFramePr>
            <a:graphicFrameLocks noGrp="1"/>
          </p:cNvGraphicFramePr>
          <p:nvPr>
            <p:ph sz="quarter" idx="11"/>
            <p:extLst>
              <p:ext uri="{D42A27DB-BD31-4B8C-83A1-F6EECF244321}">
                <p14:modId xmlns:p14="http://schemas.microsoft.com/office/powerpoint/2010/main" val="1842041609"/>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3"/>
          </a:graphicData>
        </a:graphic>
      </p:graphicFrame>
      <p:sp>
        <p:nvSpPr>
          <p:cNvPr id="3" name="Content Placeholder 21">
            <a:extLst>
              <a:ext uri="{FF2B5EF4-FFF2-40B4-BE49-F238E27FC236}">
                <a16:creationId xmlns:a16="http://schemas.microsoft.com/office/drawing/2014/main" id="{C58F6DDB-D248-AB8A-53D4-369E0053078B}"/>
              </a:ext>
              <a:ext uri="{C183D7F6-B498-43B3-948B-1728B52AA6E4}">
                <adec:decorative xmlns:adec="http://schemas.microsoft.com/office/drawing/2017/decorative" val="1"/>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Produktivität durch technischen Fortschritt bei guter Kapitalausstattung und qualifizierten Beschäftigten</a:t>
            </a:r>
          </a:p>
          <a:p>
            <a:pPr marL="285750" indent="-285750">
              <a:spcAft>
                <a:spcPts val="600"/>
              </a:spcAft>
              <a:buFont typeface="Arial" panose="020B0604020202020204" pitchFamily="34" charset="0"/>
              <a:buChar char="•"/>
            </a:pPr>
            <a:r>
              <a:rPr lang="de-DE"/>
              <a:t>Technologie ist allgegenwärtig – In Tech-Sektoren, in Nicht-Tech-Sektoren, in Wachstumsmärkten und im Alltag </a:t>
            </a:r>
          </a:p>
          <a:p>
            <a:pPr marL="285750" indent="-285750">
              <a:spcAft>
                <a:spcPts val="600"/>
              </a:spcAft>
              <a:buFont typeface="Arial" panose="020B0604020202020204" pitchFamily="34" charset="0"/>
              <a:buChar char="•"/>
            </a:pPr>
            <a:r>
              <a:rPr lang="de-DE"/>
              <a:t>Wachstum durch Innovationen – Schaffung eines idealen Wirtschaftsumfelds für innovative Unternehmen</a:t>
            </a:r>
          </a:p>
        </p:txBody>
      </p:sp>
      <p:sp>
        <p:nvSpPr>
          <p:cNvPr id="15" name="Inhaltsplatzhalter 14">
            <a:extLst>
              <a:ext uri="{FF2B5EF4-FFF2-40B4-BE49-F238E27FC236}">
                <a16:creationId xmlns:a16="http://schemas.microsoft.com/office/drawing/2014/main" id="{3E779F0D-E174-BC45-119F-C28BCEA6874B}"/>
              </a:ext>
              <a:ext uri="{C183D7F6-B498-43B3-948B-1728B52AA6E4}">
                <adec:decorative xmlns:adec="http://schemas.microsoft.com/office/drawing/2017/decorative" val="1"/>
              </a:ext>
            </a:extLst>
          </p:cNvPr>
          <p:cNvSpPr>
            <a:spLocks noGrp="1"/>
          </p:cNvSpPr>
          <p:nvPr>
            <p:ph sz="quarter" idx="13"/>
          </p:nvPr>
        </p:nvSpPr>
        <p:spPr/>
        <p:txBody>
          <a:bodyPr/>
          <a:lstStyle/>
          <a:p>
            <a:r>
              <a:rPr lang="de-DE"/>
              <a:t>Quelle: McKinsey, LSEG Datastream, Deutsche Bank AG. Stand: 26.11.2024.</a:t>
            </a:r>
          </a:p>
        </p:txBody>
      </p:sp>
      <p:sp>
        <p:nvSpPr>
          <p:cNvPr id="5" name="Slide Number Placeholder 4">
            <a:extLst>
              <a:ext uri="{FF2B5EF4-FFF2-40B4-BE49-F238E27FC236}">
                <a16:creationId xmlns:a16="http://schemas.microsoft.com/office/drawing/2014/main" id="{592AAE03-86CD-C90C-9CCC-968E68C97DE8}"/>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11</a:t>
            </a:fld>
            <a:endParaRPr lang="de-DE" noProof="1"/>
          </a:p>
        </p:txBody>
      </p:sp>
    </p:spTree>
    <p:extLst>
      <p:ext uri="{BB962C8B-B14F-4D97-AF65-F5344CB8AC3E}">
        <p14:creationId xmlns:p14="http://schemas.microsoft.com/office/powerpoint/2010/main" val="529585047"/>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FC4C2-7215-4A3B-E895-24494FCBB6C8}"/>
              </a:ext>
              <a:ext uri="{C183D7F6-B498-43B3-948B-1728B52AA6E4}">
                <adec:decorative xmlns:adec="http://schemas.microsoft.com/office/drawing/2017/decorative" val="1"/>
              </a:ext>
            </a:extLst>
          </p:cNvPr>
          <p:cNvSpPr>
            <a:spLocks noGrp="1"/>
          </p:cNvSpPr>
          <p:nvPr>
            <p:ph type="title"/>
          </p:nvPr>
        </p:nvSpPr>
        <p:spPr/>
        <p:txBody>
          <a:bodyPr/>
          <a:lstStyle/>
          <a:p>
            <a:r>
              <a:rPr lang="de-DE"/>
              <a:t>Finanzen – Hohe Zinsen für längere Zeit, Finanzierung von Investitionen &amp; Konsum</a:t>
            </a:r>
          </a:p>
        </p:txBody>
      </p:sp>
      <p:sp>
        <p:nvSpPr>
          <p:cNvPr id="16" name="Textplatzhalter 15">
            <a:extLst>
              <a:ext uri="{FF2B5EF4-FFF2-40B4-BE49-F238E27FC236}">
                <a16:creationId xmlns:a16="http://schemas.microsoft.com/office/drawing/2014/main" id="{78CB7946-A411-0C2B-18A9-8247B1EE4A38}"/>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a:t>Normales Zinsumfeld – Gut aufgestellte Finanzinstitute</a:t>
            </a:r>
          </a:p>
        </p:txBody>
      </p:sp>
      <p:graphicFrame>
        <p:nvGraphicFramePr>
          <p:cNvPr id="24" name="Content Placeholder 18">
            <a:extLst>
              <a:ext uri="{FF2B5EF4-FFF2-40B4-BE49-F238E27FC236}">
                <a16:creationId xmlns:a16="http://schemas.microsoft.com/office/drawing/2014/main" id="{F388C434-968D-E953-C4E0-1CD25A70164E}"/>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2615229321"/>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6">
            <a:extLst>
              <a:ext uri="{FF2B5EF4-FFF2-40B4-BE49-F238E27FC236}">
                <a16:creationId xmlns:a16="http://schemas.microsoft.com/office/drawing/2014/main" id="{FED5BF64-DCC7-7E3C-876B-CBCCBF358C75}"/>
              </a:ext>
              <a:ext uri="{C183D7F6-B498-43B3-948B-1728B52AA6E4}">
                <adec:decorative xmlns:adec="http://schemas.microsoft.com/office/drawing/2017/decorative" val="1"/>
              </a:ext>
            </a:extLst>
          </p:cNvPr>
          <p:cNvSpPr>
            <a:spLocks noGrp="1"/>
          </p:cNvSpPr>
          <p:nvPr>
            <p:ph type="body" sz="quarter" idx="15"/>
          </p:nvPr>
        </p:nvSpPr>
        <p:spPr/>
        <p:txBody>
          <a:bodyPr/>
          <a:lstStyle/>
          <a:p>
            <a:r>
              <a:rPr lang="de-DE"/>
              <a:t>USA &amp; Europa – Zyklischer Rückenwind für Finanzwerte</a:t>
            </a:r>
          </a:p>
        </p:txBody>
      </p:sp>
      <p:sp>
        <p:nvSpPr>
          <p:cNvPr id="4" name="Textfeld 3">
            <a:extLst>
              <a:ext uri="{FF2B5EF4-FFF2-40B4-BE49-F238E27FC236}">
                <a16:creationId xmlns:a16="http://schemas.microsoft.com/office/drawing/2014/main" id="{36EFE14C-9C0D-47F1-B845-34F19231DFF1}"/>
              </a:ext>
              <a:ext uri="{C183D7F6-B498-43B3-948B-1728B52AA6E4}">
                <adec:decorative xmlns:adec="http://schemas.microsoft.com/office/drawing/2017/decorative" val="1"/>
              </a:ext>
            </a:extLst>
          </p:cNvPr>
          <p:cNvSpPr txBox="1"/>
          <p:nvPr/>
        </p:nvSpPr>
        <p:spPr bwMode="ltGray">
          <a:xfrm>
            <a:off x="7587574" y="1848921"/>
            <a:ext cx="3112851" cy="184666"/>
          </a:xfrm>
          <a:prstGeom prst="rect">
            <a:avLst/>
          </a:prstGeom>
          <a:noFill/>
          <a:ln w="6350">
            <a:noFill/>
            <a:miter lim="800000"/>
            <a:headEnd/>
            <a:tailEnd/>
          </a:ln>
        </p:spPr>
        <p:txBody>
          <a:bodyPr wrap="square" lIns="0" tIns="0" rIns="0" bIns="0" rtlCol="0">
            <a:spAutoFit/>
          </a:bodyPr>
          <a:lstStyle/>
          <a:p>
            <a:pPr algn="l"/>
            <a:r>
              <a:rPr lang="de-DE" sz="1200">
                <a:solidFill>
                  <a:schemeClr val="tx1">
                    <a:lumMod val="75000"/>
                    <a:lumOff val="25000"/>
                  </a:schemeClr>
                </a:solidFill>
              </a:rPr>
              <a:t>Aktiensektoren - Wertentwicklung</a:t>
            </a:r>
          </a:p>
        </p:txBody>
      </p:sp>
      <p:graphicFrame>
        <p:nvGraphicFramePr>
          <p:cNvPr id="8" name="Content Placeholder 21">
            <a:extLst>
              <a:ext uri="{FF2B5EF4-FFF2-40B4-BE49-F238E27FC236}">
                <a16:creationId xmlns:a16="http://schemas.microsoft.com/office/drawing/2014/main" id="{00000000-0008-0000-0000-000002000000}"/>
              </a:ext>
              <a:ext uri="{C183D7F6-B498-43B3-948B-1728B52AA6E4}">
                <adec:decorative xmlns:adec="http://schemas.microsoft.com/office/drawing/2017/decorative" val="1"/>
              </a:ext>
            </a:extLst>
          </p:cNvPr>
          <p:cNvGraphicFramePr>
            <a:graphicFrameLocks noGrp="1"/>
          </p:cNvGraphicFramePr>
          <p:nvPr>
            <p:ph sz="quarter" idx="11"/>
            <p:extLst>
              <p:ext uri="{D42A27DB-BD31-4B8C-83A1-F6EECF244321}">
                <p14:modId xmlns:p14="http://schemas.microsoft.com/office/powerpoint/2010/main" val="501875973"/>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3"/>
          </a:graphicData>
        </a:graphic>
      </p:graphicFrame>
      <p:sp>
        <p:nvSpPr>
          <p:cNvPr id="3" name="Content Placeholder 21">
            <a:extLst>
              <a:ext uri="{FF2B5EF4-FFF2-40B4-BE49-F238E27FC236}">
                <a16:creationId xmlns:a16="http://schemas.microsoft.com/office/drawing/2014/main" id="{295A443D-E50A-D4C8-E5AB-B065C69CC8CA}"/>
              </a:ext>
              <a:ext uri="{C183D7F6-B498-43B3-948B-1728B52AA6E4}">
                <adec:decorative xmlns:adec="http://schemas.microsoft.com/office/drawing/2017/decorative" val="1"/>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Wirtschaftliche Herausforderungen klar definiert, staatliche Verschuldungssituation begrenzt oftmals den Spielraum</a:t>
            </a:r>
          </a:p>
          <a:p>
            <a:pPr marL="285750" indent="-285750">
              <a:spcAft>
                <a:spcPts val="600"/>
              </a:spcAft>
              <a:buFont typeface="Arial" panose="020B0604020202020204" pitchFamily="34" charset="0"/>
              <a:buChar char="•"/>
            </a:pPr>
            <a:r>
              <a:rPr lang="de-DE"/>
              <a:t>Unterstützung durch robusten Finanzsektor – Effektive Einbindung des Privatsektors in öffentliche Projekte</a:t>
            </a:r>
          </a:p>
          <a:p>
            <a:pPr marL="285750" indent="-285750">
              <a:spcAft>
                <a:spcPts val="600"/>
              </a:spcAft>
              <a:buFont typeface="Arial" panose="020B0604020202020204" pitchFamily="34" charset="0"/>
              <a:buChar char="•"/>
            </a:pPr>
            <a:r>
              <a:rPr lang="de-DE"/>
              <a:t>Anlegen &amp; Investieren – Unterstützung und Ausbau der Wirtschaftskraft für zukünftigen Konsum &amp; Wohlstand</a:t>
            </a:r>
          </a:p>
        </p:txBody>
      </p:sp>
      <p:sp>
        <p:nvSpPr>
          <p:cNvPr id="15" name="Inhaltsplatzhalter 14">
            <a:extLst>
              <a:ext uri="{FF2B5EF4-FFF2-40B4-BE49-F238E27FC236}">
                <a16:creationId xmlns:a16="http://schemas.microsoft.com/office/drawing/2014/main" id="{EAAF0B94-A651-5022-26B1-27EFBC2BDCE7}"/>
              </a:ext>
              <a:ext uri="{C183D7F6-B498-43B3-948B-1728B52AA6E4}">
                <adec:decorative xmlns:adec="http://schemas.microsoft.com/office/drawing/2017/decorative" val="1"/>
              </a:ext>
            </a:extLst>
          </p:cNvPr>
          <p:cNvSpPr>
            <a:spLocks noGrp="1"/>
          </p:cNvSpPr>
          <p:nvPr>
            <p:ph sz="quarter" idx="13"/>
          </p:nvPr>
        </p:nvSpPr>
        <p:spPr/>
        <p:txBody>
          <a:bodyPr anchor="t"/>
          <a:lstStyle/>
          <a:p>
            <a:r>
              <a:rPr lang="de-DE"/>
              <a:t>*Gewinne für die jeweils letzten 12 Monate (indexiert: 01.01.2014 = 100). Quelle: LSEG Datastream, Deutsche Bank AG. Stand: 26.11.2024.</a:t>
            </a:r>
          </a:p>
        </p:txBody>
      </p:sp>
      <p:sp>
        <p:nvSpPr>
          <p:cNvPr id="5" name="Slide Number Placeholder 4">
            <a:extLst>
              <a:ext uri="{FF2B5EF4-FFF2-40B4-BE49-F238E27FC236}">
                <a16:creationId xmlns:a16="http://schemas.microsoft.com/office/drawing/2014/main" id="{592AAE03-86CD-C90C-9CCC-968E68C97DE8}"/>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12</a:t>
            </a:fld>
            <a:endParaRPr lang="de-DE" noProof="1"/>
          </a:p>
        </p:txBody>
      </p:sp>
    </p:spTree>
    <p:extLst>
      <p:ext uri="{BB962C8B-B14F-4D97-AF65-F5344CB8AC3E}">
        <p14:creationId xmlns:p14="http://schemas.microsoft.com/office/powerpoint/2010/main" val="2694906272"/>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3CA05B1D-ECD8-4D6A-B9B4-B0F5C2D4A32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827504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538" imgH="541" progId="TCLayout.ActiveDocument.1">
                  <p:embed/>
                </p:oleObj>
              </mc:Choice>
              <mc:Fallback>
                <p:oleObj name="think-cell Folie" r:id="rId4" imgW="538" imgH="541" progId="TCLayout.ActiveDocument.1">
                  <p:embed/>
                  <p:pic>
                    <p:nvPicPr>
                      <p:cNvPr id="3" name="Object 2" hidden="1">
                        <a:extLst>
                          <a:ext uri="{FF2B5EF4-FFF2-40B4-BE49-F238E27FC236}">
                            <a16:creationId xmlns:a16="http://schemas.microsoft.com/office/drawing/2014/main" id="{3CA05B1D-ECD8-4D6A-B9B4-B0F5C2D4A32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3D5D94D3-AE56-4C3F-BE4E-6E5E269F195C}"/>
              </a:ext>
              <a:ext uri="{C183D7F6-B498-43B3-948B-1728B52AA6E4}">
                <adec:decorative xmlns:adec="http://schemas.microsoft.com/office/drawing/2017/decorative" val="1"/>
              </a:ext>
            </a:extLst>
          </p:cNvPr>
          <p:cNvSpPr>
            <a:spLocks noGrp="1"/>
          </p:cNvSpPr>
          <p:nvPr>
            <p:ph type="title" idx="4294967295"/>
          </p:nvPr>
        </p:nvSpPr>
        <p:spPr>
          <a:xfrm>
            <a:off x="652463" y="3036888"/>
            <a:ext cx="10887075" cy="569912"/>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base" latinLnBrk="0" hangingPunct="1">
              <a:lnSpc>
                <a:spcPct val="100000"/>
              </a:lnSpc>
              <a:spcBef>
                <a:spcPts val="133"/>
              </a:spcBef>
              <a:spcAft>
                <a:spcPts val="133"/>
              </a:spcAft>
              <a:buClrTx/>
              <a:buSzTx/>
              <a:buFontTx/>
              <a:buNone/>
              <a:tabLst/>
              <a:defRPr/>
            </a:pPr>
            <a:r>
              <a:rPr kumimoji="0" lang="de-DE" sz="3733" b="0" i="0" u="none" strike="noStrike" kern="1200" cap="none" spc="0" normalizeH="0" baseline="0" noProof="0" dirty="0">
                <a:ln>
                  <a:noFill/>
                </a:ln>
                <a:solidFill>
                  <a:schemeClr val="bg1"/>
                </a:solidFill>
                <a:effectLst/>
                <a:uLnTx/>
                <a:uFillTx/>
                <a:latin typeface="+mn-lt"/>
                <a:ea typeface="ＭＳ Ｐゴシック" pitchFamily="-109" charset="-128"/>
                <a:cs typeface="ＭＳ Ｐゴシック" pitchFamily="-109" charset="-128"/>
              </a:rPr>
              <a:t>Volkswirtschaftlicher Ausblick</a:t>
            </a:r>
          </a:p>
        </p:txBody>
      </p:sp>
      <p:sp>
        <p:nvSpPr>
          <p:cNvPr id="4" name="Text Placeholder 9">
            <a:extLst>
              <a:ext uri="{FF2B5EF4-FFF2-40B4-BE49-F238E27FC236}">
                <a16:creationId xmlns:a16="http://schemas.microsoft.com/office/drawing/2014/main" id="{1186491F-BC9D-D673-E5E6-DBF717D6A4E5}"/>
              </a:ext>
              <a:ext uri="{C183D7F6-B498-43B3-948B-1728B52AA6E4}">
                <adec:decorative xmlns:adec="http://schemas.microsoft.com/office/drawing/2017/decorative" val="1"/>
              </a:ext>
            </a:extLst>
          </p:cNvPr>
          <p:cNvSpPr>
            <a:spLocks noGrp="1"/>
          </p:cNvSpPr>
          <p:nvPr>
            <p:ph type="body" sz="quarter" idx="13"/>
          </p:nvPr>
        </p:nvSpPr>
        <p:spPr>
          <a:xfrm>
            <a:off x="652852" y="5088236"/>
            <a:ext cx="10888320" cy="791864"/>
          </a:xfrm>
        </p:spPr>
        <p:txBody>
          <a:bodyPr/>
          <a:lstStyle/>
          <a:p>
            <a:r>
              <a:rPr lang="de-DE" dirty="0"/>
              <a:t>Dr. Robin Winkler </a:t>
            </a:r>
            <a:r>
              <a:rPr lang="en-US" dirty="0"/>
              <a:t>|</a:t>
            </a:r>
            <a:r>
              <a:rPr lang="de-DE" dirty="0"/>
              <a:t> Chefvolkswirt Deutschland </a:t>
            </a:r>
            <a:r>
              <a:rPr lang="en-US" dirty="0"/>
              <a:t>|</a:t>
            </a:r>
            <a:r>
              <a:rPr lang="de-DE" dirty="0"/>
              <a:t> robin.winkler@db.com</a:t>
            </a:r>
          </a:p>
          <a:p>
            <a:endParaRPr lang="de-DE" dirty="0"/>
          </a:p>
          <a:p>
            <a:r>
              <a:rPr lang="de-DE" dirty="0"/>
              <a:t>Frankfurt am Main, 28. November l 2024</a:t>
            </a:r>
          </a:p>
        </p:txBody>
      </p:sp>
    </p:spTree>
    <p:extLst>
      <p:ext uri="{BB962C8B-B14F-4D97-AF65-F5344CB8AC3E}">
        <p14:creationId xmlns:p14="http://schemas.microsoft.com/office/powerpoint/2010/main" val="123126062"/>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126D4-9F60-FDD3-4BB2-979B442EFDC3}"/>
              </a:ext>
              <a:ext uri="{C183D7F6-B498-43B3-948B-1728B52AA6E4}">
                <adec:decorative xmlns:adec="http://schemas.microsoft.com/office/drawing/2017/decorative" val="1"/>
              </a:ext>
            </a:extLst>
          </p:cNvPr>
          <p:cNvSpPr>
            <a:spLocks noGrp="1"/>
          </p:cNvSpPr>
          <p:nvPr>
            <p:ph type="title"/>
          </p:nvPr>
        </p:nvSpPr>
        <p:spPr/>
        <p:txBody>
          <a:bodyPr/>
          <a:lstStyle/>
          <a:p>
            <a:r>
              <a:rPr lang="de-DE"/>
              <a:t>Auf der Suche nach der verlorenen Zeit </a:t>
            </a:r>
            <a:endParaRPr lang="en-GB"/>
          </a:p>
        </p:txBody>
      </p:sp>
      <p:sp>
        <p:nvSpPr>
          <p:cNvPr id="4" name="Content Placeholder 3">
            <a:extLst>
              <a:ext uri="{FF2B5EF4-FFF2-40B4-BE49-F238E27FC236}">
                <a16:creationId xmlns:a16="http://schemas.microsoft.com/office/drawing/2014/main" id="{E43556A5-32C4-1C28-8520-7422EEEF6057}"/>
              </a:ext>
              <a:ext uri="{C183D7F6-B498-43B3-948B-1728B52AA6E4}">
                <adec:decorative xmlns:adec="http://schemas.microsoft.com/office/drawing/2017/decorative" val="1"/>
              </a:ext>
            </a:extLst>
          </p:cNvPr>
          <p:cNvSpPr>
            <a:spLocks noGrp="1"/>
          </p:cNvSpPr>
          <p:nvPr>
            <p:ph sz="half" idx="1"/>
          </p:nvPr>
        </p:nvSpPr>
        <p:spPr>
          <a:xfrm>
            <a:off x="651766" y="1509487"/>
            <a:ext cx="5226465" cy="4392989"/>
          </a:xfrm>
        </p:spPr>
        <p:txBody>
          <a:bodyPr/>
          <a:lstStyle/>
          <a:p>
            <a:pPr marL="380990" indent="-380990">
              <a:buFont typeface="Arial" panose="020B0604020202020204" pitchFamily="34" charset="0"/>
              <a:buChar char="•"/>
            </a:pPr>
            <a:r>
              <a:rPr lang="en-GB" sz="1867">
                <a:solidFill>
                  <a:srgbClr val="0018A8"/>
                </a:solidFill>
              </a:rPr>
              <a:t>Deutsche </a:t>
            </a:r>
            <a:r>
              <a:rPr lang="en-GB" sz="1867" err="1">
                <a:solidFill>
                  <a:srgbClr val="0018A8"/>
                </a:solidFill>
              </a:rPr>
              <a:t>Wirtschaft</a:t>
            </a:r>
            <a:r>
              <a:rPr lang="en-GB" sz="1867">
                <a:solidFill>
                  <a:srgbClr val="0018A8"/>
                </a:solidFill>
              </a:rPr>
              <a:t> </a:t>
            </a:r>
            <a:r>
              <a:rPr lang="en-GB" sz="1867" err="1">
                <a:solidFill>
                  <a:srgbClr val="0018A8"/>
                </a:solidFill>
              </a:rPr>
              <a:t>seit</a:t>
            </a:r>
            <a:r>
              <a:rPr lang="en-GB" sz="1867">
                <a:solidFill>
                  <a:srgbClr val="0018A8"/>
                </a:solidFill>
              </a:rPr>
              <a:t> 2019 </a:t>
            </a:r>
            <a:r>
              <a:rPr lang="en-GB" sz="1867" err="1">
                <a:solidFill>
                  <a:srgbClr val="0018A8"/>
                </a:solidFill>
              </a:rPr>
              <a:t>nicht</a:t>
            </a:r>
            <a:r>
              <a:rPr lang="en-GB" sz="1867">
                <a:solidFill>
                  <a:srgbClr val="0018A8"/>
                </a:solidFill>
              </a:rPr>
              <a:t> </a:t>
            </a:r>
            <a:r>
              <a:rPr lang="en-GB" sz="1867" err="1">
                <a:solidFill>
                  <a:srgbClr val="0018A8"/>
                </a:solidFill>
              </a:rPr>
              <a:t>mehr</a:t>
            </a:r>
            <a:r>
              <a:rPr lang="en-GB" sz="1867">
                <a:solidFill>
                  <a:srgbClr val="0018A8"/>
                </a:solidFill>
              </a:rPr>
              <a:t> </a:t>
            </a:r>
            <a:r>
              <a:rPr lang="en-GB" sz="1867" err="1">
                <a:solidFill>
                  <a:srgbClr val="0018A8"/>
                </a:solidFill>
              </a:rPr>
              <a:t>gewachsen</a:t>
            </a:r>
            <a:endParaRPr lang="en-GB" sz="1867">
              <a:solidFill>
                <a:srgbClr val="0018A8"/>
              </a:solidFill>
            </a:endParaRPr>
          </a:p>
          <a:p>
            <a:pPr marL="380990" indent="-380990">
              <a:buFont typeface="Arial" panose="020B0604020202020204" pitchFamily="34" charset="0"/>
              <a:buChar char="•"/>
            </a:pPr>
            <a:endParaRPr lang="en-GB" sz="1867">
              <a:solidFill>
                <a:srgbClr val="0018A8"/>
              </a:solidFill>
            </a:endParaRPr>
          </a:p>
          <a:p>
            <a:pPr marL="380990" indent="-380990">
              <a:buFont typeface="Arial" panose="020B0604020202020204" pitchFamily="34" charset="0"/>
              <a:buChar char="•"/>
            </a:pPr>
            <a:r>
              <a:rPr lang="en-GB" sz="1867" err="1">
                <a:solidFill>
                  <a:srgbClr val="0018A8"/>
                </a:solidFill>
              </a:rPr>
              <a:t>Historisch</a:t>
            </a:r>
            <a:r>
              <a:rPr lang="en-GB" sz="1867">
                <a:solidFill>
                  <a:srgbClr val="0018A8"/>
                </a:solidFill>
              </a:rPr>
              <a:t> </a:t>
            </a:r>
            <a:r>
              <a:rPr lang="en-GB" sz="1867" err="1">
                <a:solidFill>
                  <a:srgbClr val="0018A8"/>
                </a:solidFill>
              </a:rPr>
              <a:t>ungewöhnliche</a:t>
            </a:r>
            <a:r>
              <a:rPr lang="en-GB" sz="1867">
                <a:solidFill>
                  <a:srgbClr val="0018A8"/>
                </a:solidFill>
              </a:rPr>
              <a:t> </a:t>
            </a:r>
            <a:r>
              <a:rPr lang="en-GB" sz="1867" err="1">
                <a:solidFill>
                  <a:srgbClr val="0018A8"/>
                </a:solidFill>
              </a:rPr>
              <a:t>strukturelle</a:t>
            </a:r>
            <a:r>
              <a:rPr lang="en-GB" sz="1867">
                <a:solidFill>
                  <a:srgbClr val="0018A8"/>
                </a:solidFill>
              </a:rPr>
              <a:t> Stagnation</a:t>
            </a:r>
          </a:p>
          <a:p>
            <a:pPr marL="380990" indent="-380990">
              <a:buFont typeface="Arial" panose="020B0604020202020204" pitchFamily="34" charset="0"/>
              <a:buChar char="•"/>
            </a:pPr>
            <a:endParaRPr lang="en-GB" sz="1867">
              <a:solidFill>
                <a:srgbClr val="0018A8"/>
              </a:solidFill>
            </a:endParaRPr>
          </a:p>
          <a:p>
            <a:pPr marL="380990" indent="-380990">
              <a:buFont typeface="Arial" panose="020B0604020202020204" pitchFamily="34" charset="0"/>
              <a:buChar char="•"/>
            </a:pPr>
            <a:r>
              <a:rPr lang="de-DE" sz="1867">
                <a:solidFill>
                  <a:srgbClr val="0018A8"/>
                </a:solidFill>
              </a:rPr>
              <a:t>2025: Verhaltene konjunkturelle Erholung von 0,5% – nahe Potenzialwachstum</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2026: Wachstum von 1,0% dank potenzieller wirtschaftspolitischer Impulse</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Wirtschaft bleibt weit hinter dem Wachstumstrend der 2010er Jahre zurück</a:t>
            </a:r>
            <a:endParaRPr lang="en-GB" sz="1867">
              <a:solidFill>
                <a:srgbClr val="0018A8"/>
              </a:solidFill>
            </a:endParaRPr>
          </a:p>
        </p:txBody>
      </p:sp>
      <p:graphicFrame>
        <p:nvGraphicFramePr>
          <p:cNvPr id="6" name="Chart 5">
            <a:extLst>
              <a:ext uri="{FF2B5EF4-FFF2-40B4-BE49-F238E27FC236}">
                <a16:creationId xmlns:a16="http://schemas.microsoft.com/office/drawing/2014/main" id="{6E9286BD-C4B9-4019-AC84-34C74E30AF56}"/>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32384847"/>
              </p:ext>
            </p:extLst>
          </p:nvPr>
        </p:nvGraphicFramePr>
        <p:xfrm>
          <a:off x="6313773" y="1509487"/>
          <a:ext cx="5301583" cy="4392989"/>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ADCE8BA-A8C9-0F53-D637-70C75507715C}"/>
              </a:ext>
              <a:ext uri="{C183D7F6-B498-43B3-948B-1728B52AA6E4}">
                <adec:decorative xmlns:adec="http://schemas.microsoft.com/office/drawing/2017/decorative" val="1"/>
              </a:ext>
            </a:extLst>
          </p:cNvPr>
          <p:cNvSpPr>
            <a:spLocks noGrp="1"/>
          </p:cNvSpPr>
          <p:nvPr>
            <p:ph type="sldNum" sz="quarter" idx="21"/>
          </p:nvPr>
        </p:nvSpPr>
        <p:spPr/>
        <p:txBody>
          <a:bodyPr/>
          <a:lstStyle/>
          <a:p>
            <a:pPr defTabSz="914357" fontAlgn="base">
              <a:spcBef>
                <a:spcPct val="0"/>
              </a:spcBef>
              <a:spcAft>
                <a:spcPct val="0"/>
              </a:spcAft>
              <a:defRPr/>
            </a:pPr>
            <a:fld id="{2A7BD8E3-5974-4C0E-9140-06BA4F42A58B}" type="slidenum">
              <a:rPr lang="en-US">
                <a:solidFill>
                  <a:srgbClr val="000000"/>
                </a:solidFill>
                <a:latin typeface="Deutsche Bank Text"/>
              </a:rPr>
              <a:pPr defTabSz="914357" fontAlgn="base">
                <a:spcBef>
                  <a:spcPct val="0"/>
                </a:spcBef>
                <a:spcAft>
                  <a:spcPct val="0"/>
                </a:spcAft>
                <a:defRPr/>
              </a:pPr>
              <a:t>14</a:t>
            </a:fld>
            <a:endParaRPr lang="en-US">
              <a:solidFill>
                <a:srgbClr val="000000"/>
              </a:solidFill>
              <a:latin typeface="Deutsche Bank Text"/>
            </a:endParaRPr>
          </a:p>
        </p:txBody>
      </p:sp>
    </p:spTree>
    <p:extLst>
      <p:ext uri="{BB962C8B-B14F-4D97-AF65-F5344CB8AC3E}">
        <p14:creationId xmlns:p14="http://schemas.microsoft.com/office/powerpoint/2010/main" val="554029844"/>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126D4-9F60-FDD3-4BB2-979B442EFDC3}"/>
              </a:ext>
              <a:ext uri="{C183D7F6-B498-43B3-948B-1728B52AA6E4}">
                <adec:decorative xmlns:adec="http://schemas.microsoft.com/office/drawing/2017/decorative" val="1"/>
              </a:ext>
            </a:extLst>
          </p:cNvPr>
          <p:cNvSpPr>
            <a:spLocks noGrp="1"/>
          </p:cNvSpPr>
          <p:nvPr>
            <p:ph type="title"/>
          </p:nvPr>
        </p:nvSpPr>
        <p:spPr/>
        <p:txBody>
          <a:bodyPr/>
          <a:lstStyle/>
          <a:p>
            <a:r>
              <a:rPr lang="de-DE"/>
              <a:t>Rezessionsgefahr dürfte abnehmen</a:t>
            </a:r>
            <a:endParaRPr lang="en-GB"/>
          </a:p>
        </p:txBody>
      </p:sp>
      <p:sp>
        <p:nvSpPr>
          <p:cNvPr id="4" name="Content Placeholder 3">
            <a:extLst>
              <a:ext uri="{FF2B5EF4-FFF2-40B4-BE49-F238E27FC236}">
                <a16:creationId xmlns:a16="http://schemas.microsoft.com/office/drawing/2014/main" id="{E43556A5-32C4-1C28-8520-7422EEEF6057}"/>
              </a:ext>
              <a:ext uri="{C183D7F6-B498-43B3-948B-1728B52AA6E4}">
                <adec:decorative xmlns:adec="http://schemas.microsoft.com/office/drawing/2017/decorative" val="1"/>
              </a:ext>
            </a:extLst>
          </p:cNvPr>
          <p:cNvSpPr>
            <a:spLocks noGrp="1"/>
          </p:cNvSpPr>
          <p:nvPr>
            <p:ph sz="half" idx="1"/>
          </p:nvPr>
        </p:nvSpPr>
        <p:spPr>
          <a:xfrm>
            <a:off x="651766" y="1528840"/>
            <a:ext cx="5226465" cy="4315579"/>
          </a:xfrm>
        </p:spPr>
        <p:txBody>
          <a:bodyPr/>
          <a:lstStyle/>
          <a:p>
            <a:pPr marL="380990" indent="-380990">
              <a:buFont typeface="Arial" panose="020B0604020202020204" pitchFamily="34" charset="0"/>
              <a:buChar char="•"/>
            </a:pPr>
            <a:r>
              <a:rPr lang="en-GB" sz="1867">
                <a:solidFill>
                  <a:srgbClr val="0018A8"/>
                </a:solidFill>
              </a:rPr>
              <a:t>4Q 2025 </a:t>
            </a:r>
            <a:r>
              <a:rPr lang="en-GB" sz="1867" err="1">
                <a:solidFill>
                  <a:srgbClr val="0018A8"/>
                </a:solidFill>
              </a:rPr>
              <a:t>wahrscheinlich</a:t>
            </a:r>
            <a:r>
              <a:rPr lang="en-GB" sz="1867">
                <a:solidFill>
                  <a:srgbClr val="0018A8"/>
                </a:solidFill>
              </a:rPr>
              <a:t> </a:t>
            </a:r>
            <a:r>
              <a:rPr lang="en-GB" sz="1867" err="1">
                <a:solidFill>
                  <a:srgbClr val="0018A8"/>
                </a:solidFill>
              </a:rPr>
              <a:t>schwach</a:t>
            </a:r>
            <a:r>
              <a:rPr lang="en-GB" sz="1867">
                <a:solidFill>
                  <a:srgbClr val="0018A8"/>
                </a:solidFill>
              </a:rPr>
              <a:t> </a:t>
            </a:r>
            <a:r>
              <a:rPr lang="en-GB" sz="1867" err="1">
                <a:solidFill>
                  <a:srgbClr val="0018A8"/>
                </a:solidFill>
              </a:rPr>
              <a:t>positiv</a:t>
            </a:r>
            <a:endParaRPr lang="en-GB" sz="1867">
              <a:solidFill>
                <a:srgbClr val="0018A8"/>
              </a:solidFill>
            </a:endParaRPr>
          </a:p>
          <a:p>
            <a:pPr marL="380990" indent="-380990">
              <a:buFont typeface="Arial" panose="020B0604020202020204" pitchFamily="34" charset="0"/>
              <a:buChar char="•"/>
            </a:pPr>
            <a:endParaRPr lang="en-GB" sz="1867">
              <a:solidFill>
                <a:srgbClr val="0018A8"/>
              </a:solidFill>
            </a:endParaRPr>
          </a:p>
          <a:p>
            <a:pPr marL="380990" indent="-380990">
              <a:buFont typeface="Arial" panose="020B0604020202020204" pitchFamily="34" charset="0"/>
              <a:buChar char="•"/>
            </a:pPr>
            <a:r>
              <a:rPr lang="en-GB" sz="1867" err="1">
                <a:solidFill>
                  <a:srgbClr val="0018A8"/>
                </a:solidFill>
              </a:rPr>
              <a:t>Quartalswachstumsraten</a:t>
            </a:r>
            <a:r>
              <a:rPr lang="en-GB" sz="1867">
                <a:solidFill>
                  <a:srgbClr val="0018A8"/>
                </a:solidFill>
              </a:rPr>
              <a:t> </a:t>
            </a:r>
            <a:r>
              <a:rPr lang="en-GB" sz="1867" err="1">
                <a:solidFill>
                  <a:srgbClr val="0018A8"/>
                </a:solidFill>
              </a:rPr>
              <a:t>dürften</a:t>
            </a:r>
            <a:r>
              <a:rPr lang="en-GB" sz="1867">
                <a:solidFill>
                  <a:srgbClr val="0018A8"/>
                </a:solidFill>
              </a:rPr>
              <a:t> 2025 und 2026 </a:t>
            </a:r>
            <a:r>
              <a:rPr lang="en-GB" sz="1867" err="1">
                <a:solidFill>
                  <a:srgbClr val="0018A8"/>
                </a:solidFill>
              </a:rPr>
              <a:t>positiv</a:t>
            </a:r>
            <a:r>
              <a:rPr lang="en-GB" sz="1867">
                <a:solidFill>
                  <a:srgbClr val="0018A8"/>
                </a:solidFill>
              </a:rPr>
              <a:t> </a:t>
            </a:r>
            <a:r>
              <a:rPr lang="en-GB" sz="1867" err="1">
                <a:solidFill>
                  <a:srgbClr val="0018A8"/>
                </a:solidFill>
              </a:rPr>
              <a:t>aber</a:t>
            </a:r>
            <a:r>
              <a:rPr lang="en-GB" sz="1867">
                <a:solidFill>
                  <a:srgbClr val="0018A8"/>
                </a:solidFill>
              </a:rPr>
              <a:t> </a:t>
            </a:r>
            <a:r>
              <a:rPr lang="en-GB" sz="1867" err="1">
                <a:solidFill>
                  <a:srgbClr val="0018A8"/>
                </a:solidFill>
              </a:rPr>
              <a:t>niedrig</a:t>
            </a:r>
            <a:r>
              <a:rPr lang="en-GB" sz="1867">
                <a:solidFill>
                  <a:srgbClr val="0018A8"/>
                </a:solidFill>
              </a:rPr>
              <a:t> </a:t>
            </a:r>
            <a:r>
              <a:rPr lang="en-GB" sz="1867" err="1">
                <a:solidFill>
                  <a:srgbClr val="0018A8"/>
                </a:solidFill>
              </a:rPr>
              <a:t>bleiben</a:t>
            </a:r>
            <a:endParaRPr lang="en-GB" sz="1867">
              <a:solidFill>
                <a:srgbClr val="0018A8"/>
              </a:solidFill>
            </a:endParaRPr>
          </a:p>
          <a:p>
            <a:endParaRPr lang="de-DE" sz="1867">
              <a:solidFill>
                <a:srgbClr val="0018A8"/>
              </a:solidFill>
            </a:endParaRPr>
          </a:p>
          <a:p>
            <a:pPr marL="380990" indent="-380990">
              <a:buFont typeface="Arial" panose="020B0604020202020204" pitchFamily="34" charset="0"/>
              <a:buChar char="•"/>
            </a:pPr>
            <a:r>
              <a:rPr lang="de-DE" sz="1867">
                <a:solidFill>
                  <a:srgbClr val="0018A8"/>
                </a:solidFill>
              </a:rPr>
              <a:t>Konsum – privat und öffentlich – dürfte 2025 die einzige Wachstumsquelle bleib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Investitionen dürften sich erst ab 2026 erholen, am Bau bereits Ende 2025</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Außenhandel dürfte spätestens ab 2026 das Wachstum hemmen</a:t>
            </a:r>
          </a:p>
          <a:p>
            <a:pPr marL="380990" indent="-380990">
              <a:buFont typeface="Arial" panose="020B0604020202020204" pitchFamily="34" charset="0"/>
              <a:buChar char="•"/>
            </a:pPr>
            <a:endParaRPr lang="de-DE" sz="1867">
              <a:solidFill>
                <a:srgbClr val="0018A8"/>
              </a:solidFill>
            </a:endParaRPr>
          </a:p>
          <a:p>
            <a:endParaRPr lang="de-DE" sz="1867">
              <a:solidFill>
                <a:srgbClr val="0018A8"/>
              </a:solidFill>
            </a:endParaRPr>
          </a:p>
          <a:p>
            <a:pPr marL="380990" indent="-380990">
              <a:buFont typeface="Arial" panose="020B0604020202020204" pitchFamily="34" charset="0"/>
              <a:buChar char="•"/>
            </a:pPr>
            <a:endParaRPr lang="de-DE" sz="1867">
              <a:solidFill>
                <a:srgbClr val="0018A8"/>
              </a:solidFill>
            </a:endParaRPr>
          </a:p>
        </p:txBody>
      </p:sp>
      <p:grpSp>
        <p:nvGrpSpPr>
          <p:cNvPr id="22" name="Group 21">
            <a:extLst>
              <a:ext uri="{FF2B5EF4-FFF2-40B4-BE49-F238E27FC236}">
                <a16:creationId xmlns:a16="http://schemas.microsoft.com/office/drawing/2014/main" id="{9DAD5BB5-8D58-7EA7-9AC4-EB6F54BBFC72}"/>
              </a:ext>
              <a:ext uri="{C183D7F6-B498-43B3-948B-1728B52AA6E4}">
                <adec:decorative xmlns:adec="http://schemas.microsoft.com/office/drawing/2017/decorative" val="1"/>
              </a:ext>
            </a:extLst>
          </p:cNvPr>
          <p:cNvGrpSpPr/>
          <p:nvPr/>
        </p:nvGrpSpPr>
        <p:grpSpPr>
          <a:xfrm>
            <a:off x="6313772" y="1528840"/>
            <a:ext cx="5279811" cy="4315579"/>
            <a:chOff x="0" y="0"/>
            <a:chExt cx="3959858" cy="4658010"/>
          </a:xfrm>
        </p:grpSpPr>
        <p:graphicFrame>
          <p:nvGraphicFramePr>
            <p:cNvPr id="23" name="Diagramm 5">
              <a:extLst>
                <a:ext uri="{FF2B5EF4-FFF2-40B4-BE49-F238E27FC236}">
                  <a16:creationId xmlns:a16="http://schemas.microsoft.com/office/drawing/2014/main" id="{E40A6F84-F1A7-1DF0-F869-DF0723AD30DC}"/>
                </a:ext>
              </a:extLst>
            </p:cNvPr>
            <p:cNvGraphicFramePr>
              <a:graphicFrameLocks/>
            </p:cNvGraphicFramePr>
            <p:nvPr/>
          </p:nvGraphicFramePr>
          <p:xfrm>
            <a:off x="0" y="0"/>
            <a:ext cx="3959858" cy="4658010"/>
          </p:xfrm>
          <a:graphic>
            <a:graphicData uri="http://schemas.openxmlformats.org/drawingml/2006/chart">
              <c:chart xmlns:c="http://schemas.openxmlformats.org/drawingml/2006/chart" xmlns:r="http://schemas.openxmlformats.org/officeDocument/2006/relationships" r:id="rId2"/>
            </a:graphicData>
          </a:graphic>
        </p:graphicFrame>
        <p:sp>
          <p:nvSpPr>
            <p:cNvPr id="26" name="TextBox 43">
              <a:extLst>
                <a:ext uri="{FF2B5EF4-FFF2-40B4-BE49-F238E27FC236}">
                  <a16:creationId xmlns:a16="http://schemas.microsoft.com/office/drawing/2014/main" id="{D3BED0FE-F9D5-0A49-AFDA-90DEE0769542}"/>
                </a:ext>
              </a:extLst>
            </p:cNvPr>
            <p:cNvSpPr txBox="1"/>
            <p:nvPr/>
          </p:nvSpPr>
          <p:spPr>
            <a:xfrm>
              <a:off x="2762619" y="949698"/>
              <a:ext cx="667991" cy="21582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914357" fontAlgn="base">
                <a:spcBef>
                  <a:spcPct val="0"/>
                </a:spcBef>
                <a:spcAft>
                  <a:spcPct val="0"/>
                </a:spcAft>
              </a:pPr>
              <a:r>
                <a:rPr lang="en-GB" sz="1333" dirty="0">
                  <a:solidFill>
                    <a:srgbClr val="00009F"/>
                  </a:solidFill>
                  <a:latin typeface="DeutscheBank" panose="020B0503020202030204" pitchFamily="34" charset="0"/>
                </a:rPr>
                <a:t>1.0</a:t>
              </a:r>
              <a:r>
                <a:rPr lang="en-GB" sz="1400" dirty="0">
                  <a:solidFill>
                    <a:srgbClr val="00009F"/>
                  </a:solidFill>
                  <a:latin typeface="DeutscheBank" panose="020B0503020202030204" pitchFamily="34" charset="0"/>
                </a:rPr>
                <a:t>%</a:t>
              </a:r>
            </a:p>
          </p:txBody>
        </p:sp>
        <p:sp>
          <p:nvSpPr>
            <p:cNvPr id="27" name="TextBox 44">
              <a:extLst>
                <a:ext uri="{FF2B5EF4-FFF2-40B4-BE49-F238E27FC236}">
                  <a16:creationId xmlns:a16="http://schemas.microsoft.com/office/drawing/2014/main" id="{27AECE49-B472-50C9-A87F-60A84F574541}"/>
                </a:ext>
              </a:extLst>
            </p:cNvPr>
            <p:cNvSpPr txBox="1"/>
            <p:nvPr/>
          </p:nvSpPr>
          <p:spPr>
            <a:xfrm>
              <a:off x="2337824" y="2186705"/>
              <a:ext cx="667991" cy="21582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defTabSz="914357" fontAlgn="base">
                <a:spcBef>
                  <a:spcPct val="0"/>
                </a:spcBef>
                <a:spcAft>
                  <a:spcPct val="0"/>
                </a:spcAft>
              </a:pPr>
              <a:r>
                <a:rPr lang="en-GB" sz="1333" dirty="0">
                  <a:solidFill>
                    <a:srgbClr val="00009F"/>
                  </a:solidFill>
                  <a:latin typeface="DeutscheBank" panose="020B0503020202030204" pitchFamily="34" charset="0"/>
                </a:rPr>
                <a:t>0.5</a:t>
              </a:r>
              <a:r>
                <a:rPr lang="en-GB" sz="1400" dirty="0">
                  <a:solidFill>
                    <a:srgbClr val="00009F"/>
                  </a:solidFill>
                  <a:latin typeface="DeutscheBank" panose="020B0503020202030204" pitchFamily="34" charset="0"/>
                </a:rPr>
                <a:t>%</a:t>
              </a:r>
            </a:p>
          </p:txBody>
        </p:sp>
      </p:grpSp>
      <p:sp>
        <p:nvSpPr>
          <p:cNvPr id="28" name="FORECAST_18">
            <a:extLst>
              <a:ext uri="{FF2B5EF4-FFF2-40B4-BE49-F238E27FC236}">
                <a16:creationId xmlns:a16="http://schemas.microsoft.com/office/drawing/2014/main" id="{44F19A54-B8E8-F3A4-5DB8-092374DFE04E}"/>
              </a:ext>
              <a:ext uri="{C183D7F6-B498-43B3-948B-1728B52AA6E4}">
                <adec:decorative xmlns:adec="http://schemas.microsoft.com/office/drawing/2017/decorative" val="1"/>
              </a:ext>
            </a:extLst>
          </p:cNvPr>
          <p:cNvSpPr/>
          <p:nvPr/>
        </p:nvSpPr>
        <p:spPr>
          <a:xfrm>
            <a:off x="9291600" y="2051352"/>
            <a:ext cx="1549723" cy="2197971"/>
          </a:xfrm>
          <a:prstGeom prst="rect">
            <a:avLst/>
          </a:prstGeom>
          <a:solidFill>
            <a:srgbClr val="A4BCC2">
              <a:alpha val="17000"/>
            </a:srgbClr>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914357" fontAlgn="base">
              <a:spcBef>
                <a:spcPct val="0"/>
              </a:spcBef>
              <a:spcAft>
                <a:spcPct val="0"/>
              </a:spcAft>
            </a:pPr>
            <a:endParaRPr lang="en-US" sz="1467">
              <a:solidFill>
                <a:srgbClr val="FFFFFF"/>
              </a:solidFill>
              <a:latin typeface="Deutsche Bank Text"/>
            </a:endParaRPr>
          </a:p>
        </p:txBody>
      </p:sp>
      <p:sp>
        <p:nvSpPr>
          <p:cNvPr id="2" name="Slide Number Placeholder 1">
            <a:extLst>
              <a:ext uri="{FF2B5EF4-FFF2-40B4-BE49-F238E27FC236}">
                <a16:creationId xmlns:a16="http://schemas.microsoft.com/office/drawing/2014/main" id="{CADCE8BA-A8C9-0F53-D637-70C75507715C}"/>
              </a:ext>
              <a:ext uri="{C183D7F6-B498-43B3-948B-1728B52AA6E4}">
                <adec:decorative xmlns:adec="http://schemas.microsoft.com/office/drawing/2017/decorative" val="1"/>
              </a:ext>
            </a:extLst>
          </p:cNvPr>
          <p:cNvSpPr>
            <a:spLocks noGrp="1"/>
          </p:cNvSpPr>
          <p:nvPr>
            <p:ph type="sldNum" sz="quarter" idx="21"/>
          </p:nvPr>
        </p:nvSpPr>
        <p:spPr/>
        <p:txBody>
          <a:bodyPr/>
          <a:lstStyle/>
          <a:p>
            <a:pPr defTabSz="914357" fontAlgn="base">
              <a:spcBef>
                <a:spcPct val="0"/>
              </a:spcBef>
              <a:spcAft>
                <a:spcPct val="0"/>
              </a:spcAft>
              <a:defRPr/>
            </a:pPr>
            <a:fld id="{2A7BD8E3-5974-4C0E-9140-06BA4F42A58B}" type="slidenum">
              <a:rPr lang="en-US">
                <a:solidFill>
                  <a:srgbClr val="000000"/>
                </a:solidFill>
                <a:latin typeface="Deutsche Bank Text"/>
              </a:rPr>
              <a:pPr defTabSz="914357" fontAlgn="base">
                <a:spcBef>
                  <a:spcPct val="0"/>
                </a:spcBef>
                <a:spcAft>
                  <a:spcPct val="0"/>
                </a:spcAft>
                <a:defRPr/>
              </a:pPr>
              <a:t>15</a:t>
            </a:fld>
            <a:endParaRPr lang="en-US">
              <a:solidFill>
                <a:srgbClr val="000000"/>
              </a:solidFill>
              <a:latin typeface="Deutsche Bank Text"/>
            </a:endParaRPr>
          </a:p>
        </p:txBody>
      </p:sp>
    </p:spTree>
    <p:extLst>
      <p:ext uri="{BB962C8B-B14F-4D97-AF65-F5344CB8AC3E}">
        <p14:creationId xmlns:p14="http://schemas.microsoft.com/office/powerpoint/2010/main" val="1994239337"/>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126D4-9F60-FDD3-4BB2-979B442EFDC3}"/>
              </a:ext>
              <a:ext uri="{C183D7F6-B498-43B3-948B-1728B52AA6E4}">
                <adec:decorative xmlns:adec="http://schemas.microsoft.com/office/drawing/2017/decorative" val="1"/>
              </a:ext>
            </a:extLst>
          </p:cNvPr>
          <p:cNvSpPr>
            <a:spLocks noGrp="1"/>
          </p:cNvSpPr>
          <p:nvPr>
            <p:ph type="title"/>
          </p:nvPr>
        </p:nvSpPr>
        <p:spPr/>
        <p:txBody>
          <a:bodyPr/>
          <a:lstStyle/>
          <a:p>
            <a:r>
              <a:rPr lang="de-DE"/>
              <a:t>Haushaltskonsum die größte Enttäuschung</a:t>
            </a:r>
            <a:endParaRPr lang="en-GB"/>
          </a:p>
        </p:txBody>
      </p:sp>
      <p:sp>
        <p:nvSpPr>
          <p:cNvPr id="4" name="Content Placeholder 3">
            <a:extLst>
              <a:ext uri="{FF2B5EF4-FFF2-40B4-BE49-F238E27FC236}">
                <a16:creationId xmlns:a16="http://schemas.microsoft.com/office/drawing/2014/main" id="{E43556A5-32C4-1C28-8520-7422EEEF6057}"/>
              </a:ext>
              <a:ext uri="{C183D7F6-B498-43B3-948B-1728B52AA6E4}">
                <adec:decorative xmlns:adec="http://schemas.microsoft.com/office/drawing/2017/decorative" val="1"/>
              </a:ext>
            </a:extLst>
          </p:cNvPr>
          <p:cNvSpPr>
            <a:spLocks noGrp="1"/>
          </p:cNvSpPr>
          <p:nvPr>
            <p:ph sz="half" idx="1"/>
          </p:nvPr>
        </p:nvSpPr>
        <p:spPr>
          <a:xfrm>
            <a:off x="651766" y="1509486"/>
            <a:ext cx="5226465" cy="4334933"/>
          </a:xfrm>
        </p:spPr>
        <p:txBody>
          <a:bodyPr/>
          <a:lstStyle/>
          <a:p>
            <a:pPr marL="380990" indent="-380990">
              <a:buFont typeface="Arial" panose="020B0604020202020204" pitchFamily="34" charset="0"/>
              <a:buChar char="•"/>
            </a:pPr>
            <a:r>
              <a:rPr lang="de-DE" sz="1867">
                <a:solidFill>
                  <a:srgbClr val="0018A8"/>
                </a:solidFill>
              </a:rPr>
              <a:t>Erwartete Konsumerholung im Jahr 2024 blieb überraschend aus</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Deutsche Haushalte weiterhin mit verhaltener Konsumneigung</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Reallohnwachstum dürfte 2025 auf ca. 1% sink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Bei normalen Sparquoten nur schwaches Konsumwachstum möglich</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Staatskonsum wächst kräftig – trotz vorläufiger Haushaltsführung</a:t>
            </a:r>
            <a:endParaRPr lang="en-GB" sz="1867">
              <a:solidFill>
                <a:srgbClr val="0018A8"/>
              </a:solidFill>
            </a:endParaRPr>
          </a:p>
        </p:txBody>
      </p:sp>
      <p:graphicFrame>
        <p:nvGraphicFramePr>
          <p:cNvPr id="5" name="Chart 4">
            <a:extLst>
              <a:ext uri="{FF2B5EF4-FFF2-40B4-BE49-F238E27FC236}">
                <a16:creationId xmlns:a16="http://schemas.microsoft.com/office/drawing/2014/main" id="{11CF2D61-546D-48C5-8473-E9AE763BB776}"/>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795205263"/>
              </p:ext>
            </p:extLst>
          </p:nvPr>
        </p:nvGraphicFramePr>
        <p:xfrm>
          <a:off x="6313773" y="1509486"/>
          <a:ext cx="5301583" cy="433493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ADCE8BA-A8C9-0F53-D637-70C75507715C}"/>
              </a:ext>
              <a:ext uri="{C183D7F6-B498-43B3-948B-1728B52AA6E4}">
                <adec:decorative xmlns:adec="http://schemas.microsoft.com/office/drawing/2017/decorative" val="1"/>
              </a:ext>
            </a:extLst>
          </p:cNvPr>
          <p:cNvSpPr>
            <a:spLocks noGrp="1"/>
          </p:cNvSpPr>
          <p:nvPr>
            <p:ph type="sldNum" sz="quarter" idx="21"/>
          </p:nvPr>
        </p:nvSpPr>
        <p:spPr/>
        <p:txBody>
          <a:bodyPr/>
          <a:lstStyle/>
          <a:p>
            <a:pPr defTabSz="914357" fontAlgn="base">
              <a:spcBef>
                <a:spcPct val="0"/>
              </a:spcBef>
              <a:spcAft>
                <a:spcPct val="0"/>
              </a:spcAft>
              <a:defRPr/>
            </a:pPr>
            <a:fld id="{2A7BD8E3-5974-4C0E-9140-06BA4F42A58B}" type="slidenum">
              <a:rPr lang="en-US">
                <a:solidFill>
                  <a:srgbClr val="000000"/>
                </a:solidFill>
                <a:latin typeface="Deutsche Bank Text"/>
              </a:rPr>
              <a:pPr defTabSz="914357" fontAlgn="base">
                <a:spcBef>
                  <a:spcPct val="0"/>
                </a:spcBef>
                <a:spcAft>
                  <a:spcPct val="0"/>
                </a:spcAft>
                <a:defRPr/>
              </a:pPr>
              <a:t>16</a:t>
            </a:fld>
            <a:endParaRPr lang="en-US">
              <a:solidFill>
                <a:srgbClr val="000000"/>
              </a:solidFill>
              <a:latin typeface="Deutsche Bank Text"/>
            </a:endParaRPr>
          </a:p>
        </p:txBody>
      </p:sp>
    </p:spTree>
    <p:extLst>
      <p:ext uri="{BB962C8B-B14F-4D97-AF65-F5344CB8AC3E}">
        <p14:creationId xmlns:p14="http://schemas.microsoft.com/office/powerpoint/2010/main" val="2176126346"/>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126D4-9F60-FDD3-4BB2-979B442EFDC3}"/>
              </a:ext>
              <a:ext uri="{C183D7F6-B498-43B3-948B-1728B52AA6E4}">
                <adec:decorative xmlns:adec="http://schemas.microsoft.com/office/drawing/2017/decorative" val="1"/>
              </a:ext>
            </a:extLst>
          </p:cNvPr>
          <p:cNvSpPr>
            <a:spLocks noGrp="1"/>
          </p:cNvSpPr>
          <p:nvPr>
            <p:ph type="title"/>
          </p:nvPr>
        </p:nvSpPr>
        <p:spPr/>
        <p:txBody>
          <a:bodyPr/>
          <a:lstStyle/>
          <a:p>
            <a:r>
              <a:rPr lang="de-DE" dirty="0"/>
              <a:t>Investitionsschwäche dämpft weiterhin</a:t>
            </a:r>
            <a:endParaRPr lang="en-GB" dirty="0"/>
          </a:p>
        </p:txBody>
      </p:sp>
      <p:sp>
        <p:nvSpPr>
          <p:cNvPr id="4" name="Content Placeholder 3">
            <a:extLst>
              <a:ext uri="{FF2B5EF4-FFF2-40B4-BE49-F238E27FC236}">
                <a16:creationId xmlns:a16="http://schemas.microsoft.com/office/drawing/2014/main" id="{E43556A5-32C4-1C28-8520-7422EEEF6057}"/>
              </a:ext>
              <a:ext uri="{C183D7F6-B498-43B3-948B-1728B52AA6E4}">
                <adec:decorative xmlns:adec="http://schemas.microsoft.com/office/drawing/2017/decorative" val="1"/>
              </a:ext>
            </a:extLst>
          </p:cNvPr>
          <p:cNvSpPr>
            <a:spLocks noGrp="1"/>
          </p:cNvSpPr>
          <p:nvPr>
            <p:ph sz="half" idx="1"/>
          </p:nvPr>
        </p:nvSpPr>
        <p:spPr>
          <a:xfrm>
            <a:off x="651766" y="1509486"/>
            <a:ext cx="5226465" cy="4354287"/>
          </a:xfrm>
        </p:spPr>
        <p:txBody>
          <a:bodyPr/>
          <a:lstStyle/>
          <a:p>
            <a:pPr marL="380990" indent="-380990">
              <a:buFont typeface="Arial" panose="020B0604020202020204" pitchFamily="34" charset="0"/>
              <a:buChar char="•"/>
            </a:pPr>
            <a:r>
              <a:rPr lang="de-DE" sz="1867">
                <a:solidFill>
                  <a:srgbClr val="0018A8"/>
                </a:solidFill>
              </a:rPr>
              <a:t>Ausrüstungsinvestitionen dürften sich aufgrund geringer Kapazitätsauslastung erst 2026 erhol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Industrieproduktion dürfte 2025 stagnieren und erst ab 2026 wieder anzieh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Bauinvestitionen dürften auch dank fallender Zinsen ab Ende 2025 Rückenwind geb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Sonstige Investitionen (IP und Software) stiegen antizyklisch und deuten auf Strukturwandel hin</a:t>
            </a:r>
            <a:endParaRPr lang="en-GB" sz="1867">
              <a:solidFill>
                <a:srgbClr val="0018A8"/>
              </a:solidFill>
            </a:endParaRPr>
          </a:p>
        </p:txBody>
      </p:sp>
      <p:graphicFrame>
        <p:nvGraphicFramePr>
          <p:cNvPr id="6" name="Chart 5">
            <a:extLst>
              <a:ext uri="{FF2B5EF4-FFF2-40B4-BE49-F238E27FC236}">
                <a16:creationId xmlns:a16="http://schemas.microsoft.com/office/drawing/2014/main" id="{D33AA5C9-3BD2-4BF6-A614-4AF2527448B6}"/>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117482920"/>
              </p:ext>
            </p:extLst>
          </p:nvPr>
        </p:nvGraphicFramePr>
        <p:xfrm>
          <a:off x="6313773" y="1509486"/>
          <a:ext cx="5301583" cy="4354287"/>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ADCE8BA-A8C9-0F53-D637-70C75507715C}"/>
              </a:ext>
              <a:ext uri="{C183D7F6-B498-43B3-948B-1728B52AA6E4}">
                <adec:decorative xmlns:adec="http://schemas.microsoft.com/office/drawing/2017/decorative" val="1"/>
              </a:ext>
            </a:extLst>
          </p:cNvPr>
          <p:cNvSpPr>
            <a:spLocks noGrp="1"/>
          </p:cNvSpPr>
          <p:nvPr>
            <p:ph type="sldNum" sz="quarter" idx="21"/>
          </p:nvPr>
        </p:nvSpPr>
        <p:spPr/>
        <p:txBody>
          <a:bodyPr/>
          <a:lstStyle/>
          <a:p>
            <a:pPr defTabSz="914357" fontAlgn="base">
              <a:spcBef>
                <a:spcPct val="0"/>
              </a:spcBef>
              <a:spcAft>
                <a:spcPct val="0"/>
              </a:spcAft>
              <a:defRPr/>
            </a:pPr>
            <a:fld id="{2A7BD8E3-5974-4C0E-9140-06BA4F42A58B}" type="slidenum">
              <a:rPr lang="en-US">
                <a:solidFill>
                  <a:srgbClr val="000000"/>
                </a:solidFill>
                <a:latin typeface="Deutsche Bank Text"/>
              </a:rPr>
              <a:pPr defTabSz="914357" fontAlgn="base">
                <a:spcBef>
                  <a:spcPct val="0"/>
                </a:spcBef>
                <a:spcAft>
                  <a:spcPct val="0"/>
                </a:spcAft>
                <a:defRPr/>
              </a:pPr>
              <a:t>17</a:t>
            </a:fld>
            <a:endParaRPr lang="en-US">
              <a:solidFill>
                <a:srgbClr val="000000"/>
              </a:solidFill>
              <a:latin typeface="Deutsche Bank Text"/>
            </a:endParaRPr>
          </a:p>
        </p:txBody>
      </p:sp>
    </p:spTree>
    <p:extLst>
      <p:ext uri="{BB962C8B-B14F-4D97-AF65-F5344CB8AC3E}">
        <p14:creationId xmlns:p14="http://schemas.microsoft.com/office/powerpoint/2010/main" val="1481464707"/>
      </p:ext>
    </p:extLst>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126D4-9F60-FDD3-4BB2-979B442EFDC3}"/>
              </a:ext>
            </a:extLst>
          </p:cNvPr>
          <p:cNvSpPr>
            <a:spLocks noGrp="1"/>
          </p:cNvSpPr>
          <p:nvPr>
            <p:ph type="title"/>
          </p:nvPr>
        </p:nvSpPr>
        <p:spPr/>
        <p:txBody>
          <a:bodyPr/>
          <a:lstStyle/>
          <a:p>
            <a:r>
              <a:rPr lang="de-DE"/>
              <a:t>Wirtschaftspolitische Unsicherheit bleibt hoch</a:t>
            </a:r>
            <a:endParaRPr lang="en-GB"/>
          </a:p>
        </p:txBody>
      </p:sp>
      <p:sp>
        <p:nvSpPr>
          <p:cNvPr id="4" name="Content Placeholder 3">
            <a:extLst>
              <a:ext uri="{FF2B5EF4-FFF2-40B4-BE49-F238E27FC236}">
                <a16:creationId xmlns:a16="http://schemas.microsoft.com/office/drawing/2014/main" id="{E43556A5-32C4-1C28-8520-7422EEEF6057}"/>
              </a:ext>
            </a:extLst>
          </p:cNvPr>
          <p:cNvSpPr>
            <a:spLocks noGrp="1"/>
          </p:cNvSpPr>
          <p:nvPr>
            <p:ph sz="half" idx="1"/>
          </p:nvPr>
        </p:nvSpPr>
        <p:spPr>
          <a:xfrm>
            <a:off x="651766" y="1509486"/>
            <a:ext cx="5226465" cy="4296229"/>
          </a:xfrm>
        </p:spPr>
        <p:txBody>
          <a:bodyPr/>
          <a:lstStyle/>
          <a:p>
            <a:pPr marL="380990" indent="-380990">
              <a:buFont typeface="Arial" panose="020B0604020202020204" pitchFamily="34" charset="0"/>
              <a:buChar char="•"/>
            </a:pPr>
            <a:r>
              <a:rPr lang="de-DE" sz="1867">
                <a:solidFill>
                  <a:srgbClr val="0018A8"/>
                </a:solidFill>
              </a:rPr>
              <a:t>Wirtschaftspolitische Unsicherheit im internationalen Vergleich erstaunlich hoch</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Unsicherheit lastet auf Konsum – und Investitionsentscheidung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Unsicherheit wird in der ersten Jahreshälfte 2025 hoch bleib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Gewissheit über Richtungswechsel in US-Handelspolitik erst im Laufe 2025</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Frische wirtschaftspolitische Impulse aus Berlin erst ab Frühjahr 2025</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endParaRPr lang="en-GB" sz="1867">
              <a:solidFill>
                <a:srgbClr val="0018A8"/>
              </a:solidFill>
            </a:endParaRPr>
          </a:p>
        </p:txBody>
      </p:sp>
      <p:graphicFrame>
        <p:nvGraphicFramePr>
          <p:cNvPr id="8" name="Chart 7" descr="Wirtschaftspolitische Unsicherheit (USA, Deutschland)">
            <a:extLst>
              <a:ext uri="{FF2B5EF4-FFF2-40B4-BE49-F238E27FC236}">
                <a16:creationId xmlns:a16="http://schemas.microsoft.com/office/drawing/2014/main" id="{5BA1DF19-34AF-4475-A022-131A24B3A8F2}"/>
              </a:ext>
            </a:extLst>
          </p:cNvPr>
          <p:cNvGraphicFramePr>
            <a:graphicFrameLocks/>
          </p:cNvGraphicFramePr>
          <p:nvPr>
            <p:extLst>
              <p:ext uri="{D42A27DB-BD31-4B8C-83A1-F6EECF244321}">
                <p14:modId xmlns:p14="http://schemas.microsoft.com/office/powerpoint/2010/main" val="4192814116"/>
              </p:ext>
            </p:extLst>
          </p:nvPr>
        </p:nvGraphicFramePr>
        <p:xfrm>
          <a:off x="6313772" y="1509486"/>
          <a:ext cx="5308947" cy="4296229"/>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ADCE8BA-A8C9-0F53-D637-70C75507715C}"/>
              </a:ext>
              <a:ext uri="{C183D7F6-B498-43B3-948B-1728B52AA6E4}">
                <adec:decorative xmlns:adec="http://schemas.microsoft.com/office/drawing/2017/decorative" val="0"/>
              </a:ext>
            </a:extLst>
          </p:cNvPr>
          <p:cNvSpPr>
            <a:spLocks noGrp="1"/>
          </p:cNvSpPr>
          <p:nvPr>
            <p:ph type="sldNum" sz="quarter" idx="21"/>
          </p:nvPr>
        </p:nvSpPr>
        <p:spPr/>
        <p:txBody>
          <a:bodyPr/>
          <a:lstStyle/>
          <a:p>
            <a:pPr defTabSz="914357" fontAlgn="base">
              <a:spcBef>
                <a:spcPct val="0"/>
              </a:spcBef>
              <a:spcAft>
                <a:spcPct val="0"/>
              </a:spcAft>
              <a:defRPr/>
            </a:pPr>
            <a:fld id="{2A7BD8E3-5974-4C0E-9140-06BA4F42A58B}" type="slidenum">
              <a:rPr lang="en-US">
                <a:solidFill>
                  <a:srgbClr val="000000"/>
                </a:solidFill>
                <a:latin typeface="Deutsche Bank Text"/>
              </a:rPr>
              <a:pPr defTabSz="914357" fontAlgn="base">
                <a:spcBef>
                  <a:spcPct val="0"/>
                </a:spcBef>
                <a:spcAft>
                  <a:spcPct val="0"/>
                </a:spcAft>
                <a:defRPr/>
              </a:pPr>
              <a:t>18</a:t>
            </a:fld>
            <a:endParaRPr lang="en-US">
              <a:solidFill>
                <a:srgbClr val="000000"/>
              </a:solidFill>
              <a:latin typeface="Deutsche Bank Text"/>
            </a:endParaRPr>
          </a:p>
        </p:txBody>
      </p:sp>
    </p:spTree>
    <p:extLst>
      <p:ext uri="{BB962C8B-B14F-4D97-AF65-F5344CB8AC3E}">
        <p14:creationId xmlns:p14="http://schemas.microsoft.com/office/powerpoint/2010/main" val="3400201961"/>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126D4-9F60-FDD3-4BB2-979B442EFDC3}"/>
              </a:ext>
            </a:extLst>
          </p:cNvPr>
          <p:cNvSpPr>
            <a:spLocks noGrp="1"/>
          </p:cNvSpPr>
          <p:nvPr>
            <p:ph type="title"/>
          </p:nvPr>
        </p:nvSpPr>
        <p:spPr/>
        <p:txBody>
          <a:bodyPr/>
          <a:lstStyle/>
          <a:p>
            <a:r>
              <a:rPr lang="de-DE"/>
              <a:t>Wettbewerbsfähigkeit nimmt weiter ab</a:t>
            </a:r>
            <a:endParaRPr lang="en-GB"/>
          </a:p>
        </p:txBody>
      </p:sp>
      <p:sp>
        <p:nvSpPr>
          <p:cNvPr id="4" name="Content Placeholder 3">
            <a:extLst>
              <a:ext uri="{FF2B5EF4-FFF2-40B4-BE49-F238E27FC236}">
                <a16:creationId xmlns:a16="http://schemas.microsoft.com/office/drawing/2014/main" id="{E43556A5-32C4-1C28-8520-7422EEEF6057}"/>
              </a:ext>
            </a:extLst>
          </p:cNvPr>
          <p:cNvSpPr>
            <a:spLocks noGrp="1"/>
          </p:cNvSpPr>
          <p:nvPr>
            <p:ph sz="half" idx="1"/>
          </p:nvPr>
        </p:nvSpPr>
        <p:spPr>
          <a:xfrm>
            <a:off x="651766" y="1509486"/>
            <a:ext cx="5226465" cy="4334933"/>
          </a:xfrm>
        </p:spPr>
        <p:txBody>
          <a:bodyPr/>
          <a:lstStyle/>
          <a:p>
            <a:pPr marL="380990" indent="-380990">
              <a:buFont typeface="Arial" panose="020B0604020202020204" pitchFamily="34" charset="0"/>
              <a:buChar char="•"/>
            </a:pPr>
            <a:r>
              <a:rPr lang="de-DE" sz="1867">
                <a:solidFill>
                  <a:srgbClr val="0018A8"/>
                </a:solidFill>
              </a:rPr>
              <a:t>Deutsche Marktanteile im globalen Exportgeschäft nehmen rapide ab</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Wettbewerbsfähigkeit nicht nur Kostenproblemen geschuldet</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Deutsche Exporteure kämpfen mit chinesischem Wettbewerb</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Exportstärke in den USA durch Trump 2.0 </a:t>
            </a:r>
            <a:br>
              <a:rPr lang="de-DE" sz="1867">
                <a:solidFill>
                  <a:srgbClr val="0018A8"/>
                </a:solidFill>
              </a:rPr>
            </a:br>
            <a:r>
              <a:rPr lang="de-DE" sz="1867">
                <a:solidFill>
                  <a:srgbClr val="0018A8"/>
                </a:solidFill>
              </a:rPr>
              <a:t>in Frage gestellt</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Globaler Handelskrieg als Abwärtsrisiko</a:t>
            </a:r>
            <a:endParaRPr lang="en-GB" sz="1867">
              <a:solidFill>
                <a:srgbClr val="0018A8"/>
              </a:solidFill>
            </a:endParaRPr>
          </a:p>
        </p:txBody>
      </p:sp>
      <p:graphicFrame>
        <p:nvGraphicFramePr>
          <p:cNvPr id="5" name="Chart 4" descr="Exportperformance und relative Lohnstückkosten">
            <a:extLst>
              <a:ext uri="{FF2B5EF4-FFF2-40B4-BE49-F238E27FC236}">
                <a16:creationId xmlns:a16="http://schemas.microsoft.com/office/drawing/2014/main" id="{A3862914-1A04-4EAE-ABF0-408408E42780}"/>
              </a:ext>
            </a:extLst>
          </p:cNvPr>
          <p:cNvGraphicFramePr>
            <a:graphicFrameLocks/>
          </p:cNvGraphicFramePr>
          <p:nvPr>
            <p:extLst>
              <p:ext uri="{D42A27DB-BD31-4B8C-83A1-F6EECF244321}">
                <p14:modId xmlns:p14="http://schemas.microsoft.com/office/powerpoint/2010/main" val="2153706335"/>
              </p:ext>
            </p:extLst>
          </p:nvPr>
        </p:nvGraphicFramePr>
        <p:xfrm>
          <a:off x="6313772" y="1509486"/>
          <a:ext cx="5252101" cy="4334933"/>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ADCE8BA-A8C9-0F53-D637-70C75507715C}"/>
              </a:ext>
            </a:extLst>
          </p:cNvPr>
          <p:cNvSpPr>
            <a:spLocks noGrp="1"/>
          </p:cNvSpPr>
          <p:nvPr>
            <p:ph type="sldNum" sz="quarter" idx="21"/>
          </p:nvPr>
        </p:nvSpPr>
        <p:spPr/>
        <p:txBody>
          <a:bodyPr/>
          <a:lstStyle/>
          <a:p>
            <a:pPr defTabSz="914357" fontAlgn="base">
              <a:spcBef>
                <a:spcPct val="0"/>
              </a:spcBef>
              <a:spcAft>
                <a:spcPct val="0"/>
              </a:spcAft>
              <a:defRPr/>
            </a:pPr>
            <a:fld id="{2A7BD8E3-5974-4C0E-9140-06BA4F42A58B}" type="slidenum">
              <a:rPr lang="en-US">
                <a:solidFill>
                  <a:srgbClr val="000000"/>
                </a:solidFill>
                <a:latin typeface="Deutsche Bank Text"/>
              </a:rPr>
              <a:pPr defTabSz="914357" fontAlgn="base">
                <a:spcBef>
                  <a:spcPct val="0"/>
                </a:spcBef>
                <a:spcAft>
                  <a:spcPct val="0"/>
                </a:spcAft>
                <a:defRPr/>
              </a:pPr>
              <a:t>19</a:t>
            </a:fld>
            <a:endParaRPr lang="en-US">
              <a:solidFill>
                <a:srgbClr val="000000"/>
              </a:solidFill>
              <a:latin typeface="Deutsche Bank Text"/>
            </a:endParaRPr>
          </a:p>
        </p:txBody>
      </p:sp>
    </p:spTree>
    <p:extLst>
      <p:ext uri="{BB962C8B-B14F-4D97-AF65-F5344CB8AC3E}">
        <p14:creationId xmlns:p14="http://schemas.microsoft.com/office/powerpoint/2010/main" val="1611847632"/>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0B5A06A7-AC01-FA7A-F3FB-BEB717BD5F68}"/>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a:t>Chief Investment Office</a:t>
            </a:r>
          </a:p>
        </p:txBody>
      </p:sp>
      <p:sp>
        <p:nvSpPr>
          <p:cNvPr id="8" name="Titel 7">
            <a:extLst>
              <a:ext uri="{FF2B5EF4-FFF2-40B4-BE49-F238E27FC236}">
                <a16:creationId xmlns:a16="http://schemas.microsoft.com/office/drawing/2014/main" id="{D2FE573C-EB3E-70D5-A2C7-30F99F256DF1}"/>
              </a:ext>
              <a:ext uri="{C183D7F6-B498-43B3-948B-1728B52AA6E4}">
                <adec:decorative xmlns:adec="http://schemas.microsoft.com/office/drawing/2017/decorative" val="1"/>
              </a:ext>
            </a:extLst>
          </p:cNvPr>
          <p:cNvSpPr>
            <a:spLocks noGrp="1"/>
          </p:cNvSpPr>
          <p:nvPr>
            <p:ph type="title"/>
          </p:nvPr>
        </p:nvSpPr>
        <p:spPr/>
        <p:txBody>
          <a:bodyPr/>
          <a:lstStyle/>
          <a:p>
            <a:r>
              <a:rPr lang="de-DE"/>
              <a:t>Ausblick 2025</a:t>
            </a:r>
          </a:p>
        </p:txBody>
      </p:sp>
      <p:sp>
        <p:nvSpPr>
          <p:cNvPr id="9" name="Textplatzhalter 8">
            <a:extLst>
              <a:ext uri="{FF2B5EF4-FFF2-40B4-BE49-F238E27FC236}">
                <a16:creationId xmlns:a16="http://schemas.microsoft.com/office/drawing/2014/main" id="{7F77F3E3-2628-80EF-66B0-42FADEDF663B}"/>
              </a:ext>
              <a:ext uri="{C183D7F6-B498-43B3-948B-1728B52AA6E4}">
                <adec:decorative xmlns:adec="http://schemas.microsoft.com/office/drawing/2017/decorative" val="1"/>
              </a:ext>
            </a:extLst>
          </p:cNvPr>
          <p:cNvSpPr>
            <a:spLocks noGrp="1"/>
          </p:cNvSpPr>
          <p:nvPr>
            <p:ph type="body" sz="quarter" idx="10"/>
          </p:nvPr>
        </p:nvSpPr>
        <p:spPr/>
        <p:txBody>
          <a:bodyPr/>
          <a:lstStyle/>
          <a:p>
            <a:r>
              <a:rPr lang="de-DE" sz="3200" i="1"/>
              <a:t>Investieren, um zu wachsen</a:t>
            </a:r>
          </a:p>
        </p:txBody>
      </p:sp>
      <p:sp>
        <p:nvSpPr>
          <p:cNvPr id="10" name="Textplatzhalter 9">
            <a:extLst>
              <a:ext uri="{FF2B5EF4-FFF2-40B4-BE49-F238E27FC236}">
                <a16:creationId xmlns:a16="http://schemas.microsoft.com/office/drawing/2014/main" id="{8B7B4B8D-07A2-936D-998A-B70E9F2844F6}"/>
              </a:ext>
              <a:ext uri="{C183D7F6-B498-43B3-948B-1728B52AA6E4}">
                <adec:decorative xmlns:adec="http://schemas.microsoft.com/office/drawing/2017/decorative" val="1"/>
              </a:ext>
            </a:extLst>
          </p:cNvPr>
          <p:cNvSpPr>
            <a:spLocks noGrp="1"/>
          </p:cNvSpPr>
          <p:nvPr>
            <p:ph type="body" sz="quarter" idx="13"/>
          </p:nvPr>
        </p:nvSpPr>
        <p:spPr/>
        <p:txBody>
          <a:bodyPr/>
          <a:lstStyle/>
          <a:p>
            <a:r>
              <a:rPr lang="de-DE" sz="2400"/>
              <a:t>Christian Nolting, Globaler Chief Investment Officer</a:t>
            </a:r>
          </a:p>
          <a:p>
            <a:endParaRPr lang="de-DE"/>
          </a:p>
          <a:p>
            <a:r>
              <a:rPr lang="de-DE"/>
              <a:t>Frankfurt am Main, 28. November 2024</a:t>
            </a:r>
          </a:p>
        </p:txBody>
      </p:sp>
    </p:spTree>
    <p:extLst>
      <p:ext uri="{BB962C8B-B14F-4D97-AF65-F5344CB8AC3E}">
        <p14:creationId xmlns:p14="http://schemas.microsoft.com/office/powerpoint/2010/main" val="4055019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126D4-9F60-FDD3-4BB2-979B442EFDC3}"/>
              </a:ext>
            </a:extLst>
          </p:cNvPr>
          <p:cNvSpPr>
            <a:spLocks noGrp="1"/>
          </p:cNvSpPr>
          <p:nvPr>
            <p:ph type="title"/>
          </p:nvPr>
        </p:nvSpPr>
        <p:spPr/>
        <p:txBody>
          <a:bodyPr/>
          <a:lstStyle/>
          <a:p>
            <a:r>
              <a:rPr lang="de-DE"/>
              <a:t>Inflation auf einem guten Weg </a:t>
            </a:r>
            <a:endParaRPr lang="en-GB"/>
          </a:p>
        </p:txBody>
      </p:sp>
      <p:sp>
        <p:nvSpPr>
          <p:cNvPr id="4" name="Content Placeholder 3">
            <a:extLst>
              <a:ext uri="{FF2B5EF4-FFF2-40B4-BE49-F238E27FC236}">
                <a16:creationId xmlns:a16="http://schemas.microsoft.com/office/drawing/2014/main" id="{E43556A5-32C4-1C28-8520-7422EEEF6057}"/>
              </a:ext>
            </a:extLst>
          </p:cNvPr>
          <p:cNvSpPr>
            <a:spLocks noGrp="1"/>
          </p:cNvSpPr>
          <p:nvPr>
            <p:ph sz="half" idx="1"/>
          </p:nvPr>
        </p:nvSpPr>
        <p:spPr>
          <a:xfrm>
            <a:off x="651766" y="1509486"/>
            <a:ext cx="5226465" cy="4315581"/>
          </a:xfrm>
        </p:spPr>
        <p:txBody>
          <a:bodyPr/>
          <a:lstStyle/>
          <a:p>
            <a:pPr marL="380990" indent="-380990">
              <a:buFont typeface="Arial" panose="020B0604020202020204" pitchFamily="34" charset="0"/>
              <a:buChar char="•"/>
            </a:pPr>
            <a:r>
              <a:rPr lang="de-DE" sz="1867">
                <a:solidFill>
                  <a:srgbClr val="0018A8"/>
                </a:solidFill>
              </a:rPr>
              <a:t>Verbraucherpreisinflation dürfte sich im Jahresdurschnitt bei 2,2% einpendel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Kerninflationsrate dürfte auf 2,5% fall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Inflation im Dienstleistungssektor dürfte endlich nachlassen</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Energiepreisentwicklung weiterhin deflationär, doch stabiler als 2024</a:t>
            </a:r>
          </a:p>
          <a:p>
            <a:pPr marL="380990" indent="-380990">
              <a:buFont typeface="Arial" panose="020B0604020202020204" pitchFamily="34" charset="0"/>
              <a:buChar char="•"/>
            </a:pPr>
            <a:endParaRPr lang="de-DE" sz="1867">
              <a:solidFill>
                <a:srgbClr val="0018A8"/>
              </a:solidFill>
            </a:endParaRPr>
          </a:p>
          <a:p>
            <a:pPr marL="380990" indent="-380990">
              <a:buFont typeface="Arial" panose="020B0604020202020204" pitchFamily="34" charset="0"/>
              <a:buChar char="•"/>
            </a:pPr>
            <a:r>
              <a:rPr lang="de-DE" sz="1867">
                <a:solidFill>
                  <a:srgbClr val="0018A8"/>
                </a:solidFill>
              </a:rPr>
              <a:t>Inflationserwartungen der Haushalte und Unternehmen normalisieren sich</a:t>
            </a:r>
            <a:endParaRPr lang="en-GB" sz="1867">
              <a:solidFill>
                <a:srgbClr val="0018A8"/>
              </a:solidFill>
            </a:endParaRPr>
          </a:p>
        </p:txBody>
      </p:sp>
      <p:graphicFrame>
        <p:nvGraphicFramePr>
          <p:cNvPr id="6" name="Chart 5" descr="Inflationsausblick">
            <a:extLst>
              <a:ext uri="{FF2B5EF4-FFF2-40B4-BE49-F238E27FC236}">
                <a16:creationId xmlns:a16="http://schemas.microsoft.com/office/drawing/2014/main" id="{E134BEB0-84E8-458E-B44D-50E9B7D3B832}"/>
              </a:ext>
            </a:extLst>
          </p:cNvPr>
          <p:cNvGraphicFramePr>
            <a:graphicFrameLocks/>
          </p:cNvGraphicFramePr>
          <p:nvPr>
            <p:extLst>
              <p:ext uri="{D42A27DB-BD31-4B8C-83A1-F6EECF244321}">
                <p14:modId xmlns:p14="http://schemas.microsoft.com/office/powerpoint/2010/main" val="3757386526"/>
              </p:ext>
            </p:extLst>
          </p:nvPr>
        </p:nvGraphicFramePr>
        <p:xfrm>
          <a:off x="6313772" y="1509486"/>
          <a:ext cx="5290696" cy="4315581"/>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CADCE8BA-A8C9-0F53-D637-70C75507715C}"/>
              </a:ext>
            </a:extLst>
          </p:cNvPr>
          <p:cNvSpPr>
            <a:spLocks noGrp="1"/>
          </p:cNvSpPr>
          <p:nvPr>
            <p:ph type="sldNum" sz="quarter" idx="21"/>
          </p:nvPr>
        </p:nvSpPr>
        <p:spPr/>
        <p:txBody>
          <a:bodyPr/>
          <a:lstStyle/>
          <a:p>
            <a:pPr defTabSz="914357" fontAlgn="base">
              <a:spcBef>
                <a:spcPct val="0"/>
              </a:spcBef>
              <a:spcAft>
                <a:spcPct val="0"/>
              </a:spcAft>
              <a:defRPr/>
            </a:pPr>
            <a:fld id="{2A7BD8E3-5974-4C0E-9140-06BA4F42A58B}" type="slidenum">
              <a:rPr lang="en-US">
                <a:solidFill>
                  <a:srgbClr val="000000"/>
                </a:solidFill>
                <a:latin typeface="Deutsche Bank Text"/>
              </a:rPr>
              <a:pPr defTabSz="914357" fontAlgn="base">
                <a:spcBef>
                  <a:spcPct val="0"/>
                </a:spcBef>
                <a:spcAft>
                  <a:spcPct val="0"/>
                </a:spcAft>
                <a:defRPr/>
              </a:pPr>
              <a:t>20</a:t>
            </a:fld>
            <a:endParaRPr lang="en-US">
              <a:solidFill>
                <a:srgbClr val="000000"/>
              </a:solidFill>
              <a:latin typeface="Deutsche Bank Text"/>
            </a:endParaRPr>
          </a:p>
        </p:txBody>
      </p:sp>
    </p:spTree>
    <p:extLst>
      <p:ext uri="{BB962C8B-B14F-4D97-AF65-F5344CB8AC3E}">
        <p14:creationId xmlns:p14="http://schemas.microsoft.com/office/powerpoint/2010/main" val="2996677747"/>
      </p:ext>
    </p:extLst>
  </p:cSld>
  <p:clrMapOvr>
    <a:masterClrMapping/>
  </p:clrMapOvr>
  <p:transition>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0B5A06A7-AC01-FA7A-F3FB-BEB717BD5F68}"/>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dirty="0"/>
              <a:t>Chief Investment Office</a:t>
            </a:r>
          </a:p>
        </p:txBody>
      </p:sp>
      <p:sp>
        <p:nvSpPr>
          <p:cNvPr id="8" name="Titel 7">
            <a:extLst>
              <a:ext uri="{FF2B5EF4-FFF2-40B4-BE49-F238E27FC236}">
                <a16:creationId xmlns:a16="http://schemas.microsoft.com/office/drawing/2014/main" id="{D2FE573C-EB3E-70D5-A2C7-30F99F256DF1}"/>
              </a:ext>
            </a:extLst>
          </p:cNvPr>
          <p:cNvSpPr>
            <a:spLocks noGrp="1"/>
          </p:cNvSpPr>
          <p:nvPr>
            <p:ph type="title" idx="4294967295"/>
          </p:nvPr>
        </p:nvSpPr>
        <p:spPr>
          <a:xfrm>
            <a:off x="971550" y="2141538"/>
            <a:ext cx="4855092" cy="1411287"/>
          </a:xfrm>
          <a:prstGeom prst="rect">
            <a:avLst/>
          </a:prstGeom>
        </p:spPr>
        <p:txBody>
          <a:bodyPr/>
          <a:lstStyle/>
          <a:p>
            <a:r>
              <a:rPr lang="de-DE" dirty="0">
                <a:solidFill>
                  <a:schemeClr val="bg1"/>
                </a:solidFill>
                <a:latin typeface="+mn-lt"/>
              </a:rPr>
              <a:t>Ausblick 2025</a:t>
            </a:r>
          </a:p>
        </p:txBody>
      </p:sp>
      <p:sp>
        <p:nvSpPr>
          <p:cNvPr id="9" name="Textplatzhalter 8">
            <a:extLst>
              <a:ext uri="{FF2B5EF4-FFF2-40B4-BE49-F238E27FC236}">
                <a16:creationId xmlns:a16="http://schemas.microsoft.com/office/drawing/2014/main" id="{7F77F3E3-2628-80EF-66B0-42FADEDF663B}"/>
              </a:ext>
            </a:extLst>
          </p:cNvPr>
          <p:cNvSpPr>
            <a:spLocks noGrp="1"/>
          </p:cNvSpPr>
          <p:nvPr>
            <p:ph type="body" sz="quarter" idx="10"/>
          </p:nvPr>
        </p:nvSpPr>
        <p:spPr/>
        <p:txBody>
          <a:bodyPr/>
          <a:lstStyle/>
          <a:p>
            <a:r>
              <a:rPr lang="de-DE" sz="3200" i="1" dirty="0">
                <a:latin typeface="+mn-lt"/>
              </a:rPr>
              <a:t>Investieren, um zu wachsen</a:t>
            </a:r>
          </a:p>
        </p:txBody>
      </p:sp>
      <p:sp>
        <p:nvSpPr>
          <p:cNvPr id="10" name="Textplatzhalter 9">
            <a:extLst>
              <a:ext uri="{FF2B5EF4-FFF2-40B4-BE49-F238E27FC236}">
                <a16:creationId xmlns:a16="http://schemas.microsoft.com/office/drawing/2014/main" id="{8B7B4B8D-07A2-936D-998A-B70E9F2844F6}"/>
              </a:ext>
            </a:extLst>
          </p:cNvPr>
          <p:cNvSpPr>
            <a:spLocks noGrp="1"/>
          </p:cNvSpPr>
          <p:nvPr>
            <p:ph type="body" sz="quarter" idx="13"/>
          </p:nvPr>
        </p:nvSpPr>
        <p:spPr/>
        <p:txBody>
          <a:bodyPr/>
          <a:lstStyle/>
          <a:p>
            <a:r>
              <a:rPr lang="de-DE" sz="2400"/>
              <a:t>Dr. Ulrich Stephan, Chief Investment Officer Deutschland</a:t>
            </a:r>
          </a:p>
          <a:p>
            <a:endParaRPr lang="de-DE"/>
          </a:p>
          <a:p>
            <a:r>
              <a:rPr lang="de-DE"/>
              <a:t>Frankfurt am Main, 28. November 2024</a:t>
            </a:r>
          </a:p>
        </p:txBody>
      </p:sp>
    </p:spTree>
    <p:extLst>
      <p:ext uri="{BB962C8B-B14F-4D97-AF65-F5344CB8AC3E}">
        <p14:creationId xmlns:p14="http://schemas.microsoft.com/office/powerpoint/2010/main" val="3771665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Anleihen – Die Rückkehr der Prämie</a:t>
            </a:r>
          </a:p>
        </p:txBody>
      </p:sp>
      <p:sp>
        <p:nvSpPr>
          <p:cNvPr id="2" name="Text Placeholder 11">
            <a:extLst>
              <a:ext uri="{FF2B5EF4-FFF2-40B4-BE49-F238E27FC236}">
                <a16:creationId xmlns:a16="http://schemas.microsoft.com/office/drawing/2014/main" id="{8886AA26-BB21-78D2-6153-70617BBA2536}"/>
              </a:ext>
            </a:extLst>
          </p:cNvPr>
          <p:cNvSpPr>
            <a:spLocks noGrp="1"/>
          </p:cNvSpPr>
          <p:nvPr>
            <p:ph type="body" sz="quarter" idx="14" hasCustomPrompt="1"/>
          </p:nvPr>
        </p:nvSpPr>
        <p:spPr/>
        <p:txBody>
          <a:bodyPr>
            <a:spAutoFit/>
          </a:bodyPr>
          <a:lstStyle>
            <a:lvl1pPr>
              <a:defRPr>
                <a:solidFill>
                  <a:srgbClr val="1E2A78"/>
                </a:solidFill>
              </a:defRPr>
            </a:lvl1pPr>
          </a:lstStyle>
          <a:p>
            <a:r>
              <a:rPr lang="de-DE">
                <a:latin typeface="Deutsche Bank Text" panose="020B0503020202030204" pitchFamily="34" charset="0"/>
                <a:ea typeface="Deutsche Bank Text" panose="020B0503020202030204" pitchFamily="34" charset="0"/>
                <a:cs typeface="Deutsche Bank Text" panose="020B0503020202030204" pitchFamily="34" charset="0"/>
              </a:rPr>
              <a:t>Rentenmärkte – Normalisierung schreitet voran</a:t>
            </a:r>
          </a:p>
        </p:txBody>
      </p:sp>
      <p:graphicFrame>
        <p:nvGraphicFramePr>
          <p:cNvPr id="16" name="Chart 6" descr="Differenz der US-Staatsanleiherenditen">
            <a:extLst>
              <a:ext uri="{FF2B5EF4-FFF2-40B4-BE49-F238E27FC236}">
                <a16:creationId xmlns:a16="http://schemas.microsoft.com/office/drawing/2014/main" id="{4471C74E-A102-4D35-A4F8-CBCA737822CF}"/>
              </a:ext>
            </a:extLst>
          </p:cNvPr>
          <p:cNvGraphicFramePr>
            <a:graphicFrameLocks noGrp="1"/>
          </p:cNvGraphicFramePr>
          <p:nvPr>
            <p:ph sz="quarter" idx="10"/>
            <p:custDataLst>
              <p:tags r:id="rId1"/>
            </p:custDataLst>
            <p:extLst>
              <p:ext uri="{D42A27DB-BD31-4B8C-83A1-F6EECF244321}">
                <p14:modId xmlns:p14="http://schemas.microsoft.com/office/powerpoint/2010/main" val="2201669347"/>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11">
            <a:extLst>
              <a:ext uri="{FF2B5EF4-FFF2-40B4-BE49-F238E27FC236}">
                <a16:creationId xmlns:a16="http://schemas.microsoft.com/office/drawing/2014/main" id="{FB86BB63-1F57-0D1B-5D77-8274DF46F1B5}"/>
              </a:ext>
            </a:extLst>
          </p:cNvPr>
          <p:cNvSpPr>
            <a:spLocks noGrp="1"/>
          </p:cNvSpPr>
          <p:nvPr>
            <p:ph type="body" sz="quarter" idx="15" hasCustomPrompt="1"/>
          </p:nvPr>
        </p:nvSpPr>
        <p:spPr/>
        <p:txBody>
          <a:bodyPr>
            <a:spAutoFit/>
          </a:bodyPr>
          <a:lstStyle>
            <a:lvl1pPr>
              <a:defRPr>
                <a:solidFill>
                  <a:srgbClr val="1E2A78"/>
                </a:solidFill>
              </a:defRPr>
            </a:lvl1pPr>
          </a:lstStyle>
          <a:p>
            <a:pPr lvl="0"/>
            <a:r>
              <a:rPr lang="de-DE"/>
              <a:t>Bevorzugte Anlage – Hochwertige Unternehmensanleihen </a:t>
            </a:r>
          </a:p>
        </p:txBody>
      </p:sp>
      <p:graphicFrame>
        <p:nvGraphicFramePr>
          <p:cNvPr id="8" name="Chart 1">
            <a:extLst>
              <a:ext uri="{FF2B5EF4-FFF2-40B4-BE49-F238E27FC236}">
                <a16:creationId xmlns:a16="http://schemas.microsoft.com/office/drawing/2014/main" id="{A855A50F-C785-4DB2-876F-B994DE5270C7}"/>
              </a:ext>
              <a:ext uri="{C183D7F6-B498-43B3-948B-1728B52AA6E4}">
                <adec:decorative xmlns:adec="http://schemas.microsoft.com/office/drawing/2017/decorative" val="1"/>
              </a:ext>
            </a:extLst>
          </p:cNvPr>
          <p:cNvGraphicFramePr>
            <a:graphicFrameLocks noGrp="1"/>
          </p:cNvGraphicFramePr>
          <p:nvPr>
            <p:ph sz="quarter" idx="11"/>
            <p:custDataLst>
              <p:tags r:id="rId2"/>
            </p:custDataLst>
            <p:extLst>
              <p:ext uri="{D42A27DB-BD31-4B8C-83A1-F6EECF244321}">
                <p14:modId xmlns:p14="http://schemas.microsoft.com/office/powerpoint/2010/main" val="360332811"/>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Objekt 9">
            <a:extLst>
              <a:ext uri="{FF2B5EF4-FFF2-40B4-BE49-F238E27FC236}">
                <a16:creationId xmlns:a16="http://schemas.microsoft.com/office/drawing/2014/main" id="{BC7A4FBB-03FF-0041-1C18-7AA38A60016E}"/>
              </a:ext>
              <a:ext uri="{C183D7F6-B498-43B3-948B-1728B52AA6E4}">
                <adec:decorative xmlns:adec="http://schemas.microsoft.com/office/drawing/2017/decorative" val="1"/>
              </a:ext>
            </a:extLst>
          </p:cNvPr>
          <p:cNvGraphicFramePr>
            <a:graphicFrameLocks noChangeAspect="1"/>
          </p:cNvGraphicFramePr>
          <p:nvPr>
            <p:extLst>
              <p:ext uri="{D42A27DB-BD31-4B8C-83A1-F6EECF244321}">
                <p14:modId xmlns:p14="http://schemas.microsoft.com/office/powerpoint/2010/main" val="498305309"/>
              </p:ext>
            </p:extLst>
          </p:nvPr>
        </p:nvGraphicFramePr>
        <p:xfrm>
          <a:off x="8424181" y="2882617"/>
          <a:ext cx="1038225" cy="565537"/>
        </p:xfrm>
        <a:graphic>
          <a:graphicData uri="http://schemas.openxmlformats.org/presentationml/2006/ole">
            <mc:AlternateContent xmlns:mc="http://schemas.openxmlformats.org/markup-compatibility/2006">
              <mc:Choice xmlns:v="urn:schemas-microsoft-com:vml" Requires="v">
                <p:oleObj name="Worksheet" r:id="rId6" imgW="1171384" imgH="638306" progId="Excel.Sheet.12">
                  <p:embed/>
                </p:oleObj>
              </mc:Choice>
              <mc:Fallback>
                <p:oleObj name="Worksheet" r:id="rId6" imgW="1171384" imgH="638306" progId="Excel.Sheet.12">
                  <p:embed/>
                  <p:pic>
                    <p:nvPicPr>
                      <p:cNvPr id="10" name="Objekt 9">
                        <a:extLst>
                          <a:ext uri="{FF2B5EF4-FFF2-40B4-BE49-F238E27FC236}">
                            <a16:creationId xmlns:a16="http://schemas.microsoft.com/office/drawing/2014/main" id="{BC7A4FBB-03FF-0041-1C18-7AA38A60016E}"/>
                          </a:ext>
                        </a:extLst>
                      </p:cNvPr>
                      <p:cNvPicPr/>
                      <p:nvPr/>
                    </p:nvPicPr>
                    <p:blipFill>
                      <a:blip r:embed="rId7"/>
                      <a:stretch>
                        <a:fillRect/>
                      </a:stretch>
                    </p:blipFill>
                    <p:spPr>
                      <a:xfrm>
                        <a:off x="8424181" y="2882617"/>
                        <a:ext cx="1038225" cy="565537"/>
                      </a:xfrm>
                      <a:prstGeom prst="rect">
                        <a:avLst/>
                      </a:prstGeom>
                    </p:spPr>
                  </p:pic>
                </p:oleObj>
              </mc:Fallback>
            </mc:AlternateContent>
          </a:graphicData>
        </a:graphic>
      </p:graphicFrame>
      <p:sp>
        <p:nvSpPr>
          <p:cNvPr id="4" name="Content Placeholder 21">
            <a:extLst>
              <a:ext uri="{FF2B5EF4-FFF2-40B4-BE49-F238E27FC236}">
                <a16:creationId xmlns:a16="http://schemas.microsoft.com/office/drawing/2014/main" id="{5D7D1D95-937D-C7E3-93A1-5E8611AF248E}"/>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Das Niedrigzinsumfeld liegt hinter uns – Erhöhtes Zinsniveau ermöglicht Anlagechancen (auch nach Inflationsabzug) </a:t>
            </a:r>
          </a:p>
          <a:p>
            <a:pPr marL="285750" indent="-285750">
              <a:spcAft>
                <a:spcPts val="600"/>
              </a:spcAft>
              <a:buFont typeface="Arial" panose="020B0604020202020204" pitchFamily="34" charset="0"/>
              <a:buChar char="•"/>
            </a:pPr>
            <a:r>
              <a:rPr lang="de-DE"/>
              <a:t>Hohe Zinsen für lange Zeit – Das erhöhte Zinsniveau bleibt uns 2025 erhalten, Fokus auf laufende Verzinsung</a:t>
            </a:r>
          </a:p>
          <a:p>
            <a:pPr marL="285750" indent="-285750">
              <a:spcAft>
                <a:spcPts val="600"/>
              </a:spcAft>
              <a:buFont typeface="Arial" panose="020B0604020202020204" pitchFamily="34" charset="0"/>
              <a:buChar char="•"/>
            </a:pPr>
            <a:r>
              <a:rPr lang="de-DE"/>
              <a:t>Unternehmensanleihen mit interessantem Risikoaufschlag </a:t>
            </a:r>
            <a:r>
              <a:rPr lang="de-DE" err="1"/>
              <a:t>ggü</a:t>
            </a:r>
            <a:r>
              <a:rPr lang="de-DE"/>
              <a:t>. Staatsanleihen, Investment Grade bevorzugt </a:t>
            </a:r>
          </a:p>
        </p:txBody>
      </p:sp>
      <p:sp>
        <p:nvSpPr>
          <p:cNvPr id="17" name="Inhaltsplatzhalter 16">
            <a:extLst>
              <a:ext uri="{FF2B5EF4-FFF2-40B4-BE49-F238E27FC236}">
                <a16:creationId xmlns:a16="http://schemas.microsoft.com/office/drawing/2014/main" id="{0A37AABA-2F4E-9A40-4552-AD8322498839}"/>
              </a:ext>
            </a:extLst>
          </p:cNvPr>
          <p:cNvSpPr>
            <a:spLocks noGrp="1"/>
          </p:cNvSpPr>
          <p:nvPr>
            <p:ph sz="quarter" idx="13"/>
          </p:nvPr>
        </p:nvSpPr>
        <p:spPr/>
        <p:txBody>
          <a:bodyPr/>
          <a:lstStyle/>
          <a:p>
            <a:r>
              <a:rPr lang="de-DE"/>
              <a:t>Quelle: LSEG Datastream, Deutsche Bank AG. Stand: 26.11.2024.</a:t>
            </a:r>
          </a:p>
        </p:txBody>
      </p:sp>
      <p:sp>
        <p:nvSpPr>
          <p:cNvPr id="14" name="Foliennummernplatzhalter 4">
            <a:extLst>
              <a:ext uri="{FF2B5EF4-FFF2-40B4-BE49-F238E27FC236}">
                <a16:creationId xmlns:a16="http://schemas.microsoft.com/office/drawing/2014/main" id="{54117F7B-69B4-6C38-D60C-3FFFEF4C2952}"/>
              </a:ext>
            </a:extLst>
          </p:cNvPr>
          <p:cNvSpPr>
            <a:spLocks noGrp="1"/>
          </p:cNvSpPr>
          <p:nvPr>
            <p:ph type="sldNum" sz="quarter" idx="4"/>
          </p:nvPr>
        </p:nvSpPr>
        <p:spPr/>
        <p:txBody>
          <a:bodyPr/>
          <a:lstStyle/>
          <a:p>
            <a:fld id="{D71DA9FD-6EF8-4CC5-AF9B-B6159B5B937C}" type="slidenum">
              <a:rPr lang="de-DE" noProof="1" smtClean="0"/>
              <a:pPr/>
              <a:t>22</a:t>
            </a:fld>
            <a:endParaRPr lang="de-DE" noProof="1"/>
          </a:p>
        </p:txBody>
      </p:sp>
    </p:spTree>
    <p:extLst>
      <p:ext uri="{BB962C8B-B14F-4D97-AF65-F5344CB8AC3E}">
        <p14:creationId xmlns:p14="http://schemas.microsoft.com/office/powerpoint/2010/main" val="2803186758"/>
      </p:ext>
    </p:extLst>
  </p:cSld>
  <p:clrMapOvr>
    <a:masterClrMapping/>
  </p:clrMapOvr>
  <p:transition>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Dollar – Starke Wirtschaft, starke Währung </a:t>
            </a:r>
          </a:p>
        </p:txBody>
      </p:sp>
      <p:sp>
        <p:nvSpPr>
          <p:cNvPr id="2" name="Text Placeholder 11">
            <a:extLst>
              <a:ext uri="{FF2B5EF4-FFF2-40B4-BE49-F238E27FC236}">
                <a16:creationId xmlns:a16="http://schemas.microsoft.com/office/drawing/2014/main" id="{6D3563B7-76BE-67A5-7B4B-FE4E4F6C8C43}"/>
              </a:ext>
            </a:extLst>
          </p:cNvPr>
          <p:cNvSpPr>
            <a:spLocks noGrp="1"/>
          </p:cNvSpPr>
          <p:nvPr>
            <p:ph type="body" sz="quarter" idx="14" hasCustomPrompt="1"/>
          </p:nvPr>
        </p:nvSpPr>
        <p:spPr/>
        <p:txBody>
          <a:bodyPr>
            <a:spAutoFit/>
          </a:bodyPr>
          <a:lstStyle>
            <a:lvl1pPr>
              <a:defRPr>
                <a:solidFill>
                  <a:srgbClr val="1E2A78"/>
                </a:solidFill>
              </a:defRPr>
            </a:lvl1pPr>
          </a:lstStyle>
          <a:p>
            <a:pPr lvl="0"/>
            <a:r>
              <a:rPr lang="de-DE"/>
              <a:t>US-Wirtschaft überzeugt, Kapitalmarktzinsen ziehen an</a:t>
            </a:r>
            <a:endParaRPr lang="en-US"/>
          </a:p>
        </p:txBody>
      </p:sp>
      <p:graphicFrame>
        <p:nvGraphicFramePr>
          <p:cNvPr id="17" name="Chart 4" descr="US-Wirtschaft überzeugt (Citi economic surprise index und laufende Verzinsung 10J. US-Staatsanleihen)">
            <a:extLst>
              <a:ext uri="{FF2B5EF4-FFF2-40B4-BE49-F238E27FC236}">
                <a16:creationId xmlns:a16="http://schemas.microsoft.com/office/drawing/2014/main" id="{05ED4181-68C2-4E41-BD5A-BDD0E6D7190B}"/>
              </a:ext>
            </a:extLst>
          </p:cNvPr>
          <p:cNvGraphicFramePr>
            <a:graphicFrameLocks noGrp="1"/>
          </p:cNvGraphicFramePr>
          <p:nvPr>
            <p:ph sz="quarter" idx="10"/>
            <p:custDataLst>
              <p:tags r:id="rId1"/>
            </p:custDataLst>
            <p:extLst>
              <p:ext uri="{D42A27DB-BD31-4B8C-83A1-F6EECF244321}">
                <p14:modId xmlns:p14="http://schemas.microsoft.com/office/powerpoint/2010/main" val="3608135220"/>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11">
            <a:extLst>
              <a:ext uri="{FF2B5EF4-FFF2-40B4-BE49-F238E27FC236}">
                <a16:creationId xmlns:a16="http://schemas.microsoft.com/office/drawing/2014/main" id="{23B1E5D6-1B7F-84A2-96F2-8C8476CDE36F}"/>
              </a:ext>
            </a:extLst>
          </p:cNvPr>
          <p:cNvSpPr>
            <a:spLocks noGrp="1"/>
          </p:cNvSpPr>
          <p:nvPr>
            <p:ph type="body" sz="quarter" idx="15" hasCustomPrompt="1"/>
          </p:nvPr>
        </p:nvSpPr>
        <p:spPr/>
        <p:txBody>
          <a:bodyPr>
            <a:spAutoFit/>
          </a:bodyPr>
          <a:lstStyle>
            <a:lvl1pPr>
              <a:defRPr>
                <a:solidFill>
                  <a:srgbClr val="1E2A78"/>
                </a:solidFill>
              </a:defRPr>
            </a:lvl1pPr>
          </a:lstStyle>
          <a:p>
            <a:pPr lvl="0"/>
            <a:r>
              <a:rPr lang="de-DE" dirty="0"/>
              <a:t>Starker Dollar nach US-Wahlen – Euro unter Druck</a:t>
            </a:r>
            <a:endParaRPr lang="en-US" dirty="0"/>
          </a:p>
        </p:txBody>
      </p:sp>
      <p:graphicFrame>
        <p:nvGraphicFramePr>
          <p:cNvPr id="11" name="Content Placeholder 10" descr="Starker Dollar nach US-Wahlen – Euro unter Druck">
            <a:extLst>
              <a:ext uri="{FF2B5EF4-FFF2-40B4-BE49-F238E27FC236}">
                <a16:creationId xmlns:a16="http://schemas.microsoft.com/office/drawing/2014/main" id="{3055B0D4-5FA0-41FA-84E8-FD0F0AE35AC0}"/>
              </a:ext>
            </a:extLst>
          </p:cNvPr>
          <p:cNvGraphicFramePr>
            <a:graphicFrameLocks noGrp="1"/>
          </p:cNvGraphicFramePr>
          <p:nvPr>
            <p:ph sz="quarter" idx="11"/>
            <p:extLst>
              <p:ext uri="{D42A27DB-BD31-4B8C-83A1-F6EECF244321}">
                <p14:modId xmlns:p14="http://schemas.microsoft.com/office/powerpoint/2010/main" val="2608267342"/>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4"/>
          </a:graphicData>
        </a:graphic>
      </p:graphicFrame>
      <p:sp>
        <p:nvSpPr>
          <p:cNvPr id="8" name="Content Placeholder 21">
            <a:extLst>
              <a:ext uri="{FF2B5EF4-FFF2-40B4-BE49-F238E27FC236}">
                <a16:creationId xmlns:a16="http://schemas.microsoft.com/office/drawing/2014/main" id="{97EEE04D-1BD6-47FA-E5AD-D99621A4495F}"/>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USA als Wachstumstreiber der letzten Jahre – Leitzinssenkungen ohne Rezession stützen das Wachstum 2025</a:t>
            </a:r>
          </a:p>
          <a:p>
            <a:pPr marL="285750" indent="-285750">
              <a:spcAft>
                <a:spcPts val="600"/>
              </a:spcAft>
              <a:buFont typeface="Arial" panose="020B0604020202020204" pitchFamily="34" charset="0"/>
              <a:buChar char="•"/>
            </a:pPr>
            <a:r>
              <a:rPr lang="de-DE"/>
              <a:t>Relative Stärke 2025ff. – Wirtschaftsfokus der kommenden US-Administration begrenzt Zinssenkungspotenzial</a:t>
            </a:r>
          </a:p>
          <a:p>
            <a:pPr marL="285750" indent="-285750">
              <a:spcAft>
                <a:spcPts val="600"/>
              </a:spcAft>
              <a:buFont typeface="Arial" panose="020B0604020202020204" pitchFamily="34" charset="0"/>
              <a:buChar char="•"/>
            </a:pPr>
            <a:r>
              <a:rPr lang="de-DE"/>
              <a:t>Zollproblematik als Belastungsfaktor für Währungen der US-Handelspartner, Dollarstärke in Unsicherheitsphasen</a:t>
            </a:r>
          </a:p>
        </p:txBody>
      </p:sp>
      <p:sp>
        <p:nvSpPr>
          <p:cNvPr id="7" name="Content Placeholder 6">
            <a:extLst>
              <a:ext uri="{FF2B5EF4-FFF2-40B4-BE49-F238E27FC236}">
                <a16:creationId xmlns:a16="http://schemas.microsoft.com/office/drawing/2014/main" id="{689AF8AE-F250-5D9B-9C19-6CAF3E1A577A}"/>
              </a:ext>
            </a:extLst>
          </p:cNvPr>
          <p:cNvSpPr>
            <a:spLocks noGrp="1"/>
          </p:cNvSpPr>
          <p:nvPr>
            <p:ph sz="quarter" idx="13"/>
          </p:nvPr>
        </p:nvSpPr>
        <p:spPr/>
        <p:txBody>
          <a:bodyPr/>
          <a:lstStyle/>
          <a:p>
            <a:r>
              <a:rPr lang="de-DE"/>
              <a:t>*Datenveröffentlichungen vs. Analystenerwartungen. Quelle: LSEG Datastream, Deutsche Bank AG. Stand: 26.11.2024.</a:t>
            </a:r>
          </a:p>
        </p:txBody>
      </p:sp>
      <p:sp>
        <p:nvSpPr>
          <p:cNvPr id="4" name="Foliennummernplatzhalter 4">
            <a:extLst>
              <a:ext uri="{FF2B5EF4-FFF2-40B4-BE49-F238E27FC236}">
                <a16:creationId xmlns:a16="http://schemas.microsoft.com/office/drawing/2014/main" id="{38DAD717-A865-70B1-07FB-207A721AF96D}"/>
              </a:ext>
            </a:extLst>
          </p:cNvPr>
          <p:cNvSpPr>
            <a:spLocks noGrp="1"/>
          </p:cNvSpPr>
          <p:nvPr>
            <p:ph type="sldNum" sz="quarter" idx="4"/>
          </p:nvPr>
        </p:nvSpPr>
        <p:spPr/>
        <p:txBody>
          <a:bodyPr/>
          <a:lstStyle/>
          <a:p>
            <a:fld id="{D71DA9FD-6EF8-4CC5-AF9B-B6159B5B937C}" type="slidenum">
              <a:rPr lang="en-GB" noProof="1" smtClean="0"/>
              <a:pPr/>
              <a:t>23</a:t>
            </a:fld>
            <a:endParaRPr lang="en-GB" noProof="1"/>
          </a:p>
        </p:txBody>
      </p:sp>
    </p:spTree>
    <p:extLst>
      <p:ext uri="{BB962C8B-B14F-4D97-AF65-F5344CB8AC3E}">
        <p14:creationId xmlns:p14="http://schemas.microsoft.com/office/powerpoint/2010/main" val="300385391"/>
      </p:ext>
    </p:extLst>
  </p:cSld>
  <p:clrMapOvr>
    <a:masterClrMapping/>
  </p:clrMapOvr>
  <p:transition>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Aktien – Der Schlüssel zum Erfolg</a:t>
            </a:r>
          </a:p>
        </p:txBody>
      </p:sp>
      <p:sp>
        <p:nvSpPr>
          <p:cNvPr id="2" name="Text Placeholder 11">
            <a:extLst>
              <a:ext uri="{FF2B5EF4-FFF2-40B4-BE49-F238E27FC236}">
                <a16:creationId xmlns:a16="http://schemas.microsoft.com/office/drawing/2014/main" id="{BECDA696-7392-BCED-7B05-778082790A70}"/>
              </a:ext>
            </a:extLst>
          </p:cNvPr>
          <p:cNvSpPr>
            <a:spLocks noGrp="1"/>
          </p:cNvSpPr>
          <p:nvPr>
            <p:ph type="body" sz="quarter" idx="14" hasCustomPrompt="1"/>
          </p:nvPr>
        </p:nvSpPr>
        <p:spPr>
          <a:xfrm>
            <a:off x="438912" y="1371600"/>
            <a:ext cx="5541264" cy="246221"/>
          </a:xfrm>
        </p:spPr>
        <p:txBody>
          <a:bodyPr>
            <a:spAutoFit/>
          </a:bodyPr>
          <a:lstStyle>
            <a:lvl1pPr>
              <a:defRPr>
                <a:solidFill>
                  <a:srgbClr val="1E2A78"/>
                </a:solidFill>
              </a:defRPr>
            </a:lvl1pPr>
          </a:lstStyle>
          <a:p>
            <a:pPr lvl="0"/>
            <a:r>
              <a:rPr lang="de-DE" dirty="0"/>
              <a:t>Aktien für die lange Frist – 100+ Jahre US-Gewinne</a:t>
            </a:r>
          </a:p>
        </p:txBody>
      </p:sp>
      <p:graphicFrame>
        <p:nvGraphicFramePr>
          <p:cNvPr id="8" name="Chart 2" descr="Aktien für die lange Frist – 100+ Jahre US-Gewinne">
            <a:extLst>
              <a:ext uri="{FF2B5EF4-FFF2-40B4-BE49-F238E27FC236}">
                <a16:creationId xmlns:a16="http://schemas.microsoft.com/office/drawing/2014/main" id="{4DE06935-BE41-4765-9765-208B4195FFF9}"/>
              </a:ext>
            </a:extLst>
          </p:cNvPr>
          <p:cNvGraphicFramePr>
            <a:graphicFrameLocks noGrp="1"/>
          </p:cNvGraphicFramePr>
          <p:nvPr>
            <p:ph sz="quarter" idx="10"/>
            <p:custDataLst>
              <p:tags r:id="rId1"/>
            </p:custDataLst>
            <p:extLst>
              <p:ext uri="{D42A27DB-BD31-4B8C-83A1-F6EECF244321}">
                <p14:modId xmlns:p14="http://schemas.microsoft.com/office/powerpoint/2010/main" val="927035583"/>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2">
            <a:extLst>
              <a:ext uri="{FF2B5EF4-FFF2-40B4-BE49-F238E27FC236}">
                <a16:creationId xmlns:a16="http://schemas.microsoft.com/office/drawing/2014/main" id="{73F43918-045D-4AF5-9AA9-F98A9F47CEE6}"/>
              </a:ext>
              <a:ext uri="{C183D7F6-B498-43B3-948B-1728B52AA6E4}">
                <adec:decorative xmlns:adec="http://schemas.microsoft.com/office/drawing/2017/decorative" val="1"/>
              </a:ext>
            </a:extLst>
          </p:cNvPr>
          <p:cNvGraphicFramePr>
            <a:graphicFrameLocks noGrp="1"/>
          </p:cNvGraphicFramePr>
          <p:nvPr>
            <p:ph sz="quarter" idx="11"/>
            <p:extLst>
              <p:ext uri="{D42A27DB-BD31-4B8C-83A1-F6EECF244321}">
                <p14:modId xmlns:p14="http://schemas.microsoft.com/office/powerpoint/2010/main" val="1045136580"/>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11">
            <a:extLst>
              <a:ext uri="{FF2B5EF4-FFF2-40B4-BE49-F238E27FC236}">
                <a16:creationId xmlns:a16="http://schemas.microsoft.com/office/drawing/2014/main" id="{2C1EFD8E-8D89-8DCD-526E-9C37AD889A99}"/>
              </a:ext>
            </a:extLst>
          </p:cNvPr>
          <p:cNvSpPr>
            <a:spLocks noGrp="1"/>
          </p:cNvSpPr>
          <p:nvPr>
            <p:ph type="body" sz="quarter" idx="15" hasCustomPrompt="1"/>
          </p:nvPr>
        </p:nvSpPr>
        <p:spPr>
          <a:xfrm>
            <a:off x="6208776" y="1371600"/>
            <a:ext cx="5541264" cy="246221"/>
          </a:xfrm>
        </p:spPr>
        <p:txBody>
          <a:bodyPr>
            <a:spAutoFit/>
          </a:bodyPr>
          <a:lstStyle>
            <a:lvl1pPr>
              <a:defRPr>
                <a:solidFill>
                  <a:srgbClr val="1E2A78"/>
                </a:solidFill>
              </a:defRPr>
            </a:lvl1pPr>
          </a:lstStyle>
          <a:p>
            <a:pPr lvl="0">
              <a:defRPr/>
            </a:pPr>
            <a:r>
              <a:rPr lang="de-DE">
                <a:latin typeface="Deutsche Bank Text" panose="020B0503020202030204" pitchFamily="34" charset="0"/>
                <a:ea typeface="Deutsche Bank Text" panose="020B0503020202030204" pitchFamily="34" charset="0"/>
                <a:cs typeface="Deutsche Bank Text" panose="020B0503020202030204" pitchFamily="34" charset="0"/>
              </a:rPr>
              <a:t>Aktueller Bullenmarkt – Potenziell noch Luft nach oben</a:t>
            </a:r>
          </a:p>
        </p:txBody>
      </p:sp>
      <p:pic>
        <p:nvPicPr>
          <p:cNvPr id="13" name="Grafik 12" descr="S&amp;P 500 Bullenmärkte seit 1935">
            <a:extLst>
              <a:ext uri="{FF2B5EF4-FFF2-40B4-BE49-F238E27FC236}">
                <a16:creationId xmlns:a16="http://schemas.microsoft.com/office/drawing/2014/main" id="{A0E36960-05DC-773B-4DE0-6CA6DDC8AD73}"/>
              </a:ext>
            </a:extLst>
          </p:cNvPr>
          <p:cNvPicPr>
            <a:picLocks noChangeAspect="1"/>
          </p:cNvPicPr>
          <p:nvPr/>
        </p:nvPicPr>
        <p:blipFill>
          <a:blip r:embed="rId5"/>
          <a:stretch>
            <a:fillRect/>
          </a:stretch>
        </p:blipFill>
        <p:spPr>
          <a:xfrm>
            <a:off x="6164280" y="1796108"/>
            <a:ext cx="5626065" cy="3134022"/>
          </a:xfrm>
          <a:prstGeom prst="rect">
            <a:avLst/>
          </a:prstGeom>
        </p:spPr>
      </p:pic>
      <p:sp>
        <p:nvSpPr>
          <p:cNvPr id="5" name="Content Placeholder 21">
            <a:extLst>
              <a:ext uri="{FF2B5EF4-FFF2-40B4-BE49-F238E27FC236}">
                <a16:creationId xmlns:a16="http://schemas.microsoft.com/office/drawing/2014/main" id="{19C2D80E-4798-92C1-3F47-D029C2716F20}"/>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Langfristig sind die Gewinne der Schlüssel zum Aktienmarkt – Wahlen, Steuern &amp; Zinsen als kurzfristige Störfeuer</a:t>
            </a:r>
          </a:p>
          <a:p>
            <a:pPr marL="285750" indent="-285750">
              <a:spcAft>
                <a:spcPts val="600"/>
              </a:spcAft>
              <a:buFont typeface="Arial" panose="020B0604020202020204" pitchFamily="34" charset="0"/>
              <a:buChar char="•"/>
            </a:pPr>
            <a:r>
              <a:rPr lang="de-DE"/>
              <a:t>2025/2026 – Robustes Gewinnwachstum dank Erholung in Europa, Stabilisierung in China &amp; solider US-Wirtschaft </a:t>
            </a:r>
          </a:p>
          <a:p>
            <a:pPr marL="285750" indent="-285750">
              <a:spcAft>
                <a:spcPts val="600"/>
              </a:spcAft>
              <a:buFont typeface="Arial" panose="020B0604020202020204" pitchFamily="34" charset="0"/>
              <a:buChar char="•"/>
            </a:pPr>
            <a:r>
              <a:rPr lang="de-DE"/>
              <a:t>Bewertungen – Was teuer ist muss nicht fallen, was billig erscheint muss nicht steigen</a:t>
            </a:r>
          </a:p>
        </p:txBody>
      </p:sp>
      <p:sp>
        <p:nvSpPr>
          <p:cNvPr id="11" name="Content Placeholder 10">
            <a:extLst>
              <a:ext uri="{FF2B5EF4-FFF2-40B4-BE49-F238E27FC236}">
                <a16:creationId xmlns:a16="http://schemas.microsoft.com/office/drawing/2014/main" id="{68AE13B4-794E-331E-C4BD-9B229567CCB6}"/>
              </a:ext>
            </a:extLst>
          </p:cNvPr>
          <p:cNvSpPr>
            <a:spLocks noGrp="1"/>
          </p:cNvSpPr>
          <p:nvPr>
            <p:ph sz="quarter" idx="13"/>
          </p:nvPr>
        </p:nvSpPr>
        <p:spPr/>
        <p:txBody>
          <a:bodyPr/>
          <a:lstStyle/>
          <a:p>
            <a:r>
              <a:rPr lang="de-DE"/>
              <a:t>*Nur Bullenmärkte, die länger als 6 Monate dauern. Wertentwicklung vom Tiefpunkt zum Höchststand. Quelle: </a:t>
            </a:r>
            <a:r>
              <a:rPr lang="de-DE" err="1"/>
              <a:t>Tax</a:t>
            </a:r>
            <a:r>
              <a:rPr lang="de-DE"/>
              <a:t> </a:t>
            </a:r>
            <a:r>
              <a:rPr lang="de-DE" err="1"/>
              <a:t>foundation</a:t>
            </a:r>
            <a:r>
              <a:rPr lang="de-DE"/>
              <a:t>, IRS, Shiller data, Bloomberg LP, LSEG Datastream, Deutsche Bank AG. Stand: 26.11.2024.</a:t>
            </a:r>
          </a:p>
        </p:txBody>
      </p:sp>
      <p:sp>
        <p:nvSpPr>
          <p:cNvPr id="4" name="Foliennummernplatzhalter 4">
            <a:extLst>
              <a:ext uri="{FF2B5EF4-FFF2-40B4-BE49-F238E27FC236}">
                <a16:creationId xmlns:a16="http://schemas.microsoft.com/office/drawing/2014/main" id="{717C7E94-988F-109A-4F96-BCAEBE4D2502}"/>
              </a:ext>
            </a:extLst>
          </p:cNvPr>
          <p:cNvSpPr>
            <a:spLocks noGrp="1"/>
          </p:cNvSpPr>
          <p:nvPr>
            <p:ph type="sldNum" sz="quarter" idx="4"/>
          </p:nvPr>
        </p:nvSpPr>
        <p:spPr>
          <a:xfrm>
            <a:off x="11281088" y="6416675"/>
            <a:ext cx="468000" cy="144000"/>
          </a:xfrm>
        </p:spPr>
        <p:txBody>
          <a:bodyPr/>
          <a:lstStyle/>
          <a:p>
            <a:fld id="{D71DA9FD-6EF8-4CC5-AF9B-B6159B5B937C}" type="slidenum">
              <a:rPr lang="de-DE" noProof="1" smtClean="0"/>
              <a:pPr/>
              <a:t>24</a:t>
            </a:fld>
            <a:endParaRPr lang="de-DE" noProof="1"/>
          </a:p>
        </p:txBody>
      </p:sp>
    </p:spTree>
    <p:extLst>
      <p:ext uri="{BB962C8B-B14F-4D97-AF65-F5344CB8AC3E}">
        <p14:creationId xmlns:p14="http://schemas.microsoft.com/office/powerpoint/2010/main" val="874568876"/>
      </p:ext>
    </p:extLst>
  </p:cSld>
  <p:clrMapOvr>
    <a:masterClrMapping/>
  </p:clrMapOvr>
  <p:transition>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Aktien – Gravitationszentrum USA</a:t>
            </a:r>
          </a:p>
        </p:txBody>
      </p:sp>
      <p:sp>
        <p:nvSpPr>
          <p:cNvPr id="2" name="Text Placeholder 11">
            <a:extLst>
              <a:ext uri="{FF2B5EF4-FFF2-40B4-BE49-F238E27FC236}">
                <a16:creationId xmlns:a16="http://schemas.microsoft.com/office/drawing/2014/main" id="{413F9465-6051-7465-A0C3-7286DC038314}"/>
              </a:ext>
            </a:extLst>
          </p:cNvPr>
          <p:cNvSpPr>
            <a:spLocks noGrp="1"/>
          </p:cNvSpPr>
          <p:nvPr>
            <p:ph type="body" sz="quarter" idx="14" hasCustomPrompt="1"/>
          </p:nvPr>
        </p:nvSpPr>
        <p:spPr>
          <a:xfrm>
            <a:off x="438912" y="1371600"/>
            <a:ext cx="5541264" cy="246221"/>
          </a:xfrm>
        </p:spPr>
        <p:txBody>
          <a:bodyPr>
            <a:spAutoFit/>
          </a:bodyPr>
          <a:lstStyle>
            <a:lvl1pPr>
              <a:defRPr>
                <a:solidFill>
                  <a:srgbClr val="1E2A78"/>
                </a:solidFill>
              </a:defRPr>
            </a:lvl1pPr>
          </a:lstStyle>
          <a:p>
            <a:pPr lvl="0"/>
            <a:r>
              <a:rPr lang="de-DE"/>
              <a:t>Trump-Wahlsiege 16‘ &amp; 24‘ – Gute Aktienmarktperformance</a:t>
            </a:r>
            <a:endParaRPr lang="en-US"/>
          </a:p>
        </p:txBody>
      </p:sp>
      <p:graphicFrame>
        <p:nvGraphicFramePr>
          <p:cNvPr id="16" name="Chart 4" descr="S&amp;P 500 Wertentwicklung">
            <a:extLst>
              <a:ext uri="{FF2B5EF4-FFF2-40B4-BE49-F238E27FC236}">
                <a16:creationId xmlns:a16="http://schemas.microsoft.com/office/drawing/2014/main" id="{BF4B9DDF-5B77-449D-88E4-19446537ADCB}"/>
              </a:ext>
            </a:extLst>
          </p:cNvPr>
          <p:cNvGraphicFramePr>
            <a:graphicFrameLocks noGrp="1"/>
          </p:cNvGraphicFramePr>
          <p:nvPr>
            <p:ph sz="quarter" idx="10"/>
            <p:custDataLst>
              <p:tags r:id="rId1"/>
            </p:custDataLst>
            <p:extLst>
              <p:ext uri="{D42A27DB-BD31-4B8C-83A1-F6EECF244321}">
                <p14:modId xmlns:p14="http://schemas.microsoft.com/office/powerpoint/2010/main" val="3420500191"/>
              </p:ext>
            </p:extLst>
          </p:nvPr>
        </p:nvGraphicFramePr>
        <p:xfrm>
          <a:off x="442913" y="1808163"/>
          <a:ext cx="3214687" cy="31099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Chart 3" descr="S&amp;P 500 Wertentwicklung seit 5.11.2024&#10;">
            <a:extLst>
              <a:ext uri="{FF2B5EF4-FFF2-40B4-BE49-F238E27FC236}">
                <a16:creationId xmlns:a16="http://schemas.microsoft.com/office/drawing/2014/main" id="{C2F8790C-077E-4C7D-8CAF-E6B3625B3E9C}"/>
              </a:ext>
            </a:extLst>
          </p:cNvPr>
          <p:cNvGraphicFramePr>
            <a:graphicFrameLocks/>
          </p:cNvGraphicFramePr>
          <p:nvPr>
            <p:custDataLst>
              <p:tags r:id="rId2"/>
            </p:custDataLst>
            <p:extLst>
              <p:ext uri="{D42A27DB-BD31-4B8C-83A1-F6EECF244321}">
                <p14:modId xmlns:p14="http://schemas.microsoft.com/office/powerpoint/2010/main" val="406860355"/>
              </p:ext>
            </p:extLst>
          </p:nvPr>
        </p:nvGraphicFramePr>
        <p:xfrm>
          <a:off x="3873500" y="1719072"/>
          <a:ext cx="2106676" cy="3156027"/>
        </p:xfrm>
        <a:graphic>
          <a:graphicData uri="http://schemas.openxmlformats.org/drawingml/2006/chart">
            <c:chart xmlns:c="http://schemas.openxmlformats.org/drawingml/2006/chart" xmlns:r="http://schemas.openxmlformats.org/officeDocument/2006/relationships" r:id="rId5"/>
          </a:graphicData>
        </a:graphic>
      </p:graphicFrame>
      <p:sp>
        <p:nvSpPr>
          <p:cNvPr id="7" name="Rechteck 6">
            <a:extLst>
              <a:ext uri="{FF2B5EF4-FFF2-40B4-BE49-F238E27FC236}">
                <a16:creationId xmlns:a16="http://schemas.microsoft.com/office/drawing/2014/main" id="{FD7D4261-F406-7DB7-C94C-8B8CA91FAFC3}"/>
              </a:ext>
              <a:ext uri="{C183D7F6-B498-43B3-948B-1728B52AA6E4}">
                <adec:decorative xmlns:adec="http://schemas.microsoft.com/office/drawing/2017/decorative" val="1"/>
              </a:ext>
            </a:extLst>
          </p:cNvPr>
          <p:cNvSpPr/>
          <p:nvPr/>
        </p:nvSpPr>
        <p:spPr bwMode="auto">
          <a:xfrm>
            <a:off x="3784922" y="1719072"/>
            <a:ext cx="2195254" cy="3199003"/>
          </a:xfrm>
          <a:prstGeom prst="rect">
            <a:avLst/>
          </a:prstGeom>
          <a:noFill/>
          <a:ln w="19050">
            <a:solidFill>
              <a:schemeClr val="tx2"/>
            </a:solidFill>
            <a:prstDash val="dash"/>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3" name="Text Placeholder 11">
            <a:extLst>
              <a:ext uri="{FF2B5EF4-FFF2-40B4-BE49-F238E27FC236}">
                <a16:creationId xmlns:a16="http://schemas.microsoft.com/office/drawing/2014/main" id="{D787D358-C9EB-F876-9B4A-53631D567ECF}"/>
              </a:ext>
            </a:extLst>
          </p:cNvPr>
          <p:cNvSpPr>
            <a:spLocks noGrp="1"/>
          </p:cNvSpPr>
          <p:nvPr>
            <p:ph type="body" sz="quarter" idx="15" hasCustomPrompt="1"/>
          </p:nvPr>
        </p:nvSpPr>
        <p:spPr/>
        <p:txBody>
          <a:bodyPr>
            <a:spAutoFit/>
          </a:bodyPr>
          <a:lstStyle>
            <a:lvl1pPr>
              <a:defRPr>
                <a:solidFill>
                  <a:srgbClr val="1E2A78"/>
                </a:solidFill>
              </a:defRPr>
            </a:lvl1pPr>
          </a:lstStyle>
          <a:p>
            <a:pPr lvl="0"/>
            <a:r>
              <a:rPr lang="de-DE"/>
              <a:t>Sektor-Rotationen – Auch für 2025 zu erwarten </a:t>
            </a:r>
            <a:endParaRPr lang="en-US"/>
          </a:p>
        </p:txBody>
      </p:sp>
      <p:graphicFrame>
        <p:nvGraphicFramePr>
          <p:cNvPr id="13" name="Content Placeholder 12" descr="S&amp;P 500 Wertentwicklung seit 5.11.2024">
            <a:extLst>
              <a:ext uri="{FF2B5EF4-FFF2-40B4-BE49-F238E27FC236}">
                <a16:creationId xmlns:a16="http://schemas.microsoft.com/office/drawing/2014/main" id="{214D4AC4-F069-4C46-9705-B0FB256FD616}"/>
              </a:ext>
            </a:extLst>
          </p:cNvPr>
          <p:cNvGraphicFramePr>
            <a:graphicFrameLocks noGrp="1"/>
          </p:cNvGraphicFramePr>
          <p:nvPr>
            <p:ph sz="quarter" idx="11"/>
            <p:extLst>
              <p:ext uri="{D42A27DB-BD31-4B8C-83A1-F6EECF244321}">
                <p14:modId xmlns:p14="http://schemas.microsoft.com/office/powerpoint/2010/main" val="2358477052"/>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6"/>
          </a:graphicData>
        </a:graphic>
      </p:graphicFrame>
      <p:sp>
        <p:nvSpPr>
          <p:cNvPr id="8" name="Content Placeholder 21">
            <a:extLst>
              <a:ext uri="{FF2B5EF4-FFF2-40B4-BE49-F238E27FC236}">
                <a16:creationId xmlns:a16="http://schemas.microsoft.com/office/drawing/2014/main" id="{43AD659C-891A-D129-C792-C741D6C35D3F}"/>
              </a:ext>
            </a:extLst>
          </p:cNvPr>
          <p:cNvSpPr txBox="1">
            <a:spLocks/>
          </p:cNvSpPr>
          <p:nvPr/>
        </p:nvSpPr>
        <p:spPr>
          <a:xfrm>
            <a:off x="442800" y="5175415"/>
            <a:ext cx="11632936"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US-Aktien überzeugen durch stabiles Gewinnwachstum, hohe Margen und vielversprechende Wachstumssektoren</a:t>
            </a:r>
          </a:p>
          <a:p>
            <a:pPr marL="285750" indent="-285750">
              <a:spcAft>
                <a:spcPts val="600"/>
              </a:spcAft>
              <a:buFont typeface="Arial" panose="020B0604020202020204" pitchFamily="34" charset="0"/>
              <a:buChar char="•"/>
            </a:pPr>
            <a:r>
              <a:rPr lang="de-DE"/>
              <a:t>„Big Tech“ &amp; Langhantelstrategie („</a:t>
            </a:r>
            <a:r>
              <a:rPr lang="de-DE" err="1"/>
              <a:t>Barbell</a:t>
            </a:r>
            <a:r>
              <a:rPr lang="de-DE"/>
              <a:t>“) – Restliche Unternehmen dürften bei Gewinnen &amp; Kursen aufholen</a:t>
            </a:r>
          </a:p>
          <a:p>
            <a:pPr marL="285750" indent="-285750">
              <a:spcAft>
                <a:spcPts val="600"/>
              </a:spcAft>
              <a:buFont typeface="Arial" panose="020B0604020202020204" pitchFamily="34" charset="0"/>
              <a:buChar char="•"/>
            </a:pPr>
            <a:r>
              <a:rPr lang="de-DE"/>
              <a:t>2025 – Fokus auf Wachstum, Kapitalmarktaktivität und Aktienrückkäufe bei erhöhter Politikunsicherheit</a:t>
            </a:r>
          </a:p>
        </p:txBody>
      </p:sp>
      <p:sp>
        <p:nvSpPr>
          <p:cNvPr id="10" name="Inhaltsplatzhalter 9">
            <a:extLst>
              <a:ext uri="{FF2B5EF4-FFF2-40B4-BE49-F238E27FC236}">
                <a16:creationId xmlns:a16="http://schemas.microsoft.com/office/drawing/2014/main" id="{7E35366E-CD0A-A00B-C508-172D8A924120}"/>
              </a:ext>
            </a:extLst>
          </p:cNvPr>
          <p:cNvSpPr>
            <a:spLocks noGrp="1"/>
          </p:cNvSpPr>
          <p:nvPr>
            <p:ph sz="quarter" idx="13"/>
          </p:nvPr>
        </p:nvSpPr>
        <p:spPr/>
        <p:txBody>
          <a:bodyPr/>
          <a:lstStyle/>
          <a:p>
            <a:r>
              <a:rPr lang="en-US"/>
              <a:t>*</a:t>
            </a:r>
            <a:r>
              <a:rPr lang="en-US" err="1"/>
              <a:t>Solactive</a:t>
            </a:r>
            <a:r>
              <a:rPr lang="en-US"/>
              <a:t>. Quelle: LSEG </a:t>
            </a:r>
            <a:r>
              <a:rPr lang="en-US" err="1"/>
              <a:t>Datastream</a:t>
            </a:r>
            <a:r>
              <a:rPr lang="en-US"/>
              <a:t>, Deutsche Bank AG. Stand: 26.11.2024.</a:t>
            </a:r>
          </a:p>
        </p:txBody>
      </p:sp>
      <p:sp>
        <p:nvSpPr>
          <p:cNvPr id="5" name="Foliennummernplatzhalter 4">
            <a:extLst>
              <a:ext uri="{FF2B5EF4-FFF2-40B4-BE49-F238E27FC236}">
                <a16:creationId xmlns:a16="http://schemas.microsoft.com/office/drawing/2014/main" id="{219C665B-5F83-3E56-8625-CD7635AA7125}"/>
              </a:ext>
            </a:extLst>
          </p:cNvPr>
          <p:cNvSpPr>
            <a:spLocks noGrp="1"/>
          </p:cNvSpPr>
          <p:nvPr>
            <p:ph type="sldNum" sz="quarter" idx="4"/>
          </p:nvPr>
        </p:nvSpPr>
        <p:spPr>
          <a:xfrm>
            <a:off x="11281088" y="6416675"/>
            <a:ext cx="468000" cy="144000"/>
          </a:xfrm>
        </p:spPr>
        <p:txBody>
          <a:bodyPr/>
          <a:lstStyle/>
          <a:p>
            <a:fld id="{D71DA9FD-6EF8-4CC5-AF9B-B6159B5B937C}" type="slidenum">
              <a:rPr lang="en-GB" noProof="1" smtClean="0"/>
              <a:pPr/>
              <a:t>25</a:t>
            </a:fld>
            <a:endParaRPr lang="en-GB" noProof="1"/>
          </a:p>
        </p:txBody>
      </p:sp>
    </p:spTree>
    <p:extLst>
      <p:ext uri="{BB962C8B-B14F-4D97-AF65-F5344CB8AC3E}">
        <p14:creationId xmlns:p14="http://schemas.microsoft.com/office/powerpoint/2010/main" val="3720290603"/>
      </p:ext>
    </p:extLst>
  </p:cSld>
  <p:clrMapOvr>
    <a:masterClrMapping/>
  </p:clrMapOvr>
  <p:transition>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Aktien – Von wegen Buddenbrooks</a:t>
            </a:r>
          </a:p>
        </p:txBody>
      </p:sp>
      <p:sp>
        <p:nvSpPr>
          <p:cNvPr id="2" name="Text Placeholder 11">
            <a:extLst>
              <a:ext uri="{FF2B5EF4-FFF2-40B4-BE49-F238E27FC236}">
                <a16:creationId xmlns:a16="http://schemas.microsoft.com/office/drawing/2014/main" id="{3BE54CC4-B841-F4C5-4D3C-815E6CF248B7}"/>
              </a:ext>
            </a:extLst>
          </p:cNvPr>
          <p:cNvSpPr>
            <a:spLocks noGrp="1"/>
          </p:cNvSpPr>
          <p:nvPr>
            <p:ph type="body" sz="quarter" idx="14" hasCustomPrompt="1"/>
          </p:nvPr>
        </p:nvSpPr>
        <p:spPr/>
        <p:txBody>
          <a:bodyPr>
            <a:spAutoFit/>
          </a:bodyPr>
          <a:lstStyle>
            <a:lvl1pPr>
              <a:defRPr>
                <a:solidFill>
                  <a:srgbClr val="1E2A78"/>
                </a:solidFill>
              </a:defRPr>
            </a:lvl1pPr>
          </a:lstStyle>
          <a:p>
            <a:r>
              <a:rPr lang="de-DE" dirty="0">
                <a:latin typeface="Deutsche Bank Text" panose="020B0503020202030204" pitchFamily="34" charset="0"/>
                <a:ea typeface="Deutsche Bank Text" panose="020B0503020202030204" pitchFamily="34" charset="0"/>
                <a:cs typeface="Deutsche Bank Text" panose="020B0503020202030204" pitchFamily="34" charset="0"/>
              </a:rPr>
              <a:t>Deutschland – Kaum Wachstum dank Deindustrialisierung</a:t>
            </a:r>
            <a:endParaRPr lang="de-DE" dirty="0"/>
          </a:p>
        </p:txBody>
      </p:sp>
      <p:graphicFrame>
        <p:nvGraphicFramePr>
          <p:cNvPr id="17" name="Chart 1" descr="Deutschland – Kaum Wachstum dank Deindustrialisierung&#10;">
            <a:extLst>
              <a:ext uri="{FF2B5EF4-FFF2-40B4-BE49-F238E27FC236}">
                <a16:creationId xmlns:a16="http://schemas.microsoft.com/office/drawing/2014/main" id="{264964CC-2D4C-4C97-B346-C0D8A4086925}"/>
              </a:ext>
            </a:extLst>
          </p:cNvPr>
          <p:cNvGraphicFramePr>
            <a:graphicFrameLocks noGrp="1"/>
          </p:cNvGraphicFramePr>
          <p:nvPr>
            <p:ph sz="quarter" idx="10"/>
            <p:custDataLst>
              <p:tags r:id="rId1"/>
            </p:custDataLst>
            <p:extLst>
              <p:ext uri="{D42A27DB-BD31-4B8C-83A1-F6EECF244321}">
                <p14:modId xmlns:p14="http://schemas.microsoft.com/office/powerpoint/2010/main" val="3778229685"/>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11">
            <a:extLst>
              <a:ext uri="{FF2B5EF4-FFF2-40B4-BE49-F238E27FC236}">
                <a16:creationId xmlns:a16="http://schemas.microsoft.com/office/drawing/2014/main" id="{D995907A-9F15-0CBC-80DE-428D48A40C4E}"/>
              </a:ext>
            </a:extLst>
          </p:cNvPr>
          <p:cNvSpPr>
            <a:spLocks noGrp="1"/>
          </p:cNvSpPr>
          <p:nvPr>
            <p:ph type="body" sz="quarter" idx="15" hasCustomPrompt="1"/>
          </p:nvPr>
        </p:nvSpPr>
        <p:spPr/>
        <p:txBody>
          <a:bodyPr>
            <a:spAutoFit/>
          </a:bodyPr>
          <a:lstStyle>
            <a:lvl1pPr>
              <a:defRPr>
                <a:solidFill>
                  <a:srgbClr val="1E2A78"/>
                </a:solidFill>
              </a:defRPr>
            </a:lvl1pPr>
          </a:lstStyle>
          <a:p>
            <a:r>
              <a:rPr lang="de-DE" dirty="0">
                <a:latin typeface="Deutsche Bank Text"/>
                <a:ea typeface="Deutsche Bank Text" panose="020B0503020202030204" pitchFamily="34" charset="0"/>
                <a:cs typeface="Deutsche Bank Text" panose="020B0503020202030204" pitchFamily="34" charset="0"/>
              </a:rPr>
              <a:t>Aktienmarkt ≠ Volkswirtschaft – Industriewerte interessant</a:t>
            </a:r>
          </a:p>
        </p:txBody>
      </p:sp>
      <p:sp>
        <p:nvSpPr>
          <p:cNvPr id="8" name="Textfeld 7">
            <a:extLst>
              <a:ext uri="{FF2B5EF4-FFF2-40B4-BE49-F238E27FC236}">
                <a16:creationId xmlns:a16="http://schemas.microsoft.com/office/drawing/2014/main" id="{D45F3834-AC0F-3D4E-20CF-30C81764785C}"/>
              </a:ext>
            </a:extLst>
          </p:cNvPr>
          <p:cNvSpPr txBox="1"/>
          <p:nvPr/>
        </p:nvSpPr>
        <p:spPr bwMode="ltGray">
          <a:xfrm>
            <a:off x="6566170" y="1871985"/>
            <a:ext cx="2198451" cy="153888"/>
          </a:xfrm>
          <a:prstGeom prst="rect">
            <a:avLst/>
          </a:prstGeom>
          <a:noFill/>
          <a:ln w="6350">
            <a:noFill/>
            <a:miter lim="800000"/>
            <a:headEnd/>
            <a:tailEnd/>
          </a:ln>
        </p:spPr>
        <p:txBody>
          <a:bodyPr wrap="square" lIns="0" tIns="0" rIns="0" bIns="0" rtlCol="0">
            <a:spAutoFit/>
          </a:bodyPr>
          <a:lstStyle/>
          <a:p>
            <a:pPr algn="l"/>
            <a:r>
              <a:rPr lang="de-DE" sz="1000">
                <a:solidFill>
                  <a:schemeClr val="tx1">
                    <a:lumMod val="65000"/>
                    <a:lumOff val="35000"/>
                  </a:schemeClr>
                </a:solidFill>
              </a:rPr>
              <a:t>Indexiert: Jan. 2015 = 100</a:t>
            </a:r>
          </a:p>
        </p:txBody>
      </p:sp>
      <p:graphicFrame>
        <p:nvGraphicFramePr>
          <p:cNvPr id="7" name="Chart 2" descr="Aktienmarkt ≠ Volkswirtschaft – Industriewerte interessant&#10;">
            <a:extLst>
              <a:ext uri="{FF2B5EF4-FFF2-40B4-BE49-F238E27FC236}">
                <a16:creationId xmlns:a16="http://schemas.microsoft.com/office/drawing/2014/main" id="{4AA5DEA5-E4DD-4790-92B8-06BB29131484}"/>
              </a:ext>
            </a:extLst>
          </p:cNvPr>
          <p:cNvGraphicFramePr>
            <a:graphicFrameLocks noGrp="1"/>
          </p:cNvGraphicFramePr>
          <p:nvPr>
            <p:ph sz="quarter" idx="11"/>
            <p:custDataLst>
              <p:tags r:id="rId2"/>
            </p:custDataLst>
            <p:extLst>
              <p:ext uri="{D42A27DB-BD31-4B8C-83A1-F6EECF244321}">
                <p14:modId xmlns:p14="http://schemas.microsoft.com/office/powerpoint/2010/main" val="3363263645"/>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5"/>
          </a:graphicData>
        </a:graphic>
      </p:graphicFrame>
      <p:sp>
        <p:nvSpPr>
          <p:cNvPr id="5" name="Content Placeholder 21">
            <a:extLst>
              <a:ext uri="{FF2B5EF4-FFF2-40B4-BE49-F238E27FC236}">
                <a16:creationId xmlns:a16="http://schemas.microsoft.com/office/drawing/2014/main" id="{DDEFFA6F-35F4-0924-2DD7-AA7C94B9993C}"/>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Die deutsche Volkswirtschaft stagniert, der deutsche Aktienmarkt floriert</a:t>
            </a:r>
          </a:p>
          <a:p>
            <a:pPr marL="285750" indent="-285750">
              <a:spcAft>
                <a:spcPts val="600"/>
              </a:spcAft>
              <a:buFont typeface="Arial" panose="020B0604020202020204" pitchFamily="34" charset="0"/>
              <a:buChar char="•"/>
            </a:pPr>
            <a:r>
              <a:rPr lang="de-DE"/>
              <a:t>Deutsche Unternehmen abhängig von globaler Nachfrageentwicklung, 84% der DAX 40-Umsätze im Ausland</a:t>
            </a:r>
          </a:p>
          <a:p>
            <a:pPr marL="285750" indent="-285750">
              <a:spcAft>
                <a:spcPts val="600"/>
              </a:spcAft>
              <a:buFont typeface="Arial" panose="020B0604020202020204" pitchFamily="34" charset="0"/>
              <a:buChar char="•"/>
            </a:pPr>
            <a:r>
              <a:rPr lang="de-DE"/>
              <a:t>Strukturwandel in der Automobilindustrie, Infrastrukturmaßnahmen als Rückenwind für Industriewerte</a:t>
            </a:r>
          </a:p>
        </p:txBody>
      </p:sp>
      <p:sp>
        <p:nvSpPr>
          <p:cNvPr id="10" name="Inhaltsplatzhalter 9">
            <a:extLst>
              <a:ext uri="{FF2B5EF4-FFF2-40B4-BE49-F238E27FC236}">
                <a16:creationId xmlns:a16="http://schemas.microsoft.com/office/drawing/2014/main" id="{7E35366E-CD0A-A00B-C508-172D8A924120}"/>
              </a:ext>
            </a:extLst>
          </p:cNvPr>
          <p:cNvSpPr>
            <a:spLocks noGrp="1"/>
          </p:cNvSpPr>
          <p:nvPr>
            <p:ph sz="quarter" idx="13"/>
          </p:nvPr>
        </p:nvSpPr>
        <p:spPr/>
        <p:txBody>
          <a:bodyPr/>
          <a:lstStyle/>
          <a:p>
            <a:r>
              <a:rPr lang="de-DE"/>
              <a:t>*Je Aktie, kommende 12 Monate. Quelle: LSEG Datastream, Deutsche Bank AG. Stand: 26.11.2024.</a:t>
            </a:r>
          </a:p>
        </p:txBody>
      </p:sp>
      <p:sp>
        <p:nvSpPr>
          <p:cNvPr id="4" name="Foliennummernplatzhalter 4">
            <a:extLst>
              <a:ext uri="{FF2B5EF4-FFF2-40B4-BE49-F238E27FC236}">
                <a16:creationId xmlns:a16="http://schemas.microsoft.com/office/drawing/2014/main" id="{996AD924-51AA-65E4-341D-20C8B50A00E2}"/>
              </a:ext>
            </a:extLst>
          </p:cNvPr>
          <p:cNvSpPr>
            <a:spLocks noGrp="1"/>
          </p:cNvSpPr>
          <p:nvPr>
            <p:ph type="sldNum" sz="quarter" idx="4"/>
          </p:nvPr>
        </p:nvSpPr>
        <p:spPr>
          <a:xfrm>
            <a:off x="11281088" y="6416675"/>
            <a:ext cx="468000" cy="144000"/>
          </a:xfrm>
        </p:spPr>
        <p:txBody>
          <a:bodyPr/>
          <a:lstStyle/>
          <a:p>
            <a:fld id="{D71DA9FD-6EF8-4CC5-AF9B-B6159B5B937C}" type="slidenum">
              <a:rPr lang="de-DE" noProof="1" smtClean="0"/>
              <a:pPr/>
              <a:t>26</a:t>
            </a:fld>
            <a:endParaRPr lang="de-DE" noProof="1"/>
          </a:p>
        </p:txBody>
      </p:sp>
    </p:spTree>
    <p:extLst>
      <p:ext uri="{BB962C8B-B14F-4D97-AF65-F5344CB8AC3E}">
        <p14:creationId xmlns:p14="http://schemas.microsoft.com/office/powerpoint/2010/main" val="4229020689"/>
      </p:ext>
    </p:extLst>
  </p:cSld>
  <p:clrMapOvr>
    <a:masterClrMapping/>
  </p:clrMapOvr>
  <p:transition>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Rohstoffe – Die Zukunft ist elektrisch </a:t>
            </a:r>
          </a:p>
        </p:txBody>
      </p:sp>
      <p:sp>
        <p:nvSpPr>
          <p:cNvPr id="2" name="Text Placeholder 11">
            <a:extLst>
              <a:ext uri="{FF2B5EF4-FFF2-40B4-BE49-F238E27FC236}">
                <a16:creationId xmlns:a16="http://schemas.microsoft.com/office/drawing/2014/main" id="{062BFF51-DD15-720A-101B-34222F687B26}"/>
              </a:ext>
            </a:extLst>
          </p:cNvPr>
          <p:cNvSpPr>
            <a:spLocks noGrp="1"/>
          </p:cNvSpPr>
          <p:nvPr>
            <p:ph type="body" sz="quarter" idx="14" hasCustomPrompt="1"/>
          </p:nvPr>
        </p:nvSpPr>
        <p:spPr/>
        <p:txBody>
          <a:bodyPr>
            <a:spAutoFit/>
          </a:bodyPr>
          <a:lstStyle>
            <a:lvl1pPr>
              <a:defRPr>
                <a:solidFill>
                  <a:srgbClr val="1E2A78"/>
                </a:solidFill>
              </a:defRPr>
            </a:lvl1pPr>
          </a:lstStyle>
          <a:p>
            <a:r>
              <a:rPr lang="de-DE" dirty="0">
                <a:latin typeface="Deutsche Bank Text" panose="020B0503020202030204" pitchFamily="34" charset="0"/>
                <a:ea typeface="Deutsche Bank Text" panose="020B0503020202030204" pitchFamily="34" charset="0"/>
                <a:cs typeface="Deutsche Bank Text" panose="020B0503020202030204" pitchFamily="34" charset="0"/>
              </a:rPr>
              <a:t>Erneuerbare Energie – Stetig steigende Bedeutung</a:t>
            </a:r>
            <a:endParaRPr lang="en-US" dirty="0">
              <a:latin typeface="Deutsche Bank Text" panose="020B0503020202030204" pitchFamily="34" charset="0"/>
              <a:ea typeface="Deutsche Bank Text" panose="020B0503020202030204" pitchFamily="34" charset="0"/>
              <a:cs typeface="Deutsche Bank Text" panose="020B0503020202030204" pitchFamily="34" charset="0"/>
            </a:endParaRPr>
          </a:p>
        </p:txBody>
      </p:sp>
      <p:graphicFrame>
        <p:nvGraphicFramePr>
          <p:cNvPr id="15" name="Chart 2" descr="Erneuerbare Energie – Stetig steigende Bedeutung&#10;">
            <a:extLst>
              <a:ext uri="{FF2B5EF4-FFF2-40B4-BE49-F238E27FC236}">
                <a16:creationId xmlns:a16="http://schemas.microsoft.com/office/drawing/2014/main" id="{C2C503F1-4584-40A1-9569-79483DB60BEB}"/>
              </a:ext>
            </a:extLst>
          </p:cNvPr>
          <p:cNvGraphicFramePr>
            <a:graphicFrameLocks noGrp="1"/>
          </p:cNvGraphicFramePr>
          <p:nvPr>
            <p:ph sz="quarter" idx="10"/>
            <p:custDataLst>
              <p:tags r:id="rId1"/>
            </p:custDataLst>
            <p:extLst>
              <p:ext uri="{D42A27DB-BD31-4B8C-83A1-F6EECF244321}">
                <p14:modId xmlns:p14="http://schemas.microsoft.com/office/powerpoint/2010/main" val="1929699007"/>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 Placeholder 11">
            <a:extLst>
              <a:ext uri="{FF2B5EF4-FFF2-40B4-BE49-F238E27FC236}">
                <a16:creationId xmlns:a16="http://schemas.microsoft.com/office/drawing/2014/main" id="{61DF30EB-01AF-7605-7D33-84EBE03947CD}"/>
              </a:ext>
            </a:extLst>
          </p:cNvPr>
          <p:cNvSpPr>
            <a:spLocks noGrp="1"/>
          </p:cNvSpPr>
          <p:nvPr>
            <p:ph type="body" sz="quarter" idx="15" hasCustomPrompt="1"/>
          </p:nvPr>
        </p:nvSpPr>
        <p:spPr>
          <a:xfrm>
            <a:off x="6208776" y="1371600"/>
            <a:ext cx="5541264" cy="246221"/>
          </a:xfrm>
        </p:spPr>
        <p:txBody>
          <a:bodyPr>
            <a:spAutoFit/>
          </a:bodyPr>
          <a:lstStyle>
            <a:lvl1pPr>
              <a:defRPr>
                <a:solidFill>
                  <a:srgbClr val="1E2A78"/>
                </a:solidFill>
              </a:defRPr>
            </a:lvl1pPr>
          </a:lstStyle>
          <a:p>
            <a:pPr lvl="0"/>
            <a:r>
              <a:rPr lang="de-DE" dirty="0"/>
              <a:t>„Peak </a:t>
            </a:r>
            <a:r>
              <a:rPr lang="de-DE" dirty="0" err="1"/>
              <a:t>oil</a:t>
            </a:r>
            <a:r>
              <a:rPr lang="de-DE" dirty="0"/>
              <a:t>“ – Nachfragegipfel in etwa zehn Jahren </a:t>
            </a:r>
            <a:endParaRPr lang="en-US" dirty="0"/>
          </a:p>
        </p:txBody>
      </p:sp>
      <p:graphicFrame>
        <p:nvGraphicFramePr>
          <p:cNvPr id="8" name="Content Placeholder 7" descr="Öl-Nachfragegipfel in etwa zehn Jahren">
            <a:extLst>
              <a:ext uri="{FF2B5EF4-FFF2-40B4-BE49-F238E27FC236}">
                <a16:creationId xmlns:a16="http://schemas.microsoft.com/office/drawing/2014/main" id="{22824D51-0686-4CB3-BDCD-FA0215FE431C}"/>
              </a:ext>
            </a:extLst>
          </p:cNvPr>
          <p:cNvGraphicFramePr>
            <a:graphicFrameLocks noGrp="1"/>
          </p:cNvGraphicFramePr>
          <p:nvPr>
            <p:ph sz="quarter" idx="11"/>
            <p:custDataLst>
              <p:tags r:id="rId2"/>
            </p:custDataLst>
            <p:extLst>
              <p:ext uri="{D42A27DB-BD31-4B8C-83A1-F6EECF244321}">
                <p14:modId xmlns:p14="http://schemas.microsoft.com/office/powerpoint/2010/main" val="3608544853"/>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5"/>
          </a:graphicData>
        </a:graphic>
      </p:graphicFrame>
      <p:sp>
        <p:nvSpPr>
          <p:cNvPr id="5" name="Content Placeholder 21">
            <a:extLst>
              <a:ext uri="{FF2B5EF4-FFF2-40B4-BE49-F238E27FC236}">
                <a16:creationId xmlns:a16="http://schemas.microsoft.com/office/drawing/2014/main" id="{C5B4F229-0FE0-0ACD-FBCF-418D3532DCD0}"/>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Anteil der Erneuerbaren an der Stromerzeugung (nicht Primärenergie) nimmt deutlich zu</a:t>
            </a:r>
          </a:p>
          <a:p>
            <a:pPr marL="285750" indent="-285750">
              <a:spcAft>
                <a:spcPts val="600"/>
              </a:spcAft>
              <a:buFont typeface="Arial" panose="020B0604020202020204" pitchFamily="34" charset="0"/>
              <a:buChar char="•"/>
            </a:pPr>
            <a:r>
              <a:rPr lang="de-DE"/>
              <a:t>Weltnachfrage nach Öl stagniert auf hohem Niveau, Ölangebot voraussichtlich steigend (USA, OPEC+)</a:t>
            </a:r>
          </a:p>
          <a:p>
            <a:pPr marL="285750" indent="-285750">
              <a:spcAft>
                <a:spcPts val="600"/>
              </a:spcAft>
              <a:buFont typeface="Arial" panose="020B0604020202020204" pitchFamily="34" charset="0"/>
              <a:buChar char="•"/>
            </a:pPr>
            <a:r>
              <a:rPr lang="de-DE"/>
              <a:t>Rohstoffe für Elektrifizierung werden wichtiger (Kupfer, Lithium, Kobalt, Nickel)</a:t>
            </a:r>
          </a:p>
        </p:txBody>
      </p:sp>
      <p:sp>
        <p:nvSpPr>
          <p:cNvPr id="10" name="Inhaltsplatzhalter 9">
            <a:extLst>
              <a:ext uri="{FF2B5EF4-FFF2-40B4-BE49-F238E27FC236}">
                <a16:creationId xmlns:a16="http://schemas.microsoft.com/office/drawing/2014/main" id="{7E35366E-CD0A-A00B-C508-172D8A924120}"/>
              </a:ext>
            </a:extLst>
          </p:cNvPr>
          <p:cNvSpPr>
            <a:spLocks noGrp="1"/>
          </p:cNvSpPr>
          <p:nvPr>
            <p:ph sz="quarter" idx="13"/>
          </p:nvPr>
        </p:nvSpPr>
        <p:spPr/>
        <p:txBody>
          <a:bodyPr/>
          <a:lstStyle/>
          <a:p>
            <a:r>
              <a:rPr lang="en-US"/>
              <a:t>Quelle: LSEG </a:t>
            </a:r>
            <a:r>
              <a:rPr lang="en-US" err="1"/>
              <a:t>Datastream</a:t>
            </a:r>
            <a:r>
              <a:rPr lang="en-US"/>
              <a:t>, IEA, Deutsche Bank AG. Stand: 26.11.2024.</a:t>
            </a:r>
          </a:p>
        </p:txBody>
      </p:sp>
      <p:sp>
        <p:nvSpPr>
          <p:cNvPr id="4" name="Foliennummernplatzhalter 4">
            <a:extLst>
              <a:ext uri="{FF2B5EF4-FFF2-40B4-BE49-F238E27FC236}">
                <a16:creationId xmlns:a16="http://schemas.microsoft.com/office/drawing/2014/main" id="{485BE850-0C31-BAA7-D00A-4C8EAF1E7740}"/>
              </a:ext>
            </a:extLst>
          </p:cNvPr>
          <p:cNvSpPr>
            <a:spLocks noGrp="1"/>
          </p:cNvSpPr>
          <p:nvPr>
            <p:ph type="sldNum" sz="quarter" idx="4"/>
          </p:nvPr>
        </p:nvSpPr>
        <p:spPr>
          <a:xfrm>
            <a:off x="11281088" y="6416675"/>
            <a:ext cx="468000" cy="144000"/>
          </a:xfrm>
        </p:spPr>
        <p:txBody>
          <a:bodyPr/>
          <a:lstStyle/>
          <a:p>
            <a:fld id="{D71DA9FD-6EF8-4CC5-AF9B-B6159B5B937C}" type="slidenum">
              <a:rPr lang="en-GB" noProof="1" smtClean="0"/>
              <a:pPr/>
              <a:t>27</a:t>
            </a:fld>
            <a:endParaRPr lang="en-GB" noProof="1"/>
          </a:p>
        </p:txBody>
      </p:sp>
    </p:spTree>
    <p:extLst>
      <p:ext uri="{BB962C8B-B14F-4D97-AF65-F5344CB8AC3E}">
        <p14:creationId xmlns:p14="http://schemas.microsoft.com/office/powerpoint/2010/main" val="2696786047"/>
      </p:ext>
    </p:extLst>
  </p:cSld>
  <p:clrMapOvr>
    <a:masterClrMapping/>
  </p:clrMapOvr>
  <p:transition>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Alternative Anlagen – Reale Werte </a:t>
            </a:r>
          </a:p>
        </p:txBody>
      </p:sp>
      <p:sp>
        <p:nvSpPr>
          <p:cNvPr id="2" name="Text Placeholder 11">
            <a:extLst>
              <a:ext uri="{FF2B5EF4-FFF2-40B4-BE49-F238E27FC236}">
                <a16:creationId xmlns:a16="http://schemas.microsoft.com/office/drawing/2014/main" id="{77EC690F-9979-15F3-BBBB-2BCAA40EE04C}"/>
              </a:ext>
            </a:extLst>
          </p:cNvPr>
          <p:cNvSpPr>
            <a:spLocks noGrp="1"/>
          </p:cNvSpPr>
          <p:nvPr>
            <p:ph type="body" sz="quarter" idx="14" hasCustomPrompt="1"/>
          </p:nvPr>
        </p:nvSpPr>
        <p:spPr/>
        <p:txBody>
          <a:bodyPr>
            <a:spAutoFit/>
          </a:bodyPr>
          <a:lstStyle>
            <a:lvl1pPr>
              <a:defRPr>
                <a:solidFill>
                  <a:srgbClr val="1E2A78"/>
                </a:solidFill>
              </a:defRPr>
            </a:lvl1pPr>
          </a:lstStyle>
          <a:p>
            <a:r>
              <a:rPr lang="de-DE"/>
              <a:t>Erheblicher Investitionsbedarf in Deutschland</a:t>
            </a:r>
          </a:p>
        </p:txBody>
      </p:sp>
      <p:graphicFrame>
        <p:nvGraphicFramePr>
          <p:cNvPr id="16" name="Chart 3" descr="Öffentliche Investitionsbedarfe in Deutschland (in Mrd EUR)*">
            <a:extLst>
              <a:ext uri="{FF2B5EF4-FFF2-40B4-BE49-F238E27FC236}">
                <a16:creationId xmlns:a16="http://schemas.microsoft.com/office/drawing/2014/main" id="{764F3512-B707-9ADC-3D8D-3481F313E5C0}"/>
              </a:ext>
            </a:extLst>
          </p:cNvPr>
          <p:cNvGraphicFramePr>
            <a:graphicFrameLocks noGrp="1"/>
          </p:cNvGraphicFramePr>
          <p:nvPr>
            <p:ph sz="quarter" idx="10"/>
            <p:custDataLst>
              <p:tags r:id="rId1"/>
            </p:custDataLst>
            <p:extLst>
              <p:ext uri="{D42A27DB-BD31-4B8C-83A1-F6EECF244321}">
                <p14:modId xmlns:p14="http://schemas.microsoft.com/office/powerpoint/2010/main" val="1840141067"/>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11">
            <a:extLst>
              <a:ext uri="{FF2B5EF4-FFF2-40B4-BE49-F238E27FC236}">
                <a16:creationId xmlns:a16="http://schemas.microsoft.com/office/drawing/2014/main" id="{3298839F-10C6-F179-CCDB-C32D09582103}"/>
              </a:ext>
            </a:extLst>
          </p:cNvPr>
          <p:cNvSpPr>
            <a:spLocks noGrp="1"/>
          </p:cNvSpPr>
          <p:nvPr>
            <p:ph type="body" sz="quarter" idx="15" hasCustomPrompt="1"/>
          </p:nvPr>
        </p:nvSpPr>
        <p:spPr>
          <a:xfrm>
            <a:off x="6208776" y="1371600"/>
            <a:ext cx="5541264" cy="246221"/>
          </a:xfrm>
        </p:spPr>
        <p:txBody>
          <a:bodyPr>
            <a:spAutoFit/>
          </a:bodyPr>
          <a:lstStyle>
            <a:lvl1pPr>
              <a:defRPr>
                <a:solidFill>
                  <a:srgbClr val="1E2A78"/>
                </a:solidFill>
              </a:defRPr>
            </a:lvl1pPr>
          </a:lstStyle>
          <a:p>
            <a:r>
              <a:rPr lang="de-DE" dirty="0">
                <a:latin typeface="Deutsche Bank Text" panose="020B0503020202030204" pitchFamily="34" charset="0"/>
                <a:ea typeface="Deutsche Bank Text" panose="020B0503020202030204" pitchFamily="34" charset="0"/>
                <a:cs typeface="Deutsche Bank Text" panose="020B0503020202030204" pitchFamily="34" charset="0"/>
              </a:rPr>
              <a:t>Infrastrukturaktien – Deutliche Erholung nach Zinsschock</a:t>
            </a:r>
          </a:p>
        </p:txBody>
      </p:sp>
      <p:graphicFrame>
        <p:nvGraphicFramePr>
          <p:cNvPr id="14" name="Content Placeholder 13" descr="Infrastrukturaktien – Deutliche Erholung nach Zinsschock">
            <a:extLst>
              <a:ext uri="{FF2B5EF4-FFF2-40B4-BE49-F238E27FC236}">
                <a16:creationId xmlns:a16="http://schemas.microsoft.com/office/drawing/2014/main" id="{3454608D-4E1C-4C10-96E2-42BE16040B17}"/>
              </a:ext>
            </a:extLst>
          </p:cNvPr>
          <p:cNvGraphicFramePr>
            <a:graphicFrameLocks noGrp="1"/>
          </p:cNvGraphicFramePr>
          <p:nvPr>
            <p:ph sz="quarter" idx="11"/>
            <p:extLst>
              <p:ext uri="{D42A27DB-BD31-4B8C-83A1-F6EECF244321}">
                <p14:modId xmlns:p14="http://schemas.microsoft.com/office/powerpoint/2010/main" val="2275620063"/>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4"/>
          </a:graphicData>
        </a:graphic>
      </p:graphicFrame>
      <p:sp>
        <p:nvSpPr>
          <p:cNvPr id="5" name="Content Placeholder 21">
            <a:extLst>
              <a:ext uri="{FF2B5EF4-FFF2-40B4-BE49-F238E27FC236}">
                <a16:creationId xmlns:a16="http://schemas.microsoft.com/office/drawing/2014/main" id="{1287759E-3E80-4AAC-BE6A-A0533D4792DC}"/>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Hohe Investitionen notwendig – Modernisierung, Digitalisierung, Grüne Transformation</a:t>
            </a:r>
          </a:p>
          <a:p>
            <a:pPr marL="285750" indent="-285750">
              <a:spcAft>
                <a:spcPts val="600"/>
              </a:spcAft>
              <a:buFont typeface="Arial" panose="020B0604020202020204" pitchFamily="34" charset="0"/>
              <a:buChar char="•"/>
            </a:pPr>
            <a:r>
              <a:rPr lang="de-DE"/>
              <a:t>Infrastruktur (Brücken, Netze, Häfen, Wasserversorgung), Energie, Mobilität, Logistik, Urbanisierung und Wohnen</a:t>
            </a:r>
          </a:p>
          <a:p>
            <a:pPr marL="285750" indent="-285750">
              <a:spcAft>
                <a:spcPts val="600"/>
              </a:spcAft>
              <a:buFont typeface="Arial" panose="020B0604020202020204" pitchFamily="34" charset="0"/>
              <a:buChar char="•"/>
            </a:pPr>
            <a:r>
              <a:rPr lang="de-DE"/>
              <a:t>USA: Infrastrukturprogramm, IRA, Chips Act; EU: NGEU, Chips Act, Draghi-Plan; China: Fiskalpaket noch offen</a:t>
            </a:r>
          </a:p>
        </p:txBody>
      </p:sp>
      <p:sp>
        <p:nvSpPr>
          <p:cNvPr id="10" name="Inhaltsplatzhalter 9">
            <a:extLst>
              <a:ext uri="{FF2B5EF4-FFF2-40B4-BE49-F238E27FC236}">
                <a16:creationId xmlns:a16="http://schemas.microsoft.com/office/drawing/2014/main" id="{7E35366E-CD0A-A00B-C508-172D8A924120}"/>
              </a:ext>
            </a:extLst>
          </p:cNvPr>
          <p:cNvSpPr>
            <a:spLocks noGrp="1"/>
          </p:cNvSpPr>
          <p:nvPr>
            <p:ph sz="quarter" idx="13"/>
          </p:nvPr>
        </p:nvSpPr>
        <p:spPr/>
        <p:txBody>
          <a:bodyPr/>
          <a:lstStyle/>
          <a:p>
            <a:r>
              <a:rPr lang="de-DE"/>
              <a:t>*Schätzungen. Quelle: IW Köln, IMK Hans-Böckler-Stiftung, LSEG Datastream, Deutsche Bank AG. Stand: 26.11.2024.</a:t>
            </a:r>
          </a:p>
        </p:txBody>
      </p:sp>
      <p:sp>
        <p:nvSpPr>
          <p:cNvPr id="4" name="Foliennummernplatzhalter 4">
            <a:extLst>
              <a:ext uri="{FF2B5EF4-FFF2-40B4-BE49-F238E27FC236}">
                <a16:creationId xmlns:a16="http://schemas.microsoft.com/office/drawing/2014/main" id="{D048E29B-92DE-EE23-257A-D295C5F5E52D}"/>
              </a:ext>
            </a:extLst>
          </p:cNvPr>
          <p:cNvSpPr>
            <a:spLocks noGrp="1"/>
          </p:cNvSpPr>
          <p:nvPr>
            <p:ph type="sldNum" sz="quarter" idx="4"/>
          </p:nvPr>
        </p:nvSpPr>
        <p:spPr>
          <a:xfrm>
            <a:off x="11281088" y="6416675"/>
            <a:ext cx="468000" cy="144000"/>
          </a:xfrm>
        </p:spPr>
        <p:txBody>
          <a:bodyPr/>
          <a:lstStyle/>
          <a:p>
            <a:fld id="{D71DA9FD-6EF8-4CC5-AF9B-B6159B5B937C}" type="slidenum">
              <a:rPr lang="de-DE" noProof="1" smtClean="0"/>
              <a:pPr/>
              <a:t>28</a:t>
            </a:fld>
            <a:endParaRPr lang="de-DE" noProof="1"/>
          </a:p>
        </p:txBody>
      </p:sp>
    </p:spTree>
    <p:extLst>
      <p:ext uri="{BB962C8B-B14F-4D97-AF65-F5344CB8AC3E}">
        <p14:creationId xmlns:p14="http://schemas.microsoft.com/office/powerpoint/2010/main" val="3154167018"/>
      </p:ext>
    </p:extLst>
  </p:cSld>
  <p:clrMapOvr>
    <a:masterClrMapping/>
  </p:clrMapOvr>
  <p:transition>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445B105-FAF3-A00B-6667-496A75D90C59}"/>
              </a:ext>
            </a:extLst>
          </p:cNvPr>
          <p:cNvSpPr>
            <a:spLocks noGrp="1"/>
          </p:cNvSpPr>
          <p:nvPr>
            <p:ph type="title"/>
          </p:nvPr>
        </p:nvSpPr>
        <p:spPr/>
        <p:txBody>
          <a:bodyPr/>
          <a:lstStyle/>
          <a:p>
            <a:r>
              <a:rPr lang="de-DE"/>
              <a:t>Risiko – Zyklus, Zins &amp; Zölle </a:t>
            </a:r>
          </a:p>
        </p:txBody>
      </p:sp>
      <p:sp>
        <p:nvSpPr>
          <p:cNvPr id="2" name="Text Placeholder 11">
            <a:extLst>
              <a:ext uri="{FF2B5EF4-FFF2-40B4-BE49-F238E27FC236}">
                <a16:creationId xmlns:a16="http://schemas.microsoft.com/office/drawing/2014/main" id="{4B70657C-9A20-6B51-8927-111F6863CD10}"/>
              </a:ext>
            </a:extLst>
          </p:cNvPr>
          <p:cNvSpPr>
            <a:spLocks noGrp="1"/>
          </p:cNvSpPr>
          <p:nvPr>
            <p:ph type="body" sz="quarter" idx="14" hasCustomPrompt="1"/>
          </p:nvPr>
        </p:nvSpPr>
        <p:spPr/>
        <p:txBody>
          <a:bodyPr>
            <a:spAutoFit/>
          </a:bodyPr>
          <a:lstStyle>
            <a:lvl1pPr>
              <a:defRPr>
                <a:solidFill>
                  <a:srgbClr val="1E2A78"/>
                </a:solidFill>
              </a:defRPr>
            </a:lvl1pPr>
          </a:lstStyle>
          <a:p>
            <a:pPr lvl="0"/>
            <a:r>
              <a:rPr lang="de-DE"/>
              <a:t>Der “Trump-Plan” – Hohe Zölle und Neuverschuldung</a:t>
            </a:r>
          </a:p>
        </p:txBody>
      </p:sp>
      <p:graphicFrame>
        <p:nvGraphicFramePr>
          <p:cNvPr id="11" name="Inhaltsplatzhalter 10" descr="Der Trump Plan (Milliarden, 2026-2035)">
            <a:extLst>
              <a:ext uri="{FF2B5EF4-FFF2-40B4-BE49-F238E27FC236}">
                <a16:creationId xmlns:a16="http://schemas.microsoft.com/office/drawing/2014/main" id="{62A20212-4A47-5710-9E83-11F7EC167B4E}"/>
              </a:ext>
              <a:ext uri="{C183D7F6-B498-43B3-948B-1728B52AA6E4}">
                <adec:decorative xmlns:adec="http://schemas.microsoft.com/office/drawing/2017/decorative" val="0"/>
              </a:ext>
            </a:extLst>
          </p:cNvPr>
          <p:cNvGraphicFramePr>
            <a:graphicFrameLocks noGrp="1" noChangeAspect="1"/>
          </p:cNvGraphicFramePr>
          <p:nvPr>
            <p:ph sz="quarter" idx="10"/>
            <p:extLst>
              <p:ext uri="{D42A27DB-BD31-4B8C-83A1-F6EECF244321}">
                <p14:modId xmlns:p14="http://schemas.microsoft.com/office/powerpoint/2010/main" val="3237334713"/>
              </p:ext>
            </p:extLst>
          </p:nvPr>
        </p:nvGraphicFramePr>
        <p:xfrm>
          <a:off x="442913" y="1844675"/>
          <a:ext cx="5537200" cy="2867025"/>
        </p:xfrm>
        <a:graphic>
          <a:graphicData uri="http://schemas.openxmlformats.org/presentationml/2006/ole">
            <mc:AlternateContent xmlns:mc="http://schemas.openxmlformats.org/markup-compatibility/2006">
              <mc:Choice xmlns:v="urn:schemas-microsoft-com:vml" Requires="v">
                <p:oleObj name="Worksheet" r:id="rId3" imgW="8848649" imgH="4581456" progId="Excel.Sheet.12">
                  <p:embed/>
                </p:oleObj>
              </mc:Choice>
              <mc:Fallback>
                <p:oleObj name="Worksheet" r:id="rId3" imgW="8848649" imgH="4581456" progId="Excel.Sheet.12">
                  <p:embed/>
                  <p:pic>
                    <p:nvPicPr>
                      <p:cNvPr id="11" name="Inhaltsplatzhalter 10">
                        <a:extLst>
                          <a:ext uri="{FF2B5EF4-FFF2-40B4-BE49-F238E27FC236}">
                            <a16:creationId xmlns:a16="http://schemas.microsoft.com/office/drawing/2014/main" id="{62A20212-4A47-5710-9E83-11F7EC167B4E}"/>
                          </a:ext>
                        </a:extLst>
                      </p:cNvPr>
                      <p:cNvPicPr/>
                      <p:nvPr/>
                    </p:nvPicPr>
                    <p:blipFill>
                      <a:blip r:embed="rId4"/>
                      <a:stretch>
                        <a:fillRect/>
                      </a:stretch>
                    </p:blipFill>
                    <p:spPr>
                      <a:xfrm>
                        <a:off x="442913" y="1844675"/>
                        <a:ext cx="5537200" cy="2867025"/>
                      </a:xfrm>
                      <a:prstGeom prst="rect">
                        <a:avLst/>
                      </a:prstGeom>
                    </p:spPr>
                  </p:pic>
                </p:oleObj>
              </mc:Fallback>
            </mc:AlternateContent>
          </a:graphicData>
        </a:graphic>
      </p:graphicFrame>
      <p:sp>
        <p:nvSpPr>
          <p:cNvPr id="3" name="Text Placeholder 11">
            <a:extLst>
              <a:ext uri="{FF2B5EF4-FFF2-40B4-BE49-F238E27FC236}">
                <a16:creationId xmlns:a16="http://schemas.microsoft.com/office/drawing/2014/main" id="{F7D1ECBD-E1A4-5822-677B-6DDE0CF4C912}"/>
              </a:ext>
            </a:extLst>
          </p:cNvPr>
          <p:cNvSpPr>
            <a:spLocks noGrp="1"/>
          </p:cNvSpPr>
          <p:nvPr>
            <p:ph type="body" sz="quarter" idx="15" hasCustomPrompt="1"/>
          </p:nvPr>
        </p:nvSpPr>
        <p:spPr/>
        <p:txBody>
          <a:bodyPr>
            <a:spAutoFit/>
          </a:bodyPr>
          <a:lstStyle>
            <a:lvl1pPr>
              <a:defRPr>
                <a:solidFill>
                  <a:srgbClr val="1E2A78"/>
                </a:solidFill>
              </a:defRPr>
            </a:lvl1pPr>
          </a:lstStyle>
          <a:p>
            <a:r>
              <a:rPr lang="de-DE" dirty="0">
                <a:latin typeface="Deutsche Bank Text" panose="020B0503020202030204" pitchFamily="34" charset="0"/>
                <a:ea typeface="Deutsche Bank Text" panose="020B0503020202030204" pitchFamily="34" charset="0"/>
                <a:cs typeface="Deutsche Bank Text" panose="020B0503020202030204" pitchFamily="34" charset="0"/>
              </a:rPr>
              <a:t>Gold – Starke Nachfrage zur Absicherung von Risiken</a:t>
            </a:r>
          </a:p>
        </p:txBody>
      </p:sp>
      <p:pic>
        <p:nvPicPr>
          <p:cNvPr id="8" name="Grafik 7" descr="Gold – Starke Nachfrage zur Absicherung von Risiken">
            <a:extLst>
              <a:ext uri="{FF2B5EF4-FFF2-40B4-BE49-F238E27FC236}">
                <a16:creationId xmlns:a16="http://schemas.microsoft.com/office/drawing/2014/main" id="{71E34C99-788D-5FA4-2A22-63855468FD5B}"/>
              </a:ext>
            </a:extLst>
          </p:cNvPr>
          <p:cNvPicPr>
            <a:picLocks noChangeAspect="1"/>
          </p:cNvPicPr>
          <p:nvPr/>
        </p:nvPicPr>
        <p:blipFill>
          <a:blip r:embed="rId5"/>
          <a:stretch>
            <a:fillRect/>
          </a:stretch>
        </p:blipFill>
        <p:spPr>
          <a:xfrm>
            <a:off x="6228520" y="1716649"/>
            <a:ext cx="5760415" cy="3212539"/>
          </a:xfrm>
          <a:prstGeom prst="rect">
            <a:avLst/>
          </a:prstGeom>
        </p:spPr>
      </p:pic>
      <p:graphicFrame>
        <p:nvGraphicFramePr>
          <p:cNvPr id="18" name="Chart 2" descr="Gold – Starke Nachfrage zur Absicherung von Risiken&#10;">
            <a:extLst>
              <a:ext uri="{FF2B5EF4-FFF2-40B4-BE49-F238E27FC236}">
                <a16:creationId xmlns:a16="http://schemas.microsoft.com/office/drawing/2014/main" id="{107F97DC-418B-42D0-A89E-EF23FB1876CC}"/>
              </a:ext>
            </a:extLst>
          </p:cNvPr>
          <p:cNvGraphicFramePr>
            <a:graphicFrameLocks noGrp="1"/>
          </p:cNvGraphicFramePr>
          <p:nvPr>
            <p:ph sz="quarter" idx="11"/>
            <p:custDataLst>
              <p:tags r:id="rId1"/>
            </p:custDataLst>
            <p:extLst>
              <p:ext uri="{D42A27DB-BD31-4B8C-83A1-F6EECF244321}">
                <p14:modId xmlns:p14="http://schemas.microsoft.com/office/powerpoint/2010/main" val="4209423213"/>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6"/>
          </a:graphicData>
        </a:graphic>
      </p:graphicFrame>
      <p:sp>
        <p:nvSpPr>
          <p:cNvPr id="5" name="Content Placeholder 21">
            <a:extLst>
              <a:ext uri="{FF2B5EF4-FFF2-40B4-BE49-F238E27FC236}">
                <a16:creationId xmlns:a16="http://schemas.microsoft.com/office/drawing/2014/main" id="{1C42CE26-BD61-0AE3-8147-8FA96325872B}"/>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Politikfehler als Risiko für das Weltwirtschaftswachstum – Prohibitive Zölle, exzessive Staatsverschuldung etc.</a:t>
            </a:r>
          </a:p>
          <a:p>
            <a:pPr marL="285750" indent="-285750">
              <a:spcAft>
                <a:spcPts val="600"/>
              </a:spcAft>
              <a:buFont typeface="Arial" panose="020B0604020202020204" pitchFamily="34" charset="0"/>
              <a:buChar char="•"/>
            </a:pPr>
            <a:r>
              <a:rPr lang="de-DE"/>
              <a:t>Rückkehr der Inflation – Inflationäre Wirtschaftspolitik, zu spätes Gegensteuern der Zentralbanken</a:t>
            </a:r>
          </a:p>
          <a:p>
            <a:pPr marL="285750" indent="-285750">
              <a:spcAft>
                <a:spcPts val="600"/>
              </a:spcAft>
              <a:buFont typeface="Arial" panose="020B0604020202020204" pitchFamily="34" charset="0"/>
              <a:buChar char="•"/>
            </a:pPr>
            <a:r>
              <a:rPr lang="de-DE"/>
              <a:t>Politische Risiken &amp; Konflikte, Technologierisiken &amp; Sanktionen</a:t>
            </a:r>
          </a:p>
        </p:txBody>
      </p:sp>
      <p:sp>
        <p:nvSpPr>
          <p:cNvPr id="10" name="Inhaltsplatzhalter 9">
            <a:extLst>
              <a:ext uri="{FF2B5EF4-FFF2-40B4-BE49-F238E27FC236}">
                <a16:creationId xmlns:a16="http://schemas.microsoft.com/office/drawing/2014/main" id="{7E35366E-CD0A-A00B-C508-172D8A924120}"/>
              </a:ext>
            </a:extLst>
          </p:cNvPr>
          <p:cNvSpPr>
            <a:spLocks noGrp="1"/>
          </p:cNvSpPr>
          <p:nvPr>
            <p:ph sz="quarter" idx="13"/>
          </p:nvPr>
        </p:nvSpPr>
        <p:spPr/>
        <p:txBody>
          <a:bodyPr/>
          <a:lstStyle/>
          <a:p>
            <a:r>
              <a:rPr lang="en-US"/>
              <a:t>Quelle: LSEG </a:t>
            </a:r>
            <a:r>
              <a:rPr lang="en-US" err="1"/>
              <a:t>Datastream</a:t>
            </a:r>
            <a:r>
              <a:rPr lang="en-US"/>
              <a:t>, Deutsche Bank AG. Stand: 26.11.2024.</a:t>
            </a:r>
          </a:p>
        </p:txBody>
      </p:sp>
      <p:sp>
        <p:nvSpPr>
          <p:cNvPr id="4" name="Foliennummernplatzhalter 4">
            <a:extLst>
              <a:ext uri="{FF2B5EF4-FFF2-40B4-BE49-F238E27FC236}">
                <a16:creationId xmlns:a16="http://schemas.microsoft.com/office/drawing/2014/main" id="{E5772439-0E8F-4673-96E5-2919A7B28287}"/>
              </a:ext>
            </a:extLst>
          </p:cNvPr>
          <p:cNvSpPr>
            <a:spLocks noGrp="1"/>
          </p:cNvSpPr>
          <p:nvPr>
            <p:ph type="sldNum" sz="quarter" idx="4"/>
          </p:nvPr>
        </p:nvSpPr>
        <p:spPr/>
        <p:txBody>
          <a:bodyPr/>
          <a:lstStyle/>
          <a:p>
            <a:fld id="{D71DA9FD-6EF8-4CC5-AF9B-B6159B5B937C}" type="slidenum">
              <a:rPr lang="en-GB" noProof="1" smtClean="0"/>
              <a:pPr/>
              <a:t>29</a:t>
            </a:fld>
            <a:endParaRPr lang="en-GB" noProof="1"/>
          </a:p>
        </p:txBody>
      </p:sp>
    </p:spTree>
    <p:extLst>
      <p:ext uri="{BB962C8B-B14F-4D97-AF65-F5344CB8AC3E}">
        <p14:creationId xmlns:p14="http://schemas.microsoft.com/office/powerpoint/2010/main" val="1897872233"/>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7A1A55DA-9B56-2995-911F-3E1AF62F389A}"/>
              </a:ext>
              <a:ext uri="{C183D7F6-B498-43B3-948B-1728B52AA6E4}">
                <adec:decorative xmlns:adec="http://schemas.microsoft.com/office/drawing/2017/decorative" val="1"/>
              </a:ext>
            </a:extLst>
          </p:cNvPr>
          <p:cNvSpPr>
            <a:spLocks noGrp="1"/>
          </p:cNvSpPr>
          <p:nvPr>
            <p:ph type="title"/>
          </p:nvPr>
        </p:nvSpPr>
        <p:spPr/>
        <p:txBody>
          <a:bodyPr/>
          <a:lstStyle/>
          <a:p>
            <a:r>
              <a:rPr lang="de-DE" dirty="0"/>
              <a:t>Was</a:t>
            </a:r>
            <a:r>
              <a:rPr lang="de-DE" sz="2000" dirty="0"/>
              <a:t> für ein Jahrzehnt – 20er Jahre 2.0</a:t>
            </a:r>
            <a:endParaRPr lang="de-DE" dirty="0"/>
          </a:p>
        </p:txBody>
      </p:sp>
      <p:sp>
        <p:nvSpPr>
          <p:cNvPr id="14" name="Textplatzhalter 13">
            <a:extLst>
              <a:ext uri="{FF2B5EF4-FFF2-40B4-BE49-F238E27FC236}">
                <a16:creationId xmlns:a16="http://schemas.microsoft.com/office/drawing/2014/main" id="{6839B911-B1A4-C8E8-6CB1-87FB51DC41D4}"/>
              </a:ext>
              <a:ext uri="{C183D7F6-B498-43B3-948B-1728B52AA6E4}">
                <adec:decorative xmlns:adec="http://schemas.microsoft.com/office/drawing/2017/decorative" val="1"/>
              </a:ext>
            </a:extLst>
          </p:cNvPr>
          <p:cNvSpPr>
            <a:spLocks noGrp="1"/>
          </p:cNvSpPr>
          <p:nvPr>
            <p:ph type="body" sz="quarter" idx="12"/>
          </p:nvPr>
        </p:nvSpPr>
        <p:spPr>
          <a:xfrm>
            <a:off x="438912" y="1371600"/>
            <a:ext cx="11301984" cy="492443"/>
          </a:xfrm>
        </p:spPr>
        <p:txBody>
          <a:bodyPr/>
          <a:lstStyle/>
          <a:p>
            <a:r>
              <a:rPr lang="de-DE" dirty="0">
                <a:ea typeface="Deutsche Bank Text" panose="020B0503020202030204" pitchFamily="34" charset="0"/>
                <a:cs typeface="Deutsche Bank Text" panose="020B0503020202030204" pitchFamily="34" charset="0"/>
              </a:rPr>
              <a:t>Halbzeit – Mega-Schocks halten Wirtschaft, Politik und Märkte in Atem</a:t>
            </a:r>
          </a:p>
          <a:p>
            <a:endParaRPr lang="de-DE" dirty="0"/>
          </a:p>
        </p:txBody>
      </p:sp>
      <p:cxnSp>
        <p:nvCxnSpPr>
          <p:cNvPr id="27" name="Gerader Verbinder 26">
            <a:extLst>
              <a:ext uri="{FF2B5EF4-FFF2-40B4-BE49-F238E27FC236}">
                <a16:creationId xmlns:a16="http://schemas.microsoft.com/office/drawing/2014/main" id="{F453AF78-DB39-3DD7-A55F-A07F0A53DA1E}"/>
              </a:ext>
              <a:ext uri="{C183D7F6-B498-43B3-948B-1728B52AA6E4}">
                <adec:decorative xmlns:adec="http://schemas.microsoft.com/office/drawing/2017/decorative" val="1"/>
              </a:ext>
            </a:extLst>
          </p:cNvPr>
          <p:cNvCxnSpPr>
            <a:cxnSpLocks/>
          </p:cNvCxnSpPr>
          <p:nvPr/>
        </p:nvCxnSpPr>
        <p:spPr>
          <a:xfrm>
            <a:off x="457916" y="1960629"/>
            <a:ext cx="0" cy="372427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535F018E-8AEF-1FED-A6AE-F63E3554BD13}"/>
              </a:ext>
              <a:ext uri="{C183D7F6-B498-43B3-948B-1728B52AA6E4}">
                <adec:decorative xmlns:adec="http://schemas.microsoft.com/office/drawing/2017/decorative" val="1"/>
              </a:ext>
            </a:extLst>
          </p:cNvPr>
          <p:cNvSpPr txBox="1"/>
          <p:nvPr/>
        </p:nvSpPr>
        <p:spPr>
          <a:xfrm>
            <a:off x="727394" y="1918515"/>
            <a:ext cx="752475" cy="338554"/>
          </a:xfrm>
          <a:prstGeom prst="rect">
            <a:avLst/>
          </a:prstGeom>
          <a:noFill/>
        </p:spPr>
        <p:txBody>
          <a:bodyPr wrap="square" rtlCol="0">
            <a:spAutoFit/>
          </a:bodyPr>
          <a:lstStyle/>
          <a:p>
            <a:r>
              <a:rPr lang="de-DE" sz="1600">
                <a:solidFill>
                  <a:schemeClr val="tx1">
                    <a:lumMod val="75000"/>
                    <a:lumOff val="25000"/>
                  </a:schemeClr>
                </a:solidFill>
                <a:ea typeface="Deutsche Bank Text" panose="020B0503020202030204" pitchFamily="34" charset="0"/>
                <a:cs typeface="Deutsche Bank Text" panose="020B0503020202030204" pitchFamily="34" charset="0"/>
              </a:rPr>
              <a:t>2020</a:t>
            </a:r>
          </a:p>
        </p:txBody>
      </p:sp>
      <p:pic>
        <p:nvPicPr>
          <p:cNvPr id="42" name="Picture 282">
            <a:extLst>
              <a:ext uri="{FF2B5EF4-FFF2-40B4-BE49-F238E27FC236}">
                <a16:creationId xmlns:a16="http://schemas.microsoft.com/office/drawing/2014/main" id="{CD5502A6-4C8D-5786-20FF-34DCC1CADCE2}"/>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65278" y="2779449"/>
            <a:ext cx="540000" cy="540000"/>
          </a:xfrm>
          <a:prstGeom prst="rect">
            <a:avLst/>
          </a:prstGeom>
        </p:spPr>
      </p:pic>
      <p:cxnSp>
        <p:nvCxnSpPr>
          <p:cNvPr id="30" name="Gerader Verbinder 29">
            <a:extLst>
              <a:ext uri="{FF2B5EF4-FFF2-40B4-BE49-F238E27FC236}">
                <a16:creationId xmlns:a16="http://schemas.microsoft.com/office/drawing/2014/main" id="{9ADEB907-1E8E-A81B-AEB7-6FD27F9373CE}"/>
              </a:ext>
              <a:ext uri="{C183D7F6-B498-43B3-948B-1728B52AA6E4}">
                <adec:decorative xmlns:adec="http://schemas.microsoft.com/office/drawing/2017/decorative" val="1"/>
              </a:ext>
            </a:extLst>
          </p:cNvPr>
          <p:cNvCxnSpPr>
            <a:cxnSpLocks/>
          </p:cNvCxnSpPr>
          <p:nvPr/>
        </p:nvCxnSpPr>
        <p:spPr>
          <a:xfrm>
            <a:off x="1577770" y="1960629"/>
            <a:ext cx="0" cy="372427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B032E935-2F10-9E2B-49CE-323A5DFBA370}"/>
              </a:ext>
              <a:ext uri="{C183D7F6-B498-43B3-948B-1728B52AA6E4}">
                <adec:decorative xmlns:adec="http://schemas.microsoft.com/office/drawing/2017/decorative" val="1"/>
              </a:ext>
            </a:extLst>
          </p:cNvPr>
          <p:cNvSpPr txBox="1"/>
          <p:nvPr/>
        </p:nvSpPr>
        <p:spPr>
          <a:xfrm>
            <a:off x="1808004" y="1918515"/>
            <a:ext cx="752475" cy="338554"/>
          </a:xfrm>
          <a:prstGeom prst="rect">
            <a:avLst/>
          </a:prstGeom>
          <a:noFill/>
        </p:spPr>
        <p:txBody>
          <a:bodyPr wrap="square" rtlCol="0">
            <a:spAutoFit/>
          </a:bodyPr>
          <a:lstStyle/>
          <a:p>
            <a:r>
              <a:rPr lang="de-DE" sz="1600">
                <a:solidFill>
                  <a:schemeClr val="tx1">
                    <a:lumMod val="75000"/>
                    <a:lumOff val="25000"/>
                  </a:schemeClr>
                </a:solidFill>
                <a:ea typeface="Deutsche Bank Text" panose="020B0503020202030204" pitchFamily="34" charset="0"/>
                <a:cs typeface="Deutsche Bank Text" panose="020B0503020202030204" pitchFamily="34" charset="0"/>
              </a:rPr>
              <a:t>2021</a:t>
            </a:r>
          </a:p>
        </p:txBody>
      </p:sp>
      <p:pic>
        <p:nvPicPr>
          <p:cNvPr id="45" name="Picture 273">
            <a:extLst>
              <a:ext uri="{FF2B5EF4-FFF2-40B4-BE49-F238E27FC236}">
                <a16:creationId xmlns:a16="http://schemas.microsoft.com/office/drawing/2014/main" id="{066F1168-2BBA-E684-DFAB-7BAFD72759A4}"/>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883334" y="2760852"/>
            <a:ext cx="540000" cy="540000"/>
          </a:xfrm>
          <a:prstGeom prst="rect">
            <a:avLst/>
          </a:prstGeom>
        </p:spPr>
      </p:pic>
      <p:cxnSp>
        <p:nvCxnSpPr>
          <p:cNvPr id="28" name="Gerader Verbinder 27">
            <a:extLst>
              <a:ext uri="{FF2B5EF4-FFF2-40B4-BE49-F238E27FC236}">
                <a16:creationId xmlns:a16="http://schemas.microsoft.com/office/drawing/2014/main" id="{B4CA1926-9F5F-0672-A5C5-96641EC38101}"/>
              </a:ext>
              <a:ext uri="{C183D7F6-B498-43B3-948B-1728B52AA6E4}">
                <adec:decorative xmlns:adec="http://schemas.microsoft.com/office/drawing/2017/decorative" val="1"/>
              </a:ext>
            </a:extLst>
          </p:cNvPr>
          <p:cNvCxnSpPr>
            <a:cxnSpLocks/>
          </p:cNvCxnSpPr>
          <p:nvPr/>
        </p:nvCxnSpPr>
        <p:spPr>
          <a:xfrm>
            <a:off x="2697624" y="1960629"/>
            <a:ext cx="0" cy="372427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770AE9C1-DA0B-E2B9-B586-F15EA7C27146}"/>
              </a:ext>
              <a:ext uri="{C183D7F6-B498-43B3-948B-1728B52AA6E4}">
                <adec:decorative xmlns:adec="http://schemas.microsoft.com/office/drawing/2017/decorative" val="1"/>
              </a:ext>
            </a:extLst>
          </p:cNvPr>
          <p:cNvSpPr txBox="1"/>
          <p:nvPr/>
        </p:nvSpPr>
        <p:spPr>
          <a:xfrm>
            <a:off x="2883775" y="1918515"/>
            <a:ext cx="752475" cy="338554"/>
          </a:xfrm>
          <a:prstGeom prst="rect">
            <a:avLst/>
          </a:prstGeom>
          <a:noFill/>
        </p:spPr>
        <p:txBody>
          <a:bodyPr wrap="square" rtlCol="0">
            <a:spAutoFit/>
          </a:bodyPr>
          <a:lstStyle/>
          <a:p>
            <a:r>
              <a:rPr lang="de-DE" sz="1600">
                <a:solidFill>
                  <a:schemeClr val="tx1">
                    <a:lumMod val="75000"/>
                    <a:lumOff val="25000"/>
                  </a:schemeClr>
                </a:solidFill>
                <a:ea typeface="Deutsche Bank Text" panose="020B0503020202030204" pitchFamily="34" charset="0"/>
                <a:cs typeface="Deutsche Bank Text" panose="020B0503020202030204" pitchFamily="34" charset="0"/>
              </a:rPr>
              <a:t>2022</a:t>
            </a:r>
          </a:p>
        </p:txBody>
      </p:sp>
      <p:pic>
        <p:nvPicPr>
          <p:cNvPr id="46" name="Picture 5">
            <a:extLst>
              <a:ext uri="{FF2B5EF4-FFF2-40B4-BE49-F238E27FC236}">
                <a16:creationId xmlns:a16="http://schemas.microsoft.com/office/drawing/2014/main" id="{5E43D316-640C-63EC-8194-9180D12D67D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974191" y="2779449"/>
            <a:ext cx="540000" cy="540000"/>
          </a:xfrm>
          <a:prstGeom prst="rect">
            <a:avLst/>
          </a:prstGeom>
        </p:spPr>
      </p:pic>
      <p:cxnSp>
        <p:nvCxnSpPr>
          <p:cNvPr id="29" name="Gerader Verbinder 28">
            <a:extLst>
              <a:ext uri="{FF2B5EF4-FFF2-40B4-BE49-F238E27FC236}">
                <a16:creationId xmlns:a16="http://schemas.microsoft.com/office/drawing/2014/main" id="{5D6ED39A-79AA-9D2F-871F-C6BBE0291F72}"/>
              </a:ext>
              <a:ext uri="{C183D7F6-B498-43B3-948B-1728B52AA6E4}">
                <adec:decorative xmlns:adec="http://schemas.microsoft.com/office/drawing/2017/decorative" val="1"/>
              </a:ext>
            </a:extLst>
          </p:cNvPr>
          <p:cNvCxnSpPr>
            <a:cxnSpLocks/>
          </p:cNvCxnSpPr>
          <p:nvPr/>
        </p:nvCxnSpPr>
        <p:spPr>
          <a:xfrm>
            <a:off x="3817479" y="1960629"/>
            <a:ext cx="0" cy="372427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5" name="Textfeld 34">
            <a:extLst>
              <a:ext uri="{FF2B5EF4-FFF2-40B4-BE49-F238E27FC236}">
                <a16:creationId xmlns:a16="http://schemas.microsoft.com/office/drawing/2014/main" id="{D5DB0013-C03B-AF54-493D-F9B7CEA55DBA}"/>
              </a:ext>
              <a:ext uri="{C183D7F6-B498-43B3-948B-1728B52AA6E4}">
                <adec:decorative xmlns:adec="http://schemas.microsoft.com/office/drawing/2017/decorative" val="1"/>
              </a:ext>
            </a:extLst>
          </p:cNvPr>
          <p:cNvSpPr txBox="1"/>
          <p:nvPr/>
        </p:nvSpPr>
        <p:spPr>
          <a:xfrm>
            <a:off x="4088369" y="1918515"/>
            <a:ext cx="752475" cy="338554"/>
          </a:xfrm>
          <a:prstGeom prst="rect">
            <a:avLst/>
          </a:prstGeom>
          <a:noFill/>
        </p:spPr>
        <p:txBody>
          <a:bodyPr wrap="square" rtlCol="0">
            <a:spAutoFit/>
          </a:bodyPr>
          <a:lstStyle/>
          <a:p>
            <a:r>
              <a:rPr lang="de-DE" sz="1600">
                <a:solidFill>
                  <a:schemeClr val="tx1">
                    <a:lumMod val="75000"/>
                    <a:lumOff val="25000"/>
                  </a:schemeClr>
                </a:solidFill>
                <a:ea typeface="Deutsche Bank Text" panose="020B0503020202030204" pitchFamily="34" charset="0"/>
                <a:cs typeface="Deutsche Bank Text" panose="020B0503020202030204" pitchFamily="34" charset="0"/>
              </a:rPr>
              <a:t>2023</a:t>
            </a:r>
          </a:p>
        </p:txBody>
      </p:sp>
      <p:pic>
        <p:nvPicPr>
          <p:cNvPr id="43" name="Picture 281">
            <a:extLst>
              <a:ext uri="{FF2B5EF4-FFF2-40B4-BE49-F238E27FC236}">
                <a16:creationId xmlns:a16="http://schemas.microsoft.com/office/drawing/2014/main" id="{867EED8D-0A4F-7DB8-56E4-2643875B2EB6}"/>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109269" y="2769607"/>
            <a:ext cx="540000" cy="540000"/>
          </a:xfrm>
          <a:prstGeom prst="rect">
            <a:avLst/>
          </a:prstGeom>
        </p:spPr>
      </p:pic>
      <p:cxnSp>
        <p:nvCxnSpPr>
          <p:cNvPr id="31" name="Gerader Verbinder 30">
            <a:extLst>
              <a:ext uri="{FF2B5EF4-FFF2-40B4-BE49-F238E27FC236}">
                <a16:creationId xmlns:a16="http://schemas.microsoft.com/office/drawing/2014/main" id="{257F0298-4F53-64E0-3C79-933ADDCF5E78}"/>
              </a:ext>
              <a:ext uri="{C183D7F6-B498-43B3-948B-1728B52AA6E4}">
                <adec:decorative xmlns:adec="http://schemas.microsoft.com/office/drawing/2017/decorative" val="1"/>
              </a:ext>
            </a:extLst>
          </p:cNvPr>
          <p:cNvCxnSpPr>
            <a:cxnSpLocks/>
          </p:cNvCxnSpPr>
          <p:nvPr/>
        </p:nvCxnSpPr>
        <p:spPr>
          <a:xfrm>
            <a:off x="4937333" y="1960629"/>
            <a:ext cx="0" cy="372427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3D286D2F-AA09-634C-90FC-C7774F449BC8}"/>
              </a:ext>
              <a:ext uri="{C183D7F6-B498-43B3-948B-1728B52AA6E4}">
                <adec:decorative xmlns:adec="http://schemas.microsoft.com/office/drawing/2017/decorative" val="1"/>
              </a:ext>
            </a:extLst>
          </p:cNvPr>
          <p:cNvSpPr txBox="1"/>
          <p:nvPr/>
        </p:nvSpPr>
        <p:spPr>
          <a:xfrm>
            <a:off x="5159932" y="1918515"/>
            <a:ext cx="752475" cy="338554"/>
          </a:xfrm>
          <a:prstGeom prst="rect">
            <a:avLst/>
          </a:prstGeom>
          <a:noFill/>
        </p:spPr>
        <p:txBody>
          <a:bodyPr wrap="square" rtlCol="0">
            <a:spAutoFit/>
          </a:bodyPr>
          <a:lstStyle/>
          <a:p>
            <a:r>
              <a:rPr lang="de-DE" sz="1600">
                <a:solidFill>
                  <a:schemeClr val="tx1">
                    <a:lumMod val="75000"/>
                    <a:lumOff val="25000"/>
                  </a:schemeClr>
                </a:solidFill>
                <a:ea typeface="Deutsche Bank Text" panose="020B0503020202030204" pitchFamily="34" charset="0"/>
                <a:cs typeface="Deutsche Bank Text" panose="020B0503020202030204" pitchFamily="34" charset="0"/>
              </a:rPr>
              <a:t>2024</a:t>
            </a:r>
          </a:p>
        </p:txBody>
      </p:sp>
      <p:pic>
        <p:nvPicPr>
          <p:cNvPr id="44" name="Picture 13">
            <a:extLst>
              <a:ext uri="{FF2B5EF4-FFF2-40B4-BE49-F238E27FC236}">
                <a16:creationId xmlns:a16="http://schemas.microsoft.com/office/drawing/2014/main" id="{F42E57DC-D663-C839-D625-B6F70158D7EE}"/>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5207670" y="2768679"/>
            <a:ext cx="540000" cy="540000"/>
          </a:xfrm>
          <a:prstGeom prst="rect">
            <a:avLst/>
          </a:prstGeom>
        </p:spPr>
      </p:pic>
      <p:cxnSp>
        <p:nvCxnSpPr>
          <p:cNvPr id="26" name="Gerader Verbinder 25">
            <a:extLst>
              <a:ext uri="{FF2B5EF4-FFF2-40B4-BE49-F238E27FC236}">
                <a16:creationId xmlns:a16="http://schemas.microsoft.com/office/drawing/2014/main" id="{E98CD2D9-A937-AEBA-93A9-5DF1BCD9BFCC}"/>
              </a:ext>
              <a:ext uri="{C183D7F6-B498-43B3-948B-1728B52AA6E4}">
                <adec:decorative xmlns:adec="http://schemas.microsoft.com/office/drawing/2017/decorative" val="1"/>
              </a:ext>
            </a:extLst>
          </p:cNvPr>
          <p:cNvCxnSpPr>
            <a:cxnSpLocks/>
          </p:cNvCxnSpPr>
          <p:nvPr/>
        </p:nvCxnSpPr>
        <p:spPr>
          <a:xfrm>
            <a:off x="6057187" y="1960629"/>
            <a:ext cx="0" cy="3724275"/>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 name="Diagramm 24">
            <a:extLst>
              <a:ext uri="{FF2B5EF4-FFF2-40B4-BE49-F238E27FC236}">
                <a16:creationId xmlns:a16="http://schemas.microsoft.com/office/drawing/2014/main" id="{215E2406-2976-F967-427F-8F31D2083E79}"/>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570768312"/>
              </p:ext>
            </p:extLst>
          </p:nvPr>
        </p:nvGraphicFramePr>
        <p:xfrm>
          <a:off x="-111833" y="2700199"/>
          <a:ext cx="6400800" cy="3557717"/>
        </p:xfrm>
        <a:graphic>
          <a:graphicData uri="http://schemas.openxmlformats.org/drawingml/2006/chart">
            <c:chart xmlns:c="http://schemas.openxmlformats.org/drawingml/2006/chart" xmlns:r="http://schemas.openxmlformats.org/officeDocument/2006/relationships" r:id="rId12"/>
          </a:graphicData>
        </a:graphic>
      </p:graphicFrame>
      <p:sp>
        <p:nvSpPr>
          <p:cNvPr id="21" name="Textfeld 20">
            <a:extLst>
              <a:ext uri="{FF2B5EF4-FFF2-40B4-BE49-F238E27FC236}">
                <a16:creationId xmlns:a16="http://schemas.microsoft.com/office/drawing/2014/main" id="{06426BC1-B4C6-7C7E-09BD-B3A5F8FC10CC}"/>
              </a:ext>
              <a:ext uri="{C183D7F6-B498-43B3-948B-1728B52AA6E4}">
                <adec:decorative xmlns:adec="http://schemas.microsoft.com/office/drawing/2017/decorative" val="1"/>
              </a:ext>
            </a:extLst>
          </p:cNvPr>
          <p:cNvSpPr txBox="1"/>
          <p:nvPr/>
        </p:nvSpPr>
        <p:spPr>
          <a:xfrm>
            <a:off x="8128652" y="1930846"/>
            <a:ext cx="1568133" cy="338554"/>
          </a:xfrm>
          <a:prstGeom prst="rect">
            <a:avLst/>
          </a:prstGeom>
          <a:noFill/>
        </p:spPr>
        <p:txBody>
          <a:bodyPr wrap="square" rtlCol="0">
            <a:spAutoFit/>
          </a:bodyPr>
          <a:lstStyle/>
          <a:p>
            <a:r>
              <a:rPr lang="de-DE" sz="1600">
                <a:solidFill>
                  <a:schemeClr val="tx1">
                    <a:lumMod val="75000"/>
                    <a:lumOff val="25000"/>
                  </a:schemeClr>
                </a:solidFill>
                <a:ea typeface="Deutsche Bank Text" panose="020B0503020202030204" pitchFamily="34" charset="0"/>
                <a:cs typeface="Deutsche Bank Text" panose="020B0503020202030204" pitchFamily="34" charset="0"/>
              </a:rPr>
              <a:t>2025 - 2030</a:t>
            </a:r>
          </a:p>
        </p:txBody>
      </p:sp>
      <p:pic>
        <p:nvPicPr>
          <p:cNvPr id="23" name="Graphic 3">
            <a:extLst>
              <a:ext uri="{FF2B5EF4-FFF2-40B4-BE49-F238E27FC236}">
                <a16:creationId xmlns:a16="http://schemas.microsoft.com/office/drawing/2014/main" id="{89171B92-93A2-AF77-3876-A936AC20CFD3}"/>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50566" y="2493225"/>
            <a:ext cx="914400" cy="591670"/>
          </a:xfrm>
          <a:prstGeom prst="rect">
            <a:avLst/>
          </a:prstGeom>
          <a:effectLst>
            <a:outerShdw blurRad="50800" dist="38100" dir="2700000" algn="tl" rotWithShape="0">
              <a:prstClr val="black">
                <a:alpha val="40000"/>
              </a:prstClr>
            </a:outerShdw>
          </a:effectLst>
        </p:spPr>
      </p:pic>
      <p:pic>
        <p:nvPicPr>
          <p:cNvPr id="24" name="Graphic 91">
            <a:extLst>
              <a:ext uri="{FF2B5EF4-FFF2-40B4-BE49-F238E27FC236}">
                <a16:creationId xmlns:a16="http://schemas.microsoft.com/office/drawing/2014/main" id="{D3A985A5-615C-39AF-C891-00CAF0BB0362}"/>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222393" y="2483614"/>
            <a:ext cx="914400" cy="591670"/>
          </a:xfrm>
          <a:prstGeom prst="rect">
            <a:avLst/>
          </a:prstGeom>
          <a:effectLst>
            <a:outerShdw blurRad="50800" dist="38100" dir="2700000" algn="tl" rotWithShape="0">
              <a:prstClr val="black">
                <a:alpha val="40000"/>
              </a:prstClr>
            </a:outerShdw>
          </a:effectLst>
        </p:spPr>
      </p:pic>
      <p:pic>
        <p:nvPicPr>
          <p:cNvPr id="19" name="Grafik 18">
            <a:extLst>
              <a:ext uri="{FF2B5EF4-FFF2-40B4-BE49-F238E27FC236}">
                <a16:creationId xmlns:a16="http://schemas.microsoft.com/office/drawing/2014/main" id="{59E21E8B-1DDE-7934-B9F0-22FA08D63D27}"/>
              </a:ext>
              <a:ext uri="{C183D7F6-B498-43B3-948B-1728B52AA6E4}">
                <adec:decorative xmlns:adec="http://schemas.microsoft.com/office/drawing/2017/decorative" val="1"/>
              </a:ext>
            </a:extLst>
          </p:cNvPr>
          <p:cNvPicPr>
            <a:picLocks noChangeAspect="1"/>
          </p:cNvPicPr>
          <p:nvPr/>
        </p:nvPicPr>
        <p:blipFill>
          <a:blip r:embed="rId17"/>
          <a:stretch>
            <a:fillRect/>
          </a:stretch>
        </p:blipFill>
        <p:spPr>
          <a:xfrm>
            <a:off x="10430171" y="2512012"/>
            <a:ext cx="933628" cy="1003395"/>
          </a:xfrm>
          <a:prstGeom prst="rect">
            <a:avLst/>
          </a:prstGeom>
        </p:spPr>
      </p:pic>
      <p:pic>
        <p:nvPicPr>
          <p:cNvPr id="20" name="Grafik 19">
            <a:extLst>
              <a:ext uri="{FF2B5EF4-FFF2-40B4-BE49-F238E27FC236}">
                <a16:creationId xmlns:a16="http://schemas.microsoft.com/office/drawing/2014/main" id="{35C27BA5-23D9-BA18-1828-1687399CADAA}"/>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6659846" y="3109468"/>
            <a:ext cx="875253" cy="1369590"/>
          </a:xfrm>
          <a:prstGeom prst="rect">
            <a:avLst/>
          </a:prstGeom>
        </p:spPr>
      </p:pic>
      <p:sp>
        <p:nvSpPr>
          <p:cNvPr id="17" name="Textfeld 16">
            <a:extLst>
              <a:ext uri="{FF2B5EF4-FFF2-40B4-BE49-F238E27FC236}">
                <a16:creationId xmlns:a16="http://schemas.microsoft.com/office/drawing/2014/main" id="{EEF36FD5-B249-DF66-BE01-A3F043CD961F}"/>
              </a:ext>
              <a:ext uri="{C183D7F6-B498-43B3-948B-1728B52AA6E4}">
                <adec:decorative xmlns:adec="http://schemas.microsoft.com/office/drawing/2017/decorative" val="1"/>
              </a:ext>
            </a:extLst>
          </p:cNvPr>
          <p:cNvSpPr txBox="1"/>
          <p:nvPr/>
        </p:nvSpPr>
        <p:spPr>
          <a:xfrm>
            <a:off x="6514274" y="4605398"/>
            <a:ext cx="2092422" cy="1200329"/>
          </a:xfrm>
          <a:prstGeom prst="rect">
            <a:avLst/>
          </a:prstGeom>
          <a:noFill/>
        </p:spPr>
        <p:txBody>
          <a:bodyPr wrap="square" rtlCol="0">
            <a:spAutoFit/>
          </a:bodyPr>
          <a:lstStyle/>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Demographie &amp; Wohlstand</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Gesundheit</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Konsumtrends</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Technologie / Big Data / KI</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Zinsregime &amp; Finanzmärkte</a:t>
            </a:r>
          </a:p>
          <a:p>
            <a:endParaRPr lang="de-DE" sz="1200">
              <a:solidFill>
                <a:schemeClr val="tx1">
                  <a:lumMod val="75000"/>
                  <a:lumOff val="25000"/>
                </a:schemeClr>
              </a:solidFill>
              <a:ea typeface="Deutsche Bank Text" panose="020B0503020202030204" pitchFamily="34" charset="0"/>
              <a:cs typeface="Deutsche Bank Text" panose="020B0503020202030204" pitchFamily="34" charset="0"/>
            </a:endParaRPr>
          </a:p>
        </p:txBody>
      </p:sp>
      <p:pic>
        <p:nvPicPr>
          <p:cNvPr id="18" name="Grafik 17">
            <a:extLst>
              <a:ext uri="{FF2B5EF4-FFF2-40B4-BE49-F238E27FC236}">
                <a16:creationId xmlns:a16="http://schemas.microsoft.com/office/drawing/2014/main" id="{D142D0FF-6A71-7CBC-B117-9D5FDC94493A}"/>
              </a:ext>
              <a:ext uri="{C183D7F6-B498-43B3-948B-1728B52AA6E4}">
                <adec:decorative xmlns:adec="http://schemas.microsoft.com/office/drawing/2017/decorative" val="1"/>
              </a:ext>
            </a:extLst>
          </p:cNvPr>
          <p:cNvPicPr>
            <a:picLocks noChangeAspect="1"/>
          </p:cNvPicPr>
          <p:nvPr/>
        </p:nvPicPr>
        <p:blipFill>
          <a:blip r:embed="rId19"/>
          <a:stretch>
            <a:fillRect/>
          </a:stretch>
        </p:blipFill>
        <p:spPr>
          <a:xfrm>
            <a:off x="8963354" y="3282366"/>
            <a:ext cx="1387963" cy="1042057"/>
          </a:xfrm>
          <a:prstGeom prst="rect">
            <a:avLst/>
          </a:prstGeom>
        </p:spPr>
      </p:pic>
      <p:sp>
        <p:nvSpPr>
          <p:cNvPr id="22" name="Textfeld 26">
            <a:extLst>
              <a:ext uri="{FF2B5EF4-FFF2-40B4-BE49-F238E27FC236}">
                <a16:creationId xmlns:a16="http://schemas.microsoft.com/office/drawing/2014/main" id="{5AD58D42-E4B3-224A-4E24-C0010BE24D71}"/>
              </a:ext>
              <a:ext uri="{C183D7F6-B498-43B3-948B-1728B52AA6E4}">
                <adec:decorative xmlns:adec="http://schemas.microsoft.com/office/drawing/2017/decorative" val="1"/>
              </a:ext>
            </a:extLst>
          </p:cNvPr>
          <p:cNvSpPr txBox="1"/>
          <p:nvPr/>
        </p:nvSpPr>
        <p:spPr>
          <a:xfrm>
            <a:off x="8794150" y="4605398"/>
            <a:ext cx="2291723" cy="1200329"/>
          </a:xfrm>
          <a:prstGeom prst="rect">
            <a:avLst/>
          </a:prstGeom>
          <a:noFill/>
        </p:spPr>
        <p:txBody>
          <a:bodyPr wrap="square" rtlCol="0">
            <a:spAutoFit/>
          </a:bodyPr>
          <a:lstStyle/>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China / Indien / Nigeria</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USA / China / Europa</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Handelskonflikt</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Technologiekonflikt</a:t>
            </a:r>
          </a:p>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Unbekannte Unbekannte</a:t>
            </a:r>
          </a:p>
          <a:p>
            <a:endParaRPr lang="de-DE" sz="1200">
              <a:solidFill>
                <a:schemeClr val="tx1">
                  <a:lumMod val="75000"/>
                  <a:lumOff val="25000"/>
                </a:schemeClr>
              </a:solidFill>
              <a:ea typeface="Deutsche Bank Text" panose="020B0503020202030204" pitchFamily="34" charset="0"/>
              <a:cs typeface="Deutsche Bank Text" panose="020B0503020202030204" pitchFamily="34" charset="0"/>
            </a:endParaRPr>
          </a:p>
        </p:txBody>
      </p:sp>
      <p:sp>
        <p:nvSpPr>
          <p:cNvPr id="37" name="Textfeld 36">
            <a:extLst>
              <a:ext uri="{FF2B5EF4-FFF2-40B4-BE49-F238E27FC236}">
                <a16:creationId xmlns:a16="http://schemas.microsoft.com/office/drawing/2014/main" id="{9C5525BA-5E64-4E09-FE54-F3206E9A21E4}"/>
              </a:ext>
              <a:ext uri="{C183D7F6-B498-43B3-948B-1728B52AA6E4}">
                <adec:decorative xmlns:adec="http://schemas.microsoft.com/office/drawing/2017/decorative" val="1"/>
              </a:ext>
            </a:extLst>
          </p:cNvPr>
          <p:cNvSpPr txBox="1"/>
          <p:nvPr/>
        </p:nvSpPr>
        <p:spPr>
          <a:xfrm>
            <a:off x="595062" y="2403010"/>
            <a:ext cx="938724" cy="276999"/>
          </a:xfrm>
          <a:prstGeom prst="rect">
            <a:avLst/>
          </a:prstGeom>
          <a:noFill/>
        </p:spPr>
        <p:txBody>
          <a:bodyPr wrap="square" rtlCol="0">
            <a:spAutoFit/>
          </a:bodyPr>
          <a:lstStyle/>
          <a:p>
            <a:r>
              <a:rPr lang="de-DE" sz="1200" dirty="0">
                <a:solidFill>
                  <a:schemeClr val="tx1">
                    <a:lumMod val="75000"/>
                    <a:lumOff val="25000"/>
                  </a:schemeClr>
                </a:solidFill>
                <a:ea typeface="Deutsche Bank Text" panose="020B0503020202030204" pitchFamily="34" charset="0"/>
                <a:cs typeface="Deutsche Bank Text" panose="020B0503020202030204" pitchFamily="34" charset="0"/>
              </a:rPr>
              <a:t>Pandemie</a:t>
            </a:r>
          </a:p>
        </p:txBody>
      </p:sp>
      <p:sp>
        <p:nvSpPr>
          <p:cNvPr id="38" name="Textfeld 37">
            <a:extLst>
              <a:ext uri="{FF2B5EF4-FFF2-40B4-BE49-F238E27FC236}">
                <a16:creationId xmlns:a16="http://schemas.microsoft.com/office/drawing/2014/main" id="{35D0978C-5A0D-4B3A-DBE7-4C7C9132D908}"/>
              </a:ext>
              <a:ext uri="{C183D7F6-B498-43B3-948B-1728B52AA6E4}">
                <adec:decorative xmlns:adec="http://schemas.microsoft.com/office/drawing/2017/decorative" val="1"/>
              </a:ext>
            </a:extLst>
          </p:cNvPr>
          <p:cNvSpPr txBox="1"/>
          <p:nvPr/>
        </p:nvSpPr>
        <p:spPr>
          <a:xfrm>
            <a:off x="1750793" y="2403010"/>
            <a:ext cx="877450" cy="276999"/>
          </a:xfrm>
          <a:prstGeom prst="rect">
            <a:avLst/>
          </a:prstGeom>
          <a:noFill/>
        </p:spPr>
        <p:txBody>
          <a:bodyPr wrap="square" rtlCol="0">
            <a:spAutoFit/>
          </a:bodyPr>
          <a:lstStyle/>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Impfstoff</a:t>
            </a:r>
          </a:p>
        </p:txBody>
      </p:sp>
      <p:sp>
        <p:nvSpPr>
          <p:cNvPr id="39" name="Textfeld 38">
            <a:extLst>
              <a:ext uri="{FF2B5EF4-FFF2-40B4-BE49-F238E27FC236}">
                <a16:creationId xmlns:a16="http://schemas.microsoft.com/office/drawing/2014/main" id="{5E1DDAF1-E66F-101A-AEFE-B4BD1911E615}"/>
              </a:ext>
              <a:ext uri="{C183D7F6-B498-43B3-948B-1728B52AA6E4}">
                <adec:decorative xmlns:adec="http://schemas.microsoft.com/office/drawing/2017/decorative" val="1"/>
              </a:ext>
            </a:extLst>
          </p:cNvPr>
          <p:cNvSpPr txBox="1"/>
          <p:nvPr/>
        </p:nvSpPr>
        <p:spPr>
          <a:xfrm>
            <a:off x="2794114" y="2310677"/>
            <a:ext cx="1123160" cy="461665"/>
          </a:xfrm>
          <a:prstGeom prst="rect">
            <a:avLst/>
          </a:prstGeom>
          <a:noFill/>
        </p:spPr>
        <p:txBody>
          <a:bodyPr wrap="square" rtlCol="0">
            <a:spAutoFit/>
          </a:bodyPr>
          <a:lstStyle/>
          <a:p>
            <a:r>
              <a:rPr lang="de-DE" sz="1200" dirty="0">
                <a:solidFill>
                  <a:schemeClr val="tx1">
                    <a:lumMod val="75000"/>
                    <a:lumOff val="25000"/>
                  </a:schemeClr>
                </a:solidFill>
                <a:ea typeface="Deutsche Bank Text" panose="020B0503020202030204" pitchFamily="34" charset="0"/>
                <a:cs typeface="Deutsche Bank Text" panose="020B0503020202030204" pitchFamily="34" charset="0"/>
              </a:rPr>
              <a:t>Geopolitik/ Energiekrise</a:t>
            </a:r>
          </a:p>
        </p:txBody>
      </p:sp>
      <p:sp>
        <p:nvSpPr>
          <p:cNvPr id="40" name="Textfeld 39">
            <a:extLst>
              <a:ext uri="{FF2B5EF4-FFF2-40B4-BE49-F238E27FC236}">
                <a16:creationId xmlns:a16="http://schemas.microsoft.com/office/drawing/2014/main" id="{747B4625-3346-2B8C-C5E5-206CE1BE11ED}"/>
              </a:ext>
              <a:ext uri="{C183D7F6-B498-43B3-948B-1728B52AA6E4}">
                <adec:decorative xmlns:adec="http://schemas.microsoft.com/office/drawing/2017/decorative" val="1"/>
              </a:ext>
            </a:extLst>
          </p:cNvPr>
          <p:cNvSpPr txBox="1"/>
          <p:nvPr/>
        </p:nvSpPr>
        <p:spPr>
          <a:xfrm>
            <a:off x="3926539" y="2310677"/>
            <a:ext cx="1214669" cy="461665"/>
          </a:xfrm>
          <a:prstGeom prst="rect">
            <a:avLst/>
          </a:prstGeom>
          <a:noFill/>
        </p:spPr>
        <p:txBody>
          <a:bodyPr wrap="square" rtlCol="0">
            <a:spAutoFit/>
          </a:bodyPr>
          <a:lstStyle/>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Künstliche Intelligenz</a:t>
            </a:r>
          </a:p>
        </p:txBody>
      </p:sp>
      <p:sp>
        <p:nvSpPr>
          <p:cNvPr id="41" name="Textfeld 40">
            <a:extLst>
              <a:ext uri="{FF2B5EF4-FFF2-40B4-BE49-F238E27FC236}">
                <a16:creationId xmlns:a16="http://schemas.microsoft.com/office/drawing/2014/main" id="{4CBF24C5-5948-FBB2-73CA-B4446A2621D7}"/>
              </a:ext>
              <a:ext uri="{C183D7F6-B498-43B3-948B-1728B52AA6E4}">
                <adec:decorative xmlns:adec="http://schemas.microsoft.com/office/drawing/2017/decorative" val="1"/>
              </a:ext>
            </a:extLst>
          </p:cNvPr>
          <p:cNvSpPr txBox="1"/>
          <p:nvPr/>
        </p:nvSpPr>
        <p:spPr>
          <a:xfrm>
            <a:off x="5189062" y="2403010"/>
            <a:ext cx="752475" cy="276999"/>
          </a:xfrm>
          <a:prstGeom prst="rect">
            <a:avLst/>
          </a:prstGeom>
          <a:noFill/>
        </p:spPr>
        <p:txBody>
          <a:bodyPr wrap="square" rtlCol="0">
            <a:spAutoFit/>
          </a:bodyPr>
          <a:lstStyle/>
          <a:p>
            <a:r>
              <a:rPr lang="de-DE" sz="1200">
                <a:solidFill>
                  <a:schemeClr val="tx1">
                    <a:lumMod val="75000"/>
                    <a:lumOff val="25000"/>
                  </a:schemeClr>
                </a:solidFill>
                <a:ea typeface="Deutsche Bank Text" panose="020B0503020202030204" pitchFamily="34" charset="0"/>
                <a:cs typeface="Deutsche Bank Text" panose="020B0503020202030204" pitchFamily="34" charset="0"/>
              </a:rPr>
              <a:t>Politik</a:t>
            </a:r>
          </a:p>
        </p:txBody>
      </p:sp>
      <p:sp>
        <p:nvSpPr>
          <p:cNvPr id="15" name="Inhaltsplatzhalter 14">
            <a:extLst>
              <a:ext uri="{FF2B5EF4-FFF2-40B4-BE49-F238E27FC236}">
                <a16:creationId xmlns:a16="http://schemas.microsoft.com/office/drawing/2014/main" id="{8B5A2A82-ABFF-2937-F976-95942726A15E}"/>
              </a:ext>
              <a:ext uri="{C183D7F6-B498-43B3-948B-1728B52AA6E4}">
                <adec:decorative xmlns:adec="http://schemas.microsoft.com/office/drawing/2017/decorative" val="1"/>
              </a:ext>
            </a:extLst>
          </p:cNvPr>
          <p:cNvSpPr>
            <a:spLocks noGrp="1"/>
          </p:cNvSpPr>
          <p:nvPr>
            <p:ph sz="quarter" idx="13"/>
          </p:nvPr>
        </p:nvSpPr>
        <p:spPr/>
        <p:txBody>
          <a:bodyPr/>
          <a:lstStyle/>
          <a:p>
            <a:r>
              <a:rPr lang="de-DE"/>
              <a:t>Quelle: LSEG Datastream, Deutsche Bank AG. Stand: 26.11.2024.</a:t>
            </a:r>
          </a:p>
        </p:txBody>
      </p:sp>
      <p:cxnSp>
        <p:nvCxnSpPr>
          <p:cNvPr id="16" name="Gerader Verbinder 15">
            <a:extLst>
              <a:ext uri="{FF2B5EF4-FFF2-40B4-BE49-F238E27FC236}">
                <a16:creationId xmlns:a16="http://schemas.microsoft.com/office/drawing/2014/main" id="{B97AD534-5CE1-D4F6-EDD6-87B055FB1CD6}"/>
              </a:ext>
              <a:ext uri="{C183D7F6-B498-43B3-948B-1728B52AA6E4}">
                <adec:decorative xmlns:adec="http://schemas.microsoft.com/office/drawing/2017/decorative" val="1"/>
              </a:ext>
            </a:extLst>
          </p:cNvPr>
          <p:cNvCxnSpPr>
            <a:cxnSpLocks/>
          </p:cNvCxnSpPr>
          <p:nvPr/>
        </p:nvCxnSpPr>
        <p:spPr>
          <a:xfrm>
            <a:off x="11749200" y="1960629"/>
            <a:ext cx="0" cy="372427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3">
            <a:extLst>
              <a:ext uri="{FF2B5EF4-FFF2-40B4-BE49-F238E27FC236}">
                <a16:creationId xmlns:a16="http://schemas.microsoft.com/office/drawing/2014/main" id="{6C94BCD9-BBF3-6130-4176-C52308B4923B}"/>
              </a:ext>
              <a:ext uri="{C183D7F6-B498-43B3-948B-1728B52AA6E4}">
                <adec:decorative xmlns:adec="http://schemas.microsoft.com/office/drawing/2017/decorative" val="1"/>
              </a:ext>
            </a:extLst>
          </p:cNvPr>
          <p:cNvSpPr>
            <a:spLocks noGrp="1"/>
          </p:cNvSpPr>
          <p:nvPr>
            <p:ph type="sldNum" sz="quarter" idx="4"/>
          </p:nvPr>
        </p:nvSpPr>
        <p:spPr>
          <a:xfrm>
            <a:off x="11281088" y="6416675"/>
            <a:ext cx="468000" cy="144000"/>
          </a:xfrm>
        </p:spPr>
        <p:txBody>
          <a:bodyPr/>
          <a:lstStyle/>
          <a:p>
            <a:fld id="{D71DA9FD-6EF8-4CC5-AF9B-B6159B5B937C}" type="slidenum">
              <a:rPr lang="de-DE" noProof="1" smtClean="0"/>
              <a:pPr/>
              <a:t>3</a:t>
            </a:fld>
            <a:endParaRPr lang="de-DE" noProof="1"/>
          </a:p>
        </p:txBody>
      </p:sp>
    </p:spTree>
    <p:extLst>
      <p:ext uri="{BB962C8B-B14F-4D97-AF65-F5344CB8AC3E}">
        <p14:creationId xmlns:p14="http://schemas.microsoft.com/office/powerpoint/2010/main" val="472964284"/>
      </p:ext>
    </p:extLst>
  </p:cSld>
  <p:clrMapOvr>
    <a:masterClrMapping/>
  </p:clrMapOvr>
  <p:transition>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3678488A-34B0-BBD5-4293-F84C3AA69E6A}"/>
              </a:ext>
              <a:ext uri="{C183D7F6-B498-43B3-948B-1728B52AA6E4}">
                <adec:decorative xmlns:adec="http://schemas.microsoft.com/office/drawing/2017/decorative" val="1"/>
              </a:ext>
            </a:extLst>
          </p:cNvPr>
          <p:cNvSpPr/>
          <p:nvPr/>
        </p:nvSpPr>
        <p:spPr bwMode="auto">
          <a:xfrm>
            <a:off x="442912" y="1107440"/>
            <a:ext cx="11304000" cy="4824412"/>
          </a:xfrm>
          <a:prstGeom prst="rect">
            <a:avLst/>
          </a:prstGeom>
          <a:solidFill>
            <a:srgbClr val="E1F5FA"/>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err="1">
              <a:solidFill>
                <a:srgbClr val="FFFFFF"/>
              </a:solidFill>
              <a:latin typeface="+mn-lt"/>
            </a:endParaRPr>
          </a:p>
        </p:txBody>
      </p:sp>
      <p:sp>
        <p:nvSpPr>
          <p:cNvPr id="9" name="Titel 8">
            <a:extLst>
              <a:ext uri="{FF2B5EF4-FFF2-40B4-BE49-F238E27FC236}">
                <a16:creationId xmlns:a16="http://schemas.microsoft.com/office/drawing/2014/main" id="{10CDA902-C5A3-9621-4FDE-14285B6865F8}"/>
              </a:ext>
            </a:extLst>
          </p:cNvPr>
          <p:cNvSpPr>
            <a:spLocks noGrp="1"/>
          </p:cNvSpPr>
          <p:nvPr>
            <p:ph type="title"/>
          </p:nvPr>
        </p:nvSpPr>
        <p:spPr/>
        <p:txBody>
          <a:bodyPr/>
          <a:lstStyle/>
          <a:p>
            <a:r>
              <a:rPr lang="de-DE"/>
              <a:t>Ausblick 2025 – Investieren, um zu wachsen</a:t>
            </a:r>
          </a:p>
        </p:txBody>
      </p:sp>
      <p:sp>
        <p:nvSpPr>
          <p:cNvPr id="10" name="Textplatzhalter 9">
            <a:extLst>
              <a:ext uri="{FF2B5EF4-FFF2-40B4-BE49-F238E27FC236}">
                <a16:creationId xmlns:a16="http://schemas.microsoft.com/office/drawing/2014/main" id="{BE86FF3C-599C-165C-CF47-891396101D8E}"/>
              </a:ext>
            </a:extLst>
          </p:cNvPr>
          <p:cNvSpPr>
            <a:spLocks noGrp="1"/>
          </p:cNvSpPr>
          <p:nvPr>
            <p:ph type="body" sz="quarter" idx="23"/>
          </p:nvPr>
        </p:nvSpPr>
        <p:spPr/>
        <p:txBody>
          <a:bodyPr wrap="square" lIns="180000" numCol="1"/>
          <a:lstStyle/>
          <a:p>
            <a:r>
              <a:rPr lang="de-DE"/>
              <a:t>Volkswirtschaft – Produktivität dank künstlicher Intelligenz </a:t>
            </a:r>
          </a:p>
          <a:p>
            <a:r>
              <a:rPr lang="de-DE"/>
              <a:t>Wirtschaftspolitik – Niemand will Austerität</a:t>
            </a:r>
          </a:p>
          <a:p>
            <a:r>
              <a:rPr lang="de-DE"/>
              <a:t>Anleihen – Die Rückkehr der Prämie</a:t>
            </a:r>
          </a:p>
          <a:p>
            <a:r>
              <a:rPr lang="de-DE"/>
              <a:t>Dollar – Starke Wirtschaft, starke Währung </a:t>
            </a:r>
          </a:p>
          <a:p>
            <a:r>
              <a:rPr lang="de-DE"/>
              <a:t>Aktien – Der Schlüssel zum Erfolg</a:t>
            </a:r>
          </a:p>
          <a:p>
            <a:r>
              <a:rPr lang="de-DE"/>
              <a:t>Aktien – Gravitationszentrum USA</a:t>
            </a:r>
          </a:p>
          <a:p>
            <a:r>
              <a:rPr lang="de-DE"/>
              <a:t>Aktien – Von wegen Buddenbrooks</a:t>
            </a:r>
          </a:p>
          <a:p>
            <a:r>
              <a:rPr lang="de-DE"/>
              <a:t>Rohstoffe – Die Zukunft ist elektrisch </a:t>
            </a:r>
          </a:p>
          <a:p>
            <a:r>
              <a:rPr lang="de-DE"/>
              <a:t>Alternative Anlagen – Reale Werte </a:t>
            </a:r>
          </a:p>
          <a:p>
            <a:r>
              <a:rPr lang="de-DE"/>
              <a:t>Risiko – Zyklus, Zins &amp; Zölle</a:t>
            </a:r>
          </a:p>
        </p:txBody>
      </p:sp>
      <p:sp>
        <p:nvSpPr>
          <p:cNvPr id="5" name="Foliennummernplatzhalter 4">
            <a:extLst>
              <a:ext uri="{FF2B5EF4-FFF2-40B4-BE49-F238E27FC236}">
                <a16:creationId xmlns:a16="http://schemas.microsoft.com/office/drawing/2014/main" id="{974CBED0-76E5-1354-E532-B9AC4ADE7D4F}"/>
              </a:ext>
            </a:extLst>
          </p:cNvPr>
          <p:cNvSpPr>
            <a:spLocks noGrp="1"/>
          </p:cNvSpPr>
          <p:nvPr>
            <p:ph type="sldNum" sz="quarter" idx="4"/>
          </p:nvPr>
        </p:nvSpPr>
        <p:spPr/>
        <p:txBody>
          <a:bodyPr/>
          <a:lstStyle/>
          <a:p>
            <a:fld id="{D71DA9FD-6EF8-4CC5-AF9B-B6159B5B937C}" type="slidenum">
              <a:rPr lang="en-GB" noProof="1" smtClean="0"/>
              <a:pPr/>
              <a:t>30</a:t>
            </a:fld>
            <a:endParaRPr lang="en-GB" noProof="1"/>
          </a:p>
        </p:txBody>
      </p:sp>
    </p:spTree>
    <p:extLst>
      <p:ext uri="{BB962C8B-B14F-4D97-AF65-F5344CB8AC3E}">
        <p14:creationId xmlns:p14="http://schemas.microsoft.com/office/powerpoint/2010/main" val="1406306525"/>
      </p:ext>
    </p:extLst>
  </p:cSld>
  <p:clrMapOvr>
    <a:masterClrMapping/>
  </p:clrMapOvr>
  <p:transition>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AB25120-60FD-A907-3621-BCC5FA72A579}"/>
              </a:ext>
            </a:extLst>
          </p:cNvPr>
          <p:cNvSpPr>
            <a:spLocks noGrp="1"/>
          </p:cNvSpPr>
          <p:nvPr>
            <p:ph type="title"/>
          </p:nvPr>
        </p:nvSpPr>
        <p:spPr/>
        <p:txBody>
          <a:bodyPr/>
          <a:lstStyle/>
          <a:p>
            <a:r>
              <a:rPr lang="de-DE"/>
              <a:t>Makroökonomische Prognosen</a:t>
            </a:r>
          </a:p>
        </p:txBody>
      </p:sp>
      <p:sp>
        <p:nvSpPr>
          <p:cNvPr id="23" name="Text Placeholder 4">
            <a:extLst>
              <a:ext uri="{FF2B5EF4-FFF2-40B4-BE49-F238E27FC236}">
                <a16:creationId xmlns:a16="http://schemas.microsoft.com/office/drawing/2014/main" id="{A91820B6-608B-C22F-6709-F9D28177E765}"/>
              </a:ext>
            </a:extLst>
          </p:cNvPr>
          <p:cNvSpPr txBox="1">
            <a:spLocks/>
          </p:cNvSpPr>
          <p:nvPr/>
        </p:nvSpPr>
        <p:spPr>
          <a:xfrm>
            <a:off x="442800" y="1404617"/>
            <a:ext cx="4002394" cy="268097"/>
          </a:xfrm>
          <a:prstGeom prst="rect">
            <a:avLst/>
          </a:prstGeom>
        </p:spPr>
        <p:txBody>
          <a:bodyPr lIns="0" tIns="0" rIns="0" bIns="0"/>
          <a:lstStyle>
            <a:lvl1pPr marL="227891" indent="-227891" algn="l" defTabSz="911565" rtl="0" eaLnBrk="1" latinLnBrk="0" hangingPunct="1">
              <a:lnSpc>
                <a:spcPct val="90000"/>
              </a:lnSpc>
              <a:spcBef>
                <a:spcPts val="997"/>
              </a:spcBef>
              <a:buFont typeface="Arial"/>
              <a:buChar char="•"/>
              <a:defRPr sz="2791" kern="1200">
                <a:solidFill>
                  <a:schemeClr val="tx1"/>
                </a:solidFill>
                <a:latin typeface="+mn-lt"/>
                <a:ea typeface="+mn-ea"/>
                <a:cs typeface="+mn-cs"/>
              </a:defRPr>
            </a:lvl1pPr>
            <a:lvl2pPr marL="683674" indent="-227891" algn="l" defTabSz="911565" rtl="0" eaLnBrk="1" latinLnBrk="0" hangingPunct="1">
              <a:lnSpc>
                <a:spcPct val="90000"/>
              </a:lnSpc>
              <a:spcBef>
                <a:spcPts val="498"/>
              </a:spcBef>
              <a:buFont typeface="Arial"/>
              <a:buChar char="•"/>
              <a:defRPr sz="2393" kern="1200">
                <a:solidFill>
                  <a:schemeClr val="tx1"/>
                </a:solidFill>
                <a:latin typeface="+mn-lt"/>
                <a:ea typeface="+mn-ea"/>
                <a:cs typeface="+mn-cs"/>
              </a:defRPr>
            </a:lvl2pPr>
            <a:lvl3pPr marL="1139457" indent="-227891" algn="l" defTabSz="911565" rtl="0" eaLnBrk="1" latinLnBrk="0" hangingPunct="1">
              <a:lnSpc>
                <a:spcPct val="90000"/>
              </a:lnSpc>
              <a:spcBef>
                <a:spcPts val="498"/>
              </a:spcBef>
              <a:buFont typeface="Arial"/>
              <a:buChar char="•"/>
              <a:defRPr sz="1994" kern="1200">
                <a:solidFill>
                  <a:schemeClr val="tx1"/>
                </a:solidFill>
                <a:latin typeface="+mn-lt"/>
                <a:ea typeface="+mn-ea"/>
                <a:cs typeface="+mn-cs"/>
              </a:defRPr>
            </a:lvl3pPr>
            <a:lvl4pPr marL="1595239"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4pPr>
            <a:lvl5pPr marL="2051022"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5pPr>
            <a:lvl6pPr marL="2506805"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6pPr>
            <a:lvl7pPr marL="2962587"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7pPr>
            <a:lvl8pPr marL="3418370"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8pPr>
            <a:lvl9pPr marL="3874153"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9pPr>
          </a:lstStyle>
          <a:p>
            <a:pPr marL="0" indent="0">
              <a:buFont typeface="Arial"/>
              <a:buNone/>
            </a:pPr>
            <a:r>
              <a:rPr lang="de-DE" sz="1600">
                <a:solidFill>
                  <a:srgbClr val="00205B"/>
                </a:solidFill>
                <a:latin typeface="Deutsche Bank Text" panose="020B0503020202030204" pitchFamily="34" charset="0"/>
                <a:ea typeface="Deutsche Bank Text" panose="020B0503020202030204" pitchFamily="34" charset="0"/>
                <a:cs typeface="Deutsche Bank Text" panose="020B0503020202030204" pitchFamily="34" charset="0"/>
              </a:rPr>
              <a:t>BIP-Wachstum (%)</a:t>
            </a:r>
            <a:r>
              <a:rPr lang="en-US" sz="1600" baseline="30000">
                <a:solidFill>
                  <a:srgbClr val="00205B"/>
                </a:solidFill>
                <a:latin typeface="Deutsche Bank Text" panose="020B0503020202030204" pitchFamily="34" charset="0"/>
                <a:ea typeface="Deutsche Bank Text" panose="020B0503020202030204" pitchFamily="34" charset="0"/>
                <a:cs typeface="Deutsche Bank Text" panose="020B0503020202030204" pitchFamily="34" charset="0"/>
              </a:rPr>
              <a:t>1</a:t>
            </a:r>
            <a:endParaRPr lang="de-DE" sz="1600">
              <a:solidFill>
                <a:srgbClr val="00205B"/>
              </a:solidFill>
              <a:latin typeface="Deutsche Bank Text" panose="020B0503020202030204" pitchFamily="34" charset="0"/>
              <a:ea typeface="Deutsche Bank Text" panose="020B0503020202030204" pitchFamily="34" charset="0"/>
              <a:cs typeface="Deutsche Bank Text" panose="020B0503020202030204" pitchFamily="34" charset="0"/>
            </a:endParaRPr>
          </a:p>
        </p:txBody>
      </p:sp>
      <p:graphicFrame>
        <p:nvGraphicFramePr>
          <p:cNvPr id="24" name="Content Placeholder 42">
            <a:extLst>
              <a:ext uri="{FF2B5EF4-FFF2-40B4-BE49-F238E27FC236}">
                <a16:creationId xmlns:a16="http://schemas.microsoft.com/office/drawing/2014/main" id="{945689FE-B6F9-B13C-2EE5-847C742F259B}"/>
              </a:ext>
            </a:extLst>
          </p:cNvPr>
          <p:cNvGraphicFramePr>
            <a:graphicFrameLocks/>
          </p:cNvGraphicFramePr>
          <p:nvPr>
            <p:extLst>
              <p:ext uri="{D42A27DB-BD31-4B8C-83A1-F6EECF244321}">
                <p14:modId xmlns:p14="http://schemas.microsoft.com/office/powerpoint/2010/main" val="1803376778"/>
              </p:ext>
            </p:extLst>
          </p:nvPr>
        </p:nvGraphicFramePr>
        <p:xfrm>
          <a:off x="438907" y="1685546"/>
          <a:ext cx="5425017" cy="1746749"/>
        </p:xfrm>
        <a:graphic>
          <a:graphicData uri="http://schemas.openxmlformats.org/drawingml/2006/table">
            <a:tbl>
              <a:tblPr firstRow="1" bandRow="1"/>
              <a:tblGrid>
                <a:gridCol w="1356255">
                  <a:extLst>
                    <a:ext uri="{9D8B030D-6E8A-4147-A177-3AD203B41FA5}">
                      <a16:colId xmlns:a16="http://schemas.microsoft.com/office/drawing/2014/main" val="20000"/>
                    </a:ext>
                  </a:extLst>
                </a:gridCol>
                <a:gridCol w="1356255">
                  <a:extLst>
                    <a:ext uri="{9D8B030D-6E8A-4147-A177-3AD203B41FA5}">
                      <a16:colId xmlns:a16="http://schemas.microsoft.com/office/drawing/2014/main" val="20002"/>
                    </a:ext>
                  </a:extLst>
                </a:gridCol>
                <a:gridCol w="1404017">
                  <a:extLst>
                    <a:ext uri="{9D8B030D-6E8A-4147-A177-3AD203B41FA5}">
                      <a16:colId xmlns:a16="http://schemas.microsoft.com/office/drawing/2014/main" val="20003"/>
                    </a:ext>
                  </a:extLst>
                </a:gridCol>
                <a:gridCol w="1308490">
                  <a:extLst>
                    <a:ext uri="{9D8B030D-6E8A-4147-A177-3AD203B41FA5}">
                      <a16:colId xmlns:a16="http://schemas.microsoft.com/office/drawing/2014/main" val="20004"/>
                    </a:ext>
                  </a:extLst>
                </a:gridCol>
              </a:tblGrid>
              <a:tr h="368915">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 </a:t>
                      </a:r>
                    </a:p>
                  </a:txBody>
                  <a:tcPr marL="8922" marR="8922" marT="7814" marB="0" anchor="ctr">
                    <a:lnL>
                      <a:noFill/>
                    </a:lnL>
                    <a:lnR>
                      <a:noFill/>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4 P</a:t>
                      </a:r>
                    </a:p>
                  </a:txBody>
                  <a:tcPr marL="8922" marR="8922" marT="7814"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P</a:t>
                      </a:r>
                    </a:p>
                  </a:txBody>
                  <a:tcPr marL="8922" marR="8922" marT="78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de-DE"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Konsens</a:t>
                      </a:r>
                      <a:b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BBG*)</a:t>
                      </a:r>
                      <a:endPar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8922" marR="8922" marT="7814"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229639">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USA</a:t>
                      </a:r>
                      <a:endParaRPr lang="en-US" sz="1000" b="0" i="0" u="none" strike="noStrike" baseline="3000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9268" marR="8922" marT="7814"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7</a:t>
                      </a:r>
                    </a:p>
                  </a:txBody>
                  <a:tcPr marL="7620" marR="7620" marT="7620"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9</a:t>
                      </a:r>
                    </a:p>
                  </a:txBody>
                  <a:tcPr marL="7620" marR="7620" marT="7620" marB="0" anchor="ctr">
                    <a:lnL w="12700" cap="flat" cmpd="sng" algn="ctr">
                      <a:noFill/>
                      <a:prstDash val="solid"/>
                      <a:round/>
                      <a:headEnd type="none" w="med" len="med"/>
                      <a:tailEnd type="none" w="med" len="med"/>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9639">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Eurozone</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0,7</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2</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29639">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Deutschland</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0,1</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0,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0,8</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9639">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Japan</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0,1</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2</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9639">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China</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4,9</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4,5</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963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Welt</a:t>
                      </a:r>
                      <a:endParaRPr lang="en-US" sz="1000" b="0" i="0" u="none" strike="noStrike" baseline="3000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9268" marR="8922" marT="7814" marB="0" anchor="ctr">
                    <a:lnL>
                      <a:noFill/>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3,1</a:t>
                      </a:r>
                    </a:p>
                  </a:txBody>
                  <a:tcPr marL="7620" marR="7620" marT="7620" marB="0" anchor="ctr">
                    <a:lnL>
                      <a:noFill/>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1000" b="0"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25" name="Text Placeholder 4">
            <a:extLst>
              <a:ext uri="{FF2B5EF4-FFF2-40B4-BE49-F238E27FC236}">
                <a16:creationId xmlns:a16="http://schemas.microsoft.com/office/drawing/2014/main" id="{D52AB64A-C4C2-0821-EBC0-098D48913360}"/>
              </a:ext>
            </a:extLst>
          </p:cNvPr>
          <p:cNvSpPr txBox="1">
            <a:spLocks/>
          </p:cNvSpPr>
          <p:nvPr/>
        </p:nvSpPr>
        <p:spPr>
          <a:xfrm>
            <a:off x="6022365" y="1404617"/>
            <a:ext cx="4002394" cy="268097"/>
          </a:xfrm>
          <a:prstGeom prst="rect">
            <a:avLst/>
          </a:prstGeom>
        </p:spPr>
        <p:txBody>
          <a:bodyPr lIns="0" tIns="0" rIns="0" bIns="0"/>
          <a:lstStyle>
            <a:defPPr>
              <a:defRPr lang="en-US"/>
            </a:defPPr>
            <a:lvl1pPr indent="0" defTabSz="911565">
              <a:lnSpc>
                <a:spcPct val="90000"/>
              </a:lnSpc>
              <a:spcBef>
                <a:spcPts val="997"/>
              </a:spcBef>
              <a:buFont typeface="Arial"/>
              <a:buNone/>
              <a:defRPr sz="1600">
                <a:latin typeface="Deutsche Bank Text" panose="020B0503020202030204" pitchFamily="34" charset="0"/>
                <a:ea typeface="Deutsche Bank Text" panose="020B0503020202030204" pitchFamily="34" charset="0"/>
                <a:cs typeface="Deutsche Bank Text" panose="020B0503020202030204" pitchFamily="34" charset="0"/>
              </a:defRPr>
            </a:lvl1pPr>
            <a:lvl2pPr marL="683674" indent="-227891" defTabSz="911565">
              <a:lnSpc>
                <a:spcPct val="90000"/>
              </a:lnSpc>
              <a:spcBef>
                <a:spcPts val="498"/>
              </a:spcBef>
              <a:buFont typeface="Arial"/>
              <a:buChar char="•"/>
              <a:defRPr sz="2393"/>
            </a:lvl2pPr>
            <a:lvl3pPr marL="1139457" indent="-227891" defTabSz="911565">
              <a:lnSpc>
                <a:spcPct val="90000"/>
              </a:lnSpc>
              <a:spcBef>
                <a:spcPts val="498"/>
              </a:spcBef>
              <a:buFont typeface="Arial"/>
              <a:buChar char="•"/>
              <a:defRPr sz="1994"/>
            </a:lvl3pPr>
            <a:lvl4pPr marL="1595239" indent="-227891" defTabSz="911565">
              <a:lnSpc>
                <a:spcPct val="90000"/>
              </a:lnSpc>
              <a:spcBef>
                <a:spcPts val="498"/>
              </a:spcBef>
              <a:buFont typeface="Arial"/>
              <a:buChar char="•"/>
              <a:defRPr sz="1794"/>
            </a:lvl4pPr>
            <a:lvl5pPr marL="2051022" indent="-227891" defTabSz="911565">
              <a:lnSpc>
                <a:spcPct val="90000"/>
              </a:lnSpc>
              <a:spcBef>
                <a:spcPts val="498"/>
              </a:spcBef>
              <a:buFont typeface="Arial"/>
              <a:buChar char="•"/>
              <a:defRPr sz="1794"/>
            </a:lvl5pPr>
            <a:lvl6pPr marL="2506805" indent="-227891" defTabSz="911565">
              <a:lnSpc>
                <a:spcPct val="90000"/>
              </a:lnSpc>
              <a:spcBef>
                <a:spcPts val="498"/>
              </a:spcBef>
              <a:buFont typeface="Arial"/>
              <a:buChar char="•"/>
              <a:defRPr sz="1794"/>
            </a:lvl6pPr>
            <a:lvl7pPr marL="2962587" indent="-227891" defTabSz="911565">
              <a:lnSpc>
                <a:spcPct val="90000"/>
              </a:lnSpc>
              <a:spcBef>
                <a:spcPts val="498"/>
              </a:spcBef>
              <a:buFont typeface="Arial"/>
              <a:buChar char="•"/>
              <a:defRPr sz="1794"/>
            </a:lvl7pPr>
            <a:lvl8pPr marL="3418370" indent="-227891" defTabSz="911565">
              <a:lnSpc>
                <a:spcPct val="90000"/>
              </a:lnSpc>
              <a:spcBef>
                <a:spcPts val="498"/>
              </a:spcBef>
              <a:buFont typeface="Arial"/>
              <a:buChar char="•"/>
              <a:defRPr sz="1794"/>
            </a:lvl8pPr>
            <a:lvl9pPr marL="3874153" indent="-227891" defTabSz="911565">
              <a:lnSpc>
                <a:spcPct val="90000"/>
              </a:lnSpc>
              <a:spcBef>
                <a:spcPts val="498"/>
              </a:spcBef>
              <a:buFont typeface="Arial"/>
              <a:buChar char="•"/>
              <a:defRPr sz="1794"/>
            </a:lvl9pPr>
          </a:lstStyle>
          <a:p>
            <a:pPr marL="0" marR="0" lvl="0" indent="0" defTabSz="911565" eaLnBrk="1" fontAlgn="auto" latinLnBrk="0" hangingPunct="1">
              <a:lnSpc>
                <a:spcPct val="90000"/>
              </a:lnSpc>
              <a:spcBef>
                <a:spcPts val="997"/>
              </a:spcBef>
              <a:spcAft>
                <a:spcPts val="0"/>
              </a:spcAft>
              <a:buClrTx/>
              <a:buSzTx/>
              <a:buFont typeface="Arial"/>
              <a:buNone/>
              <a:tabLst/>
              <a:defRPr/>
            </a:pPr>
            <a:r>
              <a:rPr kumimoji="0" lang="de-DE" sz="1600" b="0" i="0" u="none" strike="noStrike" kern="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Inflation (%)</a:t>
            </a:r>
            <a:r>
              <a:rPr kumimoji="0" lang="en-US" sz="1600" b="0" i="0" u="none" strike="noStrike" kern="0" cap="none" spc="0" normalizeH="0" baseline="3000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2</a:t>
            </a:r>
            <a:endParaRPr kumimoji="0" lang="de-DE" sz="1600" b="0" i="0" u="none" strike="noStrike" kern="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endParaRPr>
          </a:p>
        </p:txBody>
      </p:sp>
      <p:graphicFrame>
        <p:nvGraphicFramePr>
          <p:cNvPr id="26" name="Content Placeholder 42">
            <a:extLst>
              <a:ext uri="{FF2B5EF4-FFF2-40B4-BE49-F238E27FC236}">
                <a16:creationId xmlns:a16="http://schemas.microsoft.com/office/drawing/2014/main" id="{2EF58649-CC52-4019-0B69-E7B1B8B7DF3F}"/>
              </a:ext>
            </a:extLst>
          </p:cNvPr>
          <p:cNvGraphicFramePr>
            <a:graphicFrameLocks/>
          </p:cNvGraphicFramePr>
          <p:nvPr>
            <p:extLst>
              <p:ext uri="{D42A27DB-BD31-4B8C-83A1-F6EECF244321}">
                <p14:modId xmlns:p14="http://schemas.microsoft.com/office/powerpoint/2010/main" val="1591001599"/>
              </p:ext>
            </p:extLst>
          </p:nvPr>
        </p:nvGraphicFramePr>
        <p:xfrm>
          <a:off x="6022366" y="1685546"/>
          <a:ext cx="5724432" cy="1767522"/>
        </p:xfrm>
        <a:graphic>
          <a:graphicData uri="http://schemas.openxmlformats.org/drawingml/2006/table">
            <a:tbl>
              <a:tblPr firstRow="1" bandRow="1"/>
              <a:tblGrid>
                <a:gridCol w="1431108">
                  <a:extLst>
                    <a:ext uri="{9D8B030D-6E8A-4147-A177-3AD203B41FA5}">
                      <a16:colId xmlns:a16="http://schemas.microsoft.com/office/drawing/2014/main" val="20000"/>
                    </a:ext>
                  </a:extLst>
                </a:gridCol>
                <a:gridCol w="1431108">
                  <a:extLst>
                    <a:ext uri="{9D8B030D-6E8A-4147-A177-3AD203B41FA5}">
                      <a16:colId xmlns:a16="http://schemas.microsoft.com/office/drawing/2014/main" val="20002"/>
                    </a:ext>
                  </a:extLst>
                </a:gridCol>
                <a:gridCol w="1431108">
                  <a:extLst>
                    <a:ext uri="{9D8B030D-6E8A-4147-A177-3AD203B41FA5}">
                      <a16:colId xmlns:a16="http://schemas.microsoft.com/office/drawing/2014/main" val="20003"/>
                    </a:ext>
                  </a:extLst>
                </a:gridCol>
                <a:gridCol w="1431108">
                  <a:extLst>
                    <a:ext uri="{9D8B030D-6E8A-4147-A177-3AD203B41FA5}">
                      <a16:colId xmlns:a16="http://schemas.microsoft.com/office/drawing/2014/main" val="20004"/>
                    </a:ext>
                  </a:extLst>
                </a:gridCol>
              </a:tblGrid>
              <a:tr h="35771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 </a:t>
                      </a:r>
                    </a:p>
                  </a:txBody>
                  <a:tcPr marL="8922" marR="8922" marT="7814" marB="0" anchor="ctr">
                    <a:lnL>
                      <a:noFill/>
                    </a:lnL>
                    <a:lnR>
                      <a:noFill/>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4 P</a:t>
                      </a:r>
                    </a:p>
                  </a:txBody>
                  <a:tcPr marL="8922" marR="8922" marT="7814"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P</a:t>
                      </a:r>
                    </a:p>
                  </a:txBody>
                  <a:tcPr marL="8922" marR="8922" marT="78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de-DE"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Konsens</a:t>
                      </a:r>
                      <a:b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BBG*)</a:t>
                      </a:r>
                      <a:endPar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8922" marR="8922" marT="7814"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28196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USA</a:t>
                      </a:r>
                      <a:endParaRPr lang="en-US" sz="1000" b="0" i="0" u="none" strike="noStrike" baseline="3000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9268" marR="8922" marT="7814"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9</a:t>
                      </a:r>
                    </a:p>
                  </a:txBody>
                  <a:tcPr marL="7620" marR="7620" marT="7620"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3</a:t>
                      </a:r>
                    </a:p>
                  </a:txBody>
                  <a:tcPr marL="7620" marR="7620" marT="7620" marB="0" anchor="ctr">
                    <a:lnL w="12700" cap="flat" cmpd="sng" algn="ctr">
                      <a:noFill/>
                      <a:prstDash val="solid"/>
                      <a:round/>
                      <a:headEnd type="none" w="med" len="med"/>
                      <a:tailEnd type="none" w="med" len="med"/>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196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Eurozone</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3</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0</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196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Deutschland</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5</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1</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196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Japan</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5</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0</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196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China</a:t>
                      </a:r>
                    </a:p>
                  </a:txBody>
                  <a:tcPr marL="59268" marR="8922" marT="7814" marB="0" anchor="ctr">
                    <a:lnL>
                      <a:noFill/>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0,5</a:t>
                      </a:r>
                    </a:p>
                  </a:txBody>
                  <a:tcPr marL="7620" marR="7620" marT="7620" marB="0" anchor="ctr">
                    <a:lnL>
                      <a:noFill/>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dirty="0">
                          <a:solidFill>
                            <a:srgbClr val="535B61"/>
                          </a:solidFill>
                          <a:effectLst/>
                          <a:latin typeface="Deutsche Bank Text" panose="020B0503020202030204" pitchFamily="34" charset="0"/>
                        </a:rPr>
                        <a:t>1,3</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7" name="Text Placeholder 4">
            <a:extLst>
              <a:ext uri="{FF2B5EF4-FFF2-40B4-BE49-F238E27FC236}">
                <a16:creationId xmlns:a16="http://schemas.microsoft.com/office/drawing/2014/main" id="{727A2D4A-B004-DA16-5151-B2336FADE451}"/>
              </a:ext>
            </a:extLst>
          </p:cNvPr>
          <p:cNvSpPr txBox="1">
            <a:spLocks/>
          </p:cNvSpPr>
          <p:nvPr/>
        </p:nvSpPr>
        <p:spPr>
          <a:xfrm>
            <a:off x="423005" y="3662989"/>
            <a:ext cx="4002394" cy="268097"/>
          </a:xfrm>
          <a:prstGeom prst="rect">
            <a:avLst/>
          </a:prstGeom>
        </p:spPr>
        <p:txBody>
          <a:bodyPr lIns="0" tIns="0" rIns="0" bIns="0"/>
          <a:lstStyle>
            <a:defPPr>
              <a:defRPr lang="en-US"/>
            </a:defPPr>
            <a:lvl1pPr indent="0" defTabSz="911565">
              <a:lnSpc>
                <a:spcPct val="90000"/>
              </a:lnSpc>
              <a:spcBef>
                <a:spcPts val="997"/>
              </a:spcBef>
              <a:buFont typeface="Arial"/>
              <a:buNone/>
              <a:defRPr sz="1600">
                <a:latin typeface="Deutsche Bank Text" panose="020B0503020202030204" pitchFamily="34" charset="0"/>
                <a:ea typeface="Deutsche Bank Text" panose="020B0503020202030204" pitchFamily="34" charset="0"/>
                <a:cs typeface="Deutsche Bank Text" panose="020B0503020202030204" pitchFamily="34" charset="0"/>
              </a:defRPr>
            </a:lvl1pPr>
            <a:lvl2pPr marL="683674" indent="-227891" defTabSz="911565">
              <a:lnSpc>
                <a:spcPct val="90000"/>
              </a:lnSpc>
              <a:spcBef>
                <a:spcPts val="498"/>
              </a:spcBef>
              <a:buFont typeface="Arial"/>
              <a:buChar char="•"/>
              <a:defRPr sz="2393"/>
            </a:lvl2pPr>
            <a:lvl3pPr marL="1139457" indent="-227891" defTabSz="911565">
              <a:lnSpc>
                <a:spcPct val="90000"/>
              </a:lnSpc>
              <a:spcBef>
                <a:spcPts val="498"/>
              </a:spcBef>
              <a:buFont typeface="Arial"/>
              <a:buChar char="•"/>
              <a:defRPr sz="1994"/>
            </a:lvl3pPr>
            <a:lvl4pPr marL="1595239" indent="-227891" defTabSz="911565">
              <a:lnSpc>
                <a:spcPct val="90000"/>
              </a:lnSpc>
              <a:spcBef>
                <a:spcPts val="498"/>
              </a:spcBef>
              <a:buFont typeface="Arial"/>
              <a:buChar char="•"/>
              <a:defRPr sz="1794"/>
            </a:lvl4pPr>
            <a:lvl5pPr marL="2051022" indent="-227891" defTabSz="911565">
              <a:lnSpc>
                <a:spcPct val="90000"/>
              </a:lnSpc>
              <a:spcBef>
                <a:spcPts val="498"/>
              </a:spcBef>
              <a:buFont typeface="Arial"/>
              <a:buChar char="•"/>
              <a:defRPr sz="1794"/>
            </a:lvl5pPr>
            <a:lvl6pPr marL="2506805" indent="-227891" defTabSz="911565">
              <a:lnSpc>
                <a:spcPct val="90000"/>
              </a:lnSpc>
              <a:spcBef>
                <a:spcPts val="498"/>
              </a:spcBef>
              <a:buFont typeface="Arial"/>
              <a:buChar char="•"/>
              <a:defRPr sz="1794"/>
            </a:lvl6pPr>
            <a:lvl7pPr marL="2962587" indent="-227891" defTabSz="911565">
              <a:lnSpc>
                <a:spcPct val="90000"/>
              </a:lnSpc>
              <a:spcBef>
                <a:spcPts val="498"/>
              </a:spcBef>
              <a:buFont typeface="Arial"/>
              <a:buChar char="•"/>
              <a:defRPr sz="1794"/>
            </a:lvl7pPr>
            <a:lvl8pPr marL="3418370" indent="-227891" defTabSz="911565">
              <a:lnSpc>
                <a:spcPct val="90000"/>
              </a:lnSpc>
              <a:spcBef>
                <a:spcPts val="498"/>
              </a:spcBef>
              <a:buFont typeface="Arial"/>
              <a:buChar char="•"/>
              <a:defRPr sz="1794"/>
            </a:lvl8pPr>
            <a:lvl9pPr marL="3874153" indent="-227891" defTabSz="911565">
              <a:lnSpc>
                <a:spcPct val="90000"/>
              </a:lnSpc>
              <a:spcBef>
                <a:spcPts val="498"/>
              </a:spcBef>
              <a:buFont typeface="Arial"/>
              <a:buChar char="•"/>
              <a:defRPr sz="1794"/>
            </a:lvl9pPr>
          </a:lstStyle>
          <a:p>
            <a:pPr marL="0" marR="0" lvl="0" indent="0" defTabSz="911565" eaLnBrk="1" fontAlgn="auto" latinLnBrk="0" hangingPunct="1">
              <a:lnSpc>
                <a:spcPct val="90000"/>
              </a:lnSpc>
              <a:spcBef>
                <a:spcPts val="997"/>
              </a:spcBef>
              <a:spcAft>
                <a:spcPts val="0"/>
              </a:spcAft>
              <a:buClrTx/>
              <a:buSzTx/>
              <a:buFont typeface="Arial"/>
              <a:buNone/>
              <a:tabLst/>
              <a:defRPr/>
            </a:pPr>
            <a:r>
              <a:rPr kumimoji="0" lang="de-DE" sz="1600" b="0" i="0" u="none" strike="noStrike" kern="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rbeitslosenquote (%)</a:t>
            </a:r>
          </a:p>
        </p:txBody>
      </p:sp>
      <p:graphicFrame>
        <p:nvGraphicFramePr>
          <p:cNvPr id="29" name="Content Placeholder 42">
            <a:extLst>
              <a:ext uri="{FF2B5EF4-FFF2-40B4-BE49-F238E27FC236}">
                <a16:creationId xmlns:a16="http://schemas.microsoft.com/office/drawing/2014/main" id="{FFDBA998-7DE4-FAF0-88A6-00FD4A7F3EBF}"/>
              </a:ext>
            </a:extLst>
          </p:cNvPr>
          <p:cNvGraphicFramePr>
            <a:graphicFrameLocks/>
          </p:cNvGraphicFramePr>
          <p:nvPr>
            <p:extLst>
              <p:ext uri="{D42A27DB-BD31-4B8C-83A1-F6EECF244321}">
                <p14:modId xmlns:p14="http://schemas.microsoft.com/office/powerpoint/2010/main" val="749250261"/>
              </p:ext>
            </p:extLst>
          </p:nvPr>
        </p:nvGraphicFramePr>
        <p:xfrm>
          <a:off x="437665" y="3912454"/>
          <a:ext cx="5448853" cy="1703636"/>
        </p:xfrm>
        <a:graphic>
          <a:graphicData uri="http://schemas.openxmlformats.org/drawingml/2006/table">
            <a:tbl>
              <a:tblPr firstRow="1" bandRow="1"/>
              <a:tblGrid>
                <a:gridCol w="1363852">
                  <a:extLst>
                    <a:ext uri="{9D8B030D-6E8A-4147-A177-3AD203B41FA5}">
                      <a16:colId xmlns:a16="http://schemas.microsoft.com/office/drawing/2014/main" val="20000"/>
                    </a:ext>
                  </a:extLst>
                </a:gridCol>
                <a:gridCol w="1334322">
                  <a:extLst>
                    <a:ext uri="{9D8B030D-6E8A-4147-A177-3AD203B41FA5}">
                      <a16:colId xmlns:a16="http://schemas.microsoft.com/office/drawing/2014/main" val="20002"/>
                    </a:ext>
                  </a:extLst>
                </a:gridCol>
                <a:gridCol w="1389012">
                  <a:extLst>
                    <a:ext uri="{9D8B030D-6E8A-4147-A177-3AD203B41FA5}">
                      <a16:colId xmlns:a16="http://schemas.microsoft.com/office/drawing/2014/main" val="20003"/>
                    </a:ext>
                  </a:extLst>
                </a:gridCol>
                <a:gridCol w="1361667">
                  <a:extLst>
                    <a:ext uri="{9D8B030D-6E8A-4147-A177-3AD203B41FA5}">
                      <a16:colId xmlns:a16="http://schemas.microsoft.com/office/drawing/2014/main" val="20004"/>
                    </a:ext>
                  </a:extLst>
                </a:gridCol>
              </a:tblGrid>
              <a:tr h="463723">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 </a:t>
                      </a:r>
                    </a:p>
                  </a:txBody>
                  <a:tcPr marL="8922" marR="8922" marT="7814" marB="0" anchor="ctr">
                    <a:lnL>
                      <a:noFill/>
                    </a:lnL>
                    <a:lnR>
                      <a:noFill/>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4 P</a:t>
                      </a:r>
                    </a:p>
                  </a:txBody>
                  <a:tcPr marL="8922" marR="8922" marT="7814"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P</a:t>
                      </a:r>
                    </a:p>
                  </a:txBody>
                  <a:tcPr marL="8922" marR="8922" marT="78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de-DE"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Konsens</a:t>
                      </a:r>
                      <a:b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BBG*)</a:t>
                      </a:r>
                      <a:endPar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8922" marR="8922" marT="7814"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231505">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USA</a:t>
                      </a:r>
                      <a:endParaRPr lang="en-US" sz="1000" b="0" i="0" u="none" strike="noStrike" baseline="3000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9268" marR="8922" marT="7814"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4,1</a:t>
                      </a:r>
                    </a:p>
                  </a:txBody>
                  <a:tcPr marL="7620" marR="7620" marT="7620"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4,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4,3</a:t>
                      </a:r>
                    </a:p>
                  </a:txBody>
                  <a:tcPr marL="7620" marR="7620" marT="7620" marB="0" anchor="ctr">
                    <a:lnL w="12700" cap="flat" cmpd="sng" algn="ctr">
                      <a:noFill/>
                      <a:prstDash val="solid"/>
                      <a:round/>
                      <a:headEnd type="none" w="med" len="med"/>
                      <a:tailEnd type="none" w="med" len="med"/>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210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Eurozone</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4</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5</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210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Deutschland</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0</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1</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210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Japan</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5</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5</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2102">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China</a:t>
                      </a:r>
                      <a:r>
                        <a:rPr lang="en-US" sz="1000" b="0" i="0" u="none" strike="noStrike" baseline="3000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3</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5,1</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dirty="0">
                          <a:solidFill>
                            <a:srgbClr val="535B61"/>
                          </a:solidFill>
                          <a:effectLst/>
                          <a:latin typeface="Deutsche Bank Text" panose="020B0503020202030204" pitchFamily="34" charset="0"/>
                        </a:rPr>
                        <a:t>5,1</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8" name="Text Placeholder 4">
            <a:extLst>
              <a:ext uri="{FF2B5EF4-FFF2-40B4-BE49-F238E27FC236}">
                <a16:creationId xmlns:a16="http://schemas.microsoft.com/office/drawing/2014/main" id="{0FA306BA-7E32-8BBA-1729-1610CD1D8A35}"/>
              </a:ext>
            </a:extLst>
          </p:cNvPr>
          <p:cNvSpPr txBox="1">
            <a:spLocks/>
          </p:cNvSpPr>
          <p:nvPr/>
        </p:nvSpPr>
        <p:spPr>
          <a:xfrm>
            <a:off x="6022365" y="3662989"/>
            <a:ext cx="4002394" cy="268097"/>
          </a:xfrm>
          <a:prstGeom prst="rect">
            <a:avLst/>
          </a:prstGeom>
        </p:spPr>
        <p:txBody>
          <a:bodyPr lIns="0" tIns="0" rIns="0" bIns="0"/>
          <a:lstStyle>
            <a:lvl1pPr marL="227891" indent="-227891" algn="l" defTabSz="911565" rtl="0" eaLnBrk="1" latinLnBrk="0" hangingPunct="1">
              <a:lnSpc>
                <a:spcPct val="90000"/>
              </a:lnSpc>
              <a:spcBef>
                <a:spcPts val="997"/>
              </a:spcBef>
              <a:buFont typeface="Arial"/>
              <a:buChar char="•"/>
              <a:defRPr sz="2791" kern="1200">
                <a:solidFill>
                  <a:schemeClr val="tx1"/>
                </a:solidFill>
                <a:latin typeface="+mn-lt"/>
                <a:ea typeface="+mn-ea"/>
                <a:cs typeface="+mn-cs"/>
              </a:defRPr>
            </a:lvl1pPr>
            <a:lvl2pPr marL="683674" indent="-227891" algn="l" defTabSz="911565" rtl="0" eaLnBrk="1" latinLnBrk="0" hangingPunct="1">
              <a:lnSpc>
                <a:spcPct val="90000"/>
              </a:lnSpc>
              <a:spcBef>
                <a:spcPts val="498"/>
              </a:spcBef>
              <a:buFont typeface="Arial"/>
              <a:buChar char="•"/>
              <a:defRPr sz="2393" kern="1200">
                <a:solidFill>
                  <a:schemeClr val="tx1"/>
                </a:solidFill>
                <a:latin typeface="+mn-lt"/>
                <a:ea typeface="+mn-ea"/>
                <a:cs typeface="+mn-cs"/>
              </a:defRPr>
            </a:lvl2pPr>
            <a:lvl3pPr marL="1139457" indent="-227891" algn="l" defTabSz="911565" rtl="0" eaLnBrk="1" latinLnBrk="0" hangingPunct="1">
              <a:lnSpc>
                <a:spcPct val="90000"/>
              </a:lnSpc>
              <a:spcBef>
                <a:spcPts val="498"/>
              </a:spcBef>
              <a:buFont typeface="Arial"/>
              <a:buChar char="•"/>
              <a:defRPr sz="1994" kern="1200">
                <a:solidFill>
                  <a:schemeClr val="tx1"/>
                </a:solidFill>
                <a:latin typeface="+mn-lt"/>
                <a:ea typeface="+mn-ea"/>
                <a:cs typeface="+mn-cs"/>
              </a:defRPr>
            </a:lvl3pPr>
            <a:lvl4pPr marL="1595239"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4pPr>
            <a:lvl5pPr marL="2051022"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5pPr>
            <a:lvl6pPr marL="2506805"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6pPr>
            <a:lvl7pPr marL="2962587"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7pPr>
            <a:lvl8pPr marL="3418370"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8pPr>
            <a:lvl9pPr marL="3874153"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9pPr>
          </a:lstStyle>
          <a:p>
            <a:pPr marL="0" indent="0">
              <a:buFont typeface="Arial"/>
              <a:buNone/>
            </a:pPr>
            <a:r>
              <a:rPr lang="de-DE" sz="1600">
                <a:solidFill>
                  <a:srgbClr val="00205B"/>
                </a:solidFill>
                <a:latin typeface="Deutsche Bank Text" panose="020B0503020202030204" pitchFamily="34" charset="0"/>
                <a:ea typeface="Deutsche Bank Text" panose="020B0503020202030204" pitchFamily="34" charset="0"/>
                <a:cs typeface="Deutsche Bank Text" panose="020B0503020202030204" pitchFamily="34" charset="0"/>
              </a:rPr>
              <a:t>Haushaltssaldo (% des BIP)</a:t>
            </a:r>
          </a:p>
        </p:txBody>
      </p:sp>
      <p:graphicFrame>
        <p:nvGraphicFramePr>
          <p:cNvPr id="30" name="Content Placeholder 42">
            <a:extLst>
              <a:ext uri="{FF2B5EF4-FFF2-40B4-BE49-F238E27FC236}">
                <a16:creationId xmlns:a16="http://schemas.microsoft.com/office/drawing/2014/main" id="{CB7DC1F7-3251-E298-1D17-45B886132B6A}"/>
              </a:ext>
            </a:extLst>
          </p:cNvPr>
          <p:cNvGraphicFramePr>
            <a:graphicFrameLocks/>
          </p:cNvGraphicFramePr>
          <p:nvPr>
            <p:extLst>
              <p:ext uri="{D42A27DB-BD31-4B8C-83A1-F6EECF244321}">
                <p14:modId xmlns:p14="http://schemas.microsoft.com/office/powerpoint/2010/main" val="745461704"/>
              </p:ext>
            </p:extLst>
          </p:nvPr>
        </p:nvGraphicFramePr>
        <p:xfrm>
          <a:off x="6022365" y="3912454"/>
          <a:ext cx="5723888" cy="1722111"/>
        </p:xfrm>
        <a:graphic>
          <a:graphicData uri="http://schemas.openxmlformats.org/drawingml/2006/table">
            <a:tbl>
              <a:tblPr firstRow="1" bandRow="1"/>
              <a:tblGrid>
                <a:gridCol w="1430567">
                  <a:extLst>
                    <a:ext uri="{9D8B030D-6E8A-4147-A177-3AD203B41FA5}">
                      <a16:colId xmlns:a16="http://schemas.microsoft.com/office/drawing/2014/main" val="20000"/>
                    </a:ext>
                  </a:extLst>
                </a:gridCol>
                <a:gridCol w="1431107">
                  <a:extLst>
                    <a:ext uri="{9D8B030D-6E8A-4147-A177-3AD203B41FA5}">
                      <a16:colId xmlns:a16="http://schemas.microsoft.com/office/drawing/2014/main" val="20002"/>
                    </a:ext>
                  </a:extLst>
                </a:gridCol>
                <a:gridCol w="1431107">
                  <a:extLst>
                    <a:ext uri="{9D8B030D-6E8A-4147-A177-3AD203B41FA5}">
                      <a16:colId xmlns:a16="http://schemas.microsoft.com/office/drawing/2014/main" val="20003"/>
                    </a:ext>
                  </a:extLst>
                </a:gridCol>
                <a:gridCol w="1431107">
                  <a:extLst>
                    <a:ext uri="{9D8B030D-6E8A-4147-A177-3AD203B41FA5}">
                      <a16:colId xmlns:a16="http://schemas.microsoft.com/office/drawing/2014/main" val="20004"/>
                    </a:ext>
                  </a:extLst>
                </a:gridCol>
              </a:tblGrid>
              <a:tr h="492076">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 </a:t>
                      </a:r>
                    </a:p>
                  </a:txBody>
                  <a:tcPr marL="8922" marR="8922" marT="7814" marB="0" anchor="ctr">
                    <a:lnL>
                      <a:noFill/>
                    </a:lnL>
                    <a:lnR>
                      <a:noFill/>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4 P</a:t>
                      </a:r>
                    </a:p>
                  </a:txBody>
                  <a:tcPr marL="8922" marR="8922" marT="7814"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fontAlgn="ctr"/>
                      <a:r>
                        <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P</a:t>
                      </a:r>
                    </a:p>
                  </a:txBody>
                  <a:tcPr marL="8922" marR="8922" marT="781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002060"/>
                    </a:solidFill>
                  </a:tcPr>
                </a:tc>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ctr" fontAlgn="ctr"/>
                      <a:r>
                        <a:rPr lang="de-DE"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Konsens</a:t>
                      </a:r>
                      <a:b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1000" b="0" i="0" u="none" strike="noStrike" baseline="0">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rPr>
                        <a:t>2025 (BBG*)</a:t>
                      </a:r>
                      <a:endParaRPr lang="en-US" sz="1000" b="0" i="0" u="none" strike="noStrike">
                        <a:solidFill>
                          <a:srgbClr val="FFFFFF"/>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8922" marR="8922" marT="7814"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246007">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USA</a:t>
                      </a:r>
                      <a:endParaRPr lang="en-US" sz="1000" b="0" i="0" u="none" strike="noStrike" baseline="3000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9268" marR="8922" marT="7814"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6</a:t>
                      </a:r>
                    </a:p>
                  </a:txBody>
                  <a:tcPr marL="7620" marR="7620" marT="7620" marB="0" anchor="ctr">
                    <a:lnL>
                      <a:noFill/>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7,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5</a:t>
                      </a:r>
                    </a:p>
                  </a:txBody>
                  <a:tcPr marL="7620" marR="7620" marT="7620" marB="0" anchor="ctr">
                    <a:lnL w="12700" cap="flat" cmpd="sng" algn="ctr">
                      <a:noFill/>
                      <a:prstDash val="solid"/>
                      <a:round/>
                      <a:headEnd type="none" w="med" len="med"/>
                      <a:tailEnd type="none" w="med" len="med"/>
                    </a:lnL>
                    <a:lnR>
                      <a:noFill/>
                    </a:lnR>
                    <a:lnT>
                      <a:noFill/>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6007">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Eurozone</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8</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3,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7</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6007">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Deutschland</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2,1</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5</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6007">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Japan</a:t>
                      </a:r>
                    </a:p>
                  </a:txBody>
                  <a:tcPr marL="59268" marR="8922" marT="7814"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6,0</a:t>
                      </a:r>
                    </a:p>
                  </a:txBody>
                  <a:tcPr marL="7620" marR="7620" marT="7620" marB="0" anchor="ctr">
                    <a:lnL>
                      <a:noFill/>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3,5</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3175" cap="flat" cmpd="sng" algn="ctr">
                      <a:solidFill>
                        <a:srgbClr val="9BA8B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46007">
                <a:tc>
                  <a:txBody>
                    <a:bodyPr/>
                    <a:lstStyle>
                      <a:lvl1pPr marL="0" algn="l" defTabSz="1009132" rtl="0" eaLnBrk="1" latinLnBrk="0" hangingPunct="1">
                        <a:defRPr sz="2000" kern="1200">
                          <a:solidFill>
                            <a:schemeClr val="tx1"/>
                          </a:solidFill>
                          <a:latin typeface="Arial"/>
                        </a:defRPr>
                      </a:lvl1pPr>
                      <a:lvl2pPr marL="504566" algn="l" defTabSz="1009132" rtl="0" eaLnBrk="1" latinLnBrk="0" hangingPunct="1">
                        <a:defRPr sz="2000" kern="1200">
                          <a:solidFill>
                            <a:schemeClr val="tx1"/>
                          </a:solidFill>
                          <a:latin typeface="Arial"/>
                        </a:defRPr>
                      </a:lvl2pPr>
                      <a:lvl3pPr marL="1009132" algn="l" defTabSz="1009132" rtl="0" eaLnBrk="1" latinLnBrk="0" hangingPunct="1">
                        <a:defRPr sz="2000" kern="1200">
                          <a:solidFill>
                            <a:schemeClr val="tx1"/>
                          </a:solidFill>
                          <a:latin typeface="Arial"/>
                        </a:defRPr>
                      </a:lvl3pPr>
                      <a:lvl4pPr marL="1513698" algn="l" defTabSz="1009132" rtl="0" eaLnBrk="1" latinLnBrk="0" hangingPunct="1">
                        <a:defRPr sz="2000" kern="1200">
                          <a:solidFill>
                            <a:schemeClr val="tx1"/>
                          </a:solidFill>
                          <a:latin typeface="Arial"/>
                        </a:defRPr>
                      </a:lvl4pPr>
                      <a:lvl5pPr marL="2018264" algn="l" defTabSz="1009132" rtl="0" eaLnBrk="1" latinLnBrk="0" hangingPunct="1">
                        <a:defRPr sz="2000" kern="1200">
                          <a:solidFill>
                            <a:schemeClr val="tx1"/>
                          </a:solidFill>
                          <a:latin typeface="Arial"/>
                        </a:defRPr>
                      </a:lvl5pPr>
                      <a:lvl6pPr marL="2522830" algn="l" defTabSz="1009132" rtl="0" eaLnBrk="1" latinLnBrk="0" hangingPunct="1">
                        <a:defRPr sz="2000" kern="1200">
                          <a:solidFill>
                            <a:schemeClr val="tx1"/>
                          </a:solidFill>
                          <a:latin typeface="Arial"/>
                        </a:defRPr>
                      </a:lvl6pPr>
                      <a:lvl7pPr marL="3027396" algn="l" defTabSz="1009132" rtl="0" eaLnBrk="1" latinLnBrk="0" hangingPunct="1">
                        <a:defRPr sz="2000" kern="1200">
                          <a:solidFill>
                            <a:schemeClr val="tx1"/>
                          </a:solidFill>
                          <a:latin typeface="Arial"/>
                        </a:defRPr>
                      </a:lvl7pPr>
                      <a:lvl8pPr marL="3531961" algn="l" defTabSz="1009132" rtl="0" eaLnBrk="1" latinLnBrk="0" hangingPunct="1">
                        <a:defRPr sz="2000" kern="1200">
                          <a:solidFill>
                            <a:schemeClr val="tx1"/>
                          </a:solidFill>
                          <a:latin typeface="Arial"/>
                        </a:defRPr>
                      </a:lvl8pPr>
                      <a:lvl9pPr marL="4036527" algn="l" defTabSz="1009132" rtl="0" eaLnBrk="1" latinLnBrk="0" hangingPunct="1">
                        <a:defRPr sz="2000" kern="1200">
                          <a:solidFill>
                            <a:schemeClr val="tx1"/>
                          </a:solidFill>
                          <a:latin typeface="Arial"/>
                        </a:defRPr>
                      </a:lvl9pPr>
                    </a:lstStyle>
                    <a:p>
                      <a:pPr algn="l" fontAlgn="ctr"/>
                      <a:r>
                        <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China</a:t>
                      </a:r>
                      <a:r>
                        <a:rPr lang="en-US" sz="1000" b="0" i="0" u="none" strike="noStrike" baseline="3000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4</a:t>
                      </a:r>
                      <a:endParaRPr lang="en-US" sz="1000" b="0" i="0" u="none" strike="noStrike">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9268" marR="8928" marT="7814" marB="0" anchor="ctr">
                    <a:lnL>
                      <a:noFill/>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3,2</a:t>
                      </a:r>
                    </a:p>
                  </a:txBody>
                  <a:tcPr marL="7620" marR="7620" marT="7620" marB="0" anchor="ctr">
                    <a:lnL>
                      <a:noFill/>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a:solidFill>
                            <a:srgbClr val="535B61"/>
                          </a:solidFill>
                          <a:effectLst/>
                          <a:latin typeface="Deutsche Bank Text" panose="020B0503020202030204" pitchFamily="34" charset="0"/>
                        </a:rPr>
                        <a:t>-13,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0" i="0" u="none" strike="noStrike" dirty="0">
                          <a:solidFill>
                            <a:srgbClr val="535B61"/>
                          </a:solidFill>
                          <a:effectLst/>
                          <a:latin typeface="Deutsche Bank Text" panose="020B0503020202030204" pitchFamily="34" charset="0"/>
                        </a:rPr>
                        <a:t>-5,0</a:t>
                      </a:r>
                    </a:p>
                  </a:txBody>
                  <a:tcPr marL="7620" marR="7620" marT="7620" marB="0" anchor="ctr">
                    <a:lnL w="12700" cap="flat" cmpd="sng" algn="ctr">
                      <a:noFill/>
                      <a:prstDash val="solid"/>
                      <a:round/>
                      <a:headEnd type="none" w="med" len="med"/>
                      <a:tailEnd type="none" w="med" len="med"/>
                    </a:lnL>
                    <a:lnR>
                      <a:noFill/>
                    </a:lnR>
                    <a:lnT w="3175" cap="flat" cmpd="sng" algn="ctr">
                      <a:solidFill>
                        <a:srgbClr val="9BA8B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1" name="Inhaltsplatzhalter 20">
            <a:extLst>
              <a:ext uri="{FF2B5EF4-FFF2-40B4-BE49-F238E27FC236}">
                <a16:creationId xmlns:a16="http://schemas.microsoft.com/office/drawing/2014/main" id="{D909C1CD-B880-6F73-BDF2-C58801F72188}"/>
              </a:ext>
            </a:extLst>
          </p:cNvPr>
          <p:cNvSpPr>
            <a:spLocks noGrp="1"/>
          </p:cNvSpPr>
          <p:nvPr>
            <p:ph sz="quarter" idx="13"/>
          </p:nvPr>
        </p:nvSpPr>
        <p:spPr>
          <a:xfrm>
            <a:off x="442800" y="5796853"/>
            <a:ext cx="11304000" cy="152400"/>
          </a:xfrm>
        </p:spPr>
        <p:txBody>
          <a:bodyPr/>
          <a:lstStyle/>
          <a:p>
            <a:r>
              <a:rPr lang="de-DE"/>
              <a:t>*Bloomberg Konsens</a:t>
            </a:r>
            <a:br>
              <a:rPr lang="de-DE"/>
            </a:br>
            <a:r>
              <a:rPr lang="de-DE"/>
              <a:t>Quelle: Deutsche Bank AG. 1 In den USA beträgt die BIP-Wachstumsprognose (4. bis 4. Quartal) 1,5% in 2024 und 2,1% in 2025, 2 Gemessen anhand des Konsumentenpreisindex; weitere Maße werden im US-Abschnitt der Präsentation verwendet; 3 Städtische Arbeitslosenquote (Ende des Zeitraums), nicht vergleichbar mit Konsensdaten. 4 Das Haushaltsdefizit Chinas bezieht sich auf Daten des Fiscal Monitor des IWF, Juni 2024. Es ist nicht mit dem Konsensus vergleichbar.</a:t>
            </a:r>
            <a:br>
              <a:rPr lang="de-DE"/>
            </a:br>
            <a:r>
              <a:rPr lang="de-DE"/>
              <a:t>Quelle: Deutsche Bank AG, Bloomberg Finance L.P.; Stand: 15. November 2024.</a:t>
            </a:r>
          </a:p>
          <a:p>
            <a:endParaRPr lang="de-DE"/>
          </a:p>
        </p:txBody>
      </p:sp>
      <p:sp>
        <p:nvSpPr>
          <p:cNvPr id="5" name="Foliennummernplatzhalter 4">
            <a:extLst>
              <a:ext uri="{FF2B5EF4-FFF2-40B4-BE49-F238E27FC236}">
                <a16:creationId xmlns:a16="http://schemas.microsoft.com/office/drawing/2014/main" id="{53BA14E8-43D8-AC62-3BB1-A0F195F288DD}"/>
              </a:ext>
            </a:extLst>
          </p:cNvPr>
          <p:cNvSpPr>
            <a:spLocks noGrp="1"/>
          </p:cNvSpPr>
          <p:nvPr>
            <p:ph type="sldNum" sz="quarter" idx="4"/>
          </p:nvPr>
        </p:nvSpPr>
        <p:spPr/>
        <p:txBody>
          <a:bodyPr/>
          <a:lstStyle/>
          <a:p>
            <a:fld id="{D71DA9FD-6EF8-4CC5-AF9B-B6159B5B937C}" type="slidenum">
              <a:rPr lang="en-GB" noProof="1" smtClean="0"/>
              <a:pPr/>
              <a:t>31</a:t>
            </a:fld>
            <a:endParaRPr lang="en-GB" noProof="1"/>
          </a:p>
        </p:txBody>
      </p:sp>
    </p:spTree>
    <p:extLst>
      <p:ext uri="{BB962C8B-B14F-4D97-AF65-F5344CB8AC3E}">
        <p14:creationId xmlns:p14="http://schemas.microsoft.com/office/powerpoint/2010/main" val="692128624"/>
      </p:ext>
    </p:extLst>
  </p:cSld>
  <p:clrMapOvr>
    <a:masterClrMapping/>
  </p:clrMapOvr>
  <p:transition>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AB25120-60FD-A907-3621-BCC5FA72A579}"/>
              </a:ext>
            </a:extLst>
          </p:cNvPr>
          <p:cNvSpPr>
            <a:spLocks noGrp="1"/>
          </p:cNvSpPr>
          <p:nvPr>
            <p:ph type="title"/>
          </p:nvPr>
        </p:nvSpPr>
        <p:spPr/>
        <p:txBody>
          <a:bodyPr/>
          <a:lstStyle/>
          <a:p>
            <a:r>
              <a:rPr lang="de-DE"/>
              <a:t>Assetklassen Prognosen</a:t>
            </a:r>
          </a:p>
        </p:txBody>
      </p:sp>
      <p:graphicFrame>
        <p:nvGraphicFramePr>
          <p:cNvPr id="9" name="Table 4">
            <a:extLst>
              <a:ext uri="{FF2B5EF4-FFF2-40B4-BE49-F238E27FC236}">
                <a16:creationId xmlns:a16="http://schemas.microsoft.com/office/drawing/2014/main" id="{89C613FE-7565-D805-520D-4A70778FEADC}"/>
              </a:ext>
            </a:extLst>
          </p:cNvPr>
          <p:cNvGraphicFramePr>
            <a:graphicFrameLocks noGrp="1"/>
          </p:cNvGraphicFramePr>
          <p:nvPr>
            <p:extLst>
              <p:ext uri="{D42A27DB-BD31-4B8C-83A1-F6EECF244321}">
                <p14:modId xmlns:p14="http://schemas.microsoft.com/office/powerpoint/2010/main" val="543900676"/>
              </p:ext>
            </p:extLst>
          </p:nvPr>
        </p:nvGraphicFramePr>
        <p:xfrm>
          <a:off x="2939142" y="1059433"/>
          <a:ext cx="2928261" cy="815339"/>
        </p:xfrm>
        <a:graphic>
          <a:graphicData uri="http://schemas.openxmlformats.org/drawingml/2006/table">
            <a:tbl>
              <a:tblPr firstRow="1"/>
              <a:tblGrid>
                <a:gridCol w="760491">
                  <a:extLst>
                    <a:ext uri="{9D8B030D-6E8A-4147-A177-3AD203B41FA5}">
                      <a16:colId xmlns:a16="http://schemas.microsoft.com/office/drawing/2014/main" val="20000"/>
                    </a:ext>
                  </a:extLst>
                </a:gridCol>
                <a:gridCol w="520910">
                  <a:extLst>
                    <a:ext uri="{9D8B030D-6E8A-4147-A177-3AD203B41FA5}">
                      <a16:colId xmlns:a16="http://schemas.microsoft.com/office/drawing/2014/main" val="20001"/>
                    </a:ext>
                  </a:extLst>
                </a:gridCol>
                <a:gridCol w="823430">
                  <a:extLst>
                    <a:ext uri="{9D8B030D-6E8A-4147-A177-3AD203B41FA5}">
                      <a16:colId xmlns:a16="http://schemas.microsoft.com/office/drawing/2014/main" val="20002"/>
                    </a:ext>
                  </a:extLst>
                </a:gridCol>
                <a:gridCol w="823430">
                  <a:extLst>
                    <a:ext uri="{9D8B030D-6E8A-4147-A177-3AD203B41FA5}">
                      <a16:colId xmlns:a16="http://schemas.microsoft.com/office/drawing/2014/main" val="1820267632"/>
                    </a:ext>
                  </a:extLst>
                </a:gridCol>
              </a:tblGrid>
              <a:tr h="516505">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Aktueller Stand</a:t>
                      </a: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dirty="0" err="1">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ggü</a:t>
                      </a:r>
                      <a:r>
                        <a:rPr lang="de-DE" sz="800" b="1" kern="120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 aktuellem Stand</a:t>
                      </a: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Strategische</a:t>
                      </a:r>
                      <a:r>
                        <a:rPr lang="de-DE" sz="800" b="1" kern="1200" baseline="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 Prognose per </a:t>
                      </a:r>
                      <a:br>
                        <a:rPr lang="de-DE" sz="800" b="1" kern="1200" baseline="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800" b="1" kern="1200" baseline="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November 2024</a:t>
                      </a:r>
                      <a:endParaRPr lang="de-DE" sz="800" b="1" kern="120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Erwartete 12m Gesamtrendite</a:t>
                      </a: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8834">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15. November 2024</a:t>
                      </a: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b"/>
                      <a:endPar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Prognose</a:t>
                      </a:r>
                      <a:b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Dezember 2025</a:t>
                      </a: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endParaRPr lang="de-DE" sz="800" b="1" kern="120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11" name="Tabelle 8">
            <a:extLst>
              <a:ext uri="{FF2B5EF4-FFF2-40B4-BE49-F238E27FC236}">
                <a16:creationId xmlns:a16="http://schemas.microsoft.com/office/drawing/2014/main" id="{50089A52-1316-42AF-BAD6-B0D0B0C53EAE}"/>
              </a:ext>
            </a:extLst>
          </p:cNvPr>
          <p:cNvGraphicFramePr>
            <a:graphicFrameLocks noGrp="1"/>
          </p:cNvGraphicFramePr>
          <p:nvPr>
            <p:extLst>
              <p:ext uri="{D42A27DB-BD31-4B8C-83A1-F6EECF244321}">
                <p14:modId xmlns:p14="http://schemas.microsoft.com/office/powerpoint/2010/main" val="2566079798"/>
              </p:ext>
            </p:extLst>
          </p:nvPr>
        </p:nvGraphicFramePr>
        <p:xfrm>
          <a:off x="442800" y="1867193"/>
          <a:ext cx="5263398" cy="4274233"/>
        </p:xfrm>
        <a:graphic>
          <a:graphicData uri="http://schemas.openxmlformats.org/drawingml/2006/table">
            <a:tbl>
              <a:tblPr firstRow="1"/>
              <a:tblGrid>
                <a:gridCol w="2126472">
                  <a:extLst>
                    <a:ext uri="{9D8B030D-6E8A-4147-A177-3AD203B41FA5}">
                      <a16:colId xmlns:a16="http://schemas.microsoft.com/office/drawing/2014/main" val="370254090"/>
                    </a:ext>
                  </a:extLst>
                </a:gridCol>
                <a:gridCol w="980289">
                  <a:extLst>
                    <a:ext uri="{9D8B030D-6E8A-4147-A177-3AD203B41FA5}">
                      <a16:colId xmlns:a16="http://schemas.microsoft.com/office/drawing/2014/main" val="3184247996"/>
                    </a:ext>
                  </a:extLst>
                </a:gridCol>
                <a:gridCol w="799313">
                  <a:extLst>
                    <a:ext uri="{9D8B030D-6E8A-4147-A177-3AD203B41FA5}">
                      <a16:colId xmlns:a16="http://schemas.microsoft.com/office/drawing/2014/main" val="20686244"/>
                    </a:ext>
                  </a:extLst>
                </a:gridCol>
                <a:gridCol w="678662">
                  <a:extLst>
                    <a:ext uri="{9D8B030D-6E8A-4147-A177-3AD203B41FA5}">
                      <a16:colId xmlns:a16="http://schemas.microsoft.com/office/drawing/2014/main" val="1658170153"/>
                    </a:ext>
                  </a:extLst>
                </a:gridCol>
                <a:gridCol w="678662">
                  <a:extLst>
                    <a:ext uri="{9D8B030D-6E8A-4147-A177-3AD203B41FA5}">
                      <a16:colId xmlns:a16="http://schemas.microsoft.com/office/drawing/2014/main" val="1524295626"/>
                    </a:ext>
                  </a:extLst>
                </a:gridCol>
              </a:tblGrid>
              <a:tr h="212849">
                <a:tc gridSpan="4">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914400" rtl="0" eaLnBrk="1" fontAlgn="auto" latinLnBrk="0" hangingPunct="1">
                        <a:lnSpc>
                          <a:spcPct val="100000"/>
                        </a:lnSpc>
                        <a:spcBef>
                          <a:spcPct val="0"/>
                        </a:spcBef>
                        <a:spcAft>
                          <a:spcPct val="0"/>
                        </a:spcAft>
                        <a:buClrTx/>
                        <a:buSzTx/>
                        <a:buFontTx/>
                        <a:buNone/>
                        <a:defRPr/>
                      </a:pPr>
                      <a:r>
                        <a:rPr lang="de-DE" sz="900" b="0" i="0" u="none" strike="noStrike"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Kapitalmarktrenditen Staatsanleihen (in %)</a:t>
                      </a:r>
                      <a:endParaRPr lang="de-DE" sz="900" b="1" i="0" u="none" strike="noStrike"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de-DE" dirty="0"/>
                    </a:p>
                  </a:txBody>
                  <a:tcPr/>
                </a:tc>
                <a:tc hMerge="1">
                  <a:txBody>
                    <a:bodyPr/>
                    <a:lstStyle/>
                    <a:p>
                      <a:endParaRPr lang="de-DE"/>
                    </a:p>
                  </a:txBody>
                  <a:tcPr>
                    <a:lnL w="12700" cap="flat" cmpd="sng" algn="ctr">
                      <a:noFill/>
                      <a:prstDash val="solid"/>
                      <a:round/>
                      <a:headEnd type="none" w="med" len="med"/>
                      <a:tailEnd type="none" w="med" len="med"/>
                    </a:lnL>
                  </a:tcPr>
                </a:tc>
                <a:tc hMerge="1">
                  <a:txBody>
                    <a:bodyPr/>
                    <a:lstStyle/>
                    <a:p>
                      <a:endParaRPr lang="de-DE"/>
                    </a:p>
                  </a:txBody>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914400" rtl="0" eaLnBrk="1" fontAlgn="auto" latinLnBrk="0" hangingPunct="1">
                        <a:lnSpc>
                          <a:spcPct val="100000"/>
                        </a:lnSpc>
                        <a:spcBef>
                          <a:spcPct val="0"/>
                        </a:spcBef>
                        <a:spcAft>
                          <a:spcPct val="0"/>
                        </a:spcAft>
                        <a:buClrTx/>
                        <a:buSzTx/>
                        <a:buFontTx/>
                        <a:buNone/>
                        <a:defRPr/>
                      </a:pPr>
                      <a:endParaRPr lang="de-DE" sz="900" b="1" i="0" u="none" strike="noStrike"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096102308"/>
                  </a:ext>
                </a:extLst>
              </a:tr>
              <a:tr h="178333">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baseline="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US (2-jährige)</a:t>
                      </a:r>
                      <a:endParaRPr lang="de-DE" sz="800" b="0" i="0" u="none" strike="noStrike"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4,34</a:t>
                      </a:r>
                    </a:p>
                  </a:txBody>
                  <a:tcPr marL="6350" marR="6350" marT="6350" marB="0" anchor="ctr">
                    <a:lnL>
                      <a:noFill/>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4,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4,4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172590"/>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1009132" rtl="0" eaLnBrk="1" fontAlgn="ctr" latinLnBrk="0" hangingPunct="1"/>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US (10-jährige)</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4,47</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4,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4,5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1071038"/>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1009132" rtl="0" eaLnBrk="1" fontAlgn="ctr" latinLnBrk="0" hangingPunct="1"/>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US (30-jährige)</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4,64</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4,6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4,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2626913"/>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1009132" rtl="0" eaLnBrk="1" fontAlgn="ctr" latinLnBrk="0" hangingPunct="1"/>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Deutschland (2-jährige)</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2,13</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7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2,2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9732211"/>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Deutschland</a:t>
                      </a:r>
                      <a:r>
                        <a:rPr lang="de-DE" sz="800" b="0" i="0" u="none" strike="noStrike" baseline="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 (10-jährige)</a:t>
                      </a:r>
                      <a:endParaRPr lang="de-DE" sz="800" b="0" i="0" u="none" strike="noStrike"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2,36</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2,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4,2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6695642"/>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Deutschland</a:t>
                      </a:r>
                      <a:r>
                        <a:rPr lang="de-DE" sz="800" b="0" i="0" u="none" strike="noStrike" baseline="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 (30-jährige)</a:t>
                      </a:r>
                      <a:endParaRPr lang="de-DE" sz="800" b="0" i="0" u="none" strike="noStrike"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2,57</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2,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4,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0191178"/>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Großbritannien</a:t>
                      </a:r>
                      <a:r>
                        <a:rPr lang="de-DE" sz="800" b="0" i="0" u="none" strike="noStrike" kern="1200" baseline="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 (10-jährige)</a:t>
                      </a:r>
                      <a:endPar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4,49</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4,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8,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2747254"/>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kern="1200" noProof="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Japan </a:t>
                      </a:r>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2-jährige)</a:t>
                      </a:r>
                      <a:endParaRPr lang="de-DE" sz="800" b="0" i="0" u="none" strike="noStrike" kern="1200" noProof="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0,55</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0,8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0,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1642537"/>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1009132" rtl="0" eaLnBrk="1" fontAlgn="ctr" latinLnBrk="0" hangingPunct="1"/>
                      <a:r>
                        <a:rPr lang="de-DE" sz="800" b="0" i="0" u="none" strike="noStrike" kern="1200" noProof="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Japan </a:t>
                      </a:r>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10-jährige)</a:t>
                      </a:r>
                      <a:endParaRPr lang="de-DE" sz="800" b="0" i="0" u="none" strike="noStrike" kern="1200" noProof="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1,07</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4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0,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0202800"/>
                  </a:ext>
                </a:extLst>
              </a:tr>
              <a:tr h="212849">
                <a:tc gridSpan="4">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1009132" rtl="0" eaLnBrk="1" fontAlgn="b" latinLnBrk="0" hangingPunct="1">
                        <a:lnSpc>
                          <a:spcPct val="100000"/>
                        </a:lnSpc>
                        <a:spcBef>
                          <a:spcPct val="0"/>
                        </a:spcBef>
                        <a:spcAft>
                          <a:spcPct val="0"/>
                        </a:spcAft>
                        <a:buClrTx/>
                        <a:buSzTx/>
                        <a:buFontTx/>
                        <a:buNone/>
                        <a:defRPr/>
                      </a:pPr>
                      <a:r>
                        <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Leitzinsen (in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de-DE"/>
                    </a:p>
                  </a:txBody>
                  <a:tcPr>
                    <a:lnL w="12700" cmpd="sng">
                      <a:noFill/>
                      <a:prstDash val="solid"/>
                    </a:lnL>
                    <a:lnT w="12700" cmpd="sng">
                      <a:noFill/>
                      <a:prstDash val="solid"/>
                    </a:lnT>
                  </a:tcPr>
                </a:tc>
                <a:tc hMerge="1">
                  <a:txBody>
                    <a:bodyPr/>
                    <a:lstStyle/>
                    <a:p>
                      <a:endParaRPr lang="de-DE"/>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hMerge="1">
                  <a:txBody>
                    <a:bodyPr/>
                    <a:lstStyle/>
                    <a:p>
                      <a:endParaRPr lang="de-DE" dirty="0"/>
                    </a:p>
                  </a:txBody>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1009132" rtl="0" eaLnBrk="1" fontAlgn="b" latinLnBrk="0" hangingPunct="1">
                        <a:lnSpc>
                          <a:spcPct val="100000"/>
                        </a:lnSpc>
                        <a:spcBef>
                          <a:spcPct val="0"/>
                        </a:spcBef>
                        <a:spcAft>
                          <a:spcPct val="0"/>
                        </a:spcAft>
                        <a:buClrTx/>
                        <a:buSzTx/>
                        <a:buFontTx/>
                        <a:buNone/>
                        <a:defRPr/>
                      </a:pPr>
                      <a:endPar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582920833"/>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l" defTabSz="911565" rtl="0" eaLnBrk="1" fontAlgn="ctr" latinLnBrk="0" hangingPunct="1">
                        <a:lnSpc>
                          <a:spcPct val="100000"/>
                        </a:lnSpc>
                        <a:spcBef>
                          <a:spcPts val="0"/>
                        </a:spcBef>
                        <a:spcAft>
                          <a:spcPts val="0"/>
                        </a:spcAft>
                        <a:buClrTx/>
                        <a:buSzTx/>
                        <a:buFontTx/>
                        <a:buNone/>
                        <a:tabLst/>
                        <a:defRPr/>
                      </a:pPr>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USA (Federal Funds</a:t>
                      </a:r>
                      <a:r>
                        <a:rPr lang="de-DE" sz="800" b="0" i="0" u="none" strike="noStrike" kern="1200" baseline="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 Rate</a:t>
                      </a:r>
                      <a:r>
                        <a:rPr lang="de-DE" sz="800" b="0" i="0" u="none" strike="noStrike" dirty="0">
                          <a:solidFill>
                            <a:srgbClr val="535B61"/>
                          </a:solidFill>
                          <a:effectLst/>
                          <a:latin typeface="Deutsche Bank Text" panose="020B0503020202030204" pitchFamily="34" charset="0"/>
                        </a:rPr>
                        <a:t>)</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4,50-4,75</a:t>
                      </a:r>
                    </a:p>
                  </a:txBody>
                  <a:tcPr marL="6350" marR="6350" marT="6350" marB="0" anchor="ctr">
                    <a:lnL>
                      <a:noFill/>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3,75 - 4,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3888124"/>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Eurozone (Einlagenzinssatz)</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3,25</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2,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950053"/>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b"/>
                      <a:r>
                        <a:rPr lang="de-DE" sz="800" b="0" i="0" u="none" strike="noStrike"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Großbritannien (Repo</a:t>
                      </a:r>
                      <a:r>
                        <a:rPr lang="de-DE" sz="800" b="0" i="0" u="none" strike="noStrike" baseline="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 rate)</a:t>
                      </a:r>
                      <a:endParaRPr lang="de-DE" sz="800" b="0" i="0" u="none" strike="noStrike"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4,75</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3,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2722229"/>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1009132" rtl="0" eaLnBrk="1" fontAlgn="ctr" latinLnBrk="0" hangingPunct="1"/>
                      <a:r>
                        <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Japan (Overnight call rate)</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0,25</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æ</a:t>
                      </a:r>
                      <a:r>
                        <a:rPr lang="de-DE" sz="1000" b="1" i="0" u="none" strike="noStrike" dirty="0">
                          <a:solidFill>
                            <a:srgbClr val="535B61"/>
                          </a:solidFill>
                          <a:effectLst/>
                          <a:latin typeface="Calibri" panose="020F0502020204030204" pitchFamily="34" charset="0"/>
                        </a:rPr>
                        <a:t> </a:t>
                      </a:r>
                      <a:endParaRPr lang="de-DE" sz="1000" b="1" i="0" u="none" strike="noStrike" dirty="0">
                        <a:solidFill>
                          <a:srgbClr val="535B61"/>
                        </a:solidFill>
                        <a:effectLst/>
                        <a:latin typeface="Wingdings 3" panose="05040102010807070707" pitchFamily="18" charset="2"/>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0546992"/>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1009132" rtl="0" eaLnBrk="1" fontAlgn="ctr" latinLnBrk="0" hangingPunct="1"/>
                      <a:r>
                        <a:rPr lang="de-DE" sz="800" b="0" i="0" u="none" strike="noStrike" kern="1200" dirty="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China (1 </a:t>
                      </a:r>
                      <a:r>
                        <a:rPr lang="de-DE" sz="800" b="0" i="0" u="none" strike="noStrike" kern="1200" dirty="0" err="1">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year</a:t>
                      </a:r>
                      <a:r>
                        <a:rPr lang="de-DE" sz="800" b="0" i="0" u="none" strike="noStrike" kern="1200" dirty="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 </a:t>
                      </a:r>
                      <a:r>
                        <a:rPr lang="de-DE" sz="800" b="0" i="0" u="none" strike="noStrike" kern="1200" dirty="0" err="1">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lending</a:t>
                      </a:r>
                      <a:r>
                        <a:rPr lang="de-DE" sz="800" b="0" i="0" u="none" strike="noStrike" kern="1200" dirty="0">
                          <a:solidFill>
                            <a:srgbClr val="535B61"/>
                          </a:solidFill>
                          <a:latin typeface="Deutsche Bank Text" panose="020B0503020202030204" pitchFamily="34" charset="0"/>
                          <a:ea typeface="Deutsche Bank Text" panose="020B0503020202030204" pitchFamily="34" charset="0"/>
                          <a:cs typeface="Deutsche Bank Text" panose="020B0503020202030204" pitchFamily="34" charset="0"/>
                        </a:rPr>
                        <a:t> rate)</a:t>
                      </a:r>
                      <a:endParaRPr lang="de-DE" sz="800" b="0" i="0" u="none" strike="noStrike" kern="120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3,10</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r>
                        <a:rPr lang="de-DE" sz="700" b="1" i="0" u="none" strike="noStrike" dirty="0">
                          <a:solidFill>
                            <a:srgbClr val="535B61"/>
                          </a:solidFill>
                          <a:effectLst/>
                          <a:latin typeface="Wingdings 3" panose="05040102010807070707" pitchFamily="18" charset="2"/>
                        </a:rPr>
                        <a:t> </a:t>
                      </a:r>
                      <a:endParaRPr lang="de-DE" sz="1000" b="1" i="0" u="none" strike="noStrike" dirty="0">
                        <a:solidFill>
                          <a:srgbClr val="535B61"/>
                        </a:solidFill>
                        <a:effectLst/>
                        <a:latin typeface="Wingdings 3" panose="05040102010807070707" pitchFamily="18" charset="2"/>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2,7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6771938"/>
                  </a:ext>
                </a:extLst>
              </a:tr>
              <a:tr h="212849">
                <a:tc gridSpan="4">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1009132" rtl="0" eaLnBrk="1" fontAlgn="b" latinLnBrk="0" hangingPunct="1">
                        <a:lnSpc>
                          <a:spcPct val="100000"/>
                        </a:lnSpc>
                        <a:spcBef>
                          <a:spcPct val="0"/>
                        </a:spcBef>
                        <a:spcAft>
                          <a:spcPct val="0"/>
                        </a:spcAft>
                        <a:buClrTx/>
                        <a:buSzTx/>
                        <a:buFontTx/>
                        <a:buNone/>
                        <a:defRPr/>
                      </a:pPr>
                      <a:r>
                        <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Währungen</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de-DE"/>
                    </a:p>
                  </a:txBody>
                  <a:tcPr>
                    <a:lnT w="12700" cmpd="sng">
                      <a:noFill/>
                      <a:prstDash val="solid"/>
                    </a:lnT>
                  </a:tcPr>
                </a:tc>
                <a:tc hMerge="1">
                  <a:txBody>
                    <a:bodyPr/>
                    <a:lstStyle/>
                    <a:p>
                      <a:endParaRPr lang="de-DE"/>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tcPr>
                </a:tc>
                <a:tc hMerge="1">
                  <a:txBody>
                    <a:bodyPr/>
                    <a:lstStyle/>
                    <a:p>
                      <a:endParaRPr lang="de-DE"/>
                    </a:p>
                  </a:txBody>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1009132" rtl="0" eaLnBrk="1" fontAlgn="b" latinLnBrk="0" hangingPunct="1">
                        <a:lnSpc>
                          <a:spcPct val="100000"/>
                        </a:lnSpc>
                        <a:spcBef>
                          <a:spcPct val="0"/>
                        </a:spcBef>
                        <a:spcAft>
                          <a:spcPct val="0"/>
                        </a:spcAft>
                        <a:buClrTx/>
                        <a:buSzTx/>
                        <a:buFontTx/>
                        <a:buNone/>
                        <a:defRPr/>
                      </a:pPr>
                      <a:endPar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029988347"/>
                  </a:ext>
                </a:extLst>
              </a:tr>
              <a:tr h="178333">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EUR vs. USD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1,05</a:t>
                      </a:r>
                    </a:p>
                  </a:txBody>
                  <a:tcPr marL="6350" marR="6350" marT="6350" marB="0" anchor="ctr">
                    <a:lnL>
                      <a:noFill/>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0629980"/>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USD vs. JPY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155</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4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2275865"/>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EUR vs. JPY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163</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04198"/>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EUR vs. CHF</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0,94</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ctr" defTabSz="911565" rtl="0" eaLnBrk="1" fontAlgn="ctr" latinLnBrk="0" hangingPunct="1">
                        <a:lnSpc>
                          <a:spcPct val="100000"/>
                        </a:lnSpc>
                        <a:spcBef>
                          <a:spcPts val="0"/>
                        </a:spcBef>
                        <a:spcAft>
                          <a:spcPts val="0"/>
                        </a:spcAft>
                        <a:buClrTx/>
                        <a:buSzTx/>
                        <a:buFontTx/>
                        <a:buNone/>
                        <a:tabLst/>
                        <a:defRPr/>
                      </a:pPr>
                      <a:r>
                        <a:rPr lang="de-DE" sz="1000" b="1" kern="1200" dirty="0">
                          <a:solidFill>
                            <a:srgbClr val="535B61"/>
                          </a:solidFill>
                          <a:latin typeface="Wingdings" panose="05000000000000000000" pitchFamily="2" charset="2"/>
                          <a:ea typeface="+mn-ea"/>
                          <a:cs typeface="+mn-cs"/>
                        </a:rPr>
                        <a:t>è</a:t>
                      </a:r>
                      <a:r>
                        <a:rPr lang="de-DE" sz="1000" b="1" i="0" u="none" strike="noStrike" dirty="0">
                          <a:solidFill>
                            <a:srgbClr val="535B61"/>
                          </a:solidFill>
                          <a:effectLst/>
                          <a:latin typeface="Wingdings 3" panose="05040102010807070707" pitchFamily="18" charset="2"/>
                        </a:rPr>
                        <a: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0,9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highlight>
                          <a:srgbClr val="FFFF00"/>
                        </a:highligh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944618"/>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EUR vs. GBP</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0,83</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0,8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7848285"/>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GBP vs. USD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1,26</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ctr" defTabSz="911565" rtl="0" eaLnBrk="1" fontAlgn="ctr" latinLnBrk="0" hangingPunct="1">
                        <a:lnSpc>
                          <a:spcPct val="100000"/>
                        </a:lnSpc>
                        <a:spcBef>
                          <a:spcPts val="0"/>
                        </a:spcBef>
                        <a:spcAft>
                          <a:spcPts val="0"/>
                        </a:spcAft>
                        <a:buClrTx/>
                        <a:buSzTx/>
                        <a:buFontTx/>
                        <a:buNone/>
                        <a:tabLst/>
                        <a:defRPr/>
                      </a:pPr>
                      <a:r>
                        <a:rPr lang="de-DE" sz="1000" b="1" i="0" u="none" strike="noStrike" dirty="0">
                          <a:solidFill>
                            <a:srgbClr val="535B61"/>
                          </a:solidFill>
                          <a:effectLst/>
                          <a:latin typeface="Wingdings 3" panose="05040102010807070707" pitchFamily="18" charset="2"/>
                        </a:rPr>
                        <a:t>è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090476"/>
                  </a:ext>
                </a:extLst>
              </a:tr>
              <a:tr h="172580">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USD vs. CNY</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de-DE" sz="800" b="0" i="0" u="none" strike="noStrike" dirty="0">
                          <a:solidFill>
                            <a:srgbClr val="535B61"/>
                          </a:solidFill>
                          <a:effectLst/>
                          <a:latin typeface="Deutsche Bank Text" panose="020B0503020202030204" pitchFamily="34" charset="0"/>
                        </a:rPr>
                        <a:t>7,20</a:t>
                      </a:r>
                    </a:p>
                  </a:txBody>
                  <a:tcPr marL="6350" marR="635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1000" b="1" i="0" u="none" strike="noStrike"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7,4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endParaRPr lang="de-DE" sz="800" b="1" i="0" u="none" strike="noStrike" dirty="0">
                        <a:solidFill>
                          <a:srgbClr val="535B61"/>
                        </a:solidFill>
                        <a:effectLst/>
                        <a:latin typeface="Deutsche Bank Text" panose="020B0503020202030204" pitchFamily="34" charset="0"/>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2089953"/>
                  </a:ext>
                </a:extLst>
              </a:tr>
            </a:tbl>
          </a:graphicData>
        </a:graphic>
      </p:graphicFrame>
      <p:graphicFrame>
        <p:nvGraphicFramePr>
          <p:cNvPr id="20" name="Table 4">
            <a:extLst>
              <a:ext uri="{FF2B5EF4-FFF2-40B4-BE49-F238E27FC236}">
                <a16:creationId xmlns:a16="http://schemas.microsoft.com/office/drawing/2014/main" id="{35F06D3C-97D8-88EC-F403-098C13469DA6}"/>
              </a:ext>
            </a:extLst>
          </p:cNvPr>
          <p:cNvGraphicFramePr>
            <a:graphicFrameLocks noGrp="1"/>
          </p:cNvGraphicFramePr>
          <p:nvPr>
            <p:extLst>
              <p:ext uri="{D42A27DB-BD31-4B8C-83A1-F6EECF244321}">
                <p14:modId xmlns:p14="http://schemas.microsoft.com/office/powerpoint/2010/main" val="3956929997"/>
              </p:ext>
            </p:extLst>
          </p:nvPr>
        </p:nvGraphicFramePr>
        <p:xfrm>
          <a:off x="8363744" y="1066973"/>
          <a:ext cx="3026202" cy="815339"/>
        </p:xfrm>
        <a:graphic>
          <a:graphicData uri="http://schemas.openxmlformats.org/drawingml/2006/table">
            <a:tbl>
              <a:tblPr firstRow="1"/>
              <a:tblGrid>
                <a:gridCol w="785928">
                  <a:extLst>
                    <a:ext uri="{9D8B030D-6E8A-4147-A177-3AD203B41FA5}">
                      <a16:colId xmlns:a16="http://schemas.microsoft.com/office/drawing/2014/main" val="20000"/>
                    </a:ext>
                  </a:extLst>
                </a:gridCol>
                <a:gridCol w="538332">
                  <a:extLst>
                    <a:ext uri="{9D8B030D-6E8A-4147-A177-3AD203B41FA5}">
                      <a16:colId xmlns:a16="http://schemas.microsoft.com/office/drawing/2014/main" val="20001"/>
                    </a:ext>
                  </a:extLst>
                </a:gridCol>
                <a:gridCol w="850971">
                  <a:extLst>
                    <a:ext uri="{9D8B030D-6E8A-4147-A177-3AD203B41FA5}">
                      <a16:colId xmlns:a16="http://schemas.microsoft.com/office/drawing/2014/main" val="20002"/>
                    </a:ext>
                  </a:extLst>
                </a:gridCol>
                <a:gridCol w="850971">
                  <a:extLst>
                    <a:ext uri="{9D8B030D-6E8A-4147-A177-3AD203B41FA5}">
                      <a16:colId xmlns:a16="http://schemas.microsoft.com/office/drawing/2014/main" val="2270645203"/>
                    </a:ext>
                  </a:extLst>
                </a:gridCol>
              </a:tblGrid>
              <a:tr h="516505">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Aktueller Stand</a:t>
                      </a: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ggü. aktuellem Stand</a:t>
                      </a: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Strategische</a:t>
                      </a:r>
                      <a:r>
                        <a:rPr lang="de-DE" sz="800" b="1" kern="1200" baseline="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 Prognose per </a:t>
                      </a:r>
                      <a:br>
                        <a:rPr lang="de-DE" sz="800" b="1" kern="1200" baseline="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800" b="1" kern="1200" baseline="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November 2024</a:t>
                      </a:r>
                      <a:endPar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Erwartete 12m Gesamtrendite</a:t>
                      </a:r>
                    </a:p>
                  </a:txBody>
                  <a:tcPr marL="5064" marR="5064" marT="5081"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8834">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15. November 2024</a:t>
                      </a: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b"/>
                      <a:endPar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Prognose</a:t>
                      </a:r>
                      <a:b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br>
                      <a:r>
                        <a:rPr lang="de-DE" sz="800" b="1" kern="1200" noProof="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rPr>
                        <a:t>Dezember 2025</a:t>
                      </a: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ctr" defTabSz="1009132" rtl="0" eaLnBrk="1" fontAlgn="b" latinLnBrk="0" hangingPunct="1">
                        <a:lnSpc>
                          <a:spcPct val="100000"/>
                        </a:lnSpc>
                        <a:spcBef>
                          <a:spcPts val="0"/>
                        </a:spcBef>
                        <a:spcAft>
                          <a:spcPts val="0"/>
                        </a:spcAft>
                        <a:buClrTx/>
                        <a:buSzTx/>
                        <a:buFontTx/>
                        <a:buNone/>
                        <a:tabLst/>
                        <a:defRPr/>
                      </a:pPr>
                      <a:endParaRPr lang="de-DE" sz="800" b="1" kern="1200" noProof="0" dirty="0">
                        <a:solidFill>
                          <a:srgbClr val="002060"/>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5064" marR="5064" marT="5081"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1" name="Tabelle 3">
            <a:extLst>
              <a:ext uri="{FF2B5EF4-FFF2-40B4-BE49-F238E27FC236}">
                <a16:creationId xmlns:a16="http://schemas.microsoft.com/office/drawing/2014/main" id="{B3771D02-5992-F9BB-69AF-65505A4CE2FF}"/>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878650238"/>
              </p:ext>
            </p:extLst>
          </p:nvPr>
        </p:nvGraphicFramePr>
        <p:xfrm>
          <a:off x="5973801" y="1867193"/>
          <a:ext cx="5307287" cy="4274239"/>
        </p:xfrm>
        <a:graphic>
          <a:graphicData uri="http://schemas.openxmlformats.org/drawingml/2006/table">
            <a:tbl>
              <a:tblPr firstRow="1"/>
              <a:tblGrid>
                <a:gridCol w="2267973">
                  <a:extLst>
                    <a:ext uri="{9D8B030D-6E8A-4147-A177-3AD203B41FA5}">
                      <a16:colId xmlns:a16="http://schemas.microsoft.com/office/drawing/2014/main" val="370254090"/>
                    </a:ext>
                  </a:extLst>
                </a:gridCol>
                <a:gridCol w="739171">
                  <a:extLst>
                    <a:ext uri="{9D8B030D-6E8A-4147-A177-3AD203B41FA5}">
                      <a16:colId xmlns:a16="http://schemas.microsoft.com/office/drawing/2014/main" val="3184247996"/>
                    </a:ext>
                  </a:extLst>
                </a:gridCol>
                <a:gridCol w="852501">
                  <a:extLst>
                    <a:ext uri="{9D8B030D-6E8A-4147-A177-3AD203B41FA5}">
                      <a16:colId xmlns:a16="http://schemas.microsoft.com/office/drawing/2014/main" val="20686244"/>
                    </a:ext>
                  </a:extLst>
                </a:gridCol>
                <a:gridCol w="723821">
                  <a:extLst>
                    <a:ext uri="{9D8B030D-6E8A-4147-A177-3AD203B41FA5}">
                      <a16:colId xmlns:a16="http://schemas.microsoft.com/office/drawing/2014/main" val="1658170153"/>
                    </a:ext>
                  </a:extLst>
                </a:gridCol>
                <a:gridCol w="723821">
                  <a:extLst>
                    <a:ext uri="{9D8B030D-6E8A-4147-A177-3AD203B41FA5}">
                      <a16:colId xmlns:a16="http://schemas.microsoft.com/office/drawing/2014/main" val="3353775703"/>
                    </a:ext>
                  </a:extLst>
                </a:gridCol>
              </a:tblGrid>
              <a:tr h="230965">
                <a:tc gridSpan="4">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1009132" rtl="0" eaLnBrk="1" fontAlgn="b" latinLnBrk="0" hangingPunct="1">
                        <a:lnSpc>
                          <a:spcPct val="100000"/>
                        </a:lnSpc>
                        <a:spcBef>
                          <a:spcPct val="0"/>
                        </a:spcBef>
                        <a:spcAft>
                          <a:spcPct val="0"/>
                        </a:spcAft>
                        <a:buClrTx/>
                        <a:buSzTx/>
                        <a:buFontTx/>
                        <a:buNone/>
                        <a:defRPr/>
                      </a:pPr>
                      <a:r>
                        <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Aktienmärkte</a:t>
                      </a:r>
                      <a:r>
                        <a:rPr lang="de-DE" sz="900" b="0" kern="1200" baseline="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 (Indexstand in Punkten</a:t>
                      </a:r>
                      <a:r>
                        <a:rPr lang="en-US" sz="900" b="0" kern="1200" baseline="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a:t>
                      </a:r>
                      <a:endParaRPr lang="en-US"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de-DE"/>
                    </a:p>
                  </a:txBody>
                  <a:tcPr>
                    <a:lnL w="12700" cap="flat" cmpd="sng" algn="ctr">
                      <a:noFill/>
                      <a:prstDash val="solid"/>
                      <a:round/>
                      <a:headEnd type="none" w="med" len="med"/>
                      <a:tailEnd type="none" w="med" len="med"/>
                    </a:lnL>
                  </a:tcPr>
                </a:tc>
                <a:tc hMerge="1">
                  <a:txBody>
                    <a:bodyPr/>
                    <a:lstStyle/>
                    <a:p>
                      <a:endParaRPr lang="de-DE"/>
                    </a:p>
                  </a:txBody>
                  <a:tcPr>
                    <a:lnL w="12700" cap="flat" cmpd="sng" algn="ctr">
                      <a:solidFill>
                        <a:schemeClr val="tx1"/>
                      </a:solidFill>
                      <a:prstDash val="solid"/>
                      <a:round/>
                      <a:headEnd type="none" w="med" len="med"/>
                      <a:tailEnd type="none" w="med" len="med"/>
                    </a:lnL>
                  </a:tcPr>
                </a:tc>
                <a:tc hMerge="1">
                  <a:txBody>
                    <a:bodyPr/>
                    <a:lstStyle/>
                    <a:p>
                      <a:endParaRPr lang="de-DE"/>
                    </a:p>
                  </a:txBody>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1009132" rtl="0" eaLnBrk="1" fontAlgn="b" latinLnBrk="0" hangingPunct="1">
                        <a:lnSpc>
                          <a:spcPct val="100000"/>
                        </a:lnSpc>
                        <a:spcBef>
                          <a:spcPct val="0"/>
                        </a:spcBef>
                        <a:spcAft>
                          <a:spcPct val="0"/>
                        </a:spcAft>
                        <a:buClrTx/>
                        <a:buSzTx/>
                        <a:buFontTx/>
                        <a:buNone/>
                        <a:defRPr/>
                      </a:pPr>
                      <a:endParaRPr lang="en-US"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096102308"/>
                  </a:ext>
                </a:extLst>
              </a:tr>
              <a:tr h="198018">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USA (S&amp;P 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5.894</a:t>
                      </a:r>
                    </a:p>
                  </a:txBody>
                  <a:tcPr marL="6350" marR="6350" marT="6350" marB="0" anchor="ctr">
                    <a:lnL w="12700" cmpd="sng">
                      <a:noFill/>
                      <a:prstDash val="soli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6.5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11,5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172590"/>
                  </a:ext>
                </a:extLst>
              </a:tr>
              <a:tr h="193511">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Deutschland (DAX)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19.223</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20.5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6,6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9845511"/>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Eurozone (EURO STOXX 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4.806</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4.9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6,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1071038"/>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Europa (STOXX 6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504</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5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7,7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2626913"/>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Japan (MSCI Japan)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1.663</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1.7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8,8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9732211"/>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Schweiz (SMI)</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11.632</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12.0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6,9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6695642"/>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Großbritannien (FTSE 1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8.067</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8.1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5,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0191178"/>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Schwellenländer (MSCI E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1.084</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1.1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8,9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2747254"/>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Asien ex Japan (MSCI Asia ex Japan)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704</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7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9,0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1642537"/>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Australien (MSCI Austral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1.649</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1.6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3,6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0202800"/>
                  </a:ext>
                </a:extLst>
              </a:tr>
              <a:tr h="230965">
                <a:tc gridSpan="4">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l" defTabSz="1009132" rtl="0" eaLnBrk="1" fontAlgn="b" latinLnBrk="0" hangingPunct="1">
                        <a:lnSpc>
                          <a:spcPct val="100000"/>
                        </a:lnSpc>
                        <a:spcBef>
                          <a:spcPct val="0"/>
                        </a:spcBef>
                        <a:spcAft>
                          <a:spcPct val="0"/>
                        </a:spcAft>
                        <a:buClrTx/>
                        <a:buSzTx/>
                        <a:buFontTx/>
                        <a:buNone/>
                        <a:defRPr/>
                      </a:pPr>
                      <a:r>
                        <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Rohstoffe in US-Dollar</a:t>
                      </a:r>
                      <a:r>
                        <a:rPr lang="en-US"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de-DE"/>
                    </a:p>
                  </a:txBody>
                  <a:tcPr>
                    <a:lnL w="12700" cmpd="sng">
                      <a:noFill/>
                      <a:prstDash val="solid"/>
                    </a:lnL>
                    <a:lnT w="12700" cap="flat" cmpd="sng" algn="ctr">
                      <a:noFill/>
                      <a:prstDash val="solid"/>
                      <a:round/>
                      <a:headEnd type="none" w="med" len="med"/>
                      <a:tailEnd type="none" w="med" len="med"/>
                    </a:lnT>
                  </a:tcPr>
                </a:tc>
                <a:tc hMerge="1">
                  <a:txBody>
                    <a:bodyPr/>
                    <a:lstStyle/>
                    <a:p>
                      <a:endParaRPr lang="de-DE"/>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l" defTabSz="1009132" rtl="0" eaLnBrk="1" fontAlgn="b" latinLnBrk="0" hangingPunct="1">
                        <a:lnSpc>
                          <a:spcPct val="100000"/>
                        </a:lnSpc>
                        <a:spcBef>
                          <a:spcPct val="0"/>
                        </a:spcBef>
                        <a:spcAft>
                          <a:spcPct val="0"/>
                        </a:spcAft>
                        <a:buClrTx/>
                        <a:buSzTx/>
                        <a:buFontTx/>
                        <a:buNone/>
                        <a:defRPr/>
                      </a:pPr>
                      <a:endParaRPr lang="en-US" sz="900" b="0" kern="1200" noProof="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2582920833"/>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755934" rtl="0" eaLnBrk="1" fontAlgn="ctr" latinLnBrk="0" hangingPunct="1"/>
                      <a:r>
                        <a:rPr lang="en-US"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Gold </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2.571</a:t>
                      </a:r>
                    </a:p>
                  </a:txBody>
                  <a:tcPr marL="6350" marR="6350" marT="6350" marB="0" anchor="ctr">
                    <a:lnL w="12700" cmpd="sng">
                      <a:noFill/>
                      <a:prstDash val="soli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2.8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3,8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2722229"/>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755934" rtl="0" eaLnBrk="1" fontAlgn="ctr" latinLnBrk="0" hangingPunct="1"/>
                      <a:r>
                        <a:rPr lang="de-DE"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Öl</a:t>
                      </a:r>
                      <a:r>
                        <a:rPr lang="en-US" sz="800" kern="12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rPr>
                        <a:t> (Brent Spot)</a:t>
                      </a:r>
                      <a:endParaRPr lang="en-US" sz="800" kern="1200" baseline="30000" noProof="0" dirty="0">
                        <a:solidFill>
                          <a:srgbClr val="535B61"/>
                        </a:solidFill>
                        <a:effectLst/>
                        <a:latin typeface="Deutsche Bank Text" panose="020B0503020202030204" pitchFamily="34" charset="0"/>
                        <a:ea typeface="Deutsche Bank Text" panose="020B0503020202030204" pitchFamily="34" charset="0"/>
                        <a:cs typeface="Times New Roman" panose="02020603050405020304" pitchFamily="18" charset="0"/>
                      </a:endParaRP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72</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6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1,7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0546992"/>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l" rtl="0" fontAlgn="ctr"/>
                      <a:r>
                        <a:rPr lang="de-DE" sz="800" b="0" i="0" u="none" strike="noStrike" dirty="0">
                          <a:solidFill>
                            <a:srgbClr val="535B61"/>
                          </a:solidFill>
                          <a:effectLst/>
                          <a:latin typeface="Deutsche Bank Text" panose="020B0503020202030204" pitchFamily="34" charset="0"/>
                        </a:rPr>
                        <a:t>CO</a:t>
                      </a:r>
                      <a:r>
                        <a:rPr lang="de-DE" sz="800" b="0" i="0" u="none" strike="noStrike" baseline="-25000" dirty="0">
                          <a:solidFill>
                            <a:srgbClr val="535B61"/>
                          </a:solidFill>
                          <a:effectLst/>
                          <a:latin typeface="Deutsche Bank Text" panose="020B0503020202030204" pitchFamily="34" charset="0"/>
                        </a:rPr>
                        <a:t>2</a:t>
                      </a:r>
                      <a:endParaRPr lang="de-DE" sz="800" b="0" i="0" u="none" strike="noStrike" baseline="0" dirty="0">
                        <a:solidFill>
                          <a:srgbClr val="535B61"/>
                        </a:solidFill>
                        <a:effectLst/>
                        <a:latin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68</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æ</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7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10,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6771938"/>
                  </a:ext>
                </a:extLst>
              </a:tr>
              <a:tr h="230965">
                <a:tc gridSpan="4">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l" defTabSz="911565" rtl="0" eaLnBrk="1" fontAlgn="ctr" latinLnBrk="0" hangingPunct="1">
                        <a:lnSpc>
                          <a:spcPct val="100000"/>
                        </a:lnSpc>
                        <a:spcBef>
                          <a:spcPts val="0"/>
                        </a:spcBef>
                        <a:spcAft>
                          <a:spcPts val="0"/>
                        </a:spcAft>
                        <a:buClrTx/>
                        <a:buSzTx/>
                        <a:buFontTx/>
                        <a:buNone/>
                        <a:tabLst/>
                        <a:defRPr/>
                      </a:pPr>
                      <a:r>
                        <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Renditeabstände (Unternehmen &amp; Schwellenmärkte Anleihen) in </a:t>
                      </a:r>
                      <a:r>
                        <a:rPr lang="de-DE" sz="900" b="0" kern="1200" noProof="0" dirty="0" err="1">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Bp</a:t>
                      </a:r>
                      <a:endParaRPr lang="de-DE" sz="900" b="0" kern="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de-DE"/>
                    </a:p>
                  </a:txBody>
                  <a:tcPr>
                    <a:lnL w="12700" cmpd="sng">
                      <a:noFill/>
                      <a:prstDash val="solid"/>
                    </a:lnL>
                    <a:lnT w="12700" cap="flat" cmpd="sng" algn="ctr">
                      <a:noFill/>
                      <a:prstDash val="solid"/>
                      <a:round/>
                      <a:headEnd type="none" w="med" len="med"/>
                      <a:tailEnd type="none" w="med" len="med"/>
                    </a:lnT>
                  </a:tcPr>
                </a:tc>
                <a:tc hMerge="1">
                  <a:txBody>
                    <a:bodyPr/>
                    <a:lstStyle/>
                    <a:p>
                      <a:endParaRPr lang="de-DE"/>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de-DE"/>
                    </a:p>
                  </a:txBody>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l" defTabSz="911565" rtl="0" eaLnBrk="1" fontAlgn="ctr" latinLnBrk="0" hangingPunct="1">
                        <a:lnSpc>
                          <a:spcPct val="100000"/>
                        </a:lnSpc>
                        <a:spcBef>
                          <a:spcPts val="0"/>
                        </a:spcBef>
                        <a:spcAft>
                          <a:spcPts val="0"/>
                        </a:spcAft>
                        <a:buClrTx/>
                        <a:buSzTx/>
                        <a:buFontTx/>
                        <a:buNone/>
                        <a:tabLst/>
                        <a:defRPr/>
                      </a:pPr>
                      <a:endParaRPr lang="de-DE" sz="900" b="0" kern="1200" noProof="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endParaRP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3029988347"/>
                  </a:ext>
                </a:extLst>
              </a:tr>
              <a:tr h="193511">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914274" rtl="0" eaLnBrk="1" fontAlgn="b" latinLnBrk="0" hangingPunct="1"/>
                      <a:r>
                        <a:rPr lang="de-DE" sz="800" b="0" i="0" u="none" strike="noStrike" kern="120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EUR Investment Grade</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99</a:t>
                      </a:r>
                    </a:p>
                  </a:txBody>
                  <a:tcPr marL="6350" marR="6350" marT="6350" marB="0" anchor="ctr">
                    <a:lnL w="12700" cmpd="sng">
                      <a:noFill/>
                      <a:prstDash val="soli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è</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9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4,7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0629980"/>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914274" rtl="0" eaLnBrk="1" fontAlgn="b" latinLnBrk="0" hangingPunct="1"/>
                      <a:r>
                        <a:rPr lang="de-DE" sz="800" b="0" i="0" u="none" strike="noStrike" kern="120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EUR</a:t>
                      </a:r>
                      <a:r>
                        <a:rPr lang="de-DE" sz="800" b="0" i="0" u="none" strike="noStrike" kern="1200" baseline="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 </a:t>
                      </a:r>
                      <a:r>
                        <a:rPr lang="de-DE" sz="800" b="0" i="0" u="none" strike="noStrike" kern="120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Hochzinsanleihen</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324</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æ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4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3,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2275865"/>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algn="l" defTabSz="914274" rtl="0" eaLnBrk="1" fontAlgn="b" latinLnBrk="0" hangingPunct="1"/>
                      <a:r>
                        <a:rPr lang="de-DE" sz="800" b="0" i="0" u="none" strike="noStrike" kern="120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USD Investment Grade</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73</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æ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8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a:solidFill>
                            <a:srgbClr val="535B61"/>
                          </a:solidFill>
                          <a:effectLst/>
                          <a:latin typeface="Deutsche Bank Text" panose="020B0503020202030204" pitchFamily="34" charset="0"/>
                        </a:rPr>
                        <a:t>4,2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04198"/>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914274" rtl="0" eaLnBrk="1" fontAlgn="b" latinLnBrk="0" hangingPunct="1">
                        <a:lnSpc>
                          <a:spcPct val="100000"/>
                        </a:lnSpc>
                        <a:spcBef>
                          <a:spcPct val="0"/>
                        </a:spcBef>
                        <a:spcAft>
                          <a:spcPct val="0"/>
                        </a:spcAft>
                        <a:buClrTx/>
                        <a:buSzTx/>
                        <a:buFontTx/>
                        <a:buNone/>
                        <a:defRPr/>
                      </a:pPr>
                      <a:r>
                        <a:rPr lang="de-DE" sz="800" b="0" i="0" u="none" strike="noStrike" kern="1200" noProof="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USD</a:t>
                      </a:r>
                      <a:r>
                        <a:rPr lang="de-DE" sz="800" b="0" i="0" u="none" strike="noStrike" kern="1200" baseline="0" noProof="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 </a:t>
                      </a:r>
                      <a:r>
                        <a:rPr lang="de-DE" sz="800" b="0" i="0" u="none" strike="noStrike" kern="1200" noProof="0" dirty="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Hochzinsanleihen</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254</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æ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3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3,9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944618"/>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914274" rtl="0" eaLnBrk="1" fontAlgn="b" latinLnBrk="0" hangingPunct="1">
                        <a:lnSpc>
                          <a:spcPct val="100000"/>
                        </a:lnSpc>
                        <a:spcBef>
                          <a:spcPct val="0"/>
                        </a:spcBef>
                        <a:spcAft>
                          <a:spcPct val="0"/>
                        </a:spcAft>
                        <a:buClrTx/>
                        <a:buSzTx/>
                        <a:buFontTx/>
                        <a:buNone/>
                        <a:defRPr/>
                      </a:pPr>
                      <a:r>
                        <a:rPr lang="de-DE" sz="800" b="0" i="0" u="none" strike="noStrike" kern="120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Asien-Unternehmensanleihen</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a:solidFill>
                            <a:srgbClr val="535B61"/>
                          </a:solidFill>
                          <a:effectLst/>
                          <a:latin typeface="Deutsche Bank Text" panose="020B0503020202030204" pitchFamily="34" charset="0"/>
                        </a:rPr>
                        <a:t>133</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en-US" sz="1000" b="1" i="0" u="none" strike="noStrike" noProof="0" dirty="0">
                          <a:solidFill>
                            <a:srgbClr val="535B61"/>
                          </a:solidFill>
                          <a:effectLst/>
                          <a:latin typeface="Wingdings 3" panose="05040102010807070707" pitchFamily="18" charset="2"/>
                        </a:rPr>
                        <a:t>è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dirty="0">
                          <a:solidFill>
                            <a:srgbClr val="535B61"/>
                          </a:solidFill>
                          <a:effectLst/>
                          <a:latin typeface="Deutsche Bank Text" panose="020B0503020202030204" pitchFamily="34" charset="0"/>
                        </a:rPr>
                        <a:t>12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6,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7848285"/>
                  </a:ext>
                </a:extLst>
              </a:tr>
              <a:tr h="187269">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indent="0" algn="l" defTabSz="914274" rtl="0" eaLnBrk="1" fontAlgn="b" latinLnBrk="0" hangingPunct="1">
                        <a:lnSpc>
                          <a:spcPct val="100000"/>
                        </a:lnSpc>
                        <a:spcBef>
                          <a:spcPct val="0"/>
                        </a:spcBef>
                        <a:spcAft>
                          <a:spcPct val="0"/>
                        </a:spcAft>
                        <a:buClrTx/>
                        <a:buSzTx/>
                        <a:buFontTx/>
                        <a:buNone/>
                        <a:defRPr/>
                      </a:pPr>
                      <a:r>
                        <a:rPr lang="de-DE" sz="800" b="0" i="0" u="none" strike="noStrike" kern="120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Schwellenländer</a:t>
                      </a:r>
                      <a:r>
                        <a:rPr lang="de-DE" sz="800" b="0" i="0" u="none" strike="noStrike" kern="1200" baseline="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a:t>
                      </a:r>
                      <a:r>
                        <a:rPr lang="de-DE" sz="800" b="0" i="0" u="none" strike="noStrike" kern="1200" noProof="0">
                          <a:solidFill>
                            <a:schemeClr val="tx2"/>
                          </a:solidFill>
                          <a:latin typeface="Deutsche Bank Text" panose="020B0503020202030204" pitchFamily="34" charset="0"/>
                          <a:ea typeface="Deutsche Bank Text" panose="020B0503020202030204" pitchFamily="34" charset="0"/>
                          <a:cs typeface="Deutsche Bank Text" panose="020B0503020202030204" pitchFamily="34" charset="0"/>
                        </a:rPr>
                        <a:t>Staatsanleihen</a:t>
                      </a:r>
                    </a:p>
                  </a:txBody>
                  <a:tcPr marL="5064" marR="5064" marT="508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r" rtl="0" fontAlgn="ctr"/>
                      <a:r>
                        <a:rPr lang="en-US" sz="800" b="0" i="0" u="none" strike="noStrike" noProof="0" dirty="0">
                          <a:solidFill>
                            <a:srgbClr val="535B61"/>
                          </a:solidFill>
                          <a:effectLst/>
                          <a:latin typeface="Deutsche Bank Text" panose="020B0503020202030204" pitchFamily="34" charset="0"/>
                        </a:rPr>
                        <a:t>325</a:t>
                      </a:r>
                    </a:p>
                  </a:txBody>
                  <a:tcPr marL="6350" marR="6350" marT="6350" marB="0" anchor="ctr">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marL="0" marR="0" lvl="0" indent="0" algn="ctr" defTabSz="911565" rtl="0" eaLnBrk="1" fontAlgn="ctr" latinLnBrk="0" hangingPunct="1">
                        <a:lnSpc>
                          <a:spcPct val="100000"/>
                        </a:lnSpc>
                        <a:spcBef>
                          <a:spcPts val="0"/>
                        </a:spcBef>
                        <a:spcAft>
                          <a:spcPts val="0"/>
                        </a:spcAft>
                        <a:buClrTx/>
                        <a:buSzTx/>
                        <a:buFontTx/>
                        <a:buNone/>
                        <a:tabLst/>
                        <a:defRPr/>
                      </a:pPr>
                      <a:r>
                        <a:rPr lang="en-US" sz="1000" b="1" i="0" u="none" strike="noStrike" noProof="0" dirty="0">
                          <a:solidFill>
                            <a:srgbClr val="535B61"/>
                          </a:solidFill>
                          <a:effectLst/>
                          <a:latin typeface="Wingdings 3" panose="05040102010807070707" pitchFamily="18" charset="2"/>
                        </a:rPr>
                        <a:t>æ </a:t>
                      </a:r>
                    </a:p>
                  </a:txBody>
                  <a:tcPr marL="6350" marR="635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1" i="0" u="none" strike="noStrike">
                          <a:solidFill>
                            <a:srgbClr val="535B61"/>
                          </a:solidFill>
                          <a:effectLst/>
                          <a:latin typeface="Deutsche Bank Text" panose="020B0503020202030204" pitchFamily="34" charset="0"/>
                        </a:rPr>
                        <a:t>39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2655" rtl="0" eaLnBrk="1" latinLnBrk="0" hangingPunct="1">
                        <a:defRPr sz="1809" kern="1200">
                          <a:solidFill>
                            <a:schemeClr val="tx1"/>
                          </a:solidFill>
                          <a:latin typeface="Calibri" panose="020F0502020204030204"/>
                        </a:defRPr>
                      </a:lvl1pPr>
                      <a:lvl2pPr marL="456327" algn="l" defTabSz="912655" rtl="0" eaLnBrk="1" latinLnBrk="0" hangingPunct="1">
                        <a:defRPr sz="1809" kern="1200">
                          <a:solidFill>
                            <a:schemeClr val="tx1"/>
                          </a:solidFill>
                          <a:latin typeface="Calibri" panose="020F0502020204030204"/>
                        </a:defRPr>
                      </a:lvl2pPr>
                      <a:lvl3pPr marL="912655" algn="l" defTabSz="912655" rtl="0" eaLnBrk="1" latinLnBrk="0" hangingPunct="1">
                        <a:defRPr sz="1809" kern="1200">
                          <a:solidFill>
                            <a:schemeClr val="tx1"/>
                          </a:solidFill>
                          <a:latin typeface="Calibri" panose="020F0502020204030204"/>
                        </a:defRPr>
                      </a:lvl3pPr>
                      <a:lvl4pPr marL="1368982" algn="l" defTabSz="912655" rtl="0" eaLnBrk="1" latinLnBrk="0" hangingPunct="1">
                        <a:defRPr sz="1809" kern="1200">
                          <a:solidFill>
                            <a:schemeClr val="tx1"/>
                          </a:solidFill>
                          <a:latin typeface="Calibri" panose="020F0502020204030204"/>
                        </a:defRPr>
                      </a:lvl4pPr>
                      <a:lvl5pPr marL="1825306" algn="l" defTabSz="912655" rtl="0" eaLnBrk="1" latinLnBrk="0" hangingPunct="1">
                        <a:defRPr sz="1809" kern="1200">
                          <a:solidFill>
                            <a:schemeClr val="tx1"/>
                          </a:solidFill>
                          <a:latin typeface="Calibri" panose="020F0502020204030204"/>
                        </a:defRPr>
                      </a:lvl5pPr>
                      <a:lvl6pPr marL="2281635" algn="l" defTabSz="912655" rtl="0" eaLnBrk="1" latinLnBrk="0" hangingPunct="1">
                        <a:defRPr sz="1809" kern="1200">
                          <a:solidFill>
                            <a:schemeClr val="tx1"/>
                          </a:solidFill>
                          <a:latin typeface="Calibri" panose="020F0502020204030204"/>
                        </a:defRPr>
                      </a:lvl6pPr>
                      <a:lvl7pPr marL="2737962" algn="l" defTabSz="912655" rtl="0" eaLnBrk="1" latinLnBrk="0" hangingPunct="1">
                        <a:defRPr sz="1809" kern="1200">
                          <a:solidFill>
                            <a:schemeClr val="tx1"/>
                          </a:solidFill>
                          <a:latin typeface="Calibri" panose="020F0502020204030204"/>
                        </a:defRPr>
                      </a:lvl7pPr>
                      <a:lvl8pPr marL="3194288" algn="l" defTabSz="912655" rtl="0" eaLnBrk="1" latinLnBrk="0" hangingPunct="1">
                        <a:defRPr sz="1809" kern="1200">
                          <a:solidFill>
                            <a:schemeClr val="tx1"/>
                          </a:solidFill>
                          <a:latin typeface="Calibri" panose="020F0502020204030204"/>
                        </a:defRPr>
                      </a:lvl8pPr>
                      <a:lvl9pPr marL="3650615" algn="l" defTabSz="912655" rtl="0" eaLnBrk="1" latinLnBrk="0" hangingPunct="1">
                        <a:defRPr sz="1809" kern="1200">
                          <a:solidFill>
                            <a:schemeClr val="tx1"/>
                          </a:solidFill>
                          <a:latin typeface="Calibri" panose="020F0502020204030204"/>
                        </a:defRPr>
                      </a:lvl9pPr>
                    </a:lstStyle>
                    <a:p>
                      <a:pPr algn="ctr" rtl="0" fontAlgn="ctr"/>
                      <a:r>
                        <a:rPr lang="de-DE" sz="800" b="0" i="0" u="none" strike="noStrike" dirty="0">
                          <a:solidFill>
                            <a:srgbClr val="535B61"/>
                          </a:solidFill>
                          <a:effectLst/>
                          <a:latin typeface="Deutsche Bank Text" panose="020B0503020202030204" pitchFamily="34" charset="0"/>
                        </a:rPr>
                        <a:t>3,4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090476"/>
                  </a:ext>
                </a:extLst>
              </a:tr>
            </a:tbl>
          </a:graphicData>
        </a:graphic>
      </p:graphicFrame>
      <p:sp>
        <p:nvSpPr>
          <p:cNvPr id="7" name="Inhaltsplatzhalter 6">
            <a:extLst>
              <a:ext uri="{FF2B5EF4-FFF2-40B4-BE49-F238E27FC236}">
                <a16:creationId xmlns:a16="http://schemas.microsoft.com/office/drawing/2014/main" id="{73DC7697-AA87-636D-19E8-FD878F907AA2}"/>
              </a:ext>
            </a:extLst>
          </p:cNvPr>
          <p:cNvSpPr>
            <a:spLocks noGrp="1"/>
          </p:cNvSpPr>
          <p:nvPr>
            <p:ph sz="quarter" idx="13"/>
          </p:nvPr>
        </p:nvSpPr>
        <p:spPr/>
        <p:txBody>
          <a:bodyPr/>
          <a:lstStyle/>
          <a:p>
            <a:r>
              <a:rPr lang="de-DE"/>
              <a:t>Quelle: Deutsche Bank AG, Bloomberg Finance L.P.; Stand: 15. November 2024.</a:t>
            </a:r>
          </a:p>
        </p:txBody>
      </p:sp>
      <p:sp>
        <p:nvSpPr>
          <p:cNvPr id="5" name="Foliennummernplatzhalter 4">
            <a:extLst>
              <a:ext uri="{FF2B5EF4-FFF2-40B4-BE49-F238E27FC236}">
                <a16:creationId xmlns:a16="http://schemas.microsoft.com/office/drawing/2014/main" id="{53BA14E8-43D8-AC62-3BB1-A0F195F288DD}"/>
              </a:ext>
            </a:extLst>
          </p:cNvPr>
          <p:cNvSpPr>
            <a:spLocks noGrp="1"/>
          </p:cNvSpPr>
          <p:nvPr>
            <p:ph type="sldNum" sz="quarter" idx="4"/>
          </p:nvPr>
        </p:nvSpPr>
        <p:spPr/>
        <p:txBody>
          <a:bodyPr/>
          <a:lstStyle/>
          <a:p>
            <a:fld id="{D71DA9FD-6EF8-4CC5-AF9B-B6159B5B937C}" type="slidenum">
              <a:rPr lang="en-GB" noProof="1" smtClean="0"/>
              <a:pPr/>
              <a:t>32</a:t>
            </a:fld>
            <a:endParaRPr lang="en-GB" noProof="1"/>
          </a:p>
        </p:txBody>
      </p:sp>
    </p:spTree>
    <p:extLst>
      <p:ext uri="{BB962C8B-B14F-4D97-AF65-F5344CB8AC3E}">
        <p14:creationId xmlns:p14="http://schemas.microsoft.com/office/powerpoint/2010/main" val="3362094253"/>
      </p:ext>
    </p:extLst>
  </p:cSld>
  <p:clrMapOvr>
    <a:masterClrMapping/>
  </p:clrMapOvr>
  <p:transition>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BAB25120-60FD-A907-3621-BCC5FA72A579}"/>
              </a:ext>
            </a:extLst>
          </p:cNvPr>
          <p:cNvSpPr>
            <a:spLocks noGrp="1"/>
          </p:cNvSpPr>
          <p:nvPr>
            <p:ph type="title"/>
          </p:nvPr>
        </p:nvSpPr>
        <p:spPr/>
        <p:txBody>
          <a:bodyPr/>
          <a:lstStyle/>
          <a:p>
            <a:r>
              <a:rPr lang="de-DE"/>
              <a:t>Historische Wertentwicklung</a:t>
            </a:r>
          </a:p>
        </p:txBody>
      </p:sp>
      <p:sp>
        <p:nvSpPr>
          <p:cNvPr id="5" name="Foliennummernplatzhalter 4">
            <a:extLst>
              <a:ext uri="{FF2B5EF4-FFF2-40B4-BE49-F238E27FC236}">
                <a16:creationId xmlns:a16="http://schemas.microsoft.com/office/drawing/2014/main" id="{53BA14E8-43D8-AC62-3BB1-A0F195F288DD}"/>
              </a:ext>
            </a:extLst>
          </p:cNvPr>
          <p:cNvSpPr>
            <a:spLocks noGrp="1"/>
          </p:cNvSpPr>
          <p:nvPr>
            <p:ph type="sldNum" sz="quarter" idx="4"/>
          </p:nvPr>
        </p:nvSpPr>
        <p:spPr/>
        <p:txBody>
          <a:bodyPr/>
          <a:lstStyle/>
          <a:p>
            <a:fld id="{D71DA9FD-6EF8-4CC5-AF9B-B6159B5B937C}" type="slidenum">
              <a:rPr lang="en-GB" noProof="1" smtClean="0"/>
              <a:pPr/>
              <a:t>33</a:t>
            </a:fld>
            <a:endParaRPr lang="en-GB" noProof="1"/>
          </a:p>
        </p:txBody>
      </p:sp>
      <p:sp>
        <p:nvSpPr>
          <p:cNvPr id="7" name="Inhaltsplatzhalter 6">
            <a:extLst>
              <a:ext uri="{FF2B5EF4-FFF2-40B4-BE49-F238E27FC236}">
                <a16:creationId xmlns:a16="http://schemas.microsoft.com/office/drawing/2014/main" id="{73DC7697-AA87-636D-19E8-FD878F907AA2}"/>
              </a:ext>
            </a:extLst>
          </p:cNvPr>
          <p:cNvSpPr>
            <a:spLocks noGrp="1"/>
          </p:cNvSpPr>
          <p:nvPr>
            <p:ph sz="quarter" idx="13"/>
          </p:nvPr>
        </p:nvSpPr>
        <p:spPr/>
        <p:txBody>
          <a:bodyPr/>
          <a:lstStyle/>
          <a:p>
            <a:r>
              <a:rPr lang="de-DE"/>
              <a:t>Quelle: Deutsche Bank AG, Bloomberg Finance L.P.; Stand: 26. November 2024.</a:t>
            </a:r>
          </a:p>
        </p:txBody>
      </p:sp>
      <p:graphicFrame>
        <p:nvGraphicFramePr>
          <p:cNvPr id="4" name="Table 3">
            <a:extLst>
              <a:ext uri="{FF2B5EF4-FFF2-40B4-BE49-F238E27FC236}">
                <a16:creationId xmlns:a16="http://schemas.microsoft.com/office/drawing/2014/main" id="{CDD3254B-9336-E0ED-78D9-2DD76C0F6C84}"/>
              </a:ext>
            </a:extLst>
          </p:cNvPr>
          <p:cNvGraphicFramePr>
            <a:graphicFrameLocks noGrp="1"/>
          </p:cNvGraphicFramePr>
          <p:nvPr>
            <p:extLst>
              <p:ext uri="{D42A27DB-BD31-4B8C-83A1-F6EECF244321}">
                <p14:modId xmlns:p14="http://schemas.microsoft.com/office/powerpoint/2010/main" val="3598923943"/>
              </p:ext>
            </p:extLst>
          </p:nvPr>
        </p:nvGraphicFramePr>
        <p:xfrm>
          <a:off x="475831" y="1023140"/>
          <a:ext cx="11270969" cy="5097338"/>
        </p:xfrm>
        <a:graphic>
          <a:graphicData uri="http://schemas.openxmlformats.org/drawingml/2006/table">
            <a:tbl>
              <a:tblPr firstRow="1" bandRow="1">
                <a:tableStyleId>{5C22544A-7EE6-4342-B048-85BDC9FD1C3A}</a:tableStyleId>
              </a:tblPr>
              <a:tblGrid>
                <a:gridCol w="2090468">
                  <a:extLst>
                    <a:ext uri="{9D8B030D-6E8A-4147-A177-3AD203B41FA5}">
                      <a16:colId xmlns:a16="http://schemas.microsoft.com/office/drawing/2014/main" val="672072262"/>
                    </a:ext>
                  </a:extLst>
                </a:gridCol>
                <a:gridCol w="1657529">
                  <a:extLst>
                    <a:ext uri="{9D8B030D-6E8A-4147-A177-3AD203B41FA5}">
                      <a16:colId xmlns:a16="http://schemas.microsoft.com/office/drawing/2014/main" val="3046009262"/>
                    </a:ext>
                  </a:extLst>
                </a:gridCol>
                <a:gridCol w="1657529">
                  <a:extLst>
                    <a:ext uri="{9D8B030D-6E8A-4147-A177-3AD203B41FA5}">
                      <a16:colId xmlns:a16="http://schemas.microsoft.com/office/drawing/2014/main" val="3896671805"/>
                    </a:ext>
                  </a:extLst>
                </a:gridCol>
                <a:gridCol w="1657529">
                  <a:extLst>
                    <a:ext uri="{9D8B030D-6E8A-4147-A177-3AD203B41FA5}">
                      <a16:colId xmlns:a16="http://schemas.microsoft.com/office/drawing/2014/main" val="3449096668"/>
                    </a:ext>
                  </a:extLst>
                </a:gridCol>
                <a:gridCol w="1657529">
                  <a:extLst>
                    <a:ext uri="{9D8B030D-6E8A-4147-A177-3AD203B41FA5}">
                      <a16:colId xmlns:a16="http://schemas.microsoft.com/office/drawing/2014/main" val="842259759"/>
                    </a:ext>
                  </a:extLst>
                </a:gridCol>
                <a:gridCol w="2550385">
                  <a:extLst>
                    <a:ext uri="{9D8B030D-6E8A-4147-A177-3AD203B41FA5}">
                      <a16:colId xmlns:a16="http://schemas.microsoft.com/office/drawing/2014/main" val="2156528449"/>
                    </a:ext>
                  </a:extLst>
                </a:gridCol>
              </a:tblGrid>
              <a:tr h="110688">
                <a:tc>
                  <a:txBody>
                    <a:bodyPr/>
                    <a:lstStyle/>
                    <a:p>
                      <a:pPr algn="ctr" fontAlgn="ctr"/>
                      <a:r>
                        <a:rPr lang="en-US" sz="650" b="1" i="0" u="none" strike="noStrike">
                          <a:solidFill>
                            <a:srgbClr val="FFFFFF"/>
                          </a:solidFill>
                          <a:effectLst/>
                          <a:latin typeface="Deutsche Bank Text"/>
                        </a:rPr>
                        <a:t>Performance</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19 - 26.11.202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0 - 26.11.202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1 - 26.11.202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2 - 26.11.202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3 - 26.11.2024</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extLst>
                  <a:ext uri="{0D108BD9-81ED-4DB2-BD59-A6C34878D82A}">
                    <a16:rowId xmlns:a16="http://schemas.microsoft.com/office/drawing/2014/main" val="3648166882"/>
                  </a:ext>
                </a:extLst>
              </a:tr>
              <a:tr h="110688">
                <a:tc>
                  <a:txBody>
                    <a:bodyPr/>
                    <a:lstStyle/>
                    <a:p>
                      <a:pPr algn="l" fontAlgn="b"/>
                      <a:r>
                        <a:rPr lang="en-US" sz="650" b="0" i="0" u="none" strike="noStrike">
                          <a:solidFill>
                            <a:srgbClr val="000000"/>
                          </a:solidFill>
                          <a:effectLst/>
                          <a:latin typeface="Deutsche Bank Text"/>
                        </a:rPr>
                        <a:t>S&amp;P5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5,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6,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2,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3,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2,1%</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3269567"/>
                  </a:ext>
                </a:extLst>
              </a:tr>
              <a:tr h="110688">
                <a:tc>
                  <a:txBody>
                    <a:bodyPr/>
                    <a:lstStyle/>
                    <a:p>
                      <a:pPr algn="l" fontAlgn="b"/>
                      <a:r>
                        <a:rPr lang="en-US" sz="650" b="0" i="0" u="none" strike="noStrike">
                          <a:solidFill>
                            <a:srgbClr val="000000"/>
                          </a:solidFill>
                          <a:effectLst/>
                          <a:latin typeface="Deutsche Bank Text"/>
                        </a:rPr>
                        <a:t>S&amp;P500 Value</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0,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9,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4,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866741540"/>
                  </a:ext>
                </a:extLst>
              </a:tr>
              <a:tr h="110688">
                <a:tc>
                  <a:txBody>
                    <a:bodyPr/>
                    <a:lstStyle/>
                    <a:p>
                      <a:pPr algn="l" fontAlgn="b"/>
                      <a:r>
                        <a:rPr lang="en-US" sz="650" b="0" i="0" u="none" strike="noStrike">
                          <a:solidFill>
                            <a:srgbClr val="000000"/>
                          </a:solidFill>
                          <a:effectLst/>
                          <a:latin typeface="Deutsche Bank Text"/>
                        </a:rPr>
                        <a:t>S&amp;P500 Growth</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30,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2,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6,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8,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41780162"/>
                  </a:ext>
                </a:extLst>
              </a:tr>
              <a:tr h="110688">
                <a:tc>
                  <a:txBody>
                    <a:bodyPr/>
                    <a:lstStyle/>
                    <a:p>
                      <a:pPr algn="l" fontAlgn="b"/>
                      <a:r>
                        <a:rPr lang="en-US" sz="650" b="0" i="0" u="none" strike="noStrike">
                          <a:solidFill>
                            <a:srgbClr val="000000"/>
                          </a:solidFill>
                          <a:effectLst/>
                          <a:latin typeface="Deutsche Bank Text"/>
                        </a:rPr>
                        <a:t>DAX</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0,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4,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0,4%</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962350013"/>
                  </a:ext>
                </a:extLst>
              </a:tr>
              <a:tr h="110688">
                <a:tc>
                  <a:txBody>
                    <a:bodyPr/>
                    <a:lstStyle/>
                    <a:p>
                      <a:pPr algn="l" fontAlgn="b"/>
                      <a:r>
                        <a:rPr lang="en-US" sz="650" b="0" i="0" u="none" strike="noStrike">
                          <a:solidFill>
                            <a:srgbClr val="000000"/>
                          </a:solidFill>
                          <a:effectLst/>
                          <a:latin typeface="Deutsche Bank Text"/>
                        </a:rPr>
                        <a:t>EUROSTOXX5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5,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6,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233017432"/>
                  </a:ext>
                </a:extLst>
              </a:tr>
              <a:tr h="110688">
                <a:tc>
                  <a:txBody>
                    <a:bodyPr/>
                    <a:lstStyle/>
                    <a:p>
                      <a:pPr algn="l" fontAlgn="b"/>
                      <a:r>
                        <a:rPr lang="en-US" sz="650" b="0" i="0" u="none" strike="noStrike">
                          <a:solidFill>
                            <a:srgbClr val="000000"/>
                          </a:solidFill>
                          <a:effectLst/>
                          <a:latin typeface="Deutsche Bank Text"/>
                        </a:rPr>
                        <a:t>STOXX 6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4,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8,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5,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221967289"/>
                  </a:ext>
                </a:extLst>
              </a:tr>
              <a:tr h="110688">
                <a:tc>
                  <a:txBody>
                    <a:bodyPr/>
                    <a:lstStyle/>
                    <a:p>
                      <a:pPr algn="l" fontAlgn="b"/>
                      <a:r>
                        <a:rPr lang="en-US" sz="650" b="0" i="0" u="none" strike="noStrike">
                          <a:solidFill>
                            <a:srgbClr val="000000"/>
                          </a:solidFill>
                          <a:effectLst/>
                          <a:latin typeface="Deutsche Bank Text"/>
                        </a:rPr>
                        <a:t>MSCI Japan</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5,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3,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9,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2,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404444077"/>
                  </a:ext>
                </a:extLst>
              </a:tr>
              <a:tr h="110688">
                <a:tc>
                  <a:txBody>
                    <a:bodyPr/>
                    <a:lstStyle/>
                    <a:p>
                      <a:pPr algn="l" fontAlgn="b"/>
                      <a:r>
                        <a:rPr lang="en-US" sz="650" b="0" i="0" u="none" strike="noStrike">
                          <a:solidFill>
                            <a:srgbClr val="000000"/>
                          </a:solidFill>
                          <a:effectLst/>
                          <a:latin typeface="Deutsche Bank Text"/>
                        </a:rPr>
                        <a:t>SMI index</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0,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6,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123652883"/>
                  </a:ext>
                </a:extLst>
              </a:tr>
              <a:tr h="110688">
                <a:tc>
                  <a:txBody>
                    <a:bodyPr/>
                    <a:lstStyle/>
                    <a:p>
                      <a:pPr algn="l" fontAlgn="b"/>
                      <a:r>
                        <a:rPr lang="en-US" sz="650" b="0" i="0" u="none" strike="noStrike">
                          <a:solidFill>
                            <a:srgbClr val="000000"/>
                          </a:solidFill>
                          <a:effectLst/>
                          <a:latin typeface="Deutsche Bank Text"/>
                        </a:rPr>
                        <a:t>FTSE 1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4,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3%</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570309287"/>
                  </a:ext>
                </a:extLst>
              </a:tr>
              <a:tr h="110688">
                <a:tc>
                  <a:txBody>
                    <a:bodyPr/>
                    <a:lstStyle/>
                    <a:p>
                      <a:pPr algn="l" fontAlgn="b"/>
                      <a:r>
                        <a:rPr lang="en-US" sz="650" b="0" i="0" u="none" strike="noStrike">
                          <a:solidFill>
                            <a:srgbClr val="000000"/>
                          </a:solidFill>
                          <a:effectLst/>
                          <a:latin typeface="Deutsche Bank Text"/>
                        </a:rPr>
                        <a:t>MSCI EM</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7,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3,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19402015"/>
                  </a:ext>
                </a:extLst>
              </a:tr>
              <a:tr h="110688">
                <a:tc>
                  <a:txBody>
                    <a:bodyPr/>
                    <a:lstStyle/>
                    <a:p>
                      <a:pPr algn="l" fontAlgn="b"/>
                      <a:r>
                        <a:rPr lang="en-US" sz="650" b="0" i="0" u="none" strike="noStrike">
                          <a:solidFill>
                            <a:srgbClr val="000000"/>
                          </a:solidFill>
                          <a:effectLst/>
                          <a:latin typeface="Deutsche Bank Text"/>
                        </a:rPr>
                        <a:t>MSCI ex Japan</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3,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4,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4,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524918537"/>
                  </a:ext>
                </a:extLst>
              </a:tr>
              <a:tr h="110688">
                <a:tc>
                  <a:txBody>
                    <a:bodyPr/>
                    <a:lstStyle/>
                    <a:p>
                      <a:pPr algn="l" fontAlgn="b"/>
                      <a:r>
                        <a:rPr lang="en-US" sz="650" b="0" i="0" u="none" strike="noStrike">
                          <a:solidFill>
                            <a:srgbClr val="000000"/>
                          </a:solidFill>
                          <a:effectLst/>
                          <a:latin typeface="Deutsche Bank Text"/>
                        </a:rPr>
                        <a:t>MSCI </a:t>
                      </a:r>
                      <a:r>
                        <a:rPr lang="en-US" sz="650" b="0" i="0" u="none" strike="noStrike" err="1">
                          <a:solidFill>
                            <a:srgbClr val="000000"/>
                          </a:solidFill>
                          <a:effectLst/>
                          <a:latin typeface="Deutsche Bank Text"/>
                        </a:rPr>
                        <a:t>Australien</a:t>
                      </a:r>
                      <a:endParaRPr lang="en-US" sz="650" b="0" i="0" u="none" strike="noStrike">
                        <a:solidFill>
                          <a:srgbClr val="000000"/>
                        </a:solidFill>
                        <a:effectLst/>
                        <a:latin typeface="Deutsche Bank Text"/>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4,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8,4%</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327982632"/>
                  </a:ext>
                </a:extLst>
              </a:tr>
              <a:tr h="110688">
                <a:tc>
                  <a:txBody>
                    <a:bodyPr/>
                    <a:lstStyle/>
                    <a:p>
                      <a:pPr algn="l" fontAlgn="b"/>
                      <a:r>
                        <a:rPr lang="en-US" sz="650" b="0" i="0" u="none" strike="noStrike">
                          <a:solidFill>
                            <a:srgbClr val="000000"/>
                          </a:solidFill>
                          <a:effectLst/>
                          <a:latin typeface="Deutsche Bank Text"/>
                        </a:rPr>
                        <a:t>Topix</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4,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1,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8,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2,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366665339"/>
                  </a:ext>
                </a:extLst>
              </a:tr>
              <a:tr h="110688">
                <a:tc>
                  <a:txBody>
                    <a:bodyPr/>
                    <a:lstStyle/>
                    <a:p>
                      <a:pPr algn="l" fontAlgn="b"/>
                      <a:r>
                        <a:rPr lang="en-US" sz="650" b="0" i="0" u="none" strike="noStrike">
                          <a:solidFill>
                            <a:srgbClr val="000000"/>
                          </a:solidFill>
                          <a:effectLst/>
                          <a:latin typeface="Deutsche Bank Text"/>
                        </a:rPr>
                        <a:t>MOEX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6,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2,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146110947"/>
                  </a:ext>
                </a:extLst>
              </a:tr>
              <a:tr h="110688">
                <a:tc>
                  <a:txBody>
                    <a:bodyPr/>
                    <a:lstStyle/>
                    <a:p>
                      <a:pPr algn="l" fontAlgn="b"/>
                      <a:r>
                        <a:rPr lang="en-US" sz="650" b="0" i="0" u="none" strike="noStrike">
                          <a:solidFill>
                            <a:srgbClr val="000000"/>
                          </a:solidFill>
                          <a:effectLst/>
                          <a:latin typeface="Deutsche Bank Text"/>
                        </a:rPr>
                        <a:t>CSI 3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5,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6,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9,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2,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73943468"/>
                  </a:ext>
                </a:extLst>
              </a:tr>
              <a:tr h="110688">
                <a:tc>
                  <a:txBody>
                    <a:bodyPr/>
                    <a:lstStyle/>
                    <a:p>
                      <a:pPr algn="l" fontAlgn="b"/>
                      <a:r>
                        <a:rPr lang="en-US" sz="650" b="0" i="0" u="none" strike="noStrike">
                          <a:solidFill>
                            <a:srgbClr val="000000"/>
                          </a:solidFill>
                          <a:effectLst/>
                          <a:latin typeface="Deutsche Bank Text"/>
                        </a:rPr>
                        <a:t>FTSE MIB</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3,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8,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6,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44126945"/>
                  </a:ext>
                </a:extLst>
              </a:tr>
              <a:tr h="110688">
                <a:tc>
                  <a:txBody>
                    <a:bodyPr/>
                    <a:lstStyle/>
                    <a:p>
                      <a:pPr algn="l" fontAlgn="b"/>
                      <a:r>
                        <a:rPr lang="en-US" sz="650" b="0" i="0" u="none" strike="noStrike">
                          <a:solidFill>
                            <a:srgbClr val="000000"/>
                          </a:solidFill>
                          <a:effectLst/>
                          <a:latin typeface="Deutsche Bank Text"/>
                        </a:rPr>
                        <a:t>IBEX</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7,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1,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2,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6,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64639218"/>
                  </a:ext>
                </a:extLst>
              </a:tr>
              <a:tr h="110688">
                <a:tc>
                  <a:txBody>
                    <a:bodyPr/>
                    <a:lstStyle/>
                    <a:p>
                      <a:pPr algn="l" fontAlgn="b"/>
                      <a:r>
                        <a:rPr lang="en-US" sz="650" b="0" i="0" u="none" strike="noStrike">
                          <a:solidFill>
                            <a:srgbClr val="000000"/>
                          </a:solidFill>
                          <a:effectLst/>
                          <a:latin typeface="Deutsche Bank Text"/>
                        </a:rPr>
                        <a:t>Hang Seng</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0,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7,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1%</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651996897"/>
                  </a:ext>
                </a:extLst>
              </a:tr>
              <a:tr h="110688">
                <a:tc>
                  <a:txBody>
                    <a:bodyPr/>
                    <a:lstStyle/>
                    <a:p>
                      <a:pPr algn="l" fontAlgn="b"/>
                      <a:r>
                        <a:rPr lang="en-US" sz="650" b="0" i="0" u="none" strike="noStrike">
                          <a:solidFill>
                            <a:srgbClr val="000000"/>
                          </a:solidFill>
                          <a:effectLst/>
                          <a:latin typeface="Deutsche Bank Text"/>
                        </a:rPr>
                        <a:t>STI</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0,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69137697"/>
                  </a:ext>
                </a:extLst>
              </a:tr>
              <a:tr h="110688">
                <a:tc>
                  <a:txBody>
                    <a:bodyPr/>
                    <a:lstStyle/>
                    <a:p>
                      <a:pPr algn="l" fontAlgn="b"/>
                      <a:r>
                        <a:rPr lang="en-US" sz="650" b="0" i="0" u="none" strike="noStrike">
                          <a:solidFill>
                            <a:srgbClr val="000000"/>
                          </a:solidFill>
                          <a:effectLst/>
                          <a:latin typeface="Deutsche Bank Text"/>
                        </a:rPr>
                        <a:t>Nifty 5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7,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1,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2,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492262012"/>
                  </a:ext>
                </a:extLst>
              </a:tr>
              <a:tr h="110688">
                <a:tc>
                  <a:txBody>
                    <a:bodyPr/>
                    <a:lstStyle/>
                    <a:p>
                      <a:pPr algn="l" fontAlgn="b"/>
                      <a:r>
                        <a:rPr lang="en-US" sz="650" b="0" i="0" u="none" strike="noStrike">
                          <a:solidFill>
                            <a:srgbClr val="000000"/>
                          </a:solidFill>
                          <a:effectLst/>
                          <a:latin typeface="Deutsche Bank Text"/>
                        </a:rPr>
                        <a:t>IBOVESPA</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3,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7,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5,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289789"/>
                  </a:ext>
                </a:extLst>
              </a:tr>
              <a:tr h="110688">
                <a:tc>
                  <a:txBody>
                    <a:bodyPr/>
                    <a:lstStyle/>
                    <a:p>
                      <a:pPr algn="l" fontAlgn="b"/>
                      <a:r>
                        <a:rPr lang="en-US" sz="650" b="0" i="0" u="none" strike="noStrike">
                          <a:solidFill>
                            <a:srgbClr val="000000"/>
                          </a:solidFill>
                          <a:effectLst/>
                          <a:latin typeface="Deutsche Bank Text"/>
                        </a:rPr>
                        <a:t>MEXBOL</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1,0%</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16,7%</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4,4%</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2,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6,1%</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4880021"/>
                  </a:ext>
                </a:extLst>
              </a:tr>
              <a:tr h="116486">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86967994"/>
                  </a:ext>
                </a:extLst>
              </a:tr>
              <a:tr h="110688">
                <a:tc>
                  <a:txBody>
                    <a:bodyPr/>
                    <a:lstStyle/>
                    <a:p>
                      <a:pPr algn="ctr" fontAlgn="ctr"/>
                      <a:r>
                        <a:rPr lang="en-US" sz="650" b="1" i="0" u="none" strike="noStrike">
                          <a:solidFill>
                            <a:srgbClr val="FFFFFF"/>
                          </a:solidFill>
                          <a:effectLst/>
                          <a:latin typeface="Deutsche Bank Text"/>
                        </a:rPr>
                        <a:t>Performance</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19 - 26.11.202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0 - 26.11.202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1 - 26.11.202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2 - 26.11.202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3 - 26.11.2024</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extLst>
                  <a:ext uri="{0D108BD9-81ED-4DB2-BD59-A6C34878D82A}">
                    <a16:rowId xmlns:a16="http://schemas.microsoft.com/office/drawing/2014/main" val="895118526"/>
                  </a:ext>
                </a:extLst>
              </a:tr>
              <a:tr h="110688">
                <a:tc>
                  <a:txBody>
                    <a:bodyPr/>
                    <a:lstStyle/>
                    <a:p>
                      <a:pPr algn="l" fontAlgn="b"/>
                      <a:r>
                        <a:rPr lang="en-US" sz="650" b="0" i="0" u="none" strike="noStrike">
                          <a:solidFill>
                            <a:srgbClr val="000000"/>
                          </a:solidFill>
                          <a:effectLst/>
                          <a:latin typeface="Deutsche Bank Text"/>
                        </a:rPr>
                        <a:t>JPM EMU 1-1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5,8%</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507834314"/>
                  </a:ext>
                </a:extLst>
              </a:tr>
              <a:tr h="110688">
                <a:tc>
                  <a:txBody>
                    <a:bodyPr/>
                    <a:lstStyle/>
                    <a:p>
                      <a:pPr algn="l" fontAlgn="b"/>
                      <a:r>
                        <a:rPr lang="en-US" sz="650" b="0" i="0" u="none" strike="noStrike">
                          <a:solidFill>
                            <a:srgbClr val="000000"/>
                          </a:solidFill>
                          <a:effectLst/>
                          <a:latin typeface="Deutsche Bank Text"/>
                        </a:rPr>
                        <a:t>iBoxx US Treasuries 1-1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5,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7,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5,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198112169"/>
                  </a:ext>
                </a:extLst>
              </a:tr>
              <a:tr h="110688">
                <a:tc>
                  <a:txBody>
                    <a:bodyPr/>
                    <a:lstStyle/>
                    <a:p>
                      <a:pPr algn="l" fontAlgn="b"/>
                      <a:r>
                        <a:rPr lang="en-US" sz="650" b="0" i="0" u="none" strike="noStrike" err="1">
                          <a:solidFill>
                            <a:srgbClr val="000000"/>
                          </a:solidFill>
                          <a:effectLst/>
                          <a:latin typeface="Deutsche Bank Text"/>
                        </a:rPr>
                        <a:t>iBoxx</a:t>
                      </a:r>
                      <a:r>
                        <a:rPr lang="en-US" sz="650" b="0" i="0" u="none" strike="noStrike">
                          <a:solidFill>
                            <a:srgbClr val="000000"/>
                          </a:solidFill>
                          <a:effectLst/>
                          <a:latin typeface="Deutsche Bank Text"/>
                        </a:rPr>
                        <a:t> EUR Covered</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2,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820296069"/>
                  </a:ext>
                </a:extLst>
              </a:tr>
              <a:tr h="110688">
                <a:tc>
                  <a:txBody>
                    <a:bodyPr/>
                    <a:lstStyle/>
                    <a:p>
                      <a:pPr algn="l" fontAlgn="b"/>
                      <a:r>
                        <a:rPr lang="en-US" sz="650" b="0" i="0" u="none" strike="noStrike" err="1">
                          <a:solidFill>
                            <a:srgbClr val="000000"/>
                          </a:solidFill>
                          <a:effectLst/>
                          <a:latin typeface="Deutsche Bank Text"/>
                        </a:rPr>
                        <a:t>iBoxx</a:t>
                      </a:r>
                      <a:r>
                        <a:rPr lang="en-US" sz="650" b="0" i="0" u="none" strike="noStrike">
                          <a:solidFill>
                            <a:srgbClr val="000000"/>
                          </a:solidFill>
                          <a:effectLst/>
                          <a:latin typeface="Deutsche Bank Text"/>
                        </a:rPr>
                        <a:t> EUR Corporates Overall</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2,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78237589"/>
                  </a:ext>
                </a:extLst>
              </a:tr>
              <a:tr h="110688">
                <a:tc>
                  <a:txBody>
                    <a:bodyPr/>
                    <a:lstStyle/>
                    <a:p>
                      <a:pPr algn="l" fontAlgn="b"/>
                      <a:r>
                        <a:rPr lang="en-US" sz="650" b="0" i="0" u="none" strike="noStrike" err="1">
                          <a:solidFill>
                            <a:srgbClr val="000000"/>
                          </a:solidFill>
                          <a:effectLst/>
                          <a:latin typeface="Deutsche Bank Text"/>
                        </a:rPr>
                        <a:t>iBoxx</a:t>
                      </a:r>
                      <a:r>
                        <a:rPr lang="en-US" sz="650" b="0" i="0" u="none" strike="noStrike">
                          <a:solidFill>
                            <a:srgbClr val="000000"/>
                          </a:solidFill>
                          <a:effectLst/>
                          <a:latin typeface="Deutsche Bank Text"/>
                        </a:rPr>
                        <a:t> EUR Liquid High Yield</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7,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44120669"/>
                  </a:ext>
                </a:extLst>
              </a:tr>
              <a:tr h="110688">
                <a:tc>
                  <a:txBody>
                    <a:bodyPr/>
                    <a:lstStyle/>
                    <a:p>
                      <a:pPr algn="l" fontAlgn="b"/>
                      <a:r>
                        <a:rPr lang="en-US" sz="650" b="0" i="0" u="none" strike="noStrike">
                          <a:solidFill>
                            <a:srgbClr val="000000"/>
                          </a:solidFill>
                          <a:effectLst/>
                          <a:latin typeface="Deutsche Bank Text"/>
                        </a:rPr>
                        <a:t>JPM EMBI Global</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5,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6,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5,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3,1%</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752706361"/>
                  </a:ext>
                </a:extLst>
              </a:tr>
              <a:tr h="163079">
                <a:tc>
                  <a:txBody>
                    <a:bodyPr/>
                    <a:lstStyle/>
                    <a:p>
                      <a:pPr algn="l" fontAlgn="b"/>
                      <a:r>
                        <a:rPr lang="en-US" sz="650" b="0" i="0" u="none" strike="noStrike">
                          <a:solidFill>
                            <a:srgbClr val="000000"/>
                          </a:solidFill>
                          <a:effectLst/>
                          <a:latin typeface="Deutsche Bank Text"/>
                        </a:rPr>
                        <a:t>Bloomberg EM Local Currency Govt</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4,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5,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16172985"/>
                  </a:ext>
                </a:extLst>
              </a:tr>
              <a:tr h="163079">
                <a:tc>
                  <a:txBody>
                    <a:bodyPr/>
                    <a:lstStyle/>
                    <a:p>
                      <a:pPr algn="l" fontAlgn="b"/>
                      <a:r>
                        <a:rPr lang="en-US" sz="650" b="0" i="0" u="none" strike="noStrike">
                          <a:solidFill>
                            <a:srgbClr val="000000"/>
                          </a:solidFill>
                          <a:effectLst/>
                          <a:latin typeface="Deutsche Bank Text"/>
                        </a:rPr>
                        <a:t>Barclays US Corporate Inv. Grade</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9,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5,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3%</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119020116"/>
                  </a:ext>
                </a:extLst>
              </a:tr>
              <a:tr h="110688">
                <a:tc>
                  <a:txBody>
                    <a:bodyPr/>
                    <a:lstStyle/>
                    <a:p>
                      <a:pPr algn="l" fontAlgn="b"/>
                      <a:r>
                        <a:rPr lang="en-US" sz="650" b="0" i="0" u="none" strike="noStrike">
                          <a:solidFill>
                            <a:srgbClr val="000000"/>
                          </a:solidFill>
                          <a:effectLst/>
                          <a:latin typeface="Deutsche Bank Text"/>
                        </a:rPr>
                        <a:t>Barclays US Corporate HY</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7,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5,2%</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8,8%</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7,7%</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13,6%</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4365726"/>
                  </a:ext>
                </a:extLst>
              </a:tr>
              <a:tr h="116486">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65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30595301"/>
                  </a:ext>
                </a:extLst>
              </a:tr>
              <a:tr h="110688">
                <a:tc>
                  <a:txBody>
                    <a:bodyPr/>
                    <a:lstStyle/>
                    <a:p>
                      <a:pPr algn="ctr" fontAlgn="ctr"/>
                      <a:r>
                        <a:rPr lang="en-US" sz="650" b="1" i="0" u="none" strike="noStrike">
                          <a:solidFill>
                            <a:srgbClr val="FFFFFF"/>
                          </a:solidFill>
                          <a:effectLst/>
                          <a:latin typeface="Deutsche Bank Text"/>
                        </a:rPr>
                        <a:t>Performance</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19 - 26.11.202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0 - 26.11.2021</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1 - 26.11.202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2 - 26.11.202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002060"/>
                    </a:solidFill>
                  </a:tcPr>
                </a:tc>
                <a:tc>
                  <a:txBody>
                    <a:bodyPr/>
                    <a:lstStyle/>
                    <a:p>
                      <a:pPr algn="ctr" fontAlgn="ctr"/>
                      <a:r>
                        <a:rPr lang="en-US" sz="650" b="1" i="0" u="none" strike="noStrike">
                          <a:solidFill>
                            <a:srgbClr val="FFFFFF"/>
                          </a:solidFill>
                          <a:effectLst/>
                          <a:latin typeface="Deutsche Bank Text"/>
                        </a:rPr>
                        <a:t>26.11.2023 - 26.11.2024</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2060"/>
                    </a:solidFill>
                  </a:tcPr>
                </a:tc>
                <a:extLst>
                  <a:ext uri="{0D108BD9-81ED-4DB2-BD59-A6C34878D82A}">
                    <a16:rowId xmlns:a16="http://schemas.microsoft.com/office/drawing/2014/main" val="1620132906"/>
                  </a:ext>
                </a:extLst>
              </a:tr>
              <a:tr h="110688">
                <a:tc>
                  <a:txBody>
                    <a:bodyPr/>
                    <a:lstStyle/>
                    <a:p>
                      <a:pPr algn="l" fontAlgn="b"/>
                      <a:r>
                        <a:rPr lang="en-US" sz="650" b="0" i="0" u="none" strike="noStrike">
                          <a:solidFill>
                            <a:srgbClr val="000000"/>
                          </a:solidFill>
                          <a:effectLst/>
                          <a:latin typeface="Deutsche Bank Text"/>
                        </a:rPr>
                        <a:t>Gold</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4,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4,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1,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877016159"/>
                  </a:ext>
                </a:extLst>
              </a:tr>
              <a:tr h="110688">
                <a:tc>
                  <a:txBody>
                    <a:bodyPr/>
                    <a:lstStyle/>
                    <a:p>
                      <a:pPr algn="l" fontAlgn="b"/>
                      <a:r>
                        <a:rPr lang="en-US" sz="650" b="0" i="0" u="none" strike="noStrike">
                          <a:solidFill>
                            <a:srgbClr val="000000"/>
                          </a:solidFill>
                          <a:effectLst/>
                          <a:latin typeface="Deutsche Bank Text"/>
                        </a:rPr>
                        <a:t>Crude Oil WTI</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1,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9,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1,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722686575"/>
                  </a:ext>
                </a:extLst>
              </a:tr>
              <a:tr h="110688">
                <a:tc>
                  <a:txBody>
                    <a:bodyPr/>
                    <a:lstStyle/>
                    <a:p>
                      <a:pPr algn="l" fontAlgn="b"/>
                      <a:r>
                        <a:rPr lang="en-US" sz="650" b="0" i="0" u="none" strike="noStrike">
                          <a:solidFill>
                            <a:srgbClr val="000000"/>
                          </a:solidFill>
                          <a:effectLst/>
                          <a:latin typeface="Deutsche Bank Text"/>
                        </a:rPr>
                        <a:t>Crude Oil Brent</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5,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52,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5,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6%</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986432070"/>
                  </a:ext>
                </a:extLst>
              </a:tr>
              <a:tr h="110688">
                <a:tc>
                  <a:txBody>
                    <a:bodyPr/>
                    <a:lstStyle/>
                    <a:p>
                      <a:pPr algn="l" fontAlgn="b"/>
                      <a:r>
                        <a:rPr lang="en-US" sz="650" b="0" i="0" u="none" strike="noStrike">
                          <a:solidFill>
                            <a:srgbClr val="000000"/>
                          </a:solidFill>
                          <a:effectLst/>
                          <a:latin typeface="Deutsche Bank Text"/>
                        </a:rPr>
                        <a:t>Silver</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36,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7,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3,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5,2%</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177951306"/>
                  </a:ext>
                </a:extLst>
              </a:tr>
              <a:tr h="110688">
                <a:tc>
                  <a:txBody>
                    <a:bodyPr/>
                    <a:lstStyle/>
                    <a:p>
                      <a:pPr algn="l" fontAlgn="b"/>
                      <a:r>
                        <a:rPr lang="en-US" sz="650" b="0" i="0" u="none" strike="noStrike">
                          <a:solidFill>
                            <a:srgbClr val="000000"/>
                          </a:solidFill>
                          <a:effectLst/>
                          <a:latin typeface="Deutsche Bank Text"/>
                        </a:rPr>
                        <a:t>Platinum</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6,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9%</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5,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0,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985568764"/>
                  </a:ext>
                </a:extLst>
              </a:tr>
              <a:tr h="110688">
                <a:tc>
                  <a:txBody>
                    <a:bodyPr/>
                    <a:lstStyle/>
                    <a:p>
                      <a:pPr algn="l" fontAlgn="b"/>
                      <a:r>
                        <a:rPr lang="en-US" sz="650" b="0" i="0" u="none" strike="noStrike">
                          <a:solidFill>
                            <a:srgbClr val="000000"/>
                          </a:solidFill>
                          <a:effectLst/>
                          <a:latin typeface="Deutsche Bank Text"/>
                        </a:rPr>
                        <a:t>Palladium</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32,1%</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6,6%</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5%</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41,4%</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8,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5066928"/>
                  </a:ext>
                </a:extLst>
              </a:tr>
              <a:tr h="110688">
                <a:tc>
                  <a:txBody>
                    <a:bodyPr/>
                    <a:lstStyle/>
                    <a:p>
                      <a:pPr algn="l" fontAlgn="b"/>
                      <a:r>
                        <a:rPr lang="en-US" sz="650" b="0" i="0" u="none" strike="noStrike" err="1">
                          <a:solidFill>
                            <a:srgbClr val="000000"/>
                          </a:solidFill>
                          <a:effectLst/>
                          <a:latin typeface="Deutsche Bank Text"/>
                        </a:rPr>
                        <a:t>Aluminium</a:t>
                      </a:r>
                      <a:endParaRPr lang="en-US" sz="650" b="0" i="0" u="none" strike="noStrike">
                        <a:solidFill>
                          <a:srgbClr val="000000"/>
                        </a:solidFill>
                        <a:effectLst/>
                        <a:latin typeface="Deutsche Bank Text"/>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12,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32,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9,7%</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2%</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7,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6239377"/>
                  </a:ext>
                </a:extLst>
              </a:tr>
              <a:tr h="110688">
                <a:tc>
                  <a:txBody>
                    <a:bodyPr/>
                    <a:lstStyle/>
                    <a:p>
                      <a:pPr algn="l" fontAlgn="b"/>
                      <a:r>
                        <a:rPr lang="en-US" sz="650" b="0" i="0" u="none" strike="noStrike">
                          <a:solidFill>
                            <a:srgbClr val="000000"/>
                          </a:solidFill>
                          <a:effectLst/>
                          <a:latin typeface="Deutsche Bank Text"/>
                        </a:rPr>
                        <a:t>Copper</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ctr" fontAlgn="b"/>
                      <a:r>
                        <a:rPr lang="en-US" sz="650" b="0" i="0" u="none" strike="noStrike">
                          <a:solidFill>
                            <a:srgbClr val="000000"/>
                          </a:solidFill>
                          <a:effectLst/>
                          <a:latin typeface="Deutsche Bank Text"/>
                        </a:rPr>
                        <a:t>25,0%</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27,8%</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15,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5,3%</a:t>
                      </a:r>
                    </a:p>
                  </a:txBody>
                  <a:tcPr marL="9525" marR="9525" marT="9525" marB="0" anchor="b">
                    <a:lnL>
                      <a:noFill/>
                    </a:lnL>
                    <a:lnR>
                      <a:noFill/>
                    </a:lnR>
                    <a:lnT>
                      <a:noFill/>
                    </a:lnT>
                    <a:lnB>
                      <a:noFill/>
                    </a:lnB>
                    <a:noFill/>
                  </a:tcPr>
                </a:tc>
                <a:tc>
                  <a:txBody>
                    <a:bodyPr/>
                    <a:lstStyle/>
                    <a:p>
                      <a:pPr algn="ctr" fontAlgn="b"/>
                      <a:r>
                        <a:rPr lang="en-US" sz="650" b="0" i="0" u="none" strike="noStrike">
                          <a:solidFill>
                            <a:srgbClr val="000000"/>
                          </a:solidFill>
                          <a:effectLst/>
                          <a:latin typeface="Deutsche Bank Text"/>
                        </a:rPr>
                        <a:t>6,8%</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19111185"/>
                  </a:ext>
                </a:extLst>
              </a:tr>
              <a:tr h="110688">
                <a:tc>
                  <a:txBody>
                    <a:bodyPr/>
                    <a:lstStyle/>
                    <a:p>
                      <a:pPr algn="l" fontAlgn="b"/>
                      <a:r>
                        <a:rPr lang="en-US" sz="650" b="0" i="0" u="none" strike="noStrike">
                          <a:solidFill>
                            <a:srgbClr val="000000"/>
                          </a:solidFill>
                          <a:effectLst/>
                          <a:latin typeface="Deutsche Bank Text"/>
                        </a:rPr>
                        <a:t>Nickel</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11,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22,3%</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27,7%</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a:solidFill>
                            <a:srgbClr val="000000"/>
                          </a:solidFill>
                          <a:effectLst/>
                          <a:latin typeface="Deutsche Bank Text"/>
                        </a:rPr>
                        <a:t>-36,5%</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650" b="0" i="0" u="none" strike="noStrike" dirty="0">
                          <a:solidFill>
                            <a:srgbClr val="000000"/>
                          </a:solidFill>
                          <a:effectLst/>
                          <a:latin typeface="Deutsche Bank Text"/>
                        </a:rPr>
                        <a:t>-0,9%</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2703432"/>
                  </a:ext>
                </a:extLst>
              </a:tr>
            </a:tbl>
          </a:graphicData>
        </a:graphic>
      </p:graphicFrame>
    </p:spTree>
    <p:extLst>
      <p:ext uri="{BB962C8B-B14F-4D97-AF65-F5344CB8AC3E}">
        <p14:creationId xmlns:p14="http://schemas.microsoft.com/office/powerpoint/2010/main" val="1178238393"/>
      </p:ext>
    </p:extLst>
  </p:cSld>
  <p:clrMapOvr>
    <a:masterClrMapping/>
  </p:clrMapOvr>
  <p:transition>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7A036-CFC4-5F77-B9E4-2EF41DC52185}"/>
              </a:ext>
            </a:extLst>
          </p:cNvPr>
          <p:cNvSpPr>
            <a:spLocks noGrp="1"/>
          </p:cNvSpPr>
          <p:nvPr>
            <p:ph type="title"/>
          </p:nvPr>
        </p:nvSpPr>
        <p:spPr/>
        <p:txBody>
          <a:bodyPr/>
          <a:lstStyle/>
          <a:p>
            <a:r>
              <a:rPr lang="en-GB" sz="2000" err="1"/>
              <a:t>Wichtige</a:t>
            </a:r>
            <a:r>
              <a:rPr lang="en-GB" sz="2000"/>
              <a:t> </a:t>
            </a:r>
            <a:r>
              <a:rPr lang="en-GB" sz="2000" err="1"/>
              <a:t>Informationen</a:t>
            </a:r>
            <a:r>
              <a:rPr lang="en-GB" sz="2000"/>
              <a:t> (1/4)</a:t>
            </a:r>
          </a:p>
        </p:txBody>
      </p:sp>
      <p:sp>
        <p:nvSpPr>
          <p:cNvPr id="3" name="Text Placeholder 2">
            <a:extLst>
              <a:ext uri="{FF2B5EF4-FFF2-40B4-BE49-F238E27FC236}">
                <a16:creationId xmlns:a16="http://schemas.microsoft.com/office/drawing/2014/main" id="{EC1DB05C-2720-7138-3206-129A2E3D7D19}"/>
              </a:ext>
            </a:extLst>
          </p:cNvPr>
          <p:cNvSpPr>
            <a:spLocks noGrp="1"/>
          </p:cNvSpPr>
          <p:nvPr>
            <p:ph type="body" sz="quarter" idx="10"/>
          </p:nvPr>
        </p:nvSpPr>
        <p:spPr>
          <a:xfrm>
            <a:off x="442913" y="1387246"/>
            <a:ext cx="11306175" cy="4824412"/>
          </a:xfrm>
        </p:spPr>
        <p:txBody>
          <a:bodyPr/>
          <a:lstStyle/>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llgemeines</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darf nicht in Kanada oder Japan verteilt werden. Dieses Dokument richtet sich ausschließlich an Privat- oder Geschäftskund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ird über die Deutsche Bank Aktiengesellschaft, ihre Zweigstellen (wie in den jeweiligen Rechtsgebieten zulässig), verbundene Unternehmen und leitende Angestellte und Mitarbeiter (gemeinsam „Deutsche Bank“) vorgelegt. Dieses Material dient ausschließlich zu Ihrer Information und stellt kein Angebot, keine Empfehlung oder Angebotseinholung zum Kauf oder Verkauf von Geldanlagen, Wertpapieren, Finanzinstrumenten oder anderen Produkten, zum Abschluss einer Transaktion oder zur Bereitstellung einer Investmentdienstleistung oder Anlageberatung oder Finanzanalyse bzw. Anlageempfehlung in einem beliebigen Rechtsgebiet dar, sondern dient ausschließlich zu Informationszwecken. Die Informationen ersetzen nicht die auf die individuellen Verhältnisse des Anlegers zugeschnittene Beratung. Der gesamte Inhalt dieser Mitteilung ist vollumfänglich zu prüf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urde als allgemeiner Marktkommentar erstellt; Anlagebedürfnisse, Zielsetzungen oder finanzielle Umstände eines bestimmten Anlegers wurden nicht berücksichtigt. Geldanlagen unterliegen Marktrisiken, die sich aus dem jeweiligen Finanzinstrument ableiten lassen oder konkret mit dem Instrument oder dem entsprechenden Emittenten zusammenhängen. Falls solche Risiken eintreten, können Anlegern Verluste entstehen, einschließlich (ohne Beschränkung) des Gesamtverlusts des investierten Kapitals. Der Wert von Geldanlagen kann sowohl fallen als auch steigen, und Sie erhalten nicht zwangsläufig zu jedem Zeitpunkt den ursprünglich angelegten Betrag zurück. In diesem Dokument werden nicht alle Risiken (direkt oder indirekt) und sonstigen Überlegungen ausgeführt, die für einen Anleger bei der Geldanlageentscheidung wesentlich sein könn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und alle darin enthaltenen Informationen werden in der vorliegenden Form soweit verfügbar bereitgestellt, und die Deutsche Bank gibt keine Zusicherung oder Gewährleistung, sei es ausdrücklicher, stillschweigender oder gesetzlicher Art, in Bezug auf in diesem Dokument enthaltene oder damit in Zusammenhang stehende Aussagen oder Informationen ab. Soweit nach den geltenden Gesetzen und Vorschriften zulässig, machen wir keine Zusicherung hinsichtlich der Rentabilität eines Finanzinstruments oder einer wirtschaftlichen Maßnahme. Alle Ansichten, Marktpreise, Schätzungen, zukunftsgerichteten Aussagen, hypothetischen Aussagen oder sonstigen Meinungen, die zu den hierin enthaltenen finanziellen Schlussfolgerungen führen, stellen die subjektive Einschätzung der Deutschen Bank am Tag der Erstellung dieses Dokuments dar. Die Deutsche Bank übernimmt ohne Einschränkung keine Gewährleistung für die Richtigkeit, Angemessenheit, Vollständigkeit, Zuverlässigkeit, Rechtzeitigkeit oder Verfügbarkeit dieser Mitteilung oder der in diesem Dokument enthaltenen Informationen und schließt ausdrücklich jede Haftung für Fehler oder Auslassungen in diesem Dokument aus. Zukunftsgerichtete Aussagen umfassen wesentliche Elemente von subjektiven Einschätzungen und Analysen, und die Änderungen derselben und/oder die Berücksichtigung anderer oder weiterer Faktoren können sich erheblich auf die angegebenen Ergebnisse auswirken. Daher können tatsächliche Ergebnisse unter Umständen erheblich von den hierin prognostizierten Ergebnissen abweich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Soweit in diesem Dokument nicht anders angegeben, geben alle Meinungsäußerungen die aktuelle Einschätzung der Deutschen Bank wieder, die sich jederzeit ändern kann. Die Deutsche Bank übernimmt keine Verpflichtung zur Aktualisierung der in diesem Dokument enthaltenen Informationen oder zur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Inkenntnissetzung</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der Anleger über verfügbare aktualisierte Informationen. Die in diesem Dokument enthaltenen Informationen können sich ohne Vorankündigung ändern und beruhen auf einer Reihe von Annahmen, Schätzungen, Meinungen und hypothetischen Modellen oder Analysen, die sich – obwohl sie aus heutiger Sicht der Bank auf angemessenen Informationen beruhen – möglicherweise nicht als gültig erweisen oder sich in Zukunft als zutreffend oder korrekt erweisen und von den Schlussfolgerungen anderer Abteilungen innerhalb der Deutschen Bank abweichen können. Obwohl die in diesem Dokument enthaltenen Informationen aus Quellen stammen, die die Deutsche Bank für vertrauenswürdig und zuverlässig hält, übernimmt die Deutsche Bank keine Gewähr für die Vollständigkeit, Fairness oder Richtigkeit der Informationen, und der Anleger sollte sich nicht auf diese verlassen. Die Deutsche Bank übernimmt keine Verantwortung für deren Inhalte, und deren Inhalte sind kein Bestandteil dieses Dokuments. Der Zugriff auf solche externen Quellen erfolgt auf Ihr eigenes Risiko.</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Soweit nach den geltenden Gesetzen und Vorschriften zulässig, dient dieses Dokument nur zu Diskussionszwecken und begründet keine rechtlich bindenden Verpflichtungen für die Deutsche Bank, und die Deutsche Bank handelt nicht als Ihr Finanzberater oder in einer treuhänderischen Funktion, es sei denn, die Deutsche Bank hat ausdrücklich schriftlich etwas anderes vereinbart. Vor der Anlageentscheidung müssen Anleger mit oder ohne Unterstützung eines Finanzfachmanns, entscheiden, ob die von der Deutschen Bank beschriebenen oder bereitgestellten Geldanlagen oder Strategien – unter Berücksichtigung der besonderen Anlagebedürfnisse, Zielsetzungen, finanziellen Umstände sowie der möglichen Risiken und Vorteile einer solchen Investitionsentscheidung – für sie geeignet sind. Potenzielle Anleger sollten sich bei der Entscheidung für eine Geldanlage nicht auf dieses Dokument, sondern vielmehr auf den Inhalt der endgültigen Angebotsunterlagen in Bezug auf die Geldanlage verlass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ls globaler Finanzdienstleister unterliegt die Deutsche Bank von Zeit zu Zeit tatsächlichen und potenziellen Interessenkonflikten. Die Deutsche Bank unternimmt grundsätzlich alle geeigneten Schritte, um effektive organisatorische und administrative Vorkehrungen zu treffen und beizubehalten, die der Erkennung und Beilegung solcher Konflikte dienen. Die Geschäftsführung der Deutschen Bank ist dafür verantwortlich sicherzustellen, dass die Systeme, Kontrollen und Verfahrensweisen der Deutschen Bank dazu geeignet sind, Interessenkonflikte zu erkennen und beizuleg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 Deutsche Bank gibt keine Steuer- oder Rechtsberatung, auch nicht in diesem Dokument, und der Inhalt dieses Dokuments ist nicht als Anlageberatung durch die Deutsche Bank zu verstehen. Anleger sollten sich von ihren eigenen Steuerberatern, Rechtsanwälten und Anlageberatern in Bezug auf die von der Deutschen Bank beschriebenen Geldanlagen und Strategien beraten lassen. Geldanlageinstrumente sind nicht durch eine Regierungsbehörde versichert, unterliegen keinen Einlagenschutzeinrichtungen und sind nicht garantiert, auch nicht durch die Deutsche Bank, es sei denn, es werden für einen Einzelfall anderslautende Angaben gemach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darf ohne ausdrückliche schriftliche Genehmigung der Deutschen Bank nicht vervielfältigt oder in Umlauf gebracht werden. Die Deutsche Bank verbietet ausdrücklich die Verteilung und Weitergabe dieses Materials an Dritte. Die Deutsche Bank übernimmt keinerlei Haftung in Bezug auf die Nutzung oder Verteilung dieses Materials oder auf durch den Anleger (zukünftig) ausgeführte Handlungen oder getroffene Entscheidungen im Zusammenhang mit in diesem Dokument erwähnten Geldanlagen.</a:t>
            </a:r>
          </a:p>
          <a:p>
            <a:pPr>
              <a:spcBef>
                <a:spcPts val="200"/>
              </a:spcBef>
            </a:pPr>
            <a:endParaRPr lang="en-GB" sz="750"/>
          </a:p>
        </p:txBody>
      </p:sp>
      <p:sp>
        <p:nvSpPr>
          <p:cNvPr id="4" name="Slide Number Placeholder 3">
            <a:extLst>
              <a:ext uri="{FF2B5EF4-FFF2-40B4-BE49-F238E27FC236}">
                <a16:creationId xmlns:a16="http://schemas.microsoft.com/office/drawing/2014/main" id="{A1DEA0FA-000F-C829-86E5-9AD47E39B9AA}"/>
              </a:ext>
            </a:extLst>
          </p:cNvPr>
          <p:cNvSpPr>
            <a:spLocks noGrp="1"/>
          </p:cNvSpPr>
          <p:nvPr>
            <p:ph type="sldNum" sz="quarter" idx="4"/>
          </p:nvPr>
        </p:nvSpPr>
        <p:spPr/>
        <p:txBody>
          <a:bodyPr/>
          <a:lstStyle/>
          <a:p>
            <a:fld id="{D71DA9FD-6EF8-4CC5-AF9B-B6159B5B937C}" type="slidenum">
              <a:rPr lang="en-GB" noProof="1" smtClean="0"/>
              <a:pPr/>
              <a:t>34</a:t>
            </a:fld>
            <a:endParaRPr lang="en-GB" noProof="1"/>
          </a:p>
        </p:txBody>
      </p:sp>
    </p:spTree>
    <p:extLst>
      <p:ext uri="{BB962C8B-B14F-4D97-AF65-F5344CB8AC3E}">
        <p14:creationId xmlns:p14="http://schemas.microsoft.com/office/powerpoint/2010/main" val="1015262330"/>
      </p:ext>
    </p:extLst>
  </p:cSld>
  <p:clrMapOvr>
    <a:masterClrMapping/>
  </p:clrMapOvr>
  <p:transition>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7A036-CFC4-5F77-B9E4-2EF41DC52185}"/>
              </a:ext>
            </a:extLst>
          </p:cNvPr>
          <p:cNvSpPr>
            <a:spLocks noGrp="1"/>
          </p:cNvSpPr>
          <p:nvPr>
            <p:ph type="title"/>
          </p:nvPr>
        </p:nvSpPr>
        <p:spPr/>
        <p:txBody>
          <a:bodyPr/>
          <a:lstStyle/>
          <a:p>
            <a:r>
              <a:rPr lang="en-GB" sz="2000" err="1"/>
              <a:t>Wichtige</a:t>
            </a:r>
            <a:r>
              <a:rPr lang="en-GB" sz="2000"/>
              <a:t> </a:t>
            </a:r>
            <a:r>
              <a:rPr lang="en-GB" sz="2000" err="1"/>
              <a:t>Informationen</a:t>
            </a:r>
            <a:r>
              <a:rPr lang="en-GB" sz="2000"/>
              <a:t> (2/4)</a:t>
            </a:r>
          </a:p>
        </p:txBody>
      </p:sp>
      <p:sp>
        <p:nvSpPr>
          <p:cNvPr id="3" name="Text Placeholder 2">
            <a:extLst>
              <a:ext uri="{FF2B5EF4-FFF2-40B4-BE49-F238E27FC236}">
                <a16:creationId xmlns:a16="http://schemas.microsoft.com/office/drawing/2014/main" id="{EC1DB05C-2720-7138-3206-129A2E3D7D19}"/>
              </a:ext>
            </a:extLst>
          </p:cNvPr>
          <p:cNvSpPr>
            <a:spLocks noGrp="1"/>
          </p:cNvSpPr>
          <p:nvPr>
            <p:ph type="body" sz="quarter" idx="10"/>
          </p:nvPr>
        </p:nvSpPr>
        <p:spPr>
          <a:xfrm>
            <a:off x="442913" y="1169535"/>
            <a:ext cx="11306175" cy="4824412"/>
          </a:xfrm>
        </p:spPr>
        <p:txBody>
          <a:bodyPr/>
          <a:lstStyle/>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 Art der Verbreitung und Verteilung dieses Dokuments kann durch ein Gesetz oder eine Vorschrift in bestimmten Ländern einschließlich (ohne Beschränkung) der USA eingeschränkt werden. Dieses Dokument dient nicht der Verteilung an oder der Nutzung durch Personen oder Unternehmen mit Wohn- oder Standort in einem Ort, Bundesstaat, Land oder Rechtsgebiet, in dem die Verteilung, Veröffentlichung, Verfügbarkeit oder Nutzung gegen ein Gesetz oder eine Vorschrift verstoßen würde oder in dem die Deutsche Bank Registrierungs- oder Lizenzierungsanforderungen erfüllen müsste, die derzeit nicht erfüllt werden. Personen, die in den Besitz dieses Dokuments gelangen, sind aufgefordert, sich selbst über solche Einschränkungen zu informieren und diese einzuhalten. Ergebnisse der Vergangenheit sind keine Garantie für zukünftige Ergebnisse. Der Inhalt dieses Dokuments stellt keine Zusicherung, Gewährleistung oder Prognose in Bezug auf zukünftige Ergebnisse dar. Weitere Informationen stehen auf Anfrage des Anlegers zur Verfügung.</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 Deutsche Bank AG ist eine Aktiengesellschaft nach dem Recht der Bundesrepublik Deutschland mit Hauptsitz in Frankfurt am Main. Sie ist beim Amtsgericht Frankfurt am Main unter der Nummer HRB 30 000 eingetragen und zum Betrieb von Bankgeschäften und zur Erbringung von Finanzdienstleistungen zugelassen. Aufsichtsbehörden sind die Europäische Zentralbank („EZB“),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Sonnemannstraße</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22, 60314 Frankfurt am Main, Deutschland (www.ecb.europa.eu) und die Bundesanstalt für Finanzdienstleistungsaufsicht („BaFin“), Graurheindorfer Straße 108, 53117 Bonn und Marie-Curie-Straße 24-28, 60439 Frankfurt am Main (www.bafin.de), sowie die Deutsche Bundesbank („Deutsche Bundesbank“), Wilhelm-Epstein-Straße 14, 60431 Frankfurt am Main (</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hlinkClick r:id="rId2"/>
              </a:rPr>
              <a:t>www.bundesbank.de</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der Vereinigten Arabischen Emirate</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ist streng privat und vertraulich und wird an eine begrenzte Anzahl von Anlegern verteilt. Es darf nur an den ursprünglichen Empfänger weitergegeben werden und darf nicht vervielfältigt oder für andere Zwecke verwendet werden. Durch den Erhalt dieses Dokuments nimmt die Person oder Einrichtung, an die es ausgegeben wurde, zur Kenntnis und erklärt sich damit einverstanden, dass dieses Dokument nicht von der Zentralbank der VAE, der Wertpapier- und Rohstoffbehörde der VAE, dem Wirtschaftsministerium der VAE oder anderen Behörden in den VAE genehmigt worden ist. In den Vereinigten Arabischen Emiraten wurden und werden keine Finanzprodukte oder -dienstleistungen vermarktet, und in den Vereinigten Arabischen Emiraten kann und wird keine Zeichnung von Fonds, Wertpapieren, Produkten oder Finanzdienstleistungen erfolgen. Dies stellt kein öffentliches Angebot von Wertpapieren in den Vereinigten Arabischen Emiraten gemäß dem Handelsgesellschaftsgesetz, dem Bundesgesetz Nr. 2 von 2015 (in seiner jeweils gültigen Fassung) oder anderweitig dar. Dieses Dokument darf nur an „professionelle Anleger“ gemäß der Definition im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Rulebook</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on Financial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ctivities</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nd Reconciliation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echanism</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in der jeweils gültigen Fassung) der UAE Securities and Commodities Authority verteilt werd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Kuwai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urde Ihnen auf Ihren eigenen Wunsch hin zugesandt. Diese Präsentation ist nicht zur allgemeinen Verbreitung an die Öffentlichkeit in Kuwait bestimmt. Die Anteile wurden nicht von der kuwaitischen Kapitalmarktbehörde oder einer anderen zuständigen kuwaitischen Regierungsbehörde zum Angebot in Kuwait zugelassen. Das Angebot der Anteile in Kuwait auf der Grundlage einer Privatplatzierung oder eines öffentlichen Angebots ist daher gemäß dem Gesetzesdekret Nr. 31 von 1990 und den dazugehörigen Durchführungsbestimmungen (in der jeweils gültigen Fassung) sowie dem Gesetz Nr. 7 von 2010 und den dazugehörigen Verordnungen (in der jeweils gültigen Fassung) eingeschränkt. Es wird kein privates oder öffentliches Angebot der Anteile in Kuwait gemacht, und es wird kein Vertrag über den Verkauf der Anteile in Kuwait geschlossen. Es werden keine Marketing- oder Werbemaßnahmen oder Anreize unternommen, um die Anteile in Kuwait anzubieten oder zu vermarkt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Gebietsansässige des Königreichs Saudi-Arabi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darf im Königreich nur an Personen verteilt werden, die gemäß den von der Kapitalmarktaufsichtsbehörde herausgegebenen Investmentfondsvorschriften dazu berechtigt sind. Die Kapitalmarktaufsichtsbehörde übernimmt keine Verantwortung für den Inhalt dieses Dokuments, gibt keine Zusicherung hinsichtlich seiner Richtigkeit oder Vollständigkeit und lehnt ausdrücklich jegliche Haftung für Verluste ab, die sich aus Teilen dieses Dokuments ergeben oder im Vertrauen darauf entstanden sind. Potenzielle Zeichner von Wertpapieren sollten ihre eigene Due-Diligence-Prüfung in Bezug auf die Richtigkeit der Informationen über die Wertpapiere durchführen. Wenn Sie den Inhalt dieses Dokuments nicht verstehen, sollten Sie einen zugelassenen Finanzberater konsultier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Katar</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urde nicht bei der Zentralbank von Katar, der Finanzmarktaufsicht von Katar, der Aufsichtsbehörde für den Finanzplatz Katar oder einer anderen relevanten katarischen Regierungsbehörde oder Wertpapierbörse eingereicht, geprüft oder genehmigt und unterliegt nicht den Gesetzen des Staates Katar. Dieses Dokument stellt kein öffentliches Angebot dar und ist nur an die Partei gerichtet, der es zugestellt wurde. Es wird keine Transaktion in Katar abgeschlossen, und Anfragen oder Anträge sollten außerhalb von Katar entgegengenommen und Zuteilungen vorgenommen werd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Gebietsansässige des Königreichs Bahrai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stellt kein Angebot zum Verkauf von oder zur Beteiligung an Wertpapieren, Derivaten oder Fonds dar, die in Bahrain im Sinne der Vorschriften der Bahrain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onetary</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gency vertrieben werden. Alle Investitionsanträge und Zuteilungen sollten in jedem Fall von außerhalb Bahrains erfolgen. Dieses Dokument wurde nur für private Informationszwecke der beabsichtigten Investoren, die Institutionen sein werden, erstellt. Es erfolgt keine Aufforderung an die Öffentlichkeit im Königreich Bahrain, und dieses Dokument wird nicht veröffentlicht, an die Öffentlichkeit weitergegeben oder der Öffentlichkeit zugänglich gemacht. Die Zentralbank (CBB) hat dieses Dokument oder den Vertrieb dieser Wertpapiere, Derivate oder Fonds im Königreich Bahrain weder geprüft noch genehmig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Personen mit Wohnsitz in Südafrika</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stellt kein Angebot, keine Aufforderung oder Werbung in Südafrika dar und ist auch nicht Teil eines solchen. Dieses Dokument wurde nicht bei der südafrikanischen Zentralbank, der Financial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Sector</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Conduct Authority oder einer anderen relevanten südafrikanischen Regierungsbehörde oder Wertpapierbörse eingereicht, geprüft oder genehmigt und unterliegt nicht den Gesetzen der Republik Südafrika.</a:t>
            </a:r>
          </a:p>
          <a:p>
            <a:pPr>
              <a:spcBef>
                <a:spcPts val="200"/>
              </a:spcBef>
            </a:pPr>
            <a:endParaRPr lang="en-GB"/>
          </a:p>
        </p:txBody>
      </p:sp>
      <p:sp>
        <p:nvSpPr>
          <p:cNvPr id="4" name="Slide Number Placeholder 3">
            <a:extLst>
              <a:ext uri="{FF2B5EF4-FFF2-40B4-BE49-F238E27FC236}">
                <a16:creationId xmlns:a16="http://schemas.microsoft.com/office/drawing/2014/main" id="{A1DEA0FA-000F-C829-86E5-9AD47E39B9AA}"/>
              </a:ext>
            </a:extLst>
          </p:cNvPr>
          <p:cNvSpPr>
            <a:spLocks noGrp="1"/>
          </p:cNvSpPr>
          <p:nvPr>
            <p:ph type="sldNum" sz="quarter" idx="4"/>
          </p:nvPr>
        </p:nvSpPr>
        <p:spPr/>
        <p:txBody>
          <a:bodyPr/>
          <a:lstStyle/>
          <a:p>
            <a:fld id="{D71DA9FD-6EF8-4CC5-AF9B-B6159B5B937C}" type="slidenum">
              <a:rPr lang="en-GB" noProof="1" smtClean="0"/>
              <a:pPr/>
              <a:t>35</a:t>
            </a:fld>
            <a:endParaRPr lang="en-GB" noProof="1"/>
          </a:p>
        </p:txBody>
      </p:sp>
    </p:spTree>
    <p:extLst>
      <p:ext uri="{BB962C8B-B14F-4D97-AF65-F5344CB8AC3E}">
        <p14:creationId xmlns:p14="http://schemas.microsoft.com/office/powerpoint/2010/main" val="3299737901"/>
      </p:ext>
    </p:extLst>
  </p:cSld>
  <p:clrMapOvr>
    <a:masterClrMapping/>
  </p:clrMapOvr>
  <p:transition>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7A036-CFC4-5F77-B9E4-2EF41DC52185}"/>
              </a:ext>
            </a:extLst>
          </p:cNvPr>
          <p:cNvSpPr>
            <a:spLocks noGrp="1"/>
          </p:cNvSpPr>
          <p:nvPr>
            <p:ph type="title"/>
          </p:nvPr>
        </p:nvSpPr>
        <p:spPr/>
        <p:txBody>
          <a:bodyPr/>
          <a:lstStyle/>
          <a:p>
            <a:r>
              <a:rPr lang="en-GB" sz="2000" err="1"/>
              <a:t>Wichtige</a:t>
            </a:r>
            <a:r>
              <a:rPr lang="en-GB" sz="2000"/>
              <a:t> </a:t>
            </a:r>
            <a:r>
              <a:rPr lang="en-GB" sz="2000" err="1"/>
              <a:t>Informationen</a:t>
            </a:r>
            <a:r>
              <a:rPr lang="en-GB" sz="2000"/>
              <a:t> (3/4)</a:t>
            </a:r>
          </a:p>
        </p:txBody>
      </p:sp>
      <p:sp>
        <p:nvSpPr>
          <p:cNvPr id="3" name="Text Placeholder 2">
            <a:extLst>
              <a:ext uri="{FF2B5EF4-FFF2-40B4-BE49-F238E27FC236}">
                <a16:creationId xmlns:a16="http://schemas.microsoft.com/office/drawing/2014/main" id="{EC1DB05C-2720-7138-3206-129A2E3D7D19}"/>
              </a:ext>
            </a:extLst>
          </p:cNvPr>
          <p:cNvSpPr>
            <a:spLocks noGrp="1"/>
          </p:cNvSpPr>
          <p:nvPr>
            <p:ph type="body" sz="quarter" idx="10"/>
          </p:nvPr>
        </p:nvSpPr>
        <p:spPr>
          <a:xfrm>
            <a:off x="442913" y="1104897"/>
            <a:ext cx="11306175" cy="4824412"/>
          </a:xfrm>
        </p:spPr>
        <p:txBody>
          <a:bodyPr/>
          <a:lstStyle/>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Belgi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urde in Belgien von der Deutsche Bank AG über ihre Niederlassung Brüssel verteilt. Die Deutsche Bank AG ist eine nach dem Recht der Bundesrepublik Deutschland gegründete Aktiengesellschaft, die der Aufsicht und Kontrolle der Europäischen Zentralbank (EZB) und der Bundesanstalt für Finanzdienstleistungsaufsicht (BaFin) unterliegt und zum Betrieb von Bankgeschäften und zur Erbringung von Finanzdienstleistungen berechtigt ist. Die Deutsche Bank AG, Niederlassung Brüssel, wird in Belgien auch von der Financial Services and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arkets</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uthority („FSMA“, www.fsma.be) beaufsichtigt. Die Niederlassung hat ihren Sitz in der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arnixlaan</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13-15, B-1000 Brüssel und ist unter der Nummer VAT BE 0418.371.094, RPM/RPR Brüssel, registriert. Weitere Informationen sind auf Anfrage erhältlich oder können unter www.deutschebank.be abgerufen werden.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des Vereinigten Königreichs</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Bei diesem Dokument handelt es sich um eine Finanzwerbung im Sinne von Abschnitt 21 des Financial Services and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arkets</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ct 2000, die von der DB UK Bank Limited genehmigt und an Sie weitergeleitet wurde. Die DB UK Bank Limited ist ein Mitglied der Deutsche Bank Gruppe und ist beim Company House in England &amp; Wales unter der Firmennummer 315841 mit eingetragenem Sitz registriert: 21 </a:t>
            </a:r>
            <a:r>
              <a:rPr kumimoji="0" lang="de-DE" sz="750" b="0" i="0" u="none" strike="noStrike" kern="1200" cap="none" spc="0" normalizeH="0" baseline="0" noProof="0" err="1">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oorfields</a:t>
            </a: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London, United Kingdom, EC2Y 9DB. Die DB UK Bank Limited ist von der Prudential Regulation Authority zugelassen und wird von der Financial Conduct Authority und der Prudential Regulation Authority reguliert. Die Registrierungsnummer der DB UK Bank Limited für Finanzdienstleistungen lautet 140848. Die Deutsche Bank AG ist in der Bundesrepublik Deutschland eingetragen und die Haftung ihrer Mitglieder ist beschränk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Hongkong</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Material ist bestimmt für professionelle Anleger in Hongkong. Darüber hinaus wird dieses Material nur dem Empfänger zur Verfügung gestellt, die Weitergabe dieses Materials ist strengstens untersagt. Dieses Dokument und sein Inhalt dienen ausschließlich der Information. Nichts in diesem Dokument ist als Angebot einer Investition oder als Aufforderung oder Empfehlung zum Kauf oder Verkauf einer Investition gedacht und sollte nicht als Angebot, Aufforderung oder Empfehlung ausgelegt werd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er Inhalt dieses Dokuments wurde nicht von einer Aufsichtsbehörde in Hongkong geprüft. Wir raten Ihnen, in Bezug auf die hierin enthaltenen Anlagen (falls vorhanden) Vorsicht walten zu lassen. Wenn Sie Zweifel am Inhalt dieses Dokuments haben, sollten Sie unabhängigen professionellen Rat einholen.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urde weder von der Securities and Futures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Commission</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in Hongkong („SFC“) genehmigt, noch wurde eine Kopie dieses Dokuments vom Registrar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of</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Companies in Hongkong registriert, sofern nicht anders angegeben. Die hierin enthaltenen Anlagen können von der SFC genehmigt werden oder auch nicht. Die Anlagen dürfen in Hongkong nur (i) „professionellen Anlegern“ gemäß der Definition in der Securities and Futures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Ordinance</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Cap. 571 der Gesetze von Hongkong) („SFO“) und den im Rahmen der SFO erlassenen Vorschriften ausgehändigt werden oder (ii) unter anderen Umständen, die nicht dazu führen, dass das Dokument ein „Prospekt“ im Sinne der Companies (Winding Up and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iscellaneous</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Provisions</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Ordinance</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Cap. 32 der Gesetze von Hongkong) (die „C(WUMP)O“) ist, oder die kein öffentliches Angebot im Sinne der C(WUMP)O darstellen. Niemand darf in Hongkong oder anderswo Werbung, Einladungen oder Dokumente in Bezug auf die Anlagen herausgeben oder für die Zwecke der Ausgabe besitzen, die an die Öffentlichkeit in Hongkong gerichtet sind oder deren Inhalt wahrscheinlich von der Öffentlichkeit in Hongkong eingesehen oder gelesen werden kann (es sei denn, dies ist nach den Wertpapiergesetzen von Hongkong erlaubt), außer in Bezug auf Anlagen, die nur an Personen außerhalb von Hongkong oder nur an „professionelle Anleger“ gemäß der Definition in der SFO und den im Rahmen der SFO erlassenen Vorschriften veräußert werden oder werden soll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Singapur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Material ist bestimmt für zugelassene Investoren / institutionelle Investoren in Singapur. Darüber hinaus wird dieses Material nur dem Adressaten zur Verfügung gestellt. Die Weitergabe dieses Materials ist strengstens untersag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der Vereinigten Staaten von Amerika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In den USA werden Maklerdienste über Deutsche Bank Securities Inc. angeboten, einen Broker-Dealer und registrierten Anlageberater, der Wertpapiergeschäfte in den USA abwickelt. Deutsche Bank Securities Inc. ist Mitglied von FINRA, NYSE und SIPC. Bank- und Kreditvergabedienstleistungen werden über Deutsche Bank Trust Company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mericas</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FDIC-Mitglied, und andere Mitglieder der Deutsche Bank Group angeboten. In Bezug auf die USA siehe vorherige Aussagen in diesem Dokument. Die Deutsche Bank gibt keine Zusicherungen oder Gewährleistungen dazu ab, dass die hierin enthaltenen Informationen zur Nutzung in Ländern außerhalb der USA geeignet oder verfügbar sind oder dass die in diesem Dokument beschriebenen Dienstleistungen zum Verkauf oder zur Nutzung in allen Ländern oder durch alle Gegenparteien verfügbar oder geeignet sind. Wenn dies nicht registriert oder gemäß dem anwendbaren Gesetz zulässig lizenziert wurde, bieten weder die Deutsche Bank noch ihre verbundenen Unternehmen irgendwelche Dienstleistungen in den USA oder Dienstleistungen an, die dafür ausgelegt sind, US-Bürger anzuziehen (gemäß der Definition des Begriffs unter Vorschrift S des Wertpapiergesetzes der USA von 1933 („Securities Act“) in seiner jeweils gültigen Form).</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er USA-spezifische Haftungsausschluss unterliegt den Gesetzen des Bundesstaates Delaware und ist entsprechend auszulegen; die Kollisionsnormen, die die Anwendung des Gesetzes eines anderen Rechtsgebietes vorsehen würden, finden keine Anwendung.</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Personen mit Wohnsitz in Deutschland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Bei diesen Informationen handelt es sich um Werbung. Die Texte erfüllen nicht alle gesetzlichen Anforderungen zur Gewährleistung der Unparteilichkeit von Anlage- und Anlagestrategieempfehlungen oder Finanzanalysen. Es besteht kein Verbot für den Ersteller oder für das für die Erstellung verantwortliche Unternehmen, vor oder nach der Veröffentlichung dieser Dokumente mit den jeweiligen Finanzinstrumenten zu handeln. Allgemeine Informationen zu Finanzinstrumenten enthalten die Broschüren „Basisinformationen zu Wertpapieren und anderen Kapitalanlagen“, „Basisinformationen zu Finanzderivaten“, „Basisinformationen zu Termingeschäften“ und das Merkblatt „Risiken bei Termingeschäften“, die der Kunde kostenlos bei der Bank anfordern kann. Die in der Vergangenheit erzielte Wertentwicklung oder simulierte Wertentwicklung ist kein verlässlicher Indikator für die zukünftige Wertentwicklung.</a:t>
            </a:r>
            <a:endParaRPr kumimoji="0" lang="de-DE" sz="750" b="0" i="0" u="none" strike="noStrike" kern="1200" cap="none" spc="0" normalizeH="0" baseline="0" noProof="0">
              <a:ln>
                <a:noFill/>
              </a:ln>
              <a:solidFill>
                <a:prstClr val="black">
                  <a:lumMod val="65000"/>
                  <a:lumOff val="35000"/>
                </a:prstClr>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endParaRPr>
          </a:p>
          <a:p>
            <a:endParaRPr lang="en-GB" sz="750"/>
          </a:p>
        </p:txBody>
      </p:sp>
      <p:sp>
        <p:nvSpPr>
          <p:cNvPr id="4" name="Slide Number Placeholder 3">
            <a:extLst>
              <a:ext uri="{FF2B5EF4-FFF2-40B4-BE49-F238E27FC236}">
                <a16:creationId xmlns:a16="http://schemas.microsoft.com/office/drawing/2014/main" id="{A1DEA0FA-000F-C829-86E5-9AD47E39B9AA}"/>
              </a:ext>
            </a:extLst>
          </p:cNvPr>
          <p:cNvSpPr>
            <a:spLocks noGrp="1"/>
          </p:cNvSpPr>
          <p:nvPr>
            <p:ph type="sldNum" sz="quarter" idx="4"/>
          </p:nvPr>
        </p:nvSpPr>
        <p:spPr/>
        <p:txBody>
          <a:bodyPr/>
          <a:lstStyle/>
          <a:p>
            <a:fld id="{D71DA9FD-6EF8-4CC5-AF9B-B6159B5B937C}" type="slidenum">
              <a:rPr lang="en-GB" noProof="1" smtClean="0"/>
              <a:pPr/>
              <a:t>36</a:t>
            </a:fld>
            <a:endParaRPr lang="en-GB" noProof="1"/>
          </a:p>
        </p:txBody>
      </p:sp>
    </p:spTree>
    <p:extLst>
      <p:ext uri="{BB962C8B-B14F-4D97-AF65-F5344CB8AC3E}">
        <p14:creationId xmlns:p14="http://schemas.microsoft.com/office/powerpoint/2010/main" val="1590366358"/>
      </p:ext>
    </p:extLst>
  </p:cSld>
  <p:clrMapOvr>
    <a:masterClrMapping/>
  </p:clrMapOvr>
  <p:transition>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7A036-CFC4-5F77-B9E4-2EF41DC52185}"/>
              </a:ext>
            </a:extLst>
          </p:cNvPr>
          <p:cNvSpPr>
            <a:spLocks noGrp="1"/>
          </p:cNvSpPr>
          <p:nvPr>
            <p:ph type="title"/>
          </p:nvPr>
        </p:nvSpPr>
        <p:spPr/>
        <p:txBody>
          <a:bodyPr/>
          <a:lstStyle/>
          <a:p>
            <a:r>
              <a:rPr lang="en-GB" sz="2000" err="1"/>
              <a:t>Wichtige</a:t>
            </a:r>
            <a:r>
              <a:rPr lang="en-GB" sz="2000"/>
              <a:t> </a:t>
            </a:r>
            <a:r>
              <a:rPr lang="en-GB" sz="2000" err="1"/>
              <a:t>Informationen</a:t>
            </a:r>
            <a:r>
              <a:rPr lang="en-GB" sz="2000"/>
              <a:t> (4/4)</a:t>
            </a:r>
          </a:p>
        </p:txBody>
      </p:sp>
      <p:sp>
        <p:nvSpPr>
          <p:cNvPr id="3" name="Text Placeholder 2">
            <a:extLst>
              <a:ext uri="{FF2B5EF4-FFF2-40B4-BE49-F238E27FC236}">
                <a16:creationId xmlns:a16="http://schemas.microsoft.com/office/drawing/2014/main" id="{EC1DB05C-2720-7138-3206-129A2E3D7D19}"/>
              </a:ext>
            </a:extLst>
          </p:cNvPr>
          <p:cNvSpPr>
            <a:spLocks noGrp="1"/>
          </p:cNvSpPr>
          <p:nvPr>
            <p:ph type="body" sz="quarter" idx="10"/>
          </p:nvPr>
        </p:nvSpPr>
        <p:spPr>
          <a:xfrm>
            <a:off x="442913" y="1019176"/>
            <a:ext cx="11306175" cy="4824412"/>
          </a:xfrm>
        </p:spPr>
        <p:txBody>
          <a:bodyPr/>
          <a:lstStyle/>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Indien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 in diesem Dokument erwähnten Geldanlagen werden der indischen Öffentlichkeit nicht zum Kauf oder zur Zeichnung angeboten. Dieses Dokument wurde nicht vom Securities and Exchange Board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of</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India, von der Reserve Bank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of</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India oder einer anderen indischen Regierungs-/Regulierungsbehörde genehmigt oder dort registriert. Dieses Dokument ist kein „Prospekt“ gemäß der Definition des Begriffs in den Bestimmungen des Companies Act, 2013 (18 aus 2013) und wird auch bei keiner indischen Regulierungsbehörde eingereicht. Gemäß dem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oreign</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Exchange Management Act, 1999 und den darunter erlassenen Vorschriften kann jeder Anleger mit Wohnsitz in Indien aufgefordert werden, die Sondergenehmigung der Reserve Bank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of</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India einzuholen, bevor er Geld außerhalb Indiens anlegt, einschließlich der in diesem Dokument erwähnten Geldanlag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Italien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r Bericht wird in Italien von Deutsche Bank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S.p.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vorgelegt, einer nach italienischem Recht gegründeten und registrierten Bank, die der Aufsicht und Kontrolle der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Banc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tali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und der CONSOB unterliegt. Ihr Sitz befindet sich in Piazza del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Calendario</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3 - 20126 Mailand (Italien) und ist bei der Handelskammer von Mailand eingetragen, MwSt.- und Steuernummer 001340740156, Teil des Interbankenfonds zur Einlagensicherung, eingetragen im Bankregister und Leiter der Bankengruppe Deutsche Bank, eingetragen im Register der Bankengruppen gemäß Gesetzesdekret vom 1. September 1993 Nr. 385 und untersteht der Leitung und Koordinationstätigkeit der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eutsche Bank AG, Frankfurt am Main (Deutschland).</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Gebietsansässige in Luxemburg</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r Bericht wird in Luxemburg von der Deutschen Bank Luxembourg S.A. vertrieben, einer Bank, die nach dem Recht des Großherzogtums Luxemburg in Form einer Aktiengesellschaft (Société Anonyme) gegründet wurde und der Aufsicht und Kontrolle der Europäischen Zentralbank („EZB“) und der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Commission</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de Surveillance du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Secteur</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Financier („CSSF“) unterliegt. Ihr eingetragener Sitz befindet sich in 2, Boulevard Konrad Adenauer, 1115 Luxemburg, Großherzogtum Luxemburg, und sie ist im luxemburgischen Handels- und Gesellschaftsregister („RCS“) unter der Nummer B 9.164 eingetrag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Spanien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 Deutsche Bank, Sociedad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nónim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Español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Unipersonal ist ein Kreditinstitut, das der Aufsicht der spanischen Zentralbank und der CNMV unterliegt und in deren jeweiligen amtlichen Registern unter dem Code 019 eingetragen ist. Die Deutsche Bank, Sociedad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nónim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Español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Unipersonal darf nur die Finanzdienstleistungen und Bankgeschäfte betreiben, die in den Anwendungsbereich ihrer bestehenden Lizenz fallen. Die Hauptniederlassung in Spanien befindet sich in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Paseo</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de la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Castellan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Nummer 18, 28046 - Madrid. Eingetragen im Handelsregister von Madrid, Band 28100, Buch 0, Folio 1, Abschnitt 8, Blatt M506294, Eintragung 2. NIF: A08000614. Diese Informationen wurden von der Deutschen Bank, Sociedad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nónim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Español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Unipersonal zur Verfügung gestell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Portugal</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eutsche Bank AG, Zweigstelle Portugal, ist ein Kreditinstitut, das von der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Bancode</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Portugal und von der portugiesischen Wertpapierkommission (CMVM) reguliert wird und in deren offiziellen Registern unter der Nummer 43 und 349 sowie im Handelsregister unter der Nummer 980459079 eingetragen ist. Die Deutsche Bank AG, Zweigstelle Portugal, ist ausschließlich berechtigt, diejenigen Finanzdienstleistungsaktivitäten auszuführen, die unter die bestehende Lizenz fallen. Der eingetragene Sitz ist in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Rua</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Castilho, 20, 1250-069 Lissabon, Portugal. </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Österreich</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ird von der Deutsche Bank AG Filiale Wien, eingetragen im Firmenbuch des Wiener Handelsgerichts unter der Nummer FN 140266z, vorgelegt. Die Deutsche Bank AG Filiale Wien wird zusätzlich von der österreichischen Finanzmarktaufsicht (FMA), Otto-Wagner-Platz 5, 1090 Wien beaufsichtigt. Dieses Dokument wurde den vorstehend genannten Aufsichtsbehörden weder vorgelegt noch von diesen genehmigt.</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60"/>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Personen mit Wohnsitz in den Niederland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ses Dokument wird von der Deutsche Bank AG, Niederlassung Amsterdam, mit eingetragener Adresse De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entree</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195 (1101 HE) in Amsterdam, Niederlande, verteilt und ist im niederländischen Handelsregister unter der Nummer 33304583 sowie im Register im Sinne von Abschnitt 1:107 des niederländischen Finanzaufsichtsgesetzes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Wet</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op</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het</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inancieel</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toezicht</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eingetragen. Dieses Register kann über www.dnb.nl eingesehen werd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00205B"/>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Für Einwohner von Frankreich</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Die Deutsche Bank AG ist ein zugelassenes Kreditinstitut und unterliegt der allgemeinen Aufsicht der Europäischen Zentralbank und der Bundesanstalt für Finanzdienstleistungsaufsicht (BaFin). Ihre verschiedenen Zweigstellen werden für bestimmte Tätigkeiten von den zuständigen Bankaufsichtsbehörden vor Ort beaufsichtigt, wie z. B. der Aufsichtsbehörde für Aufsicht und Auflösung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utorité</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de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Controle</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Prudentiel</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de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Résolution</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ACPR“) und der Finanzmarktaufsichtsbehörde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Autorité</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des </a:t>
            </a:r>
            <a:r>
              <a:rPr kumimoji="0" lang="de-DE" sz="750" b="0" i="0" u="none" strike="noStrike" kern="1200" cap="none" spc="0" normalizeH="0" baseline="0" noProof="0" err="1">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Marchés</a:t>
            </a: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Financiers, „AMF“) in Frankreich.</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Jegliche Vervielfältigung, Darstellung, Verbreitung oder Weitergabe des Inhalts dieses Dokuments, ganz oder teilweise, in jeglichem Medium oder durch jegliches Verfahren, sowie jeglicher Verkauf, Weiterverkauf, Weiterübertragung oder Bereitstellung für Dritte, in welcher Form auch immer, ist verboten. Dieses Dokument darf ohne unsere schriftliche Genehmigung nicht vervielfältigt oder verbreitet werden.</a:t>
            </a: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endPar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endParaRPr>
          </a:p>
          <a:p>
            <a:pPr marL="0" marR="0" lvl="0" indent="0" algn="l" defTabSz="755934" rtl="0" eaLnBrk="1" fontAlgn="auto" latinLnBrk="0" hangingPunct="1">
              <a:lnSpc>
                <a:spcPct val="100000"/>
              </a:lnSpc>
              <a:spcBef>
                <a:spcPts val="400"/>
              </a:spcBef>
              <a:spcAft>
                <a:spcPts val="0"/>
              </a:spcAft>
              <a:buClrTx/>
              <a:buSzTx/>
              <a:buFont typeface="Arial" panose="020B0604020202020204" pitchFamily="34" charset="0"/>
              <a:buNone/>
              <a:tabLst/>
              <a:defRPr/>
            </a:pPr>
            <a:r>
              <a:rPr kumimoji="0" lang="de-DE" sz="750" b="0" i="0" u="none" strike="noStrike" kern="1200" cap="none" spc="0" normalizeH="0" baseline="0" noProof="0">
                <a:ln>
                  <a:noFill/>
                </a:ln>
                <a:solidFill>
                  <a:srgbClr val="535B61"/>
                </a:solidFill>
                <a:effectLst/>
                <a:uLnTx/>
                <a:uFillTx/>
                <a:latin typeface="Deutsche Bank Text" panose="020B0503020202030204" pitchFamily="34" charset="0"/>
                <a:ea typeface="Deutsche Bank Text" panose="020B0503020202030204" pitchFamily="34" charset="0"/>
                <a:cs typeface="Deutsche Bank Text" panose="020B0503020202030204" pitchFamily="34" charset="0"/>
              </a:rPr>
              <a:t>© 2024 Deutsche Bank AG. Alle Rechte vorbehalten. HA/ST</a:t>
            </a:r>
            <a:endParaRPr lang="en-US" sz="750">
              <a:latin typeface="Deutsche Bank Text" panose="020B0503020202030204" pitchFamily="34" charset="0"/>
              <a:ea typeface="Deutsche Bank Text" panose="020B0503020202030204" pitchFamily="34" charset="0"/>
              <a:cs typeface="Deutsche Bank Text" panose="020B0503020202030204" pitchFamily="34" charset="0"/>
            </a:endParaRPr>
          </a:p>
          <a:p>
            <a:endParaRPr lang="en-GB" sz="750"/>
          </a:p>
        </p:txBody>
      </p:sp>
      <p:sp>
        <p:nvSpPr>
          <p:cNvPr id="4" name="Slide Number Placeholder 3">
            <a:extLst>
              <a:ext uri="{FF2B5EF4-FFF2-40B4-BE49-F238E27FC236}">
                <a16:creationId xmlns:a16="http://schemas.microsoft.com/office/drawing/2014/main" id="{A1DEA0FA-000F-C829-86E5-9AD47E39B9AA}"/>
              </a:ext>
            </a:extLst>
          </p:cNvPr>
          <p:cNvSpPr>
            <a:spLocks noGrp="1"/>
          </p:cNvSpPr>
          <p:nvPr>
            <p:ph type="sldNum" sz="quarter" idx="4"/>
          </p:nvPr>
        </p:nvSpPr>
        <p:spPr/>
        <p:txBody>
          <a:bodyPr/>
          <a:lstStyle/>
          <a:p>
            <a:fld id="{D71DA9FD-6EF8-4CC5-AF9B-B6159B5B937C}" type="slidenum">
              <a:rPr lang="en-GB" noProof="1" smtClean="0"/>
              <a:pPr/>
              <a:t>37</a:t>
            </a:fld>
            <a:endParaRPr lang="en-GB" noProof="1"/>
          </a:p>
        </p:txBody>
      </p:sp>
    </p:spTree>
    <p:extLst>
      <p:ext uri="{BB962C8B-B14F-4D97-AF65-F5344CB8AC3E}">
        <p14:creationId xmlns:p14="http://schemas.microsoft.com/office/powerpoint/2010/main" val="3855360014"/>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B3005-5528-7AB7-2CEF-8D6B400E8FFC}"/>
              </a:ext>
              <a:ext uri="{C183D7F6-B498-43B3-948B-1728B52AA6E4}">
                <adec:decorative xmlns:adec="http://schemas.microsoft.com/office/drawing/2017/decorative" val="1"/>
              </a:ext>
            </a:extLst>
          </p:cNvPr>
          <p:cNvSpPr>
            <a:spLocks noGrp="1"/>
          </p:cNvSpPr>
          <p:nvPr>
            <p:ph type="title"/>
          </p:nvPr>
        </p:nvSpPr>
        <p:spPr/>
        <p:txBody>
          <a:bodyPr/>
          <a:lstStyle/>
          <a:p>
            <a:r>
              <a:rPr lang="de-DE" dirty="0"/>
              <a:t>Weltwirtschaftliche Entwicklung – Auf den ersten Blick solide</a:t>
            </a:r>
          </a:p>
        </p:txBody>
      </p:sp>
      <p:sp>
        <p:nvSpPr>
          <p:cNvPr id="5" name="Text Placeholder 4">
            <a:extLst>
              <a:ext uri="{FF2B5EF4-FFF2-40B4-BE49-F238E27FC236}">
                <a16:creationId xmlns:a16="http://schemas.microsoft.com/office/drawing/2014/main" id="{DC071306-C312-12B9-66C3-4DBC13789C7F}"/>
              </a:ext>
              <a:ext uri="{C183D7F6-B498-43B3-948B-1728B52AA6E4}">
                <adec:decorative xmlns:adec="http://schemas.microsoft.com/office/drawing/2017/decorative" val="1"/>
              </a:ext>
            </a:extLst>
          </p:cNvPr>
          <p:cNvSpPr>
            <a:spLocks noGrp="1"/>
          </p:cNvSpPr>
          <p:nvPr>
            <p:ph type="body" sz="quarter" idx="12"/>
          </p:nvPr>
        </p:nvSpPr>
        <p:spPr/>
        <p:txBody>
          <a:bodyPr/>
          <a:lstStyle/>
          <a:p>
            <a:r>
              <a:rPr lang="de-DE"/>
              <a:t>Robustes Weltwirtschaftswachstum seit sechs Dekaden</a:t>
            </a:r>
          </a:p>
        </p:txBody>
      </p:sp>
      <p:graphicFrame>
        <p:nvGraphicFramePr>
          <p:cNvPr id="14" name="Inhaltsplatzhalter 13">
            <a:extLst>
              <a:ext uri="{FF2B5EF4-FFF2-40B4-BE49-F238E27FC236}">
                <a16:creationId xmlns:a16="http://schemas.microsoft.com/office/drawing/2014/main" id="{0ADC3A22-D648-E7BC-44D2-AD3E4F78E434}"/>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3573906678"/>
              </p:ext>
            </p:extLst>
          </p:nvPr>
        </p:nvGraphicFramePr>
        <p:xfrm>
          <a:off x="442913" y="1809750"/>
          <a:ext cx="11304587" cy="4389438"/>
        </p:xfrm>
        <a:graphic>
          <a:graphicData uri="http://schemas.openxmlformats.org/drawingml/2006/chart">
            <c:chart xmlns:c="http://schemas.openxmlformats.org/drawingml/2006/chart" xmlns:r="http://schemas.openxmlformats.org/officeDocument/2006/relationships" r:id="rId2"/>
          </a:graphicData>
        </a:graphic>
      </p:graphicFrame>
      <p:sp>
        <p:nvSpPr>
          <p:cNvPr id="6" name="Content Placeholder 5">
            <a:extLst>
              <a:ext uri="{FF2B5EF4-FFF2-40B4-BE49-F238E27FC236}">
                <a16:creationId xmlns:a16="http://schemas.microsoft.com/office/drawing/2014/main" id="{E3046F6F-4B34-13E3-EEFF-A3887C8F848A}"/>
              </a:ext>
              <a:ext uri="{C183D7F6-B498-43B3-948B-1728B52AA6E4}">
                <adec:decorative xmlns:adec="http://schemas.microsoft.com/office/drawing/2017/decorative" val="1"/>
              </a:ext>
            </a:extLst>
          </p:cNvPr>
          <p:cNvSpPr>
            <a:spLocks noGrp="1"/>
          </p:cNvSpPr>
          <p:nvPr>
            <p:ph sz="quarter" idx="13"/>
          </p:nvPr>
        </p:nvSpPr>
        <p:spPr/>
        <p:txBody>
          <a:bodyPr/>
          <a:lstStyle/>
          <a:p>
            <a:r>
              <a:rPr lang="de-DE"/>
              <a:t>Quelle: LSEG Datastream, Deutsche Bank AG. Stand: 26.11.2024.</a:t>
            </a:r>
          </a:p>
        </p:txBody>
      </p:sp>
      <p:sp>
        <p:nvSpPr>
          <p:cNvPr id="4" name="Slide Number Placeholder 3">
            <a:extLst>
              <a:ext uri="{FF2B5EF4-FFF2-40B4-BE49-F238E27FC236}">
                <a16:creationId xmlns:a16="http://schemas.microsoft.com/office/drawing/2014/main" id="{567B699E-A50D-EEAF-A6FA-E01D1AF395F6}"/>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4</a:t>
            </a:fld>
            <a:endParaRPr lang="de-DE" noProof="1"/>
          </a:p>
        </p:txBody>
      </p:sp>
    </p:spTree>
    <p:extLst>
      <p:ext uri="{BB962C8B-B14F-4D97-AF65-F5344CB8AC3E}">
        <p14:creationId xmlns:p14="http://schemas.microsoft.com/office/powerpoint/2010/main" val="4256400832"/>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FC4C2-7215-4A3B-E895-24494FCBB6C8}"/>
              </a:ext>
            </a:extLst>
          </p:cNvPr>
          <p:cNvSpPr>
            <a:spLocks noGrp="1"/>
          </p:cNvSpPr>
          <p:nvPr>
            <p:ph type="title"/>
          </p:nvPr>
        </p:nvSpPr>
        <p:spPr/>
        <p:txBody>
          <a:bodyPr/>
          <a:lstStyle/>
          <a:p>
            <a:r>
              <a:rPr lang="de-DE"/>
              <a:t>Wachstumsverlangsamung zeichnet sich ab – Investieren, um zu wachsen!</a:t>
            </a:r>
          </a:p>
        </p:txBody>
      </p:sp>
      <p:sp>
        <p:nvSpPr>
          <p:cNvPr id="9" name="Text Placeholder 8">
            <a:extLst>
              <a:ext uri="{FF2B5EF4-FFF2-40B4-BE49-F238E27FC236}">
                <a16:creationId xmlns:a16="http://schemas.microsoft.com/office/drawing/2014/main" id="{C8830DDD-558B-5D2D-5648-0AF86BC4396A}"/>
              </a:ext>
            </a:extLst>
          </p:cNvPr>
          <p:cNvSpPr>
            <a:spLocks noGrp="1"/>
          </p:cNvSpPr>
          <p:nvPr>
            <p:ph type="body" sz="quarter" idx="12"/>
          </p:nvPr>
        </p:nvSpPr>
        <p:spPr/>
        <p:txBody>
          <a:bodyPr/>
          <a:lstStyle/>
          <a:p>
            <a:r>
              <a:rPr lang="de-DE"/>
              <a:t>Divergierende Wachstumstrends – Strukturelle Herausforderungen insbesondere für Europa und China</a:t>
            </a:r>
          </a:p>
        </p:txBody>
      </p:sp>
      <p:graphicFrame>
        <p:nvGraphicFramePr>
          <p:cNvPr id="14" name="Content Placeholder 13">
            <a:extLst>
              <a:ext uri="{FF2B5EF4-FFF2-40B4-BE49-F238E27FC236}">
                <a16:creationId xmlns:a16="http://schemas.microsoft.com/office/drawing/2014/main" id="{DF14D33D-AD8E-4AD7-B47D-9AF0562320CC}"/>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1859900177"/>
              </p:ext>
            </p:extLst>
          </p:nvPr>
        </p:nvGraphicFramePr>
        <p:xfrm>
          <a:off x="442913" y="1809750"/>
          <a:ext cx="11304587" cy="4389438"/>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Straight Arrow Connector 3">
            <a:extLst>
              <a:ext uri="{FF2B5EF4-FFF2-40B4-BE49-F238E27FC236}">
                <a16:creationId xmlns:a16="http://schemas.microsoft.com/office/drawing/2014/main" id="{CFFD60EC-DA35-928F-DDC7-2A3736E7F28D}"/>
              </a:ext>
              <a:ext uri="{C183D7F6-B498-43B3-948B-1728B52AA6E4}">
                <adec:decorative xmlns:adec="http://schemas.microsoft.com/office/drawing/2017/decorative" val="1"/>
              </a:ext>
            </a:extLst>
          </p:cNvPr>
          <p:cNvCxnSpPr>
            <a:cxnSpLocks/>
          </p:cNvCxnSpPr>
          <p:nvPr/>
        </p:nvCxnSpPr>
        <p:spPr bwMode="auto">
          <a:xfrm>
            <a:off x="1069384" y="3305881"/>
            <a:ext cx="10414708" cy="602844"/>
          </a:xfrm>
          <a:prstGeom prst="straightConnector1">
            <a:avLst/>
          </a:prstGeom>
          <a:noFill/>
          <a:ln w="38100">
            <a:solidFill>
              <a:schemeClr val="tx1"/>
            </a:solidFill>
            <a:round/>
            <a:headEnd/>
            <a:tailEnd type="triangle"/>
          </a:ln>
        </p:spPr>
      </p:cxnSp>
      <p:sp>
        <p:nvSpPr>
          <p:cNvPr id="10" name="Content Placeholder 9">
            <a:extLst>
              <a:ext uri="{FF2B5EF4-FFF2-40B4-BE49-F238E27FC236}">
                <a16:creationId xmlns:a16="http://schemas.microsoft.com/office/drawing/2014/main" id="{3F9F5BD4-E783-480B-4B03-A6D3FC44DADF}"/>
              </a:ext>
            </a:extLst>
          </p:cNvPr>
          <p:cNvSpPr>
            <a:spLocks noGrp="1"/>
          </p:cNvSpPr>
          <p:nvPr>
            <p:ph sz="quarter" idx="13"/>
          </p:nvPr>
        </p:nvSpPr>
        <p:spPr/>
        <p:txBody>
          <a:bodyPr/>
          <a:lstStyle/>
          <a:p>
            <a:r>
              <a:rPr lang="de-DE"/>
              <a:t>Quelle: LSEG Datastream, IWF, Deutsche Bank AG. Stand: 26.11.2024.</a:t>
            </a:r>
          </a:p>
        </p:txBody>
      </p:sp>
      <p:sp>
        <p:nvSpPr>
          <p:cNvPr id="5" name="Slide Number Placeholder 4">
            <a:extLst>
              <a:ext uri="{FF2B5EF4-FFF2-40B4-BE49-F238E27FC236}">
                <a16:creationId xmlns:a16="http://schemas.microsoft.com/office/drawing/2014/main" id="{592AAE03-86CD-C90C-9CCC-968E68C97DE8}"/>
              </a:ext>
            </a:extLst>
          </p:cNvPr>
          <p:cNvSpPr>
            <a:spLocks noGrp="1"/>
          </p:cNvSpPr>
          <p:nvPr>
            <p:ph type="sldNum" sz="quarter" idx="4"/>
          </p:nvPr>
        </p:nvSpPr>
        <p:spPr/>
        <p:txBody>
          <a:bodyPr/>
          <a:lstStyle/>
          <a:p>
            <a:fld id="{D71DA9FD-6EF8-4CC5-AF9B-B6159B5B937C}" type="slidenum">
              <a:rPr lang="de-DE" noProof="1" smtClean="0"/>
              <a:pPr/>
              <a:t>5</a:t>
            </a:fld>
            <a:endParaRPr lang="de-DE" noProof="1"/>
          </a:p>
        </p:txBody>
      </p:sp>
    </p:spTree>
    <p:extLst>
      <p:ext uri="{BB962C8B-B14F-4D97-AF65-F5344CB8AC3E}">
        <p14:creationId xmlns:p14="http://schemas.microsoft.com/office/powerpoint/2010/main" val="404986569"/>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42A3C-B56D-251D-3111-5044F4AC308C}"/>
              </a:ext>
              <a:ext uri="{C183D7F6-B498-43B3-948B-1728B52AA6E4}">
                <adec:decorative xmlns:adec="http://schemas.microsoft.com/office/drawing/2017/decorative" val="1"/>
              </a:ext>
            </a:extLst>
          </p:cNvPr>
          <p:cNvSpPr>
            <a:spLocks noGrp="1"/>
          </p:cNvSpPr>
          <p:nvPr>
            <p:ph type="title"/>
          </p:nvPr>
        </p:nvSpPr>
        <p:spPr/>
        <p:txBody>
          <a:bodyPr/>
          <a:lstStyle/>
          <a:p>
            <a:r>
              <a:rPr lang="de-DE"/>
              <a:t>Drei Stellschrauben für das Wachstum – Arbeit, Kapital und Produktivität</a:t>
            </a:r>
          </a:p>
        </p:txBody>
      </p:sp>
      <p:sp>
        <p:nvSpPr>
          <p:cNvPr id="7" name="Text Placeholder 6">
            <a:extLst>
              <a:ext uri="{FF2B5EF4-FFF2-40B4-BE49-F238E27FC236}">
                <a16:creationId xmlns:a16="http://schemas.microsoft.com/office/drawing/2014/main" id="{F74F088B-5B2C-0BFB-B632-1AFE19CFFD95}"/>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dirty="0"/>
              <a:t>Arbeitsmarkt im Vergleich</a:t>
            </a:r>
          </a:p>
        </p:txBody>
      </p:sp>
      <p:graphicFrame>
        <p:nvGraphicFramePr>
          <p:cNvPr id="16" name="Content Placeholder 15">
            <a:extLst>
              <a:ext uri="{FF2B5EF4-FFF2-40B4-BE49-F238E27FC236}">
                <a16:creationId xmlns:a16="http://schemas.microsoft.com/office/drawing/2014/main" id="{CFBA9D43-5C3F-4062-BDAC-4349CB4C4400}"/>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4089084565"/>
              </p:ext>
            </p:extLst>
          </p:nvPr>
        </p:nvGraphicFramePr>
        <p:xfrm>
          <a:off x="442913" y="1808163"/>
          <a:ext cx="3635375" cy="327200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A423DFC2-A9C5-DEBA-4D83-B40584F56879}"/>
              </a:ext>
              <a:ext uri="{C183D7F6-B498-43B3-948B-1728B52AA6E4}">
                <adec:decorative xmlns:adec="http://schemas.microsoft.com/office/drawing/2017/decorative" val="1"/>
              </a:ext>
            </a:extLst>
          </p:cNvPr>
          <p:cNvSpPr>
            <a:spLocks noGrp="1"/>
          </p:cNvSpPr>
          <p:nvPr>
            <p:ph type="body" sz="quarter" idx="16"/>
          </p:nvPr>
        </p:nvSpPr>
        <p:spPr/>
        <p:txBody>
          <a:bodyPr/>
          <a:lstStyle/>
          <a:p>
            <a:r>
              <a:rPr lang="de-DE" dirty="0"/>
              <a:t>Kapitaleinsatz im Vergleich</a:t>
            </a:r>
          </a:p>
        </p:txBody>
      </p:sp>
      <p:graphicFrame>
        <p:nvGraphicFramePr>
          <p:cNvPr id="24" name="Chart 1">
            <a:extLst>
              <a:ext uri="{FF2B5EF4-FFF2-40B4-BE49-F238E27FC236}">
                <a16:creationId xmlns:a16="http://schemas.microsoft.com/office/drawing/2014/main" id="{FC84C3AE-DC29-4ADE-B605-5E41C5E44E1F}"/>
              </a:ext>
              <a:ext uri="{C183D7F6-B498-43B3-948B-1728B52AA6E4}">
                <adec:decorative xmlns:adec="http://schemas.microsoft.com/office/drawing/2017/decorative" val="1"/>
              </a:ext>
            </a:extLst>
          </p:cNvPr>
          <p:cNvGraphicFramePr>
            <a:graphicFrameLocks noGrp="1"/>
          </p:cNvGraphicFramePr>
          <p:nvPr>
            <p:ph sz="quarter" idx="11"/>
            <p:custDataLst>
              <p:tags r:id="rId1"/>
            </p:custDataLst>
            <p:extLst>
              <p:ext uri="{D42A27DB-BD31-4B8C-83A1-F6EECF244321}">
                <p14:modId xmlns:p14="http://schemas.microsoft.com/office/powerpoint/2010/main" val="4111550445"/>
              </p:ext>
            </p:extLst>
          </p:nvPr>
        </p:nvGraphicFramePr>
        <p:xfrm>
          <a:off x="4278313" y="1808163"/>
          <a:ext cx="3635375" cy="3272002"/>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 Placeholder 7">
            <a:extLst>
              <a:ext uri="{FF2B5EF4-FFF2-40B4-BE49-F238E27FC236}">
                <a16:creationId xmlns:a16="http://schemas.microsoft.com/office/drawing/2014/main" id="{C1D213B9-B3F7-EAB8-FCF4-12DE159F2DCF}"/>
              </a:ext>
              <a:ext uri="{C183D7F6-B498-43B3-948B-1728B52AA6E4}">
                <adec:decorative xmlns:adec="http://schemas.microsoft.com/office/drawing/2017/decorative" val="1"/>
              </a:ext>
            </a:extLst>
          </p:cNvPr>
          <p:cNvSpPr>
            <a:spLocks noGrp="1"/>
          </p:cNvSpPr>
          <p:nvPr>
            <p:ph type="body" sz="quarter" idx="15"/>
          </p:nvPr>
        </p:nvSpPr>
        <p:spPr/>
        <p:txBody>
          <a:bodyPr/>
          <a:lstStyle/>
          <a:p>
            <a:r>
              <a:rPr lang="de-DE" dirty="0"/>
              <a:t>Produktivität im Vergleich </a:t>
            </a:r>
          </a:p>
        </p:txBody>
      </p:sp>
      <p:graphicFrame>
        <p:nvGraphicFramePr>
          <p:cNvPr id="20" name="Content Placeholder 19">
            <a:extLst>
              <a:ext uri="{FF2B5EF4-FFF2-40B4-BE49-F238E27FC236}">
                <a16:creationId xmlns:a16="http://schemas.microsoft.com/office/drawing/2014/main" id="{00F0D653-795E-4CD5-B024-CEB290423018}"/>
              </a:ext>
              <a:ext uri="{C183D7F6-B498-43B3-948B-1728B52AA6E4}">
                <adec:decorative xmlns:adec="http://schemas.microsoft.com/office/drawing/2017/decorative" val="1"/>
              </a:ext>
            </a:extLst>
          </p:cNvPr>
          <p:cNvGraphicFramePr>
            <a:graphicFrameLocks noGrp="1"/>
          </p:cNvGraphicFramePr>
          <p:nvPr>
            <p:ph sz="quarter" idx="12"/>
            <p:extLst>
              <p:ext uri="{D42A27DB-BD31-4B8C-83A1-F6EECF244321}">
                <p14:modId xmlns:p14="http://schemas.microsoft.com/office/powerpoint/2010/main" val="4134205829"/>
              </p:ext>
            </p:extLst>
          </p:nvPr>
        </p:nvGraphicFramePr>
        <p:xfrm>
          <a:off x="8113713" y="1808164"/>
          <a:ext cx="3635375" cy="3272002"/>
        </p:xfrm>
        <a:graphic>
          <a:graphicData uri="http://schemas.openxmlformats.org/drawingml/2006/chart">
            <c:chart xmlns:c="http://schemas.openxmlformats.org/drawingml/2006/chart" xmlns:r="http://schemas.openxmlformats.org/officeDocument/2006/relationships" r:id="rId5"/>
          </a:graphicData>
        </a:graphic>
      </p:graphicFrame>
      <p:sp>
        <p:nvSpPr>
          <p:cNvPr id="5" name="Rechteck 4">
            <a:extLst>
              <a:ext uri="{FF2B5EF4-FFF2-40B4-BE49-F238E27FC236}">
                <a16:creationId xmlns:a16="http://schemas.microsoft.com/office/drawing/2014/main" id="{83738CF0-9395-212C-6B70-5438C5DACF56}"/>
              </a:ext>
              <a:ext uri="{C183D7F6-B498-43B3-948B-1728B52AA6E4}">
                <adec:decorative xmlns:adec="http://schemas.microsoft.com/office/drawing/2017/decorative" val="1"/>
              </a:ext>
            </a:extLst>
          </p:cNvPr>
          <p:cNvSpPr/>
          <p:nvPr/>
        </p:nvSpPr>
        <p:spPr bwMode="auto">
          <a:xfrm>
            <a:off x="8577580" y="1875104"/>
            <a:ext cx="482251" cy="2514017"/>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11" name="Rechteck 10">
            <a:extLst>
              <a:ext uri="{FF2B5EF4-FFF2-40B4-BE49-F238E27FC236}">
                <a16:creationId xmlns:a16="http://schemas.microsoft.com/office/drawing/2014/main" id="{46102B26-AD68-AD93-649A-DB5C07A371C3}"/>
              </a:ext>
              <a:ext uri="{C183D7F6-B498-43B3-948B-1728B52AA6E4}">
                <adec:decorative xmlns:adec="http://schemas.microsoft.com/office/drawing/2017/decorative" val="1"/>
              </a:ext>
            </a:extLst>
          </p:cNvPr>
          <p:cNvSpPr/>
          <p:nvPr/>
        </p:nvSpPr>
        <p:spPr bwMode="auto">
          <a:xfrm>
            <a:off x="11120147" y="1875101"/>
            <a:ext cx="482251" cy="2514017"/>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12" name="Textfeld 11">
            <a:extLst>
              <a:ext uri="{FF2B5EF4-FFF2-40B4-BE49-F238E27FC236}">
                <a16:creationId xmlns:a16="http://schemas.microsoft.com/office/drawing/2014/main" id="{EDACD183-2EF1-BBE0-1382-3D92F89036D9}"/>
              </a:ext>
              <a:ext uri="{C183D7F6-B498-43B3-948B-1728B52AA6E4}">
                <adec:decorative xmlns:adec="http://schemas.microsoft.com/office/drawing/2017/decorative" val="1"/>
              </a:ext>
            </a:extLst>
          </p:cNvPr>
          <p:cNvSpPr txBox="1"/>
          <p:nvPr/>
        </p:nvSpPr>
        <p:spPr bwMode="ltGray">
          <a:xfrm>
            <a:off x="8584878" y="4684543"/>
            <a:ext cx="3017520" cy="276999"/>
          </a:xfrm>
          <a:prstGeom prst="rect">
            <a:avLst/>
          </a:prstGeom>
          <a:noFill/>
          <a:ln w="6350">
            <a:noFill/>
            <a:miter lim="800000"/>
            <a:headEnd/>
            <a:tailEnd/>
          </a:ln>
        </p:spPr>
        <p:txBody>
          <a:bodyPr wrap="square" lIns="0" tIns="0" rIns="0" bIns="0" rtlCol="0">
            <a:spAutoFit/>
          </a:bodyPr>
          <a:lstStyle/>
          <a:p>
            <a:r>
              <a:rPr lang="de-DE" sz="900">
                <a:solidFill>
                  <a:schemeClr val="tx1">
                    <a:lumMod val="65000"/>
                    <a:lumOff val="35000"/>
                  </a:schemeClr>
                </a:solidFill>
              </a:rPr>
              <a:t>Produktivität (BIP pro geleistete Arbeitsstunde, durchschnittliche </a:t>
            </a:r>
            <a:r>
              <a:rPr lang="de-DE" sz="900" err="1">
                <a:solidFill>
                  <a:schemeClr val="tx1">
                    <a:lumMod val="65000"/>
                    <a:lumOff val="35000"/>
                  </a:schemeClr>
                </a:solidFill>
              </a:rPr>
              <a:t>jährl</a:t>
            </a:r>
            <a:r>
              <a:rPr lang="de-DE" sz="900">
                <a:solidFill>
                  <a:schemeClr val="tx1">
                    <a:lumMod val="65000"/>
                    <a:lumOff val="35000"/>
                  </a:schemeClr>
                </a:solidFill>
              </a:rPr>
              <a:t>. Veränderung)</a:t>
            </a:r>
          </a:p>
        </p:txBody>
      </p:sp>
      <p:sp>
        <p:nvSpPr>
          <p:cNvPr id="14" name="Content Placeholder 21">
            <a:extLst>
              <a:ext uri="{FF2B5EF4-FFF2-40B4-BE49-F238E27FC236}">
                <a16:creationId xmlns:a16="http://schemas.microsoft.com/office/drawing/2014/main" id="{ADD36670-E07F-AA0E-2212-405A46FA1198}"/>
              </a:ext>
              <a:ext uri="{C183D7F6-B498-43B3-948B-1728B52AA6E4}">
                <adec:decorative xmlns:adec="http://schemas.microsoft.com/office/drawing/2017/decorative" val="1"/>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dirty="0"/>
              <a:t>USA mit Sonderrolle – Robustes Wachstum im Vergleich zu anderen Industrieländern</a:t>
            </a:r>
          </a:p>
          <a:p>
            <a:pPr marL="285750" indent="-285750">
              <a:spcAft>
                <a:spcPts val="600"/>
              </a:spcAft>
              <a:buFont typeface="Arial" panose="020B0604020202020204" pitchFamily="34" charset="0"/>
              <a:buChar char="•"/>
            </a:pPr>
            <a:r>
              <a:rPr lang="de-DE" dirty="0"/>
              <a:t>Fiskalpolitik, erste Leitzinssenkungen &amp; vorteilhafte Finanzmarktkonditionen</a:t>
            </a:r>
          </a:p>
          <a:p>
            <a:pPr marL="285750" indent="-285750">
              <a:spcAft>
                <a:spcPts val="600"/>
              </a:spcAft>
              <a:buFont typeface="Arial" panose="020B0604020202020204" pitchFamily="34" charset="0"/>
              <a:buChar char="•"/>
            </a:pPr>
            <a:r>
              <a:rPr lang="de-DE" dirty="0"/>
              <a:t>Hohe Produktivität dank verstärktem Kapitaleinsatz, F&amp;E**-Ausgaben und Unternehmensgründungen</a:t>
            </a:r>
          </a:p>
        </p:txBody>
      </p:sp>
      <p:sp>
        <p:nvSpPr>
          <p:cNvPr id="10" name="Content Placeholder 9">
            <a:extLst>
              <a:ext uri="{FF2B5EF4-FFF2-40B4-BE49-F238E27FC236}">
                <a16:creationId xmlns:a16="http://schemas.microsoft.com/office/drawing/2014/main" id="{6FE230C0-F801-1154-BE5C-DD105E421145}"/>
              </a:ext>
              <a:ext uri="{C183D7F6-B498-43B3-948B-1728B52AA6E4}">
                <adec:decorative xmlns:adec="http://schemas.microsoft.com/office/drawing/2017/decorative" val="1"/>
              </a:ext>
            </a:extLst>
          </p:cNvPr>
          <p:cNvSpPr>
            <a:spLocks noGrp="1"/>
          </p:cNvSpPr>
          <p:nvPr>
            <p:ph sz="quarter" idx="13"/>
          </p:nvPr>
        </p:nvSpPr>
        <p:spPr/>
        <p:txBody>
          <a:bodyPr anchor="t"/>
          <a:lstStyle/>
          <a:p>
            <a:r>
              <a:rPr lang="de-DE" dirty="0"/>
              <a:t>*2020-2022. **Forschung und Entwicklung. Quelle: LSEG Datastream, DG ECFIN AMECO, OECD, Deutsche Bank AG. Stand: 26.11.2024.</a:t>
            </a:r>
          </a:p>
        </p:txBody>
      </p:sp>
      <p:sp>
        <p:nvSpPr>
          <p:cNvPr id="6" name="Slide Number Placeholder 5">
            <a:extLst>
              <a:ext uri="{FF2B5EF4-FFF2-40B4-BE49-F238E27FC236}">
                <a16:creationId xmlns:a16="http://schemas.microsoft.com/office/drawing/2014/main" id="{B720B907-F88D-1E47-4720-2B5842832C35}"/>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6</a:t>
            </a:fld>
            <a:endParaRPr lang="de-DE" noProof="1"/>
          </a:p>
        </p:txBody>
      </p:sp>
    </p:spTree>
    <p:extLst>
      <p:ext uri="{BB962C8B-B14F-4D97-AF65-F5344CB8AC3E}">
        <p14:creationId xmlns:p14="http://schemas.microsoft.com/office/powerpoint/2010/main" val="3176191887"/>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4070-6431-F05A-6BD3-3612C2C57B9D}"/>
              </a:ext>
              <a:ext uri="{C183D7F6-B498-43B3-948B-1728B52AA6E4}">
                <adec:decorative xmlns:adec="http://schemas.microsoft.com/office/drawing/2017/decorative" val="1"/>
              </a:ext>
            </a:extLst>
          </p:cNvPr>
          <p:cNvSpPr>
            <a:spLocks noGrp="1"/>
          </p:cNvSpPr>
          <p:nvPr>
            <p:ph type="title"/>
          </p:nvPr>
        </p:nvSpPr>
        <p:spPr/>
        <p:txBody>
          <a:bodyPr/>
          <a:lstStyle/>
          <a:p>
            <a:r>
              <a:rPr lang="de-DE"/>
              <a:t> Investieren, um zu wachsen – Wichtige Trends der 20er Jahre </a:t>
            </a:r>
          </a:p>
        </p:txBody>
      </p:sp>
      <p:sp>
        <p:nvSpPr>
          <p:cNvPr id="8" name="Text Placeholder 7">
            <a:extLst>
              <a:ext uri="{FF2B5EF4-FFF2-40B4-BE49-F238E27FC236}">
                <a16:creationId xmlns:a16="http://schemas.microsoft.com/office/drawing/2014/main" id="{33185970-7747-4769-0CC0-0E64F2EA501E}"/>
              </a:ext>
              <a:ext uri="{C183D7F6-B498-43B3-948B-1728B52AA6E4}">
                <adec:decorative xmlns:adec="http://schemas.microsoft.com/office/drawing/2017/decorative" val="1"/>
              </a:ext>
            </a:extLst>
          </p:cNvPr>
          <p:cNvSpPr>
            <a:spLocks noGrp="1"/>
          </p:cNvSpPr>
          <p:nvPr>
            <p:ph type="body" sz="quarter" idx="12"/>
          </p:nvPr>
        </p:nvSpPr>
        <p:spPr/>
        <p:txBody>
          <a:bodyPr/>
          <a:lstStyle/>
          <a:p>
            <a:r>
              <a:rPr lang="de-DE" dirty="0">
                <a:latin typeface="Deutsche Bank Text"/>
                <a:ea typeface="Deutsche Bank Text" panose="020B0503020202030204" pitchFamily="34" charset="0"/>
                <a:cs typeface="Deutsche Bank Text" panose="020B0503020202030204" pitchFamily="34" charset="0"/>
              </a:rPr>
              <a:t>Langfristige Trends &amp; Kapitalmarktimplikationen</a:t>
            </a:r>
          </a:p>
        </p:txBody>
      </p:sp>
      <mc:AlternateContent xmlns:mc="http://schemas.openxmlformats.org/markup-compatibility/2006" xmlns:cx1="http://schemas.microsoft.com/office/drawing/2015/9/8/chartex">
        <mc:Choice Requires="cx1">
          <p:graphicFrame>
            <p:nvGraphicFramePr>
              <p:cNvPr id="13" name="Content Placeholder 12">
                <a:extLst>
                  <a:ext uri="{FF2B5EF4-FFF2-40B4-BE49-F238E27FC236}">
                    <a16:creationId xmlns:a16="http://schemas.microsoft.com/office/drawing/2014/main" id="{42070012-BD13-37F3-7C74-4EF14A486801}"/>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3701840841"/>
                  </p:ext>
                </p:extLst>
              </p:nvPr>
            </p:nvGraphicFramePr>
            <p:xfrm>
              <a:off x="57150" y="1648714"/>
              <a:ext cx="6096000" cy="3492950"/>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3" name="Content Placeholder 12">
                <a:extLst>
                  <a:ext uri="{FF2B5EF4-FFF2-40B4-BE49-F238E27FC236}">
                    <a16:creationId xmlns:a16="http://schemas.microsoft.com/office/drawing/2014/main" id="{42070012-BD13-37F3-7C74-4EF14A48680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p:cNvPicPr>
              <p:nvPr/>
            </p:nvPicPr>
            <p:blipFill>
              <a:blip r:embed="rId3"/>
              <a:stretch>
                <a:fillRect/>
              </a:stretch>
            </p:blipFill>
            <p:spPr>
              <a:xfrm>
                <a:off x="57150" y="1648714"/>
                <a:ext cx="6096000" cy="3492950"/>
              </a:xfrm>
              <a:prstGeom prst="rect">
                <a:avLst/>
              </a:prstGeom>
            </p:spPr>
          </p:pic>
        </mc:Fallback>
      </mc:AlternateContent>
      <p:sp>
        <p:nvSpPr>
          <p:cNvPr id="15" name="Textplatzhalter 1">
            <a:extLst>
              <a:ext uri="{FF2B5EF4-FFF2-40B4-BE49-F238E27FC236}">
                <a16:creationId xmlns:a16="http://schemas.microsoft.com/office/drawing/2014/main" id="{A2B7E785-6B1D-B8AA-319A-153F2721C88D}"/>
              </a:ext>
              <a:ext uri="{C183D7F6-B498-43B3-948B-1728B52AA6E4}">
                <adec:decorative xmlns:adec="http://schemas.microsoft.com/office/drawing/2017/decorative" val="1"/>
              </a:ext>
            </a:extLst>
          </p:cNvPr>
          <p:cNvSpPr txBox="1">
            <a:spLocks/>
          </p:cNvSpPr>
          <p:nvPr/>
        </p:nvSpPr>
        <p:spPr>
          <a:xfrm>
            <a:off x="6318643" y="2038351"/>
            <a:ext cx="5430443" cy="2653634"/>
          </a:xfrm>
          <a:prstGeom prst="rect">
            <a:avLst/>
          </a:prstGeom>
        </p:spPr>
        <p:txBody>
          <a:bodyPr lIns="0" tIns="0" rIns="0" bIns="0" anchor="t"/>
          <a:lstStyle>
            <a:lvl1pPr marL="0" marR="0" indent="0" algn="l" defTabSz="725172" rtl="0" eaLnBrk="1" latinLnBrk="0" hangingPunct="1">
              <a:lnSpc>
                <a:spcPct val="90000"/>
              </a:lnSpc>
              <a:spcBef>
                <a:spcPts val="719"/>
              </a:spcBef>
              <a:spcAft>
                <a:spcPts val="0"/>
              </a:spcAft>
              <a:buFont typeface="Arial"/>
              <a:buNone/>
              <a:defRPr sz="2280" kern="1200" baseline="0">
                <a:solidFill>
                  <a:srgbClr val="00205B"/>
                </a:solidFill>
                <a:latin typeface="Deutsche Bank Display" charset="0"/>
                <a:ea typeface="Deutsche Bank Display" charset="0"/>
                <a:cs typeface="Deutsche Bank Display" charset="0"/>
              </a:defRPr>
            </a:lvl1pPr>
            <a:lvl2pPr marL="400921" indent="0" algn="l" defTabSz="725172" rtl="0" eaLnBrk="1" latinLnBrk="0" hangingPunct="1">
              <a:lnSpc>
                <a:spcPct val="90000"/>
              </a:lnSpc>
              <a:spcBef>
                <a:spcPts val="396"/>
              </a:spcBef>
              <a:buFont typeface="Arial"/>
              <a:buNone/>
              <a:defRPr sz="2069" kern="1200">
                <a:solidFill>
                  <a:srgbClr val="00205B"/>
                </a:solidFill>
                <a:latin typeface="Deutsche Bank Display Beta" charset="0"/>
                <a:ea typeface="Deutsche Bank Display Beta" charset="0"/>
                <a:cs typeface="Deutsche Bank Display Beta" charset="0"/>
              </a:defRPr>
            </a:lvl2pPr>
            <a:lvl3pPr marL="801843" indent="0" algn="l" defTabSz="725172" rtl="0" eaLnBrk="1" latinLnBrk="0" hangingPunct="1">
              <a:lnSpc>
                <a:spcPct val="90000"/>
              </a:lnSpc>
              <a:spcBef>
                <a:spcPts val="396"/>
              </a:spcBef>
              <a:buFont typeface="Arial"/>
              <a:buNone/>
              <a:defRPr sz="2069" kern="1200">
                <a:solidFill>
                  <a:srgbClr val="00205B"/>
                </a:solidFill>
                <a:latin typeface="Deutsche Bank Display Beta" charset="0"/>
                <a:ea typeface="Deutsche Bank Display Beta" charset="0"/>
                <a:cs typeface="Deutsche Bank Display Beta" charset="0"/>
              </a:defRPr>
            </a:lvl3pPr>
            <a:lvl4pPr marL="1202765" indent="0" algn="l" defTabSz="725172" rtl="0" eaLnBrk="1" latinLnBrk="0" hangingPunct="1">
              <a:lnSpc>
                <a:spcPct val="90000"/>
              </a:lnSpc>
              <a:spcBef>
                <a:spcPts val="396"/>
              </a:spcBef>
              <a:buFont typeface="Arial"/>
              <a:buNone/>
              <a:defRPr sz="2069" kern="1200">
                <a:solidFill>
                  <a:srgbClr val="00205B"/>
                </a:solidFill>
                <a:latin typeface="Deutsche Bank Display Beta" charset="0"/>
                <a:ea typeface="Deutsche Bank Display Beta" charset="0"/>
                <a:cs typeface="Deutsche Bank Display Beta" charset="0"/>
              </a:defRPr>
            </a:lvl4pPr>
            <a:lvl5pPr marL="1603687" indent="0" algn="l" defTabSz="725172" rtl="0" eaLnBrk="1" latinLnBrk="0" hangingPunct="1">
              <a:lnSpc>
                <a:spcPct val="90000"/>
              </a:lnSpc>
              <a:spcBef>
                <a:spcPts val="396"/>
              </a:spcBef>
              <a:buFont typeface="Arial"/>
              <a:buNone/>
              <a:defRPr sz="2069" kern="1200">
                <a:solidFill>
                  <a:srgbClr val="00205B"/>
                </a:solidFill>
                <a:latin typeface="Deutsche Bank Display Beta" charset="0"/>
                <a:ea typeface="Deutsche Bank Display Beta" charset="0"/>
                <a:cs typeface="Deutsche Bank Display Beta" charset="0"/>
              </a:defRPr>
            </a:lvl5pPr>
            <a:lvl6pPr marL="1994224" indent="-181293" algn="l" defTabSz="725172" rtl="0" eaLnBrk="1" latinLnBrk="0" hangingPunct="1">
              <a:lnSpc>
                <a:spcPct val="90000"/>
              </a:lnSpc>
              <a:spcBef>
                <a:spcPts val="396"/>
              </a:spcBef>
              <a:buFont typeface="Arial"/>
              <a:buChar char="•"/>
              <a:defRPr sz="1428" kern="1200">
                <a:solidFill>
                  <a:schemeClr val="tx1"/>
                </a:solidFill>
                <a:latin typeface="+mn-lt"/>
                <a:ea typeface="+mn-ea"/>
                <a:cs typeface="+mn-cs"/>
              </a:defRPr>
            </a:lvl6pPr>
            <a:lvl7pPr marL="2356811" indent="-181293" algn="l" defTabSz="725172" rtl="0" eaLnBrk="1" latinLnBrk="0" hangingPunct="1">
              <a:lnSpc>
                <a:spcPct val="90000"/>
              </a:lnSpc>
              <a:spcBef>
                <a:spcPts val="396"/>
              </a:spcBef>
              <a:buFont typeface="Arial"/>
              <a:buChar char="•"/>
              <a:defRPr sz="1428" kern="1200">
                <a:solidFill>
                  <a:schemeClr val="tx1"/>
                </a:solidFill>
                <a:latin typeface="+mn-lt"/>
                <a:ea typeface="+mn-ea"/>
                <a:cs typeface="+mn-cs"/>
              </a:defRPr>
            </a:lvl7pPr>
            <a:lvl8pPr marL="2719396" indent="-181293" algn="l" defTabSz="725172" rtl="0" eaLnBrk="1" latinLnBrk="0" hangingPunct="1">
              <a:lnSpc>
                <a:spcPct val="90000"/>
              </a:lnSpc>
              <a:spcBef>
                <a:spcPts val="396"/>
              </a:spcBef>
              <a:buFont typeface="Arial"/>
              <a:buChar char="•"/>
              <a:defRPr sz="1428" kern="1200">
                <a:solidFill>
                  <a:schemeClr val="tx1"/>
                </a:solidFill>
                <a:latin typeface="+mn-lt"/>
                <a:ea typeface="+mn-ea"/>
                <a:cs typeface="+mn-cs"/>
              </a:defRPr>
            </a:lvl8pPr>
            <a:lvl9pPr marL="3081983" indent="-181293" algn="l" defTabSz="725172" rtl="0" eaLnBrk="1" latinLnBrk="0" hangingPunct="1">
              <a:lnSpc>
                <a:spcPct val="90000"/>
              </a:lnSpc>
              <a:spcBef>
                <a:spcPts val="396"/>
              </a:spcBef>
              <a:buFont typeface="Arial"/>
              <a:buChar char="•"/>
              <a:defRPr sz="1428" kern="1200">
                <a:solidFill>
                  <a:schemeClr val="tx1"/>
                </a:solidFill>
                <a:latin typeface="+mn-lt"/>
                <a:ea typeface="+mn-ea"/>
                <a:cs typeface="+mn-cs"/>
              </a:defRPr>
            </a:lvl9pPr>
          </a:lstStyle>
          <a:p>
            <a:r>
              <a:rPr lang="de-DE" sz="1600" b="1" i="1">
                <a:latin typeface="Deutsche Bank Display"/>
              </a:rPr>
              <a:t>Demographie </a:t>
            </a:r>
            <a:r>
              <a:rPr lang="de-DE" sz="1600" i="1">
                <a:latin typeface="Deutsche Bank Display"/>
              </a:rPr>
              <a:t>– Gesundheitssektor, Reise &amp; Freizeit, Finanzdienstleistungen, Mobilität</a:t>
            </a:r>
            <a:endParaRPr lang="de-DE" sz="1600" b="1" i="1">
              <a:latin typeface="Deutsche Bank Display"/>
            </a:endParaRPr>
          </a:p>
          <a:p>
            <a:r>
              <a:rPr lang="de-DE" sz="1600" b="1" i="1">
                <a:latin typeface="Deutsche Bank Display"/>
              </a:rPr>
              <a:t>Konsum </a:t>
            </a:r>
            <a:r>
              <a:rPr lang="de-DE" sz="1600" i="1">
                <a:latin typeface="Deutsche Bank Display"/>
              </a:rPr>
              <a:t>– Nachfrage- &amp; Angebotstrends, allgemeiner Verbrauch &amp; Luxusgüter</a:t>
            </a:r>
          </a:p>
          <a:p>
            <a:r>
              <a:rPr lang="de-DE" sz="1600" b="1" i="1">
                <a:latin typeface="Deutsche Bank Display"/>
              </a:rPr>
              <a:t>Technologie </a:t>
            </a:r>
            <a:r>
              <a:rPr lang="de-DE" sz="1600" i="1">
                <a:latin typeface="Deutsche Bank Display"/>
              </a:rPr>
              <a:t>– IT, Kommunikationsdienstleistungen,           E-Commerce &amp; E-Mobilität</a:t>
            </a:r>
          </a:p>
          <a:p>
            <a:r>
              <a:rPr lang="de-DE" sz="1600" b="1" i="1">
                <a:latin typeface="Deutsche Bank Display"/>
              </a:rPr>
              <a:t>Finanzsektor </a:t>
            </a:r>
            <a:r>
              <a:rPr lang="de-DE" sz="1600" i="1">
                <a:latin typeface="Deutsche Bank Display"/>
              </a:rPr>
              <a:t>– Kapital und strukturierter Kapitalmarkt-zugang für Unternehmen, Finanzdienstleistungen für Haushalte (Versicherungen, Anlagelösungen, Kredite)  </a:t>
            </a:r>
          </a:p>
        </p:txBody>
      </p:sp>
      <p:sp>
        <p:nvSpPr>
          <p:cNvPr id="19" name="Content Placeholder 21">
            <a:extLst>
              <a:ext uri="{FF2B5EF4-FFF2-40B4-BE49-F238E27FC236}">
                <a16:creationId xmlns:a16="http://schemas.microsoft.com/office/drawing/2014/main" id="{B9F72E71-FC77-C38F-20BD-4AC7B4C54318}"/>
              </a:ext>
              <a:ext uri="{C183D7F6-B498-43B3-948B-1728B52AA6E4}">
                <adec:decorative xmlns:adec="http://schemas.microsoft.com/office/drawing/2017/decorative" val="1"/>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marR="0" lvl="0" indent="-28575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0000"/>
                </a:solidFill>
                <a:effectLst/>
                <a:uLnTx/>
                <a:uFillTx/>
                <a:latin typeface="DeutscheBank"/>
                <a:ea typeface="ＭＳ Ｐゴシック" pitchFamily="-109" charset="-128"/>
              </a:rPr>
              <a:t>Herausforderungen – Pandemie &amp; Geopolitik, Versorgung &amp; Sicherheit, Klimawandel &amp; Transformation, Demographie </a:t>
            </a:r>
          </a:p>
          <a:p>
            <a:pPr marL="285750" marR="0" lvl="0" indent="-28575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0000"/>
                </a:solidFill>
                <a:effectLst/>
                <a:uLnTx/>
                <a:uFillTx/>
                <a:latin typeface="DeutscheBank"/>
                <a:ea typeface="ＭＳ Ｐゴシック" pitchFamily="-109" charset="-128"/>
              </a:rPr>
              <a:t>Langfristige Trends – Investitionen in Schlüsselsektoren: Gesundheit, Technologie &amp; Industrie</a:t>
            </a:r>
            <a:r>
              <a:rPr lang="de-DE">
                <a:solidFill>
                  <a:srgbClr val="000000"/>
                </a:solidFill>
                <a:latin typeface="DeutscheBank"/>
              </a:rPr>
              <a:t>,</a:t>
            </a:r>
            <a:r>
              <a:rPr kumimoji="0" lang="de-DE" sz="1600" b="0" i="0" u="none" strike="noStrike" kern="1200" cap="none" spc="0" normalizeH="0" baseline="0" noProof="0">
                <a:ln>
                  <a:noFill/>
                </a:ln>
                <a:solidFill>
                  <a:srgbClr val="000000"/>
                </a:solidFill>
                <a:effectLst/>
                <a:uLnTx/>
                <a:uFillTx/>
                <a:latin typeface="DeutscheBank"/>
                <a:ea typeface="ＭＳ Ｐゴシック" pitchFamily="-109" charset="-128"/>
              </a:rPr>
              <a:t> Konsum</a:t>
            </a:r>
          </a:p>
          <a:p>
            <a:pPr marL="285750" marR="0" lvl="0" indent="-28575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de-DE" sz="1600" b="0" i="0" u="none" strike="noStrike" kern="1200" cap="none" spc="0" normalizeH="0" baseline="0" noProof="0">
                <a:ln>
                  <a:noFill/>
                </a:ln>
                <a:solidFill>
                  <a:srgbClr val="000000"/>
                </a:solidFill>
                <a:effectLst/>
                <a:uLnTx/>
                <a:uFillTx/>
                <a:latin typeface="DeutscheBank"/>
                <a:ea typeface="ＭＳ Ｐゴシック" pitchFamily="-109" charset="-128"/>
              </a:rPr>
              <a:t>Finanzsektor – Einbindung des </a:t>
            </a:r>
            <a:r>
              <a:rPr lang="de-DE" err="1">
                <a:solidFill>
                  <a:srgbClr val="000000"/>
                </a:solidFill>
                <a:latin typeface="DeutscheBank"/>
              </a:rPr>
              <a:t>Privats</a:t>
            </a:r>
            <a:r>
              <a:rPr kumimoji="0" lang="de-DE" sz="1600" b="0" i="0" u="none" strike="noStrike" kern="1200" cap="none" spc="0" normalizeH="0" baseline="0" noProof="0" err="1">
                <a:ln>
                  <a:noFill/>
                </a:ln>
                <a:solidFill>
                  <a:srgbClr val="000000"/>
                </a:solidFill>
                <a:effectLst/>
                <a:uLnTx/>
                <a:uFillTx/>
                <a:latin typeface="DeutscheBank"/>
                <a:ea typeface="ＭＳ Ｐゴシック" pitchFamily="-109" charset="-128"/>
              </a:rPr>
              <a:t>ektors</a:t>
            </a:r>
            <a:r>
              <a:rPr kumimoji="0" lang="de-DE" sz="1600" b="0" i="0" u="none" strike="noStrike" kern="1200" cap="none" spc="0" normalizeH="0" baseline="0" noProof="0">
                <a:ln>
                  <a:noFill/>
                </a:ln>
                <a:solidFill>
                  <a:srgbClr val="000000"/>
                </a:solidFill>
                <a:effectLst/>
                <a:uLnTx/>
                <a:uFillTx/>
                <a:latin typeface="DeutscheBank"/>
                <a:ea typeface="ＭＳ Ｐゴシック" pitchFamily="-109" charset="-128"/>
              </a:rPr>
              <a:t> in öffentliche Projekte, </a:t>
            </a:r>
            <a:r>
              <a:rPr kumimoji="0" lang="de-DE" sz="1600" b="0" i="0" u="none" strike="noStrike" kern="1200" cap="none" spc="0" normalizeH="0" baseline="0" noProof="0" err="1">
                <a:ln>
                  <a:noFill/>
                </a:ln>
                <a:solidFill>
                  <a:srgbClr val="000000"/>
                </a:solidFill>
                <a:effectLst/>
                <a:uLnTx/>
                <a:uFillTx/>
                <a:latin typeface="DeutscheBank"/>
                <a:ea typeface="ＭＳ Ｐゴシック" pitchFamily="-109" charset="-128"/>
              </a:rPr>
              <a:t>Kapitalbereitstellun</a:t>
            </a:r>
            <a:r>
              <a:rPr lang="de-DE">
                <a:solidFill>
                  <a:srgbClr val="000000"/>
                </a:solidFill>
                <a:latin typeface="DeutscheBank"/>
              </a:rPr>
              <a:t>g über Private Markets</a:t>
            </a:r>
            <a:r>
              <a:rPr kumimoji="0" lang="de-DE" sz="1600" b="0" i="0" u="none" strike="noStrike" kern="1200" cap="none" spc="0" normalizeH="0" baseline="0" noProof="0">
                <a:ln>
                  <a:noFill/>
                </a:ln>
                <a:solidFill>
                  <a:srgbClr val="000000"/>
                </a:solidFill>
                <a:effectLst/>
                <a:uLnTx/>
                <a:uFillTx/>
                <a:latin typeface="DeutscheBank"/>
                <a:ea typeface="ＭＳ Ｐゴシック" pitchFamily="-109" charset="-128"/>
              </a:rPr>
              <a:t> </a:t>
            </a:r>
          </a:p>
        </p:txBody>
      </p:sp>
      <p:sp>
        <p:nvSpPr>
          <p:cNvPr id="6" name="Content Placeholder 5">
            <a:extLst>
              <a:ext uri="{FF2B5EF4-FFF2-40B4-BE49-F238E27FC236}">
                <a16:creationId xmlns:a16="http://schemas.microsoft.com/office/drawing/2014/main" id="{6F5FF73B-E1A3-799C-4402-7D092F12958D}"/>
              </a:ext>
              <a:ext uri="{C183D7F6-B498-43B3-948B-1728B52AA6E4}">
                <adec:decorative xmlns:adec="http://schemas.microsoft.com/office/drawing/2017/decorative" val="1"/>
              </a:ext>
            </a:extLst>
          </p:cNvPr>
          <p:cNvSpPr>
            <a:spLocks noGrp="1"/>
          </p:cNvSpPr>
          <p:nvPr>
            <p:ph sz="quarter" idx="13"/>
          </p:nvPr>
        </p:nvSpPr>
        <p:spPr/>
        <p:txBody>
          <a:bodyPr anchor="t"/>
          <a:lstStyle/>
          <a:p>
            <a:r>
              <a:rPr lang="de-DE"/>
              <a:t>Quelle: LSEG Datastream, Deutsche Bank AG. Stand: 26.11.2024.</a:t>
            </a:r>
          </a:p>
        </p:txBody>
      </p:sp>
      <p:sp>
        <p:nvSpPr>
          <p:cNvPr id="4" name="Slide Number Placeholder 3">
            <a:extLst>
              <a:ext uri="{FF2B5EF4-FFF2-40B4-BE49-F238E27FC236}">
                <a16:creationId xmlns:a16="http://schemas.microsoft.com/office/drawing/2014/main" id="{8FA9FD84-ACFC-D05B-ECA9-E6DFF97856A4}"/>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7</a:t>
            </a:fld>
            <a:endParaRPr lang="de-DE" noProof="1"/>
          </a:p>
        </p:txBody>
      </p:sp>
    </p:spTree>
    <p:extLst>
      <p:ext uri="{BB962C8B-B14F-4D97-AF65-F5344CB8AC3E}">
        <p14:creationId xmlns:p14="http://schemas.microsoft.com/office/powerpoint/2010/main" val="390526042"/>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44070-6431-F05A-6BD3-3612C2C57B9D}"/>
              </a:ext>
              <a:ext uri="{C183D7F6-B498-43B3-948B-1728B52AA6E4}">
                <adec:decorative xmlns:adec="http://schemas.microsoft.com/office/drawing/2017/decorative" val="1"/>
              </a:ext>
            </a:extLst>
          </p:cNvPr>
          <p:cNvSpPr>
            <a:spLocks noGrp="1"/>
          </p:cNvSpPr>
          <p:nvPr>
            <p:ph type="title"/>
          </p:nvPr>
        </p:nvSpPr>
        <p:spPr/>
        <p:txBody>
          <a:bodyPr/>
          <a:lstStyle/>
          <a:p>
            <a:r>
              <a:rPr lang="de-DE"/>
              <a:t>Zugang zum Wachstum – Gesundheitssektor, zyklischer Konsum , IT &amp; Finanzen</a:t>
            </a:r>
            <a:br>
              <a:rPr lang="de-DE"/>
            </a:br>
            <a:endParaRPr lang="de-DE"/>
          </a:p>
        </p:txBody>
      </p:sp>
      <p:sp>
        <p:nvSpPr>
          <p:cNvPr id="8" name="Text Placeholder 7">
            <a:extLst>
              <a:ext uri="{FF2B5EF4-FFF2-40B4-BE49-F238E27FC236}">
                <a16:creationId xmlns:a16="http://schemas.microsoft.com/office/drawing/2014/main" id="{33185970-7747-4769-0CC0-0E64F2EA501E}"/>
              </a:ext>
              <a:ext uri="{C183D7F6-B498-43B3-948B-1728B52AA6E4}">
                <adec:decorative xmlns:adec="http://schemas.microsoft.com/office/drawing/2017/decorative" val="1"/>
              </a:ext>
            </a:extLst>
          </p:cNvPr>
          <p:cNvSpPr>
            <a:spLocks noGrp="1"/>
          </p:cNvSpPr>
          <p:nvPr>
            <p:ph type="body" sz="quarter" idx="12"/>
          </p:nvPr>
        </p:nvSpPr>
        <p:spPr/>
        <p:txBody>
          <a:bodyPr/>
          <a:lstStyle/>
          <a:p>
            <a:r>
              <a:rPr lang="de-DE" dirty="0">
                <a:latin typeface="Deutsche Bank Text"/>
                <a:ea typeface="Deutsche Bank Text" panose="020B0503020202030204" pitchFamily="34" charset="0"/>
                <a:cs typeface="Deutsche Bank Text" panose="020B0503020202030204" pitchFamily="34" charset="0"/>
              </a:rPr>
              <a:t>Wachstumssektoren dominieren – Langfristige Umsatzentwicklung und Performance (Ø der vergangenen zehn Jahre)</a:t>
            </a:r>
          </a:p>
        </p:txBody>
      </p:sp>
      <p:sp>
        <p:nvSpPr>
          <p:cNvPr id="3" name="Rechteck 2">
            <a:extLst>
              <a:ext uri="{FF2B5EF4-FFF2-40B4-BE49-F238E27FC236}">
                <a16:creationId xmlns:a16="http://schemas.microsoft.com/office/drawing/2014/main" id="{97D5877D-7FD2-A728-A2CB-D30E2C8F2F20}"/>
              </a:ext>
              <a:ext uri="{C183D7F6-B498-43B3-948B-1728B52AA6E4}">
                <adec:decorative xmlns:adec="http://schemas.microsoft.com/office/drawing/2017/decorative" val="1"/>
              </a:ext>
            </a:extLst>
          </p:cNvPr>
          <p:cNvSpPr/>
          <p:nvPr/>
        </p:nvSpPr>
        <p:spPr bwMode="auto">
          <a:xfrm>
            <a:off x="898295" y="1822005"/>
            <a:ext cx="872992" cy="4011236"/>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9" name="Rechteck 8">
            <a:extLst>
              <a:ext uri="{FF2B5EF4-FFF2-40B4-BE49-F238E27FC236}">
                <a16:creationId xmlns:a16="http://schemas.microsoft.com/office/drawing/2014/main" id="{2652C328-907B-0D1E-AFC2-2DD40AE6AB8F}"/>
              </a:ext>
              <a:ext uri="{C183D7F6-B498-43B3-948B-1728B52AA6E4}">
                <adec:decorative xmlns:adec="http://schemas.microsoft.com/office/drawing/2017/decorative" val="1"/>
              </a:ext>
            </a:extLst>
          </p:cNvPr>
          <p:cNvSpPr/>
          <p:nvPr/>
        </p:nvSpPr>
        <p:spPr bwMode="auto">
          <a:xfrm>
            <a:off x="1855150" y="1822005"/>
            <a:ext cx="872992" cy="4011236"/>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10" name="Rechteck 9">
            <a:extLst>
              <a:ext uri="{FF2B5EF4-FFF2-40B4-BE49-F238E27FC236}">
                <a16:creationId xmlns:a16="http://schemas.microsoft.com/office/drawing/2014/main" id="{78285AEA-3C1D-681A-4D3E-A7D6544A41C4}"/>
              </a:ext>
              <a:ext uri="{C183D7F6-B498-43B3-948B-1728B52AA6E4}">
                <adec:decorative xmlns:adec="http://schemas.microsoft.com/office/drawing/2017/decorative" val="1"/>
              </a:ext>
            </a:extLst>
          </p:cNvPr>
          <p:cNvSpPr/>
          <p:nvPr/>
        </p:nvSpPr>
        <p:spPr bwMode="auto">
          <a:xfrm>
            <a:off x="2812005" y="1822005"/>
            <a:ext cx="872992" cy="4011236"/>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11" name="Rechteck 10">
            <a:extLst>
              <a:ext uri="{FF2B5EF4-FFF2-40B4-BE49-F238E27FC236}">
                <a16:creationId xmlns:a16="http://schemas.microsoft.com/office/drawing/2014/main" id="{9BF53A1E-0ADD-35DC-37A5-F54CFEDAABDA}"/>
              </a:ext>
              <a:ext uri="{C183D7F6-B498-43B3-948B-1728B52AA6E4}">
                <adec:decorative xmlns:adec="http://schemas.microsoft.com/office/drawing/2017/decorative" val="1"/>
              </a:ext>
            </a:extLst>
          </p:cNvPr>
          <p:cNvSpPr/>
          <p:nvPr/>
        </p:nvSpPr>
        <p:spPr bwMode="auto">
          <a:xfrm>
            <a:off x="3768859" y="1822005"/>
            <a:ext cx="872992" cy="4011236"/>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a:solidFill>
                <a:srgbClr val="FFFFFF"/>
              </a:solidFill>
              <a:latin typeface="+mn-lt"/>
            </a:endParaRPr>
          </a:p>
        </p:txBody>
      </p:sp>
      <p:sp>
        <p:nvSpPr>
          <p:cNvPr id="24" name="Rechteck 23">
            <a:extLst>
              <a:ext uri="{FF2B5EF4-FFF2-40B4-BE49-F238E27FC236}">
                <a16:creationId xmlns:a16="http://schemas.microsoft.com/office/drawing/2014/main" id="{596BFDCD-100E-FEF7-BB3B-247874C1E1A2}"/>
              </a:ext>
              <a:ext uri="{C183D7F6-B498-43B3-948B-1728B52AA6E4}">
                <adec:decorative xmlns:adec="http://schemas.microsoft.com/office/drawing/2017/decorative" val="1"/>
              </a:ext>
            </a:extLst>
          </p:cNvPr>
          <p:cNvSpPr/>
          <p:nvPr/>
        </p:nvSpPr>
        <p:spPr bwMode="auto">
          <a:xfrm>
            <a:off x="6070913" y="1706063"/>
            <a:ext cx="5210175" cy="1269054"/>
          </a:xfrm>
          <a:prstGeom prst="rect">
            <a:avLst/>
          </a:prstGeom>
          <a:solidFill>
            <a:schemeClr val="accent2">
              <a:lumMod val="20000"/>
              <a:lumOff val="80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err="1">
              <a:solidFill>
                <a:srgbClr val="FFFFFF"/>
              </a:solidFill>
              <a:latin typeface="+mn-lt"/>
            </a:endParaRPr>
          </a:p>
        </p:txBody>
      </p:sp>
      <p:graphicFrame>
        <p:nvGraphicFramePr>
          <p:cNvPr id="25" name="Tabelle 24">
            <a:extLst>
              <a:ext uri="{FF2B5EF4-FFF2-40B4-BE49-F238E27FC236}">
                <a16:creationId xmlns:a16="http://schemas.microsoft.com/office/drawing/2014/main" id="{F0419FC4-A587-DDA3-3F90-A7EB89A8F859}"/>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822630144"/>
              </p:ext>
            </p:extLst>
          </p:nvPr>
        </p:nvGraphicFramePr>
        <p:xfrm>
          <a:off x="6219827" y="1785751"/>
          <a:ext cx="4969103" cy="1067179"/>
        </p:xfrm>
        <a:graphic>
          <a:graphicData uri="http://schemas.openxmlformats.org/drawingml/2006/table">
            <a:tbl>
              <a:tblPr firstRow="1"/>
              <a:tblGrid>
                <a:gridCol w="1228725">
                  <a:extLst>
                    <a:ext uri="{9D8B030D-6E8A-4147-A177-3AD203B41FA5}">
                      <a16:colId xmlns:a16="http://schemas.microsoft.com/office/drawing/2014/main" val="724266525"/>
                    </a:ext>
                  </a:extLst>
                </a:gridCol>
                <a:gridCol w="1247775">
                  <a:extLst>
                    <a:ext uri="{9D8B030D-6E8A-4147-A177-3AD203B41FA5}">
                      <a16:colId xmlns:a16="http://schemas.microsoft.com/office/drawing/2014/main" val="2627755028"/>
                    </a:ext>
                  </a:extLst>
                </a:gridCol>
                <a:gridCol w="819150">
                  <a:extLst>
                    <a:ext uri="{9D8B030D-6E8A-4147-A177-3AD203B41FA5}">
                      <a16:colId xmlns:a16="http://schemas.microsoft.com/office/drawing/2014/main" val="1727280662"/>
                    </a:ext>
                  </a:extLst>
                </a:gridCol>
                <a:gridCol w="907259">
                  <a:extLst>
                    <a:ext uri="{9D8B030D-6E8A-4147-A177-3AD203B41FA5}">
                      <a16:colId xmlns:a16="http://schemas.microsoft.com/office/drawing/2014/main" val="1455284849"/>
                    </a:ext>
                  </a:extLst>
                </a:gridCol>
                <a:gridCol w="766194">
                  <a:extLst>
                    <a:ext uri="{9D8B030D-6E8A-4147-A177-3AD203B41FA5}">
                      <a16:colId xmlns:a16="http://schemas.microsoft.com/office/drawing/2014/main" val="180576684"/>
                    </a:ext>
                  </a:extLst>
                </a:gridCol>
              </a:tblGrid>
              <a:tr h="355727">
                <a:tc>
                  <a:txBody>
                    <a:bodyPr/>
                    <a:lstStyle/>
                    <a:p>
                      <a:pPr algn="l" fontAlgn="b"/>
                      <a:r>
                        <a:rPr lang="de-DE" sz="1000" b="1" i="0" u="none" strike="noStrike">
                          <a:solidFill>
                            <a:srgbClr val="404040"/>
                          </a:solidFill>
                          <a:effectLst/>
                          <a:latin typeface="Deutsche Bank Text" panose="020B0503020202030204" pitchFamily="34" charset="0"/>
                        </a:rPr>
                        <a:t> </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Gesundheit</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IT</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Zyklische</a:t>
                      </a:r>
                      <a:br>
                        <a:rPr lang="de-DE" sz="1000" b="1" i="0" u="none" strike="noStrike">
                          <a:solidFill>
                            <a:srgbClr val="404040"/>
                          </a:solidFill>
                          <a:effectLst/>
                          <a:latin typeface="Deutsche Bank Text" panose="020B0503020202030204" pitchFamily="34" charset="0"/>
                        </a:rPr>
                      </a:br>
                      <a:r>
                        <a:rPr lang="de-DE" sz="1000" b="1" i="0" u="none" strike="noStrike">
                          <a:solidFill>
                            <a:srgbClr val="404040"/>
                          </a:solidFill>
                          <a:effectLst/>
                          <a:latin typeface="Deutsche Bank Text" panose="020B0503020202030204" pitchFamily="34" charset="0"/>
                        </a:rPr>
                        <a:t>Konsumgüter</a:t>
                      </a:r>
                    </a:p>
                  </a:txBody>
                  <a:tcPr marL="0" marR="0" marT="0" marB="0" anchor="b">
                    <a:lnL>
                      <a:noFill/>
                    </a:lnL>
                    <a:lnR>
                      <a:noFill/>
                    </a:lnR>
                    <a:lnT>
                      <a:noFill/>
                    </a:lnT>
                    <a:lnB>
                      <a:noFill/>
                    </a:lnB>
                    <a:noFill/>
                  </a:tcPr>
                </a:tc>
                <a:tc>
                  <a:txBody>
                    <a:bodyPr/>
                    <a:lstStyle/>
                    <a:p>
                      <a:pPr algn="ctr" fontAlgn="b"/>
                      <a:r>
                        <a:rPr lang="de-DE" sz="1000" b="1" i="0" u="none" strike="noStrike" dirty="0">
                          <a:solidFill>
                            <a:srgbClr val="404040"/>
                          </a:solidFill>
                          <a:effectLst/>
                          <a:latin typeface="Deutsche Bank Text" panose="020B0503020202030204" pitchFamily="34" charset="0"/>
                        </a:rPr>
                        <a:t>Finanzen</a:t>
                      </a:r>
                    </a:p>
                  </a:txBody>
                  <a:tcPr marL="0" marR="0" marT="0" marB="0" anchor="b">
                    <a:lnL>
                      <a:noFill/>
                    </a:lnL>
                    <a:lnR>
                      <a:noFill/>
                    </a:lnR>
                    <a:lnT>
                      <a:noFill/>
                    </a:lnT>
                    <a:lnB>
                      <a:noFill/>
                    </a:lnB>
                    <a:noFill/>
                  </a:tcPr>
                </a:tc>
                <a:extLst>
                  <a:ext uri="{0D108BD9-81ED-4DB2-BD59-A6C34878D82A}">
                    <a16:rowId xmlns:a16="http://schemas.microsoft.com/office/drawing/2014/main" val="3372536549"/>
                  </a:ext>
                </a:extLst>
              </a:tr>
              <a:tr h="177863">
                <a:tc>
                  <a:txBody>
                    <a:bodyPr/>
                    <a:lstStyle/>
                    <a:p>
                      <a:pPr algn="l" fontAlgn="b"/>
                      <a:r>
                        <a:rPr lang="de-DE" sz="1000" b="1" i="0" u="none" strike="noStrike">
                          <a:solidFill>
                            <a:srgbClr val="404040"/>
                          </a:solidFill>
                          <a:effectLst/>
                          <a:latin typeface="Deutsche Bank Text" panose="020B0503020202030204" pitchFamily="34" charset="0"/>
                        </a:rPr>
                        <a:t>Umsatz 25 (ggü. Vj)</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5,5%</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11,7%</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4,8%</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3,9%</a:t>
                      </a:r>
                    </a:p>
                  </a:txBody>
                  <a:tcPr marL="0" marR="0" marT="0" marB="0" anchor="b">
                    <a:lnL>
                      <a:noFill/>
                    </a:lnL>
                    <a:lnR>
                      <a:noFill/>
                    </a:lnR>
                    <a:lnT>
                      <a:noFill/>
                    </a:lnT>
                    <a:lnB>
                      <a:noFill/>
                    </a:lnB>
                    <a:noFill/>
                  </a:tcPr>
                </a:tc>
                <a:extLst>
                  <a:ext uri="{0D108BD9-81ED-4DB2-BD59-A6C34878D82A}">
                    <a16:rowId xmlns:a16="http://schemas.microsoft.com/office/drawing/2014/main" val="3899843188"/>
                  </a:ext>
                </a:extLst>
              </a:tr>
              <a:tr h="177863">
                <a:tc>
                  <a:txBody>
                    <a:bodyPr/>
                    <a:lstStyle/>
                    <a:p>
                      <a:pPr algn="l" fontAlgn="b"/>
                      <a:r>
                        <a:rPr lang="de-DE" sz="1000" b="1" i="0" u="none" strike="noStrike">
                          <a:solidFill>
                            <a:srgbClr val="404040"/>
                          </a:solidFill>
                          <a:effectLst/>
                          <a:latin typeface="Deutsche Bank Text" panose="020B0503020202030204" pitchFamily="34" charset="0"/>
                        </a:rPr>
                        <a:t>Umsatz 26 (ggü. Vj)</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6,1%</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10,3%</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5,6%</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4,1%</a:t>
                      </a:r>
                    </a:p>
                  </a:txBody>
                  <a:tcPr marL="0" marR="0" marT="0" marB="0" anchor="b">
                    <a:lnL>
                      <a:noFill/>
                    </a:lnL>
                    <a:lnR>
                      <a:noFill/>
                    </a:lnR>
                    <a:lnT>
                      <a:noFill/>
                    </a:lnT>
                    <a:lnB>
                      <a:noFill/>
                    </a:lnB>
                    <a:noFill/>
                  </a:tcPr>
                </a:tc>
                <a:extLst>
                  <a:ext uri="{0D108BD9-81ED-4DB2-BD59-A6C34878D82A}">
                    <a16:rowId xmlns:a16="http://schemas.microsoft.com/office/drawing/2014/main" val="3160654644"/>
                  </a:ext>
                </a:extLst>
              </a:tr>
              <a:tr h="177863">
                <a:tc>
                  <a:txBody>
                    <a:bodyPr/>
                    <a:lstStyle/>
                    <a:p>
                      <a:pPr algn="l" fontAlgn="b"/>
                      <a:r>
                        <a:rPr lang="de-DE" sz="1000" b="1" i="0" u="none" strike="noStrike">
                          <a:solidFill>
                            <a:srgbClr val="404040"/>
                          </a:solidFill>
                          <a:effectLst/>
                          <a:latin typeface="Deutsche Bank Text" panose="020B0503020202030204" pitchFamily="34" charset="0"/>
                        </a:rPr>
                        <a:t>Gewinn 25 (ggü. Vj)</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18,4%</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20,9%</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12,4%</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6,6%</a:t>
                      </a:r>
                    </a:p>
                  </a:txBody>
                  <a:tcPr marL="0" marR="0" marT="0" marB="0" anchor="b">
                    <a:lnL>
                      <a:noFill/>
                    </a:lnL>
                    <a:lnR>
                      <a:noFill/>
                    </a:lnR>
                    <a:lnT>
                      <a:noFill/>
                    </a:lnT>
                    <a:lnB>
                      <a:noFill/>
                    </a:lnB>
                    <a:noFill/>
                  </a:tcPr>
                </a:tc>
                <a:extLst>
                  <a:ext uri="{0D108BD9-81ED-4DB2-BD59-A6C34878D82A}">
                    <a16:rowId xmlns:a16="http://schemas.microsoft.com/office/drawing/2014/main" val="964690012"/>
                  </a:ext>
                </a:extLst>
              </a:tr>
              <a:tr h="177863">
                <a:tc>
                  <a:txBody>
                    <a:bodyPr/>
                    <a:lstStyle/>
                    <a:p>
                      <a:pPr algn="l" fontAlgn="b"/>
                      <a:r>
                        <a:rPr lang="de-DE" sz="1000" b="1" i="0" u="none" strike="noStrike">
                          <a:solidFill>
                            <a:srgbClr val="404040"/>
                          </a:solidFill>
                          <a:effectLst/>
                          <a:latin typeface="Deutsche Bank Text" panose="020B0503020202030204" pitchFamily="34" charset="0"/>
                        </a:rPr>
                        <a:t>Gewinn 26 (ggü. Vj)</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11,8%</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16,7%</a:t>
                      </a:r>
                    </a:p>
                  </a:txBody>
                  <a:tcPr marL="0" marR="0" marT="0" marB="0" anchor="b">
                    <a:lnL>
                      <a:noFill/>
                    </a:lnL>
                    <a:lnR>
                      <a:noFill/>
                    </a:lnR>
                    <a:lnT>
                      <a:noFill/>
                    </a:lnT>
                    <a:lnB>
                      <a:noFill/>
                    </a:lnB>
                    <a:noFill/>
                  </a:tcPr>
                </a:tc>
                <a:tc>
                  <a:txBody>
                    <a:bodyPr/>
                    <a:lstStyle/>
                    <a:p>
                      <a:pPr algn="ctr" fontAlgn="b"/>
                      <a:r>
                        <a:rPr lang="de-DE" sz="1000" b="1" i="0" u="none" strike="noStrike">
                          <a:solidFill>
                            <a:srgbClr val="404040"/>
                          </a:solidFill>
                          <a:effectLst/>
                          <a:latin typeface="Deutsche Bank Text" panose="020B0503020202030204" pitchFamily="34" charset="0"/>
                        </a:rPr>
                        <a:t>13,8%</a:t>
                      </a:r>
                    </a:p>
                  </a:txBody>
                  <a:tcPr marL="0" marR="0" marT="0" marB="0" anchor="b">
                    <a:lnL>
                      <a:noFill/>
                    </a:lnL>
                    <a:lnR>
                      <a:noFill/>
                    </a:lnR>
                    <a:lnT>
                      <a:noFill/>
                    </a:lnT>
                    <a:lnB>
                      <a:noFill/>
                    </a:lnB>
                    <a:noFill/>
                  </a:tcPr>
                </a:tc>
                <a:tc>
                  <a:txBody>
                    <a:bodyPr/>
                    <a:lstStyle/>
                    <a:p>
                      <a:pPr algn="ctr" fontAlgn="b"/>
                      <a:r>
                        <a:rPr lang="de-DE" sz="1000" b="1" i="0" u="none" strike="noStrike" dirty="0">
                          <a:solidFill>
                            <a:srgbClr val="404040"/>
                          </a:solidFill>
                          <a:effectLst/>
                          <a:latin typeface="Deutsche Bank Text" panose="020B0503020202030204" pitchFamily="34" charset="0"/>
                        </a:rPr>
                        <a:t>10,6%</a:t>
                      </a:r>
                    </a:p>
                  </a:txBody>
                  <a:tcPr marL="0" marR="0" marT="0" marB="0" anchor="b">
                    <a:lnL>
                      <a:noFill/>
                    </a:lnL>
                    <a:lnR>
                      <a:noFill/>
                    </a:lnR>
                    <a:lnT>
                      <a:noFill/>
                    </a:lnT>
                    <a:lnB>
                      <a:noFill/>
                    </a:lnB>
                    <a:noFill/>
                  </a:tcPr>
                </a:tc>
                <a:extLst>
                  <a:ext uri="{0D108BD9-81ED-4DB2-BD59-A6C34878D82A}">
                    <a16:rowId xmlns:a16="http://schemas.microsoft.com/office/drawing/2014/main" val="2903078445"/>
                  </a:ext>
                </a:extLst>
              </a:tr>
            </a:tbl>
          </a:graphicData>
        </a:graphic>
      </p:graphicFrame>
      <p:graphicFrame>
        <p:nvGraphicFramePr>
          <p:cNvPr id="19" name="Content Placeholder 18">
            <a:extLst>
              <a:ext uri="{FF2B5EF4-FFF2-40B4-BE49-F238E27FC236}">
                <a16:creationId xmlns:a16="http://schemas.microsoft.com/office/drawing/2014/main" id="{961B43E0-6025-4B9F-B83B-5A1EB8991ADA}"/>
              </a:ext>
              <a:ext uri="{C183D7F6-B498-43B3-948B-1728B52AA6E4}">
                <adec:decorative xmlns:adec="http://schemas.microsoft.com/office/drawing/2017/decorative" val="1"/>
              </a:ext>
            </a:extLst>
          </p:cNvPr>
          <p:cNvGraphicFramePr>
            <a:graphicFrameLocks noGrp="1"/>
          </p:cNvGraphicFramePr>
          <p:nvPr>
            <p:ph sz="quarter" idx="10"/>
            <p:custDataLst>
              <p:tags r:id="rId1"/>
            </p:custDataLst>
            <p:extLst>
              <p:ext uri="{D42A27DB-BD31-4B8C-83A1-F6EECF244321}">
                <p14:modId xmlns:p14="http://schemas.microsoft.com/office/powerpoint/2010/main" val="57984141"/>
              </p:ext>
            </p:extLst>
          </p:nvPr>
        </p:nvGraphicFramePr>
        <p:xfrm>
          <a:off x="442913" y="1809750"/>
          <a:ext cx="11304587" cy="4389438"/>
        </p:xfrm>
        <a:graphic>
          <a:graphicData uri="http://schemas.openxmlformats.org/drawingml/2006/chart">
            <c:chart xmlns:c="http://schemas.openxmlformats.org/drawingml/2006/chart" xmlns:r="http://schemas.openxmlformats.org/officeDocument/2006/relationships" r:id="rId3"/>
          </a:graphicData>
        </a:graphic>
      </p:graphicFrame>
      <p:sp>
        <p:nvSpPr>
          <p:cNvPr id="6" name="Inhaltsplatzhalter 13">
            <a:extLst>
              <a:ext uri="{FF2B5EF4-FFF2-40B4-BE49-F238E27FC236}">
                <a16:creationId xmlns:a16="http://schemas.microsoft.com/office/drawing/2014/main" id="{FD344782-90EB-FDA6-4282-2E776F0301DA}"/>
              </a:ext>
              <a:ext uri="{C183D7F6-B498-43B3-948B-1728B52AA6E4}">
                <adec:decorative xmlns:adec="http://schemas.microsoft.com/office/drawing/2017/decorative" val="1"/>
              </a:ext>
            </a:extLst>
          </p:cNvPr>
          <p:cNvSpPr>
            <a:spLocks noGrp="1"/>
          </p:cNvSpPr>
          <p:nvPr>
            <p:ph sz="quarter" idx="13" hasCustomPrompt="1"/>
          </p:nvPr>
        </p:nvSpPr>
        <p:spPr>
          <a:xfrm>
            <a:off x="442800" y="6199631"/>
            <a:ext cx="11304000" cy="152400"/>
          </a:xfrm>
        </p:spPr>
        <p:txBody>
          <a:bodyPr anchor="t"/>
          <a:lstStyle>
            <a:lvl1pPr>
              <a:lnSpc>
                <a:spcPct val="100000"/>
              </a:lnSpc>
              <a:defRPr sz="800"/>
            </a:lvl1pPr>
            <a:lvl2pPr>
              <a:lnSpc>
                <a:spcPct val="100000"/>
              </a:lnSpc>
              <a:defRPr/>
            </a:lvl2pPr>
            <a:lvl3pPr>
              <a:lnSpc>
                <a:spcPct val="100000"/>
              </a:lnSpc>
              <a:defRPr/>
            </a:lvl3pPr>
            <a:lvl4pPr>
              <a:lnSpc>
                <a:spcPct val="100000"/>
              </a:lnSpc>
              <a:defRPr/>
            </a:lvl4pPr>
            <a:lvl5pPr>
              <a:lnSpc>
                <a:spcPct val="100000"/>
              </a:lnSpc>
              <a:defRPr/>
            </a:lvl5pPr>
          </a:lstStyle>
          <a:p>
            <a:r>
              <a:rPr lang="de-DE" dirty="0"/>
              <a:t>*Geschätzt für die jeweils kommenden 12 Monate. Quelle: LSEG Datastream, Deutsche Bank AG. Stand: 26.11.2024.</a:t>
            </a:r>
          </a:p>
        </p:txBody>
      </p:sp>
      <p:sp>
        <p:nvSpPr>
          <p:cNvPr id="4" name="Slide Number Placeholder 3">
            <a:extLst>
              <a:ext uri="{FF2B5EF4-FFF2-40B4-BE49-F238E27FC236}">
                <a16:creationId xmlns:a16="http://schemas.microsoft.com/office/drawing/2014/main" id="{8FA9FD84-ACFC-D05B-ECA9-E6DFF97856A4}"/>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8</a:t>
            </a:fld>
            <a:endParaRPr lang="de-DE" noProof="1"/>
          </a:p>
        </p:txBody>
      </p:sp>
    </p:spTree>
    <p:extLst>
      <p:ext uri="{BB962C8B-B14F-4D97-AF65-F5344CB8AC3E}">
        <p14:creationId xmlns:p14="http://schemas.microsoft.com/office/powerpoint/2010/main" val="3448994608"/>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FC4C2-7215-4A3B-E895-24494FCBB6C8}"/>
              </a:ext>
              <a:ext uri="{C183D7F6-B498-43B3-948B-1728B52AA6E4}">
                <adec:decorative xmlns:adec="http://schemas.microsoft.com/office/drawing/2017/decorative" val="1"/>
              </a:ext>
            </a:extLst>
          </p:cNvPr>
          <p:cNvSpPr>
            <a:spLocks noGrp="1"/>
          </p:cNvSpPr>
          <p:nvPr>
            <p:ph type="title"/>
          </p:nvPr>
        </p:nvSpPr>
        <p:spPr>
          <a:xfrm>
            <a:off x="438911" y="455863"/>
            <a:ext cx="10496181" cy="468000"/>
          </a:xfrm>
        </p:spPr>
        <p:txBody>
          <a:bodyPr/>
          <a:lstStyle/>
          <a:p>
            <a:r>
              <a:rPr lang="de-DE"/>
              <a:t>Gesundheit – Starkes Wachstum dank Demographie, gestiegener Einkommen und Innovation</a:t>
            </a:r>
          </a:p>
        </p:txBody>
      </p:sp>
      <p:sp>
        <p:nvSpPr>
          <p:cNvPr id="6" name="Text Placeholder 5">
            <a:extLst>
              <a:ext uri="{FF2B5EF4-FFF2-40B4-BE49-F238E27FC236}">
                <a16:creationId xmlns:a16="http://schemas.microsoft.com/office/drawing/2014/main" id="{9C9C6E2C-43F3-2811-5F31-E975C3C6FF08}"/>
              </a:ext>
              <a:ext uri="{C183D7F6-B498-43B3-948B-1728B52AA6E4}">
                <adec:decorative xmlns:adec="http://schemas.microsoft.com/office/drawing/2017/decorative" val="1"/>
              </a:ext>
            </a:extLst>
          </p:cNvPr>
          <p:cNvSpPr>
            <a:spLocks noGrp="1"/>
          </p:cNvSpPr>
          <p:nvPr>
            <p:ph type="body" sz="quarter" idx="14"/>
          </p:nvPr>
        </p:nvSpPr>
        <p:spPr/>
        <p:txBody>
          <a:bodyPr/>
          <a:lstStyle/>
          <a:p>
            <a:r>
              <a:rPr lang="de-DE" dirty="0"/>
              <a:t>Gesundheitssektor mit starker Gewinnentwicklung</a:t>
            </a:r>
          </a:p>
        </p:txBody>
      </p:sp>
      <p:graphicFrame>
        <p:nvGraphicFramePr>
          <p:cNvPr id="8" name="Content Placeholder 7">
            <a:extLst>
              <a:ext uri="{FF2B5EF4-FFF2-40B4-BE49-F238E27FC236}">
                <a16:creationId xmlns:a16="http://schemas.microsoft.com/office/drawing/2014/main" id="{C2EF0705-2A62-460B-8AF1-1058A3D45E3B}"/>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234171959"/>
              </p:ext>
            </p:extLst>
          </p:nvPr>
        </p:nvGraphicFramePr>
        <p:xfrm>
          <a:off x="442913" y="1808163"/>
          <a:ext cx="5543550" cy="3109912"/>
        </p:xfrm>
        <a:graphic>
          <a:graphicData uri="http://schemas.openxmlformats.org/drawingml/2006/chart">
            <c:chart xmlns:c="http://schemas.openxmlformats.org/drawingml/2006/chart" xmlns:r="http://schemas.openxmlformats.org/officeDocument/2006/relationships" r:id="rId3"/>
          </a:graphicData>
        </a:graphic>
      </p:graphicFrame>
      <p:sp>
        <p:nvSpPr>
          <p:cNvPr id="9" name="Rechteck 8">
            <a:extLst>
              <a:ext uri="{FF2B5EF4-FFF2-40B4-BE49-F238E27FC236}">
                <a16:creationId xmlns:a16="http://schemas.microsoft.com/office/drawing/2014/main" id="{42468150-C494-813F-13BB-671A36EAB5C0}"/>
              </a:ext>
              <a:ext uri="{C183D7F6-B498-43B3-948B-1728B52AA6E4}">
                <adec:decorative xmlns:adec="http://schemas.microsoft.com/office/drawing/2017/decorative" val="1"/>
              </a:ext>
            </a:extLst>
          </p:cNvPr>
          <p:cNvSpPr/>
          <p:nvPr/>
        </p:nvSpPr>
        <p:spPr bwMode="auto">
          <a:xfrm>
            <a:off x="978568" y="1808163"/>
            <a:ext cx="3086319" cy="707021"/>
          </a:xfrm>
          <a:prstGeom prst="rect">
            <a:avLst/>
          </a:prstGeom>
          <a:solidFill>
            <a:schemeClr val="bg2"/>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err="1">
              <a:solidFill>
                <a:srgbClr val="FFFFFF"/>
              </a:solidFill>
              <a:latin typeface="+mn-lt"/>
            </a:endParaRPr>
          </a:p>
        </p:txBody>
      </p:sp>
      <p:graphicFrame>
        <p:nvGraphicFramePr>
          <p:cNvPr id="10" name="Tabelle 9">
            <a:extLst>
              <a:ext uri="{FF2B5EF4-FFF2-40B4-BE49-F238E27FC236}">
                <a16:creationId xmlns:a16="http://schemas.microsoft.com/office/drawing/2014/main" id="{D7A97188-D45C-8605-D3A4-C0C0F9F6E2BA}"/>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888319626"/>
              </p:ext>
            </p:extLst>
          </p:nvPr>
        </p:nvGraphicFramePr>
        <p:xfrm>
          <a:off x="1021242" y="1878979"/>
          <a:ext cx="3196045" cy="574468"/>
        </p:xfrm>
        <a:graphic>
          <a:graphicData uri="http://schemas.openxmlformats.org/drawingml/2006/table">
            <a:tbl>
              <a:tblPr firstRow="1"/>
              <a:tblGrid>
                <a:gridCol w="1243676">
                  <a:extLst>
                    <a:ext uri="{9D8B030D-6E8A-4147-A177-3AD203B41FA5}">
                      <a16:colId xmlns:a16="http://schemas.microsoft.com/office/drawing/2014/main" val="2843468785"/>
                    </a:ext>
                  </a:extLst>
                </a:gridCol>
                <a:gridCol w="884254">
                  <a:extLst>
                    <a:ext uri="{9D8B030D-6E8A-4147-A177-3AD203B41FA5}">
                      <a16:colId xmlns:a16="http://schemas.microsoft.com/office/drawing/2014/main" val="309449833"/>
                    </a:ext>
                  </a:extLst>
                </a:gridCol>
                <a:gridCol w="1068115">
                  <a:extLst>
                    <a:ext uri="{9D8B030D-6E8A-4147-A177-3AD203B41FA5}">
                      <a16:colId xmlns:a16="http://schemas.microsoft.com/office/drawing/2014/main" val="3048246879"/>
                    </a:ext>
                  </a:extLst>
                </a:gridCol>
              </a:tblGrid>
              <a:tr h="287234">
                <a:tc>
                  <a:txBody>
                    <a:bodyPr/>
                    <a:lstStyle/>
                    <a:p>
                      <a:pPr algn="l" fontAlgn="b"/>
                      <a:r>
                        <a:rPr lang="de-DE" sz="900" b="0" i="0" u="none" strike="noStrike">
                          <a:solidFill>
                            <a:srgbClr val="404040"/>
                          </a:solidFill>
                          <a:effectLst/>
                          <a:latin typeface="Deutsche Bank Text" panose="020B0503020202030204" pitchFamily="34" charset="0"/>
                        </a:rPr>
                        <a:t> </a:t>
                      </a:r>
                    </a:p>
                  </a:txBody>
                  <a:tcPr marL="0" marR="0" marT="0" marB="0" anchor="b">
                    <a:lnL>
                      <a:noFill/>
                    </a:lnL>
                    <a:lnR>
                      <a:noFill/>
                    </a:lnR>
                    <a:lnT>
                      <a:noFill/>
                    </a:lnT>
                    <a:lnB>
                      <a:noFill/>
                    </a:lnB>
                    <a:noFill/>
                  </a:tcPr>
                </a:tc>
                <a:tc>
                  <a:txBody>
                    <a:bodyPr/>
                    <a:lstStyle/>
                    <a:p>
                      <a:pPr algn="ctr" fontAlgn="ctr"/>
                      <a:r>
                        <a:rPr lang="de-DE" sz="900" b="0" i="0" u="none" strike="noStrike">
                          <a:solidFill>
                            <a:srgbClr val="404040"/>
                          </a:solidFill>
                          <a:effectLst/>
                          <a:latin typeface="Deutsche Bank Text" panose="020B0503020202030204" pitchFamily="34" charset="0"/>
                        </a:rPr>
                        <a:t>MSCI World</a:t>
                      </a:r>
                    </a:p>
                  </a:txBody>
                  <a:tcPr marL="0" marR="0" marT="0" marB="0" anchor="ctr">
                    <a:lnL>
                      <a:noFill/>
                    </a:lnL>
                    <a:lnR>
                      <a:noFill/>
                    </a:lnR>
                    <a:lnT>
                      <a:noFill/>
                    </a:lnT>
                    <a:lnB>
                      <a:noFill/>
                    </a:lnB>
                    <a:noFill/>
                  </a:tcPr>
                </a:tc>
                <a:tc>
                  <a:txBody>
                    <a:bodyPr/>
                    <a:lstStyle/>
                    <a:p>
                      <a:pPr algn="ctr" fontAlgn="ctr"/>
                      <a:r>
                        <a:rPr lang="de-DE" sz="900" b="0" i="0" u="none" strike="noStrike">
                          <a:solidFill>
                            <a:srgbClr val="404040"/>
                          </a:solidFill>
                          <a:effectLst/>
                          <a:latin typeface="Deutsche Bank Text" panose="020B0503020202030204" pitchFamily="34" charset="0"/>
                        </a:rPr>
                        <a:t>MSCI World </a:t>
                      </a:r>
                      <a:br>
                        <a:rPr lang="de-DE" sz="900" b="0" i="0" u="none" strike="noStrike">
                          <a:solidFill>
                            <a:srgbClr val="404040"/>
                          </a:solidFill>
                          <a:effectLst/>
                          <a:latin typeface="Deutsche Bank Text" panose="020B0503020202030204" pitchFamily="34" charset="0"/>
                        </a:rPr>
                      </a:br>
                      <a:r>
                        <a:rPr lang="de-DE" sz="900" b="0" i="0" u="none" strike="noStrike">
                          <a:solidFill>
                            <a:srgbClr val="404040"/>
                          </a:solidFill>
                          <a:effectLst/>
                          <a:latin typeface="Deutsche Bank Text" panose="020B0503020202030204" pitchFamily="34" charset="0"/>
                        </a:rPr>
                        <a:t>Gesundheit</a:t>
                      </a:r>
                    </a:p>
                  </a:txBody>
                  <a:tcPr marL="0" marR="0" marT="0" marB="0" anchor="ctr">
                    <a:lnL>
                      <a:noFill/>
                    </a:lnL>
                    <a:lnR>
                      <a:noFill/>
                    </a:lnR>
                    <a:lnT>
                      <a:noFill/>
                    </a:lnT>
                    <a:lnB>
                      <a:noFill/>
                    </a:lnB>
                    <a:noFill/>
                  </a:tcPr>
                </a:tc>
                <a:extLst>
                  <a:ext uri="{0D108BD9-81ED-4DB2-BD59-A6C34878D82A}">
                    <a16:rowId xmlns:a16="http://schemas.microsoft.com/office/drawing/2014/main" val="2180265220"/>
                  </a:ext>
                </a:extLst>
              </a:tr>
              <a:tr h="143617">
                <a:tc>
                  <a:txBody>
                    <a:bodyPr/>
                    <a:lstStyle/>
                    <a:p>
                      <a:pPr algn="l" fontAlgn="b"/>
                      <a:r>
                        <a:rPr lang="de-DE" sz="900" b="0" i="0" u="none" strike="noStrike">
                          <a:solidFill>
                            <a:srgbClr val="404040"/>
                          </a:solidFill>
                          <a:effectLst/>
                          <a:latin typeface="Deutsche Bank Text" panose="020B0503020202030204" pitchFamily="34" charset="0"/>
                        </a:rPr>
                        <a:t>2025 Gewinnwachstum</a:t>
                      </a:r>
                    </a:p>
                  </a:txBody>
                  <a:tcPr marL="0" marR="0" marT="0" marB="0" anchor="b">
                    <a:lnL>
                      <a:noFill/>
                    </a:lnL>
                    <a:lnR>
                      <a:noFill/>
                    </a:lnR>
                    <a:lnT>
                      <a:noFill/>
                    </a:lnT>
                    <a:lnB>
                      <a:noFill/>
                    </a:lnB>
                    <a:noFill/>
                  </a:tcPr>
                </a:tc>
                <a:tc>
                  <a:txBody>
                    <a:bodyPr/>
                    <a:lstStyle/>
                    <a:p>
                      <a:pPr algn="ctr" fontAlgn="b"/>
                      <a:r>
                        <a:rPr lang="de-DE" sz="900" b="0" i="0" u="none" strike="noStrike">
                          <a:solidFill>
                            <a:srgbClr val="404040"/>
                          </a:solidFill>
                          <a:effectLst/>
                          <a:latin typeface="Deutsche Bank Text" panose="020B0503020202030204" pitchFamily="34" charset="0"/>
                        </a:rPr>
                        <a:t>11,9%</a:t>
                      </a:r>
                    </a:p>
                  </a:txBody>
                  <a:tcPr marL="0" marR="0" marT="0" marB="0" anchor="b">
                    <a:lnL>
                      <a:noFill/>
                    </a:lnL>
                    <a:lnR>
                      <a:noFill/>
                    </a:lnR>
                    <a:lnT>
                      <a:noFill/>
                    </a:lnT>
                    <a:lnB>
                      <a:noFill/>
                    </a:lnB>
                    <a:noFill/>
                  </a:tcPr>
                </a:tc>
                <a:tc>
                  <a:txBody>
                    <a:bodyPr/>
                    <a:lstStyle/>
                    <a:p>
                      <a:pPr algn="ctr" fontAlgn="b"/>
                      <a:r>
                        <a:rPr lang="de-DE" sz="900" b="0" i="0" u="none" strike="noStrike">
                          <a:solidFill>
                            <a:srgbClr val="404040"/>
                          </a:solidFill>
                          <a:effectLst/>
                          <a:latin typeface="Deutsche Bank Text" panose="020B0503020202030204" pitchFamily="34" charset="0"/>
                        </a:rPr>
                        <a:t>18,4%</a:t>
                      </a:r>
                    </a:p>
                  </a:txBody>
                  <a:tcPr marL="0" marR="0" marT="0" marB="0" anchor="b">
                    <a:lnL>
                      <a:noFill/>
                    </a:lnL>
                    <a:lnR>
                      <a:noFill/>
                    </a:lnR>
                    <a:lnT>
                      <a:noFill/>
                    </a:lnT>
                    <a:lnB>
                      <a:noFill/>
                    </a:lnB>
                    <a:noFill/>
                  </a:tcPr>
                </a:tc>
                <a:extLst>
                  <a:ext uri="{0D108BD9-81ED-4DB2-BD59-A6C34878D82A}">
                    <a16:rowId xmlns:a16="http://schemas.microsoft.com/office/drawing/2014/main" val="741181247"/>
                  </a:ext>
                </a:extLst>
              </a:tr>
              <a:tr h="143617">
                <a:tc>
                  <a:txBody>
                    <a:bodyPr/>
                    <a:lstStyle/>
                    <a:p>
                      <a:pPr algn="l" fontAlgn="b"/>
                      <a:r>
                        <a:rPr lang="de-DE" sz="900" b="0" i="0" u="none" strike="noStrike">
                          <a:solidFill>
                            <a:srgbClr val="404040"/>
                          </a:solidFill>
                          <a:effectLst/>
                          <a:latin typeface="Deutsche Bank Text" panose="020B0503020202030204" pitchFamily="34" charset="0"/>
                        </a:rPr>
                        <a:t>2026 Gewinnwachstum</a:t>
                      </a:r>
                    </a:p>
                  </a:txBody>
                  <a:tcPr marL="0" marR="0" marT="0" marB="0" anchor="b">
                    <a:lnL>
                      <a:noFill/>
                    </a:lnL>
                    <a:lnR>
                      <a:noFill/>
                    </a:lnR>
                    <a:lnT>
                      <a:noFill/>
                    </a:lnT>
                    <a:lnB>
                      <a:noFill/>
                    </a:lnB>
                    <a:noFill/>
                  </a:tcPr>
                </a:tc>
                <a:tc>
                  <a:txBody>
                    <a:bodyPr/>
                    <a:lstStyle/>
                    <a:p>
                      <a:pPr algn="ctr" fontAlgn="b"/>
                      <a:r>
                        <a:rPr lang="de-DE" sz="900" b="0" i="0" u="none" strike="noStrike">
                          <a:solidFill>
                            <a:srgbClr val="404040"/>
                          </a:solidFill>
                          <a:effectLst/>
                          <a:latin typeface="Deutsche Bank Text" panose="020B0503020202030204" pitchFamily="34" charset="0"/>
                        </a:rPr>
                        <a:t>12,2%</a:t>
                      </a:r>
                    </a:p>
                  </a:txBody>
                  <a:tcPr marL="0" marR="0" marT="0" marB="0" anchor="b">
                    <a:lnL>
                      <a:noFill/>
                    </a:lnL>
                    <a:lnR>
                      <a:noFill/>
                    </a:lnR>
                    <a:lnT>
                      <a:noFill/>
                    </a:lnT>
                    <a:lnB>
                      <a:noFill/>
                    </a:lnB>
                    <a:noFill/>
                  </a:tcPr>
                </a:tc>
                <a:tc>
                  <a:txBody>
                    <a:bodyPr/>
                    <a:lstStyle/>
                    <a:p>
                      <a:pPr algn="ctr" fontAlgn="b"/>
                      <a:r>
                        <a:rPr lang="de-DE" sz="900" b="0" i="0" u="none" strike="noStrike" dirty="0">
                          <a:solidFill>
                            <a:srgbClr val="404040"/>
                          </a:solidFill>
                          <a:effectLst/>
                          <a:latin typeface="Deutsche Bank Text" panose="020B0503020202030204" pitchFamily="34" charset="0"/>
                        </a:rPr>
                        <a:t>11,8%</a:t>
                      </a:r>
                    </a:p>
                  </a:txBody>
                  <a:tcPr marL="0" marR="0" marT="0" marB="0" anchor="b">
                    <a:lnL>
                      <a:noFill/>
                    </a:lnL>
                    <a:lnR>
                      <a:noFill/>
                    </a:lnR>
                    <a:lnT>
                      <a:noFill/>
                    </a:lnT>
                    <a:lnB>
                      <a:noFill/>
                    </a:lnB>
                    <a:noFill/>
                  </a:tcPr>
                </a:tc>
                <a:extLst>
                  <a:ext uri="{0D108BD9-81ED-4DB2-BD59-A6C34878D82A}">
                    <a16:rowId xmlns:a16="http://schemas.microsoft.com/office/drawing/2014/main" val="2756899120"/>
                  </a:ext>
                </a:extLst>
              </a:tr>
            </a:tbl>
          </a:graphicData>
        </a:graphic>
      </p:graphicFrame>
      <p:sp>
        <p:nvSpPr>
          <p:cNvPr id="7" name="Text Placeholder 6">
            <a:extLst>
              <a:ext uri="{FF2B5EF4-FFF2-40B4-BE49-F238E27FC236}">
                <a16:creationId xmlns:a16="http://schemas.microsoft.com/office/drawing/2014/main" id="{FED5BF64-DCC7-7E3C-876B-CBCCBF358C75}"/>
              </a:ext>
              <a:ext uri="{C183D7F6-B498-43B3-948B-1728B52AA6E4}">
                <adec:decorative xmlns:adec="http://schemas.microsoft.com/office/drawing/2017/decorative" val="1"/>
              </a:ext>
            </a:extLst>
          </p:cNvPr>
          <p:cNvSpPr>
            <a:spLocks noGrp="1"/>
          </p:cNvSpPr>
          <p:nvPr>
            <p:ph type="body" sz="quarter" idx="15"/>
          </p:nvPr>
        </p:nvSpPr>
        <p:spPr/>
        <p:txBody>
          <a:bodyPr/>
          <a:lstStyle/>
          <a:p>
            <a:r>
              <a:rPr lang="de-DE"/>
              <a:t>Wachstum &amp; KI – Gesundheitssektor profitiert</a:t>
            </a:r>
          </a:p>
        </p:txBody>
      </p:sp>
      <p:graphicFrame>
        <p:nvGraphicFramePr>
          <p:cNvPr id="18" name="Chart 2">
            <a:extLst>
              <a:ext uri="{FF2B5EF4-FFF2-40B4-BE49-F238E27FC236}">
                <a16:creationId xmlns:a16="http://schemas.microsoft.com/office/drawing/2014/main" id="{57AB7B14-DAEA-F878-0B73-F270FE249BF1}"/>
              </a:ext>
              <a:ext uri="{C183D7F6-B498-43B3-948B-1728B52AA6E4}">
                <adec:decorative xmlns:adec="http://schemas.microsoft.com/office/drawing/2017/decorative" val="1"/>
              </a:ext>
            </a:extLst>
          </p:cNvPr>
          <p:cNvGraphicFramePr>
            <a:graphicFrameLocks noGrp="1"/>
          </p:cNvGraphicFramePr>
          <p:nvPr>
            <p:ph sz="quarter" idx="11"/>
            <p:custDataLst>
              <p:tags r:id="rId1"/>
            </p:custDataLst>
            <p:extLst>
              <p:ext uri="{D42A27DB-BD31-4B8C-83A1-F6EECF244321}">
                <p14:modId xmlns:p14="http://schemas.microsoft.com/office/powerpoint/2010/main" val="2008877124"/>
              </p:ext>
            </p:extLst>
          </p:nvPr>
        </p:nvGraphicFramePr>
        <p:xfrm>
          <a:off x="6205538" y="1809750"/>
          <a:ext cx="5543550" cy="3109913"/>
        </p:xfrm>
        <a:graphic>
          <a:graphicData uri="http://schemas.openxmlformats.org/drawingml/2006/chart">
            <c:chart xmlns:c="http://schemas.openxmlformats.org/drawingml/2006/chart" xmlns:r="http://schemas.openxmlformats.org/officeDocument/2006/relationships" r:id="rId4"/>
          </a:graphicData>
        </a:graphic>
      </p:graphicFrame>
      <p:sp>
        <p:nvSpPr>
          <p:cNvPr id="3" name="Rechteck 2">
            <a:extLst>
              <a:ext uri="{FF2B5EF4-FFF2-40B4-BE49-F238E27FC236}">
                <a16:creationId xmlns:a16="http://schemas.microsoft.com/office/drawing/2014/main" id="{A29916FA-F33D-EA5D-1E28-B628472A6F75}"/>
              </a:ext>
              <a:ext uri="{C183D7F6-B498-43B3-948B-1728B52AA6E4}">
                <adec:decorative xmlns:adec="http://schemas.microsoft.com/office/drawing/2017/decorative" val="1"/>
              </a:ext>
            </a:extLst>
          </p:cNvPr>
          <p:cNvSpPr/>
          <p:nvPr/>
        </p:nvSpPr>
        <p:spPr bwMode="auto">
          <a:xfrm>
            <a:off x="6203250" y="2253722"/>
            <a:ext cx="5543550" cy="199725"/>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err="1">
              <a:solidFill>
                <a:srgbClr val="FFFFFF"/>
              </a:solidFill>
              <a:latin typeface="+mn-lt"/>
            </a:endParaRPr>
          </a:p>
        </p:txBody>
      </p:sp>
      <p:sp>
        <p:nvSpPr>
          <p:cNvPr id="4" name="Rechteck 3">
            <a:extLst>
              <a:ext uri="{FF2B5EF4-FFF2-40B4-BE49-F238E27FC236}">
                <a16:creationId xmlns:a16="http://schemas.microsoft.com/office/drawing/2014/main" id="{CB891FD6-07A4-D1F5-E48D-BBA5D5B73160}"/>
              </a:ext>
              <a:ext uri="{C183D7F6-B498-43B3-948B-1728B52AA6E4}">
                <adec:decorative xmlns:adec="http://schemas.microsoft.com/office/drawing/2017/decorative" val="1"/>
              </a:ext>
            </a:extLst>
          </p:cNvPr>
          <p:cNvSpPr/>
          <p:nvPr/>
        </p:nvSpPr>
        <p:spPr bwMode="auto">
          <a:xfrm>
            <a:off x="6203250" y="2903243"/>
            <a:ext cx="5543550" cy="199725"/>
          </a:xfrm>
          <a:prstGeom prst="rect">
            <a:avLst/>
          </a:prstGeom>
          <a:solidFill>
            <a:schemeClr val="bg1">
              <a:lumMod val="95000"/>
            </a:schemeClr>
          </a:solidFill>
          <a:ln w="6350">
            <a:noFill/>
            <a:miter lim="800000"/>
            <a:headEnd/>
            <a:tailEnd/>
          </a:ln>
        </p:spPr>
        <p:txBody>
          <a:bodyPr lIns="100913" tIns="50457" rIns="100913" bIns="50457" rtlCol="0" anchor="ctr">
            <a:noAutofit/>
          </a:bodyPr>
          <a:lstStyle/>
          <a:p>
            <a:pPr algn="ctr" defTabSz="963613" eaLnBrk="0" hangingPunct="0">
              <a:tabLst>
                <a:tab pos="1257300" algn="l"/>
              </a:tabLst>
            </a:pPr>
            <a:endParaRPr lang="de-DE" err="1">
              <a:solidFill>
                <a:srgbClr val="FFFFFF"/>
              </a:solidFill>
              <a:latin typeface="+mn-lt"/>
            </a:endParaRPr>
          </a:p>
        </p:txBody>
      </p:sp>
      <p:sp>
        <p:nvSpPr>
          <p:cNvPr id="12" name="Content Placeholder 21">
            <a:extLst>
              <a:ext uri="{FF2B5EF4-FFF2-40B4-BE49-F238E27FC236}">
                <a16:creationId xmlns:a16="http://schemas.microsoft.com/office/drawing/2014/main" id="{F78CF13C-796E-081C-61E6-3C264B0F24B3}"/>
              </a:ext>
              <a:ext uri="{C183D7F6-B498-43B3-948B-1728B52AA6E4}">
                <adec:decorative xmlns:adec="http://schemas.microsoft.com/office/drawing/2017/decorative" val="1"/>
              </a:ext>
            </a:extLst>
          </p:cNvPr>
          <p:cNvSpPr txBox="1">
            <a:spLocks/>
          </p:cNvSpPr>
          <p:nvPr/>
        </p:nvSpPr>
        <p:spPr>
          <a:xfrm>
            <a:off x="442800" y="5175415"/>
            <a:ext cx="11304000" cy="914400"/>
          </a:xfrm>
          <a:prstGeom prst="rect">
            <a:avLst/>
          </a:prstGeom>
        </p:spPr>
        <p:txBody>
          <a:bodyPr vert="horz" lIns="0" tIns="0" rIns="0" bIns="0" rtlCol="0">
            <a:noAutofit/>
          </a:bodyPr>
          <a:lstStyle>
            <a:lvl1pPr algn="l" rtl="0" eaLnBrk="1" fontAlgn="base" hangingPunct="1">
              <a:lnSpc>
                <a:spcPct val="100000"/>
              </a:lnSpc>
              <a:spcBef>
                <a:spcPts val="0"/>
              </a:spcBef>
              <a:spcAft>
                <a:spcPts val="0"/>
              </a:spcAft>
              <a:defRPr sz="1600" b="0" kern="1200" baseline="0">
                <a:solidFill>
                  <a:schemeClr val="tx1"/>
                </a:solidFill>
                <a:latin typeface="+mn-lt"/>
                <a:ea typeface="ＭＳ Ｐゴシック" pitchFamily="-109" charset="-128"/>
                <a:cs typeface="ＭＳ Ｐゴシック" pitchFamily="-109" charset="-128"/>
              </a:defRPr>
            </a:lvl1pPr>
            <a:lvl2pPr marL="0" indent="0" algn="l" rtl="0" eaLnBrk="1" fontAlgn="base" hangingPunct="1">
              <a:lnSpc>
                <a:spcPct val="100000"/>
              </a:lnSpc>
              <a:spcBef>
                <a:spcPts val="0"/>
              </a:spcBef>
              <a:spcAft>
                <a:spcPts val="0"/>
              </a:spcAft>
              <a:buFont typeface="Symbol" panose="05050102010706020507" pitchFamily="18" charset="2"/>
              <a:buNone/>
              <a:defRPr sz="1600" kern="1200" baseline="0">
                <a:solidFill>
                  <a:srgbClr val="1E2A78"/>
                </a:solidFill>
                <a:latin typeface="+mn-lt"/>
                <a:ea typeface="ＭＳ Ｐゴシック" pitchFamily="-109" charset="-128"/>
              </a:defRPr>
            </a:lvl2pPr>
            <a:lvl3pPr marL="215900" indent="-215900" algn="l" rtl="0" eaLnBrk="1" fontAlgn="base" hangingPunct="1">
              <a:lnSpc>
                <a:spcPct val="100000"/>
              </a:lnSpc>
              <a:spcBef>
                <a:spcPts val="500"/>
              </a:spcBef>
              <a:spcAft>
                <a:spcPts val="0"/>
              </a:spcAft>
              <a:buFont typeface="Symbol" panose="05050102010706020507" pitchFamily="18" charset="2"/>
              <a:buChar char="-"/>
              <a:defRPr sz="1600" kern="1200" baseline="0">
                <a:solidFill>
                  <a:schemeClr val="tx1"/>
                </a:solidFill>
                <a:latin typeface="+mn-lt"/>
                <a:ea typeface="DeutscheBank" panose="020B0503020202030204" pitchFamily="34" charset="0"/>
                <a:cs typeface="DeutscheBank" panose="020B0503020202030204" pitchFamily="34" charset="0"/>
              </a:defRPr>
            </a:lvl3pPr>
            <a:lvl4pPr marL="432000" indent="-216000" algn="l" rtl="0" eaLnBrk="1" fontAlgn="base" hangingPunct="1">
              <a:lnSpc>
                <a:spcPct val="100000"/>
              </a:lnSpc>
              <a:spcBef>
                <a:spcPts val="500"/>
              </a:spcBef>
              <a:spcAft>
                <a:spcPts val="0"/>
              </a:spcAft>
              <a:buFont typeface="Symbol" panose="05050102010706020507" pitchFamily="18" charset="2"/>
              <a:buChar char="-"/>
              <a:defRPr sz="1200" kern="1200" baseline="0">
                <a:solidFill>
                  <a:schemeClr val="tx1"/>
                </a:solidFill>
                <a:latin typeface="+mn-lt"/>
                <a:ea typeface="ＭＳ Ｐゴシック" pitchFamily="-109" charset="-128"/>
              </a:defRPr>
            </a:lvl4pPr>
            <a:lvl5pPr marL="647700" indent="-216000" algn="l" rtl="0" eaLnBrk="1" fontAlgn="base" hangingPunct="1">
              <a:lnSpc>
                <a:spcPct val="100000"/>
              </a:lnSpc>
              <a:spcBef>
                <a:spcPts val="500"/>
              </a:spcBef>
              <a:spcAft>
                <a:spcPts val="0"/>
              </a:spcAft>
              <a:buFont typeface="Symbol" panose="05050102010706020507" pitchFamily="18" charset="2"/>
              <a:buChar char="-"/>
              <a:defRPr sz="1100" kern="1200" baseline="0">
                <a:solidFill>
                  <a:schemeClr val="tx1"/>
                </a:solidFill>
                <a:latin typeface="+mn-lt"/>
                <a:ea typeface="ＭＳ Ｐゴシック" pitchFamily="-109" charset="-128"/>
              </a:defRPr>
            </a:lvl5pPr>
            <a:lvl6pPr marL="0" indent="0" algn="l" rtl="0" eaLnBrk="1" fontAlgn="base" hangingPunct="1">
              <a:spcBef>
                <a:spcPct val="10000"/>
              </a:spcBef>
              <a:spcAft>
                <a:spcPct val="10000"/>
              </a:spcAft>
              <a:buClr>
                <a:schemeClr val="tx2"/>
              </a:buClr>
              <a:buFont typeface="Arial" panose="020B0604020202020204" pitchFamily="34" charset="0"/>
              <a:buNone/>
              <a:defRPr sz="1000" u="none">
                <a:solidFill>
                  <a:schemeClr val="tx1"/>
                </a:solidFill>
                <a:latin typeface="+mn-lt"/>
              </a:defRPr>
            </a:lvl6pPr>
            <a:lvl7pPr marL="0" indent="0" algn="l" rtl="0" eaLnBrk="1" fontAlgn="base" hangingPunct="1">
              <a:spcBef>
                <a:spcPct val="10000"/>
              </a:spcBef>
              <a:spcAft>
                <a:spcPct val="10000"/>
              </a:spcAft>
              <a:buClr>
                <a:schemeClr val="tx2"/>
              </a:buClr>
              <a:buFont typeface="Arial" panose="020B0604020202020204" pitchFamily="34" charset="0"/>
              <a:buNone/>
              <a:defRPr sz="800">
                <a:solidFill>
                  <a:schemeClr val="tx1"/>
                </a:solidFill>
                <a:latin typeface="+mn-lt"/>
              </a:defRPr>
            </a:lvl7pPr>
            <a:lvl8pPr marL="2089914"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8pPr>
            <a:lvl9pPr marL="2546242" indent="-177461" algn="l" rtl="0" eaLnBrk="1" fontAlgn="base" hangingPunct="1">
              <a:spcBef>
                <a:spcPct val="10000"/>
              </a:spcBef>
              <a:spcAft>
                <a:spcPct val="10000"/>
              </a:spcAft>
              <a:buClr>
                <a:schemeClr val="tx2"/>
              </a:buClr>
              <a:buFont typeface="Arial" charset="0"/>
              <a:buChar char="-"/>
              <a:defRPr sz="1356">
                <a:solidFill>
                  <a:schemeClr val="tx1"/>
                </a:solidFill>
                <a:latin typeface="+mn-lt"/>
              </a:defRPr>
            </a:lvl9pPr>
          </a:lstStyle>
          <a:p>
            <a:pPr marL="285750" indent="-285750">
              <a:spcAft>
                <a:spcPts val="600"/>
              </a:spcAft>
              <a:buFont typeface="Arial" panose="020B0604020202020204" pitchFamily="34" charset="0"/>
              <a:buChar char="•"/>
            </a:pPr>
            <a:r>
              <a:rPr lang="de-DE"/>
              <a:t>Wachstumstreiber – Steigende Lebenserwartung &amp; Einkommen, aufstrebende Schwellenländer &amp; Innovationen</a:t>
            </a:r>
          </a:p>
          <a:p>
            <a:pPr marL="285750" indent="-285750">
              <a:spcAft>
                <a:spcPts val="600"/>
              </a:spcAft>
              <a:buFont typeface="Arial" panose="020B0604020202020204" pitchFamily="34" charset="0"/>
              <a:buChar char="•"/>
            </a:pPr>
            <a:r>
              <a:rPr lang="de-DE"/>
              <a:t>Höchstes Umsatzwachstum – #1 der weltweit gelisteten Unternehmen (MSCI World-Sektoren, seit 2014) </a:t>
            </a:r>
          </a:p>
          <a:p>
            <a:pPr marL="285750" indent="-285750">
              <a:spcAft>
                <a:spcPts val="600"/>
              </a:spcAft>
              <a:buFont typeface="Arial" panose="020B0604020202020204" pitchFamily="34" charset="0"/>
              <a:buChar char="•"/>
            </a:pPr>
            <a:r>
              <a:rPr lang="de-DE"/>
              <a:t>Hohes Wachstumspotenzial für die nächsten Dekaden aufgrund stabiler Nachfragetrends (Demographie &amp; Wachstum) </a:t>
            </a:r>
          </a:p>
        </p:txBody>
      </p:sp>
      <p:sp>
        <p:nvSpPr>
          <p:cNvPr id="17" name="Content Placeholder 16">
            <a:extLst>
              <a:ext uri="{FF2B5EF4-FFF2-40B4-BE49-F238E27FC236}">
                <a16:creationId xmlns:a16="http://schemas.microsoft.com/office/drawing/2014/main" id="{6000116F-6298-396D-FF1E-7B3F0D6D943B}"/>
              </a:ext>
              <a:ext uri="{C183D7F6-B498-43B3-948B-1728B52AA6E4}">
                <adec:decorative xmlns:adec="http://schemas.microsoft.com/office/drawing/2017/decorative" val="1"/>
              </a:ext>
            </a:extLst>
          </p:cNvPr>
          <p:cNvSpPr>
            <a:spLocks noGrp="1"/>
          </p:cNvSpPr>
          <p:nvPr>
            <p:ph sz="quarter" idx="13"/>
          </p:nvPr>
        </p:nvSpPr>
        <p:spPr/>
        <p:txBody>
          <a:bodyPr anchor="t"/>
          <a:lstStyle/>
          <a:p>
            <a:r>
              <a:rPr lang="de-DE" dirty="0"/>
              <a:t>*Geschätzt für die jeweils kommenden 12 Monate. Quelle: LSEG Datastream, Stanford University, McKinsey, Deutsche Bank AG. Stand: 26.11.2024.</a:t>
            </a:r>
          </a:p>
        </p:txBody>
      </p:sp>
      <p:sp>
        <p:nvSpPr>
          <p:cNvPr id="5" name="Slide Number Placeholder 4">
            <a:extLst>
              <a:ext uri="{FF2B5EF4-FFF2-40B4-BE49-F238E27FC236}">
                <a16:creationId xmlns:a16="http://schemas.microsoft.com/office/drawing/2014/main" id="{592AAE03-86CD-C90C-9CCC-968E68C97DE8}"/>
              </a:ext>
              <a:ext uri="{C183D7F6-B498-43B3-948B-1728B52AA6E4}">
                <adec:decorative xmlns:adec="http://schemas.microsoft.com/office/drawing/2017/decorative" val="1"/>
              </a:ext>
            </a:extLst>
          </p:cNvPr>
          <p:cNvSpPr>
            <a:spLocks noGrp="1"/>
          </p:cNvSpPr>
          <p:nvPr>
            <p:ph type="sldNum" sz="quarter" idx="4"/>
          </p:nvPr>
        </p:nvSpPr>
        <p:spPr/>
        <p:txBody>
          <a:bodyPr/>
          <a:lstStyle/>
          <a:p>
            <a:fld id="{D71DA9FD-6EF8-4CC5-AF9B-B6159B5B937C}" type="slidenum">
              <a:rPr lang="de-DE" noProof="1" smtClean="0"/>
              <a:pPr/>
              <a:t>9</a:t>
            </a:fld>
            <a:endParaRPr lang="de-DE" noProof="1"/>
          </a:p>
        </p:txBody>
      </p:sp>
    </p:spTree>
    <p:extLst>
      <p:ext uri="{BB962C8B-B14F-4D97-AF65-F5344CB8AC3E}">
        <p14:creationId xmlns:p14="http://schemas.microsoft.com/office/powerpoint/2010/main" val="3476688343"/>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19:22:07"/>
  <p:tag name="CHARTNAME" val="Chart 1"/>
  <p:tag name="_PB_CHARTSOURCETYPEPROPERTY" val="1"/>
  <p:tag name="_PB_SOURCEFILEPATHPROPERTY" val="\\dbg.ads.db.com\atosdfs\DATA\groups\F13-PWM\R69-CIO-Office-Global\CIO Publications &amp; Presentations\Charts\Investment Strategy - Chartbook\Macro - Capital stock  cobb douglas - Datastream - partially automated.xlsx"/>
  <p:tag name="_PB_SOURCEAVAILABILITYPROPERTY" val="1"/>
  <p:tag name="_PB_WORKSHEETNAMEPROPERTY" val="Sheet1"/>
  <p:tag name="_PB_RANGEADDRESSPROPERTY" val="$W$9:$AB$42"/>
</p:tagLst>
</file>

<file path=ppt/tags/tag11.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5/2024 17:30:01"/>
  <p:tag name="CHARTNAME" val="Content Placeholder 18"/>
  <p:tag name="_PB_CHARTSOURCETYPEPROPERTY" val="1"/>
  <p:tag name="_PB_SOURCEFILEPATHPROPERTY" val="\\dbg.ads.db.com\atosdfs\DATA\groups\F13-PWM\R69-CIO-Office-Global\CIO Publications &amp; Presentations\Charts\Investment Strategy - Chartbook\EQ - MSCI World earnings sales performance - Datastream.xlsx"/>
  <p:tag name="_PB_SOURCEAVAILABILITYPROPERTY" val="1"/>
  <p:tag name="_PB_WORKSHEETNAMEPROPERTY" val="10Y"/>
  <p:tag name="_PB_RANGEADDRESSPROPERTY" val="$D$32:$N$34"/>
</p:tagLst>
</file>

<file path=ppt/tags/tag12.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12:24:46"/>
  <p:tag name="CHARTNAME" val="Chart 2"/>
  <p:tag name="_PB_CHARTSOURCETYPEPROPERTY" val="1"/>
  <p:tag name="_PB_SOURCEFILEPATHPROPERTY" val="\\dbg.ads.db.com\atosdfs\DATA\groups\F13-PWM\R69-CIO-Office-Global\CIO Publications &amp; Presentations\Charts\Investment Strategy - Chartbook\AI\AI Index Graphs.xlsx"/>
  <p:tag name="_PB_SOURCEAVAILABILITYPROPERTY" val="1"/>
  <p:tag name="_PB_WORKSHEETNAMEPROPERTY" val="Anticipated AI impact"/>
  <p:tag name="_PB_RANGEADDRESSPROPERTY" val="$A$4:$D$14"/>
</p:tagLst>
</file>

<file path=ppt/tags/tag13.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6/2024 09:40:08"/>
  <p:tag name="CHARTNAME" val="Content Placeholder 19"/>
  <p:tag name="_PB_CHARTSOURCETYPEPROPERTY" val="1"/>
  <p:tag name="_PB_SOURCEFILEPATHPROPERTY" val="\\dbg.ads.db.com\atosdfs\DATA\groups\F13-PWM\R69-CIO-Office-Global\CIO Publications &amp; Presentations\Charts\Investment Strategy - Chartbook\Macro - Ultra-Rich Families to Hold $9.5 Trillion by 2030, Deloitte Says - Manual.xlsx"/>
  <p:tag name="_PB_SOURCEAVAILABILITYPROPERTY" val="1"/>
  <p:tag name="_PB_WORKSHEETNAMEPROPERTY" val="Sheet1"/>
  <p:tag name="_PB_RANGEADDRESSPROPERTY" val="$K$10:$P$1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12:31:44"/>
  <p:tag name="CHARTNAME" val="Chart 6"/>
  <p:tag name="_PB_CHARTSOURCETYPEPROPERTY" val="1"/>
  <p:tag name="_PB_SOURCEFILEPATHPROPERTY" val="\\dbg.ads.db.com\atosdfs\DATA\groups\F13-PWM\R69-CIO-Office-Global\CIO Publications &amp; Presentations\Charts\Investment Strategy - Chartbook\FI - US 10 Yr vs US 2 Yr 1year- Datastream - Automated.xlsx"/>
  <p:tag name="_PB_SOURCEAVAILABILITYPROPERTY" val="1"/>
  <p:tag name="_PB_WORKSHEETNAMEPROPERTY" val="10y-2y"/>
  <p:tag name="_PB_RANGEADDRESSPROPERTY" val="$G$8:$I$1313"/>
</p:tagLst>
</file>

<file path=ppt/tags/tag16.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09:20:36"/>
  <p:tag name="CHARTNAME" val="Chart 1"/>
  <p:tag name="_PB_CHARTSOURCETYPEPROPERTY" val="1"/>
  <p:tag name="_PB_SOURCEFILEPATHPROPERTY" val="\\dbg.ads.db.com\atosdfs\DATA\groups\F13-PWM\R69-CIO-Office-Global\Strategy group\Presentations\markets_ppt\202402\Charts\FI - EUR Corp Bond Sector distribution, yield and earnings growth - Datastream - automated.xlsx"/>
  <p:tag name="_PB_SOURCEAVAILABILITYPROPERTY" val="1"/>
  <p:tag name="_PB_WORKSHEETNAMEPROPERTY" val="Sheet1"/>
  <p:tag name="_PB_RANGEADDRESSPROPERTY" val="$M$37:$O$46"/>
</p:tagLst>
</file>

<file path=ppt/tags/tag17.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09:41:17"/>
  <p:tag name="CHARTNAME" val="Chart 4"/>
  <p:tag name="_PB_CHARTSOURCETYPEPROPERTY" val="1"/>
  <p:tag name="_PB_SOURCEFILEPATHPROPERTY" val="\\dbg.ads.db.com\atosdfs\DATA\groups\F13-PWM\R69-CIO-Office-Global\CIO Publications &amp; Presentations\Charts\Investment Strategy - Chartbook\Macro - CESI vs EURUSD- Datastream - automated.xlsx"/>
  <p:tag name="_PB_SOURCEAVAILABILITYPROPERTY" val="1"/>
  <p:tag name="_PB_WORKSHEETNAMEPROPERTY" val="Sheet1"/>
  <p:tag name="_PB_RANGEADDRESSPROPERTY" val="$G$5:$I$788"/>
</p:tagLst>
</file>

<file path=ppt/tags/tag18.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09:34:22"/>
  <p:tag name="CHARTNAME" val="Chart 2"/>
  <p:tag name="_PB_CHARTSOURCETYPEPROPERTY" val="1"/>
  <p:tag name="_PB_SOURCEFILEPATHPROPERTY" val="\\dbg.ads.db.com\atosdfs\DATA\groups\F13-PWM\R69-CIO-Office-Global\CIO Publications &amp; Presentations\Charts\Investment Strategy - Chartbook\EQ - S&amp;P 500 shiller eps, earnings, corporate tax rate - Multiple sources - manual.xlsx"/>
  <p:tag name="_PB_SOURCEAVAILABILITYPROPERTY" val="1"/>
  <p:tag name="_PB_WORKSHEETNAMEPROPERTY" val="Sheet1"/>
  <p:tag name="_PB_RANGEADDRESSPROPERTY" val="$P$4:$Q$1389"/>
</p:tagLst>
</file>

<file path=ppt/tags/tag19.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1/2024 15:52:23"/>
  <p:tag name="CHARTNAME" val="Chart 4"/>
  <p:tag name="_PB_CHARTSOURCETYPEPROPERTY" val="1"/>
  <p:tag name="_PB_SOURCEFILEPATHPROPERTY" val="\\dbg.ads.db.com\atosdfs\DATA\groups\F13-PWM\R69-CIO-Office-Global\CIO Publications &amp; Presentations\Charts\Investment Strategy - Chartbook\EQ - S&amp;P 500 SECTOR - Datastream - automated.xlsx"/>
  <p:tag name="_PB_SOURCEAVAILABILITYPROPERTY" val="1"/>
  <p:tag name="_PB_WORKSHEETNAMEPROPERTY" val="combine"/>
  <p:tag name="_PB_RANGEADDRESSPROPERTY" val="$AD$8:$AG$1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1/2024 15:52:00"/>
  <p:tag name="CHARTNAME" val="Chart 3"/>
  <p:tag name="_PB_CHARTSOURCETYPEPROPERTY" val="1"/>
  <p:tag name="_PB_SOURCEFILEPATHPROPERTY" val="\\dbg.ads.db.com\atosdfs\DATA\groups\F13-PWM\R69-CIO-Office-Global\CIO Publications &amp; Presentations\Charts\Investment Strategy - Chartbook\EQ - S&amp;P 500 SECTOR - Datastream - automated.xlsx"/>
  <p:tag name="_PB_SOURCEAVAILABILITYPROPERTY" val="1"/>
  <p:tag name="_PB_WORKSHEETNAMEPROPERTY" val="5th nov 2024"/>
  <p:tag name="_PB_RANGEADDRESSPROPERTY" val="$Z$8:$AB$19"/>
</p:tagLst>
</file>

<file path=ppt/tags/tag21.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1/2024 15:37:04"/>
  <p:tag name="CHARTNAME" val="Chart 1"/>
  <p:tag name="_PB_CHARTSOURCETYPEPROPERTY" val="1"/>
  <p:tag name="_PB_SOURCEFILEPATHPROPERTY" val="\\dbg.ads.db.com\atosdfs\DATA\groups\F13-PWM\R69-CIO-Office-Global\CIO Publications &amp; Presentations\Charts\Investment Strategy - Chartbook\EQ - DAX vs Germany industrial production - Datastream - automated.xlsx"/>
  <p:tag name="_PB_SOURCEAVAILABILITYPROPERTY" val="1"/>
  <p:tag name="_PB_WORKSHEETNAMEPROPERTY" val="Sheet1 (3)"/>
  <p:tag name="_PB_RANGEADDRESSPROPERTY" val="$AG$6:$AI$2615"/>
</p:tagLst>
</file>

<file path=ppt/tags/tag22.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15:20:45"/>
  <p:tag name="CHARTNAME" val="Chart 2"/>
  <p:tag name="_PB_CHARTSOURCETYPEPROPERTY" val="1"/>
  <p:tag name="_PB_SOURCEFILEPATHPROPERTY" val="\\dbg.ads.db.com\atosdfs\DATA\groups\F13-PWM\R69-CIO-Office-Global\CIO Publications &amp; Presentations\Charts\Investment Strategy - Chartbook\EQ - Industrial production EZ STOXX Industrials EPS Auto production - Datastream.xlsx"/>
  <p:tag name="_PB_SOURCEAVAILABILITYPROPERTY" val="1"/>
  <p:tag name="_PB_WORKSHEETNAMEPROPERTY" val="Sheet1"/>
  <p:tag name="_PB_RANGEADDRESSPROPERTY" val="$Q$8:$T$221"/>
</p:tagLst>
</file>

<file path=ppt/tags/tag23.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1/2024 15:33:09"/>
  <p:tag name="CHARTNAME" val="Chart 2"/>
  <p:tag name="_PB_CHARTSOURCETYPEPROPERTY" val="1"/>
  <p:tag name="_PB_SOURCEFILEPATHPROPERTY" val="\\dbg.ads.db.com\atosdfs\DATA\groups\F13-PWM\R69-CIO-Office-Global\CIO Publications &amp; Presentations\Charts\Investment Strategy - Chartbook\Macro - World electricity generation renewables vs oil - datastream - automated.xlsx"/>
  <p:tag name="_PB_SOURCEAVAILABILITYPROPERTY" val="1"/>
  <p:tag name="_PB_WORKSHEETNAMEPROPERTY" val="Sheet1"/>
  <p:tag name="_PB_RANGEADDRESSPROPERTY" val="$E$14:$Q$33"/>
</p:tagLst>
</file>

<file path=ppt/tags/tag24.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2/2024 11:02:04"/>
  <p:tag name="CHARTNAME" val="Chart 7"/>
  <p:tag name="_PB_CHARTSOURCETYPEPROPERTY" val="1"/>
  <p:tag name="_PB_SOURCEFILEPATHPROPERTY" val="\\dbg.ads.db.com\atosdfs\DATA\groups\F13-PWM\R69-CIO-Office-Global\CIO Publications &amp; Presentations\Charts\Investment Strategy - Chartbook\COM - World oil supply and demand EIA - Datastream - automated.xlsx"/>
  <p:tag name="_PB_SOURCEAVAILABILITYPROPERTY" val="1"/>
  <p:tag name="_PB_WORKSHEETNAMEPROPERTY" val="Sheet1 (2)"/>
  <p:tag name="_PB_RANGEADDRESSPROPERTY" val="$O$8:$Q$48"/>
</p:tagLst>
</file>

<file path=ppt/tags/tag25.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1/2024 15:27:53"/>
  <p:tag name="CHARTNAME" val="Chart 3"/>
  <p:tag name="_PB_CHARTSOURCETYPEPROPERTY" val="1"/>
  <p:tag name="_PB_SOURCEFILEPATHPROPERTY" val="\\dbg.ads.db.com\atosdfs\DATA\groups\F13-PWM\R69-CIO-Office-Global\Strategy group\Presentations\markets_ppt\202405\Charts\Macro - public investment needs Germany - IW Köln - manual.xlsx"/>
  <p:tag name="_PB_SOURCEAVAILABILITYPROPERTY" val="1"/>
  <p:tag name="_PB_WORKSHEETNAMEPROPERTY" val="Sheet1"/>
  <p:tag name="_PB_RANGEADDRESSPROPERTY" val="$J$5:$L$13"/>
</p:tagLst>
</file>

<file path=ppt/tags/tag26.xml><?xml version="1.0" encoding="utf-8"?>
<p:tagLst xmlns:a="http://schemas.openxmlformats.org/drawingml/2006/main" xmlns:r="http://schemas.openxmlformats.org/officeDocument/2006/relationships" xmlns:p="http://schemas.openxmlformats.org/presentationml/2006/main">
  <p:tag name="_PB_OPERATORIDPROPERTY" val="ofv410"/>
  <p:tag name="_PB_CREATIONDATEPROPERTY" val="11/21/2024 15:25:39"/>
  <p:tag name="CHARTNAME" val="Chart 2"/>
  <p:tag name="_PB_CHARTSOURCETYPEPROPERTY" val="1"/>
  <p:tag name="_PB_SOURCEFILEPATHPROPERTY" val="\\dbg.ads.db.com\atosdfs\DATA\groups\F13-PWM\R69-CIO-Office-Global\CIO Publications &amp; Presentations\Charts\Investment Strategy - Chartbook\COM - Gold vs real yield - Datastream - automated.xlsx"/>
  <p:tag name="_PB_SOURCEAVAILABILITYPROPERTY" val="1"/>
  <p:tag name="_PB_WORKSHEETNAMEPROPERTY" val="Sheet1"/>
  <p:tag name="_PB_RANGEADDRESSPROPERTY" val="$H$7:$J$261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utsche Bank title master 2024 09">
  <a:themeElements>
    <a:clrScheme name="DB 2024 09">
      <a:dk1>
        <a:srgbClr val="000000"/>
      </a:dk1>
      <a:lt1>
        <a:srgbClr val="FFFFFF"/>
      </a:lt1>
      <a:dk2>
        <a:srgbClr val="16184E"/>
      </a:dk2>
      <a:lt2>
        <a:srgbClr val="CCEDF9"/>
      </a:lt2>
      <a:accent1>
        <a:srgbClr val="1E2A78"/>
      </a:accent1>
      <a:accent2>
        <a:srgbClr val="00A3E0"/>
      </a:accent2>
      <a:accent3>
        <a:srgbClr val="3BB8B8"/>
      </a:accent3>
      <a:accent4>
        <a:srgbClr val="24778D"/>
      </a:accent4>
      <a:accent5>
        <a:srgbClr val="25A62D"/>
      </a:accent5>
      <a:accent6>
        <a:srgbClr val="C9DD03"/>
      </a:accent6>
      <a:hlink>
        <a:srgbClr val="00A3E0"/>
      </a:hlink>
      <a:folHlink>
        <a:srgbClr val="00A3E0"/>
      </a:folHlink>
    </a:clrScheme>
    <a:fontScheme name="Deutsche Bank 2024 09">
      <a:majorFont>
        <a:latin typeface="DeutscheBank"/>
        <a:ea typeface="MS PGothic"/>
        <a:cs typeface=""/>
      </a:majorFont>
      <a:minorFont>
        <a:latin typeface="DeutscheBan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1400" dirty="0" smtClean="0"/>
        </a:defPPr>
      </a:lstStyle>
    </a:txDef>
  </a:objectDefaults>
  <a:extraClrSchemeLst/>
  <a:custClrLst>
    <a:custClr name="Deep Blue">
      <a:srgbClr val="1E2A78"/>
    </a:custClr>
    <a:custClr name="Dark Blue">
      <a:srgbClr val="16184E"/>
    </a:custClr>
    <a:custClr name="Bright Blue 100">
      <a:srgbClr val="00A3E0"/>
    </a:custClr>
    <a:custClr name="Vibrant Cyan">
      <a:srgbClr val="00D1FF"/>
    </a:custClr>
    <a:custClr name="Light Blue">
      <a:srgbClr val="ADEBFF"/>
    </a:custClr>
    <a:custClr name="Bright Blue 20">
      <a:srgbClr val="CCEDF9"/>
    </a:custClr>
    <a:custClr name="Bright Blue 10">
      <a:srgbClr val="E1F5FA"/>
    </a:custClr>
    <a:custClr name="Grey">
      <a:srgbClr val="EDF1F7"/>
    </a:custClr>
    <a:custClr>
      <a:srgbClr val="FFFFFF"/>
    </a:custClr>
    <a:custClr>
      <a:srgbClr val="FFFFFF"/>
    </a:custClr>
    <a:custClr name="Turquoise">
      <a:srgbClr val="3BB8B8"/>
    </a:custClr>
    <a:custClr name="Petrol">
      <a:srgbClr val="24778D"/>
    </a:custClr>
    <a:custClr name="Summer Green">
      <a:srgbClr val="25A62D"/>
    </a:custClr>
    <a:custClr name="Spring Green">
      <a:srgbClr val="C9DD03"/>
    </a:custClr>
    <a:custClr name="Autumn Green">
      <a:srgbClr val="A1AC05"/>
    </a:custClr>
    <a:custClr name="Lucent Yellow">
      <a:srgbClr val="FFE600"/>
    </a:custClr>
    <a:custClr name="Sundown Orange">
      <a:srgbClr val="F28011"/>
    </a:custClr>
    <a:custClr name="Bright Red">
      <a:srgbClr val="E7001D"/>
    </a:custClr>
    <a:custClr name="Light Violet">
      <a:srgbClr val="C18EBD"/>
    </a:custClr>
    <a:custClr name="Night Violet">
      <a:srgbClr val="431661"/>
    </a:custClr>
  </a:custClrLst>
  <a:extLst>
    <a:ext uri="{05A4C25C-085E-4340-85A3-A5531E510DB2}">
      <thm15:themeFamily xmlns:thm15="http://schemas.microsoft.com/office/thememl/2012/main" name="DB-ppt-master-16-9-en-2024-0912.potx" id="{A1B27B4A-B269-4EFA-A3C3-646139F44E8F}" vid="{5222111B-F63C-4D03-A245-4736250F8F14}"/>
    </a:ext>
  </a:extLst>
</a:theme>
</file>

<file path=ppt/theme/theme2.xml><?xml version="1.0" encoding="utf-8"?>
<a:theme xmlns:a="http://schemas.openxmlformats.org/drawingml/2006/main" name="Deutsche Bank content master 2024 09">
  <a:themeElements>
    <a:clrScheme name="DB 2024 09">
      <a:dk1>
        <a:srgbClr val="000000"/>
      </a:dk1>
      <a:lt1>
        <a:srgbClr val="FFFFFF"/>
      </a:lt1>
      <a:dk2>
        <a:srgbClr val="16184E"/>
      </a:dk2>
      <a:lt2>
        <a:srgbClr val="CCEDF9"/>
      </a:lt2>
      <a:accent1>
        <a:srgbClr val="1E2A78"/>
      </a:accent1>
      <a:accent2>
        <a:srgbClr val="00A3E0"/>
      </a:accent2>
      <a:accent3>
        <a:srgbClr val="3BB8B8"/>
      </a:accent3>
      <a:accent4>
        <a:srgbClr val="24778D"/>
      </a:accent4>
      <a:accent5>
        <a:srgbClr val="25A62D"/>
      </a:accent5>
      <a:accent6>
        <a:srgbClr val="C9DD03"/>
      </a:accent6>
      <a:hlink>
        <a:srgbClr val="00A3E0"/>
      </a:hlink>
      <a:folHlink>
        <a:srgbClr val="00A3E0"/>
      </a:folHlink>
    </a:clrScheme>
    <a:fontScheme name="Deutsche Bank 2024 09">
      <a:majorFont>
        <a:latin typeface="DeutscheBank"/>
        <a:ea typeface="MS PGothic"/>
        <a:cs typeface=""/>
      </a:majorFont>
      <a:minorFont>
        <a:latin typeface="DeutscheBan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a:noFill/>
          <a:miter lim="800000"/>
          <a:headEnd/>
          <a:tailEnd/>
        </a:ln>
      </a:spPr>
      <a:bodyPr lIns="100913" tIns="50457" rIns="100913" bIns="50457" rtlCol="0" anchor="ctr">
        <a:noAutofit/>
      </a:bodyPr>
      <a:lstStyle>
        <a:defPPr algn="ctr" defTabSz="963613" eaLnBrk="0" hangingPunct="0">
          <a:tabLst>
            <a:tab pos="1257300" algn="l"/>
          </a:tabLst>
          <a:defRPr dirty="0" err="1" smtClean="0">
            <a:solidFill>
              <a:srgbClr val="FFFFFF"/>
            </a:solidFill>
            <a:latin typeface="+mn-lt"/>
          </a:defRPr>
        </a:defPPr>
      </a:lstStyle>
    </a:spDef>
    <a:lnDef>
      <a:spPr bwMode="auto">
        <a:noFill/>
        <a:ln w="12700">
          <a:solidFill>
            <a:schemeClr val="tx1"/>
          </a:solidFill>
          <a:round/>
          <a:headEnd/>
          <a:tailEnd/>
        </a:ln>
      </a:spPr>
      <a:bodyPr/>
      <a:lstStyle/>
    </a:lnDef>
    <a:txDef>
      <a:spPr bwMode="ltGray">
        <a:noFill/>
        <a:ln w="6350">
          <a:noFill/>
          <a:miter lim="800000"/>
          <a:headEnd/>
          <a:tailEnd/>
        </a:ln>
      </a:spPr>
      <a:bodyPr wrap="none" lIns="0" tIns="0" rIns="0" bIns="0" rtlCol="0">
        <a:spAutoFit/>
      </a:bodyPr>
      <a:lstStyle>
        <a:defPPr algn="l">
          <a:defRPr sz="1400" dirty="0" smtClean="0"/>
        </a:defPPr>
      </a:lstStyle>
    </a:txDef>
  </a:objectDefaults>
  <a:extraClrSchemeLst/>
  <a:custClrLst>
    <a:custClr name="Deep Blue">
      <a:srgbClr val="1E2A78"/>
    </a:custClr>
    <a:custClr name="Dark Blue">
      <a:srgbClr val="16184E"/>
    </a:custClr>
    <a:custClr name="Bright Blue 100">
      <a:srgbClr val="00A3E0"/>
    </a:custClr>
    <a:custClr name="Vibrant Cyan">
      <a:srgbClr val="00D1FF"/>
    </a:custClr>
    <a:custClr name="Light Blue">
      <a:srgbClr val="ADEBFF"/>
    </a:custClr>
    <a:custClr name="Bright Blue 20">
      <a:srgbClr val="CCEDF9"/>
    </a:custClr>
    <a:custClr name="Bright Blue 10">
      <a:srgbClr val="E1F5FA"/>
    </a:custClr>
    <a:custClr name="Grey">
      <a:srgbClr val="EDF1F7"/>
    </a:custClr>
    <a:custClr>
      <a:srgbClr val="FFFFFF"/>
    </a:custClr>
    <a:custClr>
      <a:srgbClr val="FFFFFF"/>
    </a:custClr>
    <a:custClr name="Turquoise">
      <a:srgbClr val="3BB8B8"/>
    </a:custClr>
    <a:custClr name="Petrol">
      <a:srgbClr val="24778D"/>
    </a:custClr>
    <a:custClr name="Summer Green">
      <a:srgbClr val="25A62D"/>
    </a:custClr>
    <a:custClr name="Spring Green">
      <a:srgbClr val="C9DD03"/>
    </a:custClr>
    <a:custClr name="Autumn Green">
      <a:srgbClr val="A1AC05"/>
    </a:custClr>
    <a:custClr name="Lucent Yellow">
      <a:srgbClr val="FFE600"/>
    </a:custClr>
    <a:custClr name="Sundown Orange">
      <a:srgbClr val="F28011"/>
    </a:custClr>
    <a:custClr name="Bright Red">
      <a:srgbClr val="E7001D"/>
    </a:custClr>
    <a:custClr name="Light Violet">
      <a:srgbClr val="C18EBD"/>
    </a:custClr>
    <a:custClr name="Night Violet">
      <a:srgbClr val="431661"/>
    </a:custClr>
  </a:custClrLst>
  <a:extLst>
    <a:ext uri="{05A4C25C-085E-4340-85A3-A5531E510DB2}">
      <thm15:themeFamily xmlns:thm15="http://schemas.microsoft.com/office/thememl/2012/main" name="DB-ppt-master-16-9-en-2024-0912.potx" id="{A1B27B4A-B269-4EFA-A3C3-646139F44E8F}" vid="{80256273-526B-4901-94B1-F8B054DFA20D}"/>
    </a:ext>
  </a:extLst>
</a:theme>
</file>

<file path=ppt/theme/theme3.xml><?xml version="1.0" encoding="utf-8"?>
<a:theme xmlns:a="http://schemas.openxmlformats.org/drawingml/2006/main" name="Deutsche Bank content master dark background 2024 09">
  <a:themeElements>
    <a:clrScheme name="DB 2024 09">
      <a:dk1>
        <a:srgbClr val="000000"/>
      </a:dk1>
      <a:lt1>
        <a:srgbClr val="FFFFFF"/>
      </a:lt1>
      <a:dk2>
        <a:srgbClr val="16184E"/>
      </a:dk2>
      <a:lt2>
        <a:srgbClr val="CCEDF9"/>
      </a:lt2>
      <a:accent1>
        <a:srgbClr val="1E2A78"/>
      </a:accent1>
      <a:accent2>
        <a:srgbClr val="00A3E0"/>
      </a:accent2>
      <a:accent3>
        <a:srgbClr val="3BB8B8"/>
      </a:accent3>
      <a:accent4>
        <a:srgbClr val="24778D"/>
      </a:accent4>
      <a:accent5>
        <a:srgbClr val="25A62D"/>
      </a:accent5>
      <a:accent6>
        <a:srgbClr val="C9DD03"/>
      </a:accent6>
      <a:hlink>
        <a:srgbClr val="00A3E0"/>
      </a:hlink>
      <a:folHlink>
        <a:srgbClr val="00A3E0"/>
      </a:folHlink>
    </a:clrScheme>
    <a:fontScheme name="Deutsche Bank 2024 09">
      <a:majorFont>
        <a:latin typeface="DeutscheBank"/>
        <a:ea typeface="MS PGothic"/>
        <a:cs typeface=""/>
      </a:majorFont>
      <a:minorFont>
        <a:latin typeface="DeutscheBan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a:noFill/>
          <a:miter lim="800000"/>
          <a:headEnd/>
          <a:tailEnd/>
        </a:ln>
      </a:spPr>
      <a:bodyPr lIns="100913" tIns="50457" rIns="100913" bIns="50457" rtlCol="0" anchor="ctr">
        <a:noAutofit/>
      </a:bodyPr>
      <a:lstStyle>
        <a:defPPr algn="ctr" defTabSz="963613" eaLnBrk="0" hangingPunct="0">
          <a:tabLst>
            <a:tab pos="1257300" algn="l"/>
          </a:tabLst>
          <a:defRPr dirty="0" err="1" smtClean="0">
            <a:solidFill>
              <a:srgbClr val="FFFFFF"/>
            </a:solidFill>
            <a:latin typeface="+mn-lt"/>
          </a:defRPr>
        </a:defPPr>
      </a:lstStyle>
    </a:spDef>
    <a:lnDef>
      <a:spPr bwMode="auto">
        <a:noFill/>
        <a:ln w="12700">
          <a:solidFill>
            <a:schemeClr val="tx1"/>
          </a:solidFill>
          <a:round/>
          <a:headEnd/>
          <a:tailEnd/>
        </a:ln>
      </a:spPr>
      <a:bodyPr/>
      <a:lstStyle/>
    </a:lnDef>
    <a:txDef>
      <a:spPr bwMode="ltGray">
        <a:noFill/>
        <a:ln w="6350">
          <a:noFill/>
          <a:miter lim="800000"/>
          <a:headEnd/>
          <a:tailEnd/>
        </a:ln>
      </a:spPr>
      <a:bodyPr wrap="none" lIns="0" tIns="0" rIns="0" bIns="0" rtlCol="0">
        <a:spAutoFit/>
      </a:bodyPr>
      <a:lstStyle>
        <a:defPPr algn="l">
          <a:defRPr sz="1400" dirty="0" err="1" smtClean="0"/>
        </a:defPPr>
      </a:lstStyle>
    </a:txDef>
  </a:objectDefaults>
  <a:extraClrSchemeLst/>
  <a:custClrLst>
    <a:custClr name="Deep Blue">
      <a:srgbClr val="1E2A78"/>
    </a:custClr>
    <a:custClr name="Dark Blue">
      <a:srgbClr val="16184E"/>
    </a:custClr>
    <a:custClr name="Bright Blue 100">
      <a:srgbClr val="00A3E0"/>
    </a:custClr>
    <a:custClr name="Vibrant Cyan">
      <a:srgbClr val="00D1FF"/>
    </a:custClr>
    <a:custClr name="Light Blue">
      <a:srgbClr val="ADEBFF"/>
    </a:custClr>
    <a:custClr name="Bright Blue 20">
      <a:srgbClr val="CCEDF9"/>
    </a:custClr>
    <a:custClr name="Bright Blue 10">
      <a:srgbClr val="E1F5FA"/>
    </a:custClr>
    <a:custClr name="Grey">
      <a:srgbClr val="EDF1F7"/>
    </a:custClr>
    <a:custClr>
      <a:srgbClr val="FFFFFF"/>
    </a:custClr>
    <a:custClr>
      <a:srgbClr val="FFFFFF"/>
    </a:custClr>
    <a:custClr name="Turquoise">
      <a:srgbClr val="3BB8B8"/>
    </a:custClr>
    <a:custClr name="Petrol">
      <a:srgbClr val="24778D"/>
    </a:custClr>
    <a:custClr name="Summer Green">
      <a:srgbClr val="25A62D"/>
    </a:custClr>
    <a:custClr name="Spring Green">
      <a:srgbClr val="C9DD03"/>
    </a:custClr>
    <a:custClr name="Autumn Green">
      <a:srgbClr val="A1AC05"/>
    </a:custClr>
    <a:custClr name="Lucent Yellow">
      <a:srgbClr val="FFE600"/>
    </a:custClr>
    <a:custClr name="Sundown Orange">
      <a:srgbClr val="F28011"/>
    </a:custClr>
    <a:custClr name="Bright Red">
      <a:srgbClr val="E7001D"/>
    </a:custClr>
    <a:custClr name="Light Violet">
      <a:srgbClr val="C18EBD"/>
    </a:custClr>
    <a:custClr name="Night Violet">
      <a:srgbClr val="431661"/>
    </a:custClr>
  </a:custClrLst>
  <a:extLst>
    <a:ext uri="{05A4C25C-085E-4340-85A3-A5531E510DB2}">
      <thm15:themeFamily xmlns:thm15="http://schemas.microsoft.com/office/thememl/2012/main" name="DB-ppt-master-16-9-en-2024-0912.potx" id="{A1B27B4A-B269-4EFA-A3C3-646139F44E8F}" vid="{EBB98C24-97F7-41F3-B2D3-F23AEBD71841}"/>
    </a:ext>
  </a:extLst>
</a:theme>
</file>

<file path=ppt/theme/theme4.xml><?xml version="1.0" encoding="utf-8"?>
<a:theme xmlns:a="http://schemas.openxmlformats.org/drawingml/2006/main" name="1_Deutsche Bank content master dark background 2024 09">
  <a:themeElements>
    <a:clrScheme name="DB 2024 09">
      <a:dk1>
        <a:srgbClr val="000000"/>
      </a:dk1>
      <a:lt1>
        <a:srgbClr val="FFFFFF"/>
      </a:lt1>
      <a:dk2>
        <a:srgbClr val="16184E"/>
      </a:dk2>
      <a:lt2>
        <a:srgbClr val="CCEDF9"/>
      </a:lt2>
      <a:accent1>
        <a:srgbClr val="1E2A78"/>
      </a:accent1>
      <a:accent2>
        <a:srgbClr val="00A3E0"/>
      </a:accent2>
      <a:accent3>
        <a:srgbClr val="3BB8B8"/>
      </a:accent3>
      <a:accent4>
        <a:srgbClr val="24778D"/>
      </a:accent4>
      <a:accent5>
        <a:srgbClr val="25A62D"/>
      </a:accent5>
      <a:accent6>
        <a:srgbClr val="C9DD03"/>
      </a:accent6>
      <a:hlink>
        <a:srgbClr val="00A3E0"/>
      </a:hlink>
      <a:folHlink>
        <a:srgbClr val="00A3E0"/>
      </a:folHlink>
    </a:clrScheme>
    <a:fontScheme name="Deutsche Bank 2024 09">
      <a:majorFont>
        <a:latin typeface="DeutscheBank"/>
        <a:ea typeface="MS PGothic"/>
        <a:cs typeface=""/>
      </a:majorFont>
      <a:minorFont>
        <a:latin typeface="DeutscheBan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a:noFill/>
          <a:miter lim="800000"/>
          <a:headEnd/>
          <a:tailEnd/>
        </a:ln>
      </a:spPr>
      <a:bodyPr lIns="100913" tIns="50457" rIns="100913" bIns="50457" rtlCol="0" anchor="ctr">
        <a:noAutofit/>
      </a:bodyPr>
      <a:lstStyle>
        <a:defPPr algn="ctr" defTabSz="963613" eaLnBrk="0" hangingPunct="0">
          <a:tabLst>
            <a:tab pos="1257300" algn="l"/>
          </a:tabLst>
          <a:defRPr dirty="0" err="1" smtClean="0">
            <a:solidFill>
              <a:srgbClr val="FFFFFF"/>
            </a:solidFill>
            <a:latin typeface="+mn-lt"/>
          </a:defRPr>
        </a:defPPr>
      </a:lstStyle>
    </a:spDef>
    <a:lnDef>
      <a:spPr bwMode="auto">
        <a:noFill/>
        <a:ln w="12700">
          <a:solidFill>
            <a:schemeClr val="tx1"/>
          </a:solidFill>
          <a:round/>
          <a:headEnd/>
          <a:tailEnd/>
        </a:ln>
      </a:spPr>
      <a:bodyPr/>
      <a:lstStyle/>
    </a:lnDef>
    <a:txDef>
      <a:spPr bwMode="ltGray">
        <a:noFill/>
        <a:ln w="6350">
          <a:noFill/>
          <a:miter lim="800000"/>
          <a:headEnd/>
          <a:tailEnd/>
        </a:ln>
      </a:spPr>
      <a:bodyPr wrap="none" lIns="0" tIns="0" rIns="0" bIns="0" rtlCol="0">
        <a:spAutoFit/>
      </a:bodyPr>
      <a:lstStyle>
        <a:defPPr algn="l">
          <a:defRPr sz="1400" dirty="0" err="1" smtClean="0"/>
        </a:defPPr>
      </a:lstStyle>
    </a:txDef>
  </a:objectDefaults>
  <a:extraClrSchemeLst/>
  <a:custClrLst>
    <a:custClr name="Deep Blue">
      <a:srgbClr val="1E2A78"/>
    </a:custClr>
    <a:custClr name="Dark Blue">
      <a:srgbClr val="16184E"/>
    </a:custClr>
    <a:custClr name="Bright Blue 100">
      <a:srgbClr val="00A3E0"/>
    </a:custClr>
    <a:custClr name="Vibrant Cyan">
      <a:srgbClr val="00D1FF"/>
    </a:custClr>
    <a:custClr name="Light Blue">
      <a:srgbClr val="ADEBFF"/>
    </a:custClr>
    <a:custClr name="Bright Blue 20">
      <a:srgbClr val="CCEDF9"/>
    </a:custClr>
    <a:custClr name="Bright Blue 10">
      <a:srgbClr val="E1F5FA"/>
    </a:custClr>
    <a:custClr name="Grey">
      <a:srgbClr val="EDF1F7"/>
    </a:custClr>
    <a:custClr>
      <a:srgbClr val="FFFFFF"/>
    </a:custClr>
    <a:custClr>
      <a:srgbClr val="FFFFFF"/>
    </a:custClr>
    <a:custClr name="Turquoise">
      <a:srgbClr val="3BB8B8"/>
    </a:custClr>
    <a:custClr name="Petrol">
      <a:srgbClr val="24778D"/>
    </a:custClr>
    <a:custClr name="Summer Green">
      <a:srgbClr val="25A62D"/>
    </a:custClr>
    <a:custClr name="Spring Green">
      <a:srgbClr val="C9DD03"/>
    </a:custClr>
    <a:custClr name="Autumn Green">
      <a:srgbClr val="A1AC05"/>
    </a:custClr>
    <a:custClr name="Lucent Yellow">
      <a:srgbClr val="FFE600"/>
    </a:custClr>
    <a:custClr name="Sundown Orange">
      <a:srgbClr val="F28011"/>
    </a:custClr>
    <a:custClr name="Bright Red">
      <a:srgbClr val="E7001D"/>
    </a:custClr>
    <a:custClr name="Light Violet">
      <a:srgbClr val="C18EBD"/>
    </a:custClr>
    <a:custClr name="Night Violet">
      <a:srgbClr val="431661"/>
    </a:custClr>
  </a:custClrLst>
  <a:extLst>
    <a:ext uri="{05A4C25C-085E-4340-85A3-A5531E510DB2}">
      <thm15:themeFamily xmlns:thm15="http://schemas.microsoft.com/office/thememl/2012/main" name="DB-ppt-master-16-9-en-2024-0912.potx" id="{A1B27B4A-B269-4EFA-A3C3-646139F44E8F}" vid="{EBB98C24-97F7-41F3-B2D3-F23AEBD71841}"/>
    </a:ext>
  </a:extLst>
</a:theme>
</file>

<file path=ppt/theme/theme5.xml><?xml version="1.0" encoding="utf-8"?>
<a:theme xmlns:a="http://schemas.openxmlformats.org/drawingml/2006/main" name="Deutsche Bank theme 2020 01">
  <a:themeElements>
    <a:clrScheme name="Custom 1">
      <a:dk1>
        <a:srgbClr val="000000"/>
      </a:dk1>
      <a:lt1>
        <a:srgbClr val="FFFFFF"/>
      </a:lt1>
      <a:dk2>
        <a:srgbClr val="0C2340"/>
      </a:dk2>
      <a:lt2>
        <a:srgbClr val="8794A1"/>
      </a:lt2>
      <a:accent1>
        <a:srgbClr val="4AC9E3"/>
      </a:accent1>
      <a:accent2>
        <a:srgbClr val="FFC845"/>
      </a:accent2>
      <a:accent3>
        <a:srgbClr val="E4002B"/>
      </a:accent3>
      <a:accent4>
        <a:srgbClr val="07792B"/>
      </a:accent4>
      <a:accent5>
        <a:srgbClr val="00A3E0"/>
      </a:accent5>
      <a:accent6>
        <a:srgbClr val="A7D6CD"/>
      </a:accent6>
      <a:hlink>
        <a:srgbClr val="00A3E0"/>
      </a:hlink>
      <a:folHlink>
        <a:srgbClr val="00A3E0"/>
      </a:folHlink>
    </a:clrScheme>
    <a:fontScheme name="Deutsche Bank 2020">
      <a:majorFont>
        <a:latin typeface="Deutsche Bank Display"/>
        <a:ea typeface="MS PGothic"/>
        <a:cs typeface=""/>
      </a:majorFont>
      <a:minorFont>
        <a:latin typeface="Deutsche Bank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A000"/>
        </a:solidFill>
        <a:ln w="6350">
          <a:noFill/>
          <a:miter lim="800000"/>
          <a:headEnd/>
          <a:tailEnd/>
        </a:ln>
      </a:spPr>
      <a:bodyPr lIns="100913" tIns="50457" rIns="100913" bIns="50457" rtlCol="0" anchor="ctr">
        <a:noAutofit/>
      </a:bodyPr>
      <a:lstStyle>
        <a:defPPr algn="ctr" defTabSz="963613" eaLnBrk="0" hangingPunct="0">
          <a:tabLst>
            <a:tab pos="1257300" algn="l"/>
          </a:tabLst>
          <a:defRPr sz="1200" dirty="0" err="1">
            <a:solidFill>
              <a:srgbClr val="FFFFFF"/>
            </a:solidFill>
            <a:latin typeface="+mn-lt"/>
          </a:defRPr>
        </a:defPPr>
      </a:lstStyle>
    </a:spDef>
    <a:lnDef>
      <a:spPr bwMode="auto">
        <a:noFill/>
        <a:ln w="12700">
          <a:solidFill>
            <a:schemeClr val="tx1"/>
          </a:solidFill>
          <a:round/>
          <a:headEnd/>
          <a:tailEnd/>
        </a:ln>
      </a:spPr>
      <a:bodyPr/>
      <a:lstStyle/>
    </a:lnDef>
    <a:txDef>
      <a:spPr bwMode="ltGray">
        <a:noFill/>
        <a:ln w="6350">
          <a:noFill/>
          <a:miter lim="800000"/>
          <a:headEnd/>
          <a:tailEnd/>
        </a:ln>
      </a:spPr>
      <a:bodyPr wrap="square" lIns="100913" tIns="50457" rIns="100913" bIns="50457" rtlCol="0" anchor="t" anchorCtr="0">
        <a:spAutoFit/>
      </a:bodyPr>
      <a:lstStyle>
        <a:defPPr eaLnBrk="0" hangingPunct="0">
          <a:defRPr dirty="0" err="1" smtClean="0">
            <a:latin typeface="+mn-lt"/>
          </a:defRPr>
        </a:defPPr>
      </a:lstStyle>
    </a:txDef>
  </a:objectDefaults>
  <a:extraClrSchemeLst/>
  <a:custClrLst>
    <a:custClr name="Dark blue">
      <a:srgbClr val="0C2340"/>
    </a:custClr>
    <a:custClr name="Pale blue">
      <a:srgbClr val="4AC9E3"/>
    </a:custClr>
    <a:custClr name="Yellow">
      <a:srgbClr val="FFC845"/>
    </a:custClr>
    <a:custClr name="Red">
      <a:srgbClr val="E4002B"/>
    </a:custClr>
    <a:custClr name="Dark green">
      <a:srgbClr val="07792B"/>
    </a:custClr>
    <a:custClr name="Blue">
      <a:srgbClr val="00A3E0"/>
    </a:custClr>
    <a:custClr name="Petrol">
      <a:srgbClr val="A7D6CD"/>
    </a:custClr>
    <a:custClr name="Grey 4">
      <a:srgbClr val="8794A1"/>
    </a:custClr>
    <a:custClr name="Deutsche Bank blue">
      <a:srgbClr val="0018A8"/>
    </a:custClr>
    <a:custClr>
      <a:srgbClr val="FFFFFF"/>
    </a:custClr>
    <a:custClr name="Pale violet">
      <a:srgbClr val="C9B7D1"/>
    </a:custClr>
    <a:custClr name="Bright blue 2">
      <a:srgbClr val="99DCF3"/>
    </a:custClr>
    <a:custClr name="Skeen">
      <a:srgbClr val="F29E97"/>
    </a:custClr>
    <a:custClr name="Orange">
      <a:srgbClr val="E57200"/>
    </a:custClr>
    <a:custClr name="Pale green">
      <a:srgbClr val="CEDC00"/>
    </a:custClr>
    <a:custClr name="Grey 1">
      <a:srgbClr val="57646C"/>
    </a:custClr>
    <a:custClr name="Violet">
      <a:srgbClr val="671E75"/>
    </a:custClr>
    <a:custClr name="Neutral grey">
      <a:srgbClr val="D7DEE2"/>
    </a:custClr>
    <a:custClr name="Tower grey">
      <a:srgbClr val="A4BCC2"/>
    </a:custClr>
  </a:custClrLst>
  <a:extLst>
    <a:ext uri="{05A4C25C-085E-4340-85A3-A5531E510DB2}">
      <thm15:themeFamily xmlns:thm15="http://schemas.microsoft.com/office/thememl/2012/main" name="150_jahre_rot-blau_DE_16_9_01_2020.potx" id="{3A6C198D-4D7E-4468-AA2B-9BF28A112641}" vid="{B1DCC7D8-CC4E-40E0-BB44-6BB3B2F57B90}"/>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Deutsche Bank 2024 09">
      <a:majorFont>
        <a:latin typeface="DeutscheBank"/>
        <a:ea typeface="MS PGothic"/>
        <a:cs typeface=""/>
      </a:majorFont>
      <a:minorFont>
        <a:latin typeface="DeutscheBan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Deutsche Bank 2024 09">
      <a:majorFont>
        <a:latin typeface="DeutscheBank"/>
        <a:ea typeface="MS PGothic"/>
        <a:cs typeface=""/>
      </a:majorFont>
      <a:minorFont>
        <a:latin typeface="DeutscheBan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Benutzerdefiniert 1">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Deutsche Bank">
    <a:majorFont>
      <a:latin typeface="Deutsche Bank Display"/>
      <a:ea typeface=""/>
      <a:cs typeface=""/>
    </a:majorFont>
    <a:minorFont>
      <a:latin typeface="Deutsche Ban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Deutsche Bank">
    <a:majorFont>
      <a:latin typeface="Deutsche Bank Display"/>
      <a:ea typeface=""/>
      <a:cs typeface=""/>
    </a:majorFont>
    <a:minorFont>
      <a:latin typeface="Deutsche Ban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Deutsche Bank">
    <a:majorFont>
      <a:latin typeface="Deutsche Bank Display"/>
      <a:ea typeface=""/>
      <a:cs typeface=""/>
    </a:majorFont>
    <a:minorFont>
      <a:latin typeface="Deutsche Bank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Deutsche Bank">
    <a:dk1>
      <a:sysClr val="windowText" lastClr="000000"/>
    </a:dk1>
    <a:lt1>
      <a:sysClr val="window" lastClr="FFFFFF"/>
    </a:lt1>
    <a:dk2>
      <a:srgbClr val="44546A"/>
    </a:dk2>
    <a:lt2>
      <a:srgbClr val="E7E6E6"/>
    </a:lt2>
    <a:accent1>
      <a:srgbClr val="061F5B"/>
    </a:accent1>
    <a:accent2>
      <a:srgbClr val="03A3E0"/>
    </a:accent2>
    <a:accent3>
      <a:srgbClr val="136286"/>
    </a:accent3>
    <a:accent4>
      <a:srgbClr val="5E9BC6"/>
    </a:accent4>
    <a:accent5>
      <a:srgbClr val="A4C8E1"/>
    </a:accent5>
    <a:accent6>
      <a:srgbClr val="535A60"/>
    </a:accent6>
    <a:hlink>
      <a:srgbClr val="0563C1"/>
    </a:hlink>
    <a:folHlink>
      <a:srgbClr val="954F72"/>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A93C518232964DA20C9E9FD0A4EE35" ma:contentTypeVersion="8" ma:contentTypeDescription="Create a new document." ma:contentTypeScope="" ma:versionID="2144d1030510ae751f9899b26aea07d0">
  <xsd:schema xmlns:xsd="http://www.w3.org/2001/XMLSchema" xmlns:xs="http://www.w3.org/2001/XMLSchema" xmlns:p="http://schemas.microsoft.com/office/2006/metadata/properties" xmlns:ns1="http://schemas.microsoft.com/sharepoint/v3" xmlns:ns2="e4604366-3a74-4e9f-9116-d3111f156cc5" xmlns:ns3="e69fa106-0f87-4402-b9fa-9db883e79a04" targetNamespace="http://schemas.microsoft.com/office/2006/metadata/properties" ma:root="true" ma:fieldsID="b2dec5b2a1ce341afcd939a83e8a099b" ns1:_="" ns2:_="" ns3:_="">
    <xsd:import namespace="http://schemas.microsoft.com/sharepoint/v3"/>
    <xsd:import namespace="e4604366-3a74-4e9f-9116-d3111f156cc5"/>
    <xsd:import namespace="e69fa106-0f87-4402-b9fa-9db883e79a0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604366-3a74-4e9f-9116-d3111f156c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9fa106-0f87-4402-b9fa-9db883e79a04"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65B3512-7A89-4959-9B6C-A5EF525CD69A}">
  <ds:schemaRefs>
    <ds:schemaRef ds:uri="e4604366-3a74-4e9f-9116-d3111f156cc5"/>
    <ds:schemaRef ds:uri="e69fa106-0f87-4402-b9fa-9db883e79a0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399C3DF-268E-4B32-89B9-3F6584B428FF}">
  <ds:schemaRefs>
    <ds:schemaRef ds:uri="http://purl.org/dc/elements/1.1/"/>
    <ds:schemaRef ds:uri="http://purl.org/dc/dcmitype/"/>
    <ds:schemaRef ds:uri="http://schemas.microsoft.com/office/2006/documentManagement/types"/>
    <ds:schemaRef ds:uri="http://schemas.microsoft.com/sharepoint/v3"/>
    <ds:schemaRef ds:uri="http://schemas.microsoft.com/office/infopath/2007/PartnerControls"/>
    <ds:schemaRef ds:uri="http://www.w3.org/XML/1998/namespace"/>
    <ds:schemaRef ds:uri="http://purl.org/dc/terms/"/>
    <ds:schemaRef ds:uri="e4604366-3a74-4e9f-9116-d3111f156cc5"/>
    <ds:schemaRef ds:uri="http://schemas.openxmlformats.org/package/2006/metadata/core-properties"/>
    <ds:schemaRef ds:uri="e69fa106-0f87-4402-b9fa-9db883e79a04"/>
    <ds:schemaRef ds:uri="http://schemas.microsoft.com/office/2006/metadata/properties"/>
  </ds:schemaRefs>
</ds:datastoreItem>
</file>

<file path=customXml/itemProps3.xml><?xml version="1.0" encoding="utf-8"?>
<ds:datastoreItem xmlns:ds="http://schemas.openxmlformats.org/officeDocument/2006/customXml" ds:itemID="{CE4572F7-3984-4D07-921A-CADDB37EC0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uidelines DB-ppt-master-16-9-en-2024-0912</Template>
  <TotalTime>0</TotalTime>
  <Words>7669</Words>
  <Application>Microsoft Office PowerPoint</Application>
  <PresentationFormat>Widescreen</PresentationFormat>
  <Paragraphs>1046</Paragraphs>
  <Slides>37</Slides>
  <Notes>1</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2</vt:i4>
      </vt:variant>
      <vt:variant>
        <vt:lpstr>Slide Titles</vt:lpstr>
      </vt:variant>
      <vt:variant>
        <vt:i4>37</vt:i4>
      </vt:variant>
    </vt:vector>
  </HeadingPairs>
  <TitlesOfParts>
    <vt:vector size="54" baseType="lpstr">
      <vt:lpstr>Calibri</vt:lpstr>
      <vt:lpstr>DeutscheBank Light</vt:lpstr>
      <vt:lpstr>DeutscheBank Medium</vt:lpstr>
      <vt:lpstr>Wingdings</vt:lpstr>
      <vt:lpstr>Arial</vt:lpstr>
      <vt:lpstr>Symbol</vt:lpstr>
      <vt:lpstr>Wingdings 3</vt:lpstr>
      <vt:lpstr>Deutsche Bank Text</vt:lpstr>
      <vt:lpstr>Deutsche Bank Display</vt:lpstr>
      <vt:lpstr>DeutscheBank</vt:lpstr>
      <vt:lpstr>Deutsche Bank title master 2024 09</vt:lpstr>
      <vt:lpstr>Deutsche Bank content master 2024 09</vt:lpstr>
      <vt:lpstr>Deutsche Bank content master dark background 2024 09</vt:lpstr>
      <vt:lpstr>1_Deutsche Bank content master dark background 2024 09</vt:lpstr>
      <vt:lpstr>Deutsche Bank theme 2020 01</vt:lpstr>
      <vt:lpstr>think-cell Folie</vt:lpstr>
      <vt:lpstr>Worksheet</vt:lpstr>
      <vt:lpstr>Medienkonferenz –   Kapitalmarktausblick 2025</vt:lpstr>
      <vt:lpstr>Ausblick 2025</vt:lpstr>
      <vt:lpstr>Was für ein Jahrzehnt – 20er Jahre 2.0</vt:lpstr>
      <vt:lpstr>Weltwirtschaftliche Entwicklung – Auf den ersten Blick solide</vt:lpstr>
      <vt:lpstr>Wachstumsverlangsamung zeichnet sich ab – Investieren, um zu wachsen!</vt:lpstr>
      <vt:lpstr>Drei Stellschrauben für das Wachstum – Arbeit, Kapital und Produktivität</vt:lpstr>
      <vt:lpstr> Investieren, um zu wachsen – Wichtige Trends der 20er Jahre </vt:lpstr>
      <vt:lpstr>Zugang zum Wachstum – Gesundheitssektor, zyklischer Konsum , IT &amp; Finanzen </vt:lpstr>
      <vt:lpstr>Gesundheit – Starkes Wachstum dank Demographie, gestiegener Einkommen und Innovation</vt:lpstr>
      <vt:lpstr>Konsum – Wachsende Weltwirtschaft &amp; Wohlstand, etablierte und neue Verbraucher</vt:lpstr>
      <vt:lpstr>Technologie – Schlüssel zum Wachstum, US-Unternehmen dominieren am Weltaktienmarkt </vt:lpstr>
      <vt:lpstr>Finanzen – Hohe Zinsen für längere Zeit, Finanzierung von Investitionen &amp; Konsum</vt:lpstr>
      <vt:lpstr>Volkswirtschaftlicher Ausblick</vt:lpstr>
      <vt:lpstr>Auf der Suche nach der verlorenen Zeit </vt:lpstr>
      <vt:lpstr>Rezessionsgefahr dürfte abnehmen</vt:lpstr>
      <vt:lpstr>Haushaltskonsum die größte Enttäuschung</vt:lpstr>
      <vt:lpstr>Investitionsschwäche dämpft weiterhin</vt:lpstr>
      <vt:lpstr>Wirtschaftspolitische Unsicherheit bleibt hoch</vt:lpstr>
      <vt:lpstr>Wettbewerbsfähigkeit nimmt weiter ab</vt:lpstr>
      <vt:lpstr>Inflation auf einem guten Weg </vt:lpstr>
      <vt:lpstr>Ausblick 2025</vt:lpstr>
      <vt:lpstr>Anleihen – Die Rückkehr der Prämie</vt:lpstr>
      <vt:lpstr>Dollar – Starke Wirtschaft, starke Währung </vt:lpstr>
      <vt:lpstr>Aktien – Der Schlüssel zum Erfolg</vt:lpstr>
      <vt:lpstr>Aktien – Gravitationszentrum USA</vt:lpstr>
      <vt:lpstr>Aktien – Von wegen Buddenbrooks</vt:lpstr>
      <vt:lpstr>Rohstoffe – Die Zukunft ist elektrisch </vt:lpstr>
      <vt:lpstr>Alternative Anlagen – Reale Werte </vt:lpstr>
      <vt:lpstr>Risiko – Zyklus, Zins &amp; Zölle </vt:lpstr>
      <vt:lpstr>Ausblick 2025 – Investieren, um zu wachsen</vt:lpstr>
      <vt:lpstr>Makroökonomische Prognosen</vt:lpstr>
      <vt:lpstr>Assetklassen Prognosen</vt:lpstr>
      <vt:lpstr>Historische Wertentwicklung</vt:lpstr>
      <vt:lpstr>Wichtige Informationen (1/4)</vt:lpstr>
      <vt:lpstr>Wichtige Informationen (2/4)</vt:lpstr>
      <vt:lpstr>Wichtige Informationen (3/4)</vt:lpstr>
      <vt:lpstr>Wichtige Informationen (4/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Kapitalmarktausblick 2025</dc:subject>
  <dc:creator>Deutsche Bank AG</dc:creator>
  <cp:keywords>Public</cp:keywords>
  <cp:lastModifiedBy>Jacques Regnier</cp:lastModifiedBy>
  <cp:revision>10</cp:revision>
  <cp:lastPrinted>2024-11-26T16:11:05Z</cp:lastPrinted>
  <dcterms:created xsi:type="dcterms:W3CDTF">2024-09-17T08:29:24Z</dcterms:created>
  <dcterms:modified xsi:type="dcterms:W3CDTF">2024-11-28T19:5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A93C518232964DA20C9E9FD0A4EE35</vt:lpwstr>
  </property>
  <property fmtid="{D5CDD505-2E9C-101B-9397-08002B2CF9AE}" pid="3" name="MSIP_Label_958510b9-3810-472f-9abf-3a689c488070_Enabled">
    <vt:lpwstr>true</vt:lpwstr>
  </property>
  <property fmtid="{D5CDD505-2E9C-101B-9397-08002B2CF9AE}" pid="4" name="MSIP_Label_958510b9-3810-472f-9abf-3a689c488070_SetDate">
    <vt:lpwstr>2024-10-11T10:15:48Z</vt:lpwstr>
  </property>
  <property fmtid="{D5CDD505-2E9C-101B-9397-08002B2CF9AE}" pid="5" name="MSIP_Label_958510b9-3810-472f-9abf-3a689c488070_Method">
    <vt:lpwstr>Privileged</vt:lpwstr>
  </property>
  <property fmtid="{D5CDD505-2E9C-101B-9397-08002B2CF9AE}" pid="6" name="MSIP_Label_958510b9-3810-472f-9abf-3a689c488070_Name">
    <vt:lpwstr>958510b9-3810-472f-9abf-3a689c488070</vt:lpwstr>
  </property>
  <property fmtid="{D5CDD505-2E9C-101B-9397-08002B2CF9AE}" pid="7" name="MSIP_Label_958510b9-3810-472f-9abf-3a689c488070_SiteId">
    <vt:lpwstr>1e9b61e8-e590-4abc-b1af-24125e330d2a</vt:lpwstr>
  </property>
  <property fmtid="{D5CDD505-2E9C-101B-9397-08002B2CF9AE}" pid="8" name="MSIP_Label_958510b9-3810-472f-9abf-3a689c488070_ActionId">
    <vt:lpwstr>551b7c6c-2ccd-4eda-a86f-243a98a10ec6</vt:lpwstr>
  </property>
  <property fmtid="{D5CDD505-2E9C-101B-9397-08002B2CF9AE}" pid="9" name="MSIP_Label_958510b9-3810-472f-9abf-3a689c488070_ContentBits">
    <vt:lpwstr>3</vt:lpwstr>
  </property>
  <property fmtid="{D5CDD505-2E9C-101B-9397-08002B2CF9AE}" pid="10" name="db.comClassification">
    <vt:lpwstr>Public</vt:lpwstr>
  </property>
</Properties>
</file>